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tiff" ContentType="image/tiff"/>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5.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6.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8.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9.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10.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11.xml" ContentType="application/vnd.openxmlformats-officedocument.theme+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2.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13.xml" ContentType="application/vnd.openxmlformats-officedocument.theme+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4.xml" ContentType="application/vnd.openxmlformats-officedocument.theme+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15.xml" ContentType="application/vnd.openxmlformats-officedocument.theme+xml"/>
  <Override PartName="/ppt/slideLayouts/slideLayout330.xml" ContentType="application/vnd.openxmlformats-officedocument.presentationml.slideLayout+xml"/>
  <Override PartName="/ppt/theme/theme16.xml" ContentType="application/vnd.openxmlformats-officedocument.theme+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theme/theme17.xml" ContentType="application/vnd.openxmlformats-officedocument.theme+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18.xml" ContentType="application/vnd.openxmlformats-officedocument.theme+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19.xml" ContentType="application/vnd.openxmlformats-officedocument.theme+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63.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73.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13"/>
    <p:sldMasterId id="2147484306" r:id="rId14"/>
    <p:sldMasterId id="2147484358" r:id="rId15"/>
    <p:sldMasterId id="2147484371" r:id="rId16"/>
    <p:sldMasterId id="2147484394" r:id="rId17"/>
    <p:sldMasterId id="2147484436" r:id="rId18"/>
    <p:sldMasterId id="2147484449" r:id="rId19"/>
    <p:sldMasterId id="2147484465" r:id="rId20"/>
    <p:sldMasterId id="2147484499" r:id="rId21"/>
    <p:sldMasterId id="2147484541" r:id="rId22"/>
    <p:sldMasterId id="2147484567" r:id="rId23"/>
    <p:sldMasterId id="2147484571" r:id="rId24"/>
    <p:sldMasterId id="2147484577" r:id="rId25"/>
    <p:sldMasterId id="2147484620" r:id="rId26"/>
    <p:sldMasterId id="2147484639" r:id="rId27"/>
    <p:sldMasterId id="2147484655" r:id="rId28"/>
    <p:sldMasterId id="2147484657" r:id="rId29"/>
    <p:sldMasterId id="2147484673" r:id="rId30"/>
    <p:sldMasterId id="2147484689" r:id="rId31"/>
    <p:sldMasterId id="2147484707" r:id="rId32"/>
  </p:sldMasterIdLst>
  <p:notesMasterIdLst>
    <p:notesMasterId r:id="rId172"/>
  </p:notesMasterIdLst>
  <p:handoutMasterIdLst>
    <p:handoutMasterId r:id="rId173"/>
  </p:handoutMasterIdLst>
  <p:sldIdLst>
    <p:sldId id="256" r:id="rId33"/>
    <p:sldId id="257" r:id="rId34"/>
    <p:sldId id="258" r:id="rId35"/>
    <p:sldId id="260" r:id="rId36"/>
    <p:sldId id="263" r:id="rId37"/>
    <p:sldId id="259" r:id="rId38"/>
    <p:sldId id="261" r:id="rId39"/>
    <p:sldId id="262" r:id="rId40"/>
    <p:sldId id="285" r:id="rId41"/>
    <p:sldId id="264" r:id="rId42"/>
    <p:sldId id="265" r:id="rId43"/>
    <p:sldId id="266" r:id="rId44"/>
    <p:sldId id="267" r:id="rId45"/>
    <p:sldId id="268" r:id="rId46"/>
    <p:sldId id="269" r:id="rId47"/>
    <p:sldId id="270" r:id="rId48"/>
    <p:sldId id="271" r:id="rId49"/>
    <p:sldId id="272" r:id="rId50"/>
    <p:sldId id="273" r:id="rId51"/>
    <p:sldId id="274" r:id="rId52"/>
    <p:sldId id="275" r:id="rId53"/>
    <p:sldId id="276" r:id="rId54"/>
    <p:sldId id="277" r:id="rId55"/>
    <p:sldId id="278" r:id="rId56"/>
    <p:sldId id="279" r:id="rId57"/>
    <p:sldId id="280" r:id="rId58"/>
    <p:sldId id="281" r:id="rId59"/>
    <p:sldId id="282" r:id="rId60"/>
    <p:sldId id="283" r:id="rId61"/>
    <p:sldId id="284" r:id="rId62"/>
    <p:sldId id="305" r:id="rId63"/>
    <p:sldId id="300" r:id="rId64"/>
    <p:sldId id="301" r:id="rId65"/>
    <p:sldId id="302" r:id="rId66"/>
    <p:sldId id="303" r:id="rId67"/>
    <p:sldId id="304" r:id="rId68"/>
    <p:sldId id="286" r:id="rId69"/>
    <p:sldId id="287" r:id="rId70"/>
    <p:sldId id="288" r:id="rId71"/>
    <p:sldId id="289" r:id="rId72"/>
    <p:sldId id="290" r:id="rId73"/>
    <p:sldId id="292" r:id="rId74"/>
    <p:sldId id="293" r:id="rId75"/>
    <p:sldId id="294" r:id="rId76"/>
    <p:sldId id="295" r:id="rId77"/>
    <p:sldId id="296" r:id="rId78"/>
    <p:sldId id="297" r:id="rId79"/>
    <p:sldId id="298" r:id="rId80"/>
    <p:sldId id="314" r:id="rId81"/>
    <p:sldId id="315" r:id="rId82"/>
    <p:sldId id="316" r:id="rId83"/>
    <p:sldId id="317" r:id="rId84"/>
    <p:sldId id="318" r:id="rId85"/>
    <p:sldId id="319" r:id="rId86"/>
    <p:sldId id="320" r:id="rId87"/>
    <p:sldId id="321" r:id="rId88"/>
    <p:sldId id="322" r:id="rId89"/>
    <p:sldId id="323" r:id="rId90"/>
    <p:sldId id="324" r:id="rId91"/>
    <p:sldId id="325" r:id="rId92"/>
    <p:sldId id="326" r:id="rId93"/>
    <p:sldId id="327" r:id="rId94"/>
    <p:sldId id="328" r:id="rId95"/>
    <p:sldId id="329" r:id="rId96"/>
    <p:sldId id="330" r:id="rId97"/>
    <p:sldId id="331" r:id="rId98"/>
    <p:sldId id="332" r:id="rId99"/>
    <p:sldId id="333" r:id="rId100"/>
    <p:sldId id="334" r:id="rId101"/>
    <p:sldId id="335" r:id="rId102"/>
    <p:sldId id="336" r:id="rId103"/>
    <p:sldId id="337" r:id="rId104"/>
    <p:sldId id="338" r:id="rId105"/>
    <p:sldId id="339" r:id="rId106"/>
    <p:sldId id="340" r:id="rId107"/>
    <p:sldId id="341" r:id="rId108"/>
    <p:sldId id="342" r:id="rId109"/>
    <p:sldId id="343" r:id="rId110"/>
    <p:sldId id="344" r:id="rId111"/>
    <p:sldId id="345" r:id="rId112"/>
    <p:sldId id="346" r:id="rId113"/>
    <p:sldId id="347" r:id="rId114"/>
    <p:sldId id="348" r:id="rId115"/>
    <p:sldId id="349" r:id="rId116"/>
    <p:sldId id="350" r:id="rId117"/>
    <p:sldId id="351" r:id="rId118"/>
    <p:sldId id="352" r:id="rId119"/>
    <p:sldId id="353" r:id="rId120"/>
    <p:sldId id="354" r:id="rId121"/>
    <p:sldId id="355" r:id="rId122"/>
    <p:sldId id="356" r:id="rId123"/>
    <p:sldId id="357" r:id="rId124"/>
    <p:sldId id="358" r:id="rId125"/>
    <p:sldId id="359" r:id="rId126"/>
    <p:sldId id="360" r:id="rId127"/>
    <p:sldId id="361" r:id="rId128"/>
    <p:sldId id="362" r:id="rId129"/>
    <p:sldId id="363" r:id="rId130"/>
    <p:sldId id="364" r:id="rId131"/>
    <p:sldId id="365" r:id="rId132"/>
    <p:sldId id="366" r:id="rId133"/>
    <p:sldId id="367" r:id="rId134"/>
    <p:sldId id="368" r:id="rId135"/>
    <p:sldId id="369" r:id="rId136"/>
    <p:sldId id="370" r:id="rId137"/>
    <p:sldId id="371" r:id="rId138"/>
    <p:sldId id="372" r:id="rId139"/>
    <p:sldId id="373" r:id="rId140"/>
    <p:sldId id="374" r:id="rId141"/>
    <p:sldId id="375" r:id="rId142"/>
    <p:sldId id="376" r:id="rId143"/>
    <p:sldId id="377" r:id="rId144"/>
    <p:sldId id="378" r:id="rId145"/>
    <p:sldId id="379" r:id="rId146"/>
    <p:sldId id="380" r:id="rId147"/>
    <p:sldId id="381" r:id="rId148"/>
    <p:sldId id="382" r:id="rId149"/>
    <p:sldId id="383" r:id="rId150"/>
    <p:sldId id="384" r:id="rId151"/>
    <p:sldId id="385" r:id="rId152"/>
    <p:sldId id="386" r:id="rId153"/>
    <p:sldId id="387" r:id="rId154"/>
    <p:sldId id="388" r:id="rId155"/>
    <p:sldId id="389" r:id="rId156"/>
    <p:sldId id="390" r:id="rId157"/>
    <p:sldId id="391" r:id="rId158"/>
    <p:sldId id="392" r:id="rId159"/>
    <p:sldId id="393" r:id="rId160"/>
    <p:sldId id="394" r:id="rId161"/>
    <p:sldId id="395" r:id="rId162"/>
    <p:sldId id="396" r:id="rId163"/>
    <p:sldId id="397" r:id="rId164"/>
    <p:sldId id="398" r:id="rId165"/>
    <p:sldId id="399" r:id="rId166"/>
    <p:sldId id="400" r:id="rId167"/>
    <p:sldId id="401" r:id="rId168"/>
    <p:sldId id="403" r:id="rId169"/>
    <p:sldId id="405" r:id="rId170"/>
    <p:sldId id="404" r:id="rId17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Sessions" id="{5E6899BE-66F5-4C07-AEBC-5565952DA0B6}">
          <p14:sldIdLst>
            <p14:sldId id="256"/>
            <p14:sldId id="257"/>
            <p14:sldId id="258"/>
            <p14:sldId id="260"/>
            <p14:sldId id="263"/>
            <p14:sldId id="259"/>
            <p14:sldId id="261"/>
            <p14:sldId id="262"/>
            <p14:sldId id="285"/>
            <p14:sldId id="264"/>
            <p14:sldId id="265"/>
            <p14:sldId id="266"/>
            <p14:sldId id="267"/>
            <p14:sldId id="268"/>
            <p14:sldId id="269"/>
            <p14:sldId id="270"/>
            <p14:sldId id="271"/>
            <p14:sldId id="272"/>
            <p14:sldId id="273"/>
            <p14:sldId id="274"/>
            <p14:sldId id="275"/>
            <p14:sldId id="276"/>
            <p14:sldId id="277"/>
            <p14:sldId id="278"/>
            <p14:sldId id="279"/>
            <p14:sldId id="280"/>
            <p14:sldId id="281"/>
            <p14:sldId id="282"/>
            <p14:sldId id="283"/>
            <p14:sldId id="284"/>
            <p14:sldId id="305"/>
            <p14:sldId id="300"/>
            <p14:sldId id="301"/>
            <p14:sldId id="302"/>
            <p14:sldId id="303"/>
            <p14:sldId id="304"/>
            <p14:sldId id="286"/>
            <p14:sldId id="287"/>
            <p14:sldId id="288"/>
            <p14:sldId id="289"/>
            <p14:sldId id="290"/>
            <p14:sldId id="292"/>
            <p14:sldId id="293"/>
            <p14:sldId id="294"/>
            <p14:sldId id="295"/>
            <p14:sldId id="296"/>
            <p14:sldId id="297"/>
            <p14:sldId id="298"/>
          </p14:sldIdLst>
        </p14:section>
        <p14:section name="Partner Sessions" id="{A073DAE3-B461-442F-A3D3-6642BD875E45}">
          <p14:sldIdLst>
            <p14:sldId id="314"/>
            <p14:sldId id="315"/>
            <p14:sldId id="316"/>
            <p14:sldId id="317"/>
            <p14:sldId id="318"/>
            <p14:sldId id="319"/>
            <p14:sldId id="320"/>
            <p14:sldId id="321"/>
            <p14:sldId id="322"/>
            <p14:sldId id="323"/>
            <p14:sldId id="324"/>
            <p14:sldId id="325"/>
            <p14:sldId id="326"/>
            <p14:sldId id="327"/>
            <p14:sldId id="328"/>
            <p14:sldId id="329"/>
            <p14:sldId id="330"/>
            <p14:sldId id="331"/>
            <p14:sldId id="332"/>
            <p14:sldId id="333"/>
            <p14:sldId id="334"/>
            <p14:sldId id="335"/>
            <p14:sldId id="336"/>
            <p14:sldId id="337"/>
            <p14:sldId id="338"/>
            <p14:sldId id="339"/>
            <p14:sldId id="340"/>
            <p14:sldId id="341"/>
            <p14:sldId id="342"/>
            <p14:sldId id="343"/>
            <p14:sldId id="344"/>
            <p14:sldId id="345"/>
            <p14:sldId id="346"/>
            <p14:sldId id="347"/>
            <p14:sldId id="348"/>
            <p14:sldId id="349"/>
            <p14:sldId id="350"/>
            <p14:sldId id="351"/>
            <p14:sldId id="352"/>
            <p14:sldId id="353"/>
            <p14:sldId id="354"/>
            <p14:sldId id="355"/>
            <p14:sldId id="356"/>
            <p14:sldId id="357"/>
            <p14:sldId id="358"/>
            <p14:sldId id="359"/>
            <p14:sldId id="360"/>
            <p14:sldId id="361"/>
            <p14:sldId id="362"/>
            <p14:sldId id="363"/>
            <p14:sldId id="364"/>
            <p14:sldId id="365"/>
            <p14:sldId id="366"/>
            <p14:sldId id="367"/>
            <p14:sldId id="368"/>
            <p14:sldId id="369"/>
            <p14:sldId id="370"/>
            <p14:sldId id="371"/>
            <p14:sldId id="372"/>
            <p14:sldId id="373"/>
            <p14:sldId id="374"/>
            <p14:sldId id="375"/>
            <p14:sldId id="376"/>
            <p14:sldId id="377"/>
            <p14:sldId id="378"/>
            <p14:sldId id="379"/>
            <p14:sldId id="380"/>
            <p14:sldId id="381"/>
            <p14:sldId id="382"/>
            <p14:sldId id="383"/>
            <p14:sldId id="384"/>
            <p14:sldId id="385"/>
            <p14:sldId id="386"/>
            <p14:sldId id="387"/>
            <p14:sldId id="388"/>
            <p14:sldId id="389"/>
            <p14:sldId id="390"/>
            <p14:sldId id="391"/>
            <p14:sldId id="392"/>
            <p14:sldId id="393"/>
            <p14:sldId id="394"/>
            <p14:sldId id="395"/>
            <p14:sldId id="396"/>
            <p14:sldId id="397"/>
            <p14:sldId id="398"/>
            <p14:sldId id="399"/>
            <p14:sldId id="400"/>
            <p14:sldId id="401"/>
          </p14:sldIdLst>
        </p14:section>
        <p14:section name="Morning Wrap Up" id="{E246629C-06D6-49AB-BDFD-89876951967C}">
          <p14:sldIdLst>
            <p14:sldId id="403"/>
            <p14:sldId id="405"/>
            <p14:sldId id="40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itchell Derrey" initials="MD" lastIdx="10" clrIdx="4">
    <p:extLst>
      <p:ext uri="{19B8F6BF-5375-455C-9EA6-DF929625EA0E}">
        <p15:presenceInfo xmlns:p15="http://schemas.microsoft.com/office/powerpoint/2012/main" userId="S-1-5-21-383413107-1061881802-891584314-4851" providerId="AD"/>
      </p:ext>
    </p:extLst>
  </p:cmAuthor>
  <p:cmAuthor id="5" name="Brittany Hart" initials="BH" lastIdx="7" clrIdx="5">
    <p:extLst>
      <p:ext uri="{19B8F6BF-5375-455C-9EA6-DF929625EA0E}">
        <p15:presenceInfo xmlns:p15="http://schemas.microsoft.com/office/powerpoint/2012/main" userId="S-1-5-21-383413107-1061881802-891584314-10022" providerId="AD"/>
      </p:ext>
    </p:extLst>
  </p:cmAuthor>
  <p:cmAuthor id="6" name="Kate Kuzel" initials="KK" lastIdx="5" clrIdx="6">
    <p:extLst>
      <p:ext uri="{19B8F6BF-5375-455C-9EA6-DF929625EA0E}">
        <p15:presenceInfo xmlns:p15="http://schemas.microsoft.com/office/powerpoint/2012/main" userId="S-1-5-21-383413107-1061881802-891584314-1009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001736"/>
    <a:srgbClr val="BAD80A"/>
    <a:srgbClr val="A80000"/>
    <a:srgbClr val="002050"/>
    <a:srgbClr val="FFB900"/>
    <a:srgbClr val="D83B01"/>
    <a:srgbClr val="FF8C00"/>
    <a:srgbClr val="E81123"/>
    <a:srgbClr val="51515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435" autoAdjust="0"/>
    <p:restoredTop sz="94628" autoAdjust="0"/>
  </p:normalViewPr>
  <p:slideViewPr>
    <p:cSldViewPr>
      <p:cViewPr varScale="1">
        <p:scale>
          <a:sx n="98" d="100"/>
          <a:sy n="98" d="100"/>
        </p:scale>
        <p:origin x="36" y="6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2292"/>
    </p:cViewPr>
  </p:sorterViewPr>
  <p:notesViewPr>
    <p:cSldViewPr showGuides="1">
      <p:cViewPr>
        <p:scale>
          <a:sx n="150" d="100"/>
          <a:sy n="150" d="100"/>
        </p:scale>
        <p:origin x="1554" y="-40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14.xml"/><Relationship Id="rId117" Type="http://schemas.openxmlformats.org/officeDocument/2006/relationships/slide" Target="slides/slide85.xml"/><Relationship Id="rId21" Type="http://schemas.openxmlformats.org/officeDocument/2006/relationships/slideMaster" Target="slideMasters/slideMaster9.xml"/><Relationship Id="rId42" Type="http://schemas.openxmlformats.org/officeDocument/2006/relationships/slide" Target="slides/slide10.xml"/><Relationship Id="rId47" Type="http://schemas.openxmlformats.org/officeDocument/2006/relationships/slide" Target="slides/slide15.xml"/><Relationship Id="rId63" Type="http://schemas.openxmlformats.org/officeDocument/2006/relationships/slide" Target="slides/slide31.xml"/><Relationship Id="rId68" Type="http://schemas.openxmlformats.org/officeDocument/2006/relationships/slide" Target="slides/slide36.xml"/><Relationship Id="rId84" Type="http://schemas.openxmlformats.org/officeDocument/2006/relationships/slide" Target="slides/slide52.xml"/><Relationship Id="rId89" Type="http://schemas.openxmlformats.org/officeDocument/2006/relationships/slide" Target="slides/slide57.xml"/><Relationship Id="rId112" Type="http://schemas.openxmlformats.org/officeDocument/2006/relationships/slide" Target="slides/slide80.xml"/><Relationship Id="rId133" Type="http://schemas.openxmlformats.org/officeDocument/2006/relationships/slide" Target="slides/slide101.xml"/><Relationship Id="rId138" Type="http://schemas.openxmlformats.org/officeDocument/2006/relationships/slide" Target="slides/slide106.xml"/><Relationship Id="rId154" Type="http://schemas.openxmlformats.org/officeDocument/2006/relationships/slide" Target="slides/slide122.xml"/><Relationship Id="rId159" Type="http://schemas.openxmlformats.org/officeDocument/2006/relationships/slide" Target="slides/slide127.xml"/><Relationship Id="rId175" Type="http://schemas.openxmlformats.org/officeDocument/2006/relationships/presProps" Target="presProps.xml"/><Relationship Id="rId170" Type="http://schemas.openxmlformats.org/officeDocument/2006/relationships/slide" Target="slides/slide138.xml"/><Relationship Id="rId16" Type="http://schemas.openxmlformats.org/officeDocument/2006/relationships/slideMaster" Target="slideMasters/slideMaster4.xml"/><Relationship Id="rId107" Type="http://schemas.openxmlformats.org/officeDocument/2006/relationships/slide" Target="slides/slide75.xml"/><Relationship Id="rId11" Type="http://schemas.openxmlformats.org/officeDocument/2006/relationships/customXml" Target="../customXml/item11.xml"/><Relationship Id="rId32" Type="http://schemas.openxmlformats.org/officeDocument/2006/relationships/slideMaster" Target="slideMasters/slideMaster20.xml"/><Relationship Id="rId37" Type="http://schemas.openxmlformats.org/officeDocument/2006/relationships/slide" Target="slides/slide5.xml"/><Relationship Id="rId53" Type="http://schemas.openxmlformats.org/officeDocument/2006/relationships/slide" Target="slides/slide21.xml"/><Relationship Id="rId58" Type="http://schemas.openxmlformats.org/officeDocument/2006/relationships/slide" Target="slides/slide26.xml"/><Relationship Id="rId74" Type="http://schemas.openxmlformats.org/officeDocument/2006/relationships/slide" Target="slides/slide42.xml"/><Relationship Id="rId79" Type="http://schemas.openxmlformats.org/officeDocument/2006/relationships/slide" Target="slides/slide47.xml"/><Relationship Id="rId102" Type="http://schemas.openxmlformats.org/officeDocument/2006/relationships/slide" Target="slides/slide70.xml"/><Relationship Id="rId123" Type="http://schemas.openxmlformats.org/officeDocument/2006/relationships/slide" Target="slides/slide91.xml"/><Relationship Id="rId128" Type="http://schemas.openxmlformats.org/officeDocument/2006/relationships/slide" Target="slides/slide96.xml"/><Relationship Id="rId144" Type="http://schemas.openxmlformats.org/officeDocument/2006/relationships/slide" Target="slides/slide112.xml"/><Relationship Id="rId149" Type="http://schemas.openxmlformats.org/officeDocument/2006/relationships/slide" Target="slides/slide117.xml"/><Relationship Id="rId5" Type="http://schemas.openxmlformats.org/officeDocument/2006/relationships/customXml" Target="../customXml/item5.xml"/><Relationship Id="rId90" Type="http://schemas.openxmlformats.org/officeDocument/2006/relationships/slide" Target="slides/slide58.xml"/><Relationship Id="rId95" Type="http://schemas.openxmlformats.org/officeDocument/2006/relationships/slide" Target="slides/slide63.xml"/><Relationship Id="rId160" Type="http://schemas.openxmlformats.org/officeDocument/2006/relationships/slide" Target="slides/slide128.xml"/><Relationship Id="rId165" Type="http://schemas.openxmlformats.org/officeDocument/2006/relationships/slide" Target="slides/slide133.xml"/><Relationship Id="rId22" Type="http://schemas.openxmlformats.org/officeDocument/2006/relationships/slideMaster" Target="slideMasters/slideMaster10.xml"/><Relationship Id="rId27" Type="http://schemas.openxmlformats.org/officeDocument/2006/relationships/slideMaster" Target="slideMasters/slideMaster15.xml"/><Relationship Id="rId43" Type="http://schemas.openxmlformats.org/officeDocument/2006/relationships/slide" Target="slides/slide11.xml"/><Relationship Id="rId48" Type="http://schemas.openxmlformats.org/officeDocument/2006/relationships/slide" Target="slides/slide16.xml"/><Relationship Id="rId64" Type="http://schemas.openxmlformats.org/officeDocument/2006/relationships/slide" Target="slides/slide32.xml"/><Relationship Id="rId69" Type="http://schemas.openxmlformats.org/officeDocument/2006/relationships/slide" Target="slides/slide37.xml"/><Relationship Id="rId113" Type="http://schemas.openxmlformats.org/officeDocument/2006/relationships/slide" Target="slides/slide81.xml"/><Relationship Id="rId118" Type="http://schemas.openxmlformats.org/officeDocument/2006/relationships/slide" Target="slides/slide86.xml"/><Relationship Id="rId134" Type="http://schemas.openxmlformats.org/officeDocument/2006/relationships/slide" Target="slides/slide102.xml"/><Relationship Id="rId139" Type="http://schemas.openxmlformats.org/officeDocument/2006/relationships/slide" Target="slides/slide107.xml"/><Relationship Id="rId80" Type="http://schemas.openxmlformats.org/officeDocument/2006/relationships/slide" Target="slides/slide48.xml"/><Relationship Id="rId85" Type="http://schemas.openxmlformats.org/officeDocument/2006/relationships/slide" Target="slides/slide53.xml"/><Relationship Id="rId150" Type="http://schemas.openxmlformats.org/officeDocument/2006/relationships/slide" Target="slides/slide118.xml"/><Relationship Id="rId155" Type="http://schemas.openxmlformats.org/officeDocument/2006/relationships/slide" Target="slides/slide123.xml"/><Relationship Id="rId171" Type="http://schemas.openxmlformats.org/officeDocument/2006/relationships/slide" Target="slides/slide139.xml"/><Relationship Id="rId176" Type="http://schemas.openxmlformats.org/officeDocument/2006/relationships/viewProps" Target="viewProps.xml"/><Relationship Id="rId12" Type="http://schemas.openxmlformats.org/officeDocument/2006/relationships/customXml" Target="../customXml/item12.xml"/><Relationship Id="rId17" Type="http://schemas.openxmlformats.org/officeDocument/2006/relationships/slideMaster" Target="slideMasters/slideMaster5.xml"/><Relationship Id="rId33" Type="http://schemas.openxmlformats.org/officeDocument/2006/relationships/slide" Target="slides/slide1.xml"/><Relationship Id="rId38" Type="http://schemas.openxmlformats.org/officeDocument/2006/relationships/slide" Target="slides/slide6.xml"/><Relationship Id="rId59" Type="http://schemas.openxmlformats.org/officeDocument/2006/relationships/slide" Target="slides/slide27.xml"/><Relationship Id="rId103" Type="http://schemas.openxmlformats.org/officeDocument/2006/relationships/slide" Target="slides/slide71.xml"/><Relationship Id="rId108" Type="http://schemas.openxmlformats.org/officeDocument/2006/relationships/slide" Target="slides/slide76.xml"/><Relationship Id="rId124" Type="http://schemas.openxmlformats.org/officeDocument/2006/relationships/slide" Target="slides/slide92.xml"/><Relationship Id="rId129" Type="http://schemas.openxmlformats.org/officeDocument/2006/relationships/slide" Target="slides/slide97.xml"/><Relationship Id="rId54" Type="http://schemas.openxmlformats.org/officeDocument/2006/relationships/slide" Target="slides/slide22.xml"/><Relationship Id="rId70" Type="http://schemas.openxmlformats.org/officeDocument/2006/relationships/slide" Target="slides/slide38.xml"/><Relationship Id="rId75" Type="http://schemas.openxmlformats.org/officeDocument/2006/relationships/slide" Target="slides/slide43.xml"/><Relationship Id="rId91" Type="http://schemas.openxmlformats.org/officeDocument/2006/relationships/slide" Target="slides/slide59.xml"/><Relationship Id="rId96" Type="http://schemas.openxmlformats.org/officeDocument/2006/relationships/slide" Target="slides/slide64.xml"/><Relationship Id="rId140" Type="http://schemas.openxmlformats.org/officeDocument/2006/relationships/slide" Target="slides/slide108.xml"/><Relationship Id="rId145" Type="http://schemas.openxmlformats.org/officeDocument/2006/relationships/slide" Target="slides/slide113.xml"/><Relationship Id="rId161" Type="http://schemas.openxmlformats.org/officeDocument/2006/relationships/slide" Target="slides/slide129.xml"/><Relationship Id="rId166" Type="http://schemas.openxmlformats.org/officeDocument/2006/relationships/slide" Target="slides/slide134.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slideMaster" Target="slideMasters/slideMaster11.xml"/><Relationship Id="rId28" Type="http://schemas.openxmlformats.org/officeDocument/2006/relationships/slideMaster" Target="slideMasters/slideMaster16.xml"/><Relationship Id="rId49" Type="http://schemas.openxmlformats.org/officeDocument/2006/relationships/slide" Target="slides/slide17.xml"/><Relationship Id="rId114" Type="http://schemas.openxmlformats.org/officeDocument/2006/relationships/slide" Target="slides/slide82.xml"/><Relationship Id="rId119" Type="http://schemas.openxmlformats.org/officeDocument/2006/relationships/slide" Target="slides/slide87.xml"/><Relationship Id="rId10" Type="http://schemas.openxmlformats.org/officeDocument/2006/relationships/customXml" Target="../customXml/item10.xml"/><Relationship Id="rId31" Type="http://schemas.openxmlformats.org/officeDocument/2006/relationships/slideMaster" Target="slideMasters/slideMaster19.xml"/><Relationship Id="rId44" Type="http://schemas.openxmlformats.org/officeDocument/2006/relationships/slide" Target="slides/slide12.xml"/><Relationship Id="rId52" Type="http://schemas.openxmlformats.org/officeDocument/2006/relationships/slide" Target="slides/slide20.xml"/><Relationship Id="rId60" Type="http://schemas.openxmlformats.org/officeDocument/2006/relationships/slide" Target="slides/slide28.xml"/><Relationship Id="rId65" Type="http://schemas.openxmlformats.org/officeDocument/2006/relationships/slide" Target="slides/slide33.xml"/><Relationship Id="rId73" Type="http://schemas.openxmlformats.org/officeDocument/2006/relationships/slide" Target="slides/slide41.xml"/><Relationship Id="rId78" Type="http://schemas.openxmlformats.org/officeDocument/2006/relationships/slide" Target="slides/slide46.xml"/><Relationship Id="rId81" Type="http://schemas.openxmlformats.org/officeDocument/2006/relationships/slide" Target="slides/slide49.xml"/><Relationship Id="rId86" Type="http://schemas.openxmlformats.org/officeDocument/2006/relationships/slide" Target="slides/slide54.xml"/><Relationship Id="rId94" Type="http://schemas.openxmlformats.org/officeDocument/2006/relationships/slide" Target="slides/slide62.xml"/><Relationship Id="rId99" Type="http://schemas.openxmlformats.org/officeDocument/2006/relationships/slide" Target="slides/slide67.xml"/><Relationship Id="rId101" Type="http://schemas.openxmlformats.org/officeDocument/2006/relationships/slide" Target="slides/slide69.xml"/><Relationship Id="rId122" Type="http://schemas.openxmlformats.org/officeDocument/2006/relationships/slide" Target="slides/slide90.xml"/><Relationship Id="rId130" Type="http://schemas.openxmlformats.org/officeDocument/2006/relationships/slide" Target="slides/slide98.xml"/><Relationship Id="rId135" Type="http://schemas.openxmlformats.org/officeDocument/2006/relationships/slide" Target="slides/slide103.xml"/><Relationship Id="rId143" Type="http://schemas.openxmlformats.org/officeDocument/2006/relationships/slide" Target="slides/slide111.xml"/><Relationship Id="rId148" Type="http://schemas.openxmlformats.org/officeDocument/2006/relationships/slide" Target="slides/slide116.xml"/><Relationship Id="rId151" Type="http://schemas.openxmlformats.org/officeDocument/2006/relationships/slide" Target="slides/slide119.xml"/><Relationship Id="rId156" Type="http://schemas.openxmlformats.org/officeDocument/2006/relationships/slide" Target="slides/slide124.xml"/><Relationship Id="rId164" Type="http://schemas.openxmlformats.org/officeDocument/2006/relationships/slide" Target="slides/slide132.xml"/><Relationship Id="rId169" Type="http://schemas.openxmlformats.org/officeDocument/2006/relationships/slide" Target="slides/slide137.xml"/><Relationship Id="rId177"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72" Type="http://schemas.openxmlformats.org/officeDocument/2006/relationships/notesMaster" Target="notesMasters/notesMaster1.xml"/><Relationship Id="rId13" Type="http://schemas.openxmlformats.org/officeDocument/2006/relationships/slideMaster" Target="slideMasters/slideMaster1.xml"/><Relationship Id="rId18" Type="http://schemas.openxmlformats.org/officeDocument/2006/relationships/slideMaster" Target="slideMasters/slideMaster6.xml"/><Relationship Id="rId39" Type="http://schemas.openxmlformats.org/officeDocument/2006/relationships/slide" Target="slides/slide7.xml"/><Relationship Id="rId109" Type="http://schemas.openxmlformats.org/officeDocument/2006/relationships/slide" Target="slides/slide77.xml"/><Relationship Id="rId34" Type="http://schemas.openxmlformats.org/officeDocument/2006/relationships/slide" Target="slides/slide2.xml"/><Relationship Id="rId50" Type="http://schemas.openxmlformats.org/officeDocument/2006/relationships/slide" Target="slides/slide18.xml"/><Relationship Id="rId55" Type="http://schemas.openxmlformats.org/officeDocument/2006/relationships/slide" Target="slides/slide23.xml"/><Relationship Id="rId76" Type="http://schemas.openxmlformats.org/officeDocument/2006/relationships/slide" Target="slides/slide44.xml"/><Relationship Id="rId97" Type="http://schemas.openxmlformats.org/officeDocument/2006/relationships/slide" Target="slides/slide65.xml"/><Relationship Id="rId104" Type="http://schemas.openxmlformats.org/officeDocument/2006/relationships/slide" Target="slides/slide72.xml"/><Relationship Id="rId120" Type="http://schemas.openxmlformats.org/officeDocument/2006/relationships/slide" Target="slides/slide88.xml"/><Relationship Id="rId125" Type="http://schemas.openxmlformats.org/officeDocument/2006/relationships/slide" Target="slides/slide93.xml"/><Relationship Id="rId141" Type="http://schemas.openxmlformats.org/officeDocument/2006/relationships/slide" Target="slides/slide109.xml"/><Relationship Id="rId146" Type="http://schemas.openxmlformats.org/officeDocument/2006/relationships/slide" Target="slides/slide114.xml"/><Relationship Id="rId167" Type="http://schemas.openxmlformats.org/officeDocument/2006/relationships/slide" Target="slides/slide135.xml"/><Relationship Id="rId7" Type="http://schemas.openxmlformats.org/officeDocument/2006/relationships/customXml" Target="../customXml/item7.xml"/><Relationship Id="rId71" Type="http://schemas.openxmlformats.org/officeDocument/2006/relationships/slide" Target="slides/slide39.xml"/><Relationship Id="rId92" Type="http://schemas.openxmlformats.org/officeDocument/2006/relationships/slide" Target="slides/slide60.xml"/><Relationship Id="rId162" Type="http://schemas.openxmlformats.org/officeDocument/2006/relationships/slide" Target="slides/slide130.xml"/><Relationship Id="rId2" Type="http://schemas.openxmlformats.org/officeDocument/2006/relationships/customXml" Target="../customXml/item2.xml"/><Relationship Id="rId29" Type="http://schemas.openxmlformats.org/officeDocument/2006/relationships/slideMaster" Target="slideMasters/slideMaster17.xml"/><Relationship Id="rId24" Type="http://schemas.openxmlformats.org/officeDocument/2006/relationships/slideMaster" Target="slideMasters/slideMaster12.xml"/><Relationship Id="rId40" Type="http://schemas.openxmlformats.org/officeDocument/2006/relationships/slide" Target="slides/slide8.xml"/><Relationship Id="rId45" Type="http://schemas.openxmlformats.org/officeDocument/2006/relationships/slide" Target="slides/slide13.xml"/><Relationship Id="rId66" Type="http://schemas.openxmlformats.org/officeDocument/2006/relationships/slide" Target="slides/slide34.xml"/><Relationship Id="rId87" Type="http://schemas.openxmlformats.org/officeDocument/2006/relationships/slide" Target="slides/slide55.xml"/><Relationship Id="rId110" Type="http://schemas.openxmlformats.org/officeDocument/2006/relationships/slide" Target="slides/slide78.xml"/><Relationship Id="rId115" Type="http://schemas.openxmlformats.org/officeDocument/2006/relationships/slide" Target="slides/slide83.xml"/><Relationship Id="rId131" Type="http://schemas.openxmlformats.org/officeDocument/2006/relationships/slide" Target="slides/slide99.xml"/><Relationship Id="rId136" Type="http://schemas.openxmlformats.org/officeDocument/2006/relationships/slide" Target="slides/slide104.xml"/><Relationship Id="rId157" Type="http://schemas.openxmlformats.org/officeDocument/2006/relationships/slide" Target="slides/slide125.xml"/><Relationship Id="rId178" Type="http://schemas.openxmlformats.org/officeDocument/2006/relationships/tableStyles" Target="tableStyles.xml"/><Relationship Id="rId61" Type="http://schemas.openxmlformats.org/officeDocument/2006/relationships/slide" Target="slides/slide29.xml"/><Relationship Id="rId82" Type="http://schemas.openxmlformats.org/officeDocument/2006/relationships/slide" Target="slides/slide50.xml"/><Relationship Id="rId152" Type="http://schemas.openxmlformats.org/officeDocument/2006/relationships/slide" Target="slides/slide120.xml"/><Relationship Id="rId173" Type="http://schemas.openxmlformats.org/officeDocument/2006/relationships/handoutMaster" Target="handoutMasters/handoutMaster1.xml"/><Relationship Id="rId19" Type="http://schemas.openxmlformats.org/officeDocument/2006/relationships/slideMaster" Target="slideMasters/slideMaster7.xml"/><Relationship Id="rId14" Type="http://schemas.openxmlformats.org/officeDocument/2006/relationships/slideMaster" Target="slideMasters/slideMaster2.xml"/><Relationship Id="rId30" Type="http://schemas.openxmlformats.org/officeDocument/2006/relationships/slideMaster" Target="slideMasters/slideMaster18.xml"/><Relationship Id="rId35" Type="http://schemas.openxmlformats.org/officeDocument/2006/relationships/slide" Target="slides/slide3.xml"/><Relationship Id="rId56" Type="http://schemas.openxmlformats.org/officeDocument/2006/relationships/slide" Target="slides/slide24.xml"/><Relationship Id="rId77" Type="http://schemas.openxmlformats.org/officeDocument/2006/relationships/slide" Target="slides/slide45.xml"/><Relationship Id="rId100" Type="http://schemas.openxmlformats.org/officeDocument/2006/relationships/slide" Target="slides/slide68.xml"/><Relationship Id="rId105" Type="http://schemas.openxmlformats.org/officeDocument/2006/relationships/slide" Target="slides/slide73.xml"/><Relationship Id="rId126" Type="http://schemas.openxmlformats.org/officeDocument/2006/relationships/slide" Target="slides/slide94.xml"/><Relationship Id="rId147" Type="http://schemas.openxmlformats.org/officeDocument/2006/relationships/slide" Target="slides/slide115.xml"/><Relationship Id="rId168" Type="http://schemas.openxmlformats.org/officeDocument/2006/relationships/slide" Target="slides/slide136.xml"/><Relationship Id="rId8" Type="http://schemas.openxmlformats.org/officeDocument/2006/relationships/customXml" Target="../customXml/item8.xml"/><Relationship Id="rId51" Type="http://schemas.openxmlformats.org/officeDocument/2006/relationships/slide" Target="slides/slide19.xml"/><Relationship Id="rId72" Type="http://schemas.openxmlformats.org/officeDocument/2006/relationships/slide" Target="slides/slide40.xml"/><Relationship Id="rId93" Type="http://schemas.openxmlformats.org/officeDocument/2006/relationships/slide" Target="slides/slide61.xml"/><Relationship Id="rId98" Type="http://schemas.openxmlformats.org/officeDocument/2006/relationships/slide" Target="slides/slide66.xml"/><Relationship Id="rId121" Type="http://schemas.openxmlformats.org/officeDocument/2006/relationships/slide" Target="slides/slide89.xml"/><Relationship Id="rId142" Type="http://schemas.openxmlformats.org/officeDocument/2006/relationships/slide" Target="slides/slide110.xml"/><Relationship Id="rId163" Type="http://schemas.openxmlformats.org/officeDocument/2006/relationships/slide" Target="slides/slide131.xml"/><Relationship Id="rId3" Type="http://schemas.openxmlformats.org/officeDocument/2006/relationships/customXml" Target="../customXml/item3.xml"/><Relationship Id="rId25" Type="http://schemas.openxmlformats.org/officeDocument/2006/relationships/slideMaster" Target="slideMasters/slideMaster13.xml"/><Relationship Id="rId46" Type="http://schemas.openxmlformats.org/officeDocument/2006/relationships/slide" Target="slides/slide14.xml"/><Relationship Id="rId67" Type="http://schemas.openxmlformats.org/officeDocument/2006/relationships/slide" Target="slides/slide35.xml"/><Relationship Id="rId116" Type="http://schemas.openxmlformats.org/officeDocument/2006/relationships/slide" Target="slides/slide84.xml"/><Relationship Id="rId137" Type="http://schemas.openxmlformats.org/officeDocument/2006/relationships/slide" Target="slides/slide105.xml"/><Relationship Id="rId158" Type="http://schemas.openxmlformats.org/officeDocument/2006/relationships/slide" Target="slides/slide126.xml"/><Relationship Id="rId20" Type="http://schemas.openxmlformats.org/officeDocument/2006/relationships/slideMaster" Target="slideMasters/slideMaster8.xml"/><Relationship Id="rId41" Type="http://schemas.openxmlformats.org/officeDocument/2006/relationships/slide" Target="slides/slide9.xml"/><Relationship Id="rId62" Type="http://schemas.openxmlformats.org/officeDocument/2006/relationships/slide" Target="slides/slide30.xml"/><Relationship Id="rId83" Type="http://schemas.openxmlformats.org/officeDocument/2006/relationships/slide" Target="slides/slide51.xml"/><Relationship Id="rId88" Type="http://schemas.openxmlformats.org/officeDocument/2006/relationships/slide" Target="slides/slide56.xml"/><Relationship Id="rId111" Type="http://schemas.openxmlformats.org/officeDocument/2006/relationships/slide" Target="slides/slide79.xml"/><Relationship Id="rId132" Type="http://schemas.openxmlformats.org/officeDocument/2006/relationships/slide" Target="slides/slide100.xml"/><Relationship Id="rId153" Type="http://schemas.openxmlformats.org/officeDocument/2006/relationships/slide" Target="slides/slide121.xml"/><Relationship Id="rId174" Type="http://schemas.openxmlformats.org/officeDocument/2006/relationships/commentAuthors" Target="commentAuthors.xml"/><Relationship Id="rId15" Type="http://schemas.openxmlformats.org/officeDocument/2006/relationships/slideMaster" Target="slideMasters/slideMaster3.xml"/><Relationship Id="rId36" Type="http://schemas.openxmlformats.org/officeDocument/2006/relationships/slide" Target="slides/slide4.xml"/><Relationship Id="rId57" Type="http://schemas.openxmlformats.org/officeDocument/2006/relationships/slide" Target="slides/slide25.xml"/><Relationship Id="rId106" Type="http://schemas.openxmlformats.org/officeDocument/2006/relationships/slide" Target="slides/slide74.xml"/><Relationship Id="rId127" Type="http://schemas.openxmlformats.org/officeDocument/2006/relationships/slide" Target="slides/slide95.xml"/></Relationships>
</file>

<file path=ppt/diagrams/_rels/data1.xml.rels><?xml version="1.0" encoding="UTF-8" standalone="yes"?>
<Relationships xmlns="http://schemas.openxmlformats.org/package/2006/relationships"><Relationship Id="rId8" Type="http://schemas.openxmlformats.org/officeDocument/2006/relationships/hyperlink" Target="mailto:Lucy.Wolcott@avepoint.com" TargetMode="External"/><Relationship Id="rId13" Type="http://schemas.openxmlformats.org/officeDocument/2006/relationships/image" Target="../media/image306.jpg"/><Relationship Id="rId18" Type="http://schemas.openxmlformats.org/officeDocument/2006/relationships/image" Target="../media/image311.jpeg"/><Relationship Id="rId3" Type="http://schemas.openxmlformats.org/officeDocument/2006/relationships/hyperlink" Target="mailto:Tarek.Shamounki@avepoint.com" TargetMode="External"/><Relationship Id="rId21" Type="http://schemas.openxmlformats.org/officeDocument/2006/relationships/image" Target="../media/image314.jpeg"/><Relationship Id="rId7" Type="http://schemas.openxmlformats.org/officeDocument/2006/relationships/hyperlink" Target="mailto:Paul.Giles@avepoint.com" TargetMode="External"/><Relationship Id="rId12" Type="http://schemas.openxmlformats.org/officeDocument/2006/relationships/image" Target="../media/image305.jpg"/><Relationship Id="rId17" Type="http://schemas.openxmlformats.org/officeDocument/2006/relationships/image" Target="../media/image310.jpg"/><Relationship Id="rId2" Type="http://schemas.openxmlformats.org/officeDocument/2006/relationships/hyperlink" Target="mailto:Peter.Sandeen@avepoint.com" TargetMode="External"/><Relationship Id="rId16" Type="http://schemas.openxmlformats.org/officeDocument/2006/relationships/image" Target="../media/image309.jpeg"/><Relationship Id="rId20" Type="http://schemas.openxmlformats.org/officeDocument/2006/relationships/image" Target="../media/image313.jpeg"/><Relationship Id="rId1" Type="http://schemas.openxmlformats.org/officeDocument/2006/relationships/hyperlink" Target="mailto:DuxRaymond.Sy@AvePoint.com" TargetMode="External"/><Relationship Id="rId6" Type="http://schemas.openxmlformats.org/officeDocument/2006/relationships/hyperlink" Target="mailto:Dave.Warner@avepoint.com" TargetMode="External"/><Relationship Id="rId11" Type="http://schemas.openxmlformats.org/officeDocument/2006/relationships/hyperlink" Target="mailto:Kelly.Schneider@AvePoint.com" TargetMode="External"/><Relationship Id="rId5" Type="http://schemas.openxmlformats.org/officeDocument/2006/relationships/hyperlink" Target="mailto:Matt.Michels@avepoint.com" TargetMode="External"/><Relationship Id="rId15" Type="http://schemas.openxmlformats.org/officeDocument/2006/relationships/image" Target="../media/image308.jpeg"/><Relationship Id="rId10" Type="http://schemas.openxmlformats.org/officeDocument/2006/relationships/hyperlink" Target="mailto:Shawn.Auble@avepoint.com" TargetMode="External"/><Relationship Id="rId19" Type="http://schemas.openxmlformats.org/officeDocument/2006/relationships/image" Target="../media/image312.jpeg"/><Relationship Id="rId4" Type="http://schemas.openxmlformats.org/officeDocument/2006/relationships/hyperlink" Target="mailto:Cress.Murdock@avepoint.com" TargetMode="External"/><Relationship Id="rId9" Type="http://schemas.openxmlformats.org/officeDocument/2006/relationships/hyperlink" Target="mailto:Chris.Goings@avepoint.com" TargetMode="External"/><Relationship Id="rId14" Type="http://schemas.openxmlformats.org/officeDocument/2006/relationships/image" Target="../media/image307.jpeg"/><Relationship Id="rId22" Type="http://schemas.openxmlformats.org/officeDocument/2006/relationships/image" Target="../media/image315.jpeg"/></Relationships>
</file>

<file path=ppt/diagrams/_rels/drawing1.xml.rels><?xml version="1.0" encoding="UTF-8" standalone="yes"?>
<Relationships xmlns="http://schemas.openxmlformats.org/package/2006/relationships"><Relationship Id="rId8" Type="http://schemas.openxmlformats.org/officeDocument/2006/relationships/image" Target="../media/image308.jpeg"/><Relationship Id="rId13" Type="http://schemas.openxmlformats.org/officeDocument/2006/relationships/hyperlink" Target="mailto:Dave.Warner@avepoint.com" TargetMode="External"/><Relationship Id="rId18" Type="http://schemas.openxmlformats.org/officeDocument/2006/relationships/image" Target="../media/image313.jpeg"/><Relationship Id="rId3" Type="http://schemas.openxmlformats.org/officeDocument/2006/relationships/hyperlink" Target="mailto:Kelly.Schneider@AvePoint.com" TargetMode="External"/><Relationship Id="rId21" Type="http://schemas.openxmlformats.org/officeDocument/2006/relationships/hyperlink" Target="mailto:Shawn.Auble@avepoint.com" TargetMode="External"/><Relationship Id="rId7" Type="http://schemas.openxmlformats.org/officeDocument/2006/relationships/hyperlink" Target="mailto:Peter.Sandeen@avepoint.com" TargetMode="External"/><Relationship Id="rId12" Type="http://schemas.openxmlformats.org/officeDocument/2006/relationships/image" Target="../media/image310.jpg"/><Relationship Id="rId17" Type="http://schemas.openxmlformats.org/officeDocument/2006/relationships/hyperlink" Target="mailto:Lucy.Wolcott@avepoint.com" TargetMode="External"/><Relationship Id="rId2" Type="http://schemas.openxmlformats.org/officeDocument/2006/relationships/image" Target="../media/image305.jpg"/><Relationship Id="rId16" Type="http://schemas.openxmlformats.org/officeDocument/2006/relationships/image" Target="../media/image312.jpeg"/><Relationship Id="rId20" Type="http://schemas.openxmlformats.org/officeDocument/2006/relationships/image" Target="../media/image314.jpeg"/><Relationship Id="rId1" Type="http://schemas.openxmlformats.org/officeDocument/2006/relationships/hyperlink" Target="mailto:DuxRaymond.Sy@AvePoint.com" TargetMode="External"/><Relationship Id="rId6" Type="http://schemas.openxmlformats.org/officeDocument/2006/relationships/image" Target="../media/image307.jpeg"/><Relationship Id="rId11" Type="http://schemas.openxmlformats.org/officeDocument/2006/relationships/hyperlink" Target="mailto:Matt.Michels@avepoint.com" TargetMode="External"/><Relationship Id="rId5" Type="http://schemas.openxmlformats.org/officeDocument/2006/relationships/hyperlink" Target="mailto:Tarek.Shamounki@avepoint.com" TargetMode="External"/><Relationship Id="rId15" Type="http://schemas.openxmlformats.org/officeDocument/2006/relationships/hyperlink" Target="mailto:Paul.Giles@avepoint.com" TargetMode="External"/><Relationship Id="rId10" Type="http://schemas.openxmlformats.org/officeDocument/2006/relationships/image" Target="../media/image309.jpeg"/><Relationship Id="rId19" Type="http://schemas.openxmlformats.org/officeDocument/2006/relationships/hyperlink" Target="mailto:Chris.Goings@avepoint.com" TargetMode="External"/><Relationship Id="rId4" Type="http://schemas.openxmlformats.org/officeDocument/2006/relationships/image" Target="../media/image306.jpg"/><Relationship Id="rId9" Type="http://schemas.openxmlformats.org/officeDocument/2006/relationships/hyperlink" Target="mailto:Cress.Murdock@avepoint.com" TargetMode="External"/><Relationship Id="rId14" Type="http://schemas.openxmlformats.org/officeDocument/2006/relationships/image" Target="../media/image311.jpeg"/><Relationship Id="rId22" Type="http://schemas.openxmlformats.org/officeDocument/2006/relationships/image" Target="../media/image315.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E7CAB36-100E-416E-88AB-3499E308377D}" type="doc">
      <dgm:prSet loTypeId="urn:microsoft.com/office/officeart/2005/8/layout/pictureOrgChart+Icon" loCatId="hierarchy" qsTypeId="urn:microsoft.com/office/officeart/2005/8/quickstyle/simple1" qsCatId="simple" csTypeId="urn:microsoft.com/office/officeart/2005/8/colors/accent1_2" csCatId="accent1" phldr="1"/>
      <dgm:spPr/>
      <dgm:t>
        <a:bodyPr/>
        <a:lstStyle/>
        <a:p>
          <a:endParaRPr lang="en-US"/>
        </a:p>
      </dgm:t>
    </dgm:pt>
    <dgm:pt modelId="{6343994C-3F89-449E-8B83-B8D8496BBF5C}">
      <dgm:prSet custT="1"/>
      <dgm:spPr>
        <a:solidFill>
          <a:srgbClr val="2E75B6"/>
        </a:solidFill>
        <a:ln>
          <a:noFill/>
        </a:ln>
      </dgm:spPr>
      <dgm:t>
        <a:bodyPr/>
        <a:lstStyle/>
        <a:p>
          <a:pPr>
            <a:lnSpc>
              <a:spcPct val="100000"/>
            </a:lnSpc>
            <a:spcAft>
              <a:spcPts val="0"/>
            </a:spcAft>
          </a:pPr>
          <a:r>
            <a:rPr lang="en-US" sz="1100" b="1" dirty="0"/>
            <a:t>Dux Sy</a:t>
          </a:r>
        </a:p>
        <a:p>
          <a:pPr>
            <a:lnSpc>
              <a:spcPct val="100000"/>
            </a:lnSpc>
            <a:spcAft>
              <a:spcPts val="0"/>
            </a:spcAft>
          </a:pPr>
          <a:r>
            <a:rPr lang="en-US" sz="1100" b="0" dirty="0"/>
            <a:t>CTO </a:t>
          </a:r>
        </a:p>
        <a:p>
          <a:pPr>
            <a:lnSpc>
              <a:spcPct val="100000"/>
            </a:lnSpc>
            <a:spcAft>
              <a:spcPts val="0"/>
            </a:spcAft>
          </a:pPr>
          <a:r>
            <a:rPr lang="en-US" sz="1100" b="0" dirty="0"/>
            <a:t>703-596-8054</a:t>
          </a:r>
        </a:p>
        <a:p>
          <a:pPr>
            <a:lnSpc>
              <a:spcPct val="100000"/>
            </a:lnSpc>
            <a:spcAft>
              <a:spcPts val="0"/>
            </a:spcAft>
          </a:pPr>
          <a:r>
            <a:rPr lang="en-US" sz="1000" dirty="0"/>
            <a:t>      </a:t>
          </a:r>
          <a:r>
            <a:rPr lang="en-US" sz="1000" dirty="0">
              <a:hlinkClick xmlns:r="http://schemas.openxmlformats.org/officeDocument/2006/relationships" r:id="rId1"/>
            </a:rPr>
            <a:t>DuxRaymond.Sy@AvePoint.com</a:t>
          </a:r>
          <a:endParaRPr lang="en-US" sz="900" dirty="0"/>
        </a:p>
      </dgm:t>
    </dgm:pt>
    <dgm:pt modelId="{BE6BA6BB-57EB-4B30-B9FC-EA4E2B0A5627}" type="parTrans" cxnId="{CDA92BDD-B875-4E16-B39E-CBAB3D050382}">
      <dgm:prSet/>
      <dgm:spPr/>
      <dgm:t>
        <a:bodyPr/>
        <a:lstStyle/>
        <a:p>
          <a:endParaRPr lang="en-US"/>
        </a:p>
      </dgm:t>
    </dgm:pt>
    <dgm:pt modelId="{8EA9883F-A7AE-4CE8-87ED-DCA2B5C39207}" type="sibTrans" cxnId="{CDA92BDD-B875-4E16-B39E-CBAB3D050382}">
      <dgm:prSet/>
      <dgm:spPr/>
      <dgm:t>
        <a:bodyPr/>
        <a:lstStyle/>
        <a:p>
          <a:endParaRPr lang="en-US"/>
        </a:p>
      </dgm:t>
    </dgm:pt>
    <dgm:pt modelId="{B08BC77B-514F-4E2D-BACD-F94FDCCE6DFA}">
      <dgm:prSet custT="1"/>
      <dgm:spPr>
        <a:solidFill>
          <a:srgbClr val="2E75B6"/>
        </a:solidFill>
        <a:ln>
          <a:noFill/>
        </a:ln>
      </dgm:spPr>
      <dgm:t>
        <a:bodyPr/>
        <a:lstStyle/>
        <a:p>
          <a:pPr>
            <a:lnSpc>
              <a:spcPct val="100000"/>
            </a:lnSpc>
            <a:spcAft>
              <a:spcPts val="0"/>
            </a:spcAft>
          </a:pPr>
          <a:r>
            <a:rPr lang="en-US" sz="1100" b="1" dirty="0"/>
            <a:t>Peter Sandeen</a:t>
          </a:r>
        </a:p>
        <a:p>
          <a:pPr>
            <a:lnSpc>
              <a:spcPct val="100000"/>
            </a:lnSpc>
            <a:spcAft>
              <a:spcPts val="0"/>
            </a:spcAft>
          </a:pPr>
          <a:r>
            <a:rPr lang="en-US" sz="1100" dirty="0"/>
            <a:t>Director of Sales, </a:t>
          </a:r>
          <a:r>
            <a:rPr lang="en-US" sz="1100" dirty="0" err="1"/>
            <a:t>FedCiv</a:t>
          </a:r>
          <a:endParaRPr lang="en-US" sz="1100" dirty="0"/>
        </a:p>
        <a:p>
          <a:pPr>
            <a:lnSpc>
              <a:spcPct val="100000"/>
            </a:lnSpc>
            <a:spcAft>
              <a:spcPts val="0"/>
            </a:spcAft>
          </a:pPr>
          <a:r>
            <a:rPr lang="en-US" sz="1100" dirty="0"/>
            <a:t>DOS/DOJ/DOE/FAA/SSA/EPA</a:t>
          </a:r>
        </a:p>
        <a:p>
          <a:pPr>
            <a:lnSpc>
              <a:spcPct val="100000"/>
            </a:lnSpc>
            <a:spcAft>
              <a:spcPts val="0"/>
            </a:spcAft>
          </a:pPr>
          <a:r>
            <a:rPr lang="en-US" sz="1100" dirty="0"/>
            <a:t>703-582-0784</a:t>
          </a:r>
        </a:p>
        <a:p>
          <a:pPr>
            <a:lnSpc>
              <a:spcPct val="100000"/>
            </a:lnSpc>
            <a:spcAft>
              <a:spcPts val="0"/>
            </a:spcAft>
          </a:pPr>
          <a:r>
            <a:rPr lang="en-US" sz="1000" dirty="0">
              <a:effectLst/>
            </a:rPr>
            <a:t>   </a:t>
          </a:r>
          <a:r>
            <a:rPr lang="en-US" sz="1000" dirty="0">
              <a:effectLst/>
              <a:hlinkClick xmlns:r="http://schemas.openxmlformats.org/officeDocument/2006/relationships" r:id="rId2"/>
            </a:rPr>
            <a:t>Peter.Sandeen@avepoint.com</a:t>
          </a:r>
          <a:endParaRPr lang="en-US" sz="900" dirty="0"/>
        </a:p>
      </dgm:t>
    </dgm:pt>
    <dgm:pt modelId="{1EEA95A8-56CE-4FE4-839A-A6AACD3C6E56}" type="parTrans" cxnId="{5C0AE9FD-F1B2-409A-9407-3AA295059B62}">
      <dgm:prSet/>
      <dgm:spPr>
        <a:ln w="19050">
          <a:solidFill>
            <a:srgbClr val="245D90"/>
          </a:solidFill>
        </a:ln>
      </dgm:spPr>
      <dgm:t>
        <a:bodyPr/>
        <a:lstStyle/>
        <a:p>
          <a:endParaRPr lang="en-US"/>
        </a:p>
      </dgm:t>
    </dgm:pt>
    <dgm:pt modelId="{4F328349-A56F-429D-B8AA-34BFD64D6EBE}" type="sibTrans" cxnId="{5C0AE9FD-F1B2-409A-9407-3AA295059B62}">
      <dgm:prSet/>
      <dgm:spPr/>
      <dgm:t>
        <a:bodyPr/>
        <a:lstStyle/>
        <a:p>
          <a:endParaRPr lang="en-US"/>
        </a:p>
      </dgm:t>
    </dgm:pt>
    <dgm:pt modelId="{492716B2-6BAE-4E11-AB36-DA5B1D050032}">
      <dgm:prSet custT="1"/>
      <dgm:spPr>
        <a:solidFill>
          <a:srgbClr val="2E75B6"/>
        </a:solidFill>
        <a:ln>
          <a:noFill/>
        </a:ln>
      </dgm:spPr>
      <dgm:t>
        <a:bodyPr/>
        <a:lstStyle/>
        <a:p>
          <a:pPr>
            <a:lnSpc>
              <a:spcPct val="100000"/>
            </a:lnSpc>
            <a:spcAft>
              <a:spcPts val="0"/>
            </a:spcAft>
          </a:pPr>
          <a:r>
            <a:rPr lang="en-US" sz="1100" b="1" dirty="0"/>
            <a:t>Tarek </a:t>
          </a:r>
          <a:r>
            <a:rPr lang="en-US" sz="1100" b="1" dirty="0" err="1"/>
            <a:t>Shamounki</a:t>
          </a:r>
          <a:r>
            <a:rPr lang="en-US" sz="1100" b="1" dirty="0"/>
            <a:t> </a:t>
          </a:r>
        </a:p>
        <a:p>
          <a:pPr>
            <a:lnSpc>
              <a:spcPct val="100000"/>
            </a:lnSpc>
            <a:spcAft>
              <a:spcPts val="0"/>
            </a:spcAft>
          </a:pPr>
          <a:r>
            <a:rPr lang="en-US" sz="1100" b="0" dirty="0"/>
            <a:t>SVP, Federal EPG</a:t>
          </a:r>
        </a:p>
        <a:p>
          <a:pPr>
            <a:lnSpc>
              <a:spcPct val="100000"/>
            </a:lnSpc>
            <a:spcAft>
              <a:spcPts val="0"/>
            </a:spcAft>
          </a:pPr>
          <a:r>
            <a:rPr lang="en-US" sz="1100" b="0" dirty="0"/>
            <a:t>703-596-8021</a:t>
          </a:r>
        </a:p>
        <a:p>
          <a:pPr>
            <a:lnSpc>
              <a:spcPct val="100000"/>
            </a:lnSpc>
            <a:spcAft>
              <a:spcPct val="35000"/>
            </a:spcAft>
          </a:pPr>
          <a:r>
            <a:rPr lang="en-US" sz="1000" dirty="0">
              <a:effectLst/>
            </a:rPr>
            <a:t>    </a:t>
          </a:r>
          <a:r>
            <a:rPr lang="en-US" sz="1000" dirty="0">
              <a:effectLst/>
              <a:hlinkClick xmlns:r="http://schemas.openxmlformats.org/officeDocument/2006/relationships" r:id="rId3"/>
            </a:rPr>
            <a:t>Tarek.Shamounki@avepoint.com</a:t>
          </a:r>
          <a:endParaRPr lang="en-US" sz="900" dirty="0"/>
        </a:p>
      </dgm:t>
    </dgm:pt>
    <dgm:pt modelId="{FEEADBF8-6810-4CC4-878B-95EAE7CA828C}" type="parTrans" cxnId="{507A9B12-C2BE-4B31-8048-8337740359EE}">
      <dgm:prSet/>
      <dgm:spPr>
        <a:ln w="19050">
          <a:solidFill>
            <a:srgbClr val="245D90"/>
          </a:solidFill>
        </a:ln>
      </dgm:spPr>
      <dgm:t>
        <a:bodyPr/>
        <a:lstStyle/>
        <a:p>
          <a:endParaRPr lang="en-US"/>
        </a:p>
      </dgm:t>
    </dgm:pt>
    <dgm:pt modelId="{81286D98-9E0F-46D4-A85A-639F629A35B9}" type="sibTrans" cxnId="{507A9B12-C2BE-4B31-8048-8337740359EE}">
      <dgm:prSet/>
      <dgm:spPr/>
      <dgm:t>
        <a:bodyPr/>
        <a:lstStyle/>
        <a:p>
          <a:endParaRPr lang="en-US"/>
        </a:p>
      </dgm:t>
    </dgm:pt>
    <dgm:pt modelId="{8B9A3C58-B7E1-4EF3-A6D9-AD692D1E9C96}">
      <dgm:prSet custT="1"/>
      <dgm:spPr>
        <a:solidFill>
          <a:srgbClr val="2E75B6"/>
        </a:solidFill>
        <a:ln>
          <a:noFill/>
        </a:ln>
      </dgm:spPr>
      <dgm:t>
        <a:bodyPr/>
        <a:lstStyle/>
        <a:p>
          <a:pPr>
            <a:lnSpc>
              <a:spcPct val="100000"/>
            </a:lnSpc>
            <a:spcAft>
              <a:spcPts val="0"/>
            </a:spcAft>
          </a:pPr>
          <a:r>
            <a:rPr lang="en-US" sz="1100" b="1" dirty="0"/>
            <a:t>Cress Murdock</a:t>
          </a:r>
        </a:p>
        <a:p>
          <a:pPr>
            <a:lnSpc>
              <a:spcPct val="100000"/>
            </a:lnSpc>
            <a:spcAft>
              <a:spcPts val="0"/>
            </a:spcAft>
          </a:pPr>
          <a:r>
            <a:rPr lang="en-US" sz="1100" b="0" dirty="0"/>
            <a:t>Major Account Executive</a:t>
          </a:r>
        </a:p>
        <a:p>
          <a:pPr>
            <a:lnSpc>
              <a:spcPct val="100000"/>
            </a:lnSpc>
            <a:spcAft>
              <a:spcPts val="0"/>
            </a:spcAft>
          </a:pPr>
          <a:r>
            <a:rPr lang="en-US" sz="1100" b="0" dirty="0"/>
            <a:t>DOI/VA/DHA/Federal </a:t>
          </a:r>
          <a:r>
            <a:rPr lang="en-US" sz="1100" b="0"/>
            <a:t>Financial Vertical</a:t>
          </a:r>
          <a:endParaRPr lang="en-US" sz="1100" b="0" dirty="0"/>
        </a:p>
        <a:p>
          <a:pPr>
            <a:lnSpc>
              <a:spcPct val="100000"/>
            </a:lnSpc>
            <a:spcAft>
              <a:spcPts val="0"/>
            </a:spcAft>
          </a:pPr>
          <a:r>
            <a:rPr lang="en-US" sz="1100" b="0" dirty="0"/>
            <a:t>301-401-8786</a:t>
          </a:r>
        </a:p>
        <a:p>
          <a:pPr>
            <a:lnSpc>
              <a:spcPct val="90000"/>
            </a:lnSpc>
            <a:spcAft>
              <a:spcPct val="35000"/>
            </a:spcAft>
          </a:pPr>
          <a:r>
            <a:rPr lang="en-US" sz="1000" dirty="0">
              <a:effectLst/>
              <a:hlinkClick xmlns:r="http://schemas.openxmlformats.org/officeDocument/2006/relationships" r:id="rId4"/>
            </a:rPr>
            <a:t>Cress.Murdock@avepoint.com</a:t>
          </a:r>
          <a:endParaRPr lang="en-US" sz="900" dirty="0">
            <a:effectLst/>
          </a:endParaRPr>
        </a:p>
      </dgm:t>
    </dgm:pt>
    <dgm:pt modelId="{2607AB63-C373-498F-BFD3-85D1A4F5A011}" type="parTrans" cxnId="{C98112C5-EEF3-4A3C-8E41-45E2347CC373}">
      <dgm:prSet/>
      <dgm:spPr>
        <a:ln w="19050">
          <a:solidFill>
            <a:srgbClr val="245D90"/>
          </a:solidFill>
        </a:ln>
      </dgm:spPr>
      <dgm:t>
        <a:bodyPr/>
        <a:lstStyle/>
        <a:p>
          <a:endParaRPr lang="en-US"/>
        </a:p>
      </dgm:t>
    </dgm:pt>
    <dgm:pt modelId="{42BE3672-1DDB-4CF1-A7E4-A6D6BDD48179}" type="sibTrans" cxnId="{C98112C5-EEF3-4A3C-8E41-45E2347CC373}">
      <dgm:prSet/>
      <dgm:spPr/>
      <dgm:t>
        <a:bodyPr/>
        <a:lstStyle/>
        <a:p>
          <a:endParaRPr lang="en-US"/>
        </a:p>
      </dgm:t>
    </dgm:pt>
    <dgm:pt modelId="{43BBD4BD-771E-4EBC-9EA3-C259C55616A1}">
      <dgm:prSet custT="1"/>
      <dgm:spPr>
        <a:solidFill>
          <a:srgbClr val="2E75B6"/>
        </a:solidFill>
        <a:ln>
          <a:noFill/>
        </a:ln>
      </dgm:spPr>
      <dgm:t>
        <a:bodyPr/>
        <a:lstStyle/>
        <a:p>
          <a:pPr algn="ctr">
            <a:lnSpc>
              <a:spcPct val="100000"/>
            </a:lnSpc>
            <a:spcAft>
              <a:spcPts val="0"/>
            </a:spcAft>
          </a:pPr>
          <a:r>
            <a:rPr lang="en-US" sz="1100" b="1" dirty="0"/>
            <a:t>Matt </a:t>
          </a:r>
          <a:r>
            <a:rPr lang="en-US" sz="1100" b="1" dirty="0" err="1"/>
            <a:t>Michels</a:t>
          </a:r>
          <a:endParaRPr lang="en-US" sz="1100" b="1" dirty="0"/>
        </a:p>
        <a:p>
          <a:pPr algn="ctr">
            <a:lnSpc>
              <a:spcPct val="100000"/>
            </a:lnSpc>
            <a:spcAft>
              <a:spcPts val="0"/>
            </a:spcAft>
          </a:pPr>
          <a:r>
            <a:rPr lang="en-US" sz="1100" b="0" dirty="0"/>
            <a:t>Major Account Executive</a:t>
          </a:r>
        </a:p>
        <a:p>
          <a:pPr algn="ctr">
            <a:lnSpc>
              <a:spcPct val="100000"/>
            </a:lnSpc>
            <a:spcAft>
              <a:spcPts val="0"/>
            </a:spcAft>
          </a:pPr>
          <a:r>
            <a:rPr lang="en-US" sz="1100" b="0" dirty="0"/>
            <a:t>HHS/USDA/DOC/HUD/DOL</a:t>
          </a:r>
        </a:p>
        <a:p>
          <a:pPr algn="ctr">
            <a:lnSpc>
              <a:spcPct val="100000"/>
            </a:lnSpc>
            <a:spcAft>
              <a:spcPts val="0"/>
            </a:spcAft>
          </a:pPr>
          <a:r>
            <a:rPr lang="en-US" sz="1100" b="0" dirty="0"/>
            <a:t>703-928-9980</a:t>
          </a:r>
        </a:p>
        <a:p>
          <a:pPr algn="ctr">
            <a:lnSpc>
              <a:spcPct val="90000"/>
            </a:lnSpc>
            <a:spcAft>
              <a:spcPct val="35000"/>
            </a:spcAft>
          </a:pPr>
          <a:r>
            <a:rPr lang="en-US" sz="1000" dirty="0">
              <a:hlinkClick xmlns:r="http://schemas.openxmlformats.org/officeDocument/2006/relationships" r:id="rId5"/>
            </a:rPr>
            <a:t>Matt.Michels@avepoint.com</a:t>
          </a:r>
          <a:endParaRPr lang="en-US" sz="900" dirty="0"/>
        </a:p>
      </dgm:t>
    </dgm:pt>
    <dgm:pt modelId="{7323EA4C-B6E3-42C0-B2C0-BA64E467529C}" type="parTrans" cxnId="{CB05557D-793B-4E69-9704-644BFE0D0F94}">
      <dgm:prSet/>
      <dgm:spPr>
        <a:ln w="19050">
          <a:solidFill>
            <a:srgbClr val="245D90"/>
          </a:solidFill>
        </a:ln>
      </dgm:spPr>
      <dgm:t>
        <a:bodyPr/>
        <a:lstStyle/>
        <a:p>
          <a:endParaRPr lang="en-US"/>
        </a:p>
      </dgm:t>
    </dgm:pt>
    <dgm:pt modelId="{DD69DD83-8FAE-4FB8-A016-CA5C4B2F0002}" type="sibTrans" cxnId="{CB05557D-793B-4E69-9704-644BFE0D0F94}">
      <dgm:prSet/>
      <dgm:spPr/>
      <dgm:t>
        <a:bodyPr/>
        <a:lstStyle/>
        <a:p>
          <a:endParaRPr lang="en-US"/>
        </a:p>
      </dgm:t>
    </dgm:pt>
    <dgm:pt modelId="{DAA0781A-34C7-4290-BBE9-A06E1493BF38}">
      <dgm:prSet custT="1"/>
      <dgm:spPr>
        <a:solidFill>
          <a:srgbClr val="2E75B6"/>
        </a:solidFill>
        <a:ln>
          <a:noFill/>
        </a:ln>
      </dgm:spPr>
      <dgm:t>
        <a:bodyPr/>
        <a:lstStyle/>
        <a:p>
          <a:pPr>
            <a:lnSpc>
              <a:spcPct val="100000"/>
            </a:lnSpc>
            <a:spcAft>
              <a:spcPts val="0"/>
            </a:spcAft>
          </a:pPr>
          <a:r>
            <a:rPr lang="en-US" sz="1100" b="1" dirty="0"/>
            <a:t>Dave Warner</a:t>
          </a:r>
        </a:p>
        <a:p>
          <a:pPr>
            <a:lnSpc>
              <a:spcPct val="100000"/>
            </a:lnSpc>
            <a:spcAft>
              <a:spcPts val="0"/>
            </a:spcAft>
          </a:pPr>
          <a:r>
            <a:rPr lang="en-US" sz="1100" b="0" dirty="0"/>
            <a:t>Major Account Executive</a:t>
          </a:r>
        </a:p>
        <a:p>
          <a:pPr>
            <a:lnSpc>
              <a:spcPct val="100000"/>
            </a:lnSpc>
            <a:spcAft>
              <a:spcPts val="0"/>
            </a:spcAft>
          </a:pPr>
          <a:r>
            <a:rPr lang="en-US" sz="1100" b="0" dirty="0"/>
            <a:t>DHS/DOE/</a:t>
          </a:r>
          <a:r>
            <a:rPr lang="en-US" sz="1100" b="0" dirty="0" err="1"/>
            <a:t>DoEd</a:t>
          </a:r>
          <a:r>
            <a:rPr lang="en-US" sz="1100" b="0" dirty="0"/>
            <a:t>/WB/UN/IMF/NARA </a:t>
          </a:r>
        </a:p>
        <a:p>
          <a:pPr>
            <a:lnSpc>
              <a:spcPct val="100000"/>
            </a:lnSpc>
            <a:spcAft>
              <a:spcPts val="0"/>
            </a:spcAft>
          </a:pPr>
          <a:r>
            <a:rPr lang="en-US" sz="1100" b="0" dirty="0"/>
            <a:t>301-412-5356</a:t>
          </a:r>
        </a:p>
        <a:p>
          <a:pPr>
            <a:lnSpc>
              <a:spcPct val="90000"/>
            </a:lnSpc>
            <a:spcAft>
              <a:spcPct val="35000"/>
            </a:spcAft>
          </a:pPr>
          <a:r>
            <a:rPr lang="en-US" sz="1000" dirty="0">
              <a:hlinkClick xmlns:r="http://schemas.openxmlformats.org/officeDocument/2006/relationships" r:id="rId6"/>
            </a:rPr>
            <a:t>Dave.Warner@avepoint.com</a:t>
          </a:r>
          <a:endParaRPr lang="en-US" sz="900" dirty="0"/>
        </a:p>
      </dgm:t>
    </dgm:pt>
    <dgm:pt modelId="{89D2CD59-0B0B-4FD2-B31F-24C0C501D8C5}" type="parTrans" cxnId="{076AA1B6-1968-4696-9807-AD85FF347346}">
      <dgm:prSet/>
      <dgm:spPr>
        <a:ln w="19050">
          <a:solidFill>
            <a:srgbClr val="245D90"/>
          </a:solidFill>
        </a:ln>
      </dgm:spPr>
      <dgm:t>
        <a:bodyPr/>
        <a:lstStyle/>
        <a:p>
          <a:endParaRPr lang="en-US"/>
        </a:p>
      </dgm:t>
    </dgm:pt>
    <dgm:pt modelId="{77F59EBD-7562-4EDB-95C2-A86A97CB9442}" type="sibTrans" cxnId="{076AA1B6-1968-4696-9807-AD85FF347346}">
      <dgm:prSet/>
      <dgm:spPr/>
      <dgm:t>
        <a:bodyPr/>
        <a:lstStyle/>
        <a:p>
          <a:endParaRPr lang="en-US"/>
        </a:p>
      </dgm:t>
    </dgm:pt>
    <dgm:pt modelId="{5C1D67A3-C325-4064-8765-2D37A02087DA}">
      <dgm:prSet custT="1"/>
      <dgm:spPr>
        <a:solidFill>
          <a:srgbClr val="2E75B6"/>
        </a:solidFill>
        <a:ln>
          <a:noFill/>
        </a:ln>
      </dgm:spPr>
      <dgm:t>
        <a:bodyPr/>
        <a:lstStyle/>
        <a:p>
          <a:pPr>
            <a:lnSpc>
              <a:spcPct val="100000"/>
            </a:lnSpc>
            <a:spcAft>
              <a:spcPts val="0"/>
            </a:spcAft>
          </a:pPr>
          <a:r>
            <a:rPr lang="en-US" sz="1100" b="1" dirty="0"/>
            <a:t>Paul Giles </a:t>
          </a:r>
        </a:p>
        <a:p>
          <a:pPr>
            <a:lnSpc>
              <a:spcPct val="100000"/>
            </a:lnSpc>
            <a:spcAft>
              <a:spcPts val="0"/>
            </a:spcAft>
          </a:pPr>
          <a:r>
            <a:rPr lang="en-US" sz="1100" b="0" dirty="0"/>
            <a:t>Sr. Bus. Dev. Manager</a:t>
          </a:r>
        </a:p>
        <a:p>
          <a:pPr>
            <a:lnSpc>
              <a:spcPct val="100000"/>
            </a:lnSpc>
            <a:spcAft>
              <a:spcPts val="0"/>
            </a:spcAft>
          </a:pPr>
          <a:r>
            <a:rPr lang="en-US" sz="1100" b="0" dirty="0"/>
            <a:t>Intel/Air Force</a:t>
          </a:r>
        </a:p>
        <a:p>
          <a:pPr>
            <a:lnSpc>
              <a:spcPct val="100000"/>
            </a:lnSpc>
            <a:spcAft>
              <a:spcPts val="0"/>
            </a:spcAft>
          </a:pPr>
          <a:r>
            <a:rPr lang="en-US" sz="1100" b="0" dirty="0"/>
            <a:t>703-851-7395</a:t>
          </a:r>
        </a:p>
        <a:p>
          <a:pPr>
            <a:lnSpc>
              <a:spcPct val="100000"/>
            </a:lnSpc>
            <a:spcAft>
              <a:spcPct val="35000"/>
            </a:spcAft>
          </a:pPr>
          <a:r>
            <a:rPr lang="en-US" sz="1000" dirty="0">
              <a:hlinkClick xmlns:r="http://schemas.openxmlformats.org/officeDocument/2006/relationships" r:id="rId7"/>
            </a:rPr>
            <a:t>Paul.Giles@avepoint.com</a:t>
          </a:r>
          <a:endParaRPr lang="en-US" sz="900" dirty="0"/>
        </a:p>
      </dgm:t>
    </dgm:pt>
    <dgm:pt modelId="{F5713F6D-CC2F-48CF-AA22-01B791E50010}" type="parTrans" cxnId="{9F043B89-1783-4C62-B437-7624AA67C8D1}">
      <dgm:prSet/>
      <dgm:spPr>
        <a:ln w="19050">
          <a:solidFill>
            <a:srgbClr val="245D90"/>
          </a:solidFill>
        </a:ln>
      </dgm:spPr>
      <dgm:t>
        <a:bodyPr/>
        <a:lstStyle/>
        <a:p>
          <a:endParaRPr lang="en-US"/>
        </a:p>
      </dgm:t>
    </dgm:pt>
    <dgm:pt modelId="{F684FD08-C9CB-463B-A86C-1AEB7AC88C50}" type="sibTrans" cxnId="{9F043B89-1783-4C62-B437-7624AA67C8D1}">
      <dgm:prSet/>
      <dgm:spPr/>
      <dgm:t>
        <a:bodyPr/>
        <a:lstStyle/>
        <a:p>
          <a:endParaRPr lang="en-US"/>
        </a:p>
      </dgm:t>
    </dgm:pt>
    <dgm:pt modelId="{48602ABA-A8CB-4A0F-8F72-5A0F8179D798}">
      <dgm:prSet custT="1"/>
      <dgm:spPr>
        <a:solidFill>
          <a:srgbClr val="2E75B6"/>
        </a:solidFill>
        <a:ln>
          <a:noFill/>
        </a:ln>
      </dgm:spPr>
      <dgm:t>
        <a:bodyPr/>
        <a:lstStyle/>
        <a:p>
          <a:pPr>
            <a:lnSpc>
              <a:spcPct val="100000"/>
            </a:lnSpc>
            <a:spcAft>
              <a:spcPts val="0"/>
            </a:spcAft>
          </a:pPr>
          <a:r>
            <a:rPr lang="en-US" sz="1100" b="1" dirty="0"/>
            <a:t>Lucy Wolcott</a:t>
          </a:r>
        </a:p>
        <a:p>
          <a:pPr>
            <a:lnSpc>
              <a:spcPct val="100000"/>
            </a:lnSpc>
            <a:spcAft>
              <a:spcPts val="0"/>
            </a:spcAft>
          </a:pPr>
          <a:r>
            <a:rPr lang="en-US" sz="1100" b="0" dirty="0"/>
            <a:t>Major Account Executive</a:t>
          </a:r>
        </a:p>
        <a:p>
          <a:pPr>
            <a:lnSpc>
              <a:spcPct val="100000"/>
            </a:lnSpc>
            <a:spcAft>
              <a:spcPts val="0"/>
            </a:spcAft>
          </a:pPr>
          <a:r>
            <a:rPr lang="en-US" sz="1100" b="0" dirty="0"/>
            <a:t>DoD Joint/Navy</a:t>
          </a:r>
        </a:p>
        <a:p>
          <a:pPr>
            <a:lnSpc>
              <a:spcPct val="100000"/>
            </a:lnSpc>
            <a:spcAft>
              <a:spcPts val="0"/>
            </a:spcAft>
          </a:pPr>
          <a:r>
            <a:rPr lang="en-US" sz="1100" b="0" dirty="0"/>
            <a:t>703-628-8057 </a:t>
          </a:r>
        </a:p>
        <a:p>
          <a:pPr>
            <a:lnSpc>
              <a:spcPct val="90000"/>
            </a:lnSpc>
            <a:spcAft>
              <a:spcPct val="35000"/>
            </a:spcAft>
          </a:pPr>
          <a:r>
            <a:rPr lang="en-US" sz="1050" dirty="0">
              <a:hlinkClick xmlns:r="http://schemas.openxmlformats.org/officeDocument/2006/relationships" r:id="rId8"/>
            </a:rPr>
            <a:t>Lucy.Wolcott@avepoint.com</a:t>
          </a:r>
          <a:endParaRPr lang="en-US" sz="900" dirty="0"/>
        </a:p>
      </dgm:t>
    </dgm:pt>
    <dgm:pt modelId="{C9ECE32A-D67D-456E-8C51-FA62E03BB2E2}" type="parTrans" cxnId="{65B3C606-2B63-4322-A10E-142F011B4516}">
      <dgm:prSet/>
      <dgm:spPr>
        <a:ln w="19050">
          <a:solidFill>
            <a:srgbClr val="245D90"/>
          </a:solidFill>
        </a:ln>
      </dgm:spPr>
      <dgm:t>
        <a:bodyPr/>
        <a:lstStyle/>
        <a:p>
          <a:endParaRPr lang="en-US"/>
        </a:p>
      </dgm:t>
    </dgm:pt>
    <dgm:pt modelId="{999486CE-3F86-40EE-B39B-5253E821C615}" type="sibTrans" cxnId="{65B3C606-2B63-4322-A10E-142F011B4516}">
      <dgm:prSet/>
      <dgm:spPr/>
      <dgm:t>
        <a:bodyPr/>
        <a:lstStyle/>
        <a:p>
          <a:endParaRPr lang="en-US"/>
        </a:p>
      </dgm:t>
    </dgm:pt>
    <dgm:pt modelId="{BF6E1E4E-0898-4E79-BE05-E03F1562CCEA}">
      <dgm:prSet custT="1"/>
      <dgm:spPr>
        <a:solidFill>
          <a:srgbClr val="2E75B6"/>
        </a:solidFill>
        <a:ln>
          <a:noFill/>
        </a:ln>
      </dgm:spPr>
      <dgm:t>
        <a:bodyPr/>
        <a:lstStyle/>
        <a:p>
          <a:pPr>
            <a:lnSpc>
              <a:spcPct val="100000"/>
            </a:lnSpc>
            <a:spcAft>
              <a:spcPts val="0"/>
            </a:spcAft>
          </a:pPr>
          <a:r>
            <a:rPr lang="en-US" sz="1100" b="1" dirty="0"/>
            <a:t>Chris Goings</a:t>
          </a:r>
        </a:p>
        <a:p>
          <a:pPr>
            <a:lnSpc>
              <a:spcPct val="100000"/>
            </a:lnSpc>
            <a:spcAft>
              <a:spcPts val="0"/>
            </a:spcAft>
          </a:pPr>
          <a:r>
            <a:rPr lang="en-US" sz="1100" b="0" dirty="0"/>
            <a:t>   Sr. Major Account Executive</a:t>
          </a:r>
        </a:p>
        <a:p>
          <a:pPr>
            <a:lnSpc>
              <a:spcPct val="100000"/>
            </a:lnSpc>
            <a:spcAft>
              <a:spcPts val="0"/>
            </a:spcAft>
          </a:pPr>
          <a:r>
            <a:rPr lang="en-US" sz="1100" b="0" dirty="0"/>
            <a:t>Army /COCOM/LMCO</a:t>
          </a:r>
        </a:p>
        <a:p>
          <a:pPr>
            <a:lnSpc>
              <a:spcPct val="100000"/>
            </a:lnSpc>
            <a:spcAft>
              <a:spcPts val="0"/>
            </a:spcAft>
          </a:pPr>
          <a:r>
            <a:rPr lang="en-US" sz="1100" b="0" dirty="0"/>
            <a:t>703-727-4377</a:t>
          </a:r>
        </a:p>
        <a:p>
          <a:pPr>
            <a:lnSpc>
              <a:spcPct val="90000"/>
            </a:lnSpc>
            <a:spcAft>
              <a:spcPct val="35000"/>
            </a:spcAft>
          </a:pPr>
          <a:r>
            <a:rPr lang="en-US" sz="1000" dirty="0">
              <a:hlinkClick xmlns:r="http://schemas.openxmlformats.org/officeDocument/2006/relationships" r:id="rId9"/>
            </a:rPr>
            <a:t>Chris.Goings@avepoint.com</a:t>
          </a:r>
          <a:endParaRPr lang="en-US" sz="900" dirty="0"/>
        </a:p>
      </dgm:t>
    </dgm:pt>
    <dgm:pt modelId="{8A997846-13EC-4440-A940-D069B7891E8F}" type="parTrans" cxnId="{4C734745-328A-4B22-974C-0B6DFD62E4EB}">
      <dgm:prSet/>
      <dgm:spPr>
        <a:ln w="19050">
          <a:solidFill>
            <a:srgbClr val="245D90"/>
          </a:solidFill>
        </a:ln>
      </dgm:spPr>
      <dgm:t>
        <a:bodyPr/>
        <a:lstStyle/>
        <a:p>
          <a:endParaRPr lang="en-US"/>
        </a:p>
      </dgm:t>
    </dgm:pt>
    <dgm:pt modelId="{6F5BFC4A-7BBF-4EC1-BB38-359AA262439E}" type="sibTrans" cxnId="{4C734745-328A-4B22-974C-0B6DFD62E4EB}">
      <dgm:prSet/>
      <dgm:spPr/>
      <dgm:t>
        <a:bodyPr/>
        <a:lstStyle/>
        <a:p>
          <a:endParaRPr lang="en-US"/>
        </a:p>
      </dgm:t>
    </dgm:pt>
    <dgm:pt modelId="{0F237E81-95AC-45FA-A1F1-BD3634A1712B}">
      <dgm:prSet custT="1"/>
      <dgm:spPr>
        <a:solidFill>
          <a:srgbClr val="2E75B6"/>
        </a:solidFill>
        <a:ln>
          <a:noFill/>
        </a:ln>
      </dgm:spPr>
      <dgm:t>
        <a:bodyPr/>
        <a:lstStyle/>
        <a:p>
          <a:pPr algn="ctr">
            <a:lnSpc>
              <a:spcPct val="100000"/>
            </a:lnSpc>
            <a:spcAft>
              <a:spcPts val="0"/>
            </a:spcAft>
          </a:pPr>
          <a:r>
            <a:rPr lang="en-US" sz="1100" b="1" dirty="0"/>
            <a:t>Shawn Auble </a:t>
          </a:r>
        </a:p>
        <a:p>
          <a:pPr algn="ctr">
            <a:lnSpc>
              <a:spcPct val="100000"/>
            </a:lnSpc>
            <a:spcAft>
              <a:spcPts val="0"/>
            </a:spcAft>
          </a:pPr>
          <a:r>
            <a:rPr lang="en-US" sz="1100" b="0" dirty="0"/>
            <a:t>Major Account Executive</a:t>
          </a:r>
        </a:p>
        <a:p>
          <a:pPr algn="ctr">
            <a:lnSpc>
              <a:spcPct val="100000"/>
            </a:lnSpc>
            <a:spcAft>
              <a:spcPts val="0"/>
            </a:spcAft>
          </a:pPr>
          <a:r>
            <a:rPr lang="en-US" sz="1100" b="0" dirty="0"/>
            <a:t>DOD/NATO/UN (EMEA/APAC)</a:t>
          </a:r>
        </a:p>
        <a:p>
          <a:pPr algn="ctr">
            <a:lnSpc>
              <a:spcPct val="100000"/>
            </a:lnSpc>
            <a:spcAft>
              <a:spcPts val="0"/>
            </a:spcAft>
          </a:pPr>
          <a:r>
            <a:rPr lang="en-US" sz="1100" b="0" dirty="0"/>
            <a:t>+49 (172) 577-8990</a:t>
          </a:r>
          <a:endParaRPr lang="en-US" sz="1100" b="0" dirty="0">
            <a:solidFill>
              <a:schemeClr val="bg1"/>
            </a:solidFill>
          </a:endParaRPr>
        </a:p>
        <a:p>
          <a:pPr marL="228600" marR="0" algn="ctr">
            <a:spcBef>
              <a:spcPts val="0"/>
            </a:spcBef>
            <a:spcAft>
              <a:spcPts val="0"/>
            </a:spcAft>
          </a:pPr>
          <a:r>
            <a:rPr lang="en-US" sz="1100" b="0" dirty="0">
              <a:solidFill>
                <a:schemeClr val="bg1"/>
              </a:solidFill>
              <a:hlinkClick xmlns:r="http://schemas.openxmlformats.org/officeDocument/2006/relationships" r:id="rId10"/>
            </a:rPr>
            <a:t>Shawn.Auble@avepoint.com</a:t>
          </a:r>
          <a:endParaRPr lang="en-US" sz="900" dirty="0">
            <a:solidFill>
              <a:schemeClr val="bg1"/>
            </a:solidFill>
          </a:endParaRPr>
        </a:p>
      </dgm:t>
    </dgm:pt>
    <dgm:pt modelId="{083C8AB3-1B73-492D-822C-83C67DB7F6A0}" type="parTrans" cxnId="{7F1C1E96-2B53-4DF4-A97A-FD03D22DB170}">
      <dgm:prSet/>
      <dgm:spPr>
        <a:ln w="19050">
          <a:solidFill>
            <a:srgbClr val="245D90"/>
          </a:solidFill>
        </a:ln>
      </dgm:spPr>
      <dgm:t>
        <a:bodyPr/>
        <a:lstStyle/>
        <a:p>
          <a:endParaRPr lang="en-US"/>
        </a:p>
      </dgm:t>
    </dgm:pt>
    <dgm:pt modelId="{BA025EAC-DB8A-495E-8732-E4353DE588D2}" type="sibTrans" cxnId="{7F1C1E96-2B53-4DF4-A97A-FD03D22DB170}">
      <dgm:prSet/>
      <dgm:spPr/>
      <dgm:t>
        <a:bodyPr/>
        <a:lstStyle/>
        <a:p>
          <a:endParaRPr lang="en-US"/>
        </a:p>
      </dgm:t>
    </dgm:pt>
    <dgm:pt modelId="{EC0D9469-D31C-417C-A99B-6D96170A8AE2}">
      <dgm:prSet custT="1"/>
      <dgm:spPr>
        <a:solidFill>
          <a:srgbClr val="2E75B6"/>
        </a:solidFill>
        <a:ln>
          <a:noFill/>
        </a:ln>
      </dgm:spPr>
      <dgm:t>
        <a:bodyPr/>
        <a:lstStyle/>
        <a:p>
          <a:pPr>
            <a:lnSpc>
              <a:spcPct val="100000"/>
            </a:lnSpc>
            <a:spcAft>
              <a:spcPts val="0"/>
            </a:spcAft>
          </a:pPr>
          <a:r>
            <a:rPr lang="en-US" sz="1100" b="1" dirty="0"/>
            <a:t>Kelly Schneider</a:t>
          </a:r>
        </a:p>
        <a:p>
          <a:pPr>
            <a:lnSpc>
              <a:spcPct val="100000"/>
            </a:lnSpc>
            <a:spcAft>
              <a:spcPts val="0"/>
            </a:spcAft>
          </a:pPr>
          <a:r>
            <a:rPr lang="en-US" sz="1100" b="0" dirty="0"/>
            <a:t>Sr. Marketing Manager</a:t>
          </a:r>
        </a:p>
        <a:p>
          <a:pPr>
            <a:lnSpc>
              <a:spcPct val="100000"/>
            </a:lnSpc>
            <a:spcAft>
              <a:spcPts val="0"/>
            </a:spcAft>
          </a:pPr>
          <a:r>
            <a:rPr lang="en-US" sz="1100" b="0" dirty="0"/>
            <a:t>703-587-5399</a:t>
          </a:r>
        </a:p>
        <a:p>
          <a:pPr>
            <a:lnSpc>
              <a:spcPct val="100000"/>
            </a:lnSpc>
            <a:spcAft>
              <a:spcPct val="35000"/>
            </a:spcAft>
          </a:pPr>
          <a:r>
            <a:rPr lang="en-US" sz="1000" dirty="0"/>
            <a:t>    </a:t>
          </a:r>
          <a:r>
            <a:rPr lang="en-US" sz="1000" dirty="0">
              <a:hlinkClick xmlns:r="http://schemas.openxmlformats.org/officeDocument/2006/relationships" r:id="rId11"/>
            </a:rPr>
            <a:t>Kelly.Schneider@AvePoint.com</a:t>
          </a:r>
          <a:endParaRPr lang="en-US" sz="900" dirty="0"/>
        </a:p>
      </dgm:t>
    </dgm:pt>
    <dgm:pt modelId="{FA0D2269-B3AB-446D-B3EC-8D32CB05A6D2}" type="parTrans" cxnId="{CB2601C9-06FD-430E-A607-FDA888900CCA}">
      <dgm:prSet/>
      <dgm:spPr>
        <a:ln w="19050">
          <a:solidFill>
            <a:srgbClr val="245D90"/>
          </a:solidFill>
          <a:prstDash val="sysDash"/>
        </a:ln>
      </dgm:spPr>
      <dgm:t>
        <a:bodyPr/>
        <a:lstStyle/>
        <a:p>
          <a:endParaRPr lang="en-US"/>
        </a:p>
      </dgm:t>
    </dgm:pt>
    <dgm:pt modelId="{BCBF2E91-C1C0-439D-810B-17AC2E49A7C7}" type="sibTrans" cxnId="{CB2601C9-06FD-430E-A607-FDA888900CCA}">
      <dgm:prSet/>
      <dgm:spPr/>
      <dgm:t>
        <a:bodyPr/>
        <a:lstStyle/>
        <a:p>
          <a:endParaRPr lang="en-US"/>
        </a:p>
      </dgm:t>
    </dgm:pt>
    <dgm:pt modelId="{DC34EA5C-1D9C-438D-848D-D67FE3AC8466}" type="pres">
      <dgm:prSet presAssocID="{7E7CAB36-100E-416E-88AB-3499E308377D}" presName="hierChild1" presStyleCnt="0">
        <dgm:presLayoutVars>
          <dgm:orgChart val="1"/>
          <dgm:chPref val="1"/>
          <dgm:dir/>
          <dgm:animOne val="branch"/>
          <dgm:animLvl val="lvl"/>
          <dgm:resizeHandles/>
        </dgm:presLayoutVars>
      </dgm:prSet>
      <dgm:spPr/>
    </dgm:pt>
    <dgm:pt modelId="{D099E1F3-62CC-4B00-8C73-F7A023DBAFC9}" type="pres">
      <dgm:prSet presAssocID="{6343994C-3F89-449E-8B83-B8D8496BBF5C}" presName="hierRoot1" presStyleCnt="0">
        <dgm:presLayoutVars>
          <dgm:hierBranch val="init"/>
        </dgm:presLayoutVars>
      </dgm:prSet>
      <dgm:spPr/>
    </dgm:pt>
    <dgm:pt modelId="{1642F0E0-1EFC-41F1-A092-D6AA60BCBD96}" type="pres">
      <dgm:prSet presAssocID="{6343994C-3F89-449E-8B83-B8D8496BBF5C}" presName="rootComposite1" presStyleCnt="0"/>
      <dgm:spPr/>
    </dgm:pt>
    <dgm:pt modelId="{44CFB047-F266-43FC-84AC-8A1DCEBF43BA}" type="pres">
      <dgm:prSet presAssocID="{6343994C-3F89-449E-8B83-B8D8496BBF5C}" presName="rootText1" presStyleLbl="node0" presStyleIdx="0" presStyleCnt="1" custScaleX="268043" custScaleY="174515" custLinFactNeighborX="0" custLinFactNeighborY="592">
        <dgm:presLayoutVars>
          <dgm:chPref val="3"/>
        </dgm:presLayoutVars>
      </dgm:prSet>
      <dgm:spPr/>
    </dgm:pt>
    <dgm:pt modelId="{B227C65A-8FD0-4E08-8C23-FF057DE3FE1E}" type="pres">
      <dgm:prSet presAssocID="{6343994C-3F89-449E-8B83-B8D8496BBF5C}" presName="rootPict1" presStyleLbl="alignImgPlace1" presStyleIdx="0" presStyleCnt="11" custScaleX="214597" custScaleY="177595" custLinFactX="-100000" custLinFactNeighborX="-116375" custLinFactNeighborY="-5847"/>
      <dgm:spPr>
        <a:blipFill>
          <a:blip xmlns:r="http://schemas.openxmlformats.org/officeDocument/2006/relationships" r:embed="rId12">
            <a:extLst>
              <a:ext uri="{28A0092B-C50C-407E-A947-70E740481C1C}">
                <a14:useLocalDpi xmlns:a14="http://schemas.microsoft.com/office/drawing/2010/main" val="0"/>
              </a:ext>
            </a:extLst>
          </a:blip>
          <a:srcRect/>
          <a:stretch>
            <a:fillRect/>
          </a:stretch>
        </a:blipFill>
      </dgm:spPr>
    </dgm:pt>
    <dgm:pt modelId="{7D985FC0-FC3E-43FD-8A91-08583EBB40B3}" type="pres">
      <dgm:prSet presAssocID="{6343994C-3F89-449E-8B83-B8D8496BBF5C}" presName="rootConnector1" presStyleLbl="node1" presStyleIdx="0" presStyleCnt="0"/>
      <dgm:spPr/>
    </dgm:pt>
    <dgm:pt modelId="{F531C9CE-DEA7-4F8B-96C3-2C7A6EC7B013}" type="pres">
      <dgm:prSet presAssocID="{6343994C-3F89-449E-8B83-B8D8496BBF5C}" presName="hierChild2" presStyleCnt="0"/>
      <dgm:spPr/>
    </dgm:pt>
    <dgm:pt modelId="{141D9981-56B4-4BA1-ACC0-8E1B2D751217}" type="pres">
      <dgm:prSet presAssocID="{FA0D2269-B3AB-446D-B3EC-8D32CB05A6D2}" presName="Name37" presStyleLbl="parChTrans1D2" presStyleIdx="0" presStyleCnt="2"/>
      <dgm:spPr/>
    </dgm:pt>
    <dgm:pt modelId="{BE86E5FC-5E23-4117-A4C4-682C95047B3D}" type="pres">
      <dgm:prSet presAssocID="{EC0D9469-D31C-417C-A99B-6D96170A8AE2}" presName="hierRoot2" presStyleCnt="0">
        <dgm:presLayoutVars>
          <dgm:hierBranch val="init"/>
        </dgm:presLayoutVars>
      </dgm:prSet>
      <dgm:spPr/>
    </dgm:pt>
    <dgm:pt modelId="{D98C27D9-CC35-49B6-89C3-E15F359D3C0C}" type="pres">
      <dgm:prSet presAssocID="{EC0D9469-D31C-417C-A99B-6D96170A8AE2}" presName="rootComposite" presStyleCnt="0"/>
      <dgm:spPr/>
    </dgm:pt>
    <dgm:pt modelId="{A360D032-0471-4642-824D-DB9D25C8CE5D}" type="pres">
      <dgm:prSet presAssocID="{EC0D9469-D31C-417C-A99B-6D96170A8AE2}" presName="rootText" presStyleLbl="node2" presStyleIdx="0" presStyleCnt="2" custScaleX="261773" custScaleY="174515" custLinFactNeighborX="-53635">
        <dgm:presLayoutVars>
          <dgm:chPref val="3"/>
        </dgm:presLayoutVars>
      </dgm:prSet>
      <dgm:spPr/>
    </dgm:pt>
    <dgm:pt modelId="{51E1E0D7-58A2-4C6B-AD49-EF63C2BAEC79}" type="pres">
      <dgm:prSet presAssocID="{EC0D9469-D31C-417C-A99B-6D96170A8AE2}" presName="rootPict" presStyleLbl="alignImgPlace1" presStyleIdx="1" presStyleCnt="11" custScaleX="191858" custScaleY="180443" custLinFactX="-198087" custLinFactNeighborX="-200000" custLinFactNeighborY="-451"/>
      <dgm:spPr>
        <a:blipFill>
          <a:blip xmlns:r="http://schemas.openxmlformats.org/officeDocument/2006/relationships" r:embed="rId13">
            <a:extLst>
              <a:ext uri="{28A0092B-C50C-407E-A947-70E740481C1C}">
                <a14:useLocalDpi xmlns:a14="http://schemas.microsoft.com/office/drawing/2010/main" val="0"/>
              </a:ext>
            </a:extLst>
          </a:blip>
          <a:srcRect/>
          <a:stretch>
            <a:fillRect/>
          </a:stretch>
        </a:blipFill>
      </dgm:spPr>
    </dgm:pt>
    <dgm:pt modelId="{070ED33C-3ABE-45AF-A996-3622E8ED715B}" type="pres">
      <dgm:prSet presAssocID="{EC0D9469-D31C-417C-A99B-6D96170A8AE2}" presName="rootConnector" presStyleLbl="node2" presStyleIdx="0" presStyleCnt="2"/>
      <dgm:spPr/>
    </dgm:pt>
    <dgm:pt modelId="{8D301C96-373F-45B5-BAF6-8B1823714B72}" type="pres">
      <dgm:prSet presAssocID="{EC0D9469-D31C-417C-A99B-6D96170A8AE2}" presName="hierChild4" presStyleCnt="0"/>
      <dgm:spPr/>
    </dgm:pt>
    <dgm:pt modelId="{7BAEBB09-BF33-46FA-B40E-7A002593D12A}" type="pres">
      <dgm:prSet presAssocID="{EC0D9469-D31C-417C-A99B-6D96170A8AE2}" presName="hierChild5" presStyleCnt="0"/>
      <dgm:spPr/>
    </dgm:pt>
    <dgm:pt modelId="{FEF6F258-1997-47F9-A391-F930E4113E8F}" type="pres">
      <dgm:prSet presAssocID="{FEEADBF8-6810-4CC4-878B-95EAE7CA828C}" presName="Name37" presStyleLbl="parChTrans1D2" presStyleIdx="1" presStyleCnt="2"/>
      <dgm:spPr/>
    </dgm:pt>
    <dgm:pt modelId="{E70A1683-0C8D-4B11-A94E-61FA5824049E}" type="pres">
      <dgm:prSet presAssocID="{492716B2-6BAE-4E11-AB36-DA5B1D050032}" presName="hierRoot2" presStyleCnt="0">
        <dgm:presLayoutVars>
          <dgm:hierBranch val="init"/>
        </dgm:presLayoutVars>
      </dgm:prSet>
      <dgm:spPr/>
    </dgm:pt>
    <dgm:pt modelId="{274AD38A-416E-44C5-85DB-E433DABA1083}" type="pres">
      <dgm:prSet presAssocID="{492716B2-6BAE-4E11-AB36-DA5B1D050032}" presName="rootComposite" presStyleCnt="0"/>
      <dgm:spPr/>
    </dgm:pt>
    <dgm:pt modelId="{4FFC2A11-D38F-43BF-AE14-4EED0EBF1C71}" type="pres">
      <dgm:prSet presAssocID="{492716B2-6BAE-4E11-AB36-DA5B1D050032}" presName="rootText" presStyleLbl="node2" presStyleIdx="1" presStyleCnt="2" custScaleX="261773" custScaleY="171753">
        <dgm:presLayoutVars>
          <dgm:chPref val="3"/>
        </dgm:presLayoutVars>
      </dgm:prSet>
      <dgm:spPr/>
    </dgm:pt>
    <dgm:pt modelId="{16A60CEF-6957-405C-9F73-52F4FC8C3973}" type="pres">
      <dgm:prSet presAssocID="{492716B2-6BAE-4E11-AB36-DA5B1D050032}" presName="rootPict" presStyleLbl="alignImgPlace1" presStyleIdx="2" presStyleCnt="11" custScaleX="191855" custScaleY="177186" custLinFactX="-100000" custLinFactNeighborX="-118028" custLinFactNeighborY="-6219"/>
      <dgm:spPr>
        <a:blipFill>
          <a:blip xmlns:r="http://schemas.openxmlformats.org/officeDocument/2006/relationships" r:embed="rId14" cstate="print">
            <a:extLst>
              <a:ext uri="{28A0092B-C50C-407E-A947-70E740481C1C}">
                <a14:useLocalDpi xmlns:a14="http://schemas.microsoft.com/office/drawing/2010/main" val="0"/>
              </a:ext>
            </a:extLst>
          </a:blip>
          <a:srcRect/>
          <a:stretch>
            <a:fillRect/>
          </a:stretch>
        </a:blipFill>
      </dgm:spPr>
    </dgm:pt>
    <dgm:pt modelId="{1152F64D-6C0E-4A28-B891-DDCB0BB1759A}" type="pres">
      <dgm:prSet presAssocID="{492716B2-6BAE-4E11-AB36-DA5B1D050032}" presName="rootConnector" presStyleLbl="node2" presStyleIdx="1" presStyleCnt="2"/>
      <dgm:spPr/>
    </dgm:pt>
    <dgm:pt modelId="{1CBA9F9E-EE17-4731-93A1-CA7807B6E36D}" type="pres">
      <dgm:prSet presAssocID="{492716B2-6BAE-4E11-AB36-DA5B1D050032}" presName="hierChild4" presStyleCnt="0"/>
      <dgm:spPr/>
    </dgm:pt>
    <dgm:pt modelId="{BFFC1553-4E40-4D71-A6CC-592A35B2C130}" type="pres">
      <dgm:prSet presAssocID="{1EEA95A8-56CE-4FE4-839A-A6AACD3C6E56}" presName="Name37" presStyleLbl="parChTrans1D3" presStyleIdx="0" presStyleCnt="2"/>
      <dgm:spPr/>
    </dgm:pt>
    <dgm:pt modelId="{D97ACF86-8D5C-4468-BDFD-34A6F7055E18}" type="pres">
      <dgm:prSet presAssocID="{B08BC77B-514F-4E2D-BACD-F94FDCCE6DFA}" presName="hierRoot2" presStyleCnt="0">
        <dgm:presLayoutVars>
          <dgm:hierBranch val="init"/>
        </dgm:presLayoutVars>
      </dgm:prSet>
      <dgm:spPr/>
    </dgm:pt>
    <dgm:pt modelId="{7AEAC9E7-9011-444B-AFD7-FC92EEA5EF98}" type="pres">
      <dgm:prSet presAssocID="{B08BC77B-514F-4E2D-BACD-F94FDCCE6DFA}" presName="rootComposite" presStyleCnt="0"/>
      <dgm:spPr/>
    </dgm:pt>
    <dgm:pt modelId="{8AF34FCF-0950-47E3-8BEE-514EA65E58A6}" type="pres">
      <dgm:prSet presAssocID="{B08BC77B-514F-4E2D-BACD-F94FDCCE6DFA}" presName="rootText" presStyleLbl="node3" presStyleIdx="0" presStyleCnt="2" custScaleX="260198" custScaleY="174306" custLinFactX="-19785" custLinFactNeighborX="-100000">
        <dgm:presLayoutVars>
          <dgm:chPref val="3"/>
        </dgm:presLayoutVars>
      </dgm:prSet>
      <dgm:spPr/>
    </dgm:pt>
    <dgm:pt modelId="{B536AABA-5090-4371-823C-202C57B07975}" type="pres">
      <dgm:prSet presAssocID="{B08BC77B-514F-4E2D-BACD-F94FDCCE6DFA}" presName="rootPict" presStyleLbl="alignImgPlace1" presStyleIdx="3" presStyleCnt="11" custScaleX="200653" custScaleY="183091" custLinFactX="-300000" custLinFactNeighborX="-320875" custLinFactNeighborY="-7665"/>
      <dgm:spPr>
        <a:blipFill>
          <a:blip xmlns:r="http://schemas.openxmlformats.org/officeDocument/2006/relationships" r:embed="rId15" cstate="print">
            <a:extLst>
              <a:ext uri="{28A0092B-C50C-407E-A947-70E740481C1C}">
                <a14:useLocalDpi xmlns:a14="http://schemas.microsoft.com/office/drawing/2010/main" val="0"/>
              </a:ext>
            </a:extLst>
          </a:blip>
          <a:srcRect/>
          <a:stretch>
            <a:fillRect/>
          </a:stretch>
        </a:blipFill>
      </dgm:spPr>
    </dgm:pt>
    <dgm:pt modelId="{923724ED-6CB7-4216-B0A2-4C155FD3AFDF}" type="pres">
      <dgm:prSet presAssocID="{B08BC77B-514F-4E2D-BACD-F94FDCCE6DFA}" presName="rootConnector" presStyleLbl="node3" presStyleIdx="0" presStyleCnt="2"/>
      <dgm:spPr/>
    </dgm:pt>
    <dgm:pt modelId="{527E4441-A440-40C0-9829-C8DD24EC6837}" type="pres">
      <dgm:prSet presAssocID="{B08BC77B-514F-4E2D-BACD-F94FDCCE6DFA}" presName="hierChild4" presStyleCnt="0"/>
      <dgm:spPr/>
    </dgm:pt>
    <dgm:pt modelId="{B1660003-8460-4F20-B89C-26D52314BC1B}" type="pres">
      <dgm:prSet presAssocID="{2607AB63-C373-498F-BFD3-85D1A4F5A011}" presName="Name37" presStyleLbl="parChTrans1D4" presStyleIdx="0" presStyleCnt="6"/>
      <dgm:spPr/>
    </dgm:pt>
    <dgm:pt modelId="{35CB44A7-C678-4BDC-929F-9C61EAF28B29}" type="pres">
      <dgm:prSet presAssocID="{8B9A3C58-B7E1-4EF3-A6D9-AD692D1E9C96}" presName="hierRoot2" presStyleCnt="0">
        <dgm:presLayoutVars>
          <dgm:hierBranch val="init"/>
        </dgm:presLayoutVars>
      </dgm:prSet>
      <dgm:spPr/>
    </dgm:pt>
    <dgm:pt modelId="{B3A21D32-AFEF-46FC-A840-8DE6CDECD245}" type="pres">
      <dgm:prSet presAssocID="{8B9A3C58-B7E1-4EF3-A6D9-AD692D1E9C96}" presName="rootComposite" presStyleCnt="0"/>
      <dgm:spPr/>
    </dgm:pt>
    <dgm:pt modelId="{0A8F47DD-C06B-4B59-BCF9-1F39E0BFB263}" type="pres">
      <dgm:prSet presAssocID="{8B9A3C58-B7E1-4EF3-A6D9-AD692D1E9C96}" presName="rootText" presStyleLbl="node4" presStyleIdx="0" presStyleCnt="6" custScaleX="301873" custScaleY="173753" custLinFactX="-10571" custLinFactNeighborX="-100000">
        <dgm:presLayoutVars>
          <dgm:chPref val="3"/>
        </dgm:presLayoutVars>
      </dgm:prSet>
      <dgm:spPr/>
    </dgm:pt>
    <dgm:pt modelId="{3989B262-4187-4731-9982-865B2AE79DB2}" type="pres">
      <dgm:prSet presAssocID="{8B9A3C58-B7E1-4EF3-A6D9-AD692D1E9C96}" presName="rootPict" presStyleLbl="alignImgPlace1" presStyleIdx="4" presStyleCnt="11" custScaleX="161069" custScaleY="160187" custLinFactX="-300000" custLinFactNeighborX="-375096" custLinFactNeighborY="-11672"/>
      <dgm:spPr>
        <a:blipFill>
          <a:blip xmlns:r="http://schemas.openxmlformats.org/officeDocument/2006/relationships" r:embed="rId16" cstate="print">
            <a:extLst>
              <a:ext uri="{28A0092B-C50C-407E-A947-70E740481C1C}">
                <a14:useLocalDpi xmlns:a14="http://schemas.microsoft.com/office/drawing/2010/main" val="0"/>
              </a:ext>
            </a:extLst>
          </a:blip>
          <a:srcRect/>
          <a:stretch>
            <a:fillRect/>
          </a:stretch>
        </a:blipFill>
      </dgm:spPr>
    </dgm:pt>
    <dgm:pt modelId="{E47F9A6C-8E9B-4CF9-8B32-816797AB89DF}" type="pres">
      <dgm:prSet presAssocID="{8B9A3C58-B7E1-4EF3-A6D9-AD692D1E9C96}" presName="rootConnector" presStyleLbl="node4" presStyleIdx="0" presStyleCnt="6"/>
      <dgm:spPr/>
    </dgm:pt>
    <dgm:pt modelId="{4316D72D-5A5B-49B8-9811-0F7E2C3C02DB}" type="pres">
      <dgm:prSet presAssocID="{8B9A3C58-B7E1-4EF3-A6D9-AD692D1E9C96}" presName="hierChild4" presStyleCnt="0"/>
      <dgm:spPr/>
    </dgm:pt>
    <dgm:pt modelId="{F40D78DA-9C36-4C46-B3D5-9C8F4B1FE535}" type="pres">
      <dgm:prSet presAssocID="{8B9A3C58-B7E1-4EF3-A6D9-AD692D1E9C96}" presName="hierChild5" presStyleCnt="0"/>
      <dgm:spPr/>
    </dgm:pt>
    <dgm:pt modelId="{6CEB1982-5F0B-4672-B650-93FAAC11EFB7}" type="pres">
      <dgm:prSet presAssocID="{7323EA4C-B6E3-42C0-B2C0-BA64E467529C}" presName="Name37" presStyleLbl="parChTrans1D4" presStyleIdx="1" presStyleCnt="6"/>
      <dgm:spPr/>
    </dgm:pt>
    <dgm:pt modelId="{CAC97DCE-047D-4323-91CF-E9967D9C3AF9}" type="pres">
      <dgm:prSet presAssocID="{43BBD4BD-771E-4EBC-9EA3-C259C55616A1}" presName="hierRoot2" presStyleCnt="0">
        <dgm:presLayoutVars>
          <dgm:hierBranch val="init"/>
        </dgm:presLayoutVars>
      </dgm:prSet>
      <dgm:spPr/>
    </dgm:pt>
    <dgm:pt modelId="{0E226FDE-1ADC-490E-8488-29C7ACC1939C}" type="pres">
      <dgm:prSet presAssocID="{43BBD4BD-771E-4EBC-9EA3-C259C55616A1}" presName="rootComposite" presStyleCnt="0"/>
      <dgm:spPr/>
    </dgm:pt>
    <dgm:pt modelId="{F21BB34F-4C47-4A74-97F7-5D162180A6BC}" type="pres">
      <dgm:prSet presAssocID="{43BBD4BD-771E-4EBC-9EA3-C259C55616A1}" presName="rootText" presStyleLbl="node4" presStyleIdx="1" presStyleCnt="6" custScaleX="301874" custScaleY="173753" custLinFactX="-10074" custLinFactNeighborX="-100000" custLinFactNeighborY="2515">
        <dgm:presLayoutVars>
          <dgm:chPref val="3"/>
        </dgm:presLayoutVars>
      </dgm:prSet>
      <dgm:spPr/>
    </dgm:pt>
    <dgm:pt modelId="{2DDE4FDD-469A-48EE-BC3A-583AD4A8B88C}" type="pres">
      <dgm:prSet presAssocID="{43BBD4BD-771E-4EBC-9EA3-C259C55616A1}" presName="rootPict" presStyleLbl="alignImgPlace1" presStyleIdx="5" presStyleCnt="11" custScaleX="175234" custScaleY="183646" custLinFactX="-300000" custLinFactNeighborX="-358934" custLinFactNeighborY="-799"/>
      <dgm:spPr>
        <a:blipFill>
          <a:blip xmlns:r="http://schemas.openxmlformats.org/officeDocument/2006/relationships" r:embed="rId17">
            <a:extLst>
              <a:ext uri="{28A0092B-C50C-407E-A947-70E740481C1C}">
                <a14:useLocalDpi xmlns:a14="http://schemas.microsoft.com/office/drawing/2010/main" val="0"/>
              </a:ext>
            </a:extLst>
          </a:blip>
          <a:srcRect/>
          <a:stretch>
            <a:fillRect/>
          </a:stretch>
        </a:blipFill>
      </dgm:spPr>
    </dgm:pt>
    <dgm:pt modelId="{7FFDC16C-7306-443D-901F-075CE17B283A}" type="pres">
      <dgm:prSet presAssocID="{43BBD4BD-771E-4EBC-9EA3-C259C55616A1}" presName="rootConnector" presStyleLbl="node4" presStyleIdx="1" presStyleCnt="6"/>
      <dgm:spPr/>
    </dgm:pt>
    <dgm:pt modelId="{87137186-BD52-4B79-8E3C-3BE73CD4EDDD}" type="pres">
      <dgm:prSet presAssocID="{43BBD4BD-771E-4EBC-9EA3-C259C55616A1}" presName="hierChild4" presStyleCnt="0"/>
      <dgm:spPr/>
    </dgm:pt>
    <dgm:pt modelId="{2B64BE79-6786-4146-AFAA-21ECA1487CFC}" type="pres">
      <dgm:prSet presAssocID="{43BBD4BD-771E-4EBC-9EA3-C259C55616A1}" presName="hierChild5" presStyleCnt="0"/>
      <dgm:spPr/>
    </dgm:pt>
    <dgm:pt modelId="{CF0D5A39-C7E6-4748-A355-16CF5C685488}" type="pres">
      <dgm:prSet presAssocID="{89D2CD59-0B0B-4FD2-B31F-24C0C501D8C5}" presName="Name37" presStyleLbl="parChTrans1D4" presStyleIdx="2" presStyleCnt="6"/>
      <dgm:spPr/>
    </dgm:pt>
    <dgm:pt modelId="{B9F3A759-81DF-491F-8107-188130901E78}" type="pres">
      <dgm:prSet presAssocID="{DAA0781A-34C7-4290-BBE9-A06E1493BF38}" presName="hierRoot2" presStyleCnt="0">
        <dgm:presLayoutVars>
          <dgm:hierBranch val="init"/>
        </dgm:presLayoutVars>
      </dgm:prSet>
      <dgm:spPr/>
    </dgm:pt>
    <dgm:pt modelId="{30541358-E3F4-47DE-B60E-3B8AC6EE72F4}" type="pres">
      <dgm:prSet presAssocID="{DAA0781A-34C7-4290-BBE9-A06E1493BF38}" presName="rootComposite" presStyleCnt="0"/>
      <dgm:spPr/>
    </dgm:pt>
    <dgm:pt modelId="{0EBCAE58-3ABD-47AF-B91A-539E44FD9DD3}" type="pres">
      <dgm:prSet presAssocID="{DAA0781A-34C7-4290-BBE9-A06E1493BF38}" presName="rootText" presStyleLbl="node4" presStyleIdx="2" presStyleCnt="6" custScaleX="301874" custScaleY="173753" custLinFactX="-7536" custLinFactNeighborX="-100000">
        <dgm:presLayoutVars>
          <dgm:chPref val="3"/>
        </dgm:presLayoutVars>
      </dgm:prSet>
      <dgm:spPr/>
    </dgm:pt>
    <dgm:pt modelId="{1459B711-DE50-4856-B84A-63CD9A2E9283}" type="pres">
      <dgm:prSet presAssocID="{DAA0781A-34C7-4290-BBE9-A06E1493BF38}" presName="rootPict" presStyleLbl="alignImgPlace1" presStyleIdx="6" presStyleCnt="11" custScaleX="144144" custScaleY="163079" custLinFactX="-300000" custLinFactNeighborX="-362251" custLinFactNeighborY="-11913"/>
      <dgm:spPr>
        <a:blipFill>
          <a:blip xmlns:r="http://schemas.openxmlformats.org/officeDocument/2006/relationships" r:embed="rId18" cstate="print">
            <a:extLst>
              <a:ext uri="{28A0092B-C50C-407E-A947-70E740481C1C}">
                <a14:useLocalDpi xmlns:a14="http://schemas.microsoft.com/office/drawing/2010/main" val="0"/>
              </a:ext>
            </a:extLst>
          </a:blip>
          <a:srcRect/>
          <a:stretch>
            <a:fillRect/>
          </a:stretch>
        </a:blipFill>
      </dgm:spPr>
    </dgm:pt>
    <dgm:pt modelId="{F78B5B04-21D3-4ECB-A332-F8A4C9E5D9C2}" type="pres">
      <dgm:prSet presAssocID="{DAA0781A-34C7-4290-BBE9-A06E1493BF38}" presName="rootConnector" presStyleLbl="node4" presStyleIdx="2" presStyleCnt="6"/>
      <dgm:spPr/>
    </dgm:pt>
    <dgm:pt modelId="{EF8CAB44-DDAF-47D3-A9B4-C6C28589DCD9}" type="pres">
      <dgm:prSet presAssocID="{DAA0781A-34C7-4290-BBE9-A06E1493BF38}" presName="hierChild4" presStyleCnt="0"/>
      <dgm:spPr/>
    </dgm:pt>
    <dgm:pt modelId="{3B8A08EF-69D8-44FD-88B1-CD94B9183E0D}" type="pres">
      <dgm:prSet presAssocID="{DAA0781A-34C7-4290-BBE9-A06E1493BF38}" presName="hierChild5" presStyleCnt="0"/>
      <dgm:spPr/>
    </dgm:pt>
    <dgm:pt modelId="{EFEC2E5B-38DE-47A0-B5E6-2143276B7368}" type="pres">
      <dgm:prSet presAssocID="{B08BC77B-514F-4E2D-BACD-F94FDCCE6DFA}" presName="hierChild5" presStyleCnt="0"/>
      <dgm:spPr/>
    </dgm:pt>
    <dgm:pt modelId="{412064A2-B54C-42F5-96B5-03FAFC5739C8}" type="pres">
      <dgm:prSet presAssocID="{F5713F6D-CC2F-48CF-AA22-01B791E50010}" presName="Name37" presStyleLbl="parChTrans1D3" presStyleIdx="1" presStyleCnt="2"/>
      <dgm:spPr/>
    </dgm:pt>
    <dgm:pt modelId="{3DD4F32B-F702-4F5B-B187-A999788784D9}" type="pres">
      <dgm:prSet presAssocID="{5C1D67A3-C325-4064-8765-2D37A02087DA}" presName="hierRoot2" presStyleCnt="0">
        <dgm:presLayoutVars>
          <dgm:hierBranch val="init"/>
        </dgm:presLayoutVars>
      </dgm:prSet>
      <dgm:spPr/>
    </dgm:pt>
    <dgm:pt modelId="{9DD89643-0C44-4B94-BC82-4E93A2E9A5DA}" type="pres">
      <dgm:prSet presAssocID="{5C1D67A3-C325-4064-8765-2D37A02087DA}" presName="rootComposite" presStyleCnt="0"/>
      <dgm:spPr/>
    </dgm:pt>
    <dgm:pt modelId="{10994932-9A62-4460-8DFD-6D383EF720A2}" type="pres">
      <dgm:prSet presAssocID="{5C1D67A3-C325-4064-8765-2D37A02087DA}" presName="rootText" presStyleLbl="node3" presStyleIdx="1" presStyleCnt="2" custScaleX="257630" custScaleY="173753" custLinFactNeighborX="46931">
        <dgm:presLayoutVars>
          <dgm:chPref val="3"/>
        </dgm:presLayoutVars>
      </dgm:prSet>
      <dgm:spPr/>
    </dgm:pt>
    <dgm:pt modelId="{DA54E92E-55E5-4366-B277-BEA4E10BF398}" type="pres">
      <dgm:prSet presAssocID="{5C1D67A3-C325-4064-8765-2D37A02087DA}" presName="rootPict" presStyleLbl="alignImgPlace1" presStyleIdx="7" presStyleCnt="11" custScaleX="207999" custScaleY="158533" custLinFactNeighborX="-40118" custLinFactNeighborY="-6829"/>
      <dgm:spPr>
        <a:blipFill>
          <a:blip xmlns:r="http://schemas.openxmlformats.org/officeDocument/2006/relationships" r:embed="rId19" cstate="print">
            <a:extLst>
              <a:ext uri="{28A0092B-C50C-407E-A947-70E740481C1C}">
                <a14:useLocalDpi xmlns:a14="http://schemas.microsoft.com/office/drawing/2010/main" val="0"/>
              </a:ext>
            </a:extLst>
          </a:blip>
          <a:srcRect/>
          <a:stretch>
            <a:fillRect/>
          </a:stretch>
        </a:blipFill>
      </dgm:spPr>
    </dgm:pt>
    <dgm:pt modelId="{F293609B-6CE8-4540-98FD-F4FE6962811B}" type="pres">
      <dgm:prSet presAssocID="{5C1D67A3-C325-4064-8765-2D37A02087DA}" presName="rootConnector" presStyleLbl="node3" presStyleIdx="1" presStyleCnt="2"/>
      <dgm:spPr/>
    </dgm:pt>
    <dgm:pt modelId="{84CCF063-9721-4ABB-BCCA-5185B62FDA09}" type="pres">
      <dgm:prSet presAssocID="{5C1D67A3-C325-4064-8765-2D37A02087DA}" presName="hierChild4" presStyleCnt="0"/>
      <dgm:spPr/>
    </dgm:pt>
    <dgm:pt modelId="{1468D4DA-604C-4F12-9FD8-73FEDECE5395}" type="pres">
      <dgm:prSet presAssocID="{C9ECE32A-D67D-456E-8C51-FA62E03BB2E2}" presName="Name37" presStyleLbl="parChTrans1D4" presStyleIdx="3" presStyleCnt="6"/>
      <dgm:spPr/>
    </dgm:pt>
    <dgm:pt modelId="{1536AE27-1CFD-4EA3-BC7A-7E793E3D7832}" type="pres">
      <dgm:prSet presAssocID="{48602ABA-A8CB-4A0F-8F72-5A0F8179D798}" presName="hierRoot2" presStyleCnt="0">
        <dgm:presLayoutVars>
          <dgm:hierBranch val="init"/>
        </dgm:presLayoutVars>
      </dgm:prSet>
      <dgm:spPr/>
    </dgm:pt>
    <dgm:pt modelId="{15043245-716F-4D75-8294-A023A9C45E79}" type="pres">
      <dgm:prSet presAssocID="{48602ABA-A8CB-4A0F-8F72-5A0F8179D798}" presName="rootComposite" presStyleCnt="0"/>
      <dgm:spPr/>
    </dgm:pt>
    <dgm:pt modelId="{23C5AA5B-E322-4ABE-8852-395262EC1F51}" type="pres">
      <dgm:prSet presAssocID="{48602ABA-A8CB-4A0F-8F72-5A0F8179D798}" presName="rootText" presStyleLbl="node4" presStyleIdx="3" presStyleCnt="6" custScaleX="301874" custScaleY="173491" custLinFactNeighborX="49545">
        <dgm:presLayoutVars>
          <dgm:chPref val="3"/>
        </dgm:presLayoutVars>
      </dgm:prSet>
      <dgm:spPr/>
    </dgm:pt>
    <dgm:pt modelId="{1C0670D9-BF47-44A1-BC89-3FF21D36D650}" type="pres">
      <dgm:prSet presAssocID="{48602ABA-A8CB-4A0F-8F72-5A0F8179D798}" presName="rootPict" presStyleLbl="alignImgPlace1" presStyleIdx="8" presStyleCnt="11" custScaleX="191855" custScaleY="173308" custLinFactX="-17926" custLinFactNeighborX="-100000" custLinFactNeighborY="-6862"/>
      <dgm:spPr>
        <a:blipFill>
          <a:blip xmlns:r="http://schemas.openxmlformats.org/officeDocument/2006/relationships" r:embed="rId20" cstate="print">
            <a:extLst>
              <a:ext uri="{28A0092B-C50C-407E-A947-70E740481C1C}">
                <a14:useLocalDpi xmlns:a14="http://schemas.microsoft.com/office/drawing/2010/main" val="0"/>
              </a:ext>
            </a:extLst>
          </a:blip>
          <a:srcRect/>
          <a:stretch>
            <a:fillRect/>
          </a:stretch>
        </a:blipFill>
      </dgm:spPr>
    </dgm:pt>
    <dgm:pt modelId="{E39850AF-C5BB-4B23-B3A2-C8FDAB82E983}" type="pres">
      <dgm:prSet presAssocID="{48602ABA-A8CB-4A0F-8F72-5A0F8179D798}" presName="rootConnector" presStyleLbl="node4" presStyleIdx="3" presStyleCnt="6"/>
      <dgm:spPr/>
    </dgm:pt>
    <dgm:pt modelId="{0B9097D1-1D72-4C75-A022-F13A0FCCB308}" type="pres">
      <dgm:prSet presAssocID="{48602ABA-A8CB-4A0F-8F72-5A0F8179D798}" presName="hierChild4" presStyleCnt="0"/>
      <dgm:spPr/>
    </dgm:pt>
    <dgm:pt modelId="{53CB6285-1673-42DB-B865-153BC5E0F3DC}" type="pres">
      <dgm:prSet presAssocID="{48602ABA-A8CB-4A0F-8F72-5A0F8179D798}" presName="hierChild5" presStyleCnt="0"/>
      <dgm:spPr/>
    </dgm:pt>
    <dgm:pt modelId="{F838F18B-651D-4153-AB36-7C3D24455FED}" type="pres">
      <dgm:prSet presAssocID="{8A997846-13EC-4440-A940-D069B7891E8F}" presName="Name37" presStyleLbl="parChTrans1D4" presStyleIdx="4" presStyleCnt="6"/>
      <dgm:spPr/>
    </dgm:pt>
    <dgm:pt modelId="{D59C8E0A-A522-48CA-92C0-65E3BC261B2B}" type="pres">
      <dgm:prSet presAssocID="{BF6E1E4E-0898-4E79-BE05-E03F1562CCEA}" presName="hierRoot2" presStyleCnt="0">
        <dgm:presLayoutVars>
          <dgm:hierBranch val="init"/>
        </dgm:presLayoutVars>
      </dgm:prSet>
      <dgm:spPr/>
    </dgm:pt>
    <dgm:pt modelId="{ABFE0C87-75BB-42F8-9FA2-66C3BF588F45}" type="pres">
      <dgm:prSet presAssocID="{BF6E1E4E-0898-4E79-BE05-E03F1562CCEA}" presName="rootComposite" presStyleCnt="0"/>
      <dgm:spPr/>
    </dgm:pt>
    <dgm:pt modelId="{B22B96C1-D880-4C0F-9172-A22C54BFE8B4}" type="pres">
      <dgm:prSet presAssocID="{BF6E1E4E-0898-4E79-BE05-E03F1562CCEA}" presName="rootText" presStyleLbl="node4" presStyleIdx="4" presStyleCnt="6" custScaleX="301874" custScaleY="172748" custLinFactNeighborX="49545" custLinFactNeighborY="-10260">
        <dgm:presLayoutVars>
          <dgm:chPref val="3"/>
        </dgm:presLayoutVars>
      </dgm:prSet>
      <dgm:spPr/>
    </dgm:pt>
    <dgm:pt modelId="{391B11D8-986D-49C9-857F-B8D60CF17329}" type="pres">
      <dgm:prSet presAssocID="{BF6E1E4E-0898-4E79-BE05-E03F1562CCEA}" presName="rootPict" presStyleLbl="alignImgPlace1" presStyleIdx="9" presStyleCnt="11" custScaleX="158816" custScaleY="183599" custLinFactX="-32872" custLinFactNeighborX="-100000" custLinFactNeighborY="-12670"/>
      <dgm:spPr>
        <a:blipFill>
          <a:blip xmlns:r="http://schemas.openxmlformats.org/officeDocument/2006/relationships" r:embed="rId21" cstate="print">
            <a:extLst>
              <a:ext uri="{28A0092B-C50C-407E-A947-70E740481C1C}">
                <a14:useLocalDpi xmlns:a14="http://schemas.microsoft.com/office/drawing/2010/main" val="0"/>
              </a:ext>
            </a:extLst>
          </a:blip>
          <a:srcRect/>
          <a:stretch>
            <a:fillRect/>
          </a:stretch>
        </a:blipFill>
      </dgm:spPr>
    </dgm:pt>
    <dgm:pt modelId="{976D1226-2F14-49B0-975F-55CACB400299}" type="pres">
      <dgm:prSet presAssocID="{BF6E1E4E-0898-4E79-BE05-E03F1562CCEA}" presName="rootConnector" presStyleLbl="node4" presStyleIdx="4" presStyleCnt="6"/>
      <dgm:spPr/>
    </dgm:pt>
    <dgm:pt modelId="{AEBCDFEE-7114-4A6B-B229-91B18B02AA3F}" type="pres">
      <dgm:prSet presAssocID="{BF6E1E4E-0898-4E79-BE05-E03F1562CCEA}" presName="hierChild4" presStyleCnt="0"/>
      <dgm:spPr/>
    </dgm:pt>
    <dgm:pt modelId="{6D3188DD-FBDC-4C89-9793-990DD5BA27FA}" type="pres">
      <dgm:prSet presAssocID="{BF6E1E4E-0898-4E79-BE05-E03F1562CCEA}" presName="hierChild5" presStyleCnt="0"/>
      <dgm:spPr/>
    </dgm:pt>
    <dgm:pt modelId="{F509E01D-B7DF-482C-969D-F298B85496F1}" type="pres">
      <dgm:prSet presAssocID="{083C8AB3-1B73-492D-822C-83C67DB7F6A0}" presName="Name37" presStyleLbl="parChTrans1D4" presStyleIdx="5" presStyleCnt="6"/>
      <dgm:spPr/>
    </dgm:pt>
    <dgm:pt modelId="{BFD7E3E7-0131-4012-9669-9F19CDFE4653}" type="pres">
      <dgm:prSet presAssocID="{0F237E81-95AC-45FA-A1F1-BD3634A1712B}" presName="hierRoot2" presStyleCnt="0">
        <dgm:presLayoutVars>
          <dgm:hierBranch val="init"/>
        </dgm:presLayoutVars>
      </dgm:prSet>
      <dgm:spPr/>
    </dgm:pt>
    <dgm:pt modelId="{6DD5FB32-1272-4FDA-A9A3-6CC5472E84AC}" type="pres">
      <dgm:prSet presAssocID="{0F237E81-95AC-45FA-A1F1-BD3634A1712B}" presName="rootComposite" presStyleCnt="0"/>
      <dgm:spPr/>
    </dgm:pt>
    <dgm:pt modelId="{15F8C5A3-2C80-4D67-AA3E-DE6DC570675A}" type="pres">
      <dgm:prSet presAssocID="{0F237E81-95AC-45FA-A1F1-BD3634A1712B}" presName="rootText" presStyleLbl="node4" presStyleIdx="5" presStyleCnt="6" custScaleX="301874" custScaleY="172249" custLinFactNeighborX="47539" custLinFactNeighborY="-20911">
        <dgm:presLayoutVars>
          <dgm:chPref val="3"/>
        </dgm:presLayoutVars>
      </dgm:prSet>
      <dgm:spPr/>
    </dgm:pt>
    <dgm:pt modelId="{24E8146A-1445-4710-A660-3B764DBE2196}" type="pres">
      <dgm:prSet presAssocID="{0F237E81-95AC-45FA-A1F1-BD3634A1712B}" presName="rootPict" presStyleLbl="alignImgPlace1" presStyleIdx="10" presStyleCnt="11" custScaleX="162091" custScaleY="165892" custLinFactX="-47631" custLinFactNeighborX="-100000" custLinFactNeighborY="-33076"/>
      <dgm:spPr>
        <a:blipFill>
          <a:blip xmlns:r="http://schemas.openxmlformats.org/officeDocument/2006/relationships" r:embed="rId22" cstate="print">
            <a:extLst>
              <a:ext uri="{28A0092B-C50C-407E-A947-70E740481C1C}">
                <a14:useLocalDpi xmlns:a14="http://schemas.microsoft.com/office/drawing/2010/main" val="0"/>
              </a:ext>
            </a:extLst>
          </a:blip>
          <a:srcRect/>
          <a:stretch>
            <a:fillRect/>
          </a:stretch>
        </a:blipFill>
      </dgm:spPr>
    </dgm:pt>
    <dgm:pt modelId="{48F36F9E-4BA8-4DA0-8E45-38E7FA2C1158}" type="pres">
      <dgm:prSet presAssocID="{0F237E81-95AC-45FA-A1F1-BD3634A1712B}" presName="rootConnector" presStyleLbl="node4" presStyleIdx="5" presStyleCnt="6"/>
      <dgm:spPr/>
    </dgm:pt>
    <dgm:pt modelId="{21E724B8-E8B8-4C7C-904D-D3ECD1ED7FD2}" type="pres">
      <dgm:prSet presAssocID="{0F237E81-95AC-45FA-A1F1-BD3634A1712B}" presName="hierChild4" presStyleCnt="0"/>
      <dgm:spPr/>
    </dgm:pt>
    <dgm:pt modelId="{C76389A9-CE75-4BBF-8E89-F43E0BE99138}" type="pres">
      <dgm:prSet presAssocID="{0F237E81-95AC-45FA-A1F1-BD3634A1712B}" presName="hierChild5" presStyleCnt="0"/>
      <dgm:spPr/>
    </dgm:pt>
    <dgm:pt modelId="{AAC7F2F2-4000-408B-8E4C-92F0324C415A}" type="pres">
      <dgm:prSet presAssocID="{5C1D67A3-C325-4064-8765-2D37A02087DA}" presName="hierChild5" presStyleCnt="0"/>
      <dgm:spPr/>
    </dgm:pt>
    <dgm:pt modelId="{45B436E9-85D7-42AE-89C2-D42EC5A3165D}" type="pres">
      <dgm:prSet presAssocID="{492716B2-6BAE-4E11-AB36-DA5B1D050032}" presName="hierChild5" presStyleCnt="0"/>
      <dgm:spPr/>
    </dgm:pt>
    <dgm:pt modelId="{335D8A55-8F11-4586-B50F-8C9DBB2BFCC2}" type="pres">
      <dgm:prSet presAssocID="{6343994C-3F89-449E-8B83-B8D8496BBF5C}" presName="hierChild3" presStyleCnt="0"/>
      <dgm:spPr/>
    </dgm:pt>
  </dgm:ptLst>
  <dgm:cxnLst>
    <dgm:cxn modelId="{DEE07C0C-36B4-48A8-8DE1-E989B6811AE8}" type="presOf" srcId="{48602ABA-A8CB-4A0F-8F72-5A0F8179D798}" destId="{E39850AF-C5BB-4B23-B3A2-C8FDAB82E983}" srcOrd="1" destOrd="0" presId="urn:microsoft.com/office/officeart/2005/8/layout/pictureOrgChart+Icon"/>
    <dgm:cxn modelId="{C9CF31FC-4BED-4D15-B130-AE3AA24E8FCE}" type="presOf" srcId="{FA0D2269-B3AB-446D-B3EC-8D32CB05A6D2}" destId="{141D9981-56B4-4BA1-ACC0-8E1B2D751217}" srcOrd="0" destOrd="0" presId="urn:microsoft.com/office/officeart/2005/8/layout/pictureOrgChart+Icon"/>
    <dgm:cxn modelId="{FF459292-6AB5-409B-BC1B-C4086448B7CF}" type="presOf" srcId="{F5713F6D-CC2F-48CF-AA22-01B791E50010}" destId="{412064A2-B54C-42F5-96B5-03FAFC5739C8}" srcOrd="0" destOrd="0" presId="urn:microsoft.com/office/officeart/2005/8/layout/pictureOrgChart+Icon"/>
    <dgm:cxn modelId="{5D4FC694-D1CE-4522-9F94-ADA328E48034}" type="presOf" srcId="{0F237E81-95AC-45FA-A1F1-BD3634A1712B}" destId="{15F8C5A3-2C80-4D67-AA3E-DE6DC570675A}" srcOrd="0" destOrd="0" presId="urn:microsoft.com/office/officeart/2005/8/layout/pictureOrgChart+Icon"/>
    <dgm:cxn modelId="{4C734745-328A-4B22-974C-0B6DFD62E4EB}" srcId="{5C1D67A3-C325-4064-8765-2D37A02087DA}" destId="{BF6E1E4E-0898-4E79-BE05-E03F1562CCEA}" srcOrd="1" destOrd="0" parTransId="{8A997846-13EC-4440-A940-D069B7891E8F}" sibTransId="{6F5BFC4A-7BBF-4EC1-BB38-359AA262439E}"/>
    <dgm:cxn modelId="{CCC5A0DF-0DE6-480C-9E17-9E4225B0F255}" type="presOf" srcId="{48602ABA-A8CB-4A0F-8F72-5A0F8179D798}" destId="{23C5AA5B-E322-4ABE-8852-395262EC1F51}" srcOrd="0" destOrd="0" presId="urn:microsoft.com/office/officeart/2005/8/layout/pictureOrgChart+Icon"/>
    <dgm:cxn modelId="{C98112C5-EEF3-4A3C-8E41-45E2347CC373}" srcId="{B08BC77B-514F-4E2D-BACD-F94FDCCE6DFA}" destId="{8B9A3C58-B7E1-4EF3-A6D9-AD692D1E9C96}" srcOrd="0" destOrd="0" parTransId="{2607AB63-C373-498F-BFD3-85D1A4F5A011}" sibTransId="{42BE3672-1DDB-4CF1-A7E4-A6D6BDD48179}"/>
    <dgm:cxn modelId="{C10CA4E1-1C13-46F8-B198-F7B240328B98}" type="presOf" srcId="{B08BC77B-514F-4E2D-BACD-F94FDCCE6DFA}" destId="{8AF34FCF-0950-47E3-8BEE-514EA65E58A6}" srcOrd="0" destOrd="0" presId="urn:microsoft.com/office/officeart/2005/8/layout/pictureOrgChart+Icon"/>
    <dgm:cxn modelId="{1F6F14F5-9BF1-4300-A3F2-A18BF71AAEE5}" type="presOf" srcId="{083C8AB3-1B73-492D-822C-83C67DB7F6A0}" destId="{F509E01D-B7DF-482C-969D-F298B85496F1}" srcOrd="0" destOrd="0" presId="urn:microsoft.com/office/officeart/2005/8/layout/pictureOrgChart+Icon"/>
    <dgm:cxn modelId="{9F043B89-1783-4C62-B437-7624AA67C8D1}" srcId="{492716B2-6BAE-4E11-AB36-DA5B1D050032}" destId="{5C1D67A3-C325-4064-8765-2D37A02087DA}" srcOrd="1" destOrd="0" parTransId="{F5713F6D-CC2F-48CF-AA22-01B791E50010}" sibTransId="{F684FD08-C9CB-463B-A86C-1AEB7AC88C50}"/>
    <dgm:cxn modelId="{00C842F6-0FAC-4A32-AD49-FC37CA29C68D}" type="presOf" srcId="{7323EA4C-B6E3-42C0-B2C0-BA64E467529C}" destId="{6CEB1982-5F0B-4672-B650-93FAAC11EFB7}" srcOrd="0" destOrd="0" presId="urn:microsoft.com/office/officeart/2005/8/layout/pictureOrgChart+Icon"/>
    <dgm:cxn modelId="{C9609026-2ABF-4429-9E3C-C66063F86C5C}" type="presOf" srcId="{43BBD4BD-771E-4EBC-9EA3-C259C55616A1}" destId="{7FFDC16C-7306-443D-901F-075CE17B283A}" srcOrd="1" destOrd="0" presId="urn:microsoft.com/office/officeart/2005/8/layout/pictureOrgChart+Icon"/>
    <dgm:cxn modelId="{D1E9F21F-AEBE-45BF-B427-48B3D7130975}" type="presOf" srcId="{DAA0781A-34C7-4290-BBE9-A06E1493BF38}" destId="{0EBCAE58-3ABD-47AF-B91A-539E44FD9DD3}" srcOrd="0" destOrd="0" presId="urn:microsoft.com/office/officeart/2005/8/layout/pictureOrgChart+Icon"/>
    <dgm:cxn modelId="{076AA1B6-1968-4696-9807-AD85FF347346}" srcId="{B08BC77B-514F-4E2D-BACD-F94FDCCE6DFA}" destId="{DAA0781A-34C7-4290-BBE9-A06E1493BF38}" srcOrd="2" destOrd="0" parTransId="{89D2CD59-0B0B-4FD2-B31F-24C0C501D8C5}" sibTransId="{77F59EBD-7562-4EDB-95C2-A86A97CB9442}"/>
    <dgm:cxn modelId="{DB9F5EC0-604D-4D36-AE49-2A954161AC0B}" type="presOf" srcId="{BF6E1E4E-0898-4E79-BE05-E03F1562CCEA}" destId="{B22B96C1-D880-4C0F-9172-A22C54BFE8B4}" srcOrd="0" destOrd="0" presId="urn:microsoft.com/office/officeart/2005/8/layout/pictureOrgChart+Icon"/>
    <dgm:cxn modelId="{CB05557D-793B-4E69-9704-644BFE0D0F94}" srcId="{B08BC77B-514F-4E2D-BACD-F94FDCCE6DFA}" destId="{43BBD4BD-771E-4EBC-9EA3-C259C55616A1}" srcOrd="1" destOrd="0" parTransId="{7323EA4C-B6E3-42C0-B2C0-BA64E467529C}" sibTransId="{DD69DD83-8FAE-4FB8-A016-CA5C4B2F0002}"/>
    <dgm:cxn modelId="{8B7C56F8-C39E-455D-AAFC-6852000FEDFF}" type="presOf" srcId="{8B9A3C58-B7E1-4EF3-A6D9-AD692D1E9C96}" destId="{0A8F47DD-C06B-4B59-BCF9-1F39E0BFB263}" srcOrd="0" destOrd="0" presId="urn:microsoft.com/office/officeart/2005/8/layout/pictureOrgChart+Icon"/>
    <dgm:cxn modelId="{3FEE2DCB-BC74-4B00-9120-D22A9DEA74E1}" type="presOf" srcId="{EC0D9469-D31C-417C-A99B-6D96170A8AE2}" destId="{A360D032-0471-4642-824D-DB9D25C8CE5D}" srcOrd="0" destOrd="0" presId="urn:microsoft.com/office/officeart/2005/8/layout/pictureOrgChart+Icon"/>
    <dgm:cxn modelId="{0D8703DE-6549-4AA6-8D0C-AFFCAD66B217}" type="presOf" srcId="{C9ECE32A-D67D-456E-8C51-FA62E03BB2E2}" destId="{1468D4DA-604C-4F12-9FD8-73FEDECE5395}" srcOrd="0" destOrd="0" presId="urn:microsoft.com/office/officeart/2005/8/layout/pictureOrgChart+Icon"/>
    <dgm:cxn modelId="{05AC9138-E3AE-42DD-87A6-3ED4DD5E73B3}" type="presOf" srcId="{B08BC77B-514F-4E2D-BACD-F94FDCCE6DFA}" destId="{923724ED-6CB7-4216-B0A2-4C155FD3AFDF}" srcOrd="1" destOrd="0" presId="urn:microsoft.com/office/officeart/2005/8/layout/pictureOrgChart+Icon"/>
    <dgm:cxn modelId="{3C24AF82-F21C-41B9-8A96-0035661BD2B2}" type="presOf" srcId="{5C1D67A3-C325-4064-8765-2D37A02087DA}" destId="{10994932-9A62-4460-8DFD-6D383EF720A2}" srcOrd="0" destOrd="0" presId="urn:microsoft.com/office/officeart/2005/8/layout/pictureOrgChart+Icon"/>
    <dgm:cxn modelId="{FD74E4E9-A427-44A0-8328-8476437C2725}" type="presOf" srcId="{6343994C-3F89-449E-8B83-B8D8496BBF5C}" destId="{7D985FC0-FC3E-43FD-8A91-08583EBB40B3}" srcOrd="1" destOrd="0" presId="urn:microsoft.com/office/officeart/2005/8/layout/pictureOrgChart+Icon"/>
    <dgm:cxn modelId="{65B3C606-2B63-4322-A10E-142F011B4516}" srcId="{5C1D67A3-C325-4064-8765-2D37A02087DA}" destId="{48602ABA-A8CB-4A0F-8F72-5A0F8179D798}" srcOrd="0" destOrd="0" parTransId="{C9ECE32A-D67D-456E-8C51-FA62E03BB2E2}" sibTransId="{999486CE-3F86-40EE-B39B-5253E821C615}"/>
    <dgm:cxn modelId="{2C2DF24D-2135-41F9-A4BA-7EFDB0909058}" type="presOf" srcId="{2607AB63-C373-498F-BFD3-85D1A4F5A011}" destId="{B1660003-8460-4F20-B89C-26D52314BC1B}" srcOrd="0" destOrd="0" presId="urn:microsoft.com/office/officeart/2005/8/layout/pictureOrgChart+Icon"/>
    <dgm:cxn modelId="{D82AC0AD-8AD6-4128-9EBC-8D42A8A4662F}" type="presOf" srcId="{8A997846-13EC-4440-A940-D069B7891E8F}" destId="{F838F18B-651D-4153-AB36-7C3D24455FED}" srcOrd="0" destOrd="0" presId="urn:microsoft.com/office/officeart/2005/8/layout/pictureOrgChart+Icon"/>
    <dgm:cxn modelId="{1FB6C50F-E044-4DE9-8FF9-1EAFD9BF4696}" type="presOf" srcId="{1EEA95A8-56CE-4FE4-839A-A6AACD3C6E56}" destId="{BFFC1553-4E40-4D71-A6CC-592A35B2C130}" srcOrd="0" destOrd="0" presId="urn:microsoft.com/office/officeart/2005/8/layout/pictureOrgChart+Icon"/>
    <dgm:cxn modelId="{4CBC5405-8AE2-47CE-9704-DDAC7C28FC87}" type="presOf" srcId="{0F237E81-95AC-45FA-A1F1-BD3634A1712B}" destId="{48F36F9E-4BA8-4DA0-8E45-38E7FA2C1158}" srcOrd="1" destOrd="0" presId="urn:microsoft.com/office/officeart/2005/8/layout/pictureOrgChart+Icon"/>
    <dgm:cxn modelId="{C5F1DC52-0F56-4856-A492-2067C55B604A}" type="presOf" srcId="{89D2CD59-0B0B-4FD2-B31F-24C0C501D8C5}" destId="{CF0D5A39-C7E6-4748-A355-16CF5C685488}" srcOrd="0" destOrd="0" presId="urn:microsoft.com/office/officeart/2005/8/layout/pictureOrgChart+Icon"/>
    <dgm:cxn modelId="{CDA92BDD-B875-4E16-B39E-CBAB3D050382}" srcId="{7E7CAB36-100E-416E-88AB-3499E308377D}" destId="{6343994C-3F89-449E-8B83-B8D8496BBF5C}" srcOrd="0" destOrd="0" parTransId="{BE6BA6BB-57EB-4B30-B9FC-EA4E2B0A5627}" sibTransId="{8EA9883F-A7AE-4CE8-87ED-DCA2B5C39207}"/>
    <dgm:cxn modelId="{12F0FA63-886E-4C92-9380-E699AC5A18EF}" type="presOf" srcId="{BF6E1E4E-0898-4E79-BE05-E03F1562CCEA}" destId="{976D1226-2F14-49B0-975F-55CACB400299}" srcOrd="1" destOrd="0" presId="urn:microsoft.com/office/officeart/2005/8/layout/pictureOrgChart+Icon"/>
    <dgm:cxn modelId="{507A9B12-C2BE-4B31-8048-8337740359EE}" srcId="{6343994C-3F89-449E-8B83-B8D8496BBF5C}" destId="{492716B2-6BAE-4E11-AB36-DA5B1D050032}" srcOrd="1" destOrd="0" parTransId="{FEEADBF8-6810-4CC4-878B-95EAE7CA828C}" sibTransId="{81286D98-9E0F-46D4-A85A-639F629A35B9}"/>
    <dgm:cxn modelId="{5C0AE9FD-F1B2-409A-9407-3AA295059B62}" srcId="{492716B2-6BAE-4E11-AB36-DA5B1D050032}" destId="{B08BC77B-514F-4E2D-BACD-F94FDCCE6DFA}" srcOrd="0" destOrd="0" parTransId="{1EEA95A8-56CE-4FE4-839A-A6AACD3C6E56}" sibTransId="{4F328349-A56F-429D-B8AA-34BFD64D6EBE}"/>
    <dgm:cxn modelId="{644D4BE8-CF58-447F-98B9-3B09532CFA11}" type="presOf" srcId="{6343994C-3F89-449E-8B83-B8D8496BBF5C}" destId="{44CFB047-F266-43FC-84AC-8A1DCEBF43BA}" srcOrd="0" destOrd="0" presId="urn:microsoft.com/office/officeart/2005/8/layout/pictureOrgChart+Icon"/>
    <dgm:cxn modelId="{8D512DCA-D548-45D7-90E3-07DF0D3B4B61}" type="presOf" srcId="{492716B2-6BAE-4E11-AB36-DA5B1D050032}" destId="{1152F64D-6C0E-4A28-B891-DDCB0BB1759A}" srcOrd="1" destOrd="0" presId="urn:microsoft.com/office/officeart/2005/8/layout/pictureOrgChart+Icon"/>
    <dgm:cxn modelId="{DA080509-F9D3-4CE3-9B84-413011C9C8FE}" type="presOf" srcId="{EC0D9469-D31C-417C-A99B-6D96170A8AE2}" destId="{070ED33C-3ABE-45AF-A996-3622E8ED715B}" srcOrd="1" destOrd="0" presId="urn:microsoft.com/office/officeart/2005/8/layout/pictureOrgChart+Icon"/>
    <dgm:cxn modelId="{25A1ED43-0316-45AA-AAAC-6D8FF3D5908F}" type="presOf" srcId="{7E7CAB36-100E-416E-88AB-3499E308377D}" destId="{DC34EA5C-1D9C-438D-848D-D67FE3AC8466}" srcOrd="0" destOrd="0" presId="urn:microsoft.com/office/officeart/2005/8/layout/pictureOrgChart+Icon"/>
    <dgm:cxn modelId="{7F1C1E96-2B53-4DF4-A97A-FD03D22DB170}" srcId="{5C1D67A3-C325-4064-8765-2D37A02087DA}" destId="{0F237E81-95AC-45FA-A1F1-BD3634A1712B}" srcOrd="2" destOrd="0" parTransId="{083C8AB3-1B73-492D-822C-83C67DB7F6A0}" sibTransId="{BA025EAC-DB8A-495E-8732-E4353DE588D2}"/>
    <dgm:cxn modelId="{D5A9BBCC-3E3D-4728-9903-E68FAE80697F}" type="presOf" srcId="{8B9A3C58-B7E1-4EF3-A6D9-AD692D1E9C96}" destId="{E47F9A6C-8E9B-4CF9-8B32-816797AB89DF}" srcOrd="1" destOrd="0" presId="urn:microsoft.com/office/officeart/2005/8/layout/pictureOrgChart+Icon"/>
    <dgm:cxn modelId="{CB2601C9-06FD-430E-A607-FDA888900CCA}" srcId="{6343994C-3F89-449E-8B83-B8D8496BBF5C}" destId="{EC0D9469-D31C-417C-A99B-6D96170A8AE2}" srcOrd="0" destOrd="0" parTransId="{FA0D2269-B3AB-446D-B3EC-8D32CB05A6D2}" sibTransId="{BCBF2E91-C1C0-439D-810B-17AC2E49A7C7}"/>
    <dgm:cxn modelId="{25E0DF39-D7C7-4A42-BF7F-AD55D9C262ED}" type="presOf" srcId="{492716B2-6BAE-4E11-AB36-DA5B1D050032}" destId="{4FFC2A11-D38F-43BF-AE14-4EED0EBF1C71}" srcOrd="0" destOrd="0" presId="urn:microsoft.com/office/officeart/2005/8/layout/pictureOrgChart+Icon"/>
    <dgm:cxn modelId="{5CF008B2-334F-46F7-A006-27C812E9616F}" type="presOf" srcId="{5C1D67A3-C325-4064-8765-2D37A02087DA}" destId="{F293609B-6CE8-4540-98FD-F4FE6962811B}" srcOrd="1" destOrd="0" presId="urn:microsoft.com/office/officeart/2005/8/layout/pictureOrgChart+Icon"/>
    <dgm:cxn modelId="{EC795F99-F162-495D-A300-CF5B770F9206}" type="presOf" srcId="{DAA0781A-34C7-4290-BBE9-A06E1493BF38}" destId="{F78B5B04-21D3-4ECB-A332-F8A4C9E5D9C2}" srcOrd="1" destOrd="0" presId="urn:microsoft.com/office/officeart/2005/8/layout/pictureOrgChart+Icon"/>
    <dgm:cxn modelId="{4B3B75DC-B62C-47C1-A31E-FADBF4172F99}" type="presOf" srcId="{FEEADBF8-6810-4CC4-878B-95EAE7CA828C}" destId="{FEF6F258-1997-47F9-A391-F930E4113E8F}" srcOrd="0" destOrd="0" presId="urn:microsoft.com/office/officeart/2005/8/layout/pictureOrgChart+Icon"/>
    <dgm:cxn modelId="{00231D36-3B77-4958-BF36-E29256DAD444}" type="presOf" srcId="{43BBD4BD-771E-4EBC-9EA3-C259C55616A1}" destId="{F21BB34F-4C47-4A74-97F7-5D162180A6BC}" srcOrd="0" destOrd="0" presId="urn:microsoft.com/office/officeart/2005/8/layout/pictureOrgChart+Icon"/>
    <dgm:cxn modelId="{B1539A0F-1436-4E14-986F-D1E72E521955}" type="presParOf" srcId="{DC34EA5C-1D9C-438D-848D-D67FE3AC8466}" destId="{D099E1F3-62CC-4B00-8C73-F7A023DBAFC9}" srcOrd="0" destOrd="0" presId="urn:microsoft.com/office/officeart/2005/8/layout/pictureOrgChart+Icon"/>
    <dgm:cxn modelId="{696DD039-21BD-4200-8F11-2D954D897277}" type="presParOf" srcId="{D099E1F3-62CC-4B00-8C73-F7A023DBAFC9}" destId="{1642F0E0-1EFC-41F1-A092-D6AA60BCBD96}" srcOrd="0" destOrd="0" presId="urn:microsoft.com/office/officeart/2005/8/layout/pictureOrgChart+Icon"/>
    <dgm:cxn modelId="{DE964D8E-244D-4476-B9D1-BCBB4084453B}" type="presParOf" srcId="{1642F0E0-1EFC-41F1-A092-D6AA60BCBD96}" destId="{44CFB047-F266-43FC-84AC-8A1DCEBF43BA}" srcOrd="0" destOrd="0" presId="urn:microsoft.com/office/officeart/2005/8/layout/pictureOrgChart+Icon"/>
    <dgm:cxn modelId="{18A67E21-4138-4302-BA58-0A1490062824}" type="presParOf" srcId="{1642F0E0-1EFC-41F1-A092-D6AA60BCBD96}" destId="{B227C65A-8FD0-4E08-8C23-FF057DE3FE1E}" srcOrd="1" destOrd="0" presId="urn:microsoft.com/office/officeart/2005/8/layout/pictureOrgChart+Icon"/>
    <dgm:cxn modelId="{45E13CF1-C090-429E-9920-F3FE3167F48A}" type="presParOf" srcId="{1642F0E0-1EFC-41F1-A092-D6AA60BCBD96}" destId="{7D985FC0-FC3E-43FD-8A91-08583EBB40B3}" srcOrd="2" destOrd="0" presId="urn:microsoft.com/office/officeart/2005/8/layout/pictureOrgChart+Icon"/>
    <dgm:cxn modelId="{3BBA9BAB-39E4-46F0-9626-804021893B44}" type="presParOf" srcId="{D099E1F3-62CC-4B00-8C73-F7A023DBAFC9}" destId="{F531C9CE-DEA7-4F8B-96C3-2C7A6EC7B013}" srcOrd="1" destOrd="0" presId="urn:microsoft.com/office/officeart/2005/8/layout/pictureOrgChart+Icon"/>
    <dgm:cxn modelId="{B74D7FBE-E4DE-4E26-B786-A38244E25FFC}" type="presParOf" srcId="{F531C9CE-DEA7-4F8B-96C3-2C7A6EC7B013}" destId="{141D9981-56B4-4BA1-ACC0-8E1B2D751217}" srcOrd="0" destOrd="0" presId="urn:microsoft.com/office/officeart/2005/8/layout/pictureOrgChart+Icon"/>
    <dgm:cxn modelId="{C24C2BE9-9C0D-49B7-8344-B4CABEEDC1C4}" type="presParOf" srcId="{F531C9CE-DEA7-4F8B-96C3-2C7A6EC7B013}" destId="{BE86E5FC-5E23-4117-A4C4-682C95047B3D}" srcOrd="1" destOrd="0" presId="urn:microsoft.com/office/officeart/2005/8/layout/pictureOrgChart+Icon"/>
    <dgm:cxn modelId="{7697D545-D11B-4526-8737-B8F6D2D84142}" type="presParOf" srcId="{BE86E5FC-5E23-4117-A4C4-682C95047B3D}" destId="{D98C27D9-CC35-49B6-89C3-E15F359D3C0C}" srcOrd="0" destOrd="0" presId="urn:microsoft.com/office/officeart/2005/8/layout/pictureOrgChart+Icon"/>
    <dgm:cxn modelId="{3F47887C-0406-425F-8AB8-3B41031D882F}" type="presParOf" srcId="{D98C27D9-CC35-49B6-89C3-E15F359D3C0C}" destId="{A360D032-0471-4642-824D-DB9D25C8CE5D}" srcOrd="0" destOrd="0" presId="urn:microsoft.com/office/officeart/2005/8/layout/pictureOrgChart+Icon"/>
    <dgm:cxn modelId="{E9133C98-E63E-4232-B8A7-9C2240569944}" type="presParOf" srcId="{D98C27D9-CC35-49B6-89C3-E15F359D3C0C}" destId="{51E1E0D7-58A2-4C6B-AD49-EF63C2BAEC79}" srcOrd="1" destOrd="0" presId="urn:microsoft.com/office/officeart/2005/8/layout/pictureOrgChart+Icon"/>
    <dgm:cxn modelId="{92493CB9-A2CF-4512-9ECB-8661585F77E7}" type="presParOf" srcId="{D98C27D9-CC35-49B6-89C3-E15F359D3C0C}" destId="{070ED33C-3ABE-45AF-A996-3622E8ED715B}" srcOrd="2" destOrd="0" presId="urn:microsoft.com/office/officeart/2005/8/layout/pictureOrgChart+Icon"/>
    <dgm:cxn modelId="{5F9DD158-3906-4655-A632-3C496FDBEE86}" type="presParOf" srcId="{BE86E5FC-5E23-4117-A4C4-682C95047B3D}" destId="{8D301C96-373F-45B5-BAF6-8B1823714B72}" srcOrd="1" destOrd="0" presId="urn:microsoft.com/office/officeart/2005/8/layout/pictureOrgChart+Icon"/>
    <dgm:cxn modelId="{C0BE2ACA-1E7F-456E-A2B9-84463DF7ADF2}" type="presParOf" srcId="{BE86E5FC-5E23-4117-A4C4-682C95047B3D}" destId="{7BAEBB09-BF33-46FA-B40E-7A002593D12A}" srcOrd="2" destOrd="0" presId="urn:microsoft.com/office/officeart/2005/8/layout/pictureOrgChart+Icon"/>
    <dgm:cxn modelId="{B0CA087F-F07B-41B7-8BEC-DF52E2FE5BB8}" type="presParOf" srcId="{F531C9CE-DEA7-4F8B-96C3-2C7A6EC7B013}" destId="{FEF6F258-1997-47F9-A391-F930E4113E8F}" srcOrd="2" destOrd="0" presId="urn:microsoft.com/office/officeart/2005/8/layout/pictureOrgChart+Icon"/>
    <dgm:cxn modelId="{56C0586B-75E5-4403-BEF8-7389B6A1FF36}" type="presParOf" srcId="{F531C9CE-DEA7-4F8B-96C3-2C7A6EC7B013}" destId="{E70A1683-0C8D-4B11-A94E-61FA5824049E}" srcOrd="3" destOrd="0" presId="urn:microsoft.com/office/officeart/2005/8/layout/pictureOrgChart+Icon"/>
    <dgm:cxn modelId="{FA504F1D-0F9C-4FE3-AB5B-C910CB2B2D7A}" type="presParOf" srcId="{E70A1683-0C8D-4B11-A94E-61FA5824049E}" destId="{274AD38A-416E-44C5-85DB-E433DABA1083}" srcOrd="0" destOrd="0" presId="urn:microsoft.com/office/officeart/2005/8/layout/pictureOrgChart+Icon"/>
    <dgm:cxn modelId="{71AA206C-A9F9-478A-B6A6-B865EDA6848B}" type="presParOf" srcId="{274AD38A-416E-44C5-85DB-E433DABA1083}" destId="{4FFC2A11-D38F-43BF-AE14-4EED0EBF1C71}" srcOrd="0" destOrd="0" presId="urn:microsoft.com/office/officeart/2005/8/layout/pictureOrgChart+Icon"/>
    <dgm:cxn modelId="{5E502AB5-AB69-4C51-9C45-2617A9078070}" type="presParOf" srcId="{274AD38A-416E-44C5-85DB-E433DABA1083}" destId="{16A60CEF-6957-405C-9F73-52F4FC8C3973}" srcOrd="1" destOrd="0" presId="urn:microsoft.com/office/officeart/2005/8/layout/pictureOrgChart+Icon"/>
    <dgm:cxn modelId="{BBF6D89C-2614-4564-94BB-6D91EEB86E0E}" type="presParOf" srcId="{274AD38A-416E-44C5-85DB-E433DABA1083}" destId="{1152F64D-6C0E-4A28-B891-DDCB0BB1759A}" srcOrd="2" destOrd="0" presId="urn:microsoft.com/office/officeart/2005/8/layout/pictureOrgChart+Icon"/>
    <dgm:cxn modelId="{26390C28-E0F8-432E-AC68-B4E89EE9B4D3}" type="presParOf" srcId="{E70A1683-0C8D-4B11-A94E-61FA5824049E}" destId="{1CBA9F9E-EE17-4731-93A1-CA7807B6E36D}" srcOrd="1" destOrd="0" presId="urn:microsoft.com/office/officeart/2005/8/layout/pictureOrgChart+Icon"/>
    <dgm:cxn modelId="{02C4C8AA-23A0-4248-A89C-3F9C47A32451}" type="presParOf" srcId="{1CBA9F9E-EE17-4731-93A1-CA7807B6E36D}" destId="{BFFC1553-4E40-4D71-A6CC-592A35B2C130}" srcOrd="0" destOrd="0" presId="urn:microsoft.com/office/officeart/2005/8/layout/pictureOrgChart+Icon"/>
    <dgm:cxn modelId="{BCD5B29C-6372-47BC-ADEC-6F6597456DB4}" type="presParOf" srcId="{1CBA9F9E-EE17-4731-93A1-CA7807B6E36D}" destId="{D97ACF86-8D5C-4468-BDFD-34A6F7055E18}" srcOrd="1" destOrd="0" presId="urn:microsoft.com/office/officeart/2005/8/layout/pictureOrgChart+Icon"/>
    <dgm:cxn modelId="{785EBF39-FCAD-4E7C-B2FD-781DE6A46CEC}" type="presParOf" srcId="{D97ACF86-8D5C-4468-BDFD-34A6F7055E18}" destId="{7AEAC9E7-9011-444B-AFD7-FC92EEA5EF98}" srcOrd="0" destOrd="0" presId="urn:microsoft.com/office/officeart/2005/8/layout/pictureOrgChart+Icon"/>
    <dgm:cxn modelId="{1193BC98-54A6-4626-8DE0-D6D00E6A8B3F}" type="presParOf" srcId="{7AEAC9E7-9011-444B-AFD7-FC92EEA5EF98}" destId="{8AF34FCF-0950-47E3-8BEE-514EA65E58A6}" srcOrd="0" destOrd="0" presId="urn:microsoft.com/office/officeart/2005/8/layout/pictureOrgChart+Icon"/>
    <dgm:cxn modelId="{D77F9C49-BA20-4CC7-B220-00DD53CDC694}" type="presParOf" srcId="{7AEAC9E7-9011-444B-AFD7-FC92EEA5EF98}" destId="{B536AABA-5090-4371-823C-202C57B07975}" srcOrd="1" destOrd="0" presId="urn:microsoft.com/office/officeart/2005/8/layout/pictureOrgChart+Icon"/>
    <dgm:cxn modelId="{A1F60368-BC0D-4199-AE52-2F76FAF4DA07}" type="presParOf" srcId="{7AEAC9E7-9011-444B-AFD7-FC92EEA5EF98}" destId="{923724ED-6CB7-4216-B0A2-4C155FD3AFDF}" srcOrd="2" destOrd="0" presId="urn:microsoft.com/office/officeart/2005/8/layout/pictureOrgChart+Icon"/>
    <dgm:cxn modelId="{DD4DAB40-6F01-482E-A52C-4C387823F64D}" type="presParOf" srcId="{D97ACF86-8D5C-4468-BDFD-34A6F7055E18}" destId="{527E4441-A440-40C0-9829-C8DD24EC6837}" srcOrd="1" destOrd="0" presId="urn:microsoft.com/office/officeart/2005/8/layout/pictureOrgChart+Icon"/>
    <dgm:cxn modelId="{21455305-04D8-4957-A319-9033929B0987}" type="presParOf" srcId="{527E4441-A440-40C0-9829-C8DD24EC6837}" destId="{B1660003-8460-4F20-B89C-26D52314BC1B}" srcOrd="0" destOrd="0" presId="urn:microsoft.com/office/officeart/2005/8/layout/pictureOrgChart+Icon"/>
    <dgm:cxn modelId="{7B07D46B-433D-4E8C-83C4-7C156305EB6A}" type="presParOf" srcId="{527E4441-A440-40C0-9829-C8DD24EC6837}" destId="{35CB44A7-C678-4BDC-929F-9C61EAF28B29}" srcOrd="1" destOrd="0" presId="urn:microsoft.com/office/officeart/2005/8/layout/pictureOrgChart+Icon"/>
    <dgm:cxn modelId="{98D1C9EB-1F07-4597-9777-24638EC2FBFC}" type="presParOf" srcId="{35CB44A7-C678-4BDC-929F-9C61EAF28B29}" destId="{B3A21D32-AFEF-46FC-A840-8DE6CDECD245}" srcOrd="0" destOrd="0" presId="urn:microsoft.com/office/officeart/2005/8/layout/pictureOrgChart+Icon"/>
    <dgm:cxn modelId="{459C6014-98C9-4929-8370-218C7A8DCCCE}" type="presParOf" srcId="{B3A21D32-AFEF-46FC-A840-8DE6CDECD245}" destId="{0A8F47DD-C06B-4B59-BCF9-1F39E0BFB263}" srcOrd="0" destOrd="0" presId="urn:microsoft.com/office/officeart/2005/8/layout/pictureOrgChart+Icon"/>
    <dgm:cxn modelId="{FD4A0EA4-52EE-48D4-9FE1-010DF92AAB45}" type="presParOf" srcId="{B3A21D32-AFEF-46FC-A840-8DE6CDECD245}" destId="{3989B262-4187-4731-9982-865B2AE79DB2}" srcOrd="1" destOrd="0" presId="urn:microsoft.com/office/officeart/2005/8/layout/pictureOrgChart+Icon"/>
    <dgm:cxn modelId="{10F0BD4C-5E46-4F4E-86FD-19D624E992EB}" type="presParOf" srcId="{B3A21D32-AFEF-46FC-A840-8DE6CDECD245}" destId="{E47F9A6C-8E9B-4CF9-8B32-816797AB89DF}" srcOrd="2" destOrd="0" presId="urn:microsoft.com/office/officeart/2005/8/layout/pictureOrgChart+Icon"/>
    <dgm:cxn modelId="{A6357A2D-F92A-4692-A745-8E4ED6901EBC}" type="presParOf" srcId="{35CB44A7-C678-4BDC-929F-9C61EAF28B29}" destId="{4316D72D-5A5B-49B8-9811-0F7E2C3C02DB}" srcOrd="1" destOrd="0" presId="urn:microsoft.com/office/officeart/2005/8/layout/pictureOrgChart+Icon"/>
    <dgm:cxn modelId="{A2FC9942-CF05-404C-A3FF-7C738E52AD8C}" type="presParOf" srcId="{35CB44A7-C678-4BDC-929F-9C61EAF28B29}" destId="{F40D78DA-9C36-4C46-B3D5-9C8F4B1FE535}" srcOrd="2" destOrd="0" presId="urn:microsoft.com/office/officeart/2005/8/layout/pictureOrgChart+Icon"/>
    <dgm:cxn modelId="{FEF9BF45-CC03-43BC-B889-7481704FD2DF}" type="presParOf" srcId="{527E4441-A440-40C0-9829-C8DD24EC6837}" destId="{6CEB1982-5F0B-4672-B650-93FAAC11EFB7}" srcOrd="2" destOrd="0" presId="urn:microsoft.com/office/officeart/2005/8/layout/pictureOrgChart+Icon"/>
    <dgm:cxn modelId="{8B4FE245-79F7-475C-AABA-91F70511408A}" type="presParOf" srcId="{527E4441-A440-40C0-9829-C8DD24EC6837}" destId="{CAC97DCE-047D-4323-91CF-E9967D9C3AF9}" srcOrd="3" destOrd="0" presId="urn:microsoft.com/office/officeart/2005/8/layout/pictureOrgChart+Icon"/>
    <dgm:cxn modelId="{1D0BE560-ABE3-4E35-A147-CAC78DA34C50}" type="presParOf" srcId="{CAC97DCE-047D-4323-91CF-E9967D9C3AF9}" destId="{0E226FDE-1ADC-490E-8488-29C7ACC1939C}" srcOrd="0" destOrd="0" presId="urn:microsoft.com/office/officeart/2005/8/layout/pictureOrgChart+Icon"/>
    <dgm:cxn modelId="{1A46EFE0-0526-4D19-A245-7B086A65D6B8}" type="presParOf" srcId="{0E226FDE-1ADC-490E-8488-29C7ACC1939C}" destId="{F21BB34F-4C47-4A74-97F7-5D162180A6BC}" srcOrd="0" destOrd="0" presId="urn:microsoft.com/office/officeart/2005/8/layout/pictureOrgChart+Icon"/>
    <dgm:cxn modelId="{DA45B0BD-ECEF-48E9-ABE4-B95829F2A07C}" type="presParOf" srcId="{0E226FDE-1ADC-490E-8488-29C7ACC1939C}" destId="{2DDE4FDD-469A-48EE-BC3A-583AD4A8B88C}" srcOrd="1" destOrd="0" presId="urn:microsoft.com/office/officeart/2005/8/layout/pictureOrgChart+Icon"/>
    <dgm:cxn modelId="{0CB678A3-775F-430F-88D1-C438582B7D6F}" type="presParOf" srcId="{0E226FDE-1ADC-490E-8488-29C7ACC1939C}" destId="{7FFDC16C-7306-443D-901F-075CE17B283A}" srcOrd="2" destOrd="0" presId="urn:microsoft.com/office/officeart/2005/8/layout/pictureOrgChart+Icon"/>
    <dgm:cxn modelId="{2DBCE0ED-D1D8-4921-9DBD-F14265AA7DC2}" type="presParOf" srcId="{CAC97DCE-047D-4323-91CF-E9967D9C3AF9}" destId="{87137186-BD52-4B79-8E3C-3BE73CD4EDDD}" srcOrd="1" destOrd="0" presId="urn:microsoft.com/office/officeart/2005/8/layout/pictureOrgChart+Icon"/>
    <dgm:cxn modelId="{1F0E0526-885D-49CC-9690-6534A596FDB6}" type="presParOf" srcId="{CAC97DCE-047D-4323-91CF-E9967D9C3AF9}" destId="{2B64BE79-6786-4146-AFAA-21ECA1487CFC}" srcOrd="2" destOrd="0" presId="urn:microsoft.com/office/officeart/2005/8/layout/pictureOrgChart+Icon"/>
    <dgm:cxn modelId="{CA8A7F97-B1A9-400C-807A-F227B807D3C0}" type="presParOf" srcId="{527E4441-A440-40C0-9829-C8DD24EC6837}" destId="{CF0D5A39-C7E6-4748-A355-16CF5C685488}" srcOrd="4" destOrd="0" presId="urn:microsoft.com/office/officeart/2005/8/layout/pictureOrgChart+Icon"/>
    <dgm:cxn modelId="{164B6B14-5C1F-4F7E-90C8-9409F98531DD}" type="presParOf" srcId="{527E4441-A440-40C0-9829-C8DD24EC6837}" destId="{B9F3A759-81DF-491F-8107-188130901E78}" srcOrd="5" destOrd="0" presId="urn:microsoft.com/office/officeart/2005/8/layout/pictureOrgChart+Icon"/>
    <dgm:cxn modelId="{A578BA58-D571-44F1-BE50-7456C614336C}" type="presParOf" srcId="{B9F3A759-81DF-491F-8107-188130901E78}" destId="{30541358-E3F4-47DE-B60E-3B8AC6EE72F4}" srcOrd="0" destOrd="0" presId="urn:microsoft.com/office/officeart/2005/8/layout/pictureOrgChart+Icon"/>
    <dgm:cxn modelId="{16C0FBDD-288C-4037-9985-AC163C60A29F}" type="presParOf" srcId="{30541358-E3F4-47DE-B60E-3B8AC6EE72F4}" destId="{0EBCAE58-3ABD-47AF-B91A-539E44FD9DD3}" srcOrd="0" destOrd="0" presId="urn:microsoft.com/office/officeart/2005/8/layout/pictureOrgChart+Icon"/>
    <dgm:cxn modelId="{0A314256-64A8-45A8-9B78-26195F842CB3}" type="presParOf" srcId="{30541358-E3F4-47DE-B60E-3B8AC6EE72F4}" destId="{1459B711-DE50-4856-B84A-63CD9A2E9283}" srcOrd="1" destOrd="0" presId="urn:microsoft.com/office/officeart/2005/8/layout/pictureOrgChart+Icon"/>
    <dgm:cxn modelId="{7E4531FD-F545-4D33-8669-ABBCF1913508}" type="presParOf" srcId="{30541358-E3F4-47DE-B60E-3B8AC6EE72F4}" destId="{F78B5B04-21D3-4ECB-A332-F8A4C9E5D9C2}" srcOrd="2" destOrd="0" presId="urn:microsoft.com/office/officeart/2005/8/layout/pictureOrgChart+Icon"/>
    <dgm:cxn modelId="{726410F8-2406-4C15-9688-6A4F134A4E0D}" type="presParOf" srcId="{B9F3A759-81DF-491F-8107-188130901E78}" destId="{EF8CAB44-DDAF-47D3-A9B4-C6C28589DCD9}" srcOrd="1" destOrd="0" presId="urn:microsoft.com/office/officeart/2005/8/layout/pictureOrgChart+Icon"/>
    <dgm:cxn modelId="{695BDD57-6DDB-4276-93F3-3B597E4586C3}" type="presParOf" srcId="{B9F3A759-81DF-491F-8107-188130901E78}" destId="{3B8A08EF-69D8-44FD-88B1-CD94B9183E0D}" srcOrd="2" destOrd="0" presId="urn:microsoft.com/office/officeart/2005/8/layout/pictureOrgChart+Icon"/>
    <dgm:cxn modelId="{B6961178-FBCA-463A-BDA3-282EE6332C3D}" type="presParOf" srcId="{D97ACF86-8D5C-4468-BDFD-34A6F7055E18}" destId="{EFEC2E5B-38DE-47A0-B5E6-2143276B7368}" srcOrd="2" destOrd="0" presId="urn:microsoft.com/office/officeart/2005/8/layout/pictureOrgChart+Icon"/>
    <dgm:cxn modelId="{D68C5DCF-FBF2-488D-AA40-054F577774F4}" type="presParOf" srcId="{1CBA9F9E-EE17-4731-93A1-CA7807B6E36D}" destId="{412064A2-B54C-42F5-96B5-03FAFC5739C8}" srcOrd="2" destOrd="0" presId="urn:microsoft.com/office/officeart/2005/8/layout/pictureOrgChart+Icon"/>
    <dgm:cxn modelId="{82F15892-5E91-4DB5-8DFF-583C55701AEE}" type="presParOf" srcId="{1CBA9F9E-EE17-4731-93A1-CA7807B6E36D}" destId="{3DD4F32B-F702-4F5B-B187-A999788784D9}" srcOrd="3" destOrd="0" presId="urn:microsoft.com/office/officeart/2005/8/layout/pictureOrgChart+Icon"/>
    <dgm:cxn modelId="{785C122E-30F3-47FD-8500-1C180C308D44}" type="presParOf" srcId="{3DD4F32B-F702-4F5B-B187-A999788784D9}" destId="{9DD89643-0C44-4B94-BC82-4E93A2E9A5DA}" srcOrd="0" destOrd="0" presId="urn:microsoft.com/office/officeart/2005/8/layout/pictureOrgChart+Icon"/>
    <dgm:cxn modelId="{202BA704-962B-418E-AE59-BB8BDBD5A3EC}" type="presParOf" srcId="{9DD89643-0C44-4B94-BC82-4E93A2E9A5DA}" destId="{10994932-9A62-4460-8DFD-6D383EF720A2}" srcOrd="0" destOrd="0" presId="urn:microsoft.com/office/officeart/2005/8/layout/pictureOrgChart+Icon"/>
    <dgm:cxn modelId="{9DF7C350-8A7A-47DD-BB1E-CFAF441E732A}" type="presParOf" srcId="{9DD89643-0C44-4B94-BC82-4E93A2E9A5DA}" destId="{DA54E92E-55E5-4366-B277-BEA4E10BF398}" srcOrd="1" destOrd="0" presId="urn:microsoft.com/office/officeart/2005/8/layout/pictureOrgChart+Icon"/>
    <dgm:cxn modelId="{6EFFFDB9-0407-4D5C-93A9-0BEBDEA88541}" type="presParOf" srcId="{9DD89643-0C44-4B94-BC82-4E93A2E9A5DA}" destId="{F293609B-6CE8-4540-98FD-F4FE6962811B}" srcOrd="2" destOrd="0" presId="urn:microsoft.com/office/officeart/2005/8/layout/pictureOrgChart+Icon"/>
    <dgm:cxn modelId="{3F18EE19-D3DB-44D1-ABFA-C90B314718A1}" type="presParOf" srcId="{3DD4F32B-F702-4F5B-B187-A999788784D9}" destId="{84CCF063-9721-4ABB-BCCA-5185B62FDA09}" srcOrd="1" destOrd="0" presId="urn:microsoft.com/office/officeart/2005/8/layout/pictureOrgChart+Icon"/>
    <dgm:cxn modelId="{BD3F2644-505C-4BD6-BAB4-BBB4D57B8D14}" type="presParOf" srcId="{84CCF063-9721-4ABB-BCCA-5185B62FDA09}" destId="{1468D4DA-604C-4F12-9FD8-73FEDECE5395}" srcOrd="0" destOrd="0" presId="urn:microsoft.com/office/officeart/2005/8/layout/pictureOrgChart+Icon"/>
    <dgm:cxn modelId="{9692D3DD-5849-4EB6-8F88-FE83DAC8A87F}" type="presParOf" srcId="{84CCF063-9721-4ABB-BCCA-5185B62FDA09}" destId="{1536AE27-1CFD-4EA3-BC7A-7E793E3D7832}" srcOrd="1" destOrd="0" presId="urn:microsoft.com/office/officeart/2005/8/layout/pictureOrgChart+Icon"/>
    <dgm:cxn modelId="{58D7E04E-52A6-47C5-B88A-266008A81CDD}" type="presParOf" srcId="{1536AE27-1CFD-4EA3-BC7A-7E793E3D7832}" destId="{15043245-716F-4D75-8294-A023A9C45E79}" srcOrd="0" destOrd="0" presId="urn:microsoft.com/office/officeart/2005/8/layout/pictureOrgChart+Icon"/>
    <dgm:cxn modelId="{366849FD-D390-4AE5-9F67-70C618E0A218}" type="presParOf" srcId="{15043245-716F-4D75-8294-A023A9C45E79}" destId="{23C5AA5B-E322-4ABE-8852-395262EC1F51}" srcOrd="0" destOrd="0" presId="urn:microsoft.com/office/officeart/2005/8/layout/pictureOrgChart+Icon"/>
    <dgm:cxn modelId="{5DAB871A-D59D-458A-819C-1AE2108C14B8}" type="presParOf" srcId="{15043245-716F-4D75-8294-A023A9C45E79}" destId="{1C0670D9-BF47-44A1-BC89-3FF21D36D650}" srcOrd="1" destOrd="0" presId="urn:microsoft.com/office/officeart/2005/8/layout/pictureOrgChart+Icon"/>
    <dgm:cxn modelId="{B5CE97ED-2616-4923-B303-7651C5F08892}" type="presParOf" srcId="{15043245-716F-4D75-8294-A023A9C45E79}" destId="{E39850AF-C5BB-4B23-B3A2-C8FDAB82E983}" srcOrd="2" destOrd="0" presId="urn:microsoft.com/office/officeart/2005/8/layout/pictureOrgChart+Icon"/>
    <dgm:cxn modelId="{F53364D4-74E5-4140-93BD-6FE8BB4F80E9}" type="presParOf" srcId="{1536AE27-1CFD-4EA3-BC7A-7E793E3D7832}" destId="{0B9097D1-1D72-4C75-A022-F13A0FCCB308}" srcOrd="1" destOrd="0" presId="urn:microsoft.com/office/officeart/2005/8/layout/pictureOrgChart+Icon"/>
    <dgm:cxn modelId="{5FCC2461-611B-442A-B613-539F9D379F14}" type="presParOf" srcId="{1536AE27-1CFD-4EA3-BC7A-7E793E3D7832}" destId="{53CB6285-1673-42DB-B865-153BC5E0F3DC}" srcOrd="2" destOrd="0" presId="urn:microsoft.com/office/officeart/2005/8/layout/pictureOrgChart+Icon"/>
    <dgm:cxn modelId="{F3455DFF-8350-4834-8708-CAFEB7878950}" type="presParOf" srcId="{84CCF063-9721-4ABB-BCCA-5185B62FDA09}" destId="{F838F18B-651D-4153-AB36-7C3D24455FED}" srcOrd="2" destOrd="0" presId="urn:microsoft.com/office/officeart/2005/8/layout/pictureOrgChart+Icon"/>
    <dgm:cxn modelId="{F5CAE191-D686-42A2-842A-ABF6FA94E00C}" type="presParOf" srcId="{84CCF063-9721-4ABB-BCCA-5185B62FDA09}" destId="{D59C8E0A-A522-48CA-92C0-65E3BC261B2B}" srcOrd="3" destOrd="0" presId="urn:microsoft.com/office/officeart/2005/8/layout/pictureOrgChart+Icon"/>
    <dgm:cxn modelId="{EC344F26-F10F-4B5D-A59E-3DCD79754F8D}" type="presParOf" srcId="{D59C8E0A-A522-48CA-92C0-65E3BC261B2B}" destId="{ABFE0C87-75BB-42F8-9FA2-66C3BF588F45}" srcOrd="0" destOrd="0" presId="urn:microsoft.com/office/officeart/2005/8/layout/pictureOrgChart+Icon"/>
    <dgm:cxn modelId="{C517CD84-12D4-4F77-BF5A-17B8288C1258}" type="presParOf" srcId="{ABFE0C87-75BB-42F8-9FA2-66C3BF588F45}" destId="{B22B96C1-D880-4C0F-9172-A22C54BFE8B4}" srcOrd="0" destOrd="0" presId="urn:microsoft.com/office/officeart/2005/8/layout/pictureOrgChart+Icon"/>
    <dgm:cxn modelId="{04B7BB2D-BDF7-4755-A412-A84F515F9F3D}" type="presParOf" srcId="{ABFE0C87-75BB-42F8-9FA2-66C3BF588F45}" destId="{391B11D8-986D-49C9-857F-B8D60CF17329}" srcOrd="1" destOrd="0" presId="urn:microsoft.com/office/officeart/2005/8/layout/pictureOrgChart+Icon"/>
    <dgm:cxn modelId="{12C08C6E-064C-46D6-ABDE-BA97C4E24344}" type="presParOf" srcId="{ABFE0C87-75BB-42F8-9FA2-66C3BF588F45}" destId="{976D1226-2F14-49B0-975F-55CACB400299}" srcOrd="2" destOrd="0" presId="urn:microsoft.com/office/officeart/2005/8/layout/pictureOrgChart+Icon"/>
    <dgm:cxn modelId="{65E25240-03EC-4E97-9ED5-5291ED39840F}" type="presParOf" srcId="{D59C8E0A-A522-48CA-92C0-65E3BC261B2B}" destId="{AEBCDFEE-7114-4A6B-B229-91B18B02AA3F}" srcOrd="1" destOrd="0" presId="urn:microsoft.com/office/officeart/2005/8/layout/pictureOrgChart+Icon"/>
    <dgm:cxn modelId="{44492398-38E3-44F8-ACDF-8156F78B72D0}" type="presParOf" srcId="{D59C8E0A-A522-48CA-92C0-65E3BC261B2B}" destId="{6D3188DD-FBDC-4C89-9793-990DD5BA27FA}" srcOrd="2" destOrd="0" presId="urn:microsoft.com/office/officeart/2005/8/layout/pictureOrgChart+Icon"/>
    <dgm:cxn modelId="{B75F2C87-CC0A-48FB-B792-3C3FF6DC629D}" type="presParOf" srcId="{84CCF063-9721-4ABB-BCCA-5185B62FDA09}" destId="{F509E01D-B7DF-482C-969D-F298B85496F1}" srcOrd="4" destOrd="0" presId="urn:microsoft.com/office/officeart/2005/8/layout/pictureOrgChart+Icon"/>
    <dgm:cxn modelId="{97F45CD9-3687-4C08-9F2C-887524102B4F}" type="presParOf" srcId="{84CCF063-9721-4ABB-BCCA-5185B62FDA09}" destId="{BFD7E3E7-0131-4012-9669-9F19CDFE4653}" srcOrd="5" destOrd="0" presId="urn:microsoft.com/office/officeart/2005/8/layout/pictureOrgChart+Icon"/>
    <dgm:cxn modelId="{4610BC18-39FC-4F60-9EC7-7C9AA662B386}" type="presParOf" srcId="{BFD7E3E7-0131-4012-9669-9F19CDFE4653}" destId="{6DD5FB32-1272-4FDA-A9A3-6CC5472E84AC}" srcOrd="0" destOrd="0" presId="urn:microsoft.com/office/officeart/2005/8/layout/pictureOrgChart+Icon"/>
    <dgm:cxn modelId="{10B33D27-4BF5-4B5E-84CC-78DFCED2B052}" type="presParOf" srcId="{6DD5FB32-1272-4FDA-A9A3-6CC5472E84AC}" destId="{15F8C5A3-2C80-4D67-AA3E-DE6DC570675A}" srcOrd="0" destOrd="0" presId="urn:microsoft.com/office/officeart/2005/8/layout/pictureOrgChart+Icon"/>
    <dgm:cxn modelId="{E45DCD4D-5E5F-45B6-9047-3C78F3CB33AB}" type="presParOf" srcId="{6DD5FB32-1272-4FDA-A9A3-6CC5472E84AC}" destId="{24E8146A-1445-4710-A660-3B764DBE2196}" srcOrd="1" destOrd="0" presId="urn:microsoft.com/office/officeart/2005/8/layout/pictureOrgChart+Icon"/>
    <dgm:cxn modelId="{06A2AE3E-5594-48B5-B598-B497ECFBC6E1}" type="presParOf" srcId="{6DD5FB32-1272-4FDA-A9A3-6CC5472E84AC}" destId="{48F36F9E-4BA8-4DA0-8E45-38E7FA2C1158}" srcOrd="2" destOrd="0" presId="urn:microsoft.com/office/officeart/2005/8/layout/pictureOrgChart+Icon"/>
    <dgm:cxn modelId="{496F1C9E-1992-44AE-856F-F43E0FCB121F}" type="presParOf" srcId="{BFD7E3E7-0131-4012-9669-9F19CDFE4653}" destId="{21E724B8-E8B8-4C7C-904D-D3ECD1ED7FD2}" srcOrd="1" destOrd="0" presId="urn:microsoft.com/office/officeart/2005/8/layout/pictureOrgChart+Icon"/>
    <dgm:cxn modelId="{2C6D17A9-3FB1-4D2E-ACD0-DC33D3D81A9D}" type="presParOf" srcId="{BFD7E3E7-0131-4012-9669-9F19CDFE4653}" destId="{C76389A9-CE75-4BBF-8E89-F43E0BE99138}" srcOrd="2" destOrd="0" presId="urn:microsoft.com/office/officeart/2005/8/layout/pictureOrgChart+Icon"/>
    <dgm:cxn modelId="{D130DEAC-B767-44AE-BE83-6C656C990AD8}" type="presParOf" srcId="{3DD4F32B-F702-4F5B-B187-A999788784D9}" destId="{AAC7F2F2-4000-408B-8E4C-92F0324C415A}" srcOrd="2" destOrd="0" presId="urn:microsoft.com/office/officeart/2005/8/layout/pictureOrgChart+Icon"/>
    <dgm:cxn modelId="{6CCA9E5B-256E-43FD-9FC0-CB0E8255683F}" type="presParOf" srcId="{E70A1683-0C8D-4B11-A94E-61FA5824049E}" destId="{45B436E9-85D7-42AE-89C2-D42EC5A3165D}" srcOrd="2" destOrd="0" presId="urn:microsoft.com/office/officeart/2005/8/layout/pictureOrgChart+Icon"/>
    <dgm:cxn modelId="{0590388F-9FFF-4028-B618-4191E7E12AE0}" type="presParOf" srcId="{D099E1F3-62CC-4B00-8C73-F7A023DBAFC9}" destId="{335D8A55-8F11-4586-B50F-8C9DBB2BFCC2}" srcOrd="2" destOrd="0" presId="urn:microsoft.com/office/officeart/2005/8/layout/pictureOrgChart+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09E01D-B7DF-482C-969D-F298B85496F1}">
      <dsp:nvSpPr>
        <dsp:cNvPr id="0" name=""/>
        <dsp:cNvSpPr/>
      </dsp:nvSpPr>
      <dsp:spPr>
        <a:xfrm>
          <a:off x="6487109" y="3248670"/>
          <a:ext cx="422005" cy="2889087"/>
        </a:xfrm>
        <a:custGeom>
          <a:avLst/>
          <a:gdLst/>
          <a:ahLst/>
          <a:cxnLst/>
          <a:rect l="0" t="0" r="0" b="0"/>
          <a:pathLst>
            <a:path>
              <a:moveTo>
                <a:pt x="0" y="0"/>
              </a:moveTo>
              <a:lnTo>
                <a:pt x="0" y="2889087"/>
              </a:lnTo>
              <a:lnTo>
                <a:pt x="422005" y="2889087"/>
              </a:lnTo>
            </a:path>
          </a:pathLst>
        </a:custGeom>
        <a:noFill/>
        <a:ln w="19050" cap="flat" cmpd="sng" algn="ctr">
          <a:solidFill>
            <a:srgbClr val="245D90"/>
          </a:solidFill>
          <a:prstDash val="solid"/>
        </a:ln>
        <a:effectLst/>
      </dsp:spPr>
      <dsp:style>
        <a:lnRef idx="2">
          <a:scrgbClr r="0" g="0" b="0"/>
        </a:lnRef>
        <a:fillRef idx="0">
          <a:scrgbClr r="0" g="0" b="0"/>
        </a:fillRef>
        <a:effectRef idx="0">
          <a:scrgbClr r="0" g="0" b="0"/>
        </a:effectRef>
        <a:fontRef idx="minor"/>
      </dsp:style>
    </dsp:sp>
    <dsp:sp modelId="{F838F18B-651D-4153-AB36-7C3D24455FED}">
      <dsp:nvSpPr>
        <dsp:cNvPr id="0" name=""/>
        <dsp:cNvSpPr/>
      </dsp:nvSpPr>
      <dsp:spPr>
        <a:xfrm>
          <a:off x="6487109" y="3248670"/>
          <a:ext cx="443571" cy="1793301"/>
        </a:xfrm>
        <a:custGeom>
          <a:avLst/>
          <a:gdLst/>
          <a:ahLst/>
          <a:cxnLst/>
          <a:rect l="0" t="0" r="0" b="0"/>
          <a:pathLst>
            <a:path>
              <a:moveTo>
                <a:pt x="0" y="0"/>
              </a:moveTo>
              <a:lnTo>
                <a:pt x="0" y="1793301"/>
              </a:lnTo>
              <a:lnTo>
                <a:pt x="443571" y="1793301"/>
              </a:lnTo>
            </a:path>
          </a:pathLst>
        </a:custGeom>
        <a:noFill/>
        <a:ln w="19050" cap="flat" cmpd="sng" algn="ctr">
          <a:solidFill>
            <a:srgbClr val="245D90"/>
          </a:solidFill>
          <a:prstDash val="solid"/>
        </a:ln>
        <a:effectLst/>
      </dsp:spPr>
      <dsp:style>
        <a:lnRef idx="2">
          <a:scrgbClr r="0" g="0" b="0"/>
        </a:lnRef>
        <a:fillRef idx="0">
          <a:scrgbClr r="0" g="0" b="0"/>
        </a:fillRef>
        <a:effectRef idx="0">
          <a:scrgbClr r="0" g="0" b="0"/>
        </a:effectRef>
        <a:fontRef idx="minor"/>
      </dsp:style>
    </dsp:sp>
    <dsp:sp modelId="{1468D4DA-604C-4F12-9FD8-73FEDECE5395}">
      <dsp:nvSpPr>
        <dsp:cNvPr id="0" name=""/>
        <dsp:cNvSpPr/>
      </dsp:nvSpPr>
      <dsp:spPr>
        <a:xfrm>
          <a:off x="6487109" y="3248670"/>
          <a:ext cx="443571" cy="692074"/>
        </a:xfrm>
        <a:custGeom>
          <a:avLst/>
          <a:gdLst/>
          <a:ahLst/>
          <a:cxnLst/>
          <a:rect l="0" t="0" r="0" b="0"/>
          <a:pathLst>
            <a:path>
              <a:moveTo>
                <a:pt x="0" y="0"/>
              </a:moveTo>
              <a:lnTo>
                <a:pt x="0" y="692074"/>
              </a:lnTo>
              <a:lnTo>
                <a:pt x="443571" y="692074"/>
              </a:lnTo>
            </a:path>
          </a:pathLst>
        </a:custGeom>
        <a:noFill/>
        <a:ln w="19050" cap="flat" cmpd="sng" algn="ctr">
          <a:solidFill>
            <a:srgbClr val="245D90"/>
          </a:solidFill>
          <a:prstDash val="solid"/>
        </a:ln>
        <a:effectLst/>
      </dsp:spPr>
      <dsp:style>
        <a:lnRef idx="2">
          <a:scrgbClr r="0" g="0" b="0"/>
        </a:lnRef>
        <a:fillRef idx="0">
          <a:scrgbClr r="0" g="0" b="0"/>
        </a:fillRef>
        <a:effectRef idx="0">
          <a:scrgbClr r="0" g="0" b="0"/>
        </a:effectRef>
        <a:fontRef idx="minor"/>
      </dsp:style>
    </dsp:sp>
    <dsp:sp modelId="{412064A2-B54C-42F5-96B5-03FAFC5739C8}">
      <dsp:nvSpPr>
        <dsp:cNvPr id="0" name=""/>
        <dsp:cNvSpPr/>
      </dsp:nvSpPr>
      <dsp:spPr>
        <a:xfrm>
          <a:off x="5351401" y="2088885"/>
          <a:ext cx="2243624" cy="225771"/>
        </a:xfrm>
        <a:custGeom>
          <a:avLst/>
          <a:gdLst/>
          <a:ahLst/>
          <a:cxnLst/>
          <a:rect l="0" t="0" r="0" b="0"/>
          <a:pathLst>
            <a:path>
              <a:moveTo>
                <a:pt x="0" y="0"/>
              </a:moveTo>
              <a:lnTo>
                <a:pt x="0" y="112885"/>
              </a:lnTo>
              <a:lnTo>
                <a:pt x="2243624" y="112885"/>
              </a:lnTo>
              <a:lnTo>
                <a:pt x="2243624" y="225771"/>
              </a:lnTo>
            </a:path>
          </a:pathLst>
        </a:custGeom>
        <a:noFill/>
        <a:ln w="19050" cap="flat" cmpd="sng" algn="ctr">
          <a:solidFill>
            <a:srgbClr val="245D90"/>
          </a:solidFill>
          <a:prstDash val="solid"/>
        </a:ln>
        <a:effectLst/>
      </dsp:spPr>
      <dsp:style>
        <a:lnRef idx="2">
          <a:scrgbClr r="0" g="0" b="0"/>
        </a:lnRef>
        <a:fillRef idx="0">
          <a:scrgbClr r="0" g="0" b="0"/>
        </a:fillRef>
        <a:effectRef idx="0">
          <a:scrgbClr r="0" g="0" b="0"/>
        </a:effectRef>
        <a:fontRef idx="minor"/>
      </dsp:style>
    </dsp:sp>
    <dsp:sp modelId="{CF0D5A39-C7E6-4748-A355-16CF5C685488}">
      <dsp:nvSpPr>
        <dsp:cNvPr id="0" name=""/>
        <dsp:cNvSpPr/>
      </dsp:nvSpPr>
      <dsp:spPr>
        <a:xfrm>
          <a:off x="1219364" y="3251643"/>
          <a:ext cx="551299" cy="3012348"/>
        </a:xfrm>
        <a:custGeom>
          <a:avLst/>
          <a:gdLst/>
          <a:ahLst/>
          <a:cxnLst/>
          <a:rect l="0" t="0" r="0" b="0"/>
          <a:pathLst>
            <a:path>
              <a:moveTo>
                <a:pt x="0" y="0"/>
              </a:moveTo>
              <a:lnTo>
                <a:pt x="0" y="3012348"/>
              </a:lnTo>
              <a:lnTo>
                <a:pt x="551299" y="3012348"/>
              </a:lnTo>
            </a:path>
          </a:pathLst>
        </a:custGeom>
        <a:noFill/>
        <a:ln w="19050" cap="flat" cmpd="sng" algn="ctr">
          <a:solidFill>
            <a:srgbClr val="245D90"/>
          </a:solidFill>
          <a:prstDash val="solid"/>
        </a:ln>
        <a:effectLst/>
      </dsp:spPr>
      <dsp:style>
        <a:lnRef idx="2">
          <a:scrgbClr r="0" g="0" b="0"/>
        </a:lnRef>
        <a:fillRef idx="0">
          <a:scrgbClr r="0" g="0" b="0"/>
        </a:fillRef>
        <a:effectRef idx="0">
          <a:scrgbClr r="0" g="0" b="0"/>
        </a:effectRef>
        <a:fontRef idx="minor"/>
      </dsp:style>
    </dsp:sp>
    <dsp:sp modelId="{6CEB1982-5F0B-4672-B650-93FAAC11EFB7}">
      <dsp:nvSpPr>
        <dsp:cNvPr id="0" name=""/>
        <dsp:cNvSpPr/>
      </dsp:nvSpPr>
      <dsp:spPr>
        <a:xfrm>
          <a:off x="1219364" y="3251643"/>
          <a:ext cx="524013" cy="1866083"/>
        </a:xfrm>
        <a:custGeom>
          <a:avLst/>
          <a:gdLst/>
          <a:ahLst/>
          <a:cxnLst/>
          <a:rect l="0" t="0" r="0" b="0"/>
          <a:pathLst>
            <a:path>
              <a:moveTo>
                <a:pt x="0" y="0"/>
              </a:moveTo>
              <a:lnTo>
                <a:pt x="0" y="1866083"/>
              </a:lnTo>
              <a:lnTo>
                <a:pt x="524013" y="1866083"/>
              </a:lnTo>
            </a:path>
          </a:pathLst>
        </a:custGeom>
        <a:noFill/>
        <a:ln w="19050" cap="flat" cmpd="sng" algn="ctr">
          <a:solidFill>
            <a:srgbClr val="245D90"/>
          </a:solidFill>
          <a:prstDash val="solid"/>
        </a:ln>
        <a:effectLst/>
      </dsp:spPr>
      <dsp:style>
        <a:lnRef idx="2">
          <a:scrgbClr r="0" g="0" b="0"/>
        </a:lnRef>
        <a:fillRef idx="0">
          <a:scrgbClr r="0" g="0" b="0"/>
        </a:fillRef>
        <a:effectRef idx="0">
          <a:scrgbClr r="0" g="0" b="0"/>
        </a:effectRef>
        <a:fontRef idx="minor"/>
      </dsp:style>
    </dsp:sp>
    <dsp:sp modelId="{B1660003-8460-4F20-B89C-26D52314BC1B}">
      <dsp:nvSpPr>
        <dsp:cNvPr id="0" name=""/>
        <dsp:cNvSpPr/>
      </dsp:nvSpPr>
      <dsp:spPr>
        <a:xfrm>
          <a:off x="1219364" y="3251643"/>
          <a:ext cx="518670" cy="692778"/>
        </a:xfrm>
        <a:custGeom>
          <a:avLst/>
          <a:gdLst/>
          <a:ahLst/>
          <a:cxnLst/>
          <a:rect l="0" t="0" r="0" b="0"/>
          <a:pathLst>
            <a:path>
              <a:moveTo>
                <a:pt x="0" y="0"/>
              </a:moveTo>
              <a:lnTo>
                <a:pt x="0" y="692778"/>
              </a:lnTo>
              <a:lnTo>
                <a:pt x="518670" y="692778"/>
              </a:lnTo>
            </a:path>
          </a:pathLst>
        </a:custGeom>
        <a:noFill/>
        <a:ln w="19050" cap="flat" cmpd="sng" algn="ctr">
          <a:solidFill>
            <a:srgbClr val="245D90"/>
          </a:solidFill>
          <a:prstDash val="solid"/>
        </a:ln>
        <a:effectLst/>
      </dsp:spPr>
      <dsp:style>
        <a:lnRef idx="2">
          <a:scrgbClr r="0" g="0" b="0"/>
        </a:lnRef>
        <a:fillRef idx="0">
          <a:scrgbClr r="0" g="0" b="0"/>
        </a:fillRef>
        <a:effectRef idx="0">
          <a:scrgbClr r="0" g="0" b="0"/>
        </a:effectRef>
        <a:fontRef idx="minor"/>
      </dsp:style>
    </dsp:sp>
    <dsp:sp modelId="{BFFC1553-4E40-4D71-A6CC-592A35B2C130}">
      <dsp:nvSpPr>
        <dsp:cNvPr id="0" name=""/>
        <dsp:cNvSpPr/>
      </dsp:nvSpPr>
      <dsp:spPr>
        <a:xfrm>
          <a:off x="2338324" y="2088885"/>
          <a:ext cx="3013077" cy="225771"/>
        </a:xfrm>
        <a:custGeom>
          <a:avLst/>
          <a:gdLst/>
          <a:ahLst/>
          <a:cxnLst/>
          <a:rect l="0" t="0" r="0" b="0"/>
          <a:pathLst>
            <a:path>
              <a:moveTo>
                <a:pt x="3013077" y="0"/>
              </a:moveTo>
              <a:lnTo>
                <a:pt x="3013077" y="112885"/>
              </a:lnTo>
              <a:lnTo>
                <a:pt x="0" y="112885"/>
              </a:lnTo>
              <a:lnTo>
                <a:pt x="0" y="225771"/>
              </a:lnTo>
            </a:path>
          </a:pathLst>
        </a:custGeom>
        <a:noFill/>
        <a:ln w="19050" cap="flat" cmpd="sng" algn="ctr">
          <a:solidFill>
            <a:srgbClr val="245D90"/>
          </a:solidFill>
          <a:prstDash val="solid"/>
        </a:ln>
        <a:effectLst/>
      </dsp:spPr>
      <dsp:style>
        <a:lnRef idx="2">
          <a:scrgbClr r="0" g="0" b="0"/>
        </a:lnRef>
        <a:fillRef idx="0">
          <a:scrgbClr r="0" g="0" b="0"/>
        </a:fillRef>
        <a:effectRef idx="0">
          <a:scrgbClr r="0" g="0" b="0"/>
        </a:effectRef>
        <a:fontRef idx="minor"/>
      </dsp:style>
    </dsp:sp>
    <dsp:sp modelId="{FEF6F258-1997-47F9-A391-F930E4113E8F}">
      <dsp:nvSpPr>
        <dsp:cNvPr id="0" name=""/>
        <dsp:cNvSpPr/>
      </dsp:nvSpPr>
      <dsp:spPr>
        <a:xfrm>
          <a:off x="3831349" y="943033"/>
          <a:ext cx="1520052" cy="222589"/>
        </a:xfrm>
        <a:custGeom>
          <a:avLst/>
          <a:gdLst/>
          <a:ahLst/>
          <a:cxnLst/>
          <a:rect l="0" t="0" r="0" b="0"/>
          <a:pathLst>
            <a:path>
              <a:moveTo>
                <a:pt x="0" y="0"/>
              </a:moveTo>
              <a:lnTo>
                <a:pt x="0" y="109703"/>
              </a:lnTo>
              <a:lnTo>
                <a:pt x="1520052" y="109703"/>
              </a:lnTo>
              <a:lnTo>
                <a:pt x="1520052" y="222589"/>
              </a:lnTo>
            </a:path>
          </a:pathLst>
        </a:custGeom>
        <a:noFill/>
        <a:ln w="19050" cap="flat" cmpd="sng" algn="ctr">
          <a:solidFill>
            <a:srgbClr val="245D90"/>
          </a:solidFill>
          <a:prstDash val="solid"/>
        </a:ln>
        <a:effectLst/>
      </dsp:spPr>
      <dsp:style>
        <a:lnRef idx="2">
          <a:scrgbClr r="0" g="0" b="0"/>
        </a:lnRef>
        <a:fillRef idx="0">
          <a:scrgbClr r="0" g="0" b="0"/>
        </a:fillRef>
        <a:effectRef idx="0">
          <a:scrgbClr r="0" g="0" b="0"/>
        </a:effectRef>
        <a:fontRef idx="minor"/>
      </dsp:style>
    </dsp:sp>
    <dsp:sp modelId="{141D9981-56B4-4BA1-ACC0-8E1B2D751217}">
      <dsp:nvSpPr>
        <dsp:cNvPr id="0" name=""/>
        <dsp:cNvSpPr/>
      </dsp:nvSpPr>
      <dsp:spPr>
        <a:xfrm>
          <a:off x="1734664" y="943033"/>
          <a:ext cx="2096684" cy="222589"/>
        </a:xfrm>
        <a:custGeom>
          <a:avLst/>
          <a:gdLst/>
          <a:ahLst/>
          <a:cxnLst/>
          <a:rect l="0" t="0" r="0" b="0"/>
          <a:pathLst>
            <a:path>
              <a:moveTo>
                <a:pt x="2096684" y="0"/>
              </a:moveTo>
              <a:lnTo>
                <a:pt x="2096684" y="109703"/>
              </a:lnTo>
              <a:lnTo>
                <a:pt x="0" y="109703"/>
              </a:lnTo>
              <a:lnTo>
                <a:pt x="0" y="222589"/>
              </a:lnTo>
            </a:path>
          </a:pathLst>
        </a:custGeom>
        <a:noFill/>
        <a:ln w="19050" cap="flat" cmpd="sng" algn="ctr">
          <a:solidFill>
            <a:srgbClr val="245D90"/>
          </a:solidFill>
          <a:prstDash val="sysDash"/>
        </a:ln>
        <a:effectLst/>
      </dsp:spPr>
      <dsp:style>
        <a:lnRef idx="2">
          <a:scrgbClr r="0" g="0" b="0"/>
        </a:lnRef>
        <a:fillRef idx="0">
          <a:scrgbClr r="0" g="0" b="0"/>
        </a:fillRef>
        <a:effectRef idx="0">
          <a:scrgbClr r="0" g="0" b="0"/>
        </a:effectRef>
        <a:fontRef idx="minor"/>
      </dsp:style>
    </dsp:sp>
    <dsp:sp modelId="{44CFB047-F266-43FC-84AC-8A1DCEBF43BA}">
      <dsp:nvSpPr>
        <dsp:cNvPr id="0" name=""/>
        <dsp:cNvSpPr/>
      </dsp:nvSpPr>
      <dsp:spPr>
        <a:xfrm>
          <a:off x="2390477" y="4924"/>
          <a:ext cx="2881742" cy="938109"/>
        </a:xfrm>
        <a:prstGeom prst="rect">
          <a:avLst/>
        </a:prstGeom>
        <a:solidFill>
          <a:srgbClr val="2E75B6"/>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98237" tIns="6985" rIns="6985" bIns="6985" numCol="1" spcCol="1270" anchor="ctr" anchorCtr="0">
          <a:noAutofit/>
        </a:bodyPr>
        <a:lstStyle/>
        <a:p>
          <a:pPr marL="0" lvl="0" indent="0" algn="ctr" defTabSz="488950">
            <a:lnSpc>
              <a:spcPct val="100000"/>
            </a:lnSpc>
            <a:spcBef>
              <a:spcPct val="0"/>
            </a:spcBef>
            <a:spcAft>
              <a:spcPts val="0"/>
            </a:spcAft>
            <a:buNone/>
          </a:pPr>
          <a:r>
            <a:rPr lang="en-US" sz="1100" b="1" kern="1200" dirty="0"/>
            <a:t>Dux Sy</a:t>
          </a:r>
        </a:p>
        <a:p>
          <a:pPr marL="0" lvl="0" indent="0" algn="ctr" defTabSz="488950">
            <a:lnSpc>
              <a:spcPct val="100000"/>
            </a:lnSpc>
            <a:spcBef>
              <a:spcPct val="0"/>
            </a:spcBef>
            <a:spcAft>
              <a:spcPts val="0"/>
            </a:spcAft>
            <a:buNone/>
          </a:pPr>
          <a:r>
            <a:rPr lang="en-US" sz="1100" b="0" kern="1200" dirty="0"/>
            <a:t>CTO </a:t>
          </a:r>
        </a:p>
        <a:p>
          <a:pPr marL="0" lvl="0" indent="0" algn="ctr" defTabSz="488950">
            <a:lnSpc>
              <a:spcPct val="100000"/>
            </a:lnSpc>
            <a:spcBef>
              <a:spcPct val="0"/>
            </a:spcBef>
            <a:spcAft>
              <a:spcPts val="0"/>
            </a:spcAft>
            <a:buNone/>
          </a:pPr>
          <a:r>
            <a:rPr lang="en-US" sz="1100" b="0" kern="1200" dirty="0"/>
            <a:t>703-596-8054</a:t>
          </a:r>
        </a:p>
        <a:p>
          <a:pPr marL="0" lvl="0" indent="0" algn="ctr" defTabSz="488950">
            <a:lnSpc>
              <a:spcPct val="100000"/>
            </a:lnSpc>
            <a:spcBef>
              <a:spcPct val="0"/>
            </a:spcBef>
            <a:spcAft>
              <a:spcPts val="0"/>
            </a:spcAft>
            <a:buNone/>
          </a:pPr>
          <a:r>
            <a:rPr lang="en-US" sz="1000" kern="1200" dirty="0"/>
            <a:t>      </a:t>
          </a:r>
          <a:r>
            <a:rPr lang="en-US" sz="1000" kern="1200" dirty="0">
              <a:hlinkClick xmlns:r="http://schemas.openxmlformats.org/officeDocument/2006/relationships" r:id="rId1"/>
            </a:rPr>
            <a:t>DuxRaymond.Sy@AvePoint.com</a:t>
          </a:r>
          <a:endParaRPr lang="en-US" sz="900" kern="1200" dirty="0"/>
        </a:p>
      </dsp:txBody>
      <dsp:txXfrm>
        <a:off x="2390477" y="4924"/>
        <a:ext cx="2881742" cy="938109"/>
      </dsp:txXfrm>
    </dsp:sp>
    <dsp:sp modelId="{B227C65A-8FD0-4E08-8C23-FF057DE3FE1E}">
      <dsp:nvSpPr>
        <dsp:cNvPr id="0" name=""/>
        <dsp:cNvSpPr/>
      </dsp:nvSpPr>
      <dsp:spPr>
        <a:xfrm>
          <a:off x="2464869" y="63786"/>
          <a:ext cx="692142" cy="763732"/>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360D032-0471-4642-824D-DB9D25C8CE5D}">
      <dsp:nvSpPr>
        <dsp:cNvPr id="0" name=""/>
        <dsp:cNvSpPr/>
      </dsp:nvSpPr>
      <dsp:spPr>
        <a:xfrm>
          <a:off x="327497" y="1165623"/>
          <a:ext cx="2814333" cy="938109"/>
        </a:xfrm>
        <a:prstGeom prst="rect">
          <a:avLst/>
        </a:prstGeom>
        <a:solidFill>
          <a:srgbClr val="2E75B6"/>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98237" tIns="6985" rIns="6985" bIns="6985" numCol="1" spcCol="1270" anchor="ctr" anchorCtr="0">
          <a:noAutofit/>
        </a:bodyPr>
        <a:lstStyle/>
        <a:p>
          <a:pPr marL="0" lvl="0" indent="0" algn="ctr" defTabSz="488950">
            <a:lnSpc>
              <a:spcPct val="100000"/>
            </a:lnSpc>
            <a:spcBef>
              <a:spcPct val="0"/>
            </a:spcBef>
            <a:spcAft>
              <a:spcPts val="0"/>
            </a:spcAft>
            <a:buNone/>
          </a:pPr>
          <a:r>
            <a:rPr lang="en-US" sz="1100" b="1" kern="1200" dirty="0"/>
            <a:t>Kelly Schneider</a:t>
          </a:r>
        </a:p>
        <a:p>
          <a:pPr marL="0" lvl="0" indent="0" algn="ctr" defTabSz="488950">
            <a:lnSpc>
              <a:spcPct val="100000"/>
            </a:lnSpc>
            <a:spcBef>
              <a:spcPct val="0"/>
            </a:spcBef>
            <a:spcAft>
              <a:spcPts val="0"/>
            </a:spcAft>
            <a:buNone/>
          </a:pPr>
          <a:r>
            <a:rPr lang="en-US" sz="1100" b="0" kern="1200" dirty="0"/>
            <a:t>Sr. Marketing Manager</a:t>
          </a:r>
        </a:p>
        <a:p>
          <a:pPr marL="0" lvl="0" indent="0" algn="ctr" defTabSz="488950">
            <a:lnSpc>
              <a:spcPct val="100000"/>
            </a:lnSpc>
            <a:spcBef>
              <a:spcPct val="0"/>
            </a:spcBef>
            <a:spcAft>
              <a:spcPts val="0"/>
            </a:spcAft>
            <a:buNone/>
          </a:pPr>
          <a:r>
            <a:rPr lang="en-US" sz="1100" b="0" kern="1200" dirty="0"/>
            <a:t>703-587-5399</a:t>
          </a:r>
        </a:p>
        <a:p>
          <a:pPr marL="0" lvl="0" indent="0" algn="ctr" defTabSz="488950">
            <a:lnSpc>
              <a:spcPct val="100000"/>
            </a:lnSpc>
            <a:spcBef>
              <a:spcPct val="0"/>
            </a:spcBef>
            <a:spcAft>
              <a:spcPct val="35000"/>
            </a:spcAft>
            <a:buNone/>
          </a:pPr>
          <a:r>
            <a:rPr lang="en-US" sz="1000" kern="1200" dirty="0"/>
            <a:t>    </a:t>
          </a:r>
          <a:r>
            <a:rPr lang="en-US" sz="1000" kern="1200" dirty="0">
              <a:hlinkClick xmlns:r="http://schemas.openxmlformats.org/officeDocument/2006/relationships" r:id="rId3"/>
            </a:rPr>
            <a:t>Kelly.Schneider@AvePoint.com</a:t>
          </a:r>
          <a:endParaRPr lang="en-US" sz="900" kern="1200" dirty="0"/>
        </a:p>
      </dsp:txBody>
      <dsp:txXfrm>
        <a:off x="327497" y="1165623"/>
        <a:ext cx="2814333" cy="938109"/>
      </dsp:txXfrm>
    </dsp:sp>
    <dsp:sp modelId="{51E1E0D7-58A2-4C6B-AD49-EF63C2BAEC79}">
      <dsp:nvSpPr>
        <dsp:cNvPr id="0" name=""/>
        <dsp:cNvSpPr/>
      </dsp:nvSpPr>
      <dsp:spPr>
        <a:xfrm>
          <a:off x="395408" y="1244748"/>
          <a:ext cx="618802" cy="775980"/>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FFC2A11-D38F-43BF-AE14-4EED0EBF1C71}">
      <dsp:nvSpPr>
        <dsp:cNvPr id="0" name=""/>
        <dsp:cNvSpPr/>
      </dsp:nvSpPr>
      <dsp:spPr>
        <a:xfrm>
          <a:off x="3944235" y="1165623"/>
          <a:ext cx="2814333" cy="923262"/>
        </a:xfrm>
        <a:prstGeom prst="rect">
          <a:avLst/>
        </a:prstGeom>
        <a:solidFill>
          <a:srgbClr val="2E75B6"/>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98237" tIns="6985" rIns="6985" bIns="6985" numCol="1" spcCol="1270" anchor="ctr" anchorCtr="0">
          <a:noAutofit/>
        </a:bodyPr>
        <a:lstStyle/>
        <a:p>
          <a:pPr marL="0" lvl="0" indent="0" algn="ctr" defTabSz="488950">
            <a:lnSpc>
              <a:spcPct val="100000"/>
            </a:lnSpc>
            <a:spcBef>
              <a:spcPct val="0"/>
            </a:spcBef>
            <a:spcAft>
              <a:spcPts val="0"/>
            </a:spcAft>
            <a:buNone/>
          </a:pPr>
          <a:r>
            <a:rPr lang="en-US" sz="1100" b="1" kern="1200" dirty="0"/>
            <a:t>Tarek </a:t>
          </a:r>
          <a:r>
            <a:rPr lang="en-US" sz="1100" b="1" kern="1200" dirty="0" err="1"/>
            <a:t>Shamounki</a:t>
          </a:r>
          <a:r>
            <a:rPr lang="en-US" sz="1100" b="1" kern="1200" dirty="0"/>
            <a:t> </a:t>
          </a:r>
        </a:p>
        <a:p>
          <a:pPr marL="0" lvl="0" indent="0" algn="ctr" defTabSz="488950">
            <a:lnSpc>
              <a:spcPct val="100000"/>
            </a:lnSpc>
            <a:spcBef>
              <a:spcPct val="0"/>
            </a:spcBef>
            <a:spcAft>
              <a:spcPts val="0"/>
            </a:spcAft>
            <a:buNone/>
          </a:pPr>
          <a:r>
            <a:rPr lang="en-US" sz="1100" b="0" kern="1200" dirty="0"/>
            <a:t>SVP, Federal EPG</a:t>
          </a:r>
        </a:p>
        <a:p>
          <a:pPr marL="0" lvl="0" indent="0" algn="ctr" defTabSz="488950">
            <a:lnSpc>
              <a:spcPct val="100000"/>
            </a:lnSpc>
            <a:spcBef>
              <a:spcPct val="0"/>
            </a:spcBef>
            <a:spcAft>
              <a:spcPts val="0"/>
            </a:spcAft>
            <a:buNone/>
          </a:pPr>
          <a:r>
            <a:rPr lang="en-US" sz="1100" b="0" kern="1200" dirty="0"/>
            <a:t>703-596-8021</a:t>
          </a:r>
        </a:p>
        <a:p>
          <a:pPr marL="0" lvl="0" indent="0" algn="ctr" defTabSz="488950">
            <a:lnSpc>
              <a:spcPct val="100000"/>
            </a:lnSpc>
            <a:spcBef>
              <a:spcPct val="0"/>
            </a:spcBef>
            <a:spcAft>
              <a:spcPct val="35000"/>
            </a:spcAft>
            <a:buNone/>
          </a:pPr>
          <a:r>
            <a:rPr lang="en-US" sz="1000" kern="1200" dirty="0">
              <a:effectLst/>
            </a:rPr>
            <a:t>    </a:t>
          </a:r>
          <a:r>
            <a:rPr lang="en-US" sz="1000" kern="1200" dirty="0">
              <a:effectLst/>
              <a:hlinkClick xmlns:r="http://schemas.openxmlformats.org/officeDocument/2006/relationships" r:id="rId5"/>
            </a:rPr>
            <a:t>Tarek.Shamounki@avepoint.com</a:t>
          </a:r>
          <a:endParaRPr lang="en-US" sz="900" kern="1200" dirty="0"/>
        </a:p>
      </dsp:txBody>
      <dsp:txXfrm>
        <a:off x="3944235" y="1165623"/>
        <a:ext cx="2814333" cy="923262"/>
      </dsp:txXfrm>
    </dsp:sp>
    <dsp:sp modelId="{16A60CEF-6957-405C-9F73-52F4FC8C3973}">
      <dsp:nvSpPr>
        <dsp:cNvPr id="0" name=""/>
        <dsp:cNvSpPr/>
      </dsp:nvSpPr>
      <dsp:spPr>
        <a:xfrm>
          <a:off x="4016265" y="1219523"/>
          <a:ext cx="618792" cy="761973"/>
        </a:xfrm>
        <a:prstGeom prst="rect">
          <a:avLst/>
        </a:prstGeom>
        <a:blipFill>
          <a:blip xmlns:r="http://schemas.openxmlformats.org/officeDocument/2006/relationships" r:embed="rId6"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AF34FCF-0950-47E3-8BEE-514EA65E58A6}">
      <dsp:nvSpPr>
        <dsp:cNvPr id="0" name=""/>
        <dsp:cNvSpPr/>
      </dsp:nvSpPr>
      <dsp:spPr>
        <a:xfrm>
          <a:off x="939624" y="2314657"/>
          <a:ext cx="2797400" cy="936985"/>
        </a:xfrm>
        <a:prstGeom prst="rect">
          <a:avLst/>
        </a:prstGeom>
        <a:solidFill>
          <a:srgbClr val="2E75B6"/>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98237" tIns="6985" rIns="6985" bIns="6985" numCol="1" spcCol="1270" anchor="ctr" anchorCtr="0">
          <a:noAutofit/>
        </a:bodyPr>
        <a:lstStyle/>
        <a:p>
          <a:pPr marL="0" lvl="0" indent="0" algn="ctr" defTabSz="488950">
            <a:lnSpc>
              <a:spcPct val="100000"/>
            </a:lnSpc>
            <a:spcBef>
              <a:spcPct val="0"/>
            </a:spcBef>
            <a:spcAft>
              <a:spcPts val="0"/>
            </a:spcAft>
            <a:buNone/>
          </a:pPr>
          <a:r>
            <a:rPr lang="en-US" sz="1100" b="1" kern="1200" dirty="0"/>
            <a:t>Peter Sandeen</a:t>
          </a:r>
        </a:p>
        <a:p>
          <a:pPr marL="0" lvl="0" indent="0" algn="ctr" defTabSz="488950">
            <a:lnSpc>
              <a:spcPct val="100000"/>
            </a:lnSpc>
            <a:spcBef>
              <a:spcPct val="0"/>
            </a:spcBef>
            <a:spcAft>
              <a:spcPts val="0"/>
            </a:spcAft>
            <a:buNone/>
          </a:pPr>
          <a:r>
            <a:rPr lang="en-US" sz="1100" kern="1200" dirty="0"/>
            <a:t>Director of Sales, </a:t>
          </a:r>
          <a:r>
            <a:rPr lang="en-US" sz="1100" kern="1200" dirty="0" err="1"/>
            <a:t>FedCiv</a:t>
          </a:r>
          <a:endParaRPr lang="en-US" sz="1100" kern="1200" dirty="0"/>
        </a:p>
        <a:p>
          <a:pPr marL="0" lvl="0" indent="0" algn="ctr" defTabSz="488950">
            <a:lnSpc>
              <a:spcPct val="100000"/>
            </a:lnSpc>
            <a:spcBef>
              <a:spcPct val="0"/>
            </a:spcBef>
            <a:spcAft>
              <a:spcPts val="0"/>
            </a:spcAft>
            <a:buNone/>
          </a:pPr>
          <a:r>
            <a:rPr lang="en-US" sz="1100" kern="1200" dirty="0"/>
            <a:t>DOS/DOJ/DOE/FAA/SSA/EPA</a:t>
          </a:r>
        </a:p>
        <a:p>
          <a:pPr marL="0" lvl="0" indent="0" algn="ctr" defTabSz="488950">
            <a:lnSpc>
              <a:spcPct val="100000"/>
            </a:lnSpc>
            <a:spcBef>
              <a:spcPct val="0"/>
            </a:spcBef>
            <a:spcAft>
              <a:spcPts val="0"/>
            </a:spcAft>
            <a:buNone/>
          </a:pPr>
          <a:r>
            <a:rPr lang="en-US" sz="1100" kern="1200" dirty="0"/>
            <a:t>703-582-0784</a:t>
          </a:r>
        </a:p>
        <a:p>
          <a:pPr marL="0" lvl="0" indent="0" algn="ctr" defTabSz="488950">
            <a:lnSpc>
              <a:spcPct val="100000"/>
            </a:lnSpc>
            <a:spcBef>
              <a:spcPct val="0"/>
            </a:spcBef>
            <a:spcAft>
              <a:spcPts val="0"/>
            </a:spcAft>
            <a:buNone/>
          </a:pPr>
          <a:r>
            <a:rPr lang="en-US" sz="1000" kern="1200" dirty="0">
              <a:effectLst/>
            </a:rPr>
            <a:t>   </a:t>
          </a:r>
          <a:r>
            <a:rPr lang="en-US" sz="1000" kern="1200" dirty="0">
              <a:effectLst/>
              <a:hlinkClick xmlns:r="http://schemas.openxmlformats.org/officeDocument/2006/relationships" r:id="rId7"/>
            </a:rPr>
            <a:t>Peter.Sandeen@avepoint.com</a:t>
          </a:r>
          <a:endParaRPr lang="en-US" sz="900" kern="1200" dirty="0"/>
        </a:p>
      </dsp:txBody>
      <dsp:txXfrm>
        <a:off x="939624" y="2314657"/>
        <a:ext cx="2797400" cy="936985"/>
      </dsp:txXfrm>
    </dsp:sp>
    <dsp:sp modelId="{B536AABA-5090-4371-823C-202C57B07975}">
      <dsp:nvSpPr>
        <dsp:cNvPr id="0" name=""/>
        <dsp:cNvSpPr/>
      </dsp:nvSpPr>
      <dsp:spPr>
        <a:xfrm>
          <a:off x="977506" y="2356503"/>
          <a:ext cx="647168" cy="787367"/>
        </a:xfrm>
        <a:prstGeom prst="rect">
          <a:avLst/>
        </a:prstGeom>
        <a:blipFill>
          <a:blip xmlns:r="http://schemas.openxmlformats.org/officeDocument/2006/relationships" r:embed="rId8"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A8F47DD-C06B-4B59-BCF9-1F39E0BFB263}">
      <dsp:nvSpPr>
        <dsp:cNvPr id="0" name=""/>
        <dsp:cNvSpPr/>
      </dsp:nvSpPr>
      <dsp:spPr>
        <a:xfrm>
          <a:off x="1738034" y="3477415"/>
          <a:ext cx="3245450" cy="934013"/>
        </a:xfrm>
        <a:prstGeom prst="rect">
          <a:avLst/>
        </a:prstGeom>
        <a:solidFill>
          <a:srgbClr val="2E75B6"/>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98237" tIns="6985" rIns="6985" bIns="6985" numCol="1" spcCol="1270" anchor="ctr" anchorCtr="0">
          <a:noAutofit/>
        </a:bodyPr>
        <a:lstStyle/>
        <a:p>
          <a:pPr marL="0" lvl="0" indent="0" algn="ctr" defTabSz="488950">
            <a:lnSpc>
              <a:spcPct val="100000"/>
            </a:lnSpc>
            <a:spcBef>
              <a:spcPct val="0"/>
            </a:spcBef>
            <a:spcAft>
              <a:spcPts val="0"/>
            </a:spcAft>
            <a:buNone/>
          </a:pPr>
          <a:r>
            <a:rPr lang="en-US" sz="1100" b="1" kern="1200" dirty="0"/>
            <a:t>Cress Murdock</a:t>
          </a:r>
        </a:p>
        <a:p>
          <a:pPr marL="0" lvl="0" indent="0" algn="ctr" defTabSz="488950">
            <a:lnSpc>
              <a:spcPct val="100000"/>
            </a:lnSpc>
            <a:spcBef>
              <a:spcPct val="0"/>
            </a:spcBef>
            <a:spcAft>
              <a:spcPts val="0"/>
            </a:spcAft>
            <a:buNone/>
          </a:pPr>
          <a:r>
            <a:rPr lang="en-US" sz="1100" b="0" kern="1200" dirty="0"/>
            <a:t>Major Account Executive</a:t>
          </a:r>
        </a:p>
        <a:p>
          <a:pPr marL="0" lvl="0" indent="0" algn="ctr" defTabSz="488950">
            <a:lnSpc>
              <a:spcPct val="100000"/>
            </a:lnSpc>
            <a:spcBef>
              <a:spcPct val="0"/>
            </a:spcBef>
            <a:spcAft>
              <a:spcPts val="0"/>
            </a:spcAft>
            <a:buNone/>
          </a:pPr>
          <a:r>
            <a:rPr lang="en-US" sz="1100" b="0" kern="1200" dirty="0"/>
            <a:t>DOI/VA/DHA/Federal </a:t>
          </a:r>
          <a:r>
            <a:rPr lang="en-US" sz="1100" b="0" kern="1200"/>
            <a:t>Financial Vertical</a:t>
          </a:r>
          <a:endParaRPr lang="en-US" sz="1100" b="0" kern="1200" dirty="0"/>
        </a:p>
        <a:p>
          <a:pPr marL="0" lvl="0" indent="0" algn="ctr" defTabSz="488950">
            <a:lnSpc>
              <a:spcPct val="100000"/>
            </a:lnSpc>
            <a:spcBef>
              <a:spcPct val="0"/>
            </a:spcBef>
            <a:spcAft>
              <a:spcPts val="0"/>
            </a:spcAft>
            <a:buNone/>
          </a:pPr>
          <a:r>
            <a:rPr lang="en-US" sz="1100" b="0" kern="1200" dirty="0"/>
            <a:t>301-401-8786</a:t>
          </a:r>
        </a:p>
        <a:p>
          <a:pPr marL="0" lvl="0" indent="0" algn="ctr" defTabSz="488950">
            <a:lnSpc>
              <a:spcPct val="90000"/>
            </a:lnSpc>
            <a:spcBef>
              <a:spcPct val="0"/>
            </a:spcBef>
            <a:spcAft>
              <a:spcPct val="35000"/>
            </a:spcAft>
            <a:buNone/>
          </a:pPr>
          <a:r>
            <a:rPr lang="en-US" sz="1000" kern="1200" dirty="0">
              <a:effectLst/>
              <a:hlinkClick xmlns:r="http://schemas.openxmlformats.org/officeDocument/2006/relationships" r:id="rId9"/>
            </a:rPr>
            <a:t>Cress.Murdock@avepoint.com</a:t>
          </a:r>
          <a:endParaRPr lang="en-US" sz="900" kern="1200" dirty="0">
            <a:effectLst/>
          </a:endParaRPr>
        </a:p>
      </dsp:txBody>
      <dsp:txXfrm>
        <a:off x="1738034" y="3477415"/>
        <a:ext cx="3245450" cy="934013"/>
      </dsp:txXfrm>
    </dsp:sp>
    <dsp:sp modelId="{3989B262-4187-4731-9982-865B2AE79DB2}">
      <dsp:nvSpPr>
        <dsp:cNvPr id="0" name=""/>
        <dsp:cNvSpPr/>
      </dsp:nvSpPr>
      <dsp:spPr>
        <a:xfrm>
          <a:off x="1789836" y="3549791"/>
          <a:ext cx="519498" cy="688871"/>
        </a:xfrm>
        <a:prstGeom prst="rect">
          <a:avLst/>
        </a:prstGeom>
        <a:blipFill>
          <a:blip xmlns:r="http://schemas.openxmlformats.org/officeDocument/2006/relationships" r:embed="rId10"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21BB34F-4C47-4A74-97F7-5D162180A6BC}">
      <dsp:nvSpPr>
        <dsp:cNvPr id="0" name=""/>
        <dsp:cNvSpPr/>
      </dsp:nvSpPr>
      <dsp:spPr>
        <a:xfrm>
          <a:off x="1743377" y="4650719"/>
          <a:ext cx="3245460" cy="934013"/>
        </a:xfrm>
        <a:prstGeom prst="rect">
          <a:avLst/>
        </a:prstGeom>
        <a:solidFill>
          <a:srgbClr val="2E75B6"/>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98237" tIns="6985" rIns="6985" bIns="6985" numCol="1" spcCol="1270" anchor="ctr" anchorCtr="0">
          <a:noAutofit/>
        </a:bodyPr>
        <a:lstStyle/>
        <a:p>
          <a:pPr marL="0" lvl="0" indent="0" algn="ctr" defTabSz="488950">
            <a:lnSpc>
              <a:spcPct val="100000"/>
            </a:lnSpc>
            <a:spcBef>
              <a:spcPct val="0"/>
            </a:spcBef>
            <a:spcAft>
              <a:spcPts val="0"/>
            </a:spcAft>
            <a:buNone/>
          </a:pPr>
          <a:r>
            <a:rPr lang="en-US" sz="1100" b="1" kern="1200" dirty="0"/>
            <a:t>Matt </a:t>
          </a:r>
          <a:r>
            <a:rPr lang="en-US" sz="1100" b="1" kern="1200" dirty="0" err="1"/>
            <a:t>Michels</a:t>
          </a:r>
          <a:endParaRPr lang="en-US" sz="1100" b="1" kern="1200" dirty="0"/>
        </a:p>
        <a:p>
          <a:pPr marL="0" lvl="0" indent="0" algn="ctr" defTabSz="488950">
            <a:lnSpc>
              <a:spcPct val="100000"/>
            </a:lnSpc>
            <a:spcBef>
              <a:spcPct val="0"/>
            </a:spcBef>
            <a:spcAft>
              <a:spcPts val="0"/>
            </a:spcAft>
            <a:buNone/>
          </a:pPr>
          <a:r>
            <a:rPr lang="en-US" sz="1100" b="0" kern="1200" dirty="0"/>
            <a:t>Major Account Executive</a:t>
          </a:r>
        </a:p>
        <a:p>
          <a:pPr marL="0" lvl="0" indent="0" algn="ctr" defTabSz="488950">
            <a:lnSpc>
              <a:spcPct val="100000"/>
            </a:lnSpc>
            <a:spcBef>
              <a:spcPct val="0"/>
            </a:spcBef>
            <a:spcAft>
              <a:spcPts val="0"/>
            </a:spcAft>
            <a:buNone/>
          </a:pPr>
          <a:r>
            <a:rPr lang="en-US" sz="1100" b="0" kern="1200" dirty="0"/>
            <a:t>HHS/USDA/DOC/HUD/DOL</a:t>
          </a:r>
        </a:p>
        <a:p>
          <a:pPr marL="0" lvl="0" indent="0" algn="ctr" defTabSz="488950">
            <a:lnSpc>
              <a:spcPct val="100000"/>
            </a:lnSpc>
            <a:spcBef>
              <a:spcPct val="0"/>
            </a:spcBef>
            <a:spcAft>
              <a:spcPts val="0"/>
            </a:spcAft>
            <a:buNone/>
          </a:pPr>
          <a:r>
            <a:rPr lang="en-US" sz="1100" b="0" kern="1200" dirty="0"/>
            <a:t>703-928-9980</a:t>
          </a:r>
        </a:p>
        <a:p>
          <a:pPr marL="0" lvl="0" indent="0" algn="ctr" defTabSz="488950">
            <a:lnSpc>
              <a:spcPct val="90000"/>
            </a:lnSpc>
            <a:spcBef>
              <a:spcPct val="0"/>
            </a:spcBef>
            <a:spcAft>
              <a:spcPct val="35000"/>
            </a:spcAft>
            <a:buNone/>
          </a:pPr>
          <a:r>
            <a:rPr lang="en-US" sz="1000" kern="1200" dirty="0">
              <a:hlinkClick xmlns:r="http://schemas.openxmlformats.org/officeDocument/2006/relationships" r:id="rId11"/>
            </a:rPr>
            <a:t>Matt.Michels@avepoint.com</a:t>
          </a:r>
          <a:endParaRPr lang="en-US" sz="900" kern="1200" dirty="0"/>
        </a:p>
      </dsp:txBody>
      <dsp:txXfrm>
        <a:off x="1743377" y="4650719"/>
        <a:ext cx="3245460" cy="934013"/>
      </dsp:txXfrm>
    </dsp:sp>
    <dsp:sp modelId="{2DDE4FDD-469A-48EE-BC3A-583AD4A8B88C}">
      <dsp:nvSpPr>
        <dsp:cNvPr id="0" name=""/>
        <dsp:cNvSpPr/>
      </dsp:nvSpPr>
      <dsp:spPr>
        <a:xfrm>
          <a:off x="1819126" y="4705893"/>
          <a:ext cx="565184" cy="789754"/>
        </a:xfrm>
        <a:prstGeom prst="rect">
          <a:avLst/>
        </a:prstGeom>
        <a:blipFill>
          <a:blip xmlns:r="http://schemas.openxmlformats.org/officeDocument/2006/relationships" r:embed="rId12">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EBCAE58-3ABD-47AF-B91A-539E44FD9DD3}">
      <dsp:nvSpPr>
        <dsp:cNvPr id="0" name=""/>
        <dsp:cNvSpPr/>
      </dsp:nvSpPr>
      <dsp:spPr>
        <a:xfrm>
          <a:off x="1770664" y="5796985"/>
          <a:ext cx="3245460" cy="934013"/>
        </a:xfrm>
        <a:prstGeom prst="rect">
          <a:avLst/>
        </a:prstGeom>
        <a:solidFill>
          <a:srgbClr val="2E75B6"/>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98237" tIns="6985" rIns="6985" bIns="6985" numCol="1" spcCol="1270" anchor="ctr" anchorCtr="0">
          <a:noAutofit/>
        </a:bodyPr>
        <a:lstStyle/>
        <a:p>
          <a:pPr marL="0" lvl="0" indent="0" algn="ctr" defTabSz="488950">
            <a:lnSpc>
              <a:spcPct val="100000"/>
            </a:lnSpc>
            <a:spcBef>
              <a:spcPct val="0"/>
            </a:spcBef>
            <a:spcAft>
              <a:spcPts val="0"/>
            </a:spcAft>
            <a:buNone/>
          </a:pPr>
          <a:r>
            <a:rPr lang="en-US" sz="1100" b="1" kern="1200" dirty="0"/>
            <a:t>Dave Warner</a:t>
          </a:r>
        </a:p>
        <a:p>
          <a:pPr marL="0" lvl="0" indent="0" algn="ctr" defTabSz="488950">
            <a:lnSpc>
              <a:spcPct val="100000"/>
            </a:lnSpc>
            <a:spcBef>
              <a:spcPct val="0"/>
            </a:spcBef>
            <a:spcAft>
              <a:spcPts val="0"/>
            </a:spcAft>
            <a:buNone/>
          </a:pPr>
          <a:r>
            <a:rPr lang="en-US" sz="1100" b="0" kern="1200" dirty="0"/>
            <a:t>Major Account Executive</a:t>
          </a:r>
        </a:p>
        <a:p>
          <a:pPr marL="0" lvl="0" indent="0" algn="ctr" defTabSz="488950">
            <a:lnSpc>
              <a:spcPct val="100000"/>
            </a:lnSpc>
            <a:spcBef>
              <a:spcPct val="0"/>
            </a:spcBef>
            <a:spcAft>
              <a:spcPts val="0"/>
            </a:spcAft>
            <a:buNone/>
          </a:pPr>
          <a:r>
            <a:rPr lang="en-US" sz="1100" b="0" kern="1200" dirty="0"/>
            <a:t>DHS/DOE/</a:t>
          </a:r>
          <a:r>
            <a:rPr lang="en-US" sz="1100" b="0" kern="1200" dirty="0" err="1"/>
            <a:t>DoEd</a:t>
          </a:r>
          <a:r>
            <a:rPr lang="en-US" sz="1100" b="0" kern="1200" dirty="0"/>
            <a:t>/WB/UN/IMF/NARA </a:t>
          </a:r>
        </a:p>
        <a:p>
          <a:pPr marL="0" lvl="0" indent="0" algn="ctr" defTabSz="488950">
            <a:lnSpc>
              <a:spcPct val="100000"/>
            </a:lnSpc>
            <a:spcBef>
              <a:spcPct val="0"/>
            </a:spcBef>
            <a:spcAft>
              <a:spcPts val="0"/>
            </a:spcAft>
            <a:buNone/>
          </a:pPr>
          <a:r>
            <a:rPr lang="en-US" sz="1100" b="0" kern="1200" dirty="0"/>
            <a:t>301-412-5356</a:t>
          </a:r>
        </a:p>
        <a:p>
          <a:pPr marL="0" lvl="0" indent="0" algn="ctr" defTabSz="488950">
            <a:lnSpc>
              <a:spcPct val="90000"/>
            </a:lnSpc>
            <a:spcBef>
              <a:spcPct val="0"/>
            </a:spcBef>
            <a:spcAft>
              <a:spcPct val="35000"/>
            </a:spcAft>
            <a:buNone/>
          </a:pPr>
          <a:r>
            <a:rPr lang="en-US" sz="1000" kern="1200" dirty="0">
              <a:hlinkClick xmlns:r="http://schemas.openxmlformats.org/officeDocument/2006/relationships" r:id="rId13"/>
            </a:rPr>
            <a:t>Dave.Warner@avepoint.com</a:t>
          </a:r>
          <a:endParaRPr lang="en-US" sz="900" kern="1200" dirty="0"/>
        </a:p>
      </dsp:txBody>
      <dsp:txXfrm>
        <a:off x="1770664" y="5796985"/>
        <a:ext cx="3245460" cy="934013"/>
      </dsp:txXfrm>
    </dsp:sp>
    <dsp:sp modelId="{1459B711-DE50-4856-B84A-63CD9A2E9283}">
      <dsp:nvSpPr>
        <dsp:cNvPr id="0" name=""/>
        <dsp:cNvSpPr/>
      </dsp:nvSpPr>
      <dsp:spPr>
        <a:xfrm>
          <a:off x="1858565" y="5862107"/>
          <a:ext cx="464909" cy="701307"/>
        </a:xfrm>
        <a:prstGeom prst="rect">
          <a:avLst/>
        </a:prstGeom>
        <a:blipFill>
          <a:blip xmlns:r="http://schemas.openxmlformats.org/officeDocument/2006/relationships" r:embed="rId14"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0994932-9A62-4460-8DFD-6D383EF720A2}">
      <dsp:nvSpPr>
        <dsp:cNvPr id="0" name=""/>
        <dsp:cNvSpPr/>
      </dsp:nvSpPr>
      <dsp:spPr>
        <a:xfrm>
          <a:off x="6210130" y="2314657"/>
          <a:ext cx="2769791" cy="934013"/>
        </a:xfrm>
        <a:prstGeom prst="rect">
          <a:avLst/>
        </a:prstGeom>
        <a:solidFill>
          <a:srgbClr val="2E75B6"/>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98237" tIns="6985" rIns="6985" bIns="6985" numCol="1" spcCol="1270" anchor="ctr" anchorCtr="0">
          <a:noAutofit/>
        </a:bodyPr>
        <a:lstStyle/>
        <a:p>
          <a:pPr marL="0" lvl="0" indent="0" algn="ctr" defTabSz="488950">
            <a:lnSpc>
              <a:spcPct val="100000"/>
            </a:lnSpc>
            <a:spcBef>
              <a:spcPct val="0"/>
            </a:spcBef>
            <a:spcAft>
              <a:spcPts val="0"/>
            </a:spcAft>
            <a:buNone/>
          </a:pPr>
          <a:r>
            <a:rPr lang="en-US" sz="1100" b="1" kern="1200" dirty="0"/>
            <a:t>Paul Giles </a:t>
          </a:r>
        </a:p>
        <a:p>
          <a:pPr marL="0" lvl="0" indent="0" algn="ctr" defTabSz="488950">
            <a:lnSpc>
              <a:spcPct val="100000"/>
            </a:lnSpc>
            <a:spcBef>
              <a:spcPct val="0"/>
            </a:spcBef>
            <a:spcAft>
              <a:spcPts val="0"/>
            </a:spcAft>
            <a:buNone/>
          </a:pPr>
          <a:r>
            <a:rPr lang="en-US" sz="1100" b="0" kern="1200" dirty="0"/>
            <a:t>Sr. Bus. Dev. Manager</a:t>
          </a:r>
        </a:p>
        <a:p>
          <a:pPr marL="0" lvl="0" indent="0" algn="ctr" defTabSz="488950">
            <a:lnSpc>
              <a:spcPct val="100000"/>
            </a:lnSpc>
            <a:spcBef>
              <a:spcPct val="0"/>
            </a:spcBef>
            <a:spcAft>
              <a:spcPts val="0"/>
            </a:spcAft>
            <a:buNone/>
          </a:pPr>
          <a:r>
            <a:rPr lang="en-US" sz="1100" b="0" kern="1200" dirty="0"/>
            <a:t>Intel/Air Force</a:t>
          </a:r>
        </a:p>
        <a:p>
          <a:pPr marL="0" lvl="0" indent="0" algn="ctr" defTabSz="488950">
            <a:lnSpc>
              <a:spcPct val="100000"/>
            </a:lnSpc>
            <a:spcBef>
              <a:spcPct val="0"/>
            </a:spcBef>
            <a:spcAft>
              <a:spcPts val="0"/>
            </a:spcAft>
            <a:buNone/>
          </a:pPr>
          <a:r>
            <a:rPr lang="en-US" sz="1100" b="0" kern="1200" dirty="0"/>
            <a:t>703-851-7395</a:t>
          </a:r>
        </a:p>
        <a:p>
          <a:pPr marL="0" lvl="0" indent="0" algn="ctr" defTabSz="488950">
            <a:lnSpc>
              <a:spcPct val="100000"/>
            </a:lnSpc>
            <a:spcBef>
              <a:spcPct val="0"/>
            </a:spcBef>
            <a:spcAft>
              <a:spcPct val="35000"/>
            </a:spcAft>
            <a:buNone/>
          </a:pPr>
          <a:r>
            <a:rPr lang="en-US" sz="1000" kern="1200" dirty="0">
              <a:hlinkClick xmlns:r="http://schemas.openxmlformats.org/officeDocument/2006/relationships" r:id="rId15"/>
            </a:rPr>
            <a:t>Paul.Giles@avepoint.com</a:t>
          </a:r>
          <a:endParaRPr lang="en-US" sz="900" kern="1200" dirty="0"/>
        </a:p>
      </dsp:txBody>
      <dsp:txXfrm>
        <a:off x="6210130" y="2314657"/>
        <a:ext cx="2769791" cy="934013"/>
      </dsp:txXfrm>
    </dsp:sp>
    <dsp:sp modelId="{DA54E92E-55E5-4366-B277-BEA4E10BF398}">
      <dsp:nvSpPr>
        <dsp:cNvPr id="0" name=""/>
        <dsp:cNvSpPr/>
      </dsp:nvSpPr>
      <dsp:spPr>
        <a:xfrm>
          <a:off x="6303113" y="2411417"/>
          <a:ext cx="670861" cy="681758"/>
        </a:xfrm>
        <a:prstGeom prst="rect">
          <a:avLst/>
        </a:prstGeom>
        <a:blipFill>
          <a:blip xmlns:r="http://schemas.openxmlformats.org/officeDocument/2006/relationships" r:embed="rId16"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3C5AA5B-E322-4ABE-8852-395262EC1F51}">
      <dsp:nvSpPr>
        <dsp:cNvPr id="0" name=""/>
        <dsp:cNvSpPr/>
      </dsp:nvSpPr>
      <dsp:spPr>
        <a:xfrm>
          <a:off x="6930681" y="3474442"/>
          <a:ext cx="3245460" cy="932604"/>
        </a:xfrm>
        <a:prstGeom prst="rect">
          <a:avLst/>
        </a:prstGeom>
        <a:solidFill>
          <a:srgbClr val="2E75B6"/>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98237" tIns="6985" rIns="6985" bIns="6985" numCol="1" spcCol="1270" anchor="ctr" anchorCtr="0">
          <a:noAutofit/>
        </a:bodyPr>
        <a:lstStyle/>
        <a:p>
          <a:pPr marL="0" lvl="0" indent="0" algn="ctr" defTabSz="488950">
            <a:lnSpc>
              <a:spcPct val="100000"/>
            </a:lnSpc>
            <a:spcBef>
              <a:spcPct val="0"/>
            </a:spcBef>
            <a:spcAft>
              <a:spcPts val="0"/>
            </a:spcAft>
            <a:buNone/>
          </a:pPr>
          <a:r>
            <a:rPr lang="en-US" sz="1100" b="1" kern="1200" dirty="0"/>
            <a:t>Lucy Wolcott</a:t>
          </a:r>
        </a:p>
        <a:p>
          <a:pPr marL="0" lvl="0" indent="0" algn="ctr" defTabSz="488950">
            <a:lnSpc>
              <a:spcPct val="100000"/>
            </a:lnSpc>
            <a:spcBef>
              <a:spcPct val="0"/>
            </a:spcBef>
            <a:spcAft>
              <a:spcPts val="0"/>
            </a:spcAft>
            <a:buNone/>
          </a:pPr>
          <a:r>
            <a:rPr lang="en-US" sz="1100" b="0" kern="1200" dirty="0"/>
            <a:t>Major Account Executive</a:t>
          </a:r>
        </a:p>
        <a:p>
          <a:pPr marL="0" lvl="0" indent="0" algn="ctr" defTabSz="488950">
            <a:lnSpc>
              <a:spcPct val="100000"/>
            </a:lnSpc>
            <a:spcBef>
              <a:spcPct val="0"/>
            </a:spcBef>
            <a:spcAft>
              <a:spcPts val="0"/>
            </a:spcAft>
            <a:buNone/>
          </a:pPr>
          <a:r>
            <a:rPr lang="en-US" sz="1100" b="0" kern="1200" dirty="0"/>
            <a:t>DoD Joint/Navy</a:t>
          </a:r>
        </a:p>
        <a:p>
          <a:pPr marL="0" lvl="0" indent="0" algn="ctr" defTabSz="488950">
            <a:lnSpc>
              <a:spcPct val="100000"/>
            </a:lnSpc>
            <a:spcBef>
              <a:spcPct val="0"/>
            </a:spcBef>
            <a:spcAft>
              <a:spcPts val="0"/>
            </a:spcAft>
            <a:buNone/>
          </a:pPr>
          <a:r>
            <a:rPr lang="en-US" sz="1100" b="0" kern="1200" dirty="0"/>
            <a:t>703-628-8057 </a:t>
          </a:r>
        </a:p>
        <a:p>
          <a:pPr marL="0" lvl="0" indent="0" algn="ctr" defTabSz="488950">
            <a:lnSpc>
              <a:spcPct val="90000"/>
            </a:lnSpc>
            <a:spcBef>
              <a:spcPct val="0"/>
            </a:spcBef>
            <a:spcAft>
              <a:spcPct val="35000"/>
            </a:spcAft>
            <a:buNone/>
          </a:pPr>
          <a:r>
            <a:rPr lang="en-US" sz="1050" kern="1200" dirty="0">
              <a:hlinkClick xmlns:r="http://schemas.openxmlformats.org/officeDocument/2006/relationships" r:id="rId17"/>
            </a:rPr>
            <a:t>Lucy.Wolcott@avepoint.com</a:t>
          </a:r>
          <a:endParaRPr lang="en-US" sz="900" kern="1200" dirty="0"/>
        </a:p>
      </dsp:txBody>
      <dsp:txXfrm>
        <a:off x="6930681" y="3474442"/>
        <a:ext cx="3245460" cy="932604"/>
      </dsp:txXfrm>
    </dsp:sp>
    <dsp:sp modelId="{1C0670D9-BF47-44A1-BC89-3FF21D36D650}">
      <dsp:nvSpPr>
        <dsp:cNvPr id="0" name=""/>
        <dsp:cNvSpPr/>
      </dsp:nvSpPr>
      <dsp:spPr>
        <a:xfrm>
          <a:off x="7008475" y="3538587"/>
          <a:ext cx="618792" cy="745296"/>
        </a:xfrm>
        <a:prstGeom prst="rect">
          <a:avLst/>
        </a:prstGeom>
        <a:blipFill>
          <a:blip xmlns:r="http://schemas.openxmlformats.org/officeDocument/2006/relationships" r:embed="rId18"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22B96C1-D880-4C0F-9172-A22C54BFE8B4}">
      <dsp:nvSpPr>
        <dsp:cNvPr id="0" name=""/>
        <dsp:cNvSpPr/>
      </dsp:nvSpPr>
      <dsp:spPr>
        <a:xfrm>
          <a:off x="6930681" y="4577666"/>
          <a:ext cx="3245460" cy="928610"/>
        </a:xfrm>
        <a:prstGeom prst="rect">
          <a:avLst/>
        </a:prstGeom>
        <a:solidFill>
          <a:srgbClr val="2E75B6"/>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98237" tIns="6985" rIns="6985" bIns="6985" numCol="1" spcCol="1270" anchor="ctr" anchorCtr="0">
          <a:noAutofit/>
        </a:bodyPr>
        <a:lstStyle/>
        <a:p>
          <a:pPr marL="0" lvl="0" indent="0" algn="ctr" defTabSz="488950">
            <a:lnSpc>
              <a:spcPct val="100000"/>
            </a:lnSpc>
            <a:spcBef>
              <a:spcPct val="0"/>
            </a:spcBef>
            <a:spcAft>
              <a:spcPts val="0"/>
            </a:spcAft>
            <a:buNone/>
          </a:pPr>
          <a:r>
            <a:rPr lang="en-US" sz="1100" b="1" kern="1200" dirty="0"/>
            <a:t>Chris Goings</a:t>
          </a:r>
        </a:p>
        <a:p>
          <a:pPr marL="0" lvl="0" indent="0" algn="ctr" defTabSz="488950">
            <a:lnSpc>
              <a:spcPct val="100000"/>
            </a:lnSpc>
            <a:spcBef>
              <a:spcPct val="0"/>
            </a:spcBef>
            <a:spcAft>
              <a:spcPts val="0"/>
            </a:spcAft>
            <a:buNone/>
          </a:pPr>
          <a:r>
            <a:rPr lang="en-US" sz="1100" b="0" kern="1200" dirty="0"/>
            <a:t>   Sr. Major Account Executive</a:t>
          </a:r>
        </a:p>
        <a:p>
          <a:pPr marL="0" lvl="0" indent="0" algn="ctr" defTabSz="488950">
            <a:lnSpc>
              <a:spcPct val="100000"/>
            </a:lnSpc>
            <a:spcBef>
              <a:spcPct val="0"/>
            </a:spcBef>
            <a:spcAft>
              <a:spcPts val="0"/>
            </a:spcAft>
            <a:buNone/>
          </a:pPr>
          <a:r>
            <a:rPr lang="en-US" sz="1100" b="0" kern="1200" dirty="0"/>
            <a:t>Army /COCOM/LMCO</a:t>
          </a:r>
        </a:p>
        <a:p>
          <a:pPr marL="0" lvl="0" indent="0" algn="ctr" defTabSz="488950">
            <a:lnSpc>
              <a:spcPct val="100000"/>
            </a:lnSpc>
            <a:spcBef>
              <a:spcPct val="0"/>
            </a:spcBef>
            <a:spcAft>
              <a:spcPts val="0"/>
            </a:spcAft>
            <a:buNone/>
          </a:pPr>
          <a:r>
            <a:rPr lang="en-US" sz="1100" b="0" kern="1200" dirty="0"/>
            <a:t>703-727-4377</a:t>
          </a:r>
        </a:p>
        <a:p>
          <a:pPr marL="0" lvl="0" indent="0" algn="ctr" defTabSz="488950">
            <a:lnSpc>
              <a:spcPct val="90000"/>
            </a:lnSpc>
            <a:spcBef>
              <a:spcPct val="0"/>
            </a:spcBef>
            <a:spcAft>
              <a:spcPct val="35000"/>
            </a:spcAft>
            <a:buNone/>
          </a:pPr>
          <a:r>
            <a:rPr lang="en-US" sz="1000" kern="1200" dirty="0">
              <a:hlinkClick xmlns:r="http://schemas.openxmlformats.org/officeDocument/2006/relationships" r:id="rId19"/>
            </a:rPr>
            <a:t>Chris.Goings@avepoint.com</a:t>
          </a:r>
          <a:endParaRPr lang="en-US" sz="900" kern="1200" dirty="0"/>
        </a:p>
      </dsp:txBody>
      <dsp:txXfrm>
        <a:off x="6930681" y="4577666"/>
        <a:ext cx="3245460" cy="928610"/>
      </dsp:txXfrm>
    </dsp:sp>
    <dsp:sp modelId="{391B11D8-986D-49C9-857F-B8D60CF17329}">
      <dsp:nvSpPr>
        <dsp:cNvPr id="0" name=""/>
        <dsp:cNvSpPr/>
      </dsp:nvSpPr>
      <dsp:spPr>
        <a:xfrm>
          <a:off x="7013550" y="4647862"/>
          <a:ext cx="512231" cy="789552"/>
        </a:xfrm>
        <a:prstGeom prst="rect">
          <a:avLst/>
        </a:prstGeom>
        <a:blipFill>
          <a:blip xmlns:r="http://schemas.openxmlformats.org/officeDocument/2006/relationships" r:embed="rId20"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5F8C5A3-2C80-4D67-AA3E-DE6DC570675A}">
      <dsp:nvSpPr>
        <dsp:cNvPr id="0" name=""/>
        <dsp:cNvSpPr/>
      </dsp:nvSpPr>
      <dsp:spPr>
        <a:xfrm>
          <a:off x="6909115" y="5674794"/>
          <a:ext cx="3245460" cy="925928"/>
        </a:xfrm>
        <a:prstGeom prst="rect">
          <a:avLst/>
        </a:prstGeom>
        <a:solidFill>
          <a:srgbClr val="2E75B6"/>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98237" tIns="6985" rIns="6985" bIns="6985" numCol="1" spcCol="1270" anchor="ctr" anchorCtr="0">
          <a:noAutofit/>
        </a:bodyPr>
        <a:lstStyle/>
        <a:p>
          <a:pPr lvl="0" indent="0" algn="ctr" defTabSz="488950">
            <a:lnSpc>
              <a:spcPct val="100000"/>
            </a:lnSpc>
            <a:spcBef>
              <a:spcPct val="0"/>
            </a:spcBef>
            <a:spcAft>
              <a:spcPts val="0"/>
            </a:spcAft>
            <a:buNone/>
          </a:pPr>
          <a:r>
            <a:rPr lang="en-US" sz="1100" b="1" kern="1200" dirty="0"/>
            <a:t>Shawn Auble </a:t>
          </a:r>
        </a:p>
        <a:p>
          <a:pPr lvl="0" indent="0" algn="ctr" defTabSz="488950">
            <a:lnSpc>
              <a:spcPct val="100000"/>
            </a:lnSpc>
            <a:spcBef>
              <a:spcPct val="0"/>
            </a:spcBef>
            <a:spcAft>
              <a:spcPts val="0"/>
            </a:spcAft>
            <a:buNone/>
          </a:pPr>
          <a:r>
            <a:rPr lang="en-US" sz="1100" b="0" kern="1200" dirty="0"/>
            <a:t>Major Account Executive</a:t>
          </a:r>
        </a:p>
        <a:p>
          <a:pPr lvl="0" indent="0" algn="ctr" defTabSz="488950">
            <a:lnSpc>
              <a:spcPct val="100000"/>
            </a:lnSpc>
            <a:spcBef>
              <a:spcPct val="0"/>
            </a:spcBef>
            <a:spcAft>
              <a:spcPts val="0"/>
            </a:spcAft>
            <a:buNone/>
          </a:pPr>
          <a:r>
            <a:rPr lang="en-US" sz="1100" b="0" kern="1200" dirty="0"/>
            <a:t>DOD/NATO/UN (EMEA/APAC)</a:t>
          </a:r>
        </a:p>
        <a:p>
          <a:pPr lvl="0" indent="0" algn="ctr" defTabSz="488950">
            <a:lnSpc>
              <a:spcPct val="100000"/>
            </a:lnSpc>
            <a:spcBef>
              <a:spcPct val="0"/>
            </a:spcBef>
            <a:spcAft>
              <a:spcPts val="0"/>
            </a:spcAft>
            <a:buNone/>
          </a:pPr>
          <a:r>
            <a:rPr lang="en-US" sz="1100" b="0" kern="1200" dirty="0"/>
            <a:t>+49 (172) 577-8990</a:t>
          </a:r>
          <a:endParaRPr lang="en-US" sz="1100" b="0" kern="1200" dirty="0">
            <a:solidFill>
              <a:schemeClr val="bg1"/>
            </a:solidFill>
          </a:endParaRPr>
        </a:p>
        <a:p>
          <a:pPr marL="228600" marR="0" lvl="0" indent="0" algn="ctr" defTabSz="488950">
            <a:spcBef>
              <a:spcPct val="0"/>
            </a:spcBef>
            <a:spcAft>
              <a:spcPts val="0"/>
            </a:spcAft>
            <a:buNone/>
          </a:pPr>
          <a:r>
            <a:rPr lang="en-US" sz="1100" b="0" kern="1200" dirty="0">
              <a:solidFill>
                <a:schemeClr val="bg1"/>
              </a:solidFill>
              <a:hlinkClick xmlns:r="http://schemas.openxmlformats.org/officeDocument/2006/relationships" r:id="rId21"/>
            </a:rPr>
            <a:t>Shawn.Auble@avepoint.com</a:t>
          </a:r>
          <a:endParaRPr lang="en-US" sz="900" kern="1200" dirty="0">
            <a:solidFill>
              <a:schemeClr val="bg1"/>
            </a:solidFill>
          </a:endParaRPr>
        </a:p>
      </dsp:txBody>
      <dsp:txXfrm>
        <a:off x="6909115" y="5674794"/>
        <a:ext cx="3245460" cy="925928"/>
      </dsp:txXfrm>
    </dsp:sp>
    <dsp:sp modelId="{24E8146A-1445-4710-A660-3B764DBE2196}">
      <dsp:nvSpPr>
        <dsp:cNvPr id="0" name=""/>
        <dsp:cNvSpPr/>
      </dsp:nvSpPr>
      <dsp:spPr>
        <a:xfrm>
          <a:off x="6960666" y="5751223"/>
          <a:ext cx="522794" cy="713404"/>
        </a:xfrm>
        <a:prstGeom prst="rect">
          <a:avLst/>
        </a:prstGeom>
        <a:blipFill>
          <a:blip xmlns:r="http://schemas.openxmlformats.org/officeDocument/2006/relationships" r:embed="rId22"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pictureOrgChart+Icon">
  <dgm:title val="Picture Organization Chart"/>
  <dgm:desc val="Use to show hierarchical information or reporting relationships in an organization, with corresponding pictures. The assistant shape and the Org Chart hanging layouts are available with this layout."/>
  <dgm:catLst>
    <dgm:cat type="hierarchy" pri="1050"/>
    <dgm:cat type="officeonline" pri="1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Marg" for="ch" forName="rootText1" refType="w" fact="1.05"/>
                  <dgm:constr type="l" for="ch" forName="rootPict1" refType="w" refFor="ch" refForName="rootText1" op="equ" fact="0.05"/>
                  <dgm:constr type="t" for="ch" forName="rootPict1" refType="h" refFor="ch" refForName="rootText1" op="equ" fact="0.1"/>
                  <dgm:constr type="w" for="ch" forName="rootPict1" refType="w" refFor="ch" refForName="rootText1" op="equ" fact="0.3"/>
                  <dgm:constr type="h" for="ch" forName="rootPict1" refType="h" refFor="ch" refForName="rootText1" op="equ" fact="0.8"/>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lMarg" for="ch" forName="rootText1" refType="w" fact="1.05"/>
                  <dgm:constr type="l" for="ch" forName="rootPict1" refType="w" refFor="ch" refForName="rootText1" op="equ" fact="0.05"/>
                  <dgm:constr type="t" for="ch" forName="rootPict1" refType="h" refFor="ch" refForName="rootText1" op="equ" fact="0.1"/>
                  <dgm:constr type="w" for="ch" forName="rootPict1" refType="w" refFor="ch" refForName="rootText1" op="equ" fact="0.3"/>
                  <dgm:constr type="h" for="ch" forName="rootPict1" refType="h" refFor="ch" refForName="rootText1" op="equ" fact="0.8"/>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Marg" for="ch" forName="rootText1" refType="w" fact="1.05"/>
                  <dgm:constr type="l" for="ch" forName="rootPict1" refType="w" refFor="ch" refForName="rootText1" op="equ" fact="0.05"/>
                  <dgm:constr type="t" for="ch" forName="rootPict1" refType="h" refFor="ch" refForName="rootText1" op="equ" fact="0.1"/>
                  <dgm:constr type="w" for="ch" forName="rootPict1" refType="w" refFor="ch" refForName="rootText1" op="equ" fact="0.3"/>
                  <dgm:constr type="h" for="ch" forName="rootPict1" refType="h" refFor="ch" refForName="rootText1" op="equ" fact="0.8"/>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lMarg" for="ch" forName="rootText1" refType="w" fact="1.05"/>
                  <dgm:constr type="l" for="ch" forName="rootPict1" refType="w" refFor="ch" refForName="rootText1" op="equ" fact="0.05"/>
                  <dgm:constr type="t" for="ch" forName="rootPict1" refType="h" refFor="ch" refForName="rootText1" op="equ" fact="0.1"/>
                  <dgm:constr type="w" for="ch" forName="rootPict1" refType="w" refFor="ch" refForName="rootText1" op="equ" fact="0.3"/>
                  <dgm:constr type="h" for="ch" forName="rootPict1" refType="h" refFor="ch" refForName="rootText1" op="equ" fact="0.8"/>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Pict1" styleLbl="alignImgPlace1">
              <dgm:alg type="sp"/>
              <dgm:shape xmlns:r="http://schemas.openxmlformats.org/officeDocument/2006/relationships" type="rect" r:blip="" blipPhldr="1">
                <dgm:adjLst/>
              </dgm:shape>
              <dgm:presOf/>
              <dgm:constrLst/>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Marg" for="ch" forName="rootText" refType="w" fact="1.05"/>
                        <dgm:constr type="l" for="ch" forName="rootPict" refType="w" fact="0.05"/>
                        <dgm:constr type="t" for="ch" forName="rootPict" refType="h" refFor="ch" refForName="rootText" fact="0.1"/>
                        <dgm:constr type="w" for="ch" forName="rootPict" refType="w" fact="0.3"/>
                        <dgm:constr type="h" for="ch" forName="rootPict" refType="h" refFor="ch" refForName="rootText" fact="0.8"/>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lMarg" for="ch" forName="rootText" refType="w" fact="1.05"/>
                        <dgm:constr type="l" for="ch" forName="rootPict" refType="w" fact="0.05"/>
                        <dgm:constr type="t" for="ch" forName="rootPict" refType="h" refFor="ch" refForName="rootText" fact="0.1"/>
                        <dgm:constr type="w" for="ch" forName="rootPict" refType="w" fact="0.3"/>
                        <dgm:constr type="h" for="ch" forName="rootPict" refType="h" refFor="ch" refForName="rootText" fact="0.8"/>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Marg" for="ch" forName="rootText" refType="w" fact="1.05"/>
                        <dgm:constr type="l" for="ch" forName="rootPict" refType="w" fact="0.05"/>
                        <dgm:constr type="t" for="ch" forName="rootPict" refType="h" refFor="ch" refForName="rootText" fact="0.1"/>
                        <dgm:constr type="w" for="ch" forName="rootPict" refType="w" fact="0.3"/>
                        <dgm:constr type="h" for="ch" forName="rootPict" refType="h" refFor="ch" refForName="rootText" fact="0.8"/>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lMarg" for="ch" forName="rootText" refType="w" fact="1.05"/>
                        <dgm:constr type="l" for="ch" forName="rootPict" refType="w" fact="0.05"/>
                        <dgm:constr type="t" for="ch" forName="rootPict" refType="h" refFor="ch" refForName="rootText" fact="0.1"/>
                        <dgm:constr type="w" for="ch" forName="rootPict" refType="w" fact="0.3"/>
                        <dgm:constr type="h" for="ch" forName="rootPict" refType="h" refFor="ch" refForName="rootText" fact="0.8"/>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Pict" styleLbl="alignImgPlace1">
                    <dgm:alg type="sp"/>
                    <dgm:shape xmlns:r="http://schemas.openxmlformats.org/officeDocument/2006/relationships" type="rect" r:blip="" blipPhldr="1">
                      <dgm:adjLst/>
                    </dgm:shape>
                    <dgm:presOf/>
                    <dgm:constrLst/>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Marg" for="ch" forName="rootText3" refType="w" fact="1.05"/>
                        <dgm:constr type="l" for="ch" forName="rootPict3" refType="w" fact="0.05"/>
                        <dgm:constr type="t" for="ch" forName="rootPict3" refType="h" refFor="ch" refForName="rootText3" fact="0.1"/>
                        <dgm:constr type="w" for="ch" forName="rootPict3" refType="w" fact="0.3"/>
                        <dgm:constr type="h" for="ch" forName="rootPict3" refType="h" refFor="ch" refForName="rootText3" fact="0.8"/>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lMarg" for="ch" forName="rootText3" refType="w" fact="1.05"/>
                        <dgm:constr type="l" for="ch" forName="rootPict3" refType="w" fact="0.05"/>
                        <dgm:constr type="t" for="ch" forName="rootPict3" refType="h" refFor="ch" refForName="rootText3" fact="0.1"/>
                        <dgm:constr type="w" for="ch" forName="rootPict3" refType="w" fact="0.3"/>
                        <dgm:constr type="h" for="ch" forName="rootPict3" refType="h" refFor="ch" refForName="rootText3" fact="0.8"/>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Marg" for="ch" forName="rootText3" refType="w" fact="1.05"/>
                        <dgm:constr type="l" for="ch" forName="rootPict3" refType="w" fact="0.05"/>
                        <dgm:constr type="t" for="ch" forName="rootPict3" refType="h" refFor="ch" refForName="rootText3" fact="0.1"/>
                        <dgm:constr type="w" for="ch" forName="rootPict3" refType="w" fact="0.3"/>
                        <dgm:constr type="h" for="ch" forName="rootPict3" refType="h" refFor="ch" refForName="rootText3" fact="0.8"/>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lMarg" for="ch" forName="rootText3" refType="w" fact="1.05"/>
                        <dgm:constr type="l" for="ch" forName="rootPict3" refType="w" fact="0.05"/>
                        <dgm:constr type="t" for="ch" forName="rootPict3" refType="h" refFor="ch" refForName="rootText3" fact="0.1"/>
                        <dgm:constr type="w" for="ch" forName="rootPict3" refType="w" fact="0.3"/>
                        <dgm:constr type="h" for="ch" forName="rootPict3" refType="h" refFor="ch" refForName="rootText3" fact="0.8"/>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Pict3" styleLbl="alignImgPlace1">
                    <dgm:alg type="sp"/>
                    <dgm:shape xmlns:r="http://schemas.openxmlformats.org/officeDocument/2006/relationships" type="rect" r:blip="" blipPhldr="1">
                      <dgm:adjLst/>
                    </dgm:shape>
                    <dgm:presOf/>
                    <dgm:constrLst/>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08.png"/></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USPS FY17 Kickoff and ISU</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19/2017 5:28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USPS FY17 Kickoff and ISU</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19/2017 5:26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B5F18F-5D88-4E17-BC1B-DA11409C0F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11425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2017 5:2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2807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ustomer must have network connectivity between the </a:t>
            </a:r>
            <a:r>
              <a:rPr lang="en-US" dirty="0" err="1"/>
              <a:t>on-premise</a:t>
            </a:r>
            <a:r>
              <a:rPr lang="en-US" dirty="0"/>
              <a:t> AD and the IaaS </a:t>
            </a:r>
            <a:r>
              <a:rPr lang="en-US" dirty="0" err="1"/>
              <a:t>vNet</a:t>
            </a:r>
            <a:r>
              <a:rPr lang="en-US" dirty="0"/>
              <a:t> (virtual network)</a:t>
            </a:r>
          </a:p>
          <a:p>
            <a:r>
              <a:rPr lang="en-US" dirty="0"/>
              <a:t>The following systems are the minimum required to be running in a customer Azure IaaS tenant:</a:t>
            </a:r>
          </a:p>
          <a:p>
            <a:pPr lvl="1"/>
            <a:r>
              <a:rPr lang="en-US" dirty="0"/>
              <a:t>2 Domain Controllers with the Global Catalog role (Server 2008+) </a:t>
            </a:r>
          </a:p>
          <a:p>
            <a:pPr lvl="1"/>
            <a:r>
              <a:rPr lang="en-US" dirty="0"/>
              <a:t>2 ADFS 3.0 (2012 R2) servers running WID (Windows Internal Database)</a:t>
            </a:r>
          </a:p>
          <a:p>
            <a:pPr lvl="1"/>
            <a:r>
              <a:rPr lang="en-US" dirty="0"/>
              <a:t>2 ADFS WAPs (Web Applications Proxies; also Server 2012 R2) </a:t>
            </a:r>
          </a:p>
          <a:p>
            <a:pPr lvl="1"/>
            <a:r>
              <a:rPr lang="en-US" dirty="0"/>
              <a:t>1 Azure AD Connect server (Server 2008+) </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2017 5:2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857845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ustomer must have network connectivity between the </a:t>
            </a:r>
            <a:r>
              <a:rPr lang="en-US" dirty="0" err="1"/>
              <a:t>on-premise</a:t>
            </a:r>
            <a:r>
              <a:rPr lang="en-US" dirty="0"/>
              <a:t> AD and the IaaS </a:t>
            </a:r>
            <a:r>
              <a:rPr lang="en-US" dirty="0" err="1"/>
              <a:t>vNet</a:t>
            </a:r>
            <a:r>
              <a:rPr lang="en-US" dirty="0"/>
              <a:t> (virtual network)</a:t>
            </a:r>
          </a:p>
          <a:p>
            <a:r>
              <a:rPr lang="en-US" dirty="0"/>
              <a:t>The customer must run ADFS on premise and in Azure</a:t>
            </a:r>
          </a:p>
          <a:p>
            <a:r>
              <a:rPr lang="en-US" dirty="0"/>
              <a:t>The following services are required to be running in Azure:</a:t>
            </a:r>
          </a:p>
          <a:p>
            <a:pPr lvl="1"/>
            <a:r>
              <a:rPr lang="en-US" dirty="0"/>
              <a:t>2 Domain Controllers with the Global Catalog role (Server 2008+) </a:t>
            </a:r>
          </a:p>
          <a:p>
            <a:pPr lvl="1"/>
            <a:r>
              <a:rPr lang="en-US" dirty="0"/>
              <a:t>2 ADFS 3.0 (2012 R2) servers running WID (Windows Internal Database)</a:t>
            </a:r>
          </a:p>
          <a:p>
            <a:pPr lvl="1"/>
            <a:r>
              <a:rPr lang="en-US" dirty="0"/>
              <a:t>2 ADFS WAPs (Web Applications Proxies; also Server 2012 R2) – Internet Load Balanced</a:t>
            </a:r>
          </a:p>
          <a:p>
            <a:pPr lvl="1"/>
            <a:r>
              <a:rPr lang="en-US" dirty="0"/>
              <a:t>1 Azure AD Connect server (Server 2008+) </a:t>
            </a:r>
          </a:p>
          <a:p>
            <a:pPr lvl="1"/>
            <a:r>
              <a:rPr lang="en-US" dirty="0"/>
              <a:t>Azure Traffic Manager for load-balancing/failover between </a:t>
            </a:r>
            <a:r>
              <a:rPr lang="en-US" dirty="0" err="1"/>
              <a:t>on-premise</a:t>
            </a:r>
            <a:r>
              <a:rPr lang="en-US" dirty="0"/>
              <a:t> and Azure</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USPS FY17 Kickoff and ISU</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2017 5:2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239929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calability</a:t>
            </a:r>
          </a:p>
          <a:p>
            <a:endParaRPr lang="en-US" dirty="0"/>
          </a:p>
          <a:p>
            <a:pPr marL="174708" marR="0" lvl="0" indent="-174708"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How do you deal</a:t>
            </a:r>
            <a:r>
              <a:rPr lang="en-US" baseline="0" dirty="0"/>
              <a:t> with uncertainty?  In the rate of growth of your business, and in what it will take to support that growth?</a:t>
            </a:r>
            <a:endParaRPr lang="en-US" dirty="0"/>
          </a:p>
          <a:p>
            <a:pPr marL="174708" indent="-174708">
              <a:buFont typeface="Arial" panose="020B0604020202020204" pitchFamily="34" charset="0"/>
              <a:buChar char="•"/>
            </a:pPr>
            <a:r>
              <a:rPr lang="en-US" dirty="0"/>
              <a:t>How elastic is your on-premises storage?</a:t>
            </a:r>
          </a:p>
          <a:p>
            <a:pPr marL="391970" lvl="1" indent="-174708">
              <a:buFont typeface="Arial" panose="020B0604020202020204" pitchFamily="34" charset="0"/>
              <a:buChar char="•"/>
            </a:pPr>
            <a:r>
              <a:rPr lang="en-US" dirty="0"/>
              <a:t>How long would it take you to deploy a PB of storage?  </a:t>
            </a:r>
          </a:p>
          <a:p>
            <a:pPr marL="391970" lvl="1" indent="-174708">
              <a:buFont typeface="Arial" panose="020B0604020202020204" pitchFamily="34" charset="0"/>
              <a:buChar char="•"/>
            </a:pPr>
            <a:r>
              <a:rPr lang="en-US" dirty="0"/>
              <a:t>What would be the costs of decommissioning a PB of storage</a:t>
            </a:r>
            <a:r>
              <a:rPr lang="en-US" baseline="0" dirty="0"/>
              <a:t> that is no longer required?</a:t>
            </a:r>
            <a:endParaRPr lang="en-US" dirty="0"/>
          </a:p>
          <a:p>
            <a:pPr marL="174708" indent="-174708">
              <a:buFont typeface="Arial" panose="020B0604020202020204" pitchFamily="34" charset="0"/>
              <a:buChar char="•"/>
            </a:pPr>
            <a:r>
              <a:rPr lang="en-US" dirty="0"/>
              <a:t>Can you place your data anywhere around the world?</a:t>
            </a:r>
          </a:p>
          <a:p>
            <a:endParaRPr lang="en-US" dirty="0"/>
          </a:p>
          <a:p>
            <a:r>
              <a:rPr lang="en-US" b="1" dirty="0"/>
              <a:t>Risk Management</a:t>
            </a:r>
          </a:p>
          <a:p>
            <a:endParaRPr lang="en-US" dirty="0"/>
          </a:p>
          <a:p>
            <a:pPr marL="174708" indent="-174708">
              <a:buFont typeface="Arial" panose="020B0604020202020204" pitchFamily="34" charset="0"/>
              <a:buChar char="•"/>
            </a:pPr>
            <a:r>
              <a:rPr lang="en-US" dirty="0"/>
              <a:t>The desire to adopt</a:t>
            </a:r>
            <a:r>
              <a:rPr lang="en-US" baseline="0" dirty="0"/>
              <a:t> new technologies</a:t>
            </a:r>
            <a:r>
              <a:rPr lang="en-US" dirty="0"/>
              <a:t> is always tempered by the golden</a:t>
            </a:r>
            <a:r>
              <a:rPr lang="en-US" baseline="0" dirty="0"/>
              <a:t> rule of storage</a:t>
            </a:r>
            <a:r>
              <a:rPr lang="en-US" dirty="0"/>
              <a:t>:  DON’T LOSE THE DATA</a:t>
            </a:r>
          </a:p>
          <a:p>
            <a:pPr marL="174708" indent="-174708">
              <a:buFont typeface="Arial" panose="020B0604020202020204" pitchFamily="34" charset="0"/>
              <a:buChar char="•"/>
            </a:pPr>
            <a:r>
              <a:rPr lang="en-US" dirty="0"/>
              <a:t>Making sure your data is never stolen</a:t>
            </a:r>
          </a:p>
          <a:p>
            <a:pPr marL="174708" indent="-174708">
              <a:buFont typeface="Arial" panose="020B0604020202020204" pitchFamily="34" charset="0"/>
              <a:buChar char="•"/>
            </a:pPr>
            <a:r>
              <a:rPr lang="en-US" dirty="0"/>
              <a:t>Making</a:t>
            </a:r>
            <a:r>
              <a:rPr lang="en-US" baseline="0" dirty="0"/>
              <a:t> sure your data isn’t lost or corrupted</a:t>
            </a:r>
            <a:endParaRPr lang="en-US" dirty="0"/>
          </a:p>
          <a:p>
            <a:endParaRPr lang="en-US" dirty="0"/>
          </a:p>
          <a:p>
            <a:endParaRPr lang="en-US" dirty="0"/>
          </a:p>
          <a:p>
            <a:r>
              <a:rPr lang="en-US" b="1" dirty="0"/>
              <a:t>High Costs</a:t>
            </a:r>
          </a:p>
          <a:p>
            <a:endParaRPr lang="en-US" dirty="0"/>
          </a:p>
          <a:p>
            <a:pPr marL="174708" indent="-174708">
              <a:buFont typeface="Arial" panose="020B0604020202020204" pitchFamily="34" charset="0"/>
              <a:buChar char="•"/>
            </a:pPr>
            <a:r>
              <a:rPr lang="en-US" dirty="0"/>
              <a:t>Of constraining your business through insufficient</a:t>
            </a:r>
            <a:r>
              <a:rPr lang="en-US" baseline="0" dirty="0"/>
              <a:t> capacity</a:t>
            </a:r>
            <a:endParaRPr lang="en-US" dirty="0"/>
          </a:p>
          <a:p>
            <a:pPr marL="174708" indent="-174708">
              <a:buFont typeface="Arial" panose="020B0604020202020204" pitchFamily="34" charset="0"/>
              <a:buChar char="•"/>
            </a:pPr>
            <a:r>
              <a:rPr lang="en-US" dirty="0"/>
              <a:t>Paying the burden of underutilized capacity</a:t>
            </a:r>
          </a:p>
          <a:p>
            <a:pPr marL="174708" indent="-174708">
              <a:buFont typeface="Arial" panose="020B0604020202020204" pitchFamily="34" charset="0"/>
              <a:buChar char="•"/>
            </a:pPr>
            <a:r>
              <a:rPr lang="en-US" dirty="0"/>
              <a:t>Costs of just surviving:  maintenance and data migration</a:t>
            </a:r>
          </a:p>
          <a:p>
            <a:pPr marL="174708" indent="-174708">
              <a:buFont typeface="Arial" panose="020B0604020202020204" pitchFamily="34" charset="0"/>
              <a:buChar char="•"/>
            </a:pPr>
            <a:r>
              <a:rPr lang="en-US" dirty="0"/>
              <a:t>Entering a new region</a:t>
            </a:r>
          </a:p>
          <a:p>
            <a:endParaRPr lang="en-US" dirty="0"/>
          </a:p>
          <a:p>
            <a:r>
              <a:rPr lang="en-US" dirty="0"/>
              <a:t>All of the above activities and risk factors tax</a:t>
            </a:r>
            <a:r>
              <a:rPr lang="en-US" baseline="0" dirty="0"/>
              <a:t> your business and prevent you from focusing on innovation or progres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2017 5:2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23909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 key pillars of Azure are Limitless Scalability, Trust, and Cloud Economics, with the intent of enabling Business Agility for you and your customers.  Let’s walk through more details on what we mean…</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2017 5:2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24447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in Verita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2017 5:2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23538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2017 5:2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598995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F36BFBCF-2EBA-43BC-9189-2AB6978D969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24186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defTabSz="971566">
              <a:spcAft>
                <a:spcPts val="354"/>
              </a:spcAft>
              <a:buNone/>
              <a:defRPr/>
            </a:pPr>
            <a:r>
              <a:rPr lang="en-US" dirty="0"/>
              <a:t>To transform to the</a:t>
            </a:r>
            <a:r>
              <a:rPr lang="en-US" baseline="0" dirty="0"/>
              <a:t> </a:t>
            </a:r>
            <a:r>
              <a:rPr lang="en-US" b="1" baseline="0" dirty="0"/>
              <a:t>faster, continuous cadence of value delivery, </a:t>
            </a:r>
            <a:r>
              <a:rPr lang="en-US" dirty="0"/>
              <a:t>an enterprise needs to</a:t>
            </a:r>
            <a:r>
              <a:rPr lang="en-US" baseline="0" dirty="0"/>
              <a:t> adopt modern ALM practices.  </a:t>
            </a:r>
          </a:p>
          <a:p>
            <a:endParaRPr lang="en-US" sz="800" i="1" dirty="0">
              <a:latin typeface="Segoe UI" pitchFamily="34" charset="0"/>
            </a:endParaRPr>
          </a:p>
          <a:p>
            <a:pPr marL="0" lvl="1" indent="0" defTabSz="971566">
              <a:spcAft>
                <a:spcPts val="354"/>
              </a:spcAft>
              <a:buNone/>
              <a:defRPr/>
            </a:pPr>
            <a:r>
              <a:rPr lang="en-US" baseline="0" dirty="0"/>
              <a:t>They need to : </a:t>
            </a:r>
          </a:p>
          <a:p>
            <a:pPr defTabSz="971566">
              <a:spcAft>
                <a:spcPts val="354"/>
              </a:spcAft>
              <a:defRPr/>
            </a:pPr>
            <a:endParaRPr lang="en-US" baseline="0" dirty="0"/>
          </a:p>
          <a:p>
            <a:pPr marL="396654" lvl="1" indent="-174982" defTabSz="971566">
              <a:lnSpc>
                <a:spcPct val="150000"/>
              </a:lnSpc>
              <a:spcAft>
                <a:spcPts val="354"/>
              </a:spcAft>
              <a:defRPr/>
            </a:pPr>
            <a:r>
              <a:rPr lang="en-US" baseline="0" dirty="0"/>
              <a:t>adopt </a:t>
            </a:r>
            <a:r>
              <a:rPr lang="en-US" b="1" baseline="0" dirty="0"/>
              <a:t>agility</a:t>
            </a:r>
            <a:r>
              <a:rPr lang="en-US" baseline="0" dirty="0"/>
              <a:t> while delivering with </a:t>
            </a:r>
            <a:r>
              <a:rPr lang="en-US" b="1" baseline="0" dirty="0"/>
              <a:t>quality. </a:t>
            </a:r>
            <a:r>
              <a:rPr lang="en-US" baseline="0" dirty="0"/>
              <a:t>These practices will extend </a:t>
            </a:r>
            <a:r>
              <a:rPr lang="en-US" b="1" baseline="0" dirty="0"/>
              <a:t>throughout the full development lifecycle</a:t>
            </a:r>
            <a:r>
              <a:rPr lang="en-US" baseline="0" dirty="0"/>
              <a:t> - from plan, through develop (including test), to release and operate in production.</a:t>
            </a:r>
          </a:p>
          <a:p>
            <a:pPr marL="221672" lvl="1" indent="0" defTabSz="971566">
              <a:spcAft>
                <a:spcPts val="354"/>
              </a:spcAft>
              <a:buNone/>
              <a:defRPr/>
            </a:pPr>
            <a:endParaRPr lang="en-US" b="1" baseline="0" dirty="0"/>
          </a:p>
          <a:p>
            <a:pPr marL="396654" lvl="1" indent="-174982" defTabSz="971566">
              <a:lnSpc>
                <a:spcPct val="150000"/>
              </a:lnSpc>
              <a:spcAft>
                <a:spcPts val="354"/>
              </a:spcAft>
              <a:defRPr/>
            </a:pPr>
            <a:r>
              <a:rPr lang="en-US" b="1" baseline="0" dirty="0"/>
              <a:t>scale</a:t>
            </a:r>
            <a:r>
              <a:rPr lang="en-US" baseline="0" dirty="0"/>
              <a:t> to meet larger volume and variety of data, while sustaining application performance and reliability with integrated </a:t>
            </a:r>
            <a:r>
              <a:rPr lang="en-US" baseline="0" dirty="0" err="1"/>
              <a:t>DevOps</a:t>
            </a:r>
            <a:r>
              <a:rPr lang="en-US" baseline="0" dirty="0"/>
              <a:t> processes</a:t>
            </a:r>
          </a:p>
          <a:p>
            <a:pPr defTabSz="971566">
              <a:spcAft>
                <a:spcPts val="354"/>
              </a:spcAft>
              <a:defRPr/>
            </a:pPr>
            <a:endParaRPr lang="en-US" baseline="0" dirty="0"/>
          </a:p>
          <a:p>
            <a:pPr defTabSz="971566">
              <a:spcAft>
                <a:spcPts val="354"/>
              </a:spcAft>
              <a:defRPr/>
            </a:pPr>
            <a:r>
              <a:rPr lang="en-US" b="1" baseline="0" dirty="0"/>
              <a:t>Continuous learning </a:t>
            </a:r>
            <a:r>
              <a:rPr lang="en-US" baseline="0" dirty="0"/>
              <a:t>needs to occur throughout, to continually refine and improve both the development process and the applications being delivered.  By employing </a:t>
            </a:r>
            <a:r>
              <a:rPr lang="en-US" b="1" baseline="0" dirty="0"/>
              <a:t>integrated development and operational </a:t>
            </a:r>
            <a:r>
              <a:rPr lang="en-US" b="1" dirty="0"/>
              <a:t>tools, </a:t>
            </a:r>
            <a:r>
              <a:rPr lang="en-US" dirty="0"/>
              <a:t>an organization will be enabled to operate in c</a:t>
            </a:r>
            <a:r>
              <a:rPr lang="en-US" baseline="0" dirty="0"/>
              <a:t>ontinuous </a:t>
            </a:r>
            <a:r>
              <a:rPr lang="en-US" b="1" baseline="0" dirty="0"/>
              <a:t>B</a:t>
            </a:r>
            <a:r>
              <a:rPr lang="en-US" baseline="0" dirty="0"/>
              <a:t>uild, </a:t>
            </a:r>
            <a:r>
              <a:rPr lang="en-US" b="1" baseline="0" dirty="0"/>
              <a:t>M</a:t>
            </a:r>
            <a:r>
              <a:rPr lang="en-US" baseline="0" dirty="0"/>
              <a:t>easure, and </a:t>
            </a:r>
            <a:r>
              <a:rPr lang="en-US" b="1" baseline="0" dirty="0"/>
              <a:t>L</a:t>
            </a:r>
            <a:r>
              <a:rPr lang="en-US" baseline="0" dirty="0"/>
              <a:t>earn cycles.</a:t>
            </a:r>
          </a:p>
          <a:p>
            <a:pPr defTabSz="971566">
              <a:spcAft>
                <a:spcPts val="354"/>
              </a:spcAft>
              <a:defRPr/>
            </a:pPr>
            <a:endParaRPr lang="en-US" baseline="0" dirty="0"/>
          </a:p>
        </p:txBody>
      </p:sp>
      <p:sp>
        <p:nvSpPr>
          <p:cNvPr id="4" name="Date Placeholder 3"/>
          <p:cNvSpPr>
            <a:spLocks noGrp="1"/>
          </p:cNvSpPr>
          <p:nvPr>
            <p:ph type="dt" idx="10"/>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40E81034-F825-4F90-A6E2-5E7506729C56}"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1/19/20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Header Placeholder 5"/>
          <p:cNvSpPr>
            <a:spLocks noGrp="1"/>
          </p:cNvSpPr>
          <p:nvPr>
            <p:ph type="hdr" sz="quarter" idx="12"/>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Office36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Footer Placeholder 6"/>
          <p:cNvSpPr>
            <a:spLocks noGrp="1"/>
          </p:cNvSpPr>
          <p:nvPr>
            <p:ph type="ftr" sz="quarter" idx="13"/>
          </p:nvPr>
        </p:nvSpPr>
        <p:spPr/>
        <p:txBody>
          <a:bodyPr/>
          <a:lstStyle/>
          <a:p>
            <a:pPr marL="246010" marR="0" lvl="0" indent="0" algn="l" defTabSz="970238"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46010" marR="0" lvl="0" indent="0" algn="l" defTabSz="970238"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802345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aseline="0" dirty="0"/>
              <a:t>When a build passes all initial tests, it’s release time</a:t>
            </a:r>
          </a:p>
          <a:p>
            <a:pPr marL="171450" indent="-171450">
              <a:buFont typeface="Arial" panose="020B0604020202020204" pitchFamily="34" charset="0"/>
              <a:buChar char="•"/>
            </a:pPr>
            <a:r>
              <a:rPr lang="en-US" baseline="0" dirty="0"/>
              <a:t>Releasing software does not need to be scary or stressful</a:t>
            </a:r>
          </a:p>
          <a:p>
            <a:pPr marL="171450" indent="-171450">
              <a:buFont typeface="Arial" panose="020B0604020202020204" pitchFamily="34" charset="0"/>
              <a:buChar char="•"/>
            </a:pPr>
            <a:r>
              <a:rPr lang="en-US" b="1" baseline="0" dirty="0"/>
              <a:t>Continuous and automated testing</a:t>
            </a:r>
            <a:r>
              <a:rPr lang="en-US" baseline="0" dirty="0"/>
              <a:t> ensures that your app does what it is supposed to do and matches user expectations</a:t>
            </a:r>
          </a:p>
          <a:p>
            <a:pPr marL="171450" indent="-171450">
              <a:buFont typeface="Arial" panose="020B0604020202020204" pitchFamily="34" charset="0"/>
              <a:buChar char="•"/>
            </a:pPr>
            <a:r>
              <a:rPr lang="en-US" b="1" baseline="0" dirty="0"/>
              <a:t>Self-service, on-demand environment provisioning and automation</a:t>
            </a:r>
            <a:r>
              <a:rPr lang="en-US" baseline="0" dirty="0"/>
              <a:t> takes the headaches out of dealing with dev/test infrastructure</a:t>
            </a:r>
          </a:p>
          <a:p>
            <a:pPr marL="171450" indent="-171450">
              <a:buFont typeface="Arial" panose="020B0604020202020204" pitchFamily="34" charset="0"/>
              <a:buChar char="•"/>
            </a:pPr>
            <a:r>
              <a:rPr lang="en-US" baseline="0" dirty="0"/>
              <a:t>Every deployment works exactly the same way every time and </a:t>
            </a:r>
            <a:r>
              <a:rPr lang="en-US" b="1" baseline="0" dirty="0"/>
              <a:t>transparency and control</a:t>
            </a:r>
            <a:r>
              <a:rPr lang="en-US" baseline="0" dirty="0"/>
              <a:t> guarantee full traceability and visibility into each step of the process</a:t>
            </a:r>
          </a:p>
        </p:txBody>
      </p:sp>
      <p:sp>
        <p:nvSpPr>
          <p:cNvPr id="4" name="Header Placeholder 3"/>
          <p:cNvSpPr>
            <a:spLocks noGrp="1"/>
          </p:cNvSpPr>
          <p:nvPr>
            <p:ph type="hdr" sz="quarter" idx="10"/>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1/19/2017 5:2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444238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oots on the Ground:</a:t>
            </a:r>
          </a:p>
          <a:p>
            <a:pPr marL="171450" indent="-171450">
              <a:buFont typeface="Arial" panose="020B0604020202020204" pitchFamily="34" charset="0"/>
              <a:buChar char="•"/>
            </a:pPr>
            <a:r>
              <a:rPr lang="en-US" b="0" dirty="0"/>
              <a:t>We have been highly successful in part due to our relationship with embedded Services resources in our account space. </a:t>
            </a:r>
          </a:p>
          <a:p>
            <a:pPr marL="171450" indent="-171450">
              <a:buFont typeface="Arial" panose="020B0604020202020204" pitchFamily="34" charset="0"/>
              <a:buChar char="•"/>
            </a:pPr>
            <a:r>
              <a:rPr lang="en-US" b="0" dirty="0"/>
              <a:t>Leverage those deep relationships they have with customers, acquire invitations into new customer areas, request their help with introductions to HR, mission, IT, R&amp;D – Many times, we have found each of these key and critical orgs are typically attempting to address the same issues </a:t>
            </a:r>
          </a:p>
          <a:p>
            <a:endParaRPr lang="en-US" b="1" dirty="0"/>
          </a:p>
          <a:p>
            <a:r>
              <a:rPr lang="en-US" b="1" dirty="0"/>
              <a:t>Visit the Mission Space:</a:t>
            </a:r>
          </a:p>
          <a:p>
            <a:pPr marL="171450" indent="-171450">
              <a:buFont typeface="Arial" panose="020B0604020202020204" pitchFamily="34" charset="0"/>
              <a:buChar char="•"/>
            </a:pPr>
            <a:r>
              <a:rPr lang="en-US" b="0" dirty="0"/>
              <a:t>We were able to establish rapport with Border Patrol early on by taking a trip to their mission space – on the front lines at the border at Tucson, AZ and several other locations</a:t>
            </a:r>
          </a:p>
          <a:p>
            <a:pPr marL="171450" indent="-171450">
              <a:buFont typeface="Arial" panose="020B0604020202020204" pitchFamily="34" charset="0"/>
              <a:buChar char="•"/>
            </a:pPr>
            <a:r>
              <a:rPr lang="en-US" b="0" dirty="0"/>
              <a:t>We held several meetings with the people working the field operations to determine their needs and if technology would be embraced or resisted. If your customer isn’t receptive, your solutions won’t be used or consumed</a:t>
            </a:r>
          </a:p>
          <a:p>
            <a:pPr marL="171450" indent="-171450">
              <a:buFont typeface="Arial" panose="020B0604020202020204" pitchFamily="34" charset="0"/>
              <a:buChar char="•"/>
            </a:pPr>
            <a:r>
              <a:rPr lang="en-US" b="0" dirty="0"/>
              <a:t>Keep these people in the process with helping you to fight your battles – when you find a great resource who is dedicated to their mission, they can help you drive the needs and you simply provide the technical capabilities and drive input as a trusted advisor</a:t>
            </a:r>
          </a:p>
          <a:p>
            <a:endParaRPr lang="en-US" b="1" dirty="0"/>
          </a:p>
          <a:p>
            <a:r>
              <a:rPr lang="en-US" b="1" dirty="0"/>
              <a:t>Identify Opportunities:</a:t>
            </a:r>
          </a:p>
          <a:p>
            <a:pPr marL="171450" indent="-171450">
              <a:buFont typeface="Arial" panose="020B0604020202020204" pitchFamily="34" charset="0"/>
              <a:buChar char="•"/>
            </a:pPr>
            <a:r>
              <a:rPr lang="en-US" b="0" dirty="0"/>
              <a:t>These relationships we have established early on have allowed us to identify where technology can help fill the gaps. Find those pain points – the places where IT can automate an essential function of expensive human workers</a:t>
            </a:r>
          </a:p>
          <a:p>
            <a:pPr marL="171450" indent="-171450">
              <a:buFont typeface="Arial" panose="020B0604020202020204" pitchFamily="34" charset="0"/>
              <a:buChar char="•"/>
            </a:pPr>
            <a:r>
              <a:rPr lang="en-US" b="0" dirty="0"/>
              <a:t>With the site visits we found that many human tasks of establishing biometrics on apprehended persons, providing for translation services for those being interviewed could be easily replaced and allow agents to perform other critical tasks</a:t>
            </a:r>
          </a:p>
          <a:p>
            <a:pPr marL="171450" indent="-171450">
              <a:buFont typeface="Arial" panose="020B0604020202020204" pitchFamily="34" charset="0"/>
              <a:buChar char="•"/>
            </a:pPr>
            <a:endParaRPr lang="en-US" b="1" dirty="0"/>
          </a:p>
          <a:p>
            <a:r>
              <a:rPr lang="en-US" b="1" dirty="0"/>
              <a:t>Prioritize Customer Needs:</a:t>
            </a:r>
          </a:p>
          <a:p>
            <a:pPr marL="171450" indent="-171450">
              <a:buFont typeface="Arial" panose="020B0604020202020204" pitchFamily="34" charset="0"/>
              <a:buChar char="•"/>
            </a:pPr>
            <a:r>
              <a:rPr lang="en-US" b="0" dirty="0"/>
              <a:t>The customer always drives their own agenda. However, do guide them with the technology we have available. Don’t be pushy, our products and services sell themselves.</a:t>
            </a:r>
          </a:p>
          <a:p>
            <a:pPr marL="171450" indent="-171450">
              <a:buFont typeface="Arial" panose="020B0604020202020204" pitchFamily="34" charset="0"/>
              <a:buChar char="•"/>
            </a:pPr>
            <a:r>
              <a:rPr lang="en-US" b="0" dirty="0"/>
              <a:t>We have allowed the IT/CIO shop to act as the broker – they introduce customer components to us. The CIO shop has received positive feedback, as they are not an impediment and are not supplying a massive bill of materials or developer costs. This is a pay-per-use model that allows customers to fail early and often and drive towards better solutions due to the proper use of BIF/CIF funding. </a:t>
            </a:r>
          </a:p>
          <a:p>
            <a:endParaRPr lang="en-US" b="1" dirty="0"/>
          </a:p>
          <a:p>
            <a:r>
              <a:rPr lang="en-US" b="1" dirty="0"/>
              <a:t>Not Solving World Hunger:</a:t>
            </a:r>
          </a:p>
          <a:p>
            <a:pPr marL="171450" indent="-171450">
              <a:buFont typeface="Arial" panose="020B0604020202020204" pitchFamily="34" charset="0"/>
              <a:buChar char="•"/>
            </a:pPr>
            <a:r>
              <a:rPr lang="en-US" b="0" dirty="0"/>
              <a:t>We are One Microsoft with many ideas and perspectives. Bring in your account team, technical resources, sellers and Services personnel in early and often for ideas and input. </a:t>
            </a:r>
            <a:endParaRPr lang="en-US" b="1" dirty="0"/>
          </a:p>
          <a:p>
            <a:endParaRPr lang="en-US" b="1" dirty="0"/>
          </a:p>
          <a:p>
            <a:r>
              <a:rPr lang="en-US" b="1" dirty="0"/>
              <a:t>Ask for Help:</a:t>
            </a:r>
          </a:p>
          <a:p>
            <a:pPr marL="171450" indent="-171450">
              <a:buFont typeface="Arial" panose="020B0604020202020204" pitchFamily="34" charset="0"/>
              <a:buChar char="•"/>
            </a:pPr>
            <a:r>
              <a:rPr lang="en-US" b="0" dirty="0"/>
              <a:t>One person cannot do it all. </a:t>
            </a:r>
          </a:p>
          <a:p>
            <a:pPr marL="171450" indent="-171450">
              <a:buFont typeface="Arial" panose="020B0604020202020204" pitchFamily="34" charset="0"/>
              <a:buChar char="•"/>
            </a:pPr>
            <a:r>
              <a:rPr lang="en-US" b="0" dirty="0"/>
              <a:t>Success hinges on your network and communication with others. </a:t>
            </a:r>
          </a:p>
          <a:p>
            <a:pPr marL="171450" indent="-171450">
              <a:buFont typeface="Arial" panose="020B0604020202020204" pitchFamily="34" charset="0"/>
              <a:buChar char="•"/>
            </a:pPr>
            <a:r>
              <a:rPr lang="en-US" b="0" dirty="0"/>
              <a:t>PG and other PMs are highly interested in how their products are being leveraged in customer spaces. Invite them to know. Tell them about your problems and limitations.</a:t>
            </a:r>
          </a:p>
          <a:p>
            <a:pPr marL="628650" lvl="1" indent="-171450">
              <a:buFont typeface="Arial" panose="020B0604020202020204" pitchFamily="34" charset="0"/>
              <a:buChar char="•"/>
            </a:pPr>
            <a:r>
              <a:rPr lang="en-US" b="0" dirty="0"/>
              <a:t>Many of the PMs I have spoken with think that the government would already have in-house capabilities that cover their products capabilities. </a:t>
            </a:r>
          </a:p>
          <a:p>
            <a:pPr marL="171450" indent="-171450">
              <a:buFont typeface="Arial" panose="020B0604020202020204" pitchFamily="34" charset="0"/>
              <a:buChar char="•"/>
            </a:pPr>
            <a:r>
              <a:rPr lang="en-US" b="0" dirty="0"/>
              <a:t>Get DEEP on products and the way they function. Through discussions with the PG, we found the linkage between certain products and APIs, which would have later derailed projects due to privacy concerns and documented needs. Find ways to work with responsible parties to address these concerns proactively.</a:t>
            </a:r>
          </a:p>
          <a:p>
            <a:pPr marL="171450" indent="-171450">
              <a:buFont typeface="Arial" panose="020B0604020202020204" pitchFamily="34" charset="0"/>
              <a:buChar char="•"/>
            </a:pP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B5F18F-5D88-4E17-BC1B-DA11409C0F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1211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900" spc="0" dirty="0">
                <a:solidFill>
                  <a:prstClr val="white"/>
                </a:solidFill>
                <a:cs typeface="Segoe UI" pitchFamily="34" charset="0"/>
              </a:rPr>
              <a:t>The app has</a:t>
            </a:r>
            <a:r>
              <a:rPr lang="en-US" sz="900" spc="0" baseline="0" dirty="0">
                <a:solidFill>
                  <a:prstClr val="white"/>
                </a:solidFill>
                <a:cs typeface="Segoe UI" pitchFamily="34" charset="0"/>
              </a:rPr>
              <a:t> been released to production and t</a:t>
            </a:r>
            <a:r>
              <a:rPr lang="en-US" sz="900" spc="0" dirty="0">
                <a:solidFill>
                  <a:prstClr val="white"/>
                </a:solidFill>
                <a:cs typeface="Segoe UI" pitchFamily="34" charset="0"/>
              </a:rPr>
              <a:t>he</a:t>
            </a:r>
            <a:r>
              <a:rPr lang="en-US" sz="900" spc="0" baseline="0" dirty="0">
                <a:solidFill>
                  <a:prstClr val="white"/>
                </a:solidFill>
                <a:cs typeface="Segoe UI" pitchFamily="34" charset="0"/>
              </a:rPr>
              <a:t> iteration is done, but work is not over!</a:t>
            </a:r>
            <a:endParaRPr lang="en-US" sz="900" spc="0" dirty="0">
              <a:solidFill>
                <a:prstClr val="white"/>
              </a:solidFill>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0" spc="0" baseline="0" dirty="0">
                <a:cs typeface="Arial" pitchFamily="34" charset="0"/>
              </a:rPr>
              <a:t>With your app being used by real users, now is an ideal opportunity to collect data and evidence that helps you </a:t>
            </a:r>
            <a:r>
              <a:rPr lang="en-US" sz="900" b="1" kern="0" spc="0" baseline="0" dirty="0">
                <a:cs typeface="Arial" pitchFamily="34" charset="0"/>
              </a:rPr>
              <a:t>prioritize your backlog based on hard data instead of assumptions</a:t>
            </a:r>
            <a:endParaRPr lang="en-US" sz="900" b="1" spc="0" dirty="0">
              <a:solidFill>
                <a:prstClr val="white"/>
              </a:solidFill>
              <a:cs typeface="Segoe UI" pitchFamily="34" charset="0"/>
            </a:endParaRPr>
          </a:p>
          <a:p>
            <a:pPr marL="171450" indent="-171450">
              <a:buFont typeface="Arial" panose="020B0604020202020204" pitchFamily="34" charset="0"/>
              <a:buChar char="•"/>
            </a:pPr>
            <a:r>
              <a:rPr lang="en-US" sz="900" spc="0" dirty="0">
                <a:solidFill>
                  <a:prstClr val="white"/>
                </a:solidFill>
                <a:cs typeface="Segoe UI" pitchFamily="34" charset="0"/>
              </a:rPr>
              <a:t>It’s easy to </a:t>
            </a:r>
            <a:r>
              <a:rPr lang="en-US" sz="900" b="1" spc="0" dirty="0">
                <a:solidFill>
                  <a:prstClr val="white"/>
                </a:solidFill>
                <a:cs typeface="Segoe UI" pitchFamily="34" charset="0"/>
              </a:rPr>
              <a:t>instrument your app and get ambient monitoring out of the box</a:t>
            </a:r>
            <a:r>
              <a:rPr lang="en-US" sz="900" b="0" spc="0" dirty="0">
                <a:solidFill>
                  <a:prstClr val="white"/>
                </a:solidFill>
                <a:cs typeface="Segoe UI" pitchFamily="34" charset="0"/>
              </a:rPr>
              <a:t>,</a:t>
            </a:r>
            <a:r>
              <a:rPr lang="en-US" sz="900" b="0" spc="0" baseline="0" dirty="0">
                <a:solidFill>
                  <a:prstClr val="white"/>
                </a:solidFill>
                <a:cs typeface="Segoe UI" pitchFamily="34" charset="0"/>
              </a:rPr>
              <a:t> </a:t>
            </a:r>
            <a:r>
              <a:rPr lang="en-US" sz="900" spc="0" dirty="0">
                <a:solidFill>
                  <a:prstClr val="white"/>
                </a:solidFill>
                <a:cs typeface="Segoe UI" pitchFamily="34" charset="0"/>
              </a:rPr>
              <a:t>with almost zero </a:t>
            </a:r>
            <a:r>
              <a:rPr lang="en-US" sz="900" spc="0" baseline="0" dirty="0">
                <a:solidFill>
                  <a:prstClr val="white"/>
                </a:solidFill>
                <a:cs typeface="Segoe UI" pitchFamily="34" charset="0"/>
              </a:rPr>
              <a:t>effort</a:t>
            </a:r>
            <a:endParaRPr lang="en-US" sz="900" spc="0" dirty="0">
              <a:solidFill>
                <a:prstClr val="white"/>
              </a:solidFill>
              <a:cs typeface="Segoe UI" pitchFamily="34" charset="0"/>
            </a:endParaRPr>
          </a:p>
          <a:p>
            <a:pPr marL="171450" indent="-171450">
              <a:buFont typeface="Arial" panose="020B0604020202020204" pitchFamily="34" charset="0"/>
              <a:buChar char="•"/>
            </a:pPr>
            <a:r>
              <a:rPr lang="en-US" sz="900" spc="0" dirty="0">
                <a:solidFill>
                  <a:prstClr val="white"/>
                </a:solidFill>
                <a:cs typeface="Segoe UI" pitchFamily="34" charset="0"/>
              </a:rPr>
              <a:t>This way, you can get a </a:t>
            </a:r>
            <a:r>
              <a:rPr lang="en-US" sz="900" b="1" spc="0" dirty="0">
                <a:solidFill>
                  <a:prstClr val="white"/>
                </a:solidFill>
                <a:cs typeface="Segoe UI" pitchFamily="34" charset="0"/>
              </a:rPr>
              <a:t>360° view of your application</a:t>
            </a:r>
            <a:r>
              <a:rPr lang="en-US" sz="900" spc="0" dirty="0">
                <a:solidFill>
                  <a:prstClr val="white"/>
                </a:solidFill>
                <a:cs typeface="Segoe UI" pitchFamily="34" charset="0"/>
              </a:rPr>
              <a:t> that includes availability and performance as well as user behavior – a single pane of glass for your application</a:t>
            </a:r>
          </a:p>
        </p:txBody>
      </p:sp>
      <p:sp>
        <p:nvSpPr>
          <p:cNvPr id="4" name="Header Placeholder 3"/>
          <p:cNvSpPr>
            <a:spLocks noGrp="1"/>
          </p:cNvSpPr>
          <p:nvPr>
            <p:ph type="hdr" sz="quarter" idx="10"/>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1/19/2017 5:2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629195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567" rtl="0" eaLnBrk="1" fontAlgn="auto" latinLnBrk="0" hangingPunct="1">
              <a:lnSpc>
                <a:spcPct val="100000"/>
              </a:lnSpc>
              <a:spcBef>
                <a:spcPts val="0"/>
              </a:spcBef>
              <a:spcAft>
                <a:spcPts val="0"/>
              </a:spcAft>
              <a:buClrTx/>
              <a:buSzTx/>
              <a:buFontTx/>
              <a:buNone/>
              <a:tabLst/>
              <a:defRPr/>
            </a:pPr>
            <a:fld id="{4DFE2F78-63A2-4B2E-9B8B-9EE76FCD2DC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567" rtl="0" eaLnBrk="1" fontAlgn="auto" latinLnBrk="0" hangingPunct="1">
                <a:lnSpc>
                  <a:spcPct val="100000"/>
                </a:lnSpc>
                <a:spcBef>
                  <a:spcPts val="0"/>
                </a:spcBef>
                <a:spcAft>
                  <a:spcPts val="0"/>
                </a:spcAft>
                <a:buClrTx/>
                <a:buSzTx/>
                <a:buFontTx/>
                <a:buNone/>
                <a:tabLst/>
                <a:defRPr/>
              </a:pPr>
              <a:t>1/19/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5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5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97656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ways to choose</a:t>
            </a:r>
            <a:r>
              <a:rPr lang="en-US" baseline="0" dirty="0"/>
              <a:t> an engagement:</a:t>
            </a:r>
          </a:p>
          <a:p>
            <a:pPr marL="228600" indent="-228600">
              <a:buAutoNum type="arabicParenR"/>
            </a:pPr>
            <a:r>
              <a:rPr lang="en-US" baseline="0" dirty="0"/>
              <a:t>Technology led:  Business Ready</a:t>
            </a:r>
          </a:p>
          <a:p>
            <a:pPr marL="228600" indent="-228600">
              <a:buAutoNum type="arabicParenR"/>
            </a:pPr>
            <a:r>
              <a:rPr lang="en-US" baseline="0" dirty="0"/>
              <a:t>Business focused to drive a program of change:  Digital Ready</a:t>
            </a:r>
          </a:p>
          <a:p>
            <a:pPr marL="228600" indent="-228600">
              <a:buAutoNum type="arabicParenR"/>
            </a:pPr>
            <a:r>
              <a:rPr lang="en-US" baseline="0" dirty="0"/>
              <a:t>Buckets of Advisory time:  SKU/stand alone</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B04E959-1EF5-4E17-AC12-D8B2360BF0AD}"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080339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022306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32742" rtl="0" eaLnBrk="1" fontAlgn="auto" latinLnBrk="0" hangingPunct="1">
              <a:lnSpc>
                <a:spcPct val="9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Microsoft Convergence 2015</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E5BF74-8B9F-4376-89DD-F9403B64E53E}"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17 5:26 P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2707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2017 5:2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741248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mn-lt"/>
                <a:ea typeface="+mn-ea"/>
                <a:cs typeface="+mn-cs"/>
              </a:rPr>
              <a:t>Products</a:t>
            </a:r>
            <a:r>
              <a:rPr lang="en-US" sz="1200" b="1" kern="1200" baseline="0" dirty="0">
                <a:solidFill>
                  <a:schemeClr val="tx1"/>
                </a:solidFill>
                <a:effectLst/>
                <a:latin typeface="+mn-lt"/>
                <a:ea typeface="+mn-ea"/>
                <a:cs typeface="+mn-cs"/>
              </a:rPr>
              <a:t> &amp; Services</a:t>
            </a:r>
            <a:r>
              <a:rPr lang="en-US" sz="1200" b="0" kern="1200" baseline="0" dirty="0">
                <a:solidFill>
                  <a:schemeClr val="tx1"/>
                </a:solidFill>
                <a:effectLst/>
                <a:latin typeface="+mn-lt"/>
                <a:ea typeface="+mn-ea"/>
                <a:cs typeface="+mn-cs"/>
              </a:rPr>
              <a:t>: Only Cloud Services</a:t>
            </a:r>
            <a:endParaRPr lang="en-US" sz="1200" b="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Seat limit: </a:t>
            </a:r>
            <a:r>
              <a:rPr lang="en-US" sz="1200" kern="1200" dirty="0">
                <a:solidFill>
                  <a:schemeClr val="tx1"/>
                </a:solidFill>
                <a:effectLst/>
                <a:latin typeface="+mn-lt"/>
                <a:ea typeface="+mn-ea"/>
                <a:cs typeface="+mn-cs"/>
              </a:rPr>
              <a:t>There is no seat limit on CSP deals</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Price/Discount</a:t>
            </a:r>
            <a:r>
              <a:rPr lang="en-US" sz="1200" kern="1200" dirty="0">
                <a:solidFill>
                  <a:schemeClr val="tx1"/>
                </a:solidFill>
                <a:effectLst/>
                <a:latin typeface="+mn-lt"/>
                <a:ea typeface="+mn-ea"/>
                <a:cs typeface="+mn-cs"/>
              </a:rPr>
              <a:t>: Office 365 is a flat 20% off the retail price, regardless of number of seats. </a:t>
            </a:r>
            <a:endParaRPr lang="en-US" sz="16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This is the discount we sell the subscription to the partner at. The CSP Partner determines the price it charges to the customer (typically bundling it with their services price)</a:t>
            </a:r>
            <a:endParaRPr lang="en-US" sz="16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Since there is no volume discounting like there is with EAs, as a rule of thumb we say that CSP is best-fit to the sub-500 seat SMB/CTM space (i.e. the new minimum threshold of EAs). </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Term-length</a:t>
            </a:r>
            <a:r>
              <a:rPr lang="en-US" sz="1200" kern="1200" dirty="0">
                <a:solidFill>
                  <a:schemeClr val="tx1"/>
                </a:solidFill>
                <a:effectLst/>
                <a:latin typeface="+mn-lt"/>
                <a:ea typeface="+mn-ea"/>
                <a:cs typeface="+mn-cs"/>
              </a:rPr>
              <a:t>: CSP contracts are only 12-months by default. This means the customer’s price could go up in one year when their renewal happens. Again, the partner controls the price, but if we increase our price to the partner, they are likely to do the same.</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CSP Discount: </a:t>
            </a:r>
            <a:r>
              <a:rPr lang="en-US" sz="1200" kern="1200" dirty="0">
                <a:solidFill>
                  <a:schemeClr val="tx1"/>
                </a:solidFill>
                <a:effectLst/>
                <a:latin typeface="+mn-lt"/>
                <a:ea typeface="+mn-ea"/>
                <a:cs typeface="+mn-cs"/>
              </a:rPr>
              <a:t>The Partner Business Desk has empowerment to discount CSP, </a:t>
            </a:r>
            <a:r>
              <a:rPr lang="en-US" sz="1200" u="sng" kern="1200" dirty="0">
                <a:solidFill>
                  <a:schemeClr val="tx1"/>
                </a:solidFill>
                <a:effectLst/>
                <a:latin typeface="+mn-lt"/>
                <a:ea typeface="+mn-ea"/>
                <a:cs typeface="+mn-cs"/>
              </a:rPr>
              <a:t>but only to compete with other cloud vendors (Google, AWS, </a:t>
            </a:r>
            <a:r>
              <a:rPr lang="en-US" sz="1200" u="sng" kern="1200" dirty="0" err="1">
                <a:solidFill>
                  <a:schemeClr val="tx1"/>
                </a:solidFill>
                <a:effectLst/>
                <a:latin typeface="+mn-lt"/>
                <a:ea typeface="+mn-ea"/>
                <a:cs typeface="+mn-cs"/>
              </a:rPr>
              <a:t>etc</a:t>
            </a:r>
            <a:r>
              <a:rPr lang="en-US" sz="1200" u="sng" kern="1200" dirty="0">
                <a:solidFill>
                  <a:schemeClr val="tx1"/>
                </a:solidFill>
                <a:effectLst/>
                <a:latin typeface="+mn-lt"/>
                <a:ea typeface="+mn-ea"/>
                <a:cs typeface="+mn-cs"/>
              </a:rPr>
              <a:t>) and never to compete with EA.</a:t>
            </a:r>
            <a:r>
              <a:rPr lang="en-US" sz="1200" b="1" u="sng" kern="1200" dirty="0">
                <a:solidFill>
                  <a:schemeClr val="tx1"/>
                </a:solidFill>
                <a:effectLst/>
                <a:latin typeface="+mn-lt"/>
                <a:ea typeface="+mn-ea"/>
                <a:cs typeface="+mn-cs"/>
              </a:rPr>
              <a:t> </a:t>
            </a:r>
            <a:endParaRPr lang="en-US" sz="16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Therefore, if special HC pricing is significantly more than 20% off retail, we can all but guarantee that would be the best price in market. The partner could choose to match, but they would be losing money on the licensing so it’s just not economically viable. </a:t>
            </a:r>
            <a:endParaRPr lang="en-US" sz="16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hen might CSP make sense above 500 seats? If a customer is very passionate about a particular partner and the total packaged managed services offering they bring to the table – they are willing to pay a premium on the license to get the services wrapped in. The customer prefers annual contracts vs. 3yrs. </a:t>
            </a:r>
            <a:r>
              <a:rPr lang="en-US" sz="1200" b="1" kern="1200" dirty="0">
                <a:solidFill>
                  <a:schemeClr val="tx1"/>
                </a:solidFill>
                <a:effectLst/>
                <a:latin typeface="+mn-lt"/>
                <a:ea typeface="+mn-ea"/>
                <a:cs typeface="+mn-cs"/>
              </a:rPr>
              <a:t>Or, as in the case of Rev. Quebec they only</a:t>
            </a:r>
            <a:r>
              <a:rPr lang="en-US" sz="1200" kern="1200" dirty="0">
                <a:solidFill>
                  <a:schemeClr val="tx1"/>
                </a:solidFill>
                <a:effectLst/>
                <a:latin typeface="+mn-lt"/>
                <a:ea typeface="+mn-ea"/>
                <a:cs typeface="+mn-cs"/>
              </a:rPr>
              <a:t> </a:t>
            </a:r>
            <a:endParaRPr lang="en-US" sz="16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4AFC3B-7592-49FD-BC8F-C7AE0BDB8E15}"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555464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mn-lt"/>
                <a:ea typeface="+mn-ea"/>
                <a:cs typeface="+mn-cs"/>
              </a:rPr>
              <a:t>Products</a:t>
            </a:r>
            <a:r>
              <a:rPr lang="en-US" sz="1200" b="1" kern="1200" baseline="0" dirty="0">
                <a:solidFill>
                  <a:schemeClr val="tx1"/>
                </a:solidFill>
                <a:effectLst/>
                <a:latin typeface="+mn-lt"/>
                <a:ea typeface="+mn-ea"/>
                <a:cs typeface="+mn-cs"/>
              </a:rPr>
              <a:t> &amp; Services</a:t>
            </a:r>
            <a:r>
              <a:rPr lang="en-US" sz="1200" b="0" kern="1200" baseline="0" dirty="0">
                <a:solidFill>
                  <a:schemeClr val="tx1"/>
                </a:solidFill>
                <a:effectLst/>
                <a:latin typeface="+mn-lt"/>
                <a:ea typeface="+mn-ea"/>
                <a:cs typeface="+mn-cs"/>
              </a:rPr>
              <a:t>: Only Cloud Services</a:t>
            </a:r>
            <a:endParaRPr lang="en-US" sz="1200" b="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Seat limit: </a:t>
            </a:r>
            <a:r>
              <a:rPr lang="en-US" sz="1200" kern="1200" dirty="0">
                <a:solidFill>
                  <a:schemeClr val="tx1"/>
                </a:solidFill>
                <a:effectLst/>
                <a:latin typeface="+mn-lt"/>
                <a:ea typeface="+mn-ea"/>
                <a:cs typeface="+mn-cs"/>
              </a:rPr>
              <a:t>There is no seat limit on CSP deals</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Price/Discount</a:t>
            </a:r>
            <a:r>
              <a:rPr lang="en-US" sz="1200" kern="1200" dirty="0">
                <a:solidFill>
                  <a:schemeClr val="tx1"/>
                </a:solidFill>
                <a:effectLst/>
                <a:latin typeface="+mn-lt"/>
                <a:ea typeface="+mn-ea"/>
                <a:cs typeface="+mn-cs"/>
              </a:rPr>
              <a:t>: Office 365 is a flat 20% off the retail price, regardless of number of seats. </a:t>
            </a:r>
            <a:endParaRPr lang="en-US" sz="16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This is the discount we sell the subscription to the partner at. The CSP Partner determines the price it charges to the customer (typically bundling it with their services price)</a:t>
            </a:r>
            <a:endParaRPr lang="en-US" sz="16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Since there is no volume discounting like there is with EAs, as a rule of thumb we say that CSP is best-fit to the sub-500 seat SMB/CTM space (i.e. the new minimum threshold of EAs). </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Term-length</a:t>
            </a:r>
            <a:r>
              <a:rPr lang="en-US" sz="1200" kern="1200" dirty="0">
                <a:solidFill>
                  <a:schemeClr val="tx1"/>
                </a:solidFill>
                <a:effectLst/>
                <a:latin typeface="+mn-lt"/>
                <a:ea typeface="+mn-ea"/>
                <a:cs typeface="+mn-cs"/>
              </a:rPr>
              <a:t>: CSP contracts are only 12-months by default. This means the customer’s price could go up in one year when their renewal happens. Again, the partner controls the price, but if we increase our price to the partner, they are likely to do the same.</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CSP Discount: </a:t>
            </a:r>
            <a:r>
              <a:rPr lang="en-US" sz="1200" kern="1200" dirty="0">
                <a:solidFill>
                  <a:schemeClr val="tx1"/>
                </a:solidFill>
                <a:effectLst/>
                <a:latin typeface="+mn-lt"/>
                <a:ea typeface="+mn-ea"/>
                <a:cs typeface="+mn-cs"/>
              </a:rPr>
              <a:t>The Partner Business Desk has empowerment to discount CSP, </a:t>
            </a:r>
            <a:r>
              <a:rPr lang="en-US" sz="1200" u="sng" kern="1200" dirty="0">
                <a:solidFill>
                  <a:schemeClr val="tx1"/>
                </a:solidFill>
                <a:effectLst/>
                <a:latin typeface="+mn-lt"/>
                <a:ea typeface="+mn-ea"/>
                <a:cs typeface="+mn-cs"/>
              </a:rPr>
              <a:t>but only to compete with other cloud vendors (Google, AWS, </a:t>
            </a:r>
            <a:r>
              <a:rPr lang="en-US" sz="1200" u="sng" kern="1200" dirty="0" err="1">
                <a:solidFill>
                  <a:schemeClr val="tx1"/>
                </a:solidFill>
                <a:effectLst/>
                <a:latin typeface="+mn-lt"/>
                <a:ea typeface="+mn-ea"/>
                <a:cs typeface="+mn-cs"/>
              </a:rPr>
              <a:t>etc</a:t>
            </a:r>
            <a:r>
              <a:rPr lang="en-US" sz="1200" u="sng" kern="1200" dirty="0">
                <a:solidFill>
                  <a:schemeClr val="tx1"/>
                </a:solidFill>
                <a:effectLst/>
                <a:latin typeface="+mn-lt"/>
                <a:ea typeface="+mn-ea"/>
                <a:cs typeface="+mn-cs"/>
              </a:rPr>
              <a:t>) and never to compete with EA.</a:t>
            </a:r>
            <a:r>
              <a:rPr lang="en-US" sz="1200" b="1" u="sng" kern="1200" dirty="0">
                <a:solidFill>
                  <a:schemeClr val="tx1"/>
                </a:solidFill>
                <a:effectLst/>
                <a:latin typeface="+mn-lt"/>
                <a:ea typeface="+mn-ea"/>
                <a:cs typeface="+mn-cs"/>
              </a:rPr>
              <a:t> </a:t>
            </a:r>
            <a:endParaRPr lang="en-US" sz="16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Therefore, if special HC pricing is significantly more than 20% off retail, we can all but guarantee that would be the best price in market. The partner could choose to match, but they would be losing money on the licensing so it’s just not economically viable. </a:t>
            </a:r>
            <a:endParaRPr lang="en-US" sz="16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hen might CSP make sense above 500 seats? If a customer is very passionate about a particular partner and the total packaged managed services offering they bring to the table – they are willing to pay a premium on the license to get the services wrapped in. The customer prefers annual contracts vs. 3yrs. </a:t>
            </a:r>
            <a:r>
              <a:rPr lang="en-US" sz="1200" b="1" kern="1200" dirty="0">
                <a:solidFill>
                  <a:schemeClr val="tx1"/>
                </a:solidFill>
                <a:effectLst/>
                <a:latin typeface="+mn-lt"/>
                <a:ea typeface="+mn-ea"/>
                <a:cs typeface="+mn-cs"/>
              </a:rPr>
              <a:t>Or, as in the case of Rev. Quebec they only</a:t>
            </a:r>
            <a:r>
              <a:rPr lang="en-US" sz="1200" kern="1200" dirty="0">
                <a:solidFill>
                  <a:schemeClr val="tx1"/>
                </a:solidFill>
                <a:effectLst/>
                <a:latin typeface="+mn-lt"/>
                <a:ea typeface="+mn-ea"/>
                <a:cs typeface="+mn-cs"/>
              </a:rPr>
              <a:t> </a:t>
            </a:r>
            <a:endParaRPr lang="en-US" sz="16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4AFC3B-7592-49FD-BC8F-C7AE0BDB8E15}"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4052348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15D8756-BE75-4761-97E5-4577543A123A}"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1176753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8F33DE-4788-4574-AA71-10F82EE4E5AB}"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05713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With this framework, we have built a great deal of momentum at our CBP customer. Some of the projects we are now undertaking –</a:t>
            </a:r>
          </a:p>
          <a:p>
            <a:endParaRPr lang="en-US" b="0" dirty="0"/>
          </a:p>
          <a:p>
            <a:pPr marL="171450" indent="-171450">
              <a:buFont typeface="Arial" panose="020B0604020202020204" pitchFamily="34" charset="0"/>
              <a:buChar char="•"/>
            </a:pPr>
            <a:r>
              <a:rPr lang="en-US" b="0" dirty="0"/>
              <a:t>All of these projects involve our Cognitive Services – our Artificial Intelligence capabilities. However, none of these services were available in MAG for consumption. </a:t>
            </a:r>
          </a:p>
          <a:p>
            <a:pPr marL="171450" indent="-171450">
              <a:buFont typeface="Arial" panose="020B0604020202020204" pitchFamily="34" charset="0"/>
              <a:buChar char="•"/>
            </a:pPr>
            <a:r>
              <a:rPr lang="en-US" b="0" dirty="0"/>
              <a:t>Last November, we brought these needs to the Azure Government PMs and addressed the concerns with Tom Keane and other leadership.</a:t>
            </a:r>
          </a:p>
          <a:p>
            <a:pPr marL="171450" indent="-171450">
              <a:buFont typeface="Arial" panose="020B0604020202020204" pitchFamily="34" charset="0"/>
              <a:buChar char="•"/>
            </a:pPr>
            <a:r>
              <a:rPr lang="en-US" b="0" dirty="0"/>
              <a:t>They are working diligently to make these services available within the next few days</a:t>
            </a:r>
          </a:p>
          <a:p>
            <a:pPr marL="171450" indent="-171450">
              <a:buFont typeface="Arial" panose="020B0604020202020204" pitchFamily="34" charset="0"/>
              <a:buChar char="•"/>
            </a:pPr>
            <a:r>
              <a:rPr lang="en-US" b="0" dirty="0"/>
              <a:t>We also needed to address concerns with the Product Groups to ensure the service met privacy and data storage/re-use concerns</a:t>
            </a:r>
          </a:p>
          <a:p>
            <a:endParaRPr lang="en-US" b="0" dirty="0"/>
          </a:p>
          <a:p>
            <a:endParaRPr lang="en-US" b="0" dirty="0"/>
          </a:p>
          <a:p>
            <a:r>
              <a:rPr lang="en-US" b="1" dirty="0"/>
              <a:t>Translation:</a:t>
            </a:r>
          </a:p>
          <a:p>
            <a:pPr marL="171450" indent="-171450">
              <a:buFont typeface="Arial" panose="020B0604020202020204" pitchFamily="34" charset="0"/>
              <a:buChar char="•"/>
            </a:pPr>
            <a:r>
              <a:rPr lang="en-US" b="0" dirty="0"/>
              <a:t>With the Border Patrol, we had a fantastic opportunity to show our Translation capabilities</a:t>
            </a:r>
          </a:p>
          <a:p>
            <a:pPr marL="171450" indent="-171450">
              <a:buFont typeface="Arial" panose="020B0604020202020204" pitchFamily="34" charset="0"/>
              <a:buChar char="•"/>
            </a:pPr>
            <a:r>
              <a:rPr lang="en-US" b="0" dirty="0"/>
              <a:t>From site visit we found current procedures used manual translation or extremely expensive operator-translators</a:t>
            </a:r>
          </a:p>
          <a:p>
            <a:pPr marL="171450" indent="-171450">
              <a:buFont typeface="Arial" panose="020B0604020202020204" pitchFamily="34" charset="0"/>
              <a:buChar char="•"/>
            </a:pPr>
            <a:r>
              <a:rPr lang="en-US" b="0" dirty="0"/>
              <a:t>We demonstrated capability to use existing technology to translate and transcribe all spoken conversations</a:t>
            </a:r>
          </a:p>
          <a:p>
            <a:pPr marL="171450" indent="-171450">
              <a:buFont typeface="Arial" panose="020B0604020202020204" pitchFamily="34" charset="0"/>
              <a:buChar char="•"/>
            </a:pPr>
            <a:r>
              <a:rPr lang="en-US" b="0" dirty="0"/>
              <a:t>We worked with Product Group and PMs to ensure that we had a compliant version of Translator – to ensure that no audio or translated/transcribed text was ever logged – for our own modeling, machine learning purposes</a:t>
            </a:r>
          </a:p>
          <a:p>
            <a:pPr marL="171450" indent="-171450">
              <a:buFont typeface="Arial" panose="020B0604020202020204" pitchFamily="34" charset="0"/>
              <a:buChar char="•"/>
            </a:pPr>
            <a:r>
              <a:rPr lang="en-US" b="0" dirty="0"/>
              <a:t>Worked with CELA to get BIF/CIF funded and in place</a:t>
            </a:r>
          </a:p>
          <a:p>
            <a:pPr marL="171450" indent="-171450">
              <a:buFont typeface="Arial" panose="020B0604020202020204" pitchFamily="34" charset="0"/>
              <a:buChar char="•"/>
            </a:pPr>
            <a:r>
              <a:rPr lang="en-US" b="0" dirty="0"/>
              <a:t>Worked with Services to get Service Connects input early to acquire personnel and get developers ready in tandem with legal approvals</a:t>
            </a:r>
          </a:p>
          <a:p>
            <a:pPr marL="171450" indent="-171450">
              <a:buFont typeface="Arial" panose="020B0604020202020204" pitchFamily="34" charset="0"/>
              <a:buChar char="•"/>
            </a:pPr>
            <a:r>
              <a:rPr lang="en-US" b="0" dirty="0"/>
              <a:t>Is projected to consume $2-$5 Million per year, saving the customer a tremendous amount of money for currently used translator costs</a:t>
            </a:r>
          </a:p>
          <a:p>
            <a:pPr marL="0" indent="0">
              <a:buFont typeface="Arial" panose="020B0604020202020204" pitchFamily="34" charset="0"/>
              <a:buNone/>
            </a:pPr>
            <a:endParaRPr lang="en-US" dirty="0"/>
          </a:p>
          <a:p>
            <a:r>
              <a:rPr lang="en-US" b="1" dirty="0"/>
              <a:t>Facial Verification/Identification:</a:t>
            </a:r>
          </a:p>
          <a:p>
            <a:pPr marL="171450" indent="-171450">
              <a:buFont typeface="Arial" panose="020B0604020202020204" pitchFamily="34" charset="0"/>
              <a:buChar char="•"/>
            </a:pPr>
            <a:r>
              <a:rPr lang="en-US" b="0" dirty="0"/>
              <a:t>From the border visit, found the need for facial recognition. Needs: </a:t>
            </a:r>
          </a:p>
          <a:p>
            <a:pPr marL="628650" lvl="1" indent="-171450">
              <a:buFont typeface="Arial" panose="020B0604020202020204" pitchFamily="34" charset="0"/>
              <a:buChar char="•"/>
            </a:pPr>
            <a:r>
              <a:rPr lang="en-US" b="0" dirty="0"/>
              <a:t>Verifying persons at border crossings against known materials, such as images from drivers licenses, GOES, or other databases to accept/reject semi-automated border and customs crossings</a:t>
            </a:r>
          </a:p>
          <a:p>
            <a:pPr marL="628650" lvl="1" indent="-171450">
              <a:buFont typeface="Arial" panose="020B0604020202020204" pitchFamily="34" charset="0"/>
              <a:buChar char="•"/>
            </a:pPr>
            <a:r>
              <a:rPr lang="en-US" b="0" dirty="0"/>
              <a:t>Identifying unknown persons against a database of known “Persons of interest” to flag for agent safety or law enforcement purposes</a:t>
            </a:r>
          </a:p>
          <a:p>
            <a:pPr marL="171450" lvl="0" indent="-171450">
              <a:buFont typeface="Arial" panose="020B0604020202020204" pitchFamily="34" charset="0"/>
              <a:buChar char="•"/>
            </a:pPr>
            <a:r>
              <a:rPr lang="en-US" b="0" dirty="0"/>
              <a:t>Additionally, found second compelling need from Customs, mandated by Congress to automate crossings with biometrics – fully funded as a line item by Congress</a:t>
            </a:r>
          </a:p>
          <a:p>
            <a:pPr marL="628650" lvl="1" indent="-171450">
              <a:buFont typeface="Arial" panose="020B0604020202020204" pitchFamily="34" charset="0"/>
              <a:buChar char="•"/>
            </a:pPr>
            <a:r>
              <a:rPr lang="en-US" b="0" dirty="0"/>
              <a:t>Found that they have spent tens of millions developing custom solutions</a:t>
            </a:r>
          </a:p>
          <a:p>
            <a:pPr marL="628650" lvl="1" indent="-171450">
              <a:buFont typeface="Arial" panose="020B0604020202020204" pitchFamily="34" charset="0"/>
              <a:buChar char="•"/>
            </a:pPr>
            <a:r>
              <a:rPr lang="en-US" b="0" dirty="0"/>
              <a:t>We demonstrated how we can do the same with just an internet connection and a small amount of funding</a:t>
            </a:r>
          </a:p>
          <a:p>
            <a:pPr marL="171450" lvl="0" indent="-171450">
              <a:buFont typeface="Arial" panose="020B0604020202020204" pitchFamily="34" charset="0"/>
              <a:buChar char="•"/>
            </a:pPr>
            <a:r>
              <a:rPr lang="en-US" b="0" dirty="0"/>
              <a:t>Worked with Cognitive Services PMs to discuss capabilities and limitations. When we started, limitations were at the 1K persons mark. </a:t>
            </a:r>
          </a:p>
          <a:p>
            <a:pPr marL="628650" lvl="1" indent="-171450">
              <a:buFont typeface="Arial" panose="020B0604020202020204" pitchFamily="34" charset="0"/>
              <a:buChar char="•"/>
            </a:pPr>
            <a:r>
              <a:rPr lang="en-US" b="0" dirty="0"/>
              <a:t>PMs have lifted this to 1 Million individuals who are now able to be identified using just one subscription key</a:t>
            </a:r>
          </a:p>
          <a:p>
            <a:pPr marL="171450" lvl="0" indent="-171450">
              <a:buFont typeface="Arial" panose="020B0604020202020204" pitchFamily="34" charset="0"/>
              <a:buChar char="•"/>
            </a:pPr>
            <a:r>
              <a:rPr lang="en-US" b="0" dirty="0"/>
              <a:t>This work, between the two projects, would easily consume $6M+ of Azure services each year, based on &gt;1M transactions per day</a:t>
            </a:r>
          </a:p>
          <a:p>
            <a:endParaRPr lang="en-US" dirty="0"/>
          </a:p>
          <a:p>
            <a:r>
              <a:rPr lang="en-US" b="1" dirty="0"/>
              <a:t>AI Bot Tech:</a:t>
            </a:r>
          </a:p>
          <a:p>
            <a:pPr marL="171450" indent="-171450">
              <a:buFont typeface="Arial" panose="020B0604020202020204" pitchFamily="34" charset="0"/>
              <a:buChar char="•"/>
            </a:pPr>
            <a:r>
              <a:rPr lang="en-US" b="0" dirty="0"/>
              <a:t>Another artificial intelligence project we have been pursuing within the last three weeks is the usage of the bot framework</a:t>
            </a:r>
          </a:p>
          <a:p>
            <a:pPr marL="171450" indent="-171450">
              <a:buFont typeface="Arial" panose="020B0604020202020204" pitchFamily="34" charset="0"/>
              <a:buChar char="•"/>
            </a:pPr>
            <a:r>
              <a:rPr lang="en-US" b="0" dirty="0"/>
              <a:t>This technology has been demonstrated for a multitude of purposes – but to accomplish the need of reducing simple human tasks. We have proposed a few ways which we can automate typical human behavior and tasks -- </a:t>
            </a:r>
          </a:p>
          <a:p>
            <a:pPr marL="628650" lvl="1" indent="-171450">
              <a:buFont typeface="Arial" panose="020B0604020202020204" pitchFamily="34" charset="0"/>
              <a:buChar char="•"/>
            </a:pPr>
            <a:r>
              <a:rPr lang="en-US" b="0" dirty="0"/>
              <a:t>HR: How to automate and replace simple lookups or document references, status of job changes, etc.</a:t>
            </a:r>
          </a:p>
          <a:p>
            <a:pPr marL="628650" lvl="1" indent="-171450">
              <a:buFont typeface="Arial" panose="020B0604020202020204" pitchFamily="34" charset="0"/>
              <a:buChar char="•"/>
            </a:pPr>
            <a:r>
              <a:rPr lang="en-US" b="0" dirty="0"/>
              <a:t>Public-facing: </a:t>
            </a:r>
          </a:p>
          <a:p>
            <a:pPr marL="1085850" lvl="2" indent="-171450">
              <a:buFont typeface="Arial" panose="020B0604020202020204" pitchFamily="34" charset="0"/>
              <a:buChar char="•"/>
            </a:pPr>
            <a:r>
              <a:rPr lang="en-US" b="0" dirty="0"/>
              <a:t>GOES – addressing how the public can use simple lookups related to legal border crossings, how to deal with bringing goods across the border, etc. </a:t>
            </a:r>
          </a:p>
          <a:p>
            <a:pPr marL="1085850" lvl="2" indent="-171450">
              <a:buFont typeface="Arial" panose="020B0604020202020204" pitchFamily="34" charset="0"/>
              <a:buChar char="•"/>
            </a:pPr>
            <a:r>
              <a:rPr lang="en-US" b="0" dirty="0"/>
              <a:t>HR -- for applying to the agency, status of applications, process lookup, etc.</a:t>
            </a:r>
          </a:p>
          <a:p>
            <a:pPr marL="1085850" lvl="2" indent="-171450">
              <a:buFont typeface="Arial" panose="020B0604020202020204" pitchFamily="34" charset="0"/>
              <a:buChar char="•"/>
            </a:pPr>
            <a:endParaRPr lang="en-US" b="0" dirty="0"/>
          </a:p>
          <a:p>
            <a:pPr marL="0" indent="0">
              <a:buFont typeface="Arial" panose="020B0604020202020204" pitchFamily="34" charset="0"/>
              <a:buNone/>
            </a:pPr>
            <a:endParaRPr lang="en-US" b="1" dirty="0"/>
          </a:p>
          <a:p>
            <a:endParaRPr lang="en-US" b="1"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5C127-CB05-47B6-8D1E-7BC74A68F50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17 5:2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017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sz="half" idx="10"/>
          </p:nvPr>
        </p:nvSpPr>
        <p:spPr>
          <a:xfrm>
            <a:off x="408783" y="8857094"/>
            <a:ext cx="457992" cy="10772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87E92EA-A48B-4493-B05B-7F0FA780D791}" type="datetime1">
              <a:rPr kumimoji="0" lang="en-US" sz="700" b="0" i="0" u="none" strike="noStrike" kern="1200" cap="none" spc="0" normalizeH="0" baseline="0" noProof="0" smtClean="0">
                <a:ln>
                  <a:noFill/>
                </a:ln>
                <a:solidFill>
                  <a:srgbClr val="EEECE1"/>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2017</a:t>
            </a:fld>
            <a:endParaRPr kumimoji="0" lang="en-US" sz="700" b="0" i="0" u="none" strike="noStrike" kern="1200" cap="none" spc="0" normalizeH="0" baseline="0" noProof="0" dirty="0">
              <a:ln>
                <a:noFill/>
              </a:ln>
              <a:solidFill>
                <a:srgbClr val="EEECE1"/>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899320" y="8855392"/>
            <a:ext cx="2113755" cy="107722"/>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EEECE1"/>
              </a:solidFill>
              <a:effectLst/>
              <a:uLnTx/>
              <a:uFillTx/>
              <a:latin typeface="Calibri"/>
              <a:ea typeface="+mn-ea"/>
              <a:cs typeface="+mn-cs"/>
            </a:endParaRPr>
          </a:p>
        </p:txBody>
      </p:sp>
      <p:sp>
        <p:nvSpPr>
          <p:cNvPr id="6" name="Slide Number Placeholder 5"/>
          <p:cNvSpPr>
            <a:spLocks noGrp="1"/>
          </p:cNvSpPr>
          <p:nvPr>
            <p:ph type="sldNum" sz="quarter" idx="12"/>
          </p:nvPr>
        </p:nvSpPr>
        <p:spPr>
          <a:xfrm>
            <a:off x="167484" y="8855392"/>
            <a:ext cx="227012" cy="10772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FDC03B3-C813-4740-AC54-1DFF1500E310}" type="slidenum">
              <a:rPr kumimoji="0" lang="en-US" sz="700" b="0" i="0" u="none" strike="noStrike" kern="1200" cap="none" spc="0" normalizeH="0" baseline="0" noProof="0" smtClean="0">
                <a:ln>
                  <a:noFill/>
                </a:ln>
                <a:solidFill>
                  <a:srgbClr val="EEECE1"/>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r>
              <a:rPr kumimoji="0" lang="en-US" sz="700" b="0" i="0" u="none" strike="noStrike" kern="1200" cap="none" spc="0" normalizeH="0" baseline="0" noProof="0" dirty="0">
                <a:ln>
                  <a:noFill/>
                </a:ln>
                <a:solidFill>
                  <a:srgbClr val="EEECE1"/>
                </a:solidFill>
                <a:effectLst/>
                <a:uLnTx/>
                <a:uFillTx/>
                <a:latin typeface="Segoe UI" pitchFamily="34" charset="0"/>
                <a:ea typeface="+mn-ea"/>
                <a:cs typeface="+mn-cs"/>
              </a:rPr>
              <a:t> |</a:t>
            </a:r>
          </a:p>
        </p:txBody>
      </p:sp>
    </p:spTree>
    <p:extLst>
      <p:ext uri="{BB962C8B-B14F-4D97-AF65-F5344CB8AC3E}">
        <p14:creationId xmlns:p14="http://schemas.microsoft.com/office/powerpoint/2010/main" val="28069050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 2016 NetApp, Inc. All rights reserved. NetApp Proprietary – Limited Use Only</a:t>
            </a:r>
          </a:p>
        </p:txBody>
      </p:sp>
      <p:sp>
        <p:nvSpPr>
          <p:cNvPr id="5" name="Slide Number Placeholder 4"/>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6AA2537-0790-4789-A16C-397C663A333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5816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10"/>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 2016 NetApp, Inc. All rights reserved. NetApp Proprietary – Limited Use Only</a:t>
            </a:r>
          </a:p>
        </p:txBody>
      </p:sp>
      <p:sp>
        <p:nvSpPr>
          <p:cNvPr id="5" name="Slide Number Placeholder 4"/>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6AA2537-0790-4789-A16C-397C663A333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265459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10"/>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 2016 NetApp, Inc. All rights reserved. NetApp Proprietary – Limited Use Only</a:t>
            </a:r>
          </a:p>
        </p:txBody>
      </p:sp>
      <p:sp>
        <p:nvSpPr>
          <p:cNvPr id="5" name="Slide Number Placeholder 4"/>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6AA2537-0790-4789-A16C-397C663A333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03842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AEC42CA-6F07-A847-9461-B3086AB8982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8621466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 2016 NetApp, Inc. All rights reserved. NetApp Proprietary – Limited Use Only</a:t>
            </a:r>
          </a:p>
        </p:txBody>
      </p:sp>
      <p:sp>
        <p:nvSpPr>
          <p:cNvPr id="5" name="Slide Number Placeholder 4"/>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6AA2537-0790-4789-A16C-397C663A333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058352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endParaRPr lang="en-US" dirty="0"/>
          </a:p>
        </p:txBody>
      </p:sp>
      <p:sp>
        <p:nvSpPr>
          <p:cNvPr id="4" name="Footer Placeholder 3"/>
          <p:cNvSpPr>
            <a:spLocks noGrp="1"/>
          </p:cNvSpPr>
          <p:nvPr>
            <p:ph type="ftr" sz="quarter" idx="10"/>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 2016 NetApp, Inc. All rights reserved. NetApp Proprietary – Limited Use Only</a:t>
            </a:r>
          </a:p>
        </p:txBody>
      </p:sp>
      <p:sp>
        <p:nvSpPr>
          <p:cNvPr id="5" name="Slide Number Placeholder 4"/>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6AA2537-0790-4789-A16C-397C663A333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596160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Footer Placeholder 3"/>
          <p:cNvSpPr>
            <a:spLocks noGrp="1"/>
          </p:cNvSpPr>
          <p:nvPr>
            <p:ph type="ftr" sz="quarter" idx="10"/>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 2015 NetApp, Inc. All rights reserved. NetApp Proprietary – Limited Use Only</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6AA2537-0790-4789-A16C-397C663A333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5010695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 2016 NetApp, Inc. All rights reserved. NetApp Proprietary – Limited Use Only</a:t>
            </a:r>
          </a:p>
        </p:txBody>
      </p:sp>
      <p:sp>
        <p:nvSpPr>
          <p:cNvPr id="5" name="Slide Number Placeholder 4"/>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6AA2537-0790-4789-A16C-397C663A333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3528126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 2016 NetApp, Inc. All rights reserved. NetApp Proprietary – Limited Use Only</a:t>
            </a:r>
          </a:p>
        </p:txBody>
      </p:sp>
      <p:sp>
        <p:nvSpPr>
          <p:cNvPr id="5" name="Slide Number Placeholder 4"/>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6AA2537-0790-4789-A16C-397C663A333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02320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dirty="0"/>
          </a:p>
          <a:p>
            <a:r>
              <a:rPr lang="en-US" sz="1200" kern="1200" dirty="0">
                <a:solidFill>
                  <a:schemeClr val="tx1"/>
                </a:solidFill>
                <a:effectLst/>
                <a:latin typeface="+mn-lt"/>
                <a:ea typeface="+mn-ea"/>
                <a:cs typeface="+mn-cs"/>
              </a:rPr>
              <a:t> </a:t>
            </a:r>
          </a:p>
          <a:p>
            <a:r>
              <a:rPr lang="en-US" sz="1200" b="1" u="sng" kern="1200" dirty="0">
                <a:solidFill>
                  <a:schemeClr val="tx1"/>
                </a:solidFill>
                <a:effectLst/>
                <a:latin typeface="+mn-lt"/>
                <a:ea typeface="+mn-ea"/>
                <a:cs typeface="+mn-cs"/>
              </a:rPr>
              <a:t>Approach with the PGs</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ree months ago, none of this was possible. Why? Cognitive Services, our AI capabilities, were not on any sovereign cloud deployment, only commercial.</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fter returning from the Tucson Border Patrol trip, we began by discussing the project with old Services colleagues who had experience deploying Translator on-</a:t>
            </a:r>
            <a:r>
              <a:rPr lang="en-US" sz="1200" kern="1200" dirty="0" err="1">
                <a:solidFill>
                  <a:schemeClr val="tx1"/>
                </a:solidFill>
                <a:effectLst/>
                <a:latin typeface="+mn-lt"/>
                <a:ea typeface="+mn-ea"/>
                <a:cs typeface="+mn-cs"/>
              </a:rPr>
              <a:t>prem</a:t>
            </a:r>
            <a:r>
              <a:rPr lang="en-US" sz="1200" kern="1200" dirty="0">
                <a:solidFill>
                  <a:schemeClr val="tx1"/>
                </a:solidFill>
                <a:effectLst/>
                <a:latin typeface="+mn-lt"/>
                <a:ea typeface="+mn-ea"/>
                <a:cs typeface="+mn-cs"/>
              </a:rPr>
              <a:t>, discussing the findings of the trip, and how we wanted this capability in Azure Government for our customer’s us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Executive leadership was interested in the use cases, as well as the amount of revenue that could potentially be generated by this offering.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e also saw this as an opportunity to use Artificial Intelligence as the </a:t>
            </a:r>
            <a:r>
              <a:rPr lang="en-US" sz="1200" b="1" kern="1200" dirty="0">
                <a:solidFill>
                  <a:schemeClr val="tx1"/>
                </a:solidFill>
                <a:effectLst/>
                <a:latin typeface="+mn-lt"/>
                <a:ea typeface="+mn-ea"/>
                <a:cs typeface="+mn-cs"/>
              </a:rPr>
              <a:t>gateway</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to other Azure consumption</a:t>
            </a:r>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b="1" u="sng" kern="1200" dirty="0">
                <a:solidFill>
                  <a:schemeClr val="tx1"/>
                </a:solidFill>
                <a:effectLst/>
                <a:latin typeface="+mn-lt"/>
                <a:ea typeface="+mn-ea"/>
                <a:cs typeface="+mn-cs"/>
              </a:rPr>
              <a:t>Services to MAG</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Plenty of roadblocks that needed to be resolved:</a:t>
            </a:r>
          </a:p>
          <a:p>
            <a:pPr lvl="1"/>
            <a:r>
              <a:rPr lang="en-US" sz="1200" kern="1200" dirty="0">
                <a:solidFill>
                  <a:schemeClr val="tx1"/>
                </a:solidFill>
                <a:effectLst/>
                <a:latin typeface="+mn-lt"/>
                <a:ea typeface="+mn-ea"/>
                <a:cs typeface="+mn-cs"/>
              </a:rPr>
              <a:t>Ring 0 services needed to be established</a:t>
            </a:r>
          </a:p>
          <a:p>
            <a:pPr lvl="1"/>
            <a:r>
              <a:rPr lang="en-US" sz="1200" kern="1200" dirty="0">
                <a:solidFill>
                  <a:schemeClr val="tx1"/>
                </a:solidFill>
                <a:effectLst/>
                <a:latin typeface="+mn-lt"/>
                <a:ea typeface="+mn-ea"/>
                <a:cs typeface="+mn-cs"/>
              </a:rPr>
              <a:t>Hardware needed to be procured and configured</a:t>
            </a:r>
          </a:p>
          <a:p>
            <a:pPr lvl="1"/>
            <a:r>
              <a:rPr lang="en-US" sz="1200" kern="1200" dirty="0">
                <a:solidFill>
                  <a:schemeClr val="tx1"/>
                </a:solidFill>
                <a:effectLst/>
                <a:latin typeface="+mn-lt"/>
                <a:ea typeface="+mn-ea"/>
                <a:cs typeface="+mn-cs"/>
              </a:rPr>
              <a:t>Services needed to be tested and installed in MAG</a:t>
            </a:r>
          </a:p>
          <a:p>
            <a:pPr lvl="1"/>
            <a:r>
              <a:rPr lang="en-US" sz="1200" kern="1200" dirty="0">
                <a:solidFill>
                  <a:schemeClr val="tx1"/>
                </a:solidFill>
                <a:effectLst/>
                <a:latin typeface="+mn-lt"/>
                <a:ea typeface="+mn-ea"/>
                <a:cs typeface="+mn-cs"/>
              </a:rPr>
              <a:t>Lots of involvement with the various products (Vision, Speech, Translator API categories)</a:t>
            </a:r>
          </a:p>
          <a:p>
            <a:pPr lvl="0"/>
            <a:r>
              <a:rPr lang="en-US" sz="1200" kern="1200" dirty="0">
                <a:solidFill>
                  <a:schemeClr val="tx1"/>
                </a:solidFill>
                <a:effectLst/>
                <a:latin typeface="+mn-lt"/>
                <a:ea typeface="+mn-ea"/>
                <a:cs typeface="+mn-cs"/>
              </a:rPr>
              <a:t>Early involvement for us was as crucial as the slow speed of government allowed us to move quickly on getting these services deployed by mid-Q3. </a:t>
            </a:r>
          </a:p>
          <a:p>
            <a:r>
              <a:rPr lang="en-US" sz="1200" b="1" u="none" strike="noStrike"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Scoping solution and navigating roadblocks</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Simultaneously, we were also running meetings with several of the product group PMs in Redmond to describe our plans, needs, and the existing limitations of the products available.</a:t>
            </a:r>
          </a:p>
          <a:p>
            <a:pPr lvl="1"/>
            <a:r>
              <a:rPr lang="en-US" sz="1200" kern="1200" dirty="0">
                <a:solidFill>
                  <a:schemeClr val="tx1"/>
                </a:solidFill>
                <a:effectLst/>
                <a:latin typeface="+mn-lt"/>
                <a:ea typeface="+mn-ea"/>
                <a:cs typeface="+mn-cs"/>
              </a:rPr>
              <a:t>Maintaining continuous contact and involvement with the PG PMs.</a:t>
            </a:r>
          </a:p>
          <a:p>
            <a:pPr lvl="1"/>
            <a:r>
              <a:rPr lang="en-US" sz="1200" kern="1200" dirty="0">
                <a:solidFill>
                  <a:schemeClr val="tx1"/>
                </a:solidFill>
                <a:effectLst/>
                <a:latin typeface="+mn-lt"/>
                <a:ea typeface="+mn-ea"/>
                <a:cs typeface="+mn-cs"/>
              </a:rPr>
              <a:t>Found they really wanted to hear about how the products are being used, the use case scenarios, and the pain points we were encountering with the customers</a:t>
            </a:r>
          </a:p>
          <a:p>
            <a:pPr lvl="0"/>
            <a:r>
              <a:rPr lang="en-US" sz="1200" kern="1200" dirty="0">
                <a:solidFill>
                  <a:schemeClr val="tx1"/>
                </a:solidFill>
                <a:effectLst/>
                <a:latin typeface="+mn-lt"/>
                <a:ea typeface="+mn-ea"/>
                <a:cs typeface="+mn-cs"/>
              </a:rPr>
              <a:t>Some of the issues we addressed proactively: </a:t>
            </a:r>
          </a:p>
          <a:p>
            <a:pPr lvl="1"/>
            <a:r>
              <a:rPr lang="en-US" sz="1200" kern="1200" dirty="0">
                <a:solidFill>
                  <a:schemeClr val="tx1"/>
                </a:solidFill>
                <a:effectLst/>
                <a:latin typeface="+mn-lt"/>
                <a:ea typeface="+mn-ea"/>
                <a:cs typeface="+mn-cs"/>
              </a:rPr>
              <a:t>Face API – 1K limitation at the start of talking about solution. We are now up to 1M for verification (Not yet for recognition), mostly in part to compete with Amazon’s </a:t>
            </a:r>
            <a:r>
              <a:rPr lang="en-US" sz="1200" kern="1200" dirty="0" err="1">
                <a:solidFill>
                  <a:schemeClr val="tx1"/>
                </a:solidFill>
                <a:effectLst/>
                <a:latin typeface="+mn-lt"/>
                <a:ea typeface="+mn-ea"/>
                <a:cs typeface="+mn-cs"/>
              </a:rPr>
              <a:t>Rekognition</a:t>
            </a:r>
            <a:r>
              <a:rPr lang="en-US" sz="1200" kern="1200" dirty="0">
                <a:solidFill>
                  <a:schemeClr val="tx1"/>
                </a:solidFill>
                <a:effectLst/>
                <a:latin typeface="+mn-lt"/>
                <a:ea typeface="+mn-ea"/>
                <a:cs typeface="+mn-cs"/>
              </a:rPr>
              <a:t> service</a:t>
            </a:r>
          </a:p>
          <a:p>
            <a:pPr lvl="1"/>
            <a:r>
              <a:rPr lang="en-US" sz="1200" kern="1200" dirty="0">
                <a:solidFill>
                  <a:schemeClr val="tx1"/>
                </a:solidFill>
                <a:effectLst/>
                <a:latin typeface="+mn-lt"/>
                <a:ea typeface="+mn-ea"/>
                <a:cs typeface="+mn-cs"/>
              </a:rPr>
              <a:t>Speaker API – </a:t>
            </a:r>
          </a:p>
          <a:p>
            <a:pPr lvl="2"/>
            <a:r>
              <a:rPr lang="en-US" sz="1200" kern="1200" dirty="0">
                <a:solidFill>
                  <a:schemeClr val="tx1"/>
                </a:solidFill>
                <a:effectLst/>
                <a:latin typeface="+mn-lt"/>
                <a:ea typeface="+mn-ea"/>
                <a:cs typeface="+mn-cs"/>
              </a:rPr>
              <a:t>1K limitation still exists, but they are aware of the issue and needs of the customer. Working to address this</a:t>
            </a:r>
          </a:p>
          <a:p>
            <a:pPr lvl="1"/>
            <a:r>
              <a:rPr lang="en-US" sz="1200" kern="1200" dirty="0">
                <a:solidFill>
                  <a:schemeClr val="tx1"/>
                </a:solidFill>
                <a:effectLst/>
                <a:latin typeface="+mn-lt"/>
                <a:ea typeface="+mn-ea"/>
                <a:cs typeface="+mn-cs"/>
              </a:rPr>
              <a:t>Translator – </a:t>
            </a:r>
          </a:p>
          <a:p>
            <a:pPr lvl="2"/>
            <a:r>
              <a:rPr lang="en-US" sz="1200" kern="1200" dirty="0">
                <a:solidFill>
                  <a:schemeClr val="tx1"/>
                </a:solidFill>
                <a:effectLst/>
                <a:latin typeface="+mn-lt"/>
                <a:ea typeface="+mn-ea"/>
                <a:cs typeface="+mn-cs"/>
              </a:rPr>
              <a:t>Limitation of certain languages. </a:t>
            </a:r>
          </a:p>
          <a:p>
            <a:pPr lvl="2"/>
            <a:r>
              <a:rPr lang="en-US" sz="1200" kern="1200" dirty="0">
                <a:solidFill>
                  <a:schemeClr val="tx1"/>
                </a:solidFill>
                <a:effectLst/>
                <a:latin typeface="+mn-lt"/>
                <a:ea typeface="+mn-ea"/>
                <a:cs typeface="+mn-cs"/>
              </a:rPr>
              <a:t>Costs are transparent and we may be working to address this in conjunction with the customer</a:t>
            </a:r>
          </a:p>
          <a:p>
            <a:pPr lvl="2"/>
            <a:r>
              <a:rPr lang="en-US" sz="1200" kern="1200" dirty="0">
                <a:solidFill>
                  <a:schemeClr val="tx1"/>
                </a:solidFill>
                <a:effectLst/>
                <a:latin typeface="+mn-lt"/>
                <a:ea typeface="+mn-ea"/>
                <a:cs typeface="+mn-cs"/>
              </a:rPr>
              <a:t>Mapping dependencies of services and how they operate</a:t>
            </a:r>
          </a:p>
          <a:p>
            <a:pPr lvl="2"/>
            <a:r>
              <a:rPr lang="en-US" sz="1200" kern="1200" dirty="0">
                <a:solidFill>
                  <a:schemeClr val="tx1"/>
                </a:solidFill>
                <a:effectLst/>
                <a:latin typeface="+mn-lt"/>
                <a:ea typeface="+mn-ea"/>
                <a:cs typeface="+mn-cs"/>
              </a:rPr>
              <a:t>Working with MAG PG to ensure that Federally-compliant products are deployed to ensure that we do not log audio or text transcripts for future MSFT modeling and ML purposes</a:t>
            </a:r>
          </a:p>
          <a:p>
            <a:pPr lvl="0"/>
            <a:r>
              <a:rPr lang="en-US" sz="1200" kern="1200" dirty="0">
                <a:solidFill>
                  <a:schemeClr val="tx1"/>
                </a:solidFill>
                <a:effectLst/>
                <a:latin typeface="+mn-lt"/>
                <a:ea typeface="+mn-ea"/>
                <a:cs typeface="+mn-cs"/>
              </a:rPr>
              <a:t>Legal concerns</a:t>
            </a:r>
          </a:p>
          <a:p>
            <a:pPr lvl="1"/>
            <a:r>
              <a:rPr lang="en-US" sz="1200" kern="1200" dirty="0">
                <a:solidFill>
                  <a:schemeClr val="tx1"/>
                </a:solidFill>
                <a:effectLst/>
                <a:latin typeface="+mn-lt"/>
                <a:ea typeface="+mn-ea"/>
                <a:cs typeface="+mn-cs"/>
              </a:rPr>
              <a:t>CELA involvement - PGs working to establish privacy from design (Lack of naming, rather, GUID usage)</a:t>
            </a:r>
          </a:p>
          <a:p>
            <a:pPr lvl="0"/>
            <a:r>
              <a:rPr lang="en-US" sz="1200" kern="1200" dirty="0">
                <a:solidFill>
                  <a:schemeClr val="tx1"/>
                </a:solidFill>
                <a:effectLst/>
                <a:latin typeface="+mn-lt"/>
                <a:ea typeface="+mn-ea"/>
                <a:cs typeface="+mn-cs"/>
              </a:rPr>
              <a:t>Other:</a:t>
            </a:r>
          </a:p>
          <a:p>
            <a:pPr lvl="1"/>
            <a:r>
              <a:rPr lang="en-US" sz="1200" kern="1200" dirty="0">
                <a:solidFill>
                  <a:schemeClr val="tx1"/>
                </a:solidFill>
                <a:effectLst/>
                <a:latin typeface="+mn-lt"/>
                <a:ea typeface="+mn-ea"/>
                <a:cs typeface="+mn-cs"/>
              </a:rPr>
              <a:t>Find customer’s pain points – and then throw tech at their issues to resolve the problems. Focus on automating manual labor and tasks.</a:t>
            </a:r>
          </a:p>
          <a:p>
            <a:pPr marL="171450" lvl="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B5F18F-5D88-4E17-BC1B-DA11409C0F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308710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 2016 NetApp, Inc. All rights reserved. NetApp Proprietary – Limited Use Only</a:t>
            </a:r>
          </a:p>
        </p:txBody>
      </p:sp>
      <p:sp>
        <p:nvSpPr>
          <p:cNvPr id="5" name="Slide Number Placeholder 4"/>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6AA2537-0790-4789-A16C-397C663A333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204480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0"/>
        <p:cNvGrpSpPr/>
        <p:nvPr/>
      </p:nvGrpSpPr>
      <p:grpSpPr>
        <a:xfrm>
          <a:off x="0" y="0"/>
          <a:ext cx="0" cy="0"/>
          <a:chOff x="0" y="0"/>
          <a:chExt cx="0" cy="0"/>
        </a:xfrm>
      </p:grpSpPr>
      <p:sp>
        <p:nvSpPr>
          <p:cNvPr id="841" name="Shape 84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842" name="Shape 842"/>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151635029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6"/>
        <p:cNvGrpSpPr/>
        <p:nvPr/>
      </p:nvGrpSpPr>
      <p:grpSpPr>
        <a:xfrm>
          <a:off x="0" y="0"/>
          <a:ext cx="0" cy="0"/>
          <a:chOff x="0" y="0"/>
          <a:chExt cx="0" cy="0"/>
        </a:xfrm>
      </p:grpSpPr>
      <p:sp>
        <p:nvSpPr>
          <p:cNvPr id="847" name="Shape 84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848" name="Shape 848"/>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38216462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1"/>
        <p:cNvGrpSpPr/>
        <p:nvPr/>
      </p:nvGrpSpPr>
      <p:grpSpPr>
        <a:xfrm>
          <a:off x="0" y="0"/>
          <a:ext cx="0" cy="0"/>
          <a:chOff x="0" y="0"/>
          <a:chExt cx="0" cy="0"/>
        </a:xfrm>
      </p:grpSpPr>
      <p:sp>
        <p:nvSpPr>
          <p:cNvPr id="862" name="Shape 862"/>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863" name="Shape 863"/>
          <p:cNvSpPr txBox="1">
            <a:spLocks noGrp="1"/>
          </p:cNvSpPr>
          <p:nvPr>
            <p:ph type="body" idx="1"/>
          </p:nvPr>
        </p:nvSpPr>
        <p:spPr>
          <a:xfrm>
            <a:off x="685800" y="4400550"/>
            <a:ext cx="5486400" cy="3600600"/>
          </a:xfrm>
          <a:prstGeom prst="rect">
            <a:avLst/>
          </a:prstGeom>
          <a:noFill/>
          <a:ln>
            <a:noFill/>
          </a:ln>
        </p:spPr>
        <p:txBody>
          <a:bodyPr lIns="91425" tIns="45700" rIns="91425" bIns="45700" anchor="t" anchorCtr="0">
            <a:noAutofit/>
          </a:bodyPr>
          <a:lstStyle/>
          <a:p>
            <a:pPr marL="0" marR="0" lvl="0" indent="0" algn="l" rtl="0">
              <a:spcBef>
                <a:spcPts val="0"/>
              </a:spcBef>
              <a:buNone/>
            </a:pPr>
            <a:endParaRPr sz="1200" b="0" i="0" u="none" strike="noStrike" cap="none">
              <a:solidFill>
                <a:schemeClr val="dk1"/>
              </a:solidFill>
              <a:latin typeface="Calibri"/>
              <a:ea typeface="Calibri"/>
              <a:cs typeface="Calibri"/>
              <a:sym typeface="Calibri"/>
            </a:endParaRPr>
          </a:p>
        </p:txBody>
      </p:sp>
      <p:sp>
        <p:nvSpPr>
          <p:cNvPr id="864" name="Shape 864"/>
          <p:cNvSpPr txBox="1">
            <a:spLocks noGrp="1"/>
          </p:cNvSpPr>
          <p:nvPr>
            <p:ph type="sldNum" idx="12"/>
          </p:nvPr>
        </p:nvSpPr>
        <p:spPr>
          <a:xfrm>
            <a:off x="3884612" y="8685213"/>
            <a:ext cx="2971800" cy="458700"/>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ct val="25000"/>
              <a:buFont typeface="Calibri"/>
              <a:buNone/>
              <a:tabLst/>
              <a:defRPr/>
            </a:pPr>
            <a:fld id="{00000000-1234-1234-1234-123412341234}" type="slidenum">
              <a:rPr kumimoji="0" lang="en"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ct val="25000"/>
                <a:buFont typeface="Calibri"/>
                <a:buNone/>
                <a:tabLst/>
                <a:defRPr/>
              </a:pPr>
              <a:t>84</a:t>
            </a:fld>
            <a:endParaRPr kumimoji="0" lang="en"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23879524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6"/>
        <p:cNvGrpSpPr/>
        <p:nvPr/>
      </p:nvGrpSpPr>
      <p:grpSpPr>
        <a:xfrm>
          <a:off x="0" y="0"/>
          <a:ext cx="0" cy="0"/>
          <a:chOff x="0" y="0"/>
          <a:chExt cx="0" cy="0"/>
        </a:xfrm>
      </p:grpSpPr>
      <p:sp>
        <p:nvSpPr>
          <p:cNvPr id="877" name="Shape 877"/>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878" name="Shape 878"/>
          <p:cNvSpPr txBox="1">
            <a:spLocks noGrp="1"/>
          </p:cNvSpPr>
          <p:nvPr>
            <p:ph type="body" idx="1"/>
          </p:nvPr>
        </p:nvSpPr>
        <p:spPr>
          <a:xfrm>
            <a:off x="685800" y="4400550"/>
            <a:ext cx="5486400" cy="3600600"/>
          </a:xfrm>
          <a:prstGeom prst="rect">
            <a:avLst/>
          </a:prstGeom>
          <a:noFill/>
          <a:ln>
            <a:noFill/>
          </a:ln>
        </p:spPr>
        <p:txBody>
          <a:bodyPr lIns="91425" tIns="45700" rIns="91425" bIns="45700" anchor="t" anchorCtr="0">
            <a:noAutofit/>
          </a:bodyPr>
          <a:lstStyle/>
          <a:p>
            <a:pPr marL="0" marR="0" lvl="0" indent="0" algn="l" rtl="0">
              <a:spcBef>
                <a:spcPts val="0"/>
              </a:spcBef>
              <a:buNone/>
            </a:pPr>
            <a:endParaRPr sz="1200" b="0" i="0" u="none" strike="noStrike" cap="none">
              <a:solidFill>
                <a:schemeClr val="dk1"/>
              </a:solidFill>
              <a:latin typeface="Calibri"/>
              <a:ea typeface="Calibri"/>
              <a:cs typeface="Calibri"/>
              <a:sym typeface="Calibri"/>
            </a:endParaRPr>
          </a:p>
        </p:txBody>
      </p:sp>
      <p:sp>
        <p:nvSpPr>
          <p:cNvPr id="879" name="Shape 879"/>
          <p:cNvSpPr txBox="1">
            <a:spLocks noGrp="1"/>
          </p:cNvSpPr>
          <p:nvPr>
            <p:ph type="hdr" idx="3"/>
          </p:nvPr>
        </p:nvSpPr>
        <p:spPr>
          <a:xfrm>
            <a:off x="0" y="0"/>
            <a:ext cx="2971800" cy="458700"/>
          </a:xfrm>
          <a:prstGeom prst="rect">
            <a:avLst/>
          </a:prstGeom>
          <a:noFill/>
          <a:ln>
            <a:noFill/>
          </a:ln>
        </p:spPr>
        <p:txBody>
          <a:bodyPr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prstClr val="black"/>
              </a:buClr>
              <a:buSzTx/>
              <a:buFont typeface="Calibri"/>
              <a:buNone/>
              <a:tabLst/>
              <a:defRPr/>
            </a:pPr>
            <a:endParaRPr kumimoji="0" sz="18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880" name="Shape 880"/>
          <p:cNvSpPr txBox="1">
            <a:spLocks noGrp="1"/>
          </p:cNvSpPr>
          <p:nvPr>
            <p:ph type="ftr" idx="11"/>
          </p:nvPr>
        </p:nvSpPr>
        <p:spPr>
          <a:xfrm>
            <a:off x="0" y="8685213"/>
            <a:ext cx="2971800" cy="458700"/>
          </a:xfrm>
          <a:prstGeom prst="rect">
            <a:avLst/>
          </a:prstGeom>
          <a:noFill/>
          <a:ln>
            <a:noFill/>
          </a:ln>
        </p:spPr>
        <p:txBody>
          <a:bodyPr lIns="91425" tIns="45700" rIns="91425" bIns="45700" anchor="b" anchorCtr="0">
            <a:noAutofit/>
          </a:bodyPr>
          <a:lstStyle/>
          <a:p>
            <a:pPr marL="571500" marR="0" lvl="0" indent="0" algn="l" defTabSz="914400" rtl="0" eaLnBrk="1" fontAlgn="auto" latinLnBrk="0" hangingPunct="1">
              <a:lnSpc>
                <a:spcPct val="100000"/>
              </a:lnSpc>
              <a:spcBef>
                <a:spcPts val="0"/>
              </a:spcBef>
              <a:spcAft>
                <a:spcPts val="0"/>
              </a:spcAft>
              <a:buClr>
                <a:srgbClr val="000000"/>
              </a:buClr>
              <a:buSzPct val="25000"/>
              <a:buFont typeface="Quattrocento Sans"/>
              <a:buNone/>
              <a:tabLst/>
              <a:defRPr/>
            </a:pPr>
            <a:r>
              <a:rPr kumimoji="0" lang="en" sz="4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 2014 Microsoft Corporation. All rights reserved. MICROSOFT MAKES NO WARRANTIES, EXPRESS, IMPLIED OR STATUTORY, AS TO THE INFORMATION IN THIS PRESENTATION.</a:t>
            </a:r>
          </a:p>
        </p:txBody>
      </p:sp>
      <p:sp>
        <p:nvSpPr>
          <p:cNvPr id="881" name="Shape 881"/>
          <p:cNvSpPr txBox="1">
            <a:spLocks noGrp="1"/>
          </p:cNvSpPr>
          <p:nvPr>
            <p:ph type="dt" idx="10"/>
          </p:nvPr>
        </p:nvSpPr>
        <p:spPr>
          <a:xfrm>
            <a:off x="3884612" y="0"/>
            <a:ext cx="2971800" cy="458700"/>
          </a:xfrm>
          <a:prstGeom prst="rect">
            <a:avLst/>
          </a:prstGeom>
          <a:noFill/>
          <a:ln>
            <a:noFill/>
          </a:ln>
        </p:spPr>
        <p:txBody>
          <a:bodyPr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ct val="25000"/>
              <a:buFont typeface="Quattrocento Sans"/>
              <a:buNone/>
              <a:tabLst/>
              <a:defRPr/>
            </a:pPr>
            <a:r>
              <a:rPr kumimoji="0" lang="en" sz="18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10/27/2016 1:47 PM</a:t>
            </a:r>
          </a:p>
        </p:txBody>
      </p:sp>
      <p:sp>
        <p:nvSpPr>
          <p:cNvPr id="882" name="Shape 882"/>
          <p:cNvSpPr txBox="1">
            <a:spLocks noGrp="1"/>
          </p:cNvSpPr>
          <p:nvPr>
            <p:ph type="sldNum" idx="12"/>
          </p:nvPr>
        </p:nvSpPr>
        <p:spPr>
          <a:xfrm>
            <a:off x="3884612" y="8685213"/>
            <a:ext cx="2971800" cy="458700"/>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ct val="25000"/>
              <a:buFont typeface="Quattrocento Sans"/>
              <a:buNone/>
              <a:tabLst/>
              <a:defRPr/>
            </a:pPr>
            <a:fld id="{00000000-1234-1234-1234-123412341234}" type="slidenum">
              <a:rPr kumimoji="0" lang="en" sz="18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pPr marL="0" marR="0" lvl="0" indent="0" algn="r" defTabSz="914400" rtl="0" eaLnBrk="1" fontAlgn="auto" latinLnBrk="0" hangingPunct="1">
                <a:lnSpc>
                  <a:spcPct val="100000"/>
                </a:lnSpc>
                <a:spcBef>
                  <a:spcPts val="0"/>
                </a:spcBef>
                <a:spcAft>
                  <a:spcPts val="0"/>
                </a:spcAft>
                <a:buClr>
                  <a:srgbClr val="000000"/>
                </a:buClr>
                <a:buSzPct val="25000"/>
                <a:buFont typeface="Quattrocento Sans"/>
                <a:buNone/>
                <a:tabLst/>
                <a:defRPr/>
              </a:pPr>
              <a:t>85</a:t>
            </a:fld>
            <a:endParaRPr kumimoji="0" lang="en" sz="18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Tree>
    <p:extLst>
      <p:ext uri="{BB962C8B-B14F-4D97-AF65-F5344CB8AC3E}">
        <p14:creationId xmlns:p14="http://schemas.microsoft.com/office/powerpoint/2010/main" val="36482268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2"/>
        <p:cNvGrpSpPr/>
        <p:nvPr/>
      </p:nvGrpSpPr>
      <p:grpSpPr>
        <a:xfrm>
          <a:off x="0" y="0"/>
          <a:ext cx="0" cy="0"/>
          <a:chOff x="0" y="0"/>
          <a:chExt cx="0" cy="0"/>
        </a:xfrm>
      </p:grpSpPr>
      <p:sp>
        <p:nvSpPr>
          <p:cNvPr id="893" name="Shape 893"/>
          <p:cNvSpPr txBox="1">
            <a:spLocks noGrp="1"/>
          </p:cNvSpPr>
          <p:nvPr>
            <p:ph type="body" idx="1"/>
          </p:nvPr>
        </p:nvSpPr>
        <p:spPr>
          <a:xfrm>
            <a:off x="777239" y="5120639"/>
            <a:ext cx="5257800" cy="3474600"/>
          </a:xfrm>
          <a:prstGeom prst="rect">
            <a:avLst/>
          </a:prstGeom>
          <a:noFill/>
          <a:ln>
            <a:noFill/>
          </a:ln>
        </p:spPr>
        <p:txBody>
          <a:bodyPr lIns="0" tIns="0" rIns="0" bIns="0" anchor="t" anchorCtr="0">
            <a:noAutofit/>
          </a:bodyPr>
          <a:lstStyle/>
          <a:p>
            <a:pPr marL="0" marR="0" lvl="0" indent="0" algn="l" rtl="0">
              <a:spcBef>
                <a:spcPts val="0"/>
              </a:spcBef>
              <a:buSzPct val="25000"/>
              <a:buNone/>
            </a:pPr>
            <a:r>
              <a:rPr lang="en" sz="1600" b="0" i="0" u="none" strike="noStrike" cap="none">
                <a:solidFill>
                  <a:srgbClr val="000000"/>
                </a:solidFill>
                <a:latin typeface="Arial"/>
                <a:ea typeface="Arial"/>
                <a:cs typeface="Arial"/>
                <a:sym typeface="Arial"/>
              </a:rPr>
              <a:t>On November 11, 2015, we announced the availability of Cloud Access for Red Hat Enterprise Linux versions 6.7+ and 7.2+; Red Hat Jboss middleware; OpenShift Enterprise by Red Hat; and Red Hat Gluster Storage.</a:t>
            </a:r>
          </a:p>
          <a:p>
            <a:pPr marL="0" marR="0" lvl="0" indent="0" algn="l" rtl="0">
              <a:spcBef>
                <a:spcPts val="0"/>
              </a:spcBef>
              <a:buSzPct val="25000"/>
              <a:buNone/>
            </a:pPr>
            <a:r>
              <a:rPr lang="en" sz="1600" b="0" i="0" u="none" strike="noStrike" cap="none">
                <a:solidFill>
                  <a:srgbClr val="000000"/>
                </a:solidFill>
                <a:latin typeface="Arial"/>
                <a:ea typeface="Arial"/>
                <a:cs typeface="Arial"/>
                <a:sym typeface="Arial"/>
              </a:rPr>
              <a:t> </a:t>
            </a:r>
          </a:p>
          <a:p>
            <a:pPr marL="0" marR="0" lvl="0" indent="0" algn="l" rtl="0">
              <a:spcBef>
                <a:spcPts val="0"/>
              </a:spcBef>
              <a:buSzPct val="25000"/>
              <a:buNone/>
            </a:pPr>
            <a:r>
              <a:rPr lang="en" sz="1600" b="0" i="0" u="none" strike="noStrike" cap="none">
                <a:solidFill>
                  <a:srgbClr val="000000"/>
                </a:solidFill>
                <a:latin typeface="Arial"/>
                <a:ea typeface="Arial"/>
                <a:cs typeface="Arial"/>
                <a:sym typeface="Arial"/>
              </a:rPr>
              <a:t>Cloud Access enables certain eligible Red Hat subscriptions to be used on eligible Certified Cloud and Service Providers, now including Azure.  With Cloud Access, customers maintain their direct business and support relationships with Red Hat, and continue to use Red Hat Satellite or the Red Hat Network to receive updates and security patches directly from Red Hat.</a:t>
            </a:r>
          </a:p>
        </p:txBody>
      </p:sp>
      <p:sp>
        <p:nvSpPr>
          <p:cNvPr id="894" name="Shape 894"/>
          <p:cNvSpPr/>
          <p:nvPr/>
        </p:nvSpPr>
        <p:spPr>
          <a:xfrm>
            <a:off x="3884760" y="8685360"/>
            <a:ext cx="2970000" cy="456900"/>
          </a:xfrm>
          <a:prstGeom prst="rect">
            <a:avLst/>
          </a:prstGeom>
          <a:noFill/>
          <a:ln>
            <a:noFill/>
          </a:ln>
        </p:spPr>
        <p:txBody>
          <a:bodyPr lIns="90000" tIns="45000" rIns="90000" bIns="450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Pct val="25000"/>
                <a:buFontTx/>
                <a:buNone/>
                <a:tabLst/>
                <a:defRPr/>
              </a:pPr>
              <a:t>86</a:t>
            </a:fld>
            <a:endParaRPr kumimoji="0" lang="en" sz="12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95" name="Shape 8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142637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5"/>
        <p:cNvGrpSpPr/>
        <p:nvPr/>
      </p:nvGrpSpPr>
      <p:grpSpPr>
        <a:xfrm>
          <a:off x="0" y="0"/>
          <a:ext cx="0" cy="0"/>
          <a:chOff x="0" y="0"/>
          <a:chExt cx="0" cy="0"/>
        </a:xfrm>
      </p:grpSpPr>
      <p:sp>
        <p:nvSpPr>
          <p:cNvPr id="906" name="Shape 906"/>
          <p:cNvSpPr txBox="1">
            <a:spLocks noGrp="1"/>
          </p:cNvSpPr>
          <p:nvPr>
            <p:ph type="body" idx="1"/>
          </p:nvPr>
        </p:nvSpPr>
        <p:spPr>
          <a:xfrm>
            <a:off x="777239" y="5212080"/>
            <a:ext cx="5257800" cy="3200400"/>
          </a:xfrm>
          <a:prstGeom prst="rect">
            <a:avLst/>
          </a:prstGeom>
          <a:noFill/>
          <a:ln>
            <a:noFill/>
          </a:ln>
        </p:spPr>
        <p:txBody>
          <a:bodyPr lIns="0" tIns="0" rIns="0" bIns="0" anchor="t" anchorCtr="0">
            <a:noAutofit/>
          </a:bodyPr>
          <a:lstStyle/>
          <a:p>
            <a:pPr marL="0" marR="0" lvl="0" indent="0" algn="l" rtl="0">
              <a:spcBef>
                <a:spcPts val="0"/>
              </a:spcBef>
              <a:buSzPct val="25000"/>
              <a:buNone/>
            </a:pPr>
            <a:r>
              <a:rPr lang="en" sz="1600" b="0" i="0" u="none" strike="noStrike" cap="none">
                <a:solidFill>
                  <a:srgbClr val="000000"/>
                </a:solidFill>
                <a:latin typeface="Arial"/>
                <a:ea typeface="Arial"/>
                <a:cs typeface="Arial"/>
                <a:sym typeface="Arial"/>
              </a:rPr>
              <a:t>Microsoft has open sourced .NET core and ASP.net.   Responding to customer and developer interest, Red Hat has worked with Microsoft on the upstream .NET framework, testing, shipping, and supporting it as part of our core offerings. </a:t>
            </a:r>
          </a:p>
          <a:p>
            <a:pPr marL="0" marR="0" lvl="0" indent="0" algn="l" rtl="0">
              <a:spcBef>
                <a:spcPts val="0"/>
              </a:spcBef>
              <a:buNone/>
            </a:pPr>
            <a:endParaRPr sz="2000" b="0" i="0" u="none" strike="noStrike" cap="none">
              <a:solidFill>
                <a:srgbClr val="000000"/>
              </a:solidFill>
              <a:latin typeface="Arial"/>
              <a:ea typeface="Arial"/>
              <a:cs typeface="Arial"/>
              <a:sym typeface="Arial"/>
            </a:endParaRPr>
          </a:p>
          <a:p>
            <a:pPr marL="0" marR="0" lvl="0" indent="0" algn="l" rtl="0">
              <a:spcBef>
                <a:spcPts val="0"/>
              </a:spcBef>
              <a:buSzPct val="25000"/>
              <a:buNone/>
            </a:pPr>
            <a:r>
              <a:rPr lang="en" sz="1600" b="0" i="0" u="none" strike="noStrike" cap="none">
                <a:solidFill>
                  <a:srgbClr val="000000"/>
                </a:solidFill>
                <a:latin typeface="Arial"/>
                <a:ea typeface="Arial"/>
                <a:cs typeface="Arial"/>
                <a:sym typeface="Arial"/>
              </a:rPr>
              <a:t>As of June 2016, .NET is available as part of Red Hat Software Collections as RPMs for Red Hat Enterprise Linux and Red Hat Enterprise Linux OpenStack Platform,  and later will be packaged as containers for integration into applications deployed on OpenShift version 3 or Red Hat Enterprise Linux Atomic Host. </a:t>
            </a:r>
          </a:p>
        </p:txBody>
      </p:sp>
      <p:sp>
        <p:nvSpPr>
          <p:cNvPr id="907" name="Shape 907"/>
          <p:cNvSpPr/>
          <p:nvPr/>
        </p:nvSpPr>
        <p:spPr>
          <a:xfrm>
            <a:off x="3884760" y="8685360"/>
            <a:ext cx="2970000" cy="456900"/>
          </a:xfrm>
          <a:prstGeom prst="rect">
            <a:avLst/>
          </a:prstGeom>
          <a:noFill/>
          <a:ln>
            <a:noFill/>
          </a:ln>
        </p:spPr>
        <p:txBody>
          <a:bodyPr lIns="90000" tIns="45000" rIns="90000" bIns="450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Pct val="25000"/>
                <a:buFontTx/>
                <a:buNone/>
                <a:tabLst/>
                <a:defRPr/>
              </a:pPr>
              <a:t>87</a:t>
            </a:fld>
            <a:endParaRPr kumimoji="0" lang="en" sz="12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08" name="Shape 90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8282916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3"/>
        <p:cNvGrpSpPr/>
        <p:nvPr/>
      </p:nvGrpSpPr>
      <p:grpSpPr>
        <a:xfrm>
          <a:off x="0" y="0"/>
          <a:ext cx="0" cy="0"/>
          <a:chOff x="0" y="0"/>
          <a:chExt cx="0" cy="0"/>
        </a:xfrm>
      </p:grpSpPr>
      <p:sp>
        <p:nvSpPr>
          <p:cNvPr id="914" name="Shape 914"/>
          <p:cNvSpPr txBox="1">
            <a:spLocks noGrp="1"/>
          </p:cNvSpPr>
          <p:nvPr>
            <p:ph type="body" idx="1"/>
          </p:nvPr>
        </p:nvSpPr>
        <p:spPr>
          <a:xfrm>
            <a:off x="777239" y="5212080"/>
            <a:ext cx="5257800" cy="3200400"/>
          </a:xfrm>
          <a:prstGeom prst="rect">
            <a:avLst/>
          </a:prstGeom>
          <a:noFill/>
          <a:ln>
            <a:noFill/>
          </a:ln>
        </p:spPr>
        <p:txBody>
          <a:bodyPr lIns="0" tIns="0" rIns="0" bIns="0" anchor="t" anchorCtr="0">
            <a:noAutofit/>
          </a:bodyPr>
          <a:lstStyle/>
          <a:p>
            <a:pPr marL="0" marR="0" lvl="0" indent="0" algn="l" rtl="0">
              <a:spcBef>
                <a:spcPts val="0"/>
              </a:spcBef>
              <a:buSzPct val="25000"/>
              <a:buNone/>
            </a:pPr>
            <a:r>
              <a:rPr lang="en" sz="1600" b="0" i="0" u="none" strike="noStrike" cap="none">
                <a:solidFill>
                  <a:srgbClr val="000000"/>
                </a:solidFill>
                <a:latin typeface="Arial"/>
                <a:ea typeface="Arial"/>
                <a:cs typeface="Arial"/>
                <a:sym typeface="Arial"/>
              </a:rPr>
              <a:t>Microsoft has open sourced .NET core and ASP.net.   Responding to customer and developer interest, Red Hat has worked with Microsoft on the upstream .NET framework, testing, shipping, and supporting it as part of our core offerings. </a:t>
            </a:r>
          </a:p>
          <a:p>
            <a:pPr marL="0" marR="0" lvl="0" indent="0" algn="l" rtl="0">
              <a:spcBef>
                <a:spcPts val="0"/>
              </a:spcBef>
              <a:buNone/>
            </a:pPr>
            <a:endParaRPr sz="2000" b="0" i="0" u="none" strike="noStrike" cap="none">
              <a:solidFill>
                <a:srgbClr val="000000"/>
              </a:solidFill>
              <a:latin typeface="Arial"/>
              <a:ea typeface="Arial"/>
              <a:cs typeface="Arial"/>
              <a:sym typeface="Arial"/>
            </a:endParaRPr>
          </a:p>
          <a:p>
            <a:pPr marL="0" marR="0" lvl="0" indent="0" algn="l" rtl="0">
              <a:spcBef>
                <a:spcPts val="0"/>
              </a:spcBef>
              <a:buSzPct val="25000"/>
              <a:buNone/>
            </a:pPr>
            <a:r>
              <a:rPr lang="en" sz="1600" b="0" i="0" u="none" strike="noStrike" cap="none">
                <a:solidFill>
                  <a:srgbClr val="000000"/>
                </a:solidFill>
                <a:latin typeface="Arial"/>
                <a:ea typeface="Arial"/>
                <a:cs typeface="Arial"/>
                <a:sym typeface="Arial"/>
              </a:rPr>
              <a:t>As of June 2016, .NET is available as part of Red Hat Software Collections as RPMs for Red Hat Enterprise Linux and Red Hat Enterprise Linux OpenStack Platform,  and later will be packaged as containers for integration into applications deployed on OpenShift version 3 or Red Hat Enterprise Linux Atomic Host. </a:t>
            </a:r>
          </a:p>
        </p:txBody>
      </p:sp>
      <p:sp>
        <p:nvSpPr>
          <p:cNvPr id="915" name="Shape 915"/>
          <p:cNvSpPr/>
          <p:nvPr/>
        </p:nvSpPr>
        <p:spPr>
          <a:xfrm>
            <a:off x="3884760" y="8685360"/>
            <a:ext cx="2970000" cy="456900"/>
          </a:xfrm>
          <a:prstGeom prst="rect">
            <a:avLst/>
          </a:prstGeom>
          <a:noFill/>
          <a:ln>
            <a:noFill/>
          </a:ln>
        </p:spPr>
        <p:txBody>
          <a:bodyPr lIns="90000" tIns="45000" rIns="90000" bIns="450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Tx/>
                <a:buSzPct val="25000"/>
                <a:buFontTx/>
                <a:buNone/>
                <a:tabLst/>
                <a:defRPr/>
              </a:pPr>
              <a:t>88</a:t>
            </a:fld>
            <a:endParaRPr kumimoji="0" lang="en" sz="12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16" name="Shape 91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7175121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1"/>
        <p:cNvGrpSpPr/>
        <p:nvPr/>
      </p:nvGrpSpPr>
      <p:grpSpPr>
        <a:xfrm>
          <a:off x="0" y="0"/>
          <a:ext cx="0" cy="0"/>
          <a:chOff x="0" y="0"/>
          <a:chExt cx="0" cy="0"/>
        </a:xfrm>
      </p:grpSpPr>
      <p:sp>
        <p:nvSpPr>
          <p:cNvPr id="922" name="Shape 92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23" name="Shape 923"/>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34010263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7"/>
        <p:cNvGrpSpPr/>
        <p:nvPr/>
      </p:nvGrpSpPr>
      <p:grpSpPr>
        <a:xfrm>
          <a:off x="0" y="0"/>
          <a:ext cx="0" cy="0"/>
          <a:chOff x="0" y="0"/>
          <a:chExt cx="0" cy="0"/>
        </a:xfrm>
      </p:grpSpPr>
      <p:sp>
        <p:nvSpPr>
          <p:cNvPr id="928" name="Shape 92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29" name="Shape 929"/>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13541255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r>
              <a:rPr lang="en-US" dirty="0"/>
              <a:t>You can count on Azure Infrastructure Services to quickly set up labs for testing and developing apps, validating app behavior, and creating presales, training, and teaching environments. Provisioning Virtual Machines in minutes gives you access to a sandbox and a lab. Most </a:t>
            </a:r>
            <a:r>
              <a:rPr lang="en-US" dirty="0" err="1"/>
              <a:t>dev</a:t>
            </a:r>
            <a:r>
              <a:rPr lang="en-US" dirty="0"/>
              <a:t>, test and lab environments are project-based and don’t need to be up and running 24x7. When you’re done, simply turn your virtual machines off. You pay for what you use and no more.</a:t>
            </a:r>
          </a:p>
          <a:p>
            <a:endParaRPr lang="en-US" dirty="0"/>
          </a:p>
          <a:p>
            <a:r>
              <a:rPr lang="en-US" dirty="0"/>
              <a:t>You can grow or shrink your sandbox and application load in real-time in virtual machines. You get to stress your application load and infrastructure capacity in order to mitigate issues before they begin. When you’re done, move to on-premises or simply connect to on-premises via a virtual network. </a:t>
            </a:r>
          </a:p>
          <a:p>
            <a:endParaRPr lang="en-US" dirty="0"/>
          </a:p>
          <a:p>
            <a:r>
              <a:rPr lang="en-US" dirty="0"/>
              <a:t>Sometimes it is about building new rich apps and reducing developer cycle times. When you want to reduce dependencies of your developer teams on IT operations for rolling-out test environments, consider running Team Foundation Server (TFS) in Virtual Machines. You can roll out farms on-demand and continue to access TFS from on-premises installed tools such as Visual Studio, Microsoft Test Manager and browser apps. Testers in your team also can configure and manage test labs using TFS Test Lab Management quickly.</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Build 2012</a:t>
            </a:r>
          </a:p>
        </p:txBody>
      </p:sp>
      <p:sp>
        <p:nvSpPr>
          <p:cNvPr id="5" name="Footer Placeholder 4"/>
          <p:cNvSpPr>
            <a:spLocks noGrp="1"/>
          </p:cNvSpPr>
          <p:nvPr>
            <p:ph type="ftr" sz="quarter" idx="11"/>
          </p:nvPr>
        </p:nvSpPr>
        <p:spPr/>
        <p:txBody>
          <a:bodyPr/>
          <a:lstStyle/>
          <a:p>
            <a:pPr marL="0" marR="0" lvl="0" indent="0" algn="l" defTabSz="93284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84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807C19-ED62-4A96-B53C-FC410D1D71A9}"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17</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157376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0B9C825-F38E-45BB-92C1-043DE61C918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576299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0B9C825-F38E-45BB-92C1-043DE61C918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607177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Arial" pitchFamily="34" charset="0"/>
                <a:ea typeface="+mn-ea"/>
                <a:cs typeface="+mn-cs"/>
              </a:rPr>
              <a:t>-GSA IT Schedule 70 </a:t>
            </a:r>
          </a:p>
          <a:p>
            <a:r>
              <a:rPr lang="en-US" sz="1200" kern="1200" dirty="0">
                <a:solidFill>
                  <a:schemeClr val="tx1"/>
                </a:solidFill>
                <a:effectLst/>
                <a:latin typeface="Arial" pitchFamily="34" charset="0"/>
                <a:ea typeface="+mn-ea"/>
                <a:cs typeface="+mn-cs"/>
              </a:rPr>
              <a:t>-GSA MOBIS </a:t>
            </a:r>
          </a:p>
          <a:p>
            <a:r>
              <a:rPr lang="en-US" sz="1200" kern="1200" dirty="0">
                <a:solidFill>
                  <a:schemeClr val="tx1"/>
                </a:solidFill>
                <a:effectLst/>
                <a:latin typeface="Arial" pitchFamily="34" charset="0"/>
                <a:ea typeface="+mn-ea"/>
                <a:cs typeface="+mn-cs"/>
              </a:rPr>
              <a:t>-CMS Enterprise Systems Development (ESD) </a:t>
            </a:r>
          </a:p>
          <a:p>
            <a:r>
              <a:rPr lang="en-US" sz="1200" kern="1200" dirty="0">
                <a:solidFill>
                  <a:schemeClr val="tx1"/>
                </a:solidFill>
                <a:effectLst/>
                <a:latin typeface="Arial" pitchFamily="34" charset="0"/>
                <a:ea typeface="+mn-ea"/>
                <a:cs typeface="+mn-cs"/>
              </a:rPr>
              <a:t>-DOJ ITSS-3 </a:t>
            </a:r>
          </a:p>
          <a:p>
            <a:r>
              <a:rPr lang="en-US" sz="1200" kern="1200" dirty="0">
                <a:solidFill>
                  <a:schemeClr val="tx1"/>
                </a:solidFill>
                <a:effectLst/>
                <a:latin typeface="Arial" pitchFamily="34" charset="0"/>
                <a:ea typeface="+mn-ea"/>
                <a:cs typeface="+mn-cs"/>
              </a:rPr>
              <a:t>-EPA ORD SES3 </a:t>
            </a:r>
          </a:p>
          <a:p>
            <a:r>
              <a:rPr lang="en-US" sz="1200" kern="1200" dirty="0">
                <a:solidFill>
                  <a:schemeClr val="tx1"/>
                </a:solidFill>
                <a:effectLst/>
                <a:latin typeface="Arial" pitchFamily="34" charset="0"/>
                <a:ea typeface="+mn-ea"/>
                <a:cs typeface="+mn-cs"/>
              </a:rPr>
              <a:t>-FBI PMSS </a:t>
            </a:r>
          </a:p>
          <a:p>
            <a:r>
              <a:rPr lang="en-US" sz="1200" kern="1200" dirty="0">
                <a:solidFill>
                  <a:schemeClr val="tx1"/>
                </a:solidFill>
                <a:effectLst/>
                <a:latin typeface="Arial" pitchFamily="34" charset="0"/>
                <a:ea typeface="+mn-ea"/>
                <a:cs typeface="+mn-cs"/>
              </a:rPr>
              <a:t>-IRS TIPSS-3 </a:t>
            </a:r>
          </a:p>
          <a:p>
            <a:r>
              <a:rPr lang="en-US" sz="1200" kern="1200" dirty="0">
                <a:solidFill>
                  <a:schemeClr val="tx1"/>
                </a:solidFill>
                <a:effectLst/>
                <a:latin typeface="Arial" pitchFamily="34" charset="0"/>
                <a:ea typeface="+mn-ea"/>
                <a:cs typeface="+mn-cs"/>
              </a:rPr>
              <a:t>-U.S. Navy Seaport-e</a:t>
            </a:r>
          </a:p>
          <a:p>
            <a:r>
              <a:rPr lang="en-US" sz="1200" kern="1200" dirty="0">
                <a:solidFill>
                  <a:schemeClr val="tx1"/>
                </a:solidFill>
                <a:effectLst/>
                <a:latin typeface="Arial" pitchFamily="34" charset="0"/>
                <a:ea typeface="+mn-ea"/>
                <a:cs typeface="+mn-cs"/>
              </a:rPr>
              <a:t> </a:t>
            </a:r>
          </a:p>
          <a:p>
            <a:r>
              <a:rPr lang="en-US" sz="1200" kern="1200" dirty="0">
                <a:solidFill>
                  <a:schemeClr val="tx1"/>
                </a:solidFill>
                <a:effectLst/>
                <a:latin typeface="Arial" pitchFamily="34" charset="0"/>
                <a:ea typeface="+mn-ea"/>
                <a:cs typeface="+mn-cs"/>
              </a:rPr>
              <a:t>Deal size can range from 1M to 500M+  depending on modules purchased, # of licenses, level of support / hosting provided by CGI vs client etc. </a:t>
            </a:r>
          </a:p>
          <a:p>
            <a:endParaRPr lang="en-US" sz="1200" kern="1200" dirty="0">
              <a:solidFill>
                <a:schemeClr val="tx1"/>
              </a:solidFill>
              <a:effectLst/>
              <a:latin typeface="Arial"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Arial" pitchFamily="34" charset="0"/>
                <a:ea typeface="+mn-ea"/>
                <a:cs typeface="+mn-cs"/>
              </a:rPr>
              <a:t>Other integrators of our software: CACI, </a:t>
            </a:r>
            <a:r>
              <a:rPr lang="en-US" sz="1200" kern="1200" dirty="0" err="1">
                <a:solidFill>
                  <a:schemeClr val="tx1"/>
                </a:solidFill>
                <a:effectLst/>
                <a:latin typeface="Arial" pitchFamily="34" charset="0"/>
                <a:ea typeface="+mn-ea"/>
                <a:cs typeface="+mn-cs"/>
              </a:rPr>
              <a:t>TeraThink</a:t>
            </a:r>
            <a:r>
              <a:rPr lang="en-US" sz="1200" kern="1200" dirty="0">
                <a:solidFill>
                  <a:schemeClr val="tx1"/>
                </a:solidFill>
                <a:effectLst/>
                <a:latin typeface="Arial" pitchFamily="34" charset="0"/>
                <a:ea typeface="+mn-ea"/>
                <a:cs typeface="+mn-cs"/>
              </a:rPr>
              <a:t>, </a:t>
            </a:r>
            <a:r>
              <a:rPr lang="en-US" sz="1200" kern="1200" dirty="0" err="1">
                <a:solidFill>
                  <a:schemeClr val="tx1"/>
                </a:solidFill>
                <a:effectLst/>
                <a:latin typeface="Arial" pitchFamily="34" charset="0"/>
                <a:ea typeface="+mn-ea"/>
                <a:cs typeface="+mn-cs"/>
              </a:rPr>
              <a:t>Savantage</a:t>
            </a:r>
            <a:r>
              <a:rPr lang="en-US" sz="1200" kern="1200">
                <a:solidFill>
                  <a:schemeClr val="tx1"/>
                </a:solidFill>
                <a:effectLst/>
                <a:latin typeface="Arial" pitchFamily="34" charset="0"/>
                <a:ea typeface="+mn-ea"/>
                <a:cs typeface="+mn-cs"/>
              </a:rPr>
              <a:t>, IBM. </a:t>
            </a:r>
            <a:r>
              <a:rPr lang="en-US" sz="1200" kern="1200" dirty="0">
                <a:solidFill>
                  <a:schemeClr val="tx1"/>
                </a:solidFill>
                <a:effectLst/>
                <a:latin typeface="Arial" pitchFamily="34" charset="0"/>
                <a:ea typeface="+mn-ea"/>
                <a:cs typeface="+mn-cs"/>
              </a:rPr>
              <a:t>  </a:t>
            </a:r>
          </a:p>
          <a:p>
            <a:endParaRPr lang="en-US" sz="1200" kern="1200" dirty="0">
              <a:solidFill>
                <a:schemeClr val="tx1"/>
              </a:solidFill>
              <a:effectLst/>
              <a:latin typeface="Arial"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0B9C825-F38E-45BB-92C1-043DE61C918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3926208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Arial" pitchFamily="34" charset="0"/>
                <a:ea typeface="+mn-ea"/>
                <a:cs typeface="+mn-cs"/>
              </a:rPr>
              <a:t>How much would a buyer expect to pay for a typical solution, and </a:t>
            </a:r>
            <a:endParaRPr lang="en-US" sz="1200" kern="1200" dirty="0">
              <a:solidFill>
                <a:schemeClr val="tx1"/>
              </a:solidFill>
              <a:effectLst/>
              <a:latin typeface="Arial" pitchFamily="34" charset="0"/>
              <a:ea typeface="+mn-ea"/>
              <a:cs typeface="+mn-cs"/>
            </a:endParaRPr>
          </a:p>
          <a:p>
            <a:r>
              <a:rPr lang="en-US" sz="1200" kern="1200" dirty="0" err="1">
                <a:solidFill>
                  <a:schemeClr val="tx1"/>
                </a:solidFill>
                <a:effectLst/>
                <a:latin typeface="Arial" pitchFamily="34" charset="0"/>
                <a:ea typeface="+mn-ea"/>
                <a:cs typeface="+mn-cs"/>
              </a:rPr>
              <a:t>ProperPay</a:t>
            </a:r>
            <a:r>
              <a:rPr lang="en-US" sz="1200" kern="1200" dirty="0">
                <a:solidFill>
                  <a:schemeClr val="tx1"/>
                </a:solidFill>
                <a:effectLst/>
                <a:latin typeface="Arial" pitchFamily="34" charset="0"/>
                <a:ea typeface="+mn-ea"/>
                <a:cs typeface="+mn-cs"/>
              </a:rPr>
              <a:t> is priced base on claims volume for the licensed solution. So, the buyer would pay a price per claim.</a:t>
            </a:r>
          </a:p>
          <a:p>
            <a:r>
              <a:rPr lang="en-US" sz="1200" kern="1200" dirty="0">
                <a:solidFill>
                  <a:schemeClr val="tx1"/>
                </a:solidFill>
                <a:effectLst/>
                <a:latin typeface="Arial" pitchFamily="34" charset="0"/>
                <a:ea typeface="+mn-ea"/>
                <a:cs typeface="+mn-cs"/>
              </a:rPr>
              <a:t>For outsourced recovery audit solutions, the services are priced on a benefits funded basis. Therefore, the buyer would pay a contingency fee percentage of the recoverable amount. The benefits funded methodology is subject to a minimum claims volume in order for CGI to take on risk. </a:t>
            </a:r>
          </a:p>
          <a:p>
            <a:pPr lvl="0"/>
            <a:r>
              <a:rPr lang="en-US" sz="1200" b="1" kern="1200" dirty="0">
                <a:solidFill>
                  <a:schemeClr val="tx1"/>
                </a:solidFill>
                <a:effectLst/>
                <a:latin typeface="Arial" pitchFamily="34" charset="0"/>
                <a:ea typeface="+mn-ea"/>
                <a:cs typeface="+mn-cs"/>
              </a:rPr>
              <a:t>What contract vehicles/resellers it is available from.</a:t>
            </a:r>
            <a:endParaRPr lang="en-US" sz="1200" kern="1200" dirty="0">
              <a:solidFill>
                <a:schemeClr val="tx1"/>
              </a:solidFill>
              <a:effectLst/>
              <a:latin typeface="Arial" pitchFamily="34" charset="0"/>
              <a:ea typeface="+mn-ea"/>
              <a:cs typeface="+mn-cs"/>
            </a:endParaRPr>
          </a:p>
          <a:p>
            <a:r>
              <a:rPr lang="en-US" sz="1200" kern="1200" dirty="0" err="1">
                <a:solidFill>
                  <a:schemeClr val="tx1"/>
                </a:solidFill>
                <a:effectLst/>
                <a:latin typeface="Arial" pitchFamily="34" charset="0"/>
                <a:ea typeface="+mn-ea"/>
                <a:cs typeface="+mn-cs"/>
              </a:rPr>
              <a:t>ProperPay</a:t>
            </a:r>
            <a:r>
              <a:rPr lang="en-US" sz="1200" kern="1200" dirty="0">
                <a:solidFill>
                  <a:schemeClr val="tx1"/>
                </a:solidFill>
                <a:effectLst/>
                <a:latin typeface="Arial" pitchFamily="34" charset="0"/>
                <a:ea typeface="+mn-ea"/>
                <a:cs typeface="+mn-cs"/>
              </a:rPr>
              <a:t>, the licensed product, is not included on any schedules.</a:t>
            </a:r>
          </a:p>
          <a:p>
            <a:r>
              <a:rPr lang="en-US" sz="1200" kern="1200" dirty="0">
                <a:solidFill>
                  <a:schemeClr val="tx1"/>
                </a:solidFill>
                <a:effectLst/>
                <a:latin typeface="Arial" pitchFamily="34" charset="0"/>
                <a:ea typeface="+mn-ea"/>
                <a:cs typeface="+mn-cs"/>
              </a:rPr>
              <a:t>Our recovery audit services are on the professional services fee schedule/SIN 520-9.</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0B9C825-F38E-45BB-92C1-043DE61C918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929173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0B9C825-F38E-45BB-92C1-043DE61C918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934560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AB579B-8043-4EB0-850A-A2A1ADDA08E6}"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17355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The AvePoint story:</a:t>
            </a:r>
            <a:endParaRPr lang="en-US" dirty="0"/>
          </a:p>
          <a:p>
            <a:r>
              <a:rPr lang="en-US" dirty="0"/>
              <a:t>·         Since we started AvePoint in 2001 with just 2 people, AvePoint has been 100% focused on Microsoft technology stack and became the premier SharePoint infrastructure management ISV with a global workforce of 1,500+ employees across 13 countries 5 continents, services 13,000+ customers;  </a:t>
            </a:r>
          </a:p>
          <a:p>
            <a:r>
              <a:rPr lang="en-US" dirty="0"/>
              <a:t>·         We focused on an integrated platform offering in the space of SharePoint data migration, administration, storage replication and scalability, deployment management, as well as reporting.  Our customers are predominantly IT Pros, leveraging our software in the tradition </a:t>
            </a:r>
            <a:r>
              <a:rPr lang="en-US" dirty="0" err="1"/>
              <a:t>on-premise</a:t>
            </a:r>
            <a:r>
              <a:rPr lang="en-US" dirty="0"/>
              <a:t> perpetual software + yearly maintenance model.  </a:t>
            </a:r>
          </a:p>
          <a:p>
            <a:r>
              <a:rPr lang="en-US" dirty="0"/>
              <a:t>·         We were growing close to 100% in revenue year after year for 8 years since 2004, now still growing 30%+ year over year.  Our revenue distribution were as follows:  55% North America, 25% EMEA, 20% APAC   -- we won multiple awards for our growth such as Ernst &amp; Young Entrepreneur of the Year award, </a:t>
            </a:r>
            <a:r>
              <a:rPr lang="en-US" dirty="0" err="1"/>
              <a:t>Inc</a:t>
            </a:r>
            <a:r>
              <a:rPr lang="en-US" dirty="0"/>
              <a:t> 500, Deloitte Fast 500, etc.</a:t>
            </a:r>
          </a:p>
          <a:p>
            <a:endParaRPr lang="en-US" dirty="0"/>
          </a:p>
          <a:p>
            <a:endParaRPr lang="en-US" dirty="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900F4-243E-4200-BDA3-9AB1E3466CB4}"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1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Footer Placeholder 6"/>
          <p:cNvSpPr>
            <a:spLocks noGrp="1"/>
          </p:cNvSpPr>
          <p:nvPr>
            <p:ph type="ftr" sz="quarter" idx="12"/>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13533016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1100">
              <a:defRPr/>
            </a:pPr>
            <a:r>
              <a:rPr lang="en-US" dirty="0"/>
              <a:t>Here are some of the organizations we work with including Microsoft. In fact, we helped them migrate at their internal Technology center from 2010 to Office 365 last fall. Some of the other logos you might recognize are ESPN, GM, Verizon, and on the Federal side we help NASA, the DOD, and the DOE just to name a fe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AB579B-8043-4EB0-850A-A2A1ADDA08E6}"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1957409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J:</a:t>
            </a:r>
            <a:r>
              <a:rPr lang="en-US" baseline="0" dirty="0"/>
              <a:t> </a:t>
            </a:r>
            <a:r>
              <a:rPr lang="en-US" dirty="0"/>
              <a:t>Our re-focused</a:t>
            </a:r>
            <a:r>
              <a:rPr lang="en-US" baseline="0" dirty="0"/>
              <a:t> messaging, introduction on MSFT Cloud Expert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27FC97-E91E-4012-87A8-240F28BF37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760620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industry’s first and only 100%</a:t>
            </a:r>
            <a:r>
              <a:rPr lang="en-US" baseline="0" dirty="0"/>
              <a:t> Microsoft Azure-based Software-as-a-Service (SaaS) platform for Office 365. </a:t>
            </a:r>
          </a:p>
          <a:p>
            <a:r>
              <a:rPr lang="en-US" baseline="0" dirty="0"/>
              <a:t>Requires no installation.</a:t>
            </a:r>
          </a:p>
          <a:p>
            <a:r>
              <a:rPr lang="en-US" baseline="0" dirty="0"/>
              <a:t>Requires no agents.</a:t>
            </a:r>
          </a:p>
          <a:p>
            <a:r>
              <a:rPr lang="en-US" baseline="0" dirty="0"/>
              <a:t>Provides a central home for your business users, decision makers, and IT administrators.</a:t>
            </a:r>
          </a:p>
          <a:p>
            <a:r>
              <a:rPr lang="en-US" baseline="0" dirty="0"/>
              <a:t>Allows users to seamlessly access resources and extends cloud computing as your needs dictate.</a:t>
            </a:r>
          </a:p>
          <a:p>
            <a:r>
              <a:rPr lang="en-US" baseline="0" dirty="0"/>
              <a:t>Full services provider for your enterprise cloud platform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85E49-CDD8-4BD3-8F2F-B9A2F34DA026}"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80985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kern="1200" dirty="0">
                <a:solidFill>
                  <a:schemeClr val="tx1"/>
                </a:solidFill>
                <a:effectLst/>
                <a:latin typeface="Segoe UI Light" pitchFamily="34" charset="0"/>
                <a:ea typeface="+mn-ea"/>
                <a:cs typeface="+mn-cs"/>
              </a:rPr>
              <a:t>Everyone’s datacenter right now has a little</a:t>
            </a:r>
            <a:r>
              <a:rPr lang="en-US" sz="800" kern="1200" baseline="0" dirty="0">
                <a:solidFill>
                  <a:schemeClr val="tx1"/>
                </a:solidFill>
                <a:effectLst/>
                <a:latin typeface="Segoe UI Light" pitchFamily="34" charset="0"/>
                <a:ea typeface="+mn-ea"/>
                <a:cs typeface="+mn-cs"/>
              </a:rPr>
              <a:t> bit of everything—it’s evolved over time, with new technologies and standards cropping up at all times (OSS and proprietary alike). This isn’t a bad thing—but it’s a management challenge for sure. How do we expect to oversee and manage this ever-evolving set of technologies and, specifically, the non-centralized open source technologies that are now ubiquitous?  </a:t>
            </a:r>
          </a:p>
          <a:p>
            <a:r>
              <a:rPr lang="en-US" sz="800" kern="1200" baseline="0" dirty="0">
                <a:solidFill>
                  <a:schemeClr val="tx1"/>
                </a:solidFill>
                <a:effectLst/>
                <a:latin typeface="Segoe UI Light" pitchFamily="34" charset="0"/>
                <a:ea typeface="+mn-ea"/>
                <a:cs typeface="+mn-cs"/>
              </a:rPr>
              <a:t>Why Run Linux on dev/test in Azure</a:t>
            </a:r>
          </a:p>
          <a:p>
            <a:pPr marL="448193" indent="-448193" defTabSz="914367">
              <a:spcAft>
                <a:spcPts val="2353"/>
              </a:spcAft>
              <a:buFont typeface="Arial" panose="020B0604020202020204" pitchFamily="34" charset="0"/>
              <a:buChar char="•"/>
              <a:defRPr/>
            </a:pPr>
            <a:r>
              <a:rPr lang="en-US" sz="800" dirty="0">
                <a:latin typeface="Segoe UI Light"/>
                <a:ea typeface="MS PGothic" panose="020B0600070205080204" pitchFamily="34" charset="-128"/>
              </a:rPr>
              <a:t>Best in class support for Linux</a:t>
            </a:r>
          </a:p>
          <a:p>
            <a:pPr marL="448193" indent="-448193" defTabSz="914367">
              <a:spcAft>
                <a:spcPts val="2353"/>
              </a:spcAft>
              <a:buFont typeface="Arial" panose="020B0604020202020204" pitchFamily="34" charset="0"/>
              <a:buChar char="•"/>
              <a:defRPr/>
            </a:pPr>
            <a:r>
              <a:rPr lang="en-US" sz="800" dirty="0">
                <a:latin typeface="Segoe UI Light"/>
                <a:ea typeface="MS PGothic" panose="020B0600070205080204" pitchFamily="34" charset="-128"/>
              </a:rPr>
              <a:t>1 out of 4 VMs run Linux &amp; open source</a:t>
            </a:r>
          </a:p>
          <a:p>
            <a:pPr marL="448193" indent="-448193" defTabSz="914367">
              <a:spcAft>
                <a:spcPts val="2353"/>
              </a:spcAft>
              <a:buFont typeface="Arial" panose="020B0604020202020204" pitchFamily="34" charset="0"/>
              <a:buChar char="•"/>
              <a:defRPr/>
            </a:pPr>
            <a:r>
              <a:rPr lang="en-US" sz="800" dirty="0">
                <a:latin typeface="Segoe UI Light"/>
                <a:ea typeface="MS PGothic" panose="020B0600070205080204" pitchFamily="34" charset="-128"/>
              </a:rPr>
              <a:t>Marketplace provides great repository of Linux images</a:t>
            </a:r>
          </a:p>
          <a:p>
            <a:pPr marL="448193" indent="-448193" defTabSz="914367">
              <a:spcAft>
                <a:spcPts val="2353"/>
              </a:spcAft>
              <a:buFont typeface="Arial" panose="020B0604020202020204" pitchFamily="34" charset="0"/>
              <a:buChar char="•"/>
              <a:defRPr/>
            </a:pPr>
            <a:r>
              <a:rPr lang="en-US" sz="800" dirty="0">
                <a:latin typeface="Segoe UI Light"/>
                <a:ea typeface="MS PGothic" panose="020B0600070205080204" pitchFamily="34" charset="-128"/>
              </a:rPr>
              <a:t>Easy access to Docker Hub to get the latest ecosystem bits for your testing needs</a:t>
            </a:r>
          </a:p>
          <a:p>
            <a:pPr marL="448193" indent="-448193" defTabSz="914367">
              <a:spcAft>
                <a:spcPts val="2353"/>
              </a:spcAft>
              <a:buFont typeface="Arial" panose="020B0604020202020204" pitchFamily="34" charset="0"/>
              <a:buChar char="•"/>
              <a:defRPr/>
            </a:pPr>
            <a:r>
              <a:rPr lang="en-US" sz="800" dirty="0">
                <a:latin typeface="Segoe UI Light"/>
                <a:ea typeface="MS PGothic" panose="020B0600070205080204" pitchFamily="34" charset="-128"/>
              </a:rPr>
              <a:t>Guides available on azure.com for custom image preparation and upload</a:t>
            </a:r>
          </a:p>
          <a:p>
            <a:endParaRPr lang="en-US" sz="800" kern="1200" baseline="0" dirty="0">
              <a:solidFill>
                <a:schemeClr val="tx1"/>
              </a:solidFill>
              <a:effectLst/>
              <a:latin typeface="Segoe UI Light" pitchFamily="34" charset="0"/>
              <a:ea typeface="+mn-ea"/>
              <a:cs typeface="+mn-cs"/>
            </a:endParaRPr>
          </a:p>
          <a:p>
            <a:endParaRPr lang="en-US" sz="800" kern="1200" baseline="0" dirty="0">
              <a:solidFill>
                <a:schemeClr val="tx1"/>
              </a:solidFill>
              <a:effectLst/>
              <a:latin typeface="Segoe UI Light" pitchFamily="34" charset="0"/>
              <a:ea typeface="+mn-ea"/>
              <a:cs typeface="+mn-cs"/>
            </a:endParaRPr>
          </a:p>
          <a:p>
            <a:r>
              <a:rPr lang="en-US" sz="800" kern="1200" baseline="0" dirty="0">
                <a:solidFill>
                  <a:schemeClr val="tx1"/>
                </a:solidFill>
                <a:effectLst/>
                <a:latin typeface="Segoe UI Light" pitchFamily="34" charset="0"/>
                <a:ea typeface="+mn-ea"/>
                <a:cs typeface="+mn-cs"/>
              </a:rPr>
              <a:t>Take a look through these technologies—some obviously will look very familiar to you and your evolving datacenter:</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Oracle</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SAP</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Linux</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Office</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Windows</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NodeJS</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Apple</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Java</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Android</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PHP</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Hadoop</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MongoDB</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SharePoint</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Hadoop</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SQL Server</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Drupal</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Joomla</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WordPress</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NET</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Python</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Dropbox</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DB2</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Puppet</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Chef</a:t>
            </a:r>
          </a:p>
          <a:p>
            <a:pPr marL="171450" indent="-171450">
              <a:buFont typeface="Arial" panose="020B0604020202020204" pitchFamily="34" charset="0"/>
              <a:buChar char="•"/>
            </a:pPr>
            <a:r>
              <a:rPr lang="en-US" sz="800" kern="1200" baseline="0" dirty="0">
                <a:solidFill>
                  <a:schemeClr val="tx1"/>
                </a:solidFill>
                <a:effectLst/>
                <a:latin typeface="Segoe UI Light" pitchFamily="34" charset="0"/>
                <a:ea typeface="+mn-ea"/>
                <a:cs typeface="+mn-cs"/>
              </a:rPr>
              <a:t>GitHub</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4025408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0" kern="1200" dirty="0">
                <a:solidFill>
                  <a:schemeClr val="tx1"/>
                </a:solidFill>
                <a:effectLst/>
                <a:latin typeface="+mn-lt"/>
                <a:ea typeface="+mn-ea"/>
                <a:cs typeface="+mn-cs"/>
              </a:rPr>
              <a:t>AvePoint helps you gain control of your company’s data, by migrating from various </a:t>
            </a:r>
            <a:r>
              <a:rPr lang="en-US" sz="1200" i="0" kern="1200" dirty="0" err="1">
                <a:solidFill>
                  <a:schemeClr val="tx1"/>
                </a:solidFill>
                <a:effectLst/>
                <a:latin typeface="+mn-lt"/>
                <a:ea typeface="+mn-ea"/>
                <a:cs typeface="+mn-cs"/>
              </a:rPr>
              <a:t>siloed</a:t>
            </a:r>
            <a:r>
              <a:rPr lang="en-US" sz="1200" i="0" kern="1200" dirty="0">
                <a:solidFill>
                  <a:schemeClr val="tx1"/>
                </a:solidFill>
                <a:effectLst/>
                <a:latin typeface="+mn-lt"/>
                <a:ea typeface="+mn-ea"/>
                <a:cs typeface="+mn-cs"/>
              </a:rPr>
              <a:t> and unsecured locations,</a:t>
            </a:r>
            <a:r>
              <a:rPr lang="en-US" sz="1200" i="0" kern="1200" baseline="0" dirty="0">
                <a:solidFill>
                  <a:schemeClr val="tx1"/>
                </a:solidFill>
                <a:effectLst/>
                <a:latin typeface="+mn-lt"/>
                <a:ea typeface="+mn-ea"/>
                <a:cs typeface="+mn-cs"/>
              </a:rPr>
              <a:t> such as</a:t>
            </a:r>
            <a:r>
              <a:rPr lang="en-US" sz="1200" i="0" kern="1200" dirty="0">
                <a:solidFill>
                  <a:schemeClr val="tx1"/>
                </a:solidFill>
                <a:effectLst/>
                <a:latin typeface="+mn-lt"/>
                <a:ea typeface="+mn-ea"/>
                <a:cs typeface="+mn-cs"/>
              </a:rPr>
              <a:t> file shares, desktops, and online storages) to OneDrive for Business. The solution intelligently scans, classifies, and tags data during the migration process. In addition, AvePoint Online Services takes care of the document throughout the lifecycle, ensuring governance, compliance, and data control. </a:t>
            </a:r>
          </a:p>
          <a:p>
            <a:endParaRPr lang="en-US" sz="1200" i="0" kern="1200" dirty="0">
              <a:solidFill>
                <a:schemeClr val="tx1"/>
              </a:solidFill>
              <a:effectLst/>
              <a:latin typeface="+mn-lt"/>
              <a:ea typeface="+mn-ea"/>
              <a:cs typeface="+mn-cs"/>
            </a:endParaRPr>
          </a:p>
          <a:p>
            <a:r>
              <a:rPr lang="en-US" sz="1200" i="0" kern="1200" dirty="0">
                <a:solidFill>
                  <a:schemeClr val="tx1"/>
                </a:solidFill>
                <a:effectLst/>
                <a:latin typeface="+mn-lt"/>
                <a:ea typeface="+mn-ea"/>
                <a:cs typeface="+mn-cs"/>
              </a:rPr>
              <a:t>The</a:t>
            </a:r>
            <a:r>
              <a:rPr lang="en-US" sz="1200" i="0" kern="1200" baseline="0" dirty="0">
                <a:solidFill>
                  <a:schemeClr val="tx1"/>
                </a:solidFill>
                <a:effectLst/>
                <a:latin typeface="+mn-lt"/>
                <a:ea typeface="+mn-ea"/>
                <a:cs typeface="+mn-cs"/>
              </a:rPr>
              <a:t> solution provides the following additional benefits:</a:t>
            </a:r>
          </a:p>
          <a:p>
            <a:endParaRPr lang="en-US" sz="1200" i="0" kern="1200" baseline="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oud Adoption:</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Quickly consolidate enterprise content from legacy systems to free up resources and improve content availabilit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Consolidate and control strewn user content, or Migrate content to OneDrive for Business as a standalone or as a part of a broader Office 365 migration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bility to scope migration projects accuratel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romote cloud adoption and the values you derive from it</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mprove productivity across the enterprise with increased collaboration</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Administration &amp; Governance:</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Easily scale for business need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utomation for admin efficienc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Minimize repetitive admin functions and enforce process compliance rather than just reacting to requests and fighting fire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elf-service for business agilit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T transforms into a business enabler by providing simple, self-service access to the most common SharePoint requests without giving too much power to users or expecting them to act like admin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Lower TCO than on-premises data storag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Eliminate the risk and hassle associated with un-managed employee storage and retention</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ake control of how business documents are stored</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Compliance &amp; Enforcement:</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dentify and maintain business ownership of content without giving inappropriate levels of privileg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Built-in fault toleranc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Leadership can assess all data and analyze the value and risks associated with it</a:t>
            </a:r>
          </a:p>
          <a:p>
            <a:endParaRPr lang="en-US" i="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AB579B-8043-4EB0-850A-A2A1ADDA08E6}"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177519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0" kern="1200" dirty="0">
                <a:solidFill>
                  <a:schemeClr val="tx1"/>
                </a:solidFill>
                <a:effectLst/>
                <a:latin typeface="+mn-lt"/>
                <a:ea typeface="+mn-ea"/>
                <a:cs typeface="+mn-cs"/>
              </a:rPr>
              <a:t>AvePoint helps you gain control of your company’s data, by migrating from various </a:t>
            </a:r>
            <a:r>
              <a:rPr lang="en-US" sz="1200" i="0" kern="1200" dirty="0" err="1">
                <a:solidFill>
                  <a:schemeClr val="tx1"/>
                </a:solidFill>
                <a:effectLst/>
                <a:latin typeface="+mn-lt"/>
                <a:ea typeface="+mn-ea"/>
                <a:cs typeface="+mn-cs"/>
              </a:rPr>
              <a:t>siloed</a:t>
            </a:r>
            <a:r>
              <a:rPr lang="en-US" sz="1200" i="0" kern="1200" dirty="0">
                <a:solidFill>
                  <a:schemeClr val="tx1"/>
                </a:solidFill>
                <a:effectLst/>
                <a:latin typeface="+mn-lt"/>
                <a:ea typeface="+mn-ea"/>
                <a:cs typeface="+mn-cs"/>
              </a:rPr>
              <a:t> and unsecured locations,</a:t>
            </a:r>
            <a:r>
              <a:rPr lang="en-US" sz="1200" i="0" kern="1200" baseline="0" dirty="0">
                <a:solidFill>
                  <a:schemeClr val="tx1"/>
                </a:solidFill>
                <a:effectLst/>
                <a:latin typeface="+mn-lt"/>
                <a:ea typeface="+mn-ea"/>
                <a:cs typeface="+mn-cs"/>
              </a:rPr>
              <a:t> such as</a:t>
            </a:r>
            <a:r>
              <a:rPr lang="en-US" sz="1200" i="0" kern="1200" dirty="0">
                <a:solidFill>
                  <a:schemeClr val="tx1"/>
                </a:solidFill>
                <a:effectLst/>
                <a:latin typeface="+mn-lt"/>
                <a:ea typeface="+mn-ea"/>
                <a:cs typeface="+mn-cs"/>
              </a:rPr>
              <a:t> file shares, desktops, and online storages) to OneDrive for Business. The solution intelligently scans, classifies, and tags data during the migration process. In addition, AvePoint Online Services takes care of the document throughout the lifecycle, ensuring governance, compliance, and data control. </a:t>
            </a:r>
          </a:p>
          <a:p>
            <a:endParaRPr lang="en-US" sz="1200" i="0" kern="1200" dirty="0">
              <a:solidFill>
                <a:schemeClr val="tx1"/>
              </a:solidFill>
              <a:effectLst/>
              <a:latin typeface="+mn-lt"/>
              <a:ea typeface="+mn-ea"/>
              <a:cs typeface="+mn-cs"/>
            </a:endParaRPr>
          </a:p>
          <a:p>
            <a:r>
              <a:rPr lang="en-US" sz="1200" i="0" kern="1200" dirty="0">
                <a:solidFill>
                  <a:schemeClr val="tx1"/>
                </a:solidFill>
                <a:effectLst/>
                <a:latin typeface="+mn-lt"/>
                <a:ea typeface="+mn-ea"/>
                <a:cs typeface="+mn-cs"/>
              </a:rPr>
              <a:t>The</a:t>
            </a:r>
            <a:r>
              <a:rPr lang="en-US" sz="1200" i="0" kern="1200" baseline="0" dirty="0">
                <a:solidFill>
                  <a:schemeClr val="tx1"/>
                </a:solidFill>
                <a:effectLst/>
                <a:latin typeface="+mn-lt"/>
                <a:ea typeface="+mn-ea"/>
                <a:cs typeface="+mn-cs"/>
              </a:rPr>
              <a:t> solution provides the following additional benefits:</a:t>
            </a:r>
          </a:p>
          <a:p>
            <a:endParaRPr lang="en-US" sz="1200" i="0" kern="1200" baseline="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oud Adoption:</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Quickly consolidate enterprise content from legacy systems to free up resources and improve content availabilit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Consolidate and control strewn user content, or Migrate content to OneDrive for Business as a standalone or as a part of a broader Office 365 migration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bility to scope migration projects accuratel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romote cloud adoption and the values you derive from it</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mprove productivity across the enterprise with increased collaboration</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Administration &amp; Governance:</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Easily scale for business need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utomation for admin efficienc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Minimize repetitive admin functions and enforce process compliance rather than just reacting to requests and fighting fire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elf-service for business agilit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T transforms into a business enabler by providing simple, self-service access to the most common SharePoint requests without giving too much power to users or expecting them to act like admin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Lower TCO than on-premises data storag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Eliminate the risk and hassle associated with un-managed employee storage and retention</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ake control of how business documents are stored</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Compliance &amp; Enforcement:</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dentify and maintain business ownership of content without giving inappropriate levels of privileg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Built-in fault toleranc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Leadership can assess all data and analyze the value and risks associated with it</a:t>
            </a:r>
          </a:p>
          <a:p>
            <a:endParaRPr lang="en-US" i="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AB579B-8043-4EB0-850A-A2A1ADDA08E6}"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552439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altLang="zh-CN" sz="1200" kern="1200" dirty="0">
                <a:solidFill>
                  <a:schemeClr val="tx1"/>
                </a:solidFill>
                <a:effectLst/>
                <a:latin typeface="+mn-lt"/>
                <a:ea typeface="+mn-ea"/>
                <a:cs typeface="+mn-cs"/>
              </a:rPr>
              <a:t>With File Analysis</a:t>
            </a:r>
            <a:r>
              <a:rPr lang="en-US" altLang="zh-CN" sz="1200" kern="1200" baseline="0" dirty="0">
                <a:solidFill>
                  <a:schemeClr val="tx1"/>
                </a:solidFill>
                <a:effectLst/>
                <a:latin typeface="+mn-lt"/>
                <a:ea typeface="+mn-ea"/>
                <a:cs typeface="+mn-cs"/>
              </a:rPr>
              <a:t>, we’ll help you…</a:t>
            </a:r>
            <a:endParaRPr lang="en-US" altLang="zh-CN"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altLang="zh-CN" sz="1200" kern="1200" dirty="0">
                <a:solidFill>
                  <a:schemeClr val="tx1"/>
                </a:solidFill>
                <a:effectLst/>
                <a:latin typeface="+mn-lt"/>
                <a:ea typeface="+mn-ea"/>
                <a:cs typeface="+mn-cs"/>
              </a:rPr>
              <a:t>Find out what it really is – Start by understanding your data.</a:t>
            </a:r>
            <a:r>
              <a:rPr lang="en-US" altLang="zh-CN" sz="1200" kern="1200" baseline="0" dirty="0">
                <a:solidFill>
                  <a:schemeClr val="tx1"/>
                </a:solidFill>
                <a:effectLst/>
                <a:latin typeface="+mn-lt"/>
                <a:ea typeface="+mn-ea"/>
                <a:cs typeface="+mn-cs"/>
              </a:rPr>
              <a:t> What’s in it? Is it important?</a:t>
            </a:r>
            <a:endParaRPr lang="zh-CN" altLang="zh-CN"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altLang="zh-CN" sz="1200" kern="1200" dirty="0">
                <a:solidFill>
                  <a:schemeClr val="tx1"/>
                </a:solidFill>
                <a:effectLst/>
                <a:latin typeface="+mn-lt"/>
                <a:ea typeface="+mn-ea"/>
                <a:cs typeface="+mn-cs"/>
              </a:rPr>
              <a:t>Establish a way to identify it – Standardize</a:t>
            </a:r>
            <a:r>
              <a:rPr lang="en-US" altLang="zh-CN" sz="1200" kern="1200" baseline="0" dirty="0">
                <a:solidFill>
                  <a:schemeClr val="tx1"/>
                </a:solidFill>
                <a:effectLst/>
                <a:latin typeface="+mn-lt"/>
                <a:ea typeface="+mn-ea"/>
                <a:cs typeface="+mn-cs"/>
              </a:rPr>
              <a:t> your taxonomy. Set a structure around factors that determine classification.</a:t>
            </a:r>
            <a:endParaRPr lang="zh-CN" altLang="zh-CN"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altLang="zh-CN" sz="1200" kern="1200" dirty="0">
                <a:solidFill>
                  <a:schemeClr val="tx1"/>
                </a:solidFill>
                <a:effectLst/>
                <a:latin typeface="+mn-lt"/>
                <a:ea typeface="+mn-ea"/>
                <a:cs typeface="+mn-cs"/>
              </a:rPr>
              <a:t>Protect what’s important – Establish</a:t>
            </a:r>
            <a:r>
              <a:rPr lang="en-US" altLang="zh-CN" sz="1200" kern="1200" baseline="0" dirty="0">
                <a:solidFill>
                  <a:schemeClr val="tx1"/>
                </a:solidFill>
                <a:effectLst/>
                <a:latin typeface="+mn-lt"/>
                <a:ea typeface="+mn-ea"/>
                <a:cs typeface="+mn-cs"/>
              </a:rPr>
              <a:t> proper SLAs</a:t>
            </a:r>
            <a:endParaRPr lang="zh-CN" altLang="zh-CN"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altLang="zh-CN" sz="1200" kern="1200" dirty="0">
                <a:solidFill>
                  <a:schemeClr val="tx1"/>
                </a:solidFill>
                <a:effectLst/>
                <a:latin typeface="+mn-lt"/>
                <a:ea typeface="+mn-ea"/>
                <a:cs typeface="+mn-cs"/>
              </a:rPr>
              <a:t>Keep what’s required – Make sure your record requirements</a:t>
            </a:r>
            <a:r>
              <a:rPr lang="en-US" altLang="zh-CN" sz="1200" kern="1200" baseline="0" dirty="0">
                <a:solidFill>
                  <a:schemeClr val="tx1"/>
                </a:solidFill>
                <a:effectLst/>
                <a:latin typeface="+mn-lt"/>
                <a:ea typeface="+mn-ea"/>
                <a:cs typeface="+mn-cs"/>
              </a:rPr>
              <a:t> are met</a:t>
            </a:r>
            <a:endParaRPr lang="zh-CN" altLang="zh-CN"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altLang="zh-CN" sz="1200" kern="1200" dirty="0">
                <a:solidFill>
                  <a:schemeClr val="tx1"/>
                </a:solidFill>
                <a:effectLst/>
                <a:latin typeface="+mn-lt"/>
                <a:ea typeface="+mn-ea"/>
                <a:cs typeface="+mn-cs"/>
              </a:rPr>
              <a:t>Remove what’s unnecessary – Minimize</a:t>
            </a:r>
            <a:r>
              <a:rPr lang="en-US" altLang="zh-CN" sz="1200" kern="1200" baseline="0" dirty="0">
                <a:solidFill>
                  <a:schemeClr val="tx1"/>
                </a:solidFill>
                <a:effectLst/>
                <a:latin typeface="+mn-lt"/>
                <a:ea typeface="+mn-ea"/>
                <a:cs typeface="+mn-cs"/>
              </a:rPr>
              <a:t> clutter</a:t>
            </a:r>
            <a:endParaRPr lang="zh-CN" altLang="zh-CN"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altLang="zh-CN" sz="1200" kern="1200" dirty="0">
                <a:solidFill>
                  <a:schemeClr val="tx1"/>
                </a:solidFill>
                <a:effectLst/>
                <a:latin typeface="+mn-lt"/>
                <a:ea typeface="+mn-ea"/>
                <a:cs typeface="+mn-cs"/>
              </a:rPr>
              <a:t>Plan for the future – Consider</a:t>
            </a:r>
            <a:r>
              <a:rPr lang="en-US" altLang="zh-CN" sz="1200" kern="1200" baseline="0" dirty="0">
                <a:solidFill>
                  <a:schemeClr val="tx1"/>
                </a:solidFill>
                <a:effectLst/>
                <a:latin typeface="+mn-lt"/>
                <a:ea typeface="+mn-ea"/>
                <a:cs typeface="+mn-cs"/>
              </a:rPr>
              <a:t> scalability down the line as things like organizational structure change</a:t>
            </a:r>
            <a:endParaRPr lang="zh-CN" altLang="zh-CN" sz="1200" kern="1200" dirty="0">
              <a:solidFill>
                <a:schemeClr val="tx1"/>
              </a:solidFill>
              <a:effectLst/>
              <a:latin typeface="+mn-lt"/>
              <a:ea typeface="+mn-ea"/>
              <a:cs typeface="+mn-cs"/>
            </a:endParaRPr>
          </a:p>
          <a:p>
            <a:pPr marL="0" indent="0">
              <a:buFont typeface="Arial" panose="020B0604020202020204" pitchFamily="34" charset="0"/>
              <a:buNone/>
            </a:pPr>
            <a:endParaRPr lang="en-US" altLang="zh-CN" sz="1200" kern="1200" dirty="0">
              <a:solidFill>
                <a:schemeClr val="tx1"/>
              </a:solidFill>
              <a:effectLst/>
              <a:latin typeface="+mn-lt"/>
              <a:ea typeface="+mn-ea"/>
              <a:cs typeface="+mn-cs"/>
            </a:endParaRPr>
          </a:p>
          <a:p>
            <a:pPr marL="0" indent="0">
              <a:buFont typeface="Arial" panose="020B0604020202020204" pitchFamily="34" charset="0"/>
              <a:buNone/>
            </a:pPr>
            <a:r>
              <a:rPr lang="en-US" altLang="zh-CN" sz="1200" kern="1200" dirty="0">
                <a:solidFill>
                  <a:schemeClr val="tx1"/>
                </a:solidFill>
                <a:effectLst/>
                <a:latin typeface="+mn-lt"/>
                <a:ea typeface="+mn-ea"/>
                <a:cs typeface="+mn-cs"/>
              </a:rPr>
              <a:t>[CLICK]</a:t>
            </a:r>
            <a:endParaRPr lang="zh-CN" altLang="zh-CN"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altLang="zh-CN" sz="1200" kern="1200" dirty="0">
                <a:solidFill>
                  <a:schemeClr val="tx1"/>
                </a:solidFill>
                <a:effectLst/>
                <a:latin typeface="+mn-lt"/>
                <a:ea typeface="+mn-ea"/>
                <a:cs typeface="+mn-cs"/>
              </a:rPr>
              <a:t>This way, users</a:t>
            </a:r>
            <a:r>
              <a:rPr lang="en-US" altLang="zh-CN" sz="1200" kern="1200" baseline="0" dirty="0">
                <a:solidFill>
                  <a:schemeClr val="tx1"/>
                </a:solidFill>
                <a:effectLst/>
                <a:latin typeface="+mn-lt"/>
                <a:ea typeface="+mn-ea"/>
                <a:cs typeface="+mn-cs"/>
              </a:rPr>
              <a:t> will be able to find </a:t>
            </a:r>
            <a:r>
              <a:rPr lang="en-US" altLang="zh-CN" sz="1200" kern="1200" dirty="0">
                <a:solidFill>
                  <a:schemeClr val="tx1"/>
                </a:solidFill>
                <a:effectLst/>
                <a:latin typeface="+mn-lt"/>
                <a:ea typeface="+mn-ea"/>
                <a:cs typeface="+mn-cs"/>
              </a:rPr>
              <a:t>what they need quickly</a:t>
            </a:r>
            <a:r>
              <a:rPr lang="en-US" altLang="zh-CN" sz="1200" kern="1200" baseline="0" dirty="0">
                <a:solidFill>
                  <a:schemeClr val="tx1"/>
                </a:solidFill>
                <a:effectLst/>
                <a:latin typeface="+mn-lt"/>
                <a:ea typeface="+mn-ea"/>
                <a:cs typeface="+mn-cs"/>
              </a:rPr>
              <a:t> and logically</a:t>
            </a:r>
            <a:endParaRPr lang="zh-CN" altLang="zh-CN"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altLang="zh-CN" sz="1200" kern="1200" dirty="0">
                <a:solidFill>
                  <a:schemeClr val="tx1"/>
                </a:solidFill>
                <a:effectLst/>
                <a:latin typeface="+mn-lt"/>
                <a:ea typeface="+mn-ea"/>
                <a:cs typeface="+mn-cs"/>
              </a:rPr>
              <a:t>IT Admins</a:t>
            </a:r>
            <a:r>
              <a:rPr lang="en-US" altLang="zh-CN" sz="1200" kern="1200" baseline="0" dirty="0">
                <a:solidFill>
                  <a:schemeClr val="tx1"/>
                </a:solidFill>
                <a:effectLst/>
                <a:latin typeface="+mn-lt"/>
                <a:ea typeface="+mn-ea"/>
                <a:cs typeface="+mn-cs"/>
              </a:rPr>
              <a:t> will be able to identify types of data and act accordingly</a:t>
            </a:r>
            <a:endParaRPr lang="zh-CN" altLang="zh-CN"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altLang="zh-CN" sz="1200" kern="1200" dirty="0">
                <a:solidFill>
                  <a:schemeClr val="tx1"/>
                </a:solidFill>
                <a:effectLst/>
                <a:latin typeface="+mn-lt"/>
                <a:ea typeface="+mn-ea"/>
                <a:cs typeface="+mn-cs"/>
              </a:rPr>
              <a:t>And compliance officers will</a:t>
            </a:r>
            <a:r>
              <a:rPr lang="en-US" altLang="zh-CN" sz="1200" kern="1200" baseline="0" dirty="0">
                <a:solidFill>
                  <a:schemeClr val="tx1"/>
                </a:solidFill>
                <a:effectLst/>
                <a:latin typeface="+mn-lt"/>
                <a:ea typeface="+mn-ea"/>
                <a:cs typeface="+mn-cs"/>
              </a:rPr>
              <a:t> have visibility into the information within the system and can be sure that updating policies means the data will conform accordingly.</a:t>
            </a:r>
            <a:endParaRPr lang="zh-CN" altLang="zh-CN" sz="1200" kern="1200" dirty="0">
              <a:solidFill>
                <a:schemeClr val="tx1"/>
              </a:solidFill>
              <a:effectLst/>
              <a:latin typeface="+mn-lt"/>
              <a:ea typeface="+mn-ea"/>
              <a:cs typeface="+mn-cs"/>
            </a:endParaRPr>
          </a:p>
          <a:p>
            <a:pPr marL="0" lvl="0" indent="0">
              <a:buFont typeface="Arial" panose="020B0604020202020204" pitchFamily="34" charset="0"/>
              <a:buNone/>
            </a:pPr>
            <a:endParaRPr lang="en-US" altLang="zh-CN" sz="1200" kern="1200" dirty="0">
              <a:solidFill>
                <a:schemeClr val="tx1"/>
              </a:solidFill>
              <a:effectLst/>
              <a:latin typeface="+mn-lt"/>
              <a:ea typeface="+mn-ea"/>
              <a:cs typeface="+mn-cs"/>
            </a:endParaRPr>
          </a:p>
          <a:p>
            <a:pPr marL="0" lvl="0" indent="0">
              <a:buFont typeface="Arial" panose="020B0604020202020204" pitchFamily="34" charset="0"/>
              <a:buNone/>
            </a:pPr>
            <a:r>
              <a:rPr lang="en-US" altLang="zh-CN" sz="1200" kern="1200" dirty="0">
                <a:solidFill>
                  <a:schemeClr val="tx1"/>
                </a:solidFill>
                <a:effectLst/>
                <a:latin typeface="+mn-lt"/>
                <a:ea typeface="+mn-ea"/>
                <a:cs typeface="+mn-cs"/>
              </a:rPr>
              <a:t>[CLICK]</a:t>
            </a:r>
          </a:p>
          <a:p>
            <a:pPr marL="0" lvl="0" indent="0">
              <a:buFont typeface="Arial" panose="020B0604020202020204" pitchFamily="34" charset="0"/>
              <a:buNone/>
            </a:pPr>
            <a:r>
              <a:rPr lang="en-US" altLang="zh-CN" sz="1200" kern="1200" dirty="0">
                <a:solidFill>
                  <a:schemeClr val="tx1"/>
                </a:solidFill>
                <a:effectLst/>
                <a:latin typeface="+mn-lt"/>
                <a:ea typeface="+mn-ea"/>
                <a:cs typeface="+mn-cs"/>
              </a:rPr>
              <a:t>Ultimately</a:t>
            </a:r>
            <a:r>
              <a:rPr lang="en-US" altLang="zh-CN" sz="1200" kern="1200" baseline="0" dirty="0">
                <a:solidFill>
                  <a:schemeClr val="tx1"/>
                </a:solidFill>
                <a:effectLst/>
                <a:latin typeface="+mn-lt"/>
                <a:ea typeface="+mn-ea"/>
                <a:cs typeface="+mn-cs"/>
              </a:rPr>
              <a:t> </a:t>
            </a:r>
            <a:r>
              <a:rPr lang="en-US" altLang="zh-CN" sz="1200" kern="1200" dirty="0">
                <a:solidFill>
                  <a:schemeClr val="tx1"/>
                </a:solidFill>
                <a:effectLst/>
                <a:latin typeface="+mn-lt"/>
                <a:ea typeface="+mn-ea"/>
                <a:cs typeface="+mn-cs"/>
              </a:rPr>
              <a:t>reducing cost and making it easier for everyone to get their jobs done</a:t>
            </a:r>
            <a:r>
              <a:rPr lang="en-US" altLang="zh-CN" sz="1200" kern="1200" baseline="0" dirty="0">
                <a:solidFill>
                  <a:schemeClr val="tx1"/>
                </a:solidFill>
                <a:effectLst/>
                <a:latin typeface="+mn-lt"/>
                <a:ea typeface="+mn-ea"/>
                <a:cs typeface="+mn-cs"/>
              </a:rPr>
              <a:t> – and we’re not just talking smoke and </a:t>
            </a:r>
            <a:r>
              <a:rPr lang="en-US" altLang="zh-CN" sz="1200" kern="1200" baseline="0" dirty="0" err="1">
                <a:solidFill>
                  <a:schemeClr val="tx1"/>
                </a:solidFill>
                <a:effectLst/>
                <a:latin typeface="+mn-lt"/>
                <a:ea typeface="+mn-ea"/>
                <a:cs typeface="+mn-cs"/>
              </a:rPr>
              <a:t>mirriors</a:t>
            </a:r>
            <a:r>
              <a:rPr lang="en-US" altLang="zh-CN" sz="1200" kern="1200" baseline="0" dirty="0">
                <a:solidFill>
                  <a:schemeClr val="tx1"/>
                </a:solidFill>
                <a:effectLst/>
                <a:latin typeface="+mn-lt"/>
                <a:ea typeface="+mn-ea"/>
                <a:cs typeface="+mn-cs"/>
              </a:rPr>
              <a:t>:</a:t>
            </a:r>
            <a:endParaRPr lang="zh-CN" altLang="zh-CN"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altLang="zh-CN" sz="1200" kern="1200" dirty="0">
                <a:solidFill>
                  <a:schemeClr val="tx1"/>
                </a:solidFill>
                <a:effectLst/>
                <a:latin typeface="+mn-lt"/>
                <a:ea typeface="+mn-ea"/>
                <a:cs typeface="+mn-cs"/>
              </a:rPr>
              <a:t>increased sense of confidence in understanding</a:t>
            </a:r>
            <a:r>
              <a:rPr lang="en-US" altLang="zh-CN" sz="1200" kern="1200" baseline="0" dirty="0">
                <a:solidFill>
                  <a:schemeClr val="tx1"/>
                </a:solidFill>
                <a:effectLst/>
                <a:latin typeface="+mn-lt"/>
                <a:ea typeface="+mn-ea"/>
                <a:cs typeface="+mn-cs"/>
              </a:rPr>
              <a:t> your environment and your data</a:t>
            </a:r>
          </a:p>
          <a:p>
            <a:pPr marL="171450" indent="-171450">
              <a:buFont typeface="Arial" panose="020B0604020202020204" pitchFamily="34" charset="0"/>
              <a:buChar char="•"/>
            </a:pPr>
            <a:r>
              <a:rPr lang="en-US" altLang="zh-CN" sz="1200" kern="1200" baseline="0" dirty="0">
                <a:solidFill>
                  <a:schemeClr val="tx1"/>
                </a:solidFill>
                <a:effectLst/>
                <a:latin typeface="+mn-lt"/>
                <a:ea typeface="+mn-ea"/>
                <a:cs typeface="+mn-cs"/>
              </a:rPr>
              <a:t>Increased ability to leverage accurate and relevant data when and how you need it to make better business decisions</a:t>
            </a:r>
          </a:p>
          <a:p>
            <a:pPr marL="171450" indent="-171450">
              <a:buFont typeface="Arial" panose="020B0604020202020204" pitchFamily="34" charset="0"/>
              <a:buChar char="•"/>
            </a:pPr>
            <a:r>
              <a:rPr lang="en-US" altLang="zh-CN" sz="1200" kern="1200" baseline="0" dirty="0">
                <a:solidFill>
                  <a:schemeClr val="tx1"/>
                </a:solidFill>
                <a:effectLst/>
                <a:latin typeface="+mn-lt"/>
                <a:ea typeface="+mn-ea"/>
                <a:cs typeface="+mn-cs"/>
              </a:rPr>
              <a:t>Immediate decreased cost in storage solutions</a:t>
            </a:r>
          </a:p>
          <a:p>
            <a:pPr marL="171450" indent="-171450">
              <a:buFont typeface="Arial" panose="020B0604020202020204" pitchFamily="34" charset="0"/>
              <a:buChar char="•"/>
            </a:pPr>
            <a:r>
              <a:rPr lang="en-US" altLang="zh-CN" sz="1200" kern="1200" baseline="0" dirty="0">
                <a:solidFill>
                  <a:schemeClr val="tx1"/>
                </a:solidFill>
                <a:effectLst/>
                <a:latin typeface="+mn-lt"/>
                <a:ea typeface="+mn-ea"/>
                <a:cs typeface="+mn-cs"/>
              </a:rPr>
              <a:t>Less wasted time trying to find what you need</a:t>
            </a:r>
          </a:p>
          <a:p>
            <a:pPr marL="171450" indent="-171450">
              <a:buFont typeface="Arial" panose="020B0604020202020204" pitchFamily="34" charset="0"/>
              <a:buChar char="•"/>
            </a:pPr>
            <a:r>
              <a:rPr lang="en-US" altLang="zh-CN" sz="1200" kern="1200" baseline="0" dirty="0">
                <a:solidFill>
                  <a:schemeClr val="tx1"/>
                </a:solidFill>
                <a:effectLst/>
                <a:latin typeface="+mn-lt"/>
                <a:ea typeface="+mn-ea"/>
                <a:cs typeface="+mn-cs"/>
              </a:rPr>
              <a:t>Put you in a position for successful governance evolution, protecting you from having to duplicate this effort every couple yea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EF64A4-051B-4C3E-B11F-1610F2E9FA37}"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296819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800"/>
              </a:spcAft>
            </a:pPr>
            <a:r>
              <a:rPr lang="en-US" dirty="0"/>
              <a:t>Fast &amp; Flexible Migration</a:t>
            </a:r>
          </a:p>
          <a:p>
            <a:pPr>
              <a:spcAft>
                <a:spcPts val="1800"/>
              </a:spcAft>
            </a:pPr>
            <a:r>
              <a:rPr lang="en-US" dirty="0"/>
              <a:t>-</a:t>
            </a:r>
            <a:r>
              <a:rPr lang="en-US" baseline="0" dirty="0"/>
              <a:t> Migrate from previous SharePoint versions, File Shares, Lotus Notes, </a:t>
            </a:r>
            <a:r>
              <a:rPr lang="en-US" baseline="0" dirty="0" err="1"/>
              <a:t>eRooms</a:t>
            </a:r>
            <a:r>
              <a:rPr lang="en-US" baseline="0" dirty="0"/>
              <a:t>, Exchange Public Folders, and Documentum to SharePoint Online and OneDrive for Business. Filter for content based on customizable business rules. Minimize business disruption with full fidelity migration and comprehensive scheduling options to maintain platform coexistence. </a:t>
            </a:r>
            <a:endParaRPr lang="en-US" dirty="0"/>
          </a:p>
          <a:p>
            <a:pPr>
              <a:spcAft>
                <a:spcPts val="1800"/>
              </a:spcAft>
            </a:pPr>
            <a:r>
              <a:rPr lang="en-US" dirty="0"/>
              <a:t>Collaboration with Confidence</a:t>
            </a:r>
          </a:p>
          <a:p>
            <a:pPr>
              <a:spcAft>
                <a:spcPts val="1800"/>
              </a:spcAft>
            </a:pPr>
            <a:r>
              <a:rPr lang="en-US" dirty="0"/>
              <a:t>- Implement information governance</a:t>
            </a:r>
            <a:r>
              <a:rPr lang="en-US" baseline="0" dirty="0"/>
              <a:t> policies across cloud and hybrid deployments based on business requirements. Robust access controls, backup, archiving, reporting and insight, and branding and app deployment help you set your SLAs on your terms. Automated policy enforcement notifies, deletes, or reverts unauthorized changes so as your deployment grows, your management headaches don’t. </a:t>
            </a:r>
            <a:endParaRPr lang="en-US" dirty="0"/>
          </a:p>
          <a:p>
            <a:pPr>
              <a:spcAft>
                <a:spcPts val="1800"/>
              </a:spcAft>
            </a:pPr>
            <a:r>
              <a:rPr lang="en-US" dirty="0"/>
              <a:t>Seamless Hybrid Management</a:t>
            </a:r>
            <a:endParaRPr lang="en-GB" dirty="0"/>
          </a:p>
          <a:p>
            <a:pPr marL="171450" indent="-171450">
              <a:buFontTx/>
              <a:buChar char="-"/>
            </a:pPr>
            <a:r>
              <a:rPr lang="en-US" dirty="0"/>
              <a:t>Deploy a light-touch agent on premises</a:t>
            </a:r>
            <a:r>
              <a:rPr lang="en-US" baseline="0" dirty="0"/>
              <a:t> to extend your control across your hybrid deployment. The cloud-based management console does the heavy lifting, freeing up your on premises storage and computing resources. </a:t>
            </a:r>
          </a:p>
          <a:p>
            <a:pPr marL="171450" indent="-171450">
              <a:buFontTx/>
              <a:buChar char="-"/>
            </a:pPr>
            <a:endParaRPr lang="en-US" baseline="0" dirty="0"/>
          </a:p>
          <a:p>
            <a:r>
              <a:rPr lang="en-US" baseline="0" dirty="0"/>
              <a:t>The message to Microsoft: </a:t>
            </a:r>
            <a:r>
              <a:rPr lang="en-US" dirty="0"/>
              <a:t>Drive Office 365 adoption and consumption</a:t>
            </a:r>
          </a:p>
          <a:p>
            <a:pPr lvl="1"/>
            <a:r>
              <a:rPr lang="en-US" dirty="0"/>
              <a:t>Users will follow the content – fast and flexible migration transitions workloads and users to the cloud</a:t>
            </a:r>
          </a:p>
          <a:p>
            <a:pPr lvl="1"/>
            <a:endParaRPr lang="en-US" dirty="0"/>
          </a:p>
          <a:p>
            <a:r>
              <a:rPr lang="en-US" dirty="0"/>
              <a:t>Alleviate security concerns</a:t>
            </a:r>
          </a:p>
          <a:p>
            <a:pPr lvl="1"/>
            <a:r>
              <a:rPr lang="en-US" dirty="0"/>
              <a:t>Give customers the tools to meet their strict data management and compliance concerns in the cloud and across hybrid environments</a:t>
            </a:r>
          </a:p>
          <a:p>
            <a:pPr lvl="1"/>
            <a:endParaRPr lang="en-US" dirty="0"/>
          </a:p>
          <a:p>
            <a:r>
              <a:rPr lang="en-US" dirty="0"/>
              <a:t>Eligible for enhanced consumption credits</a:t>
            </a:r>
          </a:p>
          <a:p>
            <a:pPr lvl="1"/>
            <a:r>
              <a:rPr lang="en-US" dirty="0"/>
              <a:t>When the VM consumes 250hours, Microsoft sellers can achieve 5x on consumption quota retirement</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85E49-CDD8-4BD3-8F2F-B9A2F34DA026}"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00751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058824-AF41-4D78-B591-54045FB302A9}"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43078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7143C0-4F23-B545-9533-520B5A87CA1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151542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7143C0-4F23-B545-9533-520B5A87CA1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94649816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7143C0-4F23-B545-9533-520B5A87CA1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4182841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7143C0-4F23-B545-9533-520B5A87CA1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4537764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7143C0-4F23-B545-9533-520B5A87CA1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0254252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2017 5:2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9982486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7143C0-4F23-B545-9533-520B5A87CA1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041205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7143C0-4F23-B545-9533-520B5A87CA1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28103337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7143C0-4F23-B545-9533-520B5A87CA1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50681279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F4FE4D-D970-41C4-A419-AB92A14E0D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679030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75" y="719138"/>
            <a:ext cx="6396038" cy="3598862"/>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No</a:t>
            </a:r>
            <a:r>
              <a:rPr lang="en-US" baseline="0" dirty="0"/>
              <a:t> changes</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F4FE4D-D970-41C4-A419-AB92A14E0D4F}" type="slidenum">
              <a:rPr kumimoji="0" lang="en-US" sz="1800" b="0" i="0" u="none" strike="noStrike" kern="0" cap="none" spc="0" normalizeH="0" baseline="0" noProof="0" smtClean="0">
                <a:ln>
                  <a:noFill/>
                </a:ln>
                <a:solidFill>
                  <a:srgbClr val="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rgbClr val="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124719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75" y="719138"/>
            <a:ext cx="6396038" cy="35988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F4FE4D-D970-41C4-A419-AB92A14E0D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95074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 small sub-set of customer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C994B1-6B66-4960-87A0-6B3DF3987B6C}"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53825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a:t>
            </a: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2017 5:2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00114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tive Directory Federation Services Resiliency model (ADFS-R)</a:t>
            </a:r>
          </a:p>
          <a:p>
            <a:r>
              <a:rPr lang="en-US" dirty="0"/>
              <a:t>Provide your Active Directory users access to your claims-aware applications and services (aka SSO for internal use)</a:t>
            </a:r>
          </a:p>
          <a:p>
            <a:r>
              <a:rPr lang="en-US" dirty="0"/>
              <a:t>Provide users in another organization access to your claims-aware applications and services (Providing outsourced services)</a:t>
            </a:r>
          </a:p>
          <a:p>
            <a:r>
              <a:rPr lang="en-US" dirty="0"/>
              <a:t>Provide these authentication services independently of connectivity/availability to the customer datacenter</a:t>
            </a:r>
          </a:p>
          <a:p>
            <a:endParaRPr lang="en-US" dirty="0"/>
          </a:p>
          <a:p>
            <a:r>
              <a:rPr lang="en-US" dirty="0"/>
              <a:t>FIPS 140-2 – cannot</a:t>
            </a:r>
            <a:r>
              <a:rPr lang="en-US" baseline="0" dirty="0"/>
              <a:t> do password sync</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2017 5:2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80366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7.wmf"/><Relationship Id="rId2" Type="http://schemas.openxmlformats.org/officeDocument/2006/relationships/image" Target="../media/image46.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7.wmf"/><Relationship Id="rId2" Type="http://schemas.openxmlformats.org/officeDocument/2006/relationships/image" Target="../media/image48.png"/><Relationship Id="rId1" Type="http://schemas.openxmlformats.org/officeDocument/2006/relationships/slideMaster" Target="../slideMasters/slideMaster8.xml"/><Relationship Id="rId4" Type="http://schemas.openxmlformats.org/officeDocument/2006/relationships/image" Target="../media/image46.pn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2.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56.png"/><Relationship Id="rId5" Type="http://schemas.openxmlformats.org/officeDocument/2006/relationships/image" Target="../media/image22.emf"/><Relationship Id="rId4" Type="http://schemas.openxmlformats.org/officeDocument/2006/relationships/oleObject" Target="../embeddings/oleObject23.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57.png"/><Relationship Id="rId5" Type="http://schemas.openxmlformats.org/officeDocument/2006/relationships/image" Target="../media/image22.emf"/><Relationship Id="rId4" Type="http://schemas.openxmlformats.org/officeDocument/2006/relationships/oleObject" Target="../embeddings/oleObject24.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22.emf"/><Relationship Id="rId4" Type="http://schemas.openxmlformats.org/officeDocument/2006/relationships/oleObject" Target="../embeddings/oleObject25.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22.emf"/><Relationship Id="rId4" Type="http://schemas.openxmlformats.org/officeDocument/2006/relationships/oleObject" Target="../embeddings/oleObject26.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22.emf"/><Relationship Id="rId4" Type="http://schemas.openxmlformats.org/officeDocument/2006/relationships/oleObject" Target="../embeddings/oleObject27.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22.emf"/><Relationship Id="rId4" Type="http://schemas.openxmlformats.org/officeDocument/2006/relationships/oleObject" Target="../embeddings/oleObject28.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22.emf"/><Relationship Id="rId4" Type="http://schemas.openxmlformats.org/officeDocument/2006/relationships/oleObject" Target="../embeddings/oleObject29.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22.emf"/><Relationship Id="rId4" Type="http://schemas.openxmlformats.org/officeDocument/2006/relationships/oleObject" Target="../embeddings/oleObject30.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22.emf"/><Relationship Id="rId4" Type="http://schemas.openxmlformats.org/officeDocument/2006/relationships/oleObject" Target="../embeddings/oleObject31.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2.xml"/><Relationship Id="rId1" Type="http://schemas.openxmlformats.org/officeDocument/2006/relationships/vmlDrawing" Target="../drawings/vmlDrawing32.vml"/><Relationship Id="rId5" Type="http://schemas.openxmlformats.org/officeDocument/2006/relationships/image" Target="../media/image22.emf"/><Relationship Id="rId4" Type="http://schemas.openxmlformats.org/officeDocument/2006/relationships/oleObject" Target="../embeddings/oleObject32.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3.xml"/><Relationship Id="rId1" Type="http://schemas.openxmlformats.org/officeDocument/2006/relationships/vmlDrawing" Target="../drawings/vmlDrawing33.vml"/><Relationship Id="rId5" Type="http://schemas.openxmlformats.org/officeDocument/2006/relationships/image" Target="../media/image22.emf"/><Relationship Id="rId4" Type="http://schemas.openxmlformats.org/officeDocument/2006/relationships/oleObject" Target="../embeddings/oleObject33.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2.emf"/><Relationship Id="rId5" Type="http://schemas.microsoft.com/office/2007/relationships/hdphoto" Target="../media/hdphoto2.wdp"/><Relationship Id="rId4" Type="http://schemas.openxmlformats.org/officeDocument/2006/relationships/image" Target="../media/image6.png"/><Relationship Id="rId9" Type="http://schemas.microsoft.com/office/2007/relationships/hdphoto" Target="../media/hdphoto3.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22.emf"/><Relationship Id="rId4" Type="http://schemas.openxmlformats.org/officeDocument/2006/relationships/oleObject" Target="../embeddings/oleObject34.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5.xml"/><Relationship Id="rId1" Type="http://schemas.openxmlformats.org/officeDocument/2006/relationships/vmlDrawing" Target="../drawings/vmlDrawing35.vml"/><Relationship Id="rId5" Type="http://schemas.openxmlformats.org/officeDocument/2006/relationships/image" Target="../media/image22.emf"/><Relationship Id="rId4" Type="http://schemas.openxmlformats.org/officeDocument/2006/relationships/oleObject" Target="../embeddings/oleObject35.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xml"/><Relationship Id="rId1" Type="http://schemas.openxmlformats.org/officeDocument/2006/relationships/vmlDrawing" Target="../drawings/vmlDrawing36.vml"/><Relationship Id="rId5" Type="http://schemas.openxmlformats.org/officeDocument/2006/relationships/image" Target="../media/image22.emf"/><Relationship Id="rId4" Type="http://schemas.openxmlformats.org/officeDocument/2006/relationships/oleObject" Target="../embeddings/oleObject36.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xml"/><Relationship Id="rId1" Type="http://schemas.openxmlformats.org/officeDocument/2006/relationships/vmlDrawing" Target="../drawings/vmlDrawing37.vml"/><Relationship Id="rId5" Type="http://schemas.openxmlformats.org/officeDocument/2006/relationships/image" Target="../media/image22.emf"/><Relationship Id="rId4" Type="http://schemas.openxmlformats.org/officeDocument/2006/relationships/oleObject" Target="../embeddings/oleObject37.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xml"/><Relationship Id="rId1" Type="http://schemas.openxmlformats.org/officeDocument/2006/relationships/vmlDrawing" Target="../drawings/vmlDrawing38.vml"/><Relationship Id="rId5" Type="http://schemas.openxmlformats.org/officeDocument/2006/relationships/image" Target="../media/image22.emf"/><Relationship Id="rId4" Type="http://schemas.openxmlformats.org/officeDocument/2006/relationships/oleObject" Target="../embeddings/oleObject38.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xml"/><Relationship Id="rId1" Type="http://schemas.openxmlformats.org/officeDocument/2006/relationships/vmlDrawing" Target="../drawings/vmlDrawing39.vml"/><Relationship Id="rId5" Type="http://schemas.openxmlformats.org/officeDocument/2006/relationships/image" Target="../media/image22.emf"/><Relationship Id="rId4" Type="http://schemas.openxmlformats.org/officeDocument/2006/relationships/oleObject" Target="../embeddings/oleObject39.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xml"/><Relationship Id="rId1" Type="http://schemas.openxmlformats.org/officeDocument/2006/relationships/vmlDrawing" Target="../drawings/vmlDrawing40.vml"/><Relationship Id="rId5" Type="http://schemas.openxmlformats.org/officeDocument/2006/relationships/image" Target="../media/image22.emf"/><Relationship Id="rId4" Type="http://schemas.openxmlformats.org/officeDocument/2006/relationships/oleObject" Target="../embeddings/oleObject40.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xml"/><Relationship Id="rId1" Type="http://schemas.openxmlformats.org/officeDocument/2006/relationships/vmlDrawing" Target="../drawings/vmlDrawing41.vml"/><Relationship Id="rId5" Type="http://schemas.openxmlformats.org/officeDocument/2006/relationships/image" Target="../media/image22.emf"/><Relationship Id="rId4" Type="http://schemas.openxmlformats.org/officeDocument/2006/relationships/oleObject" Target="../embeddings/oleObject41.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vmlDrawing" Target="../drawings/vmlDrawing42.vml"/><Relationship Id="rId5" Type="http://schemas.openxmlformats.org/officeDocument/2006/relationships/image" Target="../media/image22.emf"/><Relationship Id="rId4" Type="http://schemas.openxmlformats.org/officeDocument/2006/relationships/oleObject" Target="../embeddings/oleObject42.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xml"/><Relationship Id="rId1" Type="http://schemas.openxmlformats.org/officeDocument/2006/relationships/vmlDrawing" Target="../drawings/vmlDrawing43.vml"/><Relationship Id="rId5" Type="http://schemas.openxmlformats.org/officeDocument/2006/relationships/image" Target="../media/image22.emf"/><Relationship Id="rId4" Type="http://schemas.openxmlformats.org/officeDocument/2006/relationships/oleObject" Target="../embeddings/oleObject43.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xml"/><Relationship Id="rId1" Type="http://schemas.openxmlformats.org/officeDocument/2006/relationships/vmlDrawing" Target="../drawings/vmlDrawing44.vml"/><Relationship Id="rId5" Type="http://schemas.openxmlformats.org/officeDocument/2006/relationships/image" Target="../media/image22.emf"/><Relationship Id="rId4" Type="http://schemas.openxmlformats.org/officeDocument/2006/relationships/oleObject" Target="../embeddings/oleObject44.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5.xml"/><Relationship Id="rId1" Type="http://schemas.openxmlformats.org/officeDocument/2006/relationships/vmlDrawing" Target="../drawings/vmlDrawing45.vml"/><Relationship Id="rId5" Type="http://schemas.openxmlformats.org/officeDocument/2006/relationships/image" Target="../media/image22.emf"/><Relationship Id="rId4" Type="http://schemas.openxmlformats.org/officeDocument/2006/relationships/oleObject" Target="../embeddings/oleObject45.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6.xml"/><Relationship Id="rId1" Type="http://schemas.openxmlformats.org/officeDocument/2006/relationships/vmlDrawing" Target="../drawings/vmlDrawing46.vml"/><Relationship Id="rId5" Type="http://schemas.openxmlformats.org/officeDocument/2006/relationships/image" Target="../media/image22.emf"/><Relationship Id="rId4" Type="http://schemas.openxmlformats.org/officeDocument/2006/relationships/oleObject" Target="../embeddings/oleObject46.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7.xml"/><Relationship Id="rId1" Type="http://schemas.openxmlformats.org/officeDocument/2006/relationships/vmlDrawing" Target="../drawings/vmlDrawing47.vml"/><Relationship Id="rId5" Type="http://schemas.openxmlformats.org/officeDocument/2006/relationships/image" Target="../media/image22.emf"/><Relationship Id="rId4" Type="http://schemas.openxmlformats.org/officeDocument/2006/relationships/oleObject" Target="../embeddings/oleObject47.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8.xml"/><Relationship Id="rId1" Type="http://schemas.openxmlformats.org/officeDocument/2006/relationships/vmlDrawing" Target="../drawings/vmlDrawing48.vml"/><Relationship Id="rId5" Type="http://schemas.openxmlformats.org/officeDocument/2006/relationships/image" Target="../media/image22.emf"/><Relationship Id="rId4" Type="http://schemas.openxmlformats.org/officeDocument/2006/relationships/oleObject" Target="../embeddings/oleObject48.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9.xml"/><Relationship Id="rId1" Type="http://schemas.openxmlformats.org/officeDocument/2006/relationships/vmlDrawing" Target="../drawings/vmlDrawing49.vml"/><Relationship Id="rId5" Type="http://schemas.openxmlformats.org/officeDocument/2006/relationships/image" Target="../media/image22.emf"/><Relationship Id="rId4" Type="http://schemas.openxmlformats.org/officeDocument/2006/relationships/oleObject" Target="../embeddings/oleObject49.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0.xml"/><Relationship Id="rId1" Type="http://schemas.openxmlformats.org/officeDocument/2006/relationships/vmlDrawing" Target="../drawings/vmlDrawing50.vml"/><Relationship Id="rId5" Type="http://schemas.openxmlformats.org/officeDocument/2006/relationships/image" Target="../media/image22.emf"/><Relationship Id="rId4" Type="http://schemas.openxmlformats.org/officeDocument/2006/relationships/oleObject" Target="../embeddings/oleObject50.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1.xml"/><Relationship Id="rId1" Type="http://schemas.openxmlformats.org/officeDocument/2006/relationships/vmlDrawing" Target="../drawings/vmlDrawing51.vml"/><Relationship Id="rId5" Type="http://schemas.openxmlformats.org/officeDocument/2006/relationships/image" Target="../media/image22.emf"/><Relationship Id="rId4" Type="http://schemas.openxmlformats.org/officeDocument/2006/relationships/oleObject" Target="../embeddings/oleObject51.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2.xml"/><Relationship Id="rId1" Type="http://schemas.openxmlformats.org/officeDocument/2006/relationships/vmlDrawing" Target="../drawings/vmlDrawing52.vml"/><Relationship Id="rId5" Type="http://schemas.openxmlformats.org/officeDocument/2006/relationships/image" Target="../media/image22.emf"/><Relationship Id="rId4" Type="http://schemas.openxmlformats.org/officeDocument/2006/relationships/oleObject" Target="../embeddings/oleObject52.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3.xml"/><Relationship Id="rId1" Type="http://schemas.openxmlformats.org/officeDocument/2006/relationships/vmlDrawing" Target="../drawings/vmlDrawing53.vml"/><Relationship Id="rId5" Type="http://schemas.openxmlformats.org/officeDocument/2006/relationships/image" Target="../media/image22.emf"/><Relationship Id="rId4" Type="http://schemas.openxmlformats.org/officeDocument/2006/relationships/oleObject" Target="../embeddings/oleObject53.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4.xml"/><Relationship Id="rId1" Type="http://schemas.openxmlformats.org/officeDocument/2006/relationships/vmlDrawing" Target="../drawings/vmlDrawing54.vml"/><Relationship Id="rId5" Type="http://schemas.openxmlformats.org/officeDocument/2006/relationships/image" Target="../media/image22.emf"/><Relationship Id="rId4" Type="http://schemas.openxmlformats.org/officeDocument/2006/relationships/oleObject" Target="../embeddings/oleObject54.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5.xml"/><Relationship Id="rId1" Type="http://schemas.openxmlformats.org/officeDocument/2006/relationships/vmlDrawing" Target="../drawings/vmlDrawing55.vml"/><Relationship Id="rId5" Type="http://schemas.openxmlformats.org/officeDocument/2006/relationships/image" Target="../media/image22.emf"/><Relationship Id="rId4" Type="http://schemas.openxmlformats.org/officeDocument/2006/relationships/oleObject" Target="../embeddings/oleObject55.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6.xml"/><Relationship Id="rId1" Type="http://schemas.openxmlformats.org/officeDocument/2006/relationships/vmlDrawing" Target="../drawings/vmlDrawing56.vml"/><Relationship Id="rId5" Type="http://schemas.openxmlformats.org/officeDocument/2006/relationships/image" Target="../media/image22.emf"/><Relationship Id="rId4" Type="http://schemas.openxmlformats.org/officeDocument/2006/relationships/oleObject" Target="../embeddings/oleObject56.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7.xml"/><Relationship Id="rId1" Type="http://schemas.openxmlformats.org/officeDocument/2006/relationships/vmlDrawing" Target="../drawings/vmlDrawing57.vml"/><Relationship Id="rId5" Type="http://schemas.openxmlformats.org/officeDocument/2006/relationships/image" Target="../media/image22.emf"/><Relationship Id="rId4" Type="http://schemas.openxmlformats.org/officeDocument/2006/relationships/oleObject" Target="../embeddings/oleObject57.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8.xml"/><Relationship Id="rId1" Type="http://schemas.openxmlformats.org/officeDocument/2006/relationships/vmlDrawing" Target="../drawings/vmlDrawing58.vml"/><Relationship Id="rId5" Type="http://schemas.openxmlformats.org/officeDocument/2006/relationships/image" Target="../media/image22.emf"/><Relationship Id="rId4" Type="http://schemas.openxmlformats.org/officeDocument/2006/relationships/oleObject" Target="../embeddings/oleObject58.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9.xml"/><Relationship Id="rId1" Type="http://schemas.openxmlformats.org/officeDocument/2006/relationships/vmlDrawing" Target="../drawings/vmlDrawing59.vml"/><Relationship Id="rId5" Type="http://schemas.openxmlformats.org/officeDocument/2006/relationships/image" Target="../media/image22.emf"/><Relationship Id="rId4" Type="http://schemas.openxmlformats.org/officeDocument/2006/relationships/oleObject" Target="../embeddings/oleObject59.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58.png"/><Relationship Id="rId5" Type="http://schemas.openxmlformats.org/officeDocument/2006/relationships/image" Target="../media/image22.emf"/><Relationship Id="rId4" Type="http://schemas.openxmlformats.org/officeDocument/2006/relationships/oleObject" Target="../embeddings/oleObject60.bin"/></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1.xml"/><Relationship Id="rId1" Type="http://schemas.openxmlformats.org/officeDocument/2006/relationships/vmlDrawing" Target="../drawings/vmlDrawing61.vml"/><Relationship Id="rId5" Type="http://schemas.openxmlformats.org/officeDocument/2006/relationships/image" Target="../media/image22.emf"/><Relationship Id="rId4" Type="http://schemas.openxmlformats.org/officeDocument/2006/relationships/oleObject" Target="../embeddings/oleObject61.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jpeg"/><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3.jpeg"/><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4.jpeg"/><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 Id="rId5" Type="http://schemas.openxmlformats.org/officeDocument/2006/relationships/image" Target="../media/image18.emf"/><Relationship Id="rId4" Type="http://schemas.openxmlformats.org/officeDocument/2006/relationships/image" Target="../media/image17.png"/></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81.png"/><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81.png"/><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2.emf"/><Relationship Id="rId5" Type="http://schemas.microsoft.com/office/2007/relationships/hdphoto" Target="../media/hdphoto2.wdp"/><Relationship Id="rId4" Type="http://schemas.openxmlformats.org/officeDocument/2006/relationships/image" Target="../media/image6.png"/><Relationship Id="rId9" Type="http://schemas.microsoft.com/office/2007/relationships/hdphoto" Target="../media/hdphoto3.wdp"/></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9.jpeg"/><Relationship Id="rId1" Type="http://schemas.openxmlformats.org/officeDocument/2006/relationships/slideMaster" Target="../slideMasters/slideMaster20.xml"/><Relationship Id="rId5" Type="http://schemas.openxmlformats.org/officeDocument/2006/relationships/image" Target="../media/image92.png"/><Relationship Id="rId4" Type="http://schemas.openxmlformats.org/officeDocument/2006/relationships/image" Target="../media/image91.jpeg"/></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2.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4.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2.emf"/><Relationship Id="rId4" Type="http://schemas.openxmlformats.org/officeDocument/2006/relationships/oleObject" Target="../embeddings/oleObject5.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2.emf"/><Relationship Id="rId4" Type="http://schemas.openxmlformats.org/officeDocument/2006/relationships/oleObject" Target="../embeddings/oleObject6.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2.emf"/><Relationship Id="rId4" Type="http://schemas.openxmlformats.org/officeDocument/2006/relationships/oleObject" Target="../embeddings/oleObject7.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2.emf"/><Relationship Id="rId4" Type="http://schemas.openxmlformats.org/officeDocument/2006/relationships/oleObject" Target="../embeddings/oleObject8.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22.emf"/><Relationship Id="rId4" Type="http://schemas.openxmlformats.org/officeDocument/2006/relationships/oleObject" Target="../embeddings/oleObject9.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22.emf"/><Relationship Id="rId4" Type="http://schemas.openxmlformats.org/officeDocument/2006/relationships/oleObject" Target="../embeddings/oleObject10.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24.png"/><Relationship Id="rId5" Type="http://schemas.openxmlformats.org/officeDocument/2006/relationships/image" Target="../media/image22.emf"/><Relationship Id="rId4" Type="http://schemas.openxmlformats.org/officeDocument/2006/relationships/oleObject" Target="../embeddings/oleObject11.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22.emf"/><Relationship Id="rId4" Type="http://schemas.openxmlformats.org/officeDocument/2006/relationships/oleObject" Target="../embeddings/oleObject12.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22.emf"/><Relationship Id="rId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22.emf"/><Relationship Id="rId4" Type="http://schemas.openxmlformats.org/officeDocument/2006/relationships/oleObject" Target="../embeddings/oleObject14.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22.emf"/><Relationship Id="rId4" Type="http://schemas.openxmlformats.org/officeDocument/2006/relationships/oleObject" Target="../embeddings/oleObject15.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22.emf"/><Relationship Id="rId4" Type="http://schemas.openxmlformats.org/officeDocument/2006/relationships/oleObject" Target="../embeddings/oleObject16.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22.emf"/><Relationship Id="rId4" Type="http://schemas.openxmlformats.org/officeDocument/2006/relationships/oleObject" Target="../embeddings/oleObject17.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22.emf"/><Relationship Id="rId4" Type="http://schemas.openxmlformats.org/officeDocument/2006/relationships/oleObject" Target="../embeddings/oleObject18.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5.png"/><Relationship Id="rId5" Type="http://schemas.openxmlformats.org/officeDocument/2006/relationships/image" Target="../media/image22.emf"/><Relationship Id="rId4" Type="http://schemas.openxmlformats.org/officeDocument/2006/relationships/oleObject" Target="../embeddings/oleObject19.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22.emf"/><Relationship Id="rId4" Type="http://schemas.openxmlformats.org/officeDocument/2006/relationships/oleObject" Target="../embeddings/oleObject20.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22.emf"/><Relationship Id="rId4" Type="http://schemas.openxmlformats.org/officeDocument/2006/relationships/oleObject" Target="../embeddings/oleObject21.bin"/></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1"/>
      </p:bgRef>
    </p:bg>
    <p:spTree>
      <p:nvGrpSpPr>
        <p:cNvPr id="1" name=""/>
        <p:cNvGrpSpPr/>
        <p:nvPr/>
      </p:nvGrpSpPr>
      <p:grpSpPr>
        <a:xfrm>
          <a:off x="0" y="0"/>
          <a:ext cx="0" cy="0"/>
          <a:chOff x="0" y="0"/>
          <a:chExt cx="0" cy="0"/>
        </a:xfrm>
      </p:grpSpPr>
      <p:pic>
        <p:nvPicPr>
          <p:cNvPr id="476" name="Picture 47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336" y="-16345"/>
            <a:ext cx="12453087" cy="7020638"/>
          </a:xfrm>
          <a:prstGeom prst="rect">
            <a:avLst/>
          </a:prstGeom>
        </p:spPr>
      </p:pic>
      <p:sp>
        <p:nvSpPr>
          <p:cNvPr id="21" name="Rectangle 20"/>
          <p:cNvSpPr/>
          <p:nvPr userDrawn="1"/>
        </p:nvSpPr>
        <p:spPr bwMode="auto">
          <a:xfrm>
            <a:off x="6719749" y="2114877"/>
            <a:ext cx="5718002" cy="4889415"/>
          </a:xfrm>
          <a:prstGeom prst="rect">
            <a:avLst/>
          </a:prstGeom>
          <a:gradFill flip="none" rotWithShape="1">
            <a:gsLst>
              <a:gs pos="77000">
                <a:srgbClr val="000000">
                  <a:alpha val="94000"/>
                </a:srgbClr>
              </a:gs>
              <a:gs pos="0">
                <a:srgbClr val="000000">
                  <a:alpha val="0"/>
                </a:srgbClr>
              </a:gs>
              <a:gs pos="37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8" name="Rectangle 457"/>
          <p:cNvSpPr/>
          <p:nvPr userDrawn="1"/>
        </p:nvSpPr>
        <p:spPr bwMode="auto">
          <a:xfrm rot="10800000">
            <a:off x="-15336" y="0"/>
            <a:ext cx="12450690" cy="7007556"/>
          </a:xfrm>
          <a:prstGeom prst="rect">
            <a:avLst/>
          </a:prstGeom>
          <a:gradFill flip="none" rotWithShape="1">
            <a:gsLst>
              <a:gs pos="77000">
                <a:srgbClr val="000000">
                  <a:alpha val="94000"/>
                </a:srgbClr>
              </a:gs>
              <a:gs pos="0">
                <a:srgbClr val="000000">
                  <a:alpha val="0"/>
                </a:srgbClr>
              </a:gs>
              <a:gs pos="37000">
                <a:srgbClr val="000000">
                  <a:alpha val="0"/>
                </a:srgbClr>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20755">
                    <a:srgbClr val="000814"/>
                  </a:gs>
                  <a:gs pos="58000">
                    <a:srgbClr val="000814"/>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invGray">
          <a:xfrm>
            <a:off x="5757552" y="5439003"/>
            <a:ext cx="6402388" cy="1251861"/>
          </a:xfrm>
          <a:noFill/>
        </p:spPr>
        <p:txBody>
          <a:bodyPr lIns="146304" tIns="91440" rIns="146304" bIns="91440" anchor="t" anchorCtr="0"/>
          <a:lstStyle>
            <a:lvl1pPr algn="r">
              <a:defRPr sz="4000" spc="-100" baseline="0">
                <a:gradFill>
                  <a:gsLst>
                    <a:gs pos="90566">
                      <a:schemeClr val="tx1"/>
                    </a:gs>
                    <a:gs pos="54000">
                      <a:schemeClr val="tx1"/>
                    </a:gs>
                  </a:gsLst>
                  <a:lin ang="5400000" scaled="0"/>
                </a:gradFill>
                <a:latin typeface="Segoe UI Light" panose="020B0502040204020203" pitchFamily="34" charset="0"/>
                <a:ea typeface="Segoe UI Black" panose="020B0A02040204020203" pitchFamily="34" charset="0"/>
                <a:cs typeface="Segoe UI Light" panose="020B0502040204020203" pitchFamily="34" charset="0"/>
              </a:defRPr>
            </a:lvl1pPr>
          </a:lstStyle>
          <a:p>
            <a:r>
              <a:rPr lang="en-US" dirty="0"/>
              <a:t>U.S. Public Sector</a:t>
            </a:r>
            <a:br>
              <a:rPr lang="en-US" dirty="0"/>
            </a:br>
            <a:r>
              <a:rPr lang="en-US" dirty="0"/>
              <a:t>FY17 Azure Days</a:t>
            </a:r>
          </a:p>
        </p:txBody>
      </p:sp>
      <p:grpSp>
        <p:nvGrpSpPr>
          <p:cNvPr id="7" name="Group 6"/>
          <p:cNvGrpSpPr>
            <a:grpSpLocks noChangeAspect="1"/>
          </p:cNvGrpSpPr>
          <p:nvPr userDrawn="1"/>
        </p:nvGrpSpPr>
        <p:grpSpPr bwMode="ltGray">
          <a:xfrm>
            <a:off x="468308" y="479425"/>
            <a:ext cx="1448129" cy="310896"/>
            <a:chOff x="457200" y="1643393"/>
            <a:chExt cx="4492753" cy="964540"/>
          </a:xfrm>
        </p:grpSpPr>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457200" y="1643393"/>
              <a:ext cx="964540" cy="964540"/>
            </a:xfrm>
            <a:prstGeom prst="rect">
              <a:avLst/>
            </a:prstGeom>
          </p:spPr>
        </p:pic>
        <p:sp>
          <p:nvSpPr>
            <p:cNvPr id="11" name="Freeform 10"/>
            <p:cNvSpPr>
              <a:spLocks noEditPoints="1"/>
            </p:cNvSpPr>
            <p:nvPr/>
          </p:nvSpPr>
          <p:spPr bwMode="lt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77" name="Group 476" hidden="1"/>
          <p:cNvGrpSpPr/>
          <p:nvPr userDrawn="1"/>
        </p:nvGrpSpPr>
        <p:grpSpPr>
          <a:xfrm>
            <a:off x="6845768" y="-35801"/>
            <a:ext cx="5306635" cy="6560737"/>
            <a:chOff x="6845768" y="-35801"/>
            <a:chExt cx="5306635" cy="6560737"/>
          </a:xfrm>
        </p:grpSpPr>
        <p:cxnSp>
          <p:nvCxnSpPr>
            <p:cNvPr id="254" name="Elbow Connector 253"/>
            <p:cNvCxnSpPr/>
            <p:nvPr userDrawn="1"/>
          </p:nvCxnSpPr>
          <p:spPr>
            <a:xfrm flipV="1">
              <a:off x="7224066" y="5889897"/>
              <a:ext cx="434192" cy="190514"/>
            </a:xfrm>
            <a:prstGeom prst="bentConnector3">
              <a:avLst/>
            </a:prstGeom>
            <a:ln w="9525">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1" name="Oval 260"/>
            <p:cNvSpPr/>
            <p:nvPr userDrawn="1"/>
          </p:nvSpPr>
          <p:spPr bwMode="auto">
            <a:xfrm>
              <a:off x="7120085" y="6028420"/>
              <a:ext cx="103981" cy="103981"/>
            </a:xfrm>
            <a:prstGeom prst="ellipse">
              <a:avLst/>
            </a:prstGeom>
            <a:noFill/>
            <a:ln w="9525">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62" name="Straight Connector 261"/>
            <p:cNvCxnSpPr/>
            <p:nvPr userDrawn="1"/>
          </p:nvCxnSpPr>
          <p:spPr>
            <a:xfrm>
              <a:off x="6949749" y="6331871"/>
              <a:ext cx="783124" cy="0"/>
            </a:xfrm>
            <a:prstGeom prst="line">
              <a:avLst/>
            </a:prstGeom>
            <a:ln w="9525">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4" name="Oval 263"/>
            <p:cNvSpPr/>
            <p:nvPr userDrawn="1"/>
          </p:nvSpPr>
          <p:spPr bwMode="auto">
            <a:xfrm>
              <a:off x="6845768" y="6277789"/>
              <a:ext cx="103981" cy="103981"/>
            </a:xfrm>
            <a:prstGeom prst="ellipse">
              <a:avLst/>
            </a:prstGeom>
            <a:noFill/>
            <a:ln w="9525">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52" name="Group 451"/>
            <p:cNvGrpSpPr/>
            <p:nvPr userDrawn="1"/>
          </p:nvGrpSpPr>
          <p:grpSpPr>
            <a:xfrm flipH="1">
              <a:off x="11261621" y="5889897"/>
              <a:ext cx="890782" cy="491873"/>
              <a:chOff x="6998168" y="6042297"/>
              <a:chExt cx="890782" cy="491873"/>
            </a:xfrm>
          </p:grpSpPr>
          <p:cxnSp>
            <p:nvCxnSpPr>
              <p:cNvPr id="448" name="Elbow Connector 447"/>
              <p:cNvCxnSpPr/>
              <p:nvPr userDrawn="1"/>
            </p:nvCxnSpPr>
            <p:spPr>
              <a:xfrm rot="10800000" flipH="1">
                <a:off x="7376465" y="6042297"/>
                <a:ext cx="512485" cy="190514"/>
              </a:xfrm>
              <a:prstGeom prst="bentConnector3">
                <a:avLst/>
              </a:prstGeom>
              <a:ln w="9525">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9" name="Oval 448"/>
              <p:cNvSpPr/>
              <p:nvPr userDrawn="1"/>
            </p:nvSpPr>
            <p:spPr bwMode="auto">
              <a:xfrm>
                <a:off x="7272485" y="6180820"/>
                <a:ext cx="103981" cy="103981"/>
              </a:xfrm>
              <a:prstGeom prst="ellipse">
                <a:avLst/>
              </a:prstGeom>
              <a:noFill/>
              <a:ln w="9525">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50" name="Straight Connector 449"/>
              <p:cNvCxnSpPr/>
              <p:nvPr userDrawn="1"/>
            </p:nvCxnSpPr>
            <p:spPr>
              <a:xfrm>
                <a:off x="7102149" y="6484271"/>
                <a:ext cx="415222" cy="0"/>
              </a:xfrm>
              <a:prstGeom prst="line">
                <a:avLst/>
              </a:prstGeom>
              <a:ln w="9525">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1" name="Oval 450"/>
              <p:cNvSpPr/>
              <p:nvPr userDrawn="1"/>
            </p:nvSpPr>
            <p:spPr bwMode="auto">
              <a:xfrm>
                <a:off x="6998168" y="6430189"/>
                <a:ext cx="103981" cy="103981"/>
              </a:xfrm>
              <a:prstGeom prst="ellipse">
                <a:avLst/>
              </a:prstGeom>
              <a:noFill/>
              <a:ln w="9525">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4" name="Picture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579670" y="5754973"/>
              <a:ext cx="4129181" cy="769963"/>
            </a:xfrm>
            <a:prstGeom prst="rect">
              <a:avLst/>
            </a:prstGeom>
          </p:spPr>
        </p:pic>
        <p:sp>
          <p:nvSpPr>
            <p:cNvPr id="189" name="Oval 188"/>
            <p:cNvSpPr/>
            <p:nvPr userDrawn="1"/>
          </p:nvSpPr>
          <p:spPr bwMode="auto">
            <a:xfrm>
              <a:off x="10933384" y="3785648"/>
              <a:ext cx="103981" cy="103981"/>
            </a:xfrm>
            <a:prstGeom prst="ellipse">
              <a:avLst/>
            </a:prstGeom>
            <a:noFill/>
            <a:ln w="9525">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Oval 189"/>
            <p:cNvSpPr/>
            <p:nvPr userDrawn="1"/>
          </p:nvSpPr>
          <p:spPr bwMode="auto">
            <a:xfrm>
              <a:off x="10501583" y="4008548"/>
              <a:ext cx="103981" cy="103981"/>
            </a:xfrm>
            <a:prstGeom prst="ellipse">
              <a:avLst/>
            </a:prstGeom>
            <a:noFill/>
            <a:ln w="952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Oval 190"/>
            <p:cNvSpPr/>
            <p:nvPr userDrawn="1"/>
          </p:nvSpPr>
          <p:spPr bwMode="auto">
            <a:xfrm>
              <a:off x="10287667" y="2955772"/>
              <a:ext cx="103981" cy="103981"/>
            </a:xfrm>
            <a:prstGeom prst="ellipse">
              <a:avLst/>
            </a:prstGeom>
            <a:noFill/>
            <a:ln w="952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2" name="Oval 191"/>
            <p:cNvSpPr/>
            <p:nvPr userDrawn="1"/>
          </p:nvSpPr>
          <p:spPr bwMode="auto">
            <a:xfrm>
              <a:off x="9547495" y="2509749"/>
              <a:ext cx="103981" cy="103981"/>
            </a:xfrm>
            <a:prstGeom prst="ellipse">
              <a:avLst/>
            </a:prstGeom>
            <a:noFill/>
            <a:ln w="952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3" name="Oval 192"/>
            <p:cNvSpPr/>
            <p:nvPr userDrawn="1"/>
          </p:nvSpPr>
          <p:spPr bwMode="auto">
            <a:xfrm>
              <a:off x="8555476" y="3237014"/>
              <a:ext cx="103981" cy="103981"/>
            </a:xfrm>
            <a:prstGeom prst="ellipse">
              <a:avLst/>
            </a:prstGeom>
            <a:noFill/>
            <a:ln w="9525">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4" name="Oval 193"/>
            <p:cNvSpPr/>
            <p:nvPr userDrawn="1"/>
          </p:nvSpPr>
          <p:spPr bwMode="auto">
            <a:xfrm>
              <a:off x="8090213" y="4191415"/>
              <a:ext cx="103981" cy="103981"/>
            </a:xfrm>
            <a:prstGeom prst="ellipse">
              <a:avLst/>
            </a:prstGeom>
            <a:noFill/>
            <a:ln w="9525">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5" name="Oval 194"/>
            <p:cNvSpPr/>
            <p:nvPr userDrawn="1"/>
          </p:nvSpPr>
          <p:spPr bwMode="auto">
            <a:xfrm>
              <a:off x="7743763" y="3739071"/>
              <a:ext cx="103981" cy="103981"/>
            </a:xfrm>
            <a:prstGeom prst="ellipse">
              <a:avLst/>
            </a:prstGeom>
            <a:noFill/>
            <a:ln w="9525">
              <a:solidFill>
                <a:srgbClr val="BAD80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96" name="Elbow Connector 195"/>
            <p:cNvCxnSpPr/>
            <p:nvPr userDrawn="1"/>
          </p:nvCxnSpPr>
          <p:spPr>
            <a:xfrm rot="16200000" flipV="1">
              <a:off x="6179076" y="1645723"/>
              <a:ext cx="3807672" cy="469106"/>
            </a:xfrm>
            <a:prstGeom prst="bentConnector3">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p:nvPr userDrawn="1"/>
          </p:nvCxnSpPr>
          <p:spPr>
            <a:xfrm flipV="1">
              <a:off x="9250633" y="-26914"/>
              <a:ext cx="0" cy="4132373"/>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2" name="Elbow Connector 201"/>
            <p:cNvCxnSpPr/>
            <p:nvPr userDrawn="1"/>
          </p:nvCxnSpPr>
          <p:spPr>
            <a:xfrm rot="16200000" flipV="1">
              <a:off x="8261057" y="1380968"/>
              <a:ext cx="3145759" cy="329990"/>
            </a:xfrm>
            <a:prstGeom prst="bentConnector3">
              <a:avLst>
                <a:gd name="adj1" fmla="val 58720"/>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5" name="Elbow Connector 204"/>
            <p:cNvCxnSpPr/>
            <p:nvPr userDrawn="1"/>
          </p:nvCxnSpPr>
          <p:spPr>
            <a:xfrm rot="5400000" flipH="1" flipV="1">
              <a:off x="9179609" y="1137896"/>
              <a:ext cx="2566853" cy="237228"/>
            </a:xfrm>
            <a:prstGeom prst="bentConnector3">
              <a:avLst>
                <a:gd name="adj1" fmla="val 29516"/>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userDrawn="1"/>
          </p:nvCxnSpPr>
          <p:spPr>
            <a:xfrm flipV="1">
              <a:off x="10153922" y="-35801"/>
              <a:ext cx="0" cy="741223"/>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1" name="Oval 210"/>
            <p:cNvSpPr/>
            <p:nvPr userDrawn="1"/>
          </p:nvSpPr>
          <p:spPr bwMode="auto">
            <a:xfrm>
              <a:off x="8266666" y="3785022"/>
              <a:ext cx="103981" cy="103981"/>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2" name="Oval 211"/>
            <p:cNvSpPr/>
            <p:nvPr userDrawn="1"/>
          </p:nvSpPr>
          <p:spPr bwMode="auto">
            <a:xfrm>
              <a:off x="9194673" y="4112257"/>
              <a:ext cx="103981" cy="103981"/>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3" name="Oval 212"/>
            <p:cNvSpPr/>
            <p:nvPr userDrawn="1"/>
          </p:nvSpPr>
          <p:spPr bwMode="auto">
            <a:xfrm>
              <a:off x="9949927" y="3120828"/>
              <a:ext cx="103981" cy="103981"/>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Oval 213"/>
            <p:cNvSpPr/>
            <p:nvPr userDrawn="1"/>
          </p:nvSpPr>
          <p:spPr bwMode="auto">
            <a:xfrm>
              <a:off x="10291242" y="2544542"/>
              <a:ext cx="103981" cy="103981"/>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5" name="Oval 214"/>
            <p:cNvSpPr/>
            <p:nvPr userDrawn="1"/>
          </p:nvSpPr>
          <p:spPr bwMode="auto">
            <a:xfrm>
              <a:off x="10101164" y="705422"/>
              <a:ext cx="103981" cy="103981"/>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8" name="Oval 217"/>
            <p:cNvSpPr/>
            <p:nvPr userDrawn="1"/>
          </p:nvSpPr>
          <p:spPr bwMode="auto">
            <a:xfrm>
              <a:off x="7552491" y="3130651"/>
              <a:ext cx="103981" cy="103981"/>
            </a:xfrm>
            <a:prstGeom prst="ellipse">
              <a:avLst/>
            </a:prstGeom>
            <a:noFill/>
            <a:ln w="9525">
              <a:solidFill>
                <a:srgbClr val="BAD80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74" name="Elbow Connector 173"/>
            <p:cNvCxnSpPr/>
            <p:nvPr userDrawn="1"/>
          </p:nvCxnSpPr>
          <p:spPr>
            <a:xfrm rot="16200000" flipV="1">
              <a:off x="10112942" y="4555145"/>
              <a:ext cx="1097268" cy="215212"/>
            </a:xfrm>
            <a:prstGeom prst="bentConnector3">
              <a:avLst>
                <a:gd name="adj1" fmla="val 25694"/>
              </a:avLst>
            </a:prstGeom>
            <a:ln w="9525">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Elbow Connector 174"/>
            <p:cNvCxnSpPr/>
            <p:nvPr userDrawn="1"/>
          </p:nvCxnSpPr>
          <p:spPr>
            <a:xfrm rot="5400000" flipH="1" flipV="1">
              <a:off x="7547788" y="4176049"/>
              <a:ext cx="1894333" cy="224228"/>
            </a:xfrm>
            <a:prstGeom prst="bentConnector3">
              <a:avLst>
                <a:gd name="adj1" fmla="val 50000"/>
              </a:avLst>
            </a:prstGeom>
            <a:ln w="9525">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7" name="Elbow Connector 176"/>
            <p:cNvCxnSpPr>
              <a:endCxn id="195" idx="4"/>
            </p:cNvCxnSpPr>
            <p:nvPr userDrawn="1"/>
          </p:nvCxnSpPr>
          <p:spPr>
            <a:xfrm rot="16200000" flipV="1">
              <a:off x="7194290" y="4444518"/>
              <a:ext cx="1347708" cy="144780"/>
            </a:xfrm>
            <a:prstGeom prst="bentConnector3">
              <a:avLst/>
            </a:prstGeom>
            <a:ln w="9525">
              <a:solidFill>
                <a:srgbClr val="BAD80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userDrawn="1"/>
          </p:nvCxnSpPr>
          <p:spPr>
            <a:xfrm flipV="1">
              <a:off x="10339658" y="3066103"/>
              <a:ext cx="0" cy="2185765"/>
            </a:xfrm>
            <a:prstGeom prst="line">
              <a:avLst/>
            </a:prstGeom>
            <a:ln w="9525">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userDrawn="1"/>
          </p:nvCxnSpPr>
          <p:spPr>
            <a:xfrm flipV="1">
              <a:off x="8142204" y="4297779"/>
              <a:ext cx="0" cy="892306"/>
            </a:xfrm>
            <a:prstGeom prst="line">
              <a:avLst/>
            </a:prstGeom>
            <a:ln w="9525">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userDrawn="1"/>
          </p:nvCxnSpPr>
          <p:spPr>
            <a:xfrm flipV="1">
              <a:off x="10986545" y="3889629"/>
              <a:ext cx="0" cy="1312231"/>
            </a:xfrm>
            <a:prstGeom prst="line">
              <a:avLst/>
            </a:prstGeom>
            <a:ln w="952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6" name="Elbow Connector 185"/>
            <p:cNvCxnSpPr/>
            <p:nvPr userDrawn="1"/>
          </p:nvCxnSpPr>
          <p:spPr>
            <a:xfrm rot="16200000" flipV="1">
              <a:off x="8492443" y="3727124"/>
              <a:ext cx="2583765" cy="368883"/>
            </a:xfrm>
            <a:prstGeom prst="bentConnector3">
              <a:avLst>
                <a:gd name="adj1" fmla="val 58258"/>
              </a:avLst>
            </a:prstGeom>
            <a:ln w="9525">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userDrawn="1"/>
          </p:nvCxnSpPr>
          <p:spPr>
            <a:xfrm flipV="1">
              <a:off x="7603275" y="3237013"/>
              <a:ext cx="0" cy="1953756"/>
            </a:xfrm>
            <a:prstGeom prst="line">
              <a:avLst/>
            </a:prstGeom>
            <a:ln w="9525">
              <a:solidFill>
                <a:srgbClr val="BAD80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Elbow Connector 218"/>
            <p:cNvCxnSpPr/>
            <p:nvPr userDrawn="1"/>
          </p:nvCxnSpPr>
          <p:spPr>
            <a:xfrm rot="16200000" flipV="1">
              <a:off x="9338798" y="3227640"/>
              <a:ext cx="3616670" cy="360369"/>
            </a:xfrm>
            <a:prstGeom prst="bentConnector3">
              <a:avLst>
                <a:gd name="adj1" fmla="val 54214"/>
              </a:avLst>
            </a:prstGeom>
            <a:ln w="952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userDrawn="1"/>
          </p:nvCxnSpPr>
          <p:spPr>
            <a:xfrm flipV="1">
              <a:off x="11353116" y="-26915"/>
              <a:ext cx="0" cy="269751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2" name="Oval 231"/>
            <p:cNvSpPr/>
            <p:nvPr userDrawn="1"/>
          </p:nvSpPr>
          <p:spPr bwMode="auto">
            <a:xfrm>
              <a:off x="11301340" y="2669802"/>
              <a:ext cx="103981" cy="103981"/>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3" name="Oval 232"/>
            <p:cNvSpPr/>
            <p:nvPr userDrawn="1"/>
          </p:nvSpPr>
          <p:spPr bwMode="auto">
            <a:xfrm>
              <a:off x="10914744" y="1496708"/>
              <a:ext cx="103981" cy="103981"/>
            </a:xfrm>
            <a:prstGeom prst="ellipse">
              <a:avLst/>
            </a:prstGeom>
            <a:noFill/>
            <a:ln w="9525">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7" name="Straight Connector 236"/>
            <p:cNvCxnSpPr>
              <a:stCxn id="239" idx="0"/>
            </p:cNvCxnSpPr>
            <p:nvPr userDrawn="1"/>
          </p:nvCxnSpPr>
          <p:spPr>
            <a:xfrm flipH="1" flipV="1">
              <a:off x="8913471" y="-35800"/>
              <a:ext cx="2337" cy="2831417"/>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9" name="Oval 238"/>
            <p:cNvSpPr/>
            <p:nvPr userDrawn="1"/>
          </p:nvSpPr>
          <p:spPr bwMode="auto">
            <a:xfrm>
              <a:off x="8863817" y="2795617"/>
              <a:ext cx="103981" cy="103981"/>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88" name="Straight Connector 287"/>
            <p:cNvCxnSpPr/>
            <p:nvPr userDrawn="1"/>
          </p:nvCxnSpPr>
          <p:spPr>
            <a:xfrm flipV="1">
              <a:off x="7603275" y="-35801"/>
              <a:ext cx="0" cy="2520078"/>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9" name="Oval 288"/>
            <p:cNvSpPr/>
            <p:nvPr userDrawn="1"/>
          </p:nvSpPr>
          <p:spPr bwMode="auto">
            <a:xfrm>
              <a:off x="7550517" y="2484276"/>
              <a:ext cx="103981" cy="103981"/>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93" name="Group 162"/>
            <p:cNvGrpSpPr>
              <a:grpSpLocks noChangeAspect="1"/>
            </p:cNvGrpSpPr>
            <p:nvPr userDrawn="1"/>
          </p:nvGrpSpPr>
          <p:grpSpPr bwMode="auto">
            <a:xfrm>
              <a:off x="7480727" y="4236671"/>
              <a:ext cx="4024398" cy="1373190"/>
              <a:chOff x="1548" y="1395"/>
              <a:chExt cx="4736" cy="1616"/>
            </a:xfrm>
          </p:grpSpPr>
          <p:sp>
            <p:nvSpPr>
              <p:cNvPr id="295" name="Freeform 163"/>
              <p:cNvSpPr>
                <a:spLocks/>
              </p:cNvSpPr>
              <p:nvPr userDrawn="1"/>
            </p:nvSpPr>
            <p:spPr bwMode="auto">
              <a:xfrm>
                <a:off x="1548" y="1395"/>
                <a:ext cx="4736" cy="1616"/>
              </a:xfrm>
              <a:custGeom>
                <a:avLst/>
                <a:gdLst>
                  <a:gd name="T0" fmla="*/ 1219 w 2360"/>
                  <a:gd name="T1" fmla="*/ 177 h 804"/>
                  <a:gd name="T2" fmla="*/ 1216 w 2360"/>
                  <a:gd name="T3" fmla="*/ 125 h 804"/>
                  <a:gd name="T4" fmla="*/ 1209 w 2360"/>
                  <a:gd name="T5" fmla="*/ 90 h 804"/>
                  <a:gd name="T6" fmla="*/ 1203 w 2360"/>
                  <a:gd name="T7" fmla="*/ 67 h 804"/>
                  <a:gd name="T8" fmla="*/ 1201 w 2360"/>
                  <a:gd name="T9" fmla="*/ 47 h 804"/>
                  <a:gd name="T10" fmla="*/ 1198 w 2360"/>
                  <a:gd name="T11" fmla="*/ 14 h 804"/>
                  <a:gd name="T12" fmla="*/ 1198 w 2360"/>
                  <a:gd name="T13" fmla="*/ 3 h 804"/>
                  <a:gd name="T14" fmla="*/ 1185 w 2360"/>
                  <a:gd name="T15" fmla="*/ 11 h 804"/>
                  <a:gd name="T16" fmla="*/ 1182 w 2360"/>
                  <a:gd name="T17" fmla="*/ 29 h 804"/>
                  <a:gd name="T18" fmla="*/ 1184 w 2360"/>
                  <a:gd name="T19" fmla="*/ 43 h 804"/>
                  <a:gd name="T20" fmla="*/ 1181 w 2360"/>
                  <a:gd name="T21" fmla="*/ 63 h 804"/>
                  <a:gd name="T22" fmla="*/ 1178 w 2360"/>
                  <a:gd name="T23" fmla="*/ 83 h 804"/>
                  <a:gd name="T24" fmla="*/ 1164 w 2360"/>
                  <a:gd name="T25" fmla="*/ 116 h 804"/>
                  <a:gd name="T26" fmla="*/ 1162 w 2360"/>
                  <a:gd name="T27" fmla="*/ 173 h 804"/>
                  <a:gd name="T28" fmla="*/ 1145 w 2360"/>
                  <a:gd name="T29" fmla="*/ 193 h 804"/>
                  <a:gd name="T30" fmla="*/ 1050 w 2360"/>
                  <a:gd name="T31" fmla="*/ 325 h 804"/>
                  <a:gd name="T32" fmla="*/ 1043 w 2360"/>
                  <a:gd name="T33" fmla="*/ 364 h 804"/>
                  <a:gd name="T34" fmla="*/ 1016 w 2360"/>
                  <a:gd name="T35" fmla="*/ 424 h 804"/>
                  <a:gd name="T36" fmla="*/ 1016 w 2360"/>
                  <a:gd name="T37" fmla="*/ 540 h 804"/>
                  <a:gd name="T38" fmla="*/ 996 w 2360"/>
                  <a:gd name="T39" fmla="*/ 559 h 804"/>
                  <a:gd name="T40" fmla="*/ 901 w 2360"/>
                  <a:gd name="T41" fmla="*/ 581 h 804"/>
                  <a:gd name="T42" fmla="*/ 864 w 2360"/>
                  <a:gd name="T43" fmla="*/ 575 h 804"/>
                  <a:gd name="T44" fmla="*/ 860 w 2360"/>
                  <a:gd name="T45" fmla="*/ 546 h 804"/>
                  <a:gd name="T46" fmla="*/ 836 w 2360"/>
                  <a:gd name="T47" fmla="*/ 544 h 804"/>
                  <a:gd name="T48" fmla="*/ 811 w 2360"/>
                  <a:gd name="T49" fmla="*/ 545 h 804"/>
                  <a:gd name="T50" fmla="*/ 805 w 2360"/>
                  <a:gd name="T51" fmla="*/ 572 h 804"/>
                  <a:gd name="T52" fmla="*/ 667 w 2360"/>
                  <a:gd name="T53" fmla="*/ 586 h 804"/>
                  <a:gd name="T54" fmla="*/ 407 w 2360"/>
                  <a:gd name="T55" fmla="*/ 564 h 804"/>
                  <a:gd name="T56" fmla="*/ 14 w 2360"/>
                  <a:gd name="T57" fmla="*/ 562 h 804"/>
                  <a:gd name="T58" fmla="*/ 0 w 2360"/>
                  <a:gd name="T59" fmla="*/ 583 h 804"/>
                  <a:gd name="T60" fmla="*/ 15 w 2360"/>
                  <a:gd name="T61" fmla="*/ 607 h 804"/>
                  <a:gd name="T62" fmla="*/ 11 w 2360"/>
                  <a:gd name="T63" fmla="*/ 717 h 804"/>
                  <a:gd name="T64" fmla="*/ 2350 w 2360"/>
                  <a:gd name="T65" fmla="*/ 790 h 804"/>
                  <a:gd name="T66" fmla="*/ 2352 w 2360"/>
                  <a:gd name="T67" fmla="*/ 727 h 804"/>
                  <a:gd name="T68" fmla="*/ 2345 w 2360"/>
                  <a:gd name="T69" fmla="*/ 625 h 804"/>
                  <a:gd name="T70" fmla="*/ 2360 w 2360"/>
                  <a:gd name="T71" fmla="*/ 596 h 804"/>
                  <a:gd name="T72" fmla="*/ 2306 w 2360"/>
                  <a:gd name="T73" fmla="*/ 570 h 804"/>
                  <a:gd name="T74" fmla="*/ 1820 w 2360"/>
                  <a:gd name="T75" fmla="*/ 604 h 804"/>
                  <a:gd name="T76" fmla="*/ 1574 w 2360"/>
                  <a:gd name="T77" fmla="*/ 579 h 804"/>
                  <a:gd name="T78" fmla="*/ 1570 w 2360"/>
                  <a:gd name="T79" fmla="*/ 548 h 804"/>
                  <a:gd name="T80" fmla="*/ 1542 w 2360"/>
                  <a:gd name="T81" fmla="*/ 547 h 804"/>
                  <a:gd name="T82" fmla="*/ 1521 w 2360"/>
                  <a:gd name="T83" fmla="*/ 550 h 804"/>
                  <a:gd name="T84" fmla="*/ 1514 w 2360"/>
                  <a:gd name="T85" fmla="*/ 555 h 804"/>
                  <a:gd name="T86" fmla="*/ 1516 w 2360"/>
                  <a:gd name="T87" fmla="*/ 579 h 804"/>
                  <a:gd name="T88" fmla="*/ 1475 w 2360"/>
                  <a:gd name="T89" fmla="*/ 584 h 804"/>
                  <a:gd name="T90" fmla="*/ 1393 w 2360"/>
                  <a:gd name="T91" fmla="*/ 562 h 804"/>
                  <a:gd name="T92" fmla="*/ 1363 w 2360"/>
                  <a:gd name="T93" fmla="*/ 544 h 804"/>
                  <a:gd name="T94" fmla="*/ 1363 w 2360"/>
                  <a:gd name="T95" fmla="*/ 453 h 804"/>
                  <a:gd name="T96" fmla="*/ 1336 w 2360"/>
                  <a:gd name="T97" fmla="*/ 367 h 804"/>
                  <a:gd name="T98" fmla="*/ 1313 w 2360"/>
                  <a:gd name="T99" fmla="*/ 31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60" h="804">
                    <a:moveTo>
                      <a:pt x="1240" y="200"/>
                    </a:moveTo>
                    <a:cubicBezTo>
                      <a:pt x="1240" y="200"/>
                      <a:pt x="1240" y="196"/>
                      <a:pt x="1237" y="193"/>
                    </a:cubicBezTo>
                    <a:cubicBezTo>
                      <a:pt x="1237" y="185"/>
                      <a:pt x="1237" y="185"/>
                      <a:pt x="1237" y="185"/>
                    </a:cubicBezTo>
                    <a:cubicBezTo>
                      <a:pt x="1237" y="185"/>
                      <a:pt x="1225" y="177"/>
                      <a:pt x="1219" y="177"/>
                    </a:cubicBezTo>
                    <a:cubicBezTo>
                      <a:pt x="1219" y="172"/>
                      <a:pt x="1219" y="172"/>
                      <a:pt x="1219" y="172"/>
                    </a:cubicBezTo>
                    <a:cubicBezTo>
                      <a:pt x="1219" y="172"/>
                      <a:pt x="1223" y="170"/>
                      <a:pt x="1223" y="167"/>
                    </a:cubicBezTo>
                    <a:cubicBezTo>
                      <a:pt x="1223" y="164"/>
                      <a:pt x="1216" y="158"/>
                      <a:pt x="1216" y="158"/>
                    </a:cubicBezTo>
                    <a:cubicBezTo>
                      <a:pt x="1216" y="125"/>
                      <a:pt x="1216" y="125"/>
                      <a:pt x="1216" y="125"/>
                    </a:cubicBezTo>
                    <a:cubicBezTo>
                      <a:pt x="1218" y="119"/>
                      <a:pt x="1218" y="119"/>
                      <a:pt x="1218" y="119"/>
                    </a:cubicBezTo>
                    <a:cubicBezTo>
                      <a:pt x="1224" y="108"/>
                      <a:pt x="1224" y="108"/>
                      <a:pt x="1224" y="108"/>
                    </a:cubicBezTo>
                    <a:cubicBezTo>
                      <a:pt x="1224" y="108"/>
                      <a:pt x="1222" y="101"/>
                      <a:pt x="1213" y="98"/>
                    </a:cubicBezTo>
                    <a:cubicBezTo>
                      <a:pt x="1209" y="90"/>
                      <a:pt x="1209" y="90"/>
                      <a:pt x="1209" y="90"/>
                    </a:cubicBezTo>
                    <a:cubicBezTo>
                      <a:pt x="1209" y="90"/>
                      <a:pt x="1207" y="84"/>
                      <a:pt x="1202" y="81"/>
                    </a:cubicBezTo>
                    <a:cubicBezTo>
                      <a:pt x="1200" y="69"/>
                      <a:pt x="1200" y="69"/>
                      <a:pt x="1200" y="69"/>
                    </a:cubicBezTo>
                    <a:cubicBezTo>
                      <a:pt x="1200" y="67"/>
                      <a:pt x="1200" y="67"/>
                      <a:pt x="1200" y="67"/>
                    </a:cubicBezTo>
                    <a:cubicBezTo>
                      <a:pt x="1203" y="67"/>
                      <a:pt x="1203" y="67"/>
                      <a:pt x="1203" y="67"/>
                    </a:cubicBezTo>
                    <a:cubicBezTo>
                      <a:pt x="1203" y="67"/>
                      <a:pt x="1201" y="55"/>
                      <a:pt x="1198" y="53"/>
                    </a:cubicBezTo>
                    <a:cubicBezTo>
                      <a:pt x="1198" y="53"/>
                      <a:pt x="1196" y="47"/>
                      <a:pt x="1197" y="47"/>
                    </a:cubicBezTo>
                    <a:cubicBezTo>
                      <a:pt x="1198" y="46"/>
                      <a:pt x="1199" y="47"/>
                      <a:pt x="1199" y="47"/>
                    </a:cubicBezTo>
                    <a:cubicBezTo>
                      <a:pt x="1201" y="47"/>
                      <a:pt x="1201" y="47"/>
                      <a:pt x="1201" y="47"/>
                    </a:cubicBezTo>
                    <a:cubicBezTo>
                      <a:pt x="1202" y="44"/>
                      <a:pt x="1202" y="44"/>
                      <a:pt x="1202" y="44"/>
                    </a:cubicBezTo>
                    <a:cubicBezTo>
                      <a:pt x="1202" y="44"/>
                      <a:pt x="1199" y="40"/>
                      <a:pt x="1200" y="37"/>
                    </a:cubicBezTo>
                    <a:cubicBezTo>
                      <a:pt x="1201" y="35"/>
                      <a:pt x="1203" y="26"/>
                      <a:pt x="1200" y="19"/>
                    </a:cubicBezTo>
                    <a:cubicBezTo>
                      <a:pt x="1198" y="14"/>
                      <a:pt x="1198" y="14"/>
                      <a:pt x="1198" y="14"/>
                    </a:cubicBezTo>
                    <a:cubicBezTo>
                      <a:pt x="1197" y="10"/>
                      <a:pt x="1197" y="10"/>
                      <a:pt x="1197" y="10"/>
                    </a:cubicBezTo>
                    <a:cubicBezTo>
                      <a:pt x="1197" y="9"/>
                      <a:pt x="1197" y="9"/>
                      <a:pt x="1197" y="9"/>
                    </a:cubicBezTo>
                    <a:cubicBezTo>
                      <a:pt x="1199" y="6"/>
                      <a:pt x="1199" y="6"/>
                      <a:pt x="1199" y="6"/>
                    </a:cubicBezTo>
                    <a:cubicBezTo>
                      <a:pt x="1198" y="3"/>
                      <a:pt x="1198" y="3"/>
                      <a:pt x="1198" y="3"/>
                    </a:cubicBezTo>
                    <a:cubicBezTo>
                      <a:pt x="1195" y="0"/>
                      <a:pt x="1195" y="0"/>
                      <a:pt x="1195" y="0"/>
                    </a:cubicBezTo>
                    <a:cubicBezTo>
                      <a:pt x="1190" y="0"/>
                      <a:pt x="1190" y="0"/>
                      <a:pt x="1190" y="0"/>
                    </a:cubicBezTo>
                    <a:cubicBezTo>
                      <a:pt x="1188" y="0"/>
                      <a:pt x="1188" y="0"/>
                      <a:pt x="1188" y="0"/>
                    </a:cubicBezTo>
                    <a:cubicBezTo>
                      <a:pt x="1185" y="11"/>
                      <a:pt x="1185" y="11"/>
                      <a:pt x="1185" y="11"/>
                    </a:cubicBezTo>
                    <a:cubicBezTo>
                      <a:pt x="1184" y="16"/>
                      <a:pt x="1184" y="16"/>
                      <a:pt x="1184" y="16"/>
                    </a:cubicBezTo>
                    <a:cubicBezTo>
                      <a:pt x="1183" y="21"/>
                      <a:pt x="1183" y="21"/>
                      <a:pt x="1183" y="21"/>
                    </a:cubicBezTo>
                    <a:cubicBezTo>
                      <a:pt x="1182" y="26"/>
                      <a:pt x="1182" y="26"/>
                      <a:pt x="1182" y="26"/>
                    </a:cubicBezTo>
                    <a:cubicBezTo>
                      <a:pt x="1182" y="29"/>
                      <a:pt x="1182" y="29"/>
                      <a:pt x="1182" y="29"/>
                    </a:cubicBezTo>
                    <a:cubicBezTo>
                      <a:pt x="1182" y="32"/>
                      <a:pt x="1182" y="32"/>
                      <a:pt x="1182" y="32"/>
                    </a:cubicBezTo>
                    <a:cubicBezTo>
                      <a:pt x="1181" y="36"/>
                      <a:pt x="1181" y="36"/>
                      <a:pt x="1181" y="36"/>
                    </a:cubicBezTo>
                    <a:cubicBezTo>
                      <a:pt x="1181" y="39"/>
                      <a:pt x="1181" y="39"/>
                      <a:pt x="1181" y="39"/>
                    </a:cubicBezTo>
                    <a:cubicBezTo>
                      <a:pt x="1184" y="43"/>
                      <a:pt x="1184" y="43"/>
                      <a:pt x="1184" y="43"/>
                    </a:cubicBezTo>
                    <a:cubicBezTo>
                      <a:pt x="1186" y="46"/>
                      <a:pt x="1186" y="46"/>
                      <a:pt x="1186" y="46"/>
                    </a:cubicBezTo>
                    <a:cubicBezTo>
                      <a:pt x="1186" y="53"/>
                      <a:pt x="1186" y="53"/>
                      <a:pt x="1186" y="53"/>
                    </a:cubicBezTo>
                    <a:cubicBezTo>
                      <a:pt x="1186" y="53"/>
                      <a:pt x="1182" y="57"/>
                      <a:pt x="1182" y="59"/>
                    </a:cubicBezTo>
                    <a:cubicBezTo>
                      <a:pt x="1182" y="61"/>
                      <a:pt x="1181" y="63"/>
                      <a:pt x="1181" y="63"/>
                    </a:cubicBezTo>
                    <a:cubicBezTo>
                      <a:pt x="1181" y="66"/>
                      <a:pt x="1181" y="66"/>
                      <a:pt x="1181" y="66"/>
                    </a:cubicBezTo>
                    <a:cubicBezTo>
                      <a:pt x="1182" y="68"/>
                      <a:pt x="1182" y="68"/>
                      <a:pt x="1182" y="68"/>
                    </a:cubicBezTo>
                    <a:cubicBezTo>
                      <a:pt x="1182" y="68"/>
                      <a:pt x="1183" y="75"/>
                      <a:pt x="1181" y="78"/>
                    </a:cubicBezTo>
                    <a:cubicBezTo>
                      <a:pt x="1178" y="80"/>
                      <a:pt x="1178" y="83"/>
                      <a:pt x="1178" y="83"/>
                    </a:cubicBezTo>
                    <a:cubicBezTo>
                      <a:pt x="1178" y="86"/>
                      <a:pt x="1178" y="86"/>
                      <a:pt x="1178" y="86"/>
                    </a:cubicBezTo>
                    <a:cubicBezTo>
                      <a:pt x="1178" y="86"/>
                      <a:pt x="1172" y="89"/>
                      <a:pt x="1171" y="96"/>
                    </a:cubicBezTo>
                    <a:cubicBezTo>
                      <a:pt x="1171" y="96"/>
                      <a:pt x="1163" y="100"/>
                      <a:pt x="1161" y="102"/>
                    </a:cubicBezTo>
                    <a:cubicBezTo>
                      <a:pt x="1159" y="104"/>
                      <a:pt x="1160" y="111"/>
                      <a:pt x="1164" y="116"/>
                    </a:cubicBezTo>
                    <a:cubicBezTo>
                      <a:pt x="1164" y="121"/>
                      <a:pt x="1164" y="121"/>
                      <a:pt x="1164" y="121"/>
                    </a:cubicBezTo>
                    <a:cubicBezTo>
                      <a:pt x="1166" y="124"/>
                      <a:pt x="1166" y="124"/>
                      <a:pt x="1166" y="124"/>
                    </a:cubicBezTo>
                    <a:cubicBezTo>
                      <a:pt x="1166" y="157"/>
                      <a:pt x="1166" y="157"/>
                      <a:pt x="1166" y="157"/>
                    </a:cubicBezTo>
                    <a:cubicBezTo>
                      <a:pt x="1166" y="157"/>
                      <a:pt x="1156" y="166"/>
                      <a:pt x="1162" y="173"/>
                    </a:cubicBezTo>
                    <a:cubicBezTo>
                      <a:pt x="1162" y="177"/>
                      <a:pt x="1162" y="177"/>
                      <a:pt x="1162" y="177"/>
                    </a:cubicBezTo>
                    <a:cubicBezTo>
                      <a:pt x="1159" y="177"/>
                      <a:pt x="1159" y="177"/>
                      <a:pt x="1159" y="177"/>
                    </a:cubicBezTo>
                    <a:cubicBezTo>
                      <a:pt x="1145" y="185"/>
                      <a:pt x="1145" y="185"/>
                      <a:pt x="1145" y="185"/>
                    </a:cubicBezTo>
                    <a:cubicBezTo>
                      <a:pt x="1145" y="193"/>
                      <a:pt x="1145" y="193"/>
                      <a:pt x="1145" y="193"/>
                    </a:cubicBezTo>
                    <a:cubicBezTo>
                      <a:pt x="1142" y="196"/>
                      <a:pt x="1142" y="196"/>
                      <a:pt x="1142" y="196"/>
                    </a:cubicBezTo>
                    <a:cubicBezTo>
                      <a:pt x="1142" y="199"/>
                      <a:pt x="1142" y="199"/>
                      <a:pt x="1142" y="199"/>
                    </a:cubicBezTo>
                    <a:cubicBezTo>
                      <a:pt x="1142" y="199"/>
                      <a:pt x="1075" y="223"/>
                      <a:pt x="1067" y="310"/>
                    </a:cubicBezTo>
                    <a:cubicBezTo>
                      <a:pt x="1050" y="325"/>
                      <a:pt x="1050" y="325"/>
                      <a:pt x="1050" y="325"/>
                    </a:cubicBezTo>
                    <a:cubicBezTo>
                      <a:pt x="1050" y="338"/>
                      <a:pt x="1050" y="338"/>
                      <a:pt x="1050" y="338"/>
                    </a:cubicBezTo>
                    <a:cubicBezTo>
                      <a:pt x="1037" y="354"/>
                      <a:pt x="1037" y="354"/>
                      <a:pt x="1037" y="354"/>
                    </a:cubicBezTo>
                    <a:cubicBezTo>
                      <a:pt x="1037" y="354"/>
                      <a:pt x="1038" y="360"/>
                      <a:pt x="1039" y="360"/>
                    </a:cubicBezTo>
                    <a:cubicBezTo>
                      <a:pt x="1040" y="361"/>
                      <a:pt x="1043" y="364"/>
                      <a:pt x="1043" y="364"/>
                    </a:cubicBezTo>
                    <a:cubicBezTo>
                      <a:pt x="1045" y="369"/>
                      <a:pt x="1045" y="369"/>
                      <a:pt x="1045" y="369"/>
                    </a:cubicBezTo>
                    <a:cubicBezTo>
                      <a:pt x="1045" y="406"/>
                      <a:pt x="1045" y="406"/>
                      <a:pt x="1045" y="406"/>
                    </a:cubicBezTo>
                    <a:cubicBezTo>
                      <a:pt x="1030" y="411"/>
                      <a:pt x="1030" y="411"/>
                      <a:pt x="1030" y="411"/>
                    </a:cubicBezTo>
                    <a:cubicBezTo>
                      <a:pt x="1016" y="424"/>
                      <a:pt x="1016" y="424"/>
                      <a:pt x="1016" y="424"/>
                    </a:cubicBezTo>
                    <a:cubicBezTo>
                      <a:pt x="1016" y="429"/>
                      <a:pt x="1016" y="429"/>
                      <a:pt x="1016" y="429"/>
                    </a:cubicBezTo>
                    <a:cubicBezTo>
                      <a:pt x="1016" y="429"/>
                      <a:pt x="1004" y="436"/>
                      <a:pt x="1016" y="449"/>
                    </a:cubicBezTo>
                    <a:cubicBezTo>
                      <a:pt x="1016" y="526"/>
                      <a:pt x="1016" y="526"/>
                      <a:pt x="1016" y="526"/>
                    </a:cubicBezTo>
                    <a:cubicBezTo>
                      <a:pt x="1016" y="526"/>
                      <a:pt x="1006" y="530"/>
                      <a:pt x="1016" y="540"/>
                    </a:cubicBezTo>
                    <a:cubicBezTo>
                      <a:pt x="999" y="549"/>
                      <a:pt x="999" y="549"/>
                      <a:pt x="999" y="549"/>
                    </a:cubicBezTo>
                    <a:cubicBezTo>
                      <a:pt x="991" y="549"/>
                      <a:pt x="991" y="549"/>
                      <a:pt x="991" y="549"/>
                    </a:cubicBezTo>
                    <a:cubicBezTo>
                      <a:pt x="991" y="554"/>
                      <a:pt x="991" y="554"/>
                      <a:pt x="991" y="554"/>
                    </a:cubicBezTo>
                    <a:cubicBezTo>
                      <a:pt x="996" y="559"/>
                      <a:pt x="996" y="559"/>
                      <a:pt x="996" y="559"/>
                    </a:cubicBezTo>
                    <a:cubicBezTo>
                      <a:pt x="912" y="559"/>
                      <a:pt x="912" y="559"/>
                      <a:pt x="912" y="559"/>
                    </a:cubicBezTo>
                    <a:cubicBezTo>
                      <a:pt x="912" y="564"/>
                      <a:pt x="912" y="564"/>
                      <a:pt x="912" y="564"/>
                    </a:cubicBezTo>
                    <a:cubicBezTo>
                      <a:pt x="910" y="581"/>
                      <a:pt x="910" y="581"/>
                      <a:pt x="910" y="581"/>
                    </a:cubicBezTo>
                    <a:cubicBezTo>
                      <a:pt x="901" y="581"/>
                      <a:pt x="901" y="581"/>
                      <a:pt x="901" y="581"/>
                    </a:cubicBezTo>
                    <a:cubicBezTo>
                      <a:pt x="904" y="587"/>
                      <a:pt x="904" y="587"/>
                      <a:pt x="904" y="587"/>
                    </a:cubicBezTo>
                    <a:cubicBezTo>
                      <a:pt x="899" y="587"/>
                      <a:pt x="899" y="587"/>
                      <a:pt x="899" y="587"/>
                    </a:cubicBezTo>
                    <a:cubicBezTo>
                      <a:pt x="899" y="587"/>
                      <a:pt x="878" y="577"/>
                      <a:pt x="865" y="577"/>
                    </a:cubicBezTo>
                    <a:cubicBezTo>
                      <a:pt x="864" y="575"/>
                      <a:pt x="864" y="575"/>
                      <a:pt x="864" y="575"/>
                    </a:cubicBezTo>
                    <a:cubicBezTo>
                      <a:pt x="864" y="559"/>
                      <a:pt x="864" y="559"/>
                      <a:pt x="864" y="559"/>
                    </a:cubicBezTo>
                    <a:cubicBezTo>
                      <a:pt x="864" y="559"/>
                      <a:pt x="867" y="553"/>
                      <a:pt x="865" y="551"/>
                    </a:cubicBezTo>
                    <a:cubicBezTo>
                      <a:pt x="864" y="547"/>
                      <a:pt x="864" y="547"/>
                      <a:pt x="864" y="547"/>
                    </a:cubicBezTo>
                    <a:cubicBezTo>
                      <a:pt x="860" y="546"/>
                      <a:pt x="860" y="546"/>
                      <a:pt x="860" y="546"/>
                    </a:cubicBezTo>
                    <a:cubicBezTo>
                      <a:pt x="853" y="544"/>
                      <a:pt x="853" y="544"/>
                      <a:pt x="853" y="544"/>
                    </a:cubicBezTo>
                    <a:cubicBezTo>
                      <a:pt x="851" y="544"/>
                      <a:pt x="851" y="544"/>
                      <a:pt x="851" y="544"/>
                    </a:cubicBezTo>
                    <a:cubicBezTo>
                      <a:pt x="840" y="544"/>
                      <a:pt x="840" y="544"/>
                      <a:pt x="840" y="544"/>
                    </a:cubicBezTo>
                    <a:cubicBezTo>
                      <a:pt x="836" y="544"/>
                      <a:pt x="836" y="544"/>
                      <a:pt x="836" y="544"/>
                    </a:cubicBezTo>
                    <a:cubicBezTo>
                      <a:pt x="825" y="544"/>
                      <a:pt x="825" y="544"/>
                      <a:pt x="825" y="544"/>
                    </a:cubicBezTo>
                    <a:cubicBezTo>
                      <a:pt x="822" y="544"/>
                      <a:pt x="822" y="544"/>
                      <a:pt x="822" y="544"/>
                    </a:cubicBezTo>
                    <a:cubicBezTo>
                      <a:pt x="813" y="545"/>
                      <a:pt x="813" y="545"/>
                      <a:pt x="813" y="545"/>
                    </a:cubicBezTo>
                    <a:cubicBezTo>
                      <a:pt x="811" y="545"/>
                      <a:pt x="811" y="545"/>
                      <a:pt x="811" y="545"/>
                    </a:cubicBezTo>
                    <a:cubicBezTo>
                      <a:pt x="808" y="546"/>
                      <a:pt x="808" y="546"/>
                      <a:pt x="808" y="546"/>
                    </a:cubicBezTo>
                    <a:cubicBezTo>
                      <a:pt x="805" y="548"/>
                      <a:pt x="805" y="548"/>
                      <a:pt x="805" y="548"/>
                    </a:cubicBezTo>
                    <a:cubicBezTo>
                      <a:pt x="805" y="548"/>
                      <a:pt x="802" y="551"/>
                      <a:pt x="805" y="554"/>
                    </a:cubicBezTo>
                    <a:cubicBezTo>
                      <a:pt x="805" y="572"/>
                      <a:pt x="805" y="572"/>
                      <a:pt x="805" y="572"/>
                    </a:cubicBezTo>
                    <a:cubicBezTo>
                      <a:pt x="804" y="573"/>
                      <a:pt x="804" y="573"/>
                      <a:pt x="804" y="573"/>
                    </a:cubicBezTo>
                    <a:cubicBezTo>
                      <a:pt x="804" y="576"/>
                      <a:pt x="804" y="576"/>
                      <a:pt x="804" y="576"/>
                    </a:cubicBezTo>
                    <a:cubicBezTo>
                      <a:pt x="804" y="576"/>
                      <a:pt x="780" y="579"/>
                      <a:pt x="767" y="586"/>
                    </a:cubicBezTo>
                    <a:cubicBezTo>
                      <a:pt x="667" y="586"/>
                      <a:pt x="667" y="586"/>
                      <a:pt x="667" y="586"/>
                    </a:cubicBezTo>
                    <a:cubicBezTo>
                      <a:pt x="667" y="597"/>
                      <a:pt x="667" y="597"/>
                      <a:pt x="667" y="597"/>
                    </a:cubicBezTo>
                    <a:cubicBezTo>
                      <a:pt x="555" y="597"/>
                      <a:pt x="555" y="597"/>
                      <a:pt x="555" y="597"/>
                    </a:cubicBezTo>
                    <a:cubicBezTo>
                      <a:pt x="473" y="564"/>
                      <a:pt x="473" y="564"/>
                      <a:pt x="473" y="564"/>
                    </a:cubicBezTo>
                    <a:cubicBezTo>
                      <a:pt x="407" y="564"/>
                      <a:pt x="407" y="564"/>
                      <a:pt x="407" y="564"/>
                    </a:cubicBezTo>
                    <a:cubicBezTo>
                      <a:pt x="399" y="559"/>
                      <a:pt x="399" y="559"/>
                      <a:pt x="399" y="559"/>
                    </a:cubicBezTo>
                    <a:cubicBezTo>
                      <a:pt x="58" y="559"/>
                      <a:pt x="58" y="559"/>
                      <a:pt x="58" y="559"/>
                    </a:cubicBezTo>
                    <a:cubicBezTo>
                      <a:pt x="58" y="562"/>
                      <a:pt x="58" y="562"/>
                      <a:pt x="58" y="562"/>
                    </a:cubicBezTo>
                    <a:cubicBezTo>
                      <a:pt x="14" y="562"/>
                      <a:pt x="14" y="562"/>
                      <a:pt x="14" y="562"/>
                    </a:cubicBezTo>
                    <a:cubicBezTo>
                      <a:pt x="14" y="573"/>
                      <a:pt x="14" y="573"/>
                      <a:pt x="14" y="573"/>
                    </a:cubicBezTo>
                    <a:cubicBezTo>
                      <a:pt x="11" y="580"/>
                      <a:pt x="11" y="580"/>
                      <a:pt x="11" y="580"/>
                    </a:cubicBezTo>
                    <a:cubicBezTo>
                      <a:pt x="0" y="580"/>
                      <a:pt x="0" y="580"/>
                      <a:pt x="0" y="580"/>
                    </a:cubicBezTo>
                    <a:cubicBezTo>
                      <a:pt x="0" y="583"/>
                      <a:pt x="0" y="583"/>
                      <a:pt x="0" y="583"/>
                    </a:cubicBezTo>
                    <a:cubicBezTo>
                      <a:pt x="15" y="593"/>
                      <a:pt x="15" y="593"/>
                      <a:pt x="15" y="593"/>
                    </a:cubicBezTo>
                    <a:cubicBezTo>
                      <a:pt x="14" y="599"/>
                      <a:pt x="14" y="599"/>
                      <a:pt x="14" y="599"/>
                    </a:cubicBezTo>
                    <a:cubicBezTo>
                      <a:pt x="15" y="601"/>
                      <a:pt x="15" y="601"/>
                      <a:pt x="15" y="601"/>
                    </a:cubicBezTo>
                    <a:cubicBezTo>
                      <a:pt x="15" y="607"/>
                      <a:pt x="15" y="607"/>
                      <a:pt x="15" y="607"/>
                    </a:cubicBezTo>
                    <a:cubicBezTo>
                      <a:pt x="14" y="611"/>
                      <a:pt x="14" y="611"/>
                      <a:pt x="14" y="611"/>
                    </a:cubicBezTo>
                    <a:cubicBezTo>
                      <a:pt x="14" y="699"/>
                      <a:pt x="14" y="699"/>
                      <a:pt x="14" y="699"/>
                    </a:cubicBezTo>
                    <a:cubicBezTo>
                      <a:pt x="4" y="713"/>
                      <a:pt x="4" y="713"/>
                      <a:pt x="4" y="713"/>
                    </a:cubicBezTo>
                    <a:cubicBezTo>
                      <a:pt x="11" y="717"/>
                      <a:pt x="11" y="717"/>
                      <a:pt x="11" y="717"/>
                    </a:cubicBezTo>
                    <a:cubicBezTo>
                      <a:pt x="11" y="804"/>
                      <a:pt x="11" y="804"/>
                      <a:pt x="11" y="804"/>
                    </a:cubicBezTo>
                    <a:cubicBezTo>
                      <a:pt x="2352" y="804"/>
                      <a:pt x="2352" y="804"/>
                      <a:pt x="2352" y="804"/>
                    </a:cubicBezTo>
                    <a:cubicBezTo>
                      <a:pt x="2352" y="790"/>
                      <a:pt x="2352" y="790"/>
                      <a:pt x="2352" y="790"/>
                    </a:cubicBezTo>
                    <a:cubicBezTo>
                      <a:pt x="2350" y="790"/>
                      <a:pt x="2350" y="790"/>
                      <a:pt x="2350" y="790"/>
                    </a:cubicBezTo>
                    <a:cubicBezTo>
                      <a:pt x="2350" y="784"/>
                      <a:pt x="2350" y="784"/>
                      <a:pt x="2350" y="784"/>
                    </a:cubicBezTo>
                    <a:cubicBezTo>
                      <a:pt x="2349" y="784"/>
                      <a:pt x="2349" y="784"/>
                      <a:pt x="2349" y="784"/>
                    </a:cubicBezTo>
                    <a:cubicBezTo>
                      <a:pt x="2349" y="729"/>
                      <a:pt x="2349" y="729"/>
                      <a:pt x="2349" y="729"/>
                    </a:cubicBezTo>
                    <a:cubicBezTo>
                      <a:pt x="2352" y="727"/>
                      <a:pt x="2352" y="727"/>
                      <a:pt x="2352" y="727"/>
                    </a:cubicBezTo>
                    <a:cubicBezTo>
                      <a:pt x="2349" y="727"/>
                      <a:pt x="2349" y="727"/>
                      <a:pt x="2349" y="727"/>
                    </a:cubicBezTo>
                    <a:cubicBezTo>
                      <a:pt x="2349" y="713"/>
                      <a:pt x="2349" y="713"/>
                      <a:pt x="2349" y="713"/>
                    </a:cubicBezTo>
                    <a:cubicBezTo>
                      <a:pt x="2345" y="710"/>
                      <a:pt x="2345" y="710"/>
                      <a:pt x="2345" y="710"/>
                    </a:cubicBezTo>
                    <a:cubicBezTo>
                      <a:pt x="2345" y="625"/>
                      <a:pt x="2345" y="625"/>
                      <a:pt x="2345" y="625"/>
                    </a:cubicBezTo>
                    <a:cubicBezTo>
                      <a:pt x="2350" y="620"/>
                      <a:pt x="2350" y="620"/>
                      <a:pt x="2350" y="620"/>
                    </a:cubicBezTo>
                    <a:cubicBezTo>
                      <a:pt x="2347" y="620"/>
                      <a:pt x="2347" y="620"/>
                      <a:pt x="2347" y="620"/>
                    </a:cubicBezTo>
                    <a:cubicBezTo>
                      <a:pt x="2347" y="607"/>
                      <a:pt x="2347" y="607"/>
                      <a:pt x="2347" y="607"/>
                    </a:cubicBezTo>
                    <a:cubicBezTo>
                      <a:pt x="2360" y="596"/>
                      <a:pt x="2360" y="596"/>
                      <a:pt x="2360" y="596"/>
                    </a:cubicBezTo>
                    <a:cubicBezTo>
                      <a:pt x="2348" y="596"/>
                      <a:pt x="2348" y="596"/>
                      <a:pt x="2348" y="596"/>
                    </a:cubicBezTo>
                    <a:cubicBezTo>
                      <a:pt x="2346" y="575"/>
                      <a:pt x="2346" y="575"/>
                      <a:pt x="2346" y="575"/>
                    </a:cubicBezTo>
                    <a:cubicBezTo>
                      <a:pt x="2306" y="575"/>
                      <a:pt x="2306" y="575"/>
                      <a:pt x="2306" y="575"/>
                    </a:cubicBezTo>
                    <a:cubicBezTo>
                      <a:pt x="2306" y="570"/>
                      <a:pt x="2306" y="570"/>
                      <a:pt x="2306" y="570"/>
                    </a:cubicBezTo>
                    <a:cubicBezTo>
                      <a:pt x="1973" y="570"/>
                      <a:pt x="1973" y="570"/>
                      <a:pt x="1973" y="570"/>
                    </a:cubicBezTo>
                    <a:cubicBezTo>
                      <a:pt x="1963" y="573"/>
                      <a:pt x="1963" y="573"/>
                      <a:pt x="1963" y="573"/>
                    </a:cubicBezTo>
                    <a:cubicBezTo>
                      <a:pt x="1902" y="573"/>
                      <a:pt x="1902" y="573"/>
                      <a:pt x="1902" y="573"/>
                    </a:cubicBezTo>
                    <a:cubicBezTo>
                      <a:pt x="1820" y="604"/>
                      <a:pt x="1820" y="604"/>
                      <a:pt x="1820" y="604"/>
                    </a:cubicBezTo>
                    <a:cubicBezTo>
                      <a:pt x="1710" y="604"/>
                      <a:pt x="1710" y="604"/>
                      <a:pt x="1710" y="604"/>
                    </a:cubicBezTo>
                    <a:cubicBezTo>
                      <a:pt x="1708" y="593"/>
                      <a:pt x="1708" y="593"/>
                      <a:pt x="1708" y="593"/>
                    </a:cubicBezTo>
                    <a:cubicBezTo>
                      <a:pt x="1619" y="593"/>
                      <a:pt x="1619" y="593"/>
                      <a:pt x="1619" y="593"/>
                    </a:cubicBezTo>
                    <a:cubicBezTo>
                      <a:pt x="1619" y="593"/>
                      <a:pt x="1592" y="579"/>
                      <a:pt x="1574" y="579"/>
                    </a:cubicBezTo>
                    <a:cubicBezTo>
                      <a:pt x="1574" y="558"/>
                      <a:pt x="1574" y="558"/>
                      <a:pt x="1574" y="558"/>
                    </a:cubicBezTo>
                    <a:cubicBezTo>
                      <a:pt x="1574" y="554"/>
                      <a:pt x="1574" y="554"/>
                      <a:pt x="1574" y="554"/>
                    </a:cubicBezTo>
                    <a:cubicBezTo>
                      <a:pt x="1572" y="549"/>
                      <a:pt x="1572" y="549"/>
                      <a:pt x="1572" y="549"/>
                    </a:cubicBezTo>
                    <a:cubicBezTo>
                      <a:pt x="1570" y="548"/>
                      <a:pt x="1570" y="548"/>
                      <a:pt x="1570" y="548"/>
                    </a:cubicBezTo>
                    <a:cubicBezTo>
                      <a:pt x="1568" y="547"/>
                      <a:pt x="1568" y="547"/>
                      <a:pt x="1568" y="547"/>
                    </a:cubicBezTo>
                    <a:cubicBezTo>
                      <a:pt x="1559" y="547"/>
                      <a:pt x="1559" y="547"/>
                      <a:pt x="1559" y="547"/>
                    </a:cubicBezTo>
                    <a:cubicBezTo>
                      <a:pt x="1555" y="547"/>
                      <a:pt x="1555" y="547"/>
                      <a:pt x="1555" y="547"/>
                    </a:cubicBezTo>
                    <a:cubicBezTo>
                      <a:pt x="1542" y="547"/>
                      <a:pt x="1542" y="547"/>
                      <a:pt x="1542" y="547"/>
                    </a:cubicBezTo>
                    <a:cubicBezTo>
                      <a:pt x="1539" y="547"/>
                      <a:pt x="1539" y="547"/>
                      <a:pt x="1539" y="547"/>
                    </a:cubicBezTo>
                    <a:cubicBezTo>
                      <a:pt x="1531" y="548"/>
                      <a:pt x="1531" y="548"/>
                      <a:pt x="1531" y="548"/>
                    </a:cubicBezTo>
                    <a:cubicBezTo>
                      <a:pt x="1527" y="549"/>
                      <a:pt x="1527" y="549"/>
                      <a:pt x="1527" y="549"/>
                    </a:cubicBezTo>
                    <a:cubicBezTo>
                      <a:pt x="1521" y="550"/>
                      <a:pt x="1521" y="550"/>
                      <a:pt x="1521" y="550"/>
                    </a:cubicBezTo>
                    <a:cubicBezTo>
                      <a:pt x="1519" y="550"/>
                      <a:pt x="1519" y="550"/>
                      <a:pt x="1519" y="550"/>
                    </a:cubicBezTo>
                    <a:cubicBezTo>
                      <a:pt x="1517" y="551"/>
                      <a:pt x="1517" y="551"/>
                      <a:pt x="1517" y="551"/>
                    </a:cubicBezTo>
                    <a:cubicBezTo>
                      <a:pt x="1515" y="554"/>
                      <a:pt x="1515" y="554"/>
                      <a:pt x="1515" y="554"/>
                    </a:cubicBezTo>
                    <a:cubicBezTo>
                      <a:pt x="1514" y="555"/>
                      <a:pt x="1514" y="555"/>
                      <a:pt x="1514" y="555"/>
                    </a:cubicBezTo>
                    <a:cubicBezTo>
                      <a:pt x="1514" y="558"/>
                      <a:pt x="1514" y="558"/>
                      <a:pt x="1514" y="558"/>
                    </a:cubicBezTo>
                    <a:cubicBezTo>
                      <a:pt x="1516" y="559"/>
                      <a:pt x="1516" y="559"/>
                      <a:pt x="1516" y="559"/>
                    </a:cubicBezTo>
                    <a:cubicBezTo>
                      <a:pt x="1516" y="576"/>
                      <a:pt x="1516" y="576"/>
                      <a:pt x="1516" y="576"/>
                    </a:cubicBezTo>
                    <a:cubicBezTo>
                      <a:pt x="1516" y="579"/>
                      <a:pt x="1516" y="579"/>
                      <a:pt x="1516" y="579"/>
                    </a:cubicBezTo>
                    <a:cubicBezTo>
                      <a:pt x="1515" y="580"/>
                      <a:pt x="1515" y="580"/>
                      <a:pt x="1515" y="580"/>
                    </a:cubicBezTo>
                    <a:cubicBezTo>
                      <a:pt x="1515" y="580"/>
                      <a:pt x="1494" y="584"/>
                      <a:pt x="1481" y="590"/>
                    </a:cubicBezTo>
                    <a:cubicBezTo>
                      <a:pt x="1473" y="590"/>
                      <a:pt x="1473" y="590"/>
                      <a:pt x="1473" y="590"/>
                    </a:cubicBezTo>
                    <a:cubicBezTo>
                      <a:pt x="1475" y="584"/>
                      <a:pt x="1475" y="584"/>
                      <a:pt x="1475" y="584"/>
                    </a:cubicBezTo>
                    <a:cubicBezTo>
                      <a:pt x="1466" y="584"/>
                      <a:pt x="1466" y="584"/>
                      <a:pt x="1466" y="584"/>
                    </a:cubicBezTo>
                    <a:cubicBezTo>
                      <a:pt x="1464" y="564"/>
                      <a:pt x="1464" y="564"/>
                      <a:pt x="1464" y="564"/>
                    </a:cubicBezTo>
                    <a:cubicBezTo>
                      <a:pt x="1397" y="564"/>
                      <a:pt x="1397" y="564"/>
                      <a:pt x="1397" y="564"/>
                    </a:cubicBezTo>
                    <a:cubicBezTo>
                      <a:pt x="1393" y="562"/>
                      <a:pt x="1393" y="562"/>
                      <a:pt x="1393" y="562"/>
                    </a:cubicBezTo>
                    <a:cubicBezTo>
                      <a:pt x="1382" y="562"/>
                      <a:pt x="1382" y="562"/>
                      <a:pt x="1382" y="562"/>
                    </a:cubicBezTo>
                    <a:cubicBezTo>
                      <a:pt x="1386" y="551"/>
                      <a:pt x="1386" y="551"/>
                      <a:pt x="1386" y="551"/>
                    </a:cubicBezTo>
                    <a:cubicBezTo>
                      <a:pt x="1380" y="551"/>
                      <a:pt x="1380" y="551"/>
                      <a:pt x="1380" y="551"/>
                    </a:cubicBezTo>
                    <a:cubicBezTo>
                      <a:pt x="1363" y="544"/>
                      <a:pt x="1363" y="544"/>
                      <a:pt x="1363" y="544"/>
                    </a:cubicBezTo>
                    <a:cubicBezTo>
                      <a:pt x="1363" y="544"/>
                      <a:pt x="1371" y="528"/>
                      <a:pt x="1362" y="528"/>
                    </a:cubicBezTo>
                    <a:cubicBezTo>
                      <a:pt x="1362" y="467"/>
                      <a:pt x="1362" y="467"/>
                      <a:pt x="1362" y="467"/>
                    </a:cubicBezTo>
                    <a:cubicBezTo>
                      <a:pt x="1362" y="466"/>
                      <a:pt x="1362" y="466"/>
                      <a:pt x="1362" y="466"/>
                    </a:cubicBezTo>
                    <a:cubicBezTo>
                      <a:pt x="1362" y="466"/>
                      <a:pt x="1363" y="464"/>
                      <a:pt x="1363" y="453"/>
                    </a:cubicBezTo>
                    <a:cubicBezTo>
                      <a:pt x="1363" y="453"/>
                      <a:pt x="1377" y="445"/>
                      <a:pt x="1363" y="430"/>
                    </a:cubicBezTo>
                    <a:cubicBezTo>
                      <a:pt x="1361" y="423"/>
                      <a:pt x="1361" y="423"/>
                      <a:pt x="1361" y="423"/>
                    </a:cubicBezTo>
                    <a:cubicBezTo>
                      <a:pt x="1361" y="423"/>
                      <a:pt x="1351" y="413"/>
                      <a:pt x="1336" y="409"/>
                    </a:cubicBezTo>
                    <a:cubicBezTo>
                      <a:pt x="1336" y="367"/>
                      <a:pt x="1336" y="367"/>
                      <a:pt x="1336" y="367"/>
                    </a:cubicBezTo>
                    <a:cubicBezTo>
                      <a:pt x="1336" y="367"/>
                      <a:pt x="1354" y="354"/>
                      <a:pt x="1333" y="342"/>
                    </a:cubicBezTo>
                    <a:cubicBezTo>
                      <a:pt x="1328" y="334"/>
                      <a:pt x="1328" y="334"/>
                      <a:pt x="1328" y="334"/>
                    </a:cubicBezTo>
                    <a:cubicBezTo>
                      <a:pt x="1328" y="334"/>
                      <a:pt x="1332" y="329"/>
                      <a:pt x="1327" y="324"/>
                    </a:cubicBezTo>
                    <a:cubicBezTo>
                      <a:pt x="1313" y="310"/>
                      <a:pt x="1313" y="310"/>
                      <a:pt x="1313" y="310"/>
                    </a:cubicBezTo>
                    <a:cubicBezTo>
                      <a:pt x="1313" y="310"/>
                      <a:pt x="1302" y="227"/>
                      <a:pt x="1240" y="20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6" name="Freeform 164"/>
              <p:cNvSpPr>
                <a:spLocks/>
              </p:cNvSpPr>
              <p:nvPr userDrawn="1"/>
            </p:nvSpPr>
            <p:spPr bwMode="auto">
              <a:xfrm>
                <a:off x="4486" y="2621"/>
                <a:ext cx="510" cy="32"/>
              </a:xfrm>
              <a:custGeom>
                <a:avLst/>
                <a:gdLst>
                  <a:gd name="T0" fmla="*/ 510 w 510"/>
                  <a:gd name="T1" fmla="*/ 0 h 32"/>
                  <a:gd name="T2" fmla="*/ 494 w 510"/>
                  <a:gd name="T3" fmla="*/ 18 h 32"/>
                  <a:gd name="T4" fmla="*/ 494 w 510"/>
                  <a:gd name="T5" fmla="*/ 32 h 32"/>
                  <a:gd name="T6" fmla="*/ 0 w 510"/>
                  <a:gd name="T7" fmla="*/ 32 h 32"/>
                  <a:gd name="T8" fmla="*/ 0 w 510"/>
                  <a:gd name="T9" fmla="*/ 0 h 32"/>
                  <a:gd name="T10" fmla="*/ 510 w 510"/>
                  <a:gd name="T11" fmla="*/ 0 h 32"/>
                </a:gdLst>
                <a:ahLst/>
                <a:cxnLst>
                  <a:cxn ang="0">
                    <a:pos x="T0" y="T1"/>
                  </a:cxn>
                  <a:cxn ang="0">
                    <a:pos x="T2" y="T3"/>
                  </a:cxn>
                  <a:cxn ang="0">
                    <a:pos x="T4" y="T5"/>
                  </a:cxn>
                  <a:cxn ang="0">
                    <a:pos x="T6" y="T7"/>
                  </a:cxn>
                  <a:cxn ang="0">
                    <a:pos x="T8" y="T9"/>
                  </a:cxn>
                  <a:cxn ang="0">
                    <a:pos x="T10" y="T11"/>
                  </a:cxn>
                </a:cxnLst>
                <a:rect l="0" t="0" r="r" b="b"/>
                <a:pathLst>
                  <a:path w="510" h="32">
                    <a:moveTo>
                      <a:pt x="510" y="0"/>
                    </a:moveTo>
                    <a:lnTo>
                      <a:pt x="494" y="18"/>
                    </a:lnTo>
                    <a:lnTo>
                      <a:pt x="494" y="32"/>
                    </a:lnTo>
                    <a:lnTo>
                      <a:pt x="0" y="32"/>
                    </a:lnTo>
                    <a:lnTo>
                      <a:pt x="0" y="0"/>
                    </a:lnTo>
                    <a:lnTo>
                      <a:pt x="510" y="0"/>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7" name="Freeform 165"/>
              <p:cNvSpPr>
                <a:spLocks/>
              </p:cNvSpPr>
              <p:nvPr userDrawn="1"/>
            </p:nvSpPr>
            <p:spPr bwMode="auto">
              <a:xfrm>
                <a:off x="3356" y="2555"/>
                <a:ext cx="1152" cy="54"/>
              </a:xfrm>
              <a:custGeom>
                <a:avLst/>
                <a:gdLst>
                  <a:gd name="T0" fmla="*/ 1152 w 1152"/>
                  <a:gd name="T1" fmla="*/ 14 h 54"/>
                  <a:gd name="T2" fmla="*/ 1148 w 1152"/>
                  <a:gd name="T3" fmla="*/ 26 h 54"/>
                  <a:gd name="T4" fmla="*/ 1130 w 1152"/>
                  <a:gd name="T5" fmla="*/ 40 h 54"/>
                  <a:gd name="T6" fmla="*/ 1130 w 1152"/>
                  <a:gd name="T7" fmla="*/ 54 h 54"/>
                  <a:gd name="T8" fmla="*/ 913 w 1152"/>
                  <a:gd name="T9" fmla="*/ 54 h 54"/>
                  <a:gd name="T10" fmla="*/ 913 w 1152"/>
                  <a:gd name="T11" fmla="*/ 44 h 54"/>
                  <a:gd name="T12" fmla="*/ 251 w 1152"/>
                  <a:gd name="T13" fmla="*/ 44 h 54"/>
                  <a:gd name="T14" fmla="*/ 203 w 1152"/>
                  <a:gd name="T15" fmla="*/ 46 h 54"/>
                  <a:gd name="T16" fmla="*/ 22 w 1152"/>
                  <a:gd name="T17" fmla="*/ 46 h 54"/>
                  <a:gd name="T18" fmla="*/ 22 w 1152"/>
                  <a:gd name="T19" fmla="*/ 38 h 54"/>
                  <a:gd name="T20" fmla="*/ 6 w 1152"/>
                  <a:gd name="T21" fmla="*/ 20 h 54"/>
                  <a:gd name="T22" fmla="*/ 0 w 1152"/>
                  <a:gd name="T23" fmla="*/ 8 h 54"/>
                  <a:gd name="T24" fmla="*/ 225 w 1152"/>
                  <a:gd name="T25" fmla="*/ 8 h 54"/>
                  <a:gd name="T26" fmla="*/ 221 w 1152"/>
                  <a:gd name="T27" fmla="*/ 0 h 54"/>
                  <a:gd name="T28" fmla="*/ 935 w 1152"/>
                  <a:gd name="T29" fmla="*/ 0 h 54"/>
                  <a:gd name="T30" fmla="*/ 929 w 1152"/>
                  <a:gd name="T31" fmla="*/ 10 h 54"/>
                  <a:gd name="T32" fmla="*/ 925 w 1152"/>
                  <a:gd name="T33" fmla="*/ 14 h 54"/>
                  <a:gd name="T34" fmla="*/ 1152 w 1152"/>
                  <a:gd name="T35" fmla="*/ 1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52" h="54">
                    <a:moveTo>
                      <a:pt x="1152" y="14"/>
                    </a:moveTo>
                    <a:lnTo>
                      <a:pt x="1148" y="26"/>
                    </a:lnTo>
                    <a:lnTo>
                      <a:pt x="1130" y="40"/>
                    </a:lnTo>
                    <a:lnTo>
                      <a:pt x="1130" y="54"/>
                    </a:lnTo>
                    <a:lnTo>
                      <a:pt x="913" y="54"/>
                    </a:lnTo>
                    <a:lnTo>
                      <a:pt x="913" y="44"/>
                    </a:lnTo>
                    <a:lnTo>
                      <a:pt x="251" y="44"/>
                    </a:lnTo>
                    <a:lnTo>
                      <a:pt x="203" y="46"/>
                    </a:lnTo>
                    <a:lnTo>
                      <a:pt x="22" y="46"/>
                    </a:lnTo>
                    <a:lnTo>
                      <a:pt x="22" y="38"/>
                    </a:lnTo>
                    <a:lnTo>
                      <a:pt x="6" y="20"/>
                    </a:lnTo>
                    <a:lnTo>
                      <a:pt x="0" y="8"/>
                    </a:lnTo>
                    <a:lnTo>
                      <a:pt x="225" y="8"/>
                    </a:lnTo>
                    <a:lnTo>
                      <a:pt x="221" y="0"/>
                    </a:lnTo>
                    <a:lnTo>
                      <a:pt x="935" y="0"/>
                    </a:lnTo>
                    <a:lnTo>
                      <a:pt x="929" y="10"/>
                    </a:lnTo>
                    <a:lnTo>
                      <a:pt x="925" y="14"/>
                    </a:lnTo>
                    <a:lnTo>
                      <a:pt x="1152" y="14"/>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8" name="Freeform 166"/>
              <p:cNvSpPr>
                <a:spLocks/>
              </p:cNvSpPr>
              <p:nvPr userDrawn="1"/>
            </p:nvSpPr>
            <p:spPr bwMode="auto">
              <a:xfrm>
                <a:off x="2866" y="2613"/>
                <a:ext cx="512" cy="34"/>
              </a:xfrm>
              <a:custGeom>
                <a:avLst/>
                <a:gdLst>
                  <a:gd name="T0" fmla="*/ 512 w 512"/>
                  <a:gd name="T1" fmla="*/ 34 h 34"/>
                  <a:gd name="T2" fmla="*/ 512 w 512"/>
                  <a:gd name="T3" fmla="*/ 0 h 34"/>
                  <a:gd name="T4" fmla="*/ 0 w 512"/>
                  <a:gd name="T5" fmla="*/ 0 h 34"/>
                  <a:gd name="T6" fmla="*/ 8 w 512"/>
                  <a:gd name="T7" fmla="*/ 8 h 34"/>
                  <a:gd name="T8" fmla="*/ 16 w 512"/>
                  <a:gd name="T9" fmla="*/ 8 h 34"/>
                  <a:gd name="T10" fmla="*/ 16 w 512"/>
                  <a:gd name="T11" fmla="*/ 34 h 34"/>
                  <a:gd name="T12" fmla="*/ 512 w 512"/>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512" h="34">
                    <a:moveTo>
                      <a:pt x="512" y="34"/>
                    </a:moveTo>
                    <a:lnTo>
                      <a:pt x="512" y="0"/>
                    </a:lnTo>
                    <a:lnTo>
                      <a:pt x="0" y="0"/>
                    </a:lnTo>
                    <a:lnTo>
                      <a:pt x="8" y="8"/>
                    </a:lnTo>
                    <a:lnTo>
                      <a:pt x="16" y="8"/>
                    </a:lnTo>
                    <a:lnTo>
                      <a:pt x="16" y="34"/>
                    </a:lnTo>
                    <a:lnTo>
                      <a:pt x="512" y="34"/>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 name="Rectangle 167"/>
              <p:cNvSpPr>
                <a:spLocks noChangeArrowheads="1"/>
              </p:cNvSpPr>
              <p:nvPr userDrawn="1"/>
            </p:nvSpPr>
            <p:spPr bwMode="auto">
              <a:xfrm>
                <a:off x="3687" y="2878"/>
                <a:ext cx="30" cy="6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 name="Rectangle 168"/>
              <p:cNvSpPr>
                <a:spLocks noChangeArrowheads="1"/>
              </p:cNvSpPr>
              <p:nvPr userDrawn="1"/>
            </p:nvSpPr>
            <p:spPr bwMode="auto">
              <a:xfrm>
                <a:off x="3822" y="2878"/>
                <a:ext cx="30" cy="6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 name="Rectangle 169"/>
              <p:cNvSpPr>
                <a:spLocks noChangeArrowheads="1"/>
              </p:cNvSpPr>
              <p:nvPr userDrawn="1"/>
            </p:nvSpPr>
            <p:spPr bwMode="auto">
              <a:xfrm>
                <a:off x="3918" y="2880"/>
                <a:ext cx="28" cy="6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 name="Rectangle 170"/>
              <p:cNvSpPr>
                <a:spLocks noChangeArrowheads="1"/>
              </p:cNvSpPr>
              <p:nvPr userDrawn="1"/>
            </p:nvSpPr>
            <p:spPr bwMode="auto">
              <a:xfrm>
                <a:off x="4014" y="2878"/>
                <a:ext cx="30" cy="6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3" name="Rectangle 171"/>
              <p:cNvSpPr>
                <a:spLocks noChangeArrowheads="1"/>
              </p:cNvSpPr>
              <p:nvPr userDrawn="1"/>
            </p:nvSpPr>
            <p:spPr bwMode="auto">
              <a:xfrm>
                <a:off x="4147" y="2878"/>
                <a:ext cx="30" cy="6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4" name="Rectangle 172"/>
              <p:cNvSpPr>
                <a:spLocks noChangeArrowheads="1"/>
              </p:cNvSpPr>
              <p:nvPr userDrawn="1"/>
            </p:nvSpPr>
            <p:spPr bwMode="auto">
              <a:xfrm>
                <a:off x="4361" y="2884"/>
                <a:ext cx="29" cy="6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5" name="Rectangle 173"/>
              <p:cNvSpPr>
                <a:spLocks noChangeArrowheads="1"/>
              </p:cNvSpPr>
              <p:nvPr userDrawn="1"/>
            </p:nvSpPr>
            <p:spPr bwMode="auto">
              <a:xfrm>
                <a:off x="4490" y="2904"/>
                <a:ext cx="26" cy="55"/>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6" name="Rectangle 174"/>
              <p:cNvSpPr>
                <a:spLocks noChangeArrowheads="1"/>
              </p:cNvSpPr>
              <p:nvPr userDrawn="1"/>
            </p:nvSpPr>
            <p:spPr bwMode="auto">
              <a:xfrm>
                <a:off x="4572" y="2904"/>
                <a:ext cx="26" cy="55"/>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7" name="Rectangle 175"/>
              <p:cNvSpPr>
                <a:spLocks noChangeArrowheads="1"/>
              </p:cNvSpPr>
              <p:nvPr userDrawn="1"/>
            </p:nvSpPr>
            <p:spPr bwMode="auto">
              <a:xfrm>
                <a:off x="4675" y="2904"/>
                <a:ext cx="34" cy="55"/>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8" name="Rectangle 176"/>
              <p:cNvSpPr>
                <a:spLocks noChangeArrowheads="1"/>
              </p:cNvSpPr>
              <p:nvPr userDrawn="1"/>
            </p:nvSpPr>
            <p:spPr bwMode="auto">
              <a:xfrm>
                <a:off x="4781" y="2904"/>
                <a:ext cx="24" cy="55"/>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9" name="Rectangle 177"/>
              <p:cNvSpPr>
                <a:spLocks noChangeArrowheads="1"/>
              </p:cNvSpPr>
              <p:nvPr userDrawn="1"/>
            </p:nvSpPr>
            <p:spPr bwMode="auto">
              <a:xfrm>
                <a:off x="4867" y="2904"/>
                <a:ext cx="26" cy="55"/>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0" name="Rectangle 178"/>
              <p:cNvSpPr>
                <a:spLocks noChangeArrowheads="1"/>
              </p:cNvSpPr>
              <p:nvPr userDrawn="1"/>
            </p:nvSpPr>
            <p:spPr bwMode="auto">
              <a:xfrm>
                <a:off x="4783" y="2790"/>
                <a:ext cx="26" cy="54"/>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1" name="Rectangle 179"/>
              <p:cNvSpPr>
                <a:spLocks noChangeArrowheads="1"/>
              </p:cNvSpPr>
              <p:nvPr userDrawn="1"/>
            </p:nvSpPr>
            <p:spPr bwMode="auto">
              <a:xfrm>
                <a:off x="4869" y="2790"/>
                <a:ext cx="26" cy="54"/>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2" name="Rectangle 180"/>
              <p:cNvSpPr>
                <a:spLocks noChangeArrowheads="1"/>
              </p:cNvSpPr>
              <p:nvPr userDrawn="1"/>
            </p:nvSpPr>
            <p:spPr bwMode="auto">
              <a:xfrm>
                <a:off x="4572" y="2788"/>
                <a:ext cx="26" cy="54"/>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3" name="Rectangle 181"/>
              <p:cNvSpPr>
                <a:spLocks noChangeArrowheads="1"/>
              </p:cNvSpPr>
              <p:nvPr userDrawn="1"/>
            </p:nvSpPr>
            <p:spPr bwMode="auto">
              <a:xfrm>
                <a:off x="4488" y="2788"/>
                <a:ext cx="24" cy="54"/>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4" name="Rectangle 182"/>
              <p:cNvSpPr>
                <a:spLocks noChangeArrowheads="1"/>
              </p:cNvSpPr>
              <p:nvPr userDrawn="1"/>
            </p:nvSpPr>
            <p:spPr bwMode="auto">
              <a:xfrm>
                <a:off x="4488" y="2691"/>
                <a:ext cx="28" cy="26"/>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5" name="Rectangle 183"/>
              <p:cNvSpPr>
                <a:spLocks noChangeArrowheads="1"/>
              </p:cNvSpPr>
              <p:nvPr userDrawn="1"/>
            </p:nvSpPr>
            <p:spPr bwMode="auto">
              <a:xfrm>
                <a:off x="4572" y="2693"/>
                <a:ext cx="28" cy="24"/>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6" name="Oval 184"/>
              <p:cNvSpPr>
                <a:spLocks noChangeArrowheads="1"/>
              </p:cNvSpPr>
              <p:nvPr userDrawn="1"/>
            </p:nvSpPr>
            <p:spPr bwMode="auto">
              <a:xfrm>
                <a:off x="4679" y="2693"/>
                <a:ext cx="26" cy="29"/>
              </a:xfrm>
              <a:prstGeom prst="ellipse">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7" name="Rectangle 185"/>
              <p:cNvSpPr>
                <a:spLocks noChangeArrowheads="1"/>
              </p:cNvSpPr>
              <p:nvPr userDrawn="1"/>
            </p:nvSpPr>
            <p:spPr bwMode="auto">
              <a:xfrm>
                <a:off x="4783" y="2693"/>
                <a:ext cx="26" cy="2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8" name="Rectangle 186"/>
              <p:cNvSpPr>
                <a:spLocks noChangeArrowheads="1"/>
              </p:cNvSpPr>
              <p:nvPr userDrawn="1"/>
            </p:nvSpPr>
            <p:spPr bwMode="auto">
              <a:xfrm>
                <a:off x="4869" y="2693"/>
                <a:ext cx="26" cy="2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 name="Freeform 187"/>
              <p:cNvSpPr>
                <a:spLocks/>
              </p:cNvSpPr>
              <p:nvPr userDrawn="1"/>
            </p:nvSpPr>
            <p:spPr bwMode="auto">
              <a:xfrm>
                <a:off x="4677" y="2758"/>
                <a:ext cx="32" cy="84"/>
              </a:xfrm>
              <a:custGeom>
                <a:avLst/>
                <a:gdLst>
                  <a:gd name="T0" fmla="*/ 8 w 16"/>
                  <a:gd name="T1" fmla="*/ 0 h 42"/>
                  <a:gd name="T2" fmla="*/ 0 w 16"/>
                  <a:gd name="T3" fmla="*/ 8 h 42"/>
                  <a:gd name="T4" fmla="*/ 0 w 16"/>
                  <a:gd name="T5" fmla="*/ 42 h 42"/>
                  <a:gd name="T6" fmla="*/ 16 w 16"/>
                  <a:gd name="T7" fmla="*/ 42 h 42"/>
                  <a:gd name="T8" fmla="*/ 16 w 16"/>
                  <a:gd name="T9" fmla="*/ 8 h 42"/>
                  <a:gd name="T10" fmla="*/ 8 w 16"/>
                  <a:gd name="T11" fmla="*/ 0 h 42"/>
                </a:gdLst>
                <a:ahLst/>
                <a:cxnLst>
                  <a:cxn ang="0">
                    <a:pos x="T0" y="T1"/>
                  </a:cxn>
                  <a:cxn ang="0">
                    <a:pos x="T2" y="T3"/>
                  </a:cxn>
                  <a:cxn ang="0">
                    <a:pos x="T4" y="T5"/>
                  </a:cxn>
                  <a:cxn ang="0">
                    <a:pos x="T6" y="T7"/>
                  </a:cxn>
                  <a:cxn ang="0">
                    <a:pos x="T8" y="T9"/>
                  </a:cxn>
                  <a:cxn ang="0">
                    <a:pos x="T10" y="T11"/>
                  </a:cxn>
                </a:cxnLst>
                <a:rect l="0" t="0" r="r" b="b"/>
                <a:pathLst>
                  <a:path w="16" h="42">
                    <a:moveTo>
                      <a:pt x="8" y="0"/>
                    </a:moveTo>
                    <a:cubicBezTo>
                      <a:pt x="3" y="0"/>
                      <a:pt x="0" y="4"/>
                      <a:pt x="0" y="8"/>
                    </a:cubicBezTo>
                    <a:cubicBezTo>
                      <a:pt x="0" y="42"/>
                      <a:pt x="0" y="42"/>
                      <a:pt x="0" y="42"/>
                    </a:cubicBezTo>
                    <a:cubicBezTo>
                      <a:pt x="16" y="42"/>
                      <a:pt x="16" y="42"/>
                      <a:pt x="16" y="42"/>
                    </a:cubicBezTo>
                    <a:cubicBezTo>
                      <a:pt x="16" y="8"/>
                      <a:pt x="16" y="8"/>
                      <a:pt x="16" y="8"/>
                    </a:cubicBezTo>
                    <a:cubicBezTo>
                      <a:pt x="16" y="4"/>
                      <a:pt x="12" y="0"/>
                      <a:pt x="8"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 name="Rectangle 188"/>
              <p:cNvSpPr>
                <a:spLocks noChangeArrowheads="1"/>
              </p:cNvSpPr>
              <p:nvPr userDrawn="1"/>
            </p:nvSpPr>
            <p:spPr bwMode="auto">
              <a:xfrm>
                <a:off x="4361" y="2756"/>
                <a:ext cx="29" cy="60"/>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 name="Rectangle 189"/>
              <p:cNvSpPr>
                <a:spLocks noChangeArrowheads="1"/>
              </p:cNvSpPr>
              <p:nvPr userDrawn="1"/>
            </p:nvSpPr>
            <p:spPr bwMode="auto">
              <a:xfrm>
                <a:off x="4363" y="2649"/>
                <a:ext cx="31" cy="32"/>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 name="Rectangle 190"/>
              <p:cNvSpPr>
                <a:spLocks noChangeArrowheads="1"/>
              </p:cNvSpPr>
              <p:nvPr userDrawn="1"/>
            </p:nvSpPr>
            <p:spPr bwMode="auto">
              <a:xfrm>
                <a:off x="3472" y="2880"/>
                <a:ext cx="31" cy="6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 name="Rectangle 191"/>
              <p:cNvSpPr>
                <a:spLocks noChangeArrowheads="1"/>
              </p:cNvSpPr>
              <p:nvPr userDrawn="1"/>
            </p:nvSpPr>
            <p:spPr bwMode="auto">
              <a:xfrm>
                <a:off x="3472" y="2752"/>
                <a:ext cx="29" cy="60"/>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 name="Rectangle 192"/>
              <p:cNvSpPr>
                <a:spLocks noChangeArrowheads="1"/>
              </p:cNvSpPr>
              <p:nvPr userDrawn="1"/>
            </p:nvSpPr>
            <p:spPr bwMode="auto">
              <a:xfrm>
                <a:off x="3472" y="2647"/>
                <a:ext cx="29" cy="26"/>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 name="Rectangle 193"/>
              <p:cNvSpPr>
                <a:spLocks noChangeArrowheads="1"/>
              </p:cNvSpPr>
              <p:nvPr userDrawn="1"/>
            </p:nvSpPr>
            <p:spPr bwMode="auto">
              <a:xfrm>
                <a:off x="3350" y="2687"/>
                <a:ext cx="24" cy="24"/>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 name="Rectangle 194"/>
              <p:cNvSpPr>
                <a:spLocks noChangeArrowheads="1"/>
              </p:cNvSpPr>
              <p:nvPr userDrawn="1"/>
            </p:nvSpPr>
            <p:spPr bwMode="auto">
              <a:xfrm>
                <a:off x="3266" y="2687"/>
                <a:ext cx="24" cy="24"/>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 name="Rectangle 195"/>
              <p:cNvSpPr>
                <a:spLocks noChangeArrowheads="1"/>
              </p:cNvSpPr>
              <p:nvPr userDrawn="1"/>
            </p:nvSpPr>
            <p:spPr bwMode="auto">
              <a:xfrm>
                <a:off x="3266" y="2782"/>
                <a:ext cx="24" cy="54"/>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 name="Rectangle 196"/>
              <p:cNvSpPr>
                <a:spLocks noChangeArrowheads="1"/>
              </p:cNvSpPr>
              <p:nvPr userDrawn="1"/>
            </p:nvSpPr>
            <p:spPr bwMode="auto">
              <a:xfrm>
                <a:off x="3153" y="2898"/>
                <a:ext cx="35" cy="55"/>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 name="Rectangle 197"/>
              <p:cNvSpPr>
                <a:spLocks noChangeArrowheads="1"/>
              </p:cNvSpPr>
              <p:nvPr userDrawn="1"/>
            </p:nvSpPr>
            <p:spPr bwMode="auto">
              <a:xfrm>
                <a:off x="3053" y="2898"/>
                <a:ext cx="24" cy="55"/>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 name="Rectangle 198"/>
              <p:cNvSpPr>
                <a:spLocks noChangeArrowheads="1"/>
              </p:cNvSpPr>
              <p:nvPr userDrawn="1"/>
            </p:nvSpPr>
            <p:spPr bwMode="auto">
              <a:xfrm>
                <a:off x="3053" y="2780"/>
                <a:ext cx="24" cy="54"/>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 name="Rectangle 199"/>
              <p:cNvSpPr>
                <a:spLocks noChangeArrowheads="1"/>
              </p:cNvSpPr>
              <p:nvPr userDrawn="1"/>
            </p:nvSpPr>
            <p:spPr bwMode="auto">
              <a:xfrm>
                <a:off x="3053" y="2683"/>
                <a:ext cx="24" cy="28"/>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 name="Rectangle 200"/>
              <p:cNvSpPr>
                <a:spLocks noChangeArrowheads="1"/>
              </p:cNvSpPr>
              <p:nvPr userDrawn="1"/>
            </p:nvSpPr>
            <p:spPr bwMode="auto">
              <a:xfrm>
                <a:off x="2965" y="2780"/>
                <a:ext cx="26" cy="54"/>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 name="Rectangle 201"/>
              <p:cNvSpPr>
                <a:spLocks noChangeArrowheads="1"/>
              </p:cNvSpPr>
              <p:nvPr userDrawn="1"/>
            </p:nvSpPr>
            <p:spPr bwMode="auto">
              <a:xfrm>
                <a:off x="2965" y="2898"/>
                <a:ext cx="28" cy="55"/>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 name="Rectangle 202"/>
              <p:cNvSpPr>
                <a:spLocks noChangeArrowheads="1"/>
              </p:cNvSpPr>
              <p:nvPr userDrawn="1"/>
            </p:nvSpPr>
            <p:spPr bwMode="auto">
              <a:xfrm>
                <a:off x="2967" y="2683"/>
                <a:ext cx="26" cy="28"/>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 name="Oval 203"/>
              <p:cNvSpPr>
                <a:spLocks noChangeArrowheads="1"/>
              </p:cNvSpPr>
              <p:nvPr userDrawn="1"/>
            </p:nvSpPr>
            <p:spPr bwMode="auto">
              <a:xfrm>
                <a:off x="3157" y="2683"/>
                <a:ext cx="29" cy="28"/>
              </a:xfrm>
              <a:prstGeom prst="ellipse">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 name="Freeform 204"/>
              <p:cNvSpPr>
                <a:spLocks/>
              </p:cNvSpPr>
              <p:nvPr userDrawn="1"/>
            </p:nvSpPr>
            <p:spPr bwMode="auto">
              <a:xfrm>
                <a:off x="3155" y="2752"/>
                <a:ext cx="35" cy="82"/>
              </a:xfrm>
              <a:custGeom>
                <a:avLst/>
                <a:gdLst>
                  <a:gd name="T0" fmla="*/ 9 w 17"/>
                  <a:gd name="T1" fmla="*/ 0 h 41"/>
                  <a:gd name="T2" fmla="*/ 0 w 17"/>
                  <a:gd name="T3" fmla="*/ 8 h 41"/>
                  <a:gd name="T4" fmla="*/ 0 w 17"/>
                  <a:gd name="T5" fmla="*/ 41 h 41"/>
                  <a:gd name="T6" fmla="*/ 17 w 17"/>
                  <a:gd name="T7" fmla="*/ 41 h 41"/>
                  <a:gd name="T8" fmla="*/ 17 w 17"/>
                  <a:gd name="T9" fmla="*/ 8 h 41"/>
                  <a:gd name="T10" fmla="*/ 9 w 17"/>
                  <a:gd name="T11" fmla="*/ 0 h 41"/>
                </a:gdLst>
                <a:ahLst/>
                <a:cxnLst>
                  <a:cxn ang="0">
                    <a:pos x="T0" y="T1"/>
                  </a:cxn>
                  <a:cxn ang="0">
                    <a:pos x="T2" y="T3"/>
                  </a:cxn>
                  <a:cxn ang="0">
                    <a:pos x="T4" y="T5"/>
                  </a:cxn>
                  <a:cxn ang="0">
                    <a:pos x="T6" y="T7"/>
                  </a:cxn>
                  <a:cxn ang="0">
                    <a:pos x="T8" y="T9"/>
                  </a:cxn>
                  <a:cxn ang="0">
                    <a:pos x="T10" y="T11"/>
                  </a:cxn>
                </a:cxnLst>
                <a:rect l="0" t="0" r="r" b="b"/>
                <a:pathLst>
                  <a:path w="17" h="41">
                    <a:moveTo>
                      <a:pt x="9" y="0"/>
                    </a:moveTo>
                    <a:cubicBezTo>
                      <a:pt x="4" y="0"/>
                      <a:pt x="0" y="4"/>
                      <a:pt x="0" y="8"/>
                    </a:cubicBezTo>
                    <a:cubicBezTo>
                      <a:pt x="0" y="41"/>
                      <a:pt x="0" y="41"/>
                      <a:pt x="0" y="41"/>
                    </a:cubicBezTo>
                    <a:cubicBezTo>
                      <a:pt x="17" y="41"/>
                      <a:pt x="17" y="41"/>
                      <a:pt x="17" y="41"/>
                    </a:cubicBezTo>
                    <a:cubicBezTo>
                      <a:pt x="17" y="8"/>
                      <a:pt x="17" y="8"/>
                      <a:pt x="17" y="8"/>
                    </a:cubicBezTo>
                    <a:cubicBezTo>
                      <a:pt x="17" y="4"/>
                      <a:pt x="13" y="0"/>
                      <a:pt x="9"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 name="Freeform 205"/>
              <p:cNvSpPr>
                <a:spLocks/>
              </p:cNvSpPr>
              <p:nvPr userDrawn="1"/>
            </p:nvSpPr>
            <p:spPr bwMode="auto">
              <a:xfrm>
                <a:off x="3926" y="2092"/>
                <a:ext cx="18" cy="71"/>
              </a:xfrm>
              <a:custGeom>
                <a:avLst/>
                <a:gdLst>
                  <a:gd name="T0" fmla="*/ 0 w 9"/>
                  <a:gd name="T1" fmla="*/ 35 h 35"/>
                  <a:gd name="T2" fmla="*/ 9 w 9"/>
                  <a:gd name="T3" fmla="*/ 35 h 35"/>
                  <a:gd name="T4" fmla="*/ 9 w 9"/>
                  <a:gd name="T5" fmla="*/ 7 h 35"/>
                  <a:gd name="T6" fmla="*/ 5 w 9"/>
                  <a:gd name="T7" fmla="*/ 0 h 35"/>
                  <a:gd name="T8" fmla="*/ 0 w 9"/>
                  <a:gd name="T9" fmla="*/ 3 h 35"/>
                  <a:gd name="T10" fmla="*/ 0 w 9"/>
                  <a:gd name="T11" fmla="*/ 35 h 35"/>
                </a:gdLst>
                <a:ahLst/>
                <a:cxnLst>
                  <a:cxn ang="0">
                    <a:pos x="T0" y="T1"/>
                  </a:cxn>
                  <a:cxn ang="0">
                    <a:pos x="T2" y="T3"/>
                  </a:cxn>
                  <a:cxn ang="0">
                    <a:pos x="T4" y="T5"/>
                  </a:cxn>
                  <a:cxn ang="0">
                    <a:pos x="T6" y="T7"/>
                  </a:cxn>
                  <a:cxn ang="0">
                    <a:pos x="T8" y="T9"/>
                  </a:cxn>
                  <a:cxn ang="0">
                    <a:pos x="T10" y="T11"/>
                  </a:cxn>
                </a:cxnLst>
                <a:rect l="0" t="0" r="r" b="b"/>
                <a:pathLst>
                  <a:path w="9" h="35">
                    <a:moveTo>
                      <a:pt x="0" y="35"/>
                    </a:moveTo>
                    <a:cubicBezTo>
                      <a:pt x="9" y="35"/>
                      <a:pt x="9" y="35"/>
                      <a:pt x="9" y="35"/>
                    </a:cubicBezTo>
                    <a:cubicBezTo>
                      <a:pt x="9" y="7"/>
                      <a:pt x="9" y="7"/>
                      <a:pt x="9" y="7"/>
                    </a:cubicBezTo>
                    <a:cubicBezTo>
                      <a:pt x="9" y="7"/>
                      <a:pt x="9" y="0"/>
                      <a:pt x="5" y="0"/>
                    </a:cubicBezTo>
                    <a:cubicBezTo>
                      <a:pt x="1" y="0"/>
                      <a:pt x="0" y="3"/>
                      <a:pt x="0" y="3"/>
                    </a:cubicBezTo>
                    <a:lnTo>
                      <a:pt x="0" y="35"/>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 name="Freeform 206"/>
              <p:cNvSpPr>
                <a:spLocks/>
              </p:cNvSpPr>
              <p:nvPr userDrawn="1"/>
            </p:nvSpPr>
            <p:spPr bwMode="auto">
              <a:xfrm>
                <a:off x="3978" y="2094"/>
                <a:ext cx="18" cy="71"/>
              </a:xfrm>
              <a:custGeom>
                <a:avLst/>
                <a:gdLst>
                  <a:gd name="T0" fmla="*/ 0 w 9"/>
                  <a:gd name="T1" fmla="*/ 35 h 35"/>
                  <a:gd name="T2" fmla="*/ 9 w 9"/>
                  <a:gd name="T3" fmla="*/ 35 h 35"/>
                  <a:gd name="T4" fmla="*/ 9 w 9"/>
                  <a:gd name="T5" fmla="*/ 7 h 35"/>
                  <a:gd name="T6" fmla="*/ 5 w 9"/>
                  <a:gd name="T7" fmla="*/ 0 h 35"/>
                  <a:gd name="T8" fmla="*/ 0 w 9"/>
                  <a:gd name="T9" fmla="*/ 3 h 35"/>
                  <a:gd name="T10" fmla="*/ 0 w 9"/>
                  <a:gd name="T11" fmla="*/ 35 h 35"/>
                </a:gdLst>
                <a:ahLst/>
                <a:cxnLst>
                  <a:cxn ang="0">
                    <a:pos x="T0" y="T1"/>
                  </a:cxn>
                  <a:cxn ang="0">
                    <a:pos x="T2" y="T3"/>
                  </a:cxn>
                  <a:cxn ang="0">
                    <a:pos x="T4" y="T5"/>
                  </a:cxn>
                  <a:cxn ang="0">
                    <a:pos x="T6" y="T7"/>
                  </a:cxn>
                  <a:cxn ang="0">
                    <a:pos x="T8" y="T9"/>
                  </a:cxn>
                  <a:cxn ang="0">
                    <a:pos x="T10" y="T11"/>
                  </a:cxn>
                </a:cxnLst>
                <a:rect l="0" t="0" r="r" b="b"/>
                <a:pathLst>
                  <a:path w="9" h="35">
                    <a:moveTo>
                      <a:pt x="0" y="35"/>
                    </a:moveTo>
                    <a:cubicBezTo>
                      <a:pt x="9" y="35"/>
                      <a:pt x="9" y="35"/>
                      <a:pt x="9" y="35"/>
                    </a:cubicBezTo>
                    <a:cubicBezTo>
                      <a:pt x="9" y="7"/>
                      <a:pt x="9" y="7"/>
                      <a:pt x="9" y="7"/>
                    </a:cubicBezTo>
                    <a:cubicBezTo>
                      <a:pt x="9" y="7"/>
                      <a:pt x="9" y="0"/>
                      <a:pt x="5" y="0"/>
                    </a:cubicBezTo>
                    <a:cubicBezTo>
                      <a:pt x="1" y="0"/>
                      <a:pt x="0" y="3"/>
                      <a:pt x="0" y="3"/>
                    </a:cubicBezTo>
                    <a:lnTo>
                      <a:pt x="0" y="35"/>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9" name="Freeform 207"/>
              <p:cNvSpPr>
                <a:spLocks/>
              </p:cNvSpPr>
              <p:nvPr userDrawn="1"/>
            </p:nvSpPr>
            <p:spPr bwMode="auto">
              <a:xfrm>
                <a:off x="4030" y="2098"/>
                <a:ext cx="18" cy="73"/>
              </a:xfrm>
              <a:custGeom>
                <a:avLst/>
                <a:gdLst>
                  <a:gd name="T0" fmla="*/ 0 w 9"/>
                  <a:gd name="T1" fmla="*/ 36 h 36"/>
                  <a:gd name="T2" fmla="*/ 9 w 9"/>
                  <a:gd name="T3" fmla="*/ 36 h 36"/>
                  <a:gd name="T4" fmla="*/ 9 w 9"/>
                  <a:gd name="T5" fmla="*/ 7 h 36"/>
                  <a:gd name="T6" fmla="*/ 4 w 9"/>
                  <a:gd name="T7" fmla="*/ 0 h 36"/>
                  <a:gd name="T8" fmla="*/ 0 w 9"/>
                  <a:gd name="T9" fmla="*/ 3 h 36"/>
                  <a:gd name="T10" fmla="*/ 0 w 9"/>
                  <a:gd name="T11" fmla="*/ 36 h 36"/>
                </a:gdLst>
                <a:ahLst/>
                <a:cxnLst>
                  <a:cxn ang="0">
                    <a:pos x="T0" y="T1"/>
                  </a:cxn>
                  <a:cxn ang="0">
                    <a:pos x="T2" y="T3"/>
                  </a:cxn>
                  <a:cxn ang="0">
                    <a:pos x="T4" y="T5"/>
                  </a:cxn>
                  <a:cxn ang="0">
                    <a:pos x="T6" y="T7"/>
                  </a:cxn>
                  <a:cxn ang="0">
                    <a:pos x="T8" y="T9"/>
                  </a:cxn>
                  <a:cxn ang="0">
                    <a:pos x="T10" y="T11"/>
                  </a:cxn>
                </a:cxnLst>
                <a:rect l="0" t="0" r="r" b="b"/>
                <a:pathLst>
                  <a:path w="9" h="36">
                    <a:moveTo>
                      <a:pt x="0" y="36"/>
                    </a:moveTo>
                    <a:cubicBezTo>
                      <a:pt x="9" y="36"/>
                      <a:pt x="9" y="36"/>
                      <a:pt x="9" y="36"/>
                    </a:cubicBezTo>
                    <a:cubicBezTo>
                      <a:pt x="9" y="7"/>
                      <a:pt x="9" y="7"/>
                      <a:pt x="9" y="7"/>
                    </a:cubicBezTo>
                    <a:cubicBezTo>
                      <a:pt x="9" y="7"/>
                      <a:pt x="8" y="0"/>
                      <a:pt x="4" y="0"/>
                    </a:cubicBezTo>
                    <a:cubicBezTo>
                      <a:pt x="0" y="0"/>
                      <a:pt x="0" y="3"/>
                      <a:pt x="0" y="3"/>
                    </a:cubicBezTo>
                    <a:lnTo>
                      <a:pt x="0" y="36"/>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0" name="Freeform 208"/>
              <p:cNvSpPr>
                <a:spLocks/>
              </p:cNvSpPr>
              <p:nvPr userDrawn="1"/>
            </p:nvSpPr>
            <p:spPr bwMode="auto">
              <a:xfrm>
                <a:off x="4075" y="2102"/>
                <a:ext cx="18" cy="71"/>
              </a:xfrm>
              <a:custGeom>
                <a:avLst/>
                <a:gdLst>
                  <a:gd name="T0" fmla="*/ 0 w 9"/>
                  <a:gd name="T1" fmla="*/ 35 h 35"/>
                  <a:gd name="T2" fmla="*/ 9 w 9"/>
                  <a:gd name="T3" fmla="*/ 35 h 35"/>
                  <a:gd name="T4" fmla="*/ 9 w 9"/>
                  <a:gd name="T5" fmla="*/ 7 h 35"/>
                  <a:gd name="T6" fmla="*/ 5 w 9"/>
                  <a:gd name="T7" fmla="*/ 0 h 35"/>
                  <a:gd name="T8" fmla="*/ 0 w 9"/>
                  <a:gd name="T9" fmla="*/ 3 h 35"/>
                  <a:gd name="T10" fmla="*/ 0 w 9"/>
                  <a:gd name="T11" fmla="*/ 35 h 35"/>
                </a:gdLst>
                <a:ahLst/>
                <a:cxnLst>
                  <a:cxn ang="0">
                    <a:pos x="T0" y="T1"/>
                  </a:cxn>
                  <a:cxn ang="0">
                    <a:pos x="T2" y="T3"/>
                  </a:cxn>
                  <a:cxn ang="0">
                    <a:pos x="T4" y="T5"/>
                  </a:cxn>
                  <a:cxn ang="0">
                    <a:pos x="T6" y="T7"/>
                  </a:cxn>
                  <a:cxn ang="0">
                    <a:pos x="T8" y="T9"/>
                  </a:cxn>
                  <a:cxn ang="0">
                    <a:pos x="T10" y="T11"/>
                  </a:cxn>
                </a:cxnLst>
                <a:rect l="0" t="0" r="r" b="b"/>
                <a:pathLst>
                  <a:path w="9" h="35">
                    <a:moveTo>
                      <a:pt x="0" y="35"/>
                    </a:moveTo>
                    <a:cubicBezTo>
                      <a:pt x="9" y="35"/>
                      <a:pt x="9" y="35"/>
                      <a:pt x="9" y="35"/>
                    </a:cubicBezTo>
                    <a:cubicBezTo>
                      <a:pt x="9" y="7"/>
                      <a:pt x="9" y="7"/>
                      <a:pt x="9" y="7"/>
                    </a:cubicBezTo>
                    <a:cubicBezTo>
                      <a:pt x="9" y="7"/>
                      <a:pt x="9" y="0"/>
                      <a:pt x="5" y="0"/>
                    </a:cubicBezTo>
                    <a:cubicBezTo>
                      <a:pt x="1" y="0"/>
                      <a:pt x="0" y="3"/>
                      <a:pt x="0" y="3"/>
                    </a:cubicBezTo>
                    <a:lnTo>
                      <a:pt x="0" y="35"/>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1" name="Freeform 209"/>
              <p:cNvSpPr>
                <a:spLocks/>
              </p:cNvSpPr>
              <p:nvPr userDrawn="1"/>
            </p:nvSpPr>
            <p:spPr bwMode="auto">
              <a:xfrm>
                <a:off x="4119" y="2110"/>
                <a:ext cx="14" cy="71"/>
              </a:xfrm>
              <a:custGeom>
                <a:avLst/>
                <a:gdLst>
                  <a:gd name="T0" fmla="*/ 0 w 7"/>
                  <a:gd name="T1" fmla="*/ 35 h 35"/>
                  <a:gd name="T2" fmla="*/ 7 w 7"/>
                  <a:gd name="T3" fmla="*/ 35 h 35"/>
                  <a:gd name="T4" fmla="*/ 7 w 7"/>
                  <a:gd name="T5" fmla="*/ 7 h 35"/>
                  <a:gd name="T6" fmla="*/ 4 w 7"/>
                  <a:gd name="T7" fmla="*/ 0 h 35"/>
                  <a:gd name="T8" fmla="*/ 0 w 7"/>
                  <a:gd name="T9" fmla="*/ 3 h 35"/>
                  <a:gd name="T10" fmla="*/ 0 w 7"/>
                  <a:gd name="T11" fmla="*/ 35 h 35"/>
                </a:gdLst>
                <a:ahLst/>
                <a:cxnLst>
                  <a:cxn ang="0">
                    <a:pos x="T0" y="T1"/>
                  </a:cxn>
                  <a:cxn ang="0">
                    <a:pos x="T2" y="T3"/>
                  </a:cxn>
                  <a:cxn ang="0">
                    <a:pos x="T4" y="T5"/>
                  </a:cxn>
                  <a:cxn ang="0">
                    <a:pos x="T6" y="T7"/>
                  </a:cxn>
                  <a:cxn ang="0">
                    <a:pos x="T8" y="T9"/>
                  </a:cxn>
                  <a:cxn ang="0">
                    <a:pos x="T10" y="T11"/>
                  </a:cxn>
                </a:cxnLst>
                <a:rect l="0" t="0" r="r" b="b"/>
                <a:pathLst>
                  <a:path w="7" h="35">
                    <a:moveTo>
                      <a:pt x="0" y="35"/>
                    </a:moveTo>
                    <a:cubicBezTo>
                      <a:pt x="7" y="35"/>
                      <a:pt x="7" y="35"/>
                      <a:pt x="7" y="35"/>
                    </a:cubicBezTo>
                    <a:cubicBezTo>
                      <a:pt x="7" y="7"/>
                      <a:pt x="7" y="7"/>
                      <a:pt x="7" y="7"/>
                    </a:cubicBezTo>
                    <a:cubicBezTo>
                      <a:pt x="7" y="7"/>
                      <a:pt x="7" y="0"/>
                      <a:pt x="4" y="0"/>
                    </a:cubicBezTo>
                    <a:cubicBezTo>
                      <a:pt x="1" y="0"/>
                      <a:pt x="0" y="3"/>
                      <a:pt x="0" y="3"/>
                    </a:cubicBezTo>
                    <a:lnTo>
                      <a:pt x="0" y="35"/>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2" name="Freeform 210"/>
              <p:cNvSpPr>
                <a:spLocks/>
              </p:cNvSpPr>
              <p:nvPr userDrawn="1"/>
            </p:nvSpPr>
            <p:spPr bwMode="auto">
              <a:xfrm>
                <a:off x="4153" y="2114"/>
                <a:ext cx="12" cy="73"/>
              </a:xfrm>
              <a:custGeom>
                <a:avLst/>
                <a:gdLst>
                  <a:gd name="T0" fmla="*/ 0 w 6"/>
                  <a:gd name="T1" fmla="*/ 36 h 36"/>
                  <a:gd name="T2" fmla="*/ 6 w 6"/>
                  <a:gd name="T3" fmla="*/ 36 h 36"/>
                  <a:gd name="T4" fmla="*/ 6 w 6"/>
                  <a:gd name="T5" fmla="*/ 7 h 36"/>
                  <a:gd name="T6" fmla="*/ 3 w 6"/>
                  <a:gd name="T7" fmla="*/ 0 h 36"/>
                  <a:gd name="T8" fmla="*/ 0 w 6"/>
                  <a:gd name="T9" fmla="*/ 3 h 36"/>
                  <a:gd name="T10" fmla="*/ 0 w 6"/>
                  <a:gd name="T11" fmla="*/ 36 h 36"/>
                </a:gdLst>
                <a:ahLst/>
                <a:cxnLst>
                  <a:cxn ang="0">
                    <a:pos x="T0" y="T1"/>
                  </a:cxn>
                  <a:cxn ang="0">
                    <a:pos x="T2" y="T3"/>
                  </a:cxn>
                  <a:cxn ang="0">
                    <a:pos x="T4" y="T5"/>
                  </a:cxn>
                  <a:cxn ang="0">
                    <a:pos x="T6" y="T7"/>
                  </a:cxn>
                  <a:cxn ang="0">
                    <a:pos x="T8" y="T9"/>
                  </a:cxn>
                  <a:cxn ang="0">
                    <a:pos x="T10" y="T11"/>
                  </a:cxn>
                </a:cxnLst>
                <a:rect l="0" t="0" r="r" b="b"/>
                <a:pathLst>
                  <a:path w="6" h="36">
                    <a:moveTo>
                      <a:pt x="0" y="36"/>
                    </a:moveTo>
                    <a:cubicBezTo>
                      <a:pt x="6" y="36"/>
                      <a:pt x="6" y="36"/>
                      <a:pt x="6" y="36"/>
                    </a:cubicBezTo>
                    <a:cubicBezTo>
                      <a:pt x="6" y="7"/>
                      <a:pt x="6" y="7"/>
                      <a:pt x="6" y="7"/>
                    </a:cubicBezTo>
                    <a:cubicBezTo>
                      <a:pt x="6" y="7"/>
                      <a:pt x="6" y="0"/>
                      <a:pt x="3" y="0"/>
                    </a:cubicBezTo>
                    <a:cubicBezTo>
                      <a:pt x="1" y="0"/>
                      <a:pt x="0" y="3"/>
                      <a:pt x="0" y="3"/>
                    </a:cubicBezTo>
                    <a:lnTo>
                      <a:pt x="0" y="36"/>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3" name="Freeform 211"/>
              <p:cNvSpPr>
                <a:spLocks/>
              </p:cNvSpPr>
              <p:nvPr userDrawn="1"/>
            </p:nvSpPr>
            <p:spPr bwMode="auto">
              <a:xfrm>
                <a:off x="3876" y="2094"/>
                <a:ext cx="18" cy="71"/>
              </a:xfrm>
              <a:custGeom>
                <a:avLst/>
                <a:gdLst>
                  <a:gd name="T0" fmla="*/ 0 w 9"/>
                  <a:gd name="T1" fmla="*/ 35 h 35"/>
                  <a:gd name="T2" fmla="*/ 9 w 9"/>
                  <a:gd name="T3" fmla="*/ 35 h 35"/>
                  <a:gd name="T4" fmla="*/ 9 w 9"/>
                  <a:gd name="T5" fmla="*/ 7 h 35"/>
                  <a:gd name="T6" fmla="*/ 4 w 9"/>
                  <a:gd name="T7" fmla="*/ 0 h 35"/>
                  <a:gd name="T8" fmla="*/ 0 w 9"/>
                  <a:gd name="T9" fmla="*/ 3 h 35"/>
                  <a:gd name="T10" fmla="*/ 0 w 9"/>
                  <a:gd name="T11" fmla="*/ 35 h 35"/>
                </a:gdLst>
                <a:ahLst/>
                <a:cxnLst>
                  <a:cxn ang="0">
                    <a:pos x="T0" y="T1"/>
                  </a:cxn>
                  <a:cxn ang="0">
                    <a:pos x="T2" y="T3"/>
                  </a:cxn>
                  <a:cxn ang="0">
                    <a:pos x="T4" y="T5"/>
                  </a:cxn>
                  <a:cxn ang="0">
                    <a:pos x="T6" y="T7"/>
                  </a:cxn>
                  <a:cxn ang="0">
                    <a:pos x="T8" y="T9"/>
                  </a:cxn>
                  <a:cxn ang="0">
                    <a:pos x="T10" y="T11"/>
                  </a:cxn>
                </a:cxnLst>
                <a:rect l="0" t="0" r="r" b="b"/>
                <a:pathLst>
                  <a:path w="9" h="35">
                    <a:moveTo>
                      <a:pt x="0" y="35"/>
                    </a:moveTo>
                    <a:cubicBezTo>
                      <a:pt x="9" y="35"/>
                      <a:pt x="9" y="35"/>
                      <a:pt x="9" y="35"/>
                    </a:cubicBezTo>
                    <a:cubicBezTo>
                      <a:pt x="9" y="7"/>
                      <a:pt x="9" y="7"/>
                      <a:pt x="9" y="7"/>
                    </a:cubicBezTo>
                    <a:cubicBezTo>
                      <a:pt x="9" y="7"/>
                      <a:pt x="9" y="0"/>
                      <a:pt x="4" y="0"/>
                    </a:cubicBezTo>
                    <a:cubicBezTo>
                      <a:pt x="0" y="0"/>
                      <a:pt x="0" y="3"/>
                      <a:pt x="0" y="3"/>
                    </a:cubicBezTo>
                    <a:lnTo>
                      <a:pt x="0" y="35"/>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4" name="Freeform 212"/>
              <p:cNvSpPr>
                <a:spLocks/>
              </p:cNvSpPr>
              <p:nvPr userDrawn="1"/>
            </p:nvSpPr>
            <p:spPr bwMode="auto">
              <a:xfrm>
                <a:off x="3826" y="2096"/>
                <a:ext cx="18" cy="73"/>
              </a:xfrm>
              <a:custGeom>
                <a:avLst/>
                <a:gdLst>
                  <a:gd name="T0" fmla="*/ 0 w 9"/>
                  <a:gd name="T1" fmla="*/ 36 h 36"/>
                  <a:gd name="T2" fmla="*/ 9 w 9"/>
                  <a:gd name="T3" fmla="*/ 36 h 36"/>
                  <a:gd name="T4" fmla="*/ 9 w 9"/>
                  <a:gd name="T5" fmla="*/ 7 h 36"/>
                  <a:gd name="T6" fmla="*/ 5 w 9"/>
                  <a:gd name="T7" fmla="*/ 0 h 36"/>
                  <a:gd name="T8" fmla="*/ 0 w 9"/>
                  <a:gd name="T9" fmla="*/ 3 h 36"/>
                  <a:gd name="T10" fmla="*/ 0 w 9"/>
                  <a:gd name="T11" fmla="*/ 36 h 36"/>
                </a:gdLst>
                <a:ahLst/>
                <a:cxnLst>
                  <a:cxn ang="0">
                    <a:pos x="T0" y="T1"/>
                  </a:cxn>
                  <a:cxn ang="0">
                    <a:pos x="T2" y="T3"/>
                  </a:cxn>
                  <a:cxn ang="0">
                    <a:pos x="T4" y="T5"/>
                  </a:cxn>
                  <a:cxn ang="0">
                    <a:pos x="T6" y="T7"/>
                  </a:cxn>
                  <a:cxn ang="0">
                    <a:pos x="T8" y="T9"/>
                  </a:cxn>
                  <a:cxn ang="0">
                    <a:pos x="T10" y="T11"/>
                  </a:cxn>
                </a:cxnLst>
                <a:rect l="0" t="0" r="r" b="b"/>
                <a:pathLst>
                  <a:path w="9" h="36">
                    <a:moveTo>
                      <a:pt x="0" y="36"/>
                    </a:moveTo>
                    <a:cubicBezTo>
                      <a:pt x="9" y="36"/>
                      <a:pt x="9" y="36"/>
                      <a:pt x="9" y="36"/>
                    </a:cubicBezTo>
                    <a:cubicBezTo>
                      <a:pt x="9" y="7"/>
                      <a:pt x="9" y="7"/>
                      <a:pt x="9" y="7"/>
                    </a:cubicBezTo>
                    <a:cubicBezTo>
                      <a:pt x="9" y="7"/>
                      <a:pt x="9" y="0"/>
                      <a:pt x="5" y="0"/>
                    </a:cubicBezTo>
                    <a:cubicBezTo>
                      <a:pt x="1" y="0"/>
                      <a:pt x="0" y="3"/>
                      <a:pt x="0" y="3"/>
                    </a:cubicBezTo>
                    <a:lnTo>
                      <a:pt x="0" y="36"/>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5" name="Freeform 213"/>
              <p:cNvSpPr>
                <a:spLocks/>
              </p:cNvSpPr>
              <p:nvPr userDrawn="1"/>
            </p:nvSpPr>
            <p:spPr bwMode="auto">
              <a:xfrm>
                <a:off x="3778" y="2098"/>
                <a:ext cx="18" cy="73"/>
              </a:xfrm>
              <a:custGeom>
                <a:avLst/>
                <a:gdLst>
                  <a:gd name="T0" fmla="*/ 0 w 9"/>
                  <a:gd name="T1" fmla="*/ 36 h 36"/>
                  <a:gd name="T2" fmla="*/ 9 w 9"/>
                  <a:gd name="T3" fmla="*/ 36 h 36"/>
                  <a:gd name="T4" fmla="*/ 9 w 9"/>
                  <a:gd name="T5" fmla="*/ 7 h 36"/>
                  <a:gd name="T6" fmla="*/ 5 w 9"/>
                  <a:gd name="T7" fmla="*/ 0 h 36"/>
                  <a:gd name="T8" fmla="*/ 0 w 9"/>
                  <a:gd name="T9" fmla="*/ 3 h 36"/>
                  <a:gd name="T10" fmla="*/ 0 w 9"/>
                  <a:gd name="T11" fmla="*/ 36 h 36"/>
                </a:gdLst>
                <a:ahLst/>
                <a:cxnLst>
                  <a:cxn ang="0">
                    <a:pos x="T0" y="T1"/>
                  </a:cxn>
                  <a:cxn ang="0">
                    <a:pos x="T2" y="T3"/>
                  </a:cxn>
                  <a:cxn ang="0">
                    <a:pos x="T4" y="T5"/>
                  </a:cxn>
                  <a:cxn ang="0">
                    <a:pos x="T6" y="T7"/>
                  </a:cxn>
                  <a:cxn ang="0">
                    <a:pos x="T8" y="T9"/>
                  </a:cxn>
                  <a:cxn ang="0">
                    <a:pos x="T10" y="T11"/>
                  </a:cxn>
                </a:cxnLst>
                <a:rect l="0" t="0" r="r" b="b"/>
                <a:pathLst>
                  <a:path w="9" h="36">
                    <a:moveTo>
                      <a:pt x="0" y="36"/>
                    </a:moveTo>
                    <a:cubicBezTo>
                      <a:pt x="9" y="36"/>
                      <a:pt x="9" y="36"/>
                      <a:pt x="9" y="36"/>
                    </a:cubicBezTo>
                    <a:cubicBezTo>
                      <a:pt x="9" y="7"/>
                      <a:pt x="9" y="7"/>
                      <a:pt x="9" y="7"/>
                    </a:cubicBezTo>
                    <a:cubicBezTo>
                      <a:pt x="9" y="7"/>
                      <a:pt x="9" y="0"/>
                      <a:pt x="5" y="0"/>
                    </a:cubicBezTo>
                    <a:cubicBezTo>
                      <a:pt x="1" y="0"/>
                      <a:pt x="0" y="3"/>
                      <a:pt x="0" y="3"/>
                    </a:cubicBezTo>
                    <a:lnTo>
                      <a:pt x="0" y="36"/>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6" name="Freeform 214"/>
              <p:cNvSpPr>
                <a:spLocks/>
              </p:cNvSpPr>
              <p:nvPr userDrawn="1"/>
            </p:nvSpPr>
            <p:spPr bwMode="auto">
              <a:xfrm>
                <a:off x="3737" y="2106"/>
                <a:ext cx="16" cy="73"/>
              </a:xfrm>
              <a:custGeom>
                <a:avLst/>
                <a:gdLst>
                  <a:gd name="T0" fmla="*/ 0 w 8"/>
                  <a:gd name="T1" fmla="*/ 36 h 36"/>
                  <a:gd name="T2" fmla="*/ 8 w 8"/>
                  <a:gd name="T3" fmla="*/ 36 h 36"/>
                  <a:gd name="T4" fmla="*/ 8 w 8"/>
                  <a:gd name="T5" fmla="*/ 7 h 36"/>
                  <a:gd name="T6" fmla="*/ 4 w 8"/>
                  <a:gd name="T7" fmla="*/ 0 h 36"/>
                  <a:gd name="T8" fmla="*/ 0 w 8"/>
                  <a:gd name="T9" fmla="*/ 4 h 36"/>
                  <a:gd name="T10" fmla="*/ 0 w 8"/>
                  <a:gd name="T11" fmla="*/ 36 h 36"/>
                </a:gdLst>
                <a:ahLst/>
                <a:cxnLst>
                  <a:cxn ang="0">
                    <a:pos x="T0" y="T1"/>
                  </a:cxn>
                  <a:cxn ang="0">
                    <a:pos x="T2" y="T3"/>
                  </a:cxn>
                  <a:cxn ang="0">
                    <a:pos x="T4" y="T5"/>
                  </a:cxn>
                  <a:cxn ang="0">
                    <a:pos x="T6" y="T7"/>
                  </a:cxn>
                  <a:cxn ang="0">
                    <a:pos x="T8" y="T9"/>
                  </a:cxn>
                  <a:cxn ang="0">
                    <a:pos x="T10" y="T11"/>
                  </a:cxn>
                </a:cxnLst>
                <a:rect l="0" t="0" r="r" b="b"/>
                <a:pathLst>
                  <a:path w="8" h="36">
                    <a:moveTo>
                      <a:pt x="0" y="36"/>
                    </a:moveTo>
                    <a:cubicBezTo>
                      <a:pt x="8" y="36"/>
                      <a:pt x="8" y="36"/>
                      <a:pt x="8" y="36"/>
                    </a:cubicBezTo>
                    <a:cubicBezTo>
                      <a:pt x="8" y="7"/>
                      <a:pt x="8" y="7"/>
                      <a:pt x="8" y="7"/>
                    </a:cubicBezTo>
                    <a:cubicBezTo>
                      <a:pt x="8" y="7"/>
                      <a:pt x="8" y="0"/>
                      <a:pt x="4" y="0"/>
                    </a:cubicBezTo>
                    <a:cubicBezTo>
                      <a:pt x="1" y="0"/>
                      <a:pt x="0" y="4"/>
                      <a:pt x="0" y="4"/>
                    </a:cubicBezTo>
                    <a:lnTo>
                      <a:pt x="0" y="36"/>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7" name="Freeform 215"/>
              <p:cNvSpPr>
                <a:spLocks/>
              </p:cNvSpPr>
              <p:nvPr userDrawn="1"/>
            </p:nvSpPr>
            <p:spPr bwMode="auto">
              <a:xfrm>
                <a:off x="3705" y="2112"/>
                <a:ext cx="12" cy="73"/>
              </a:xfrm>
              <a:custGeom>
                <a:avLst/>
                <a:gdLst>
                  <a:gd name="T0" fmla="*/ 0 w 6"/>
                  <a:gd name="T1" fmla="*/ 36 h 36"/>
                  <a:gd name="T2" fmla="*/ 6 w 6"/>
                  <a:gd name="T3" fmla="*/ 36 h 36"/>
                  <a:gd name="T4" fmla="*/ 6 w 6"/>
                  <a:gd name="T5" fmla="*/ 7 h 36"/>
                  <a:gd name="T6" fmla="*/ 3 w 6"/>
                  <a:gd name="T7" fmla="*/ 0 h 36"/>
                  <a:gd name="T8" fmla="*/ 0 w 6"/>
                  <a:gd name="T9" fmla="*/ 4 h 36"/>
                  <a:gd name="T10" fmla="*/ 0 w 6"/>
                  <a:gd name="T11" fmla="*/ 36 h 36"/>
                </a:gdLst>
                <a:ahLst/>
                <a:cxnLst>
                  <a:cxn ang="0">
                    <a:pos x="T0" y="T1"/>
                  </a:cxn>
                  <a:cxn ang="0">
                    <a:pos x="T2" y="T3"/>
                  </a:cxn>
                  <a:cxn ang="0">
                    <a:pos x="T4" y="T5"/>
                  </a:cxn>
                  <a:cxn ang="0">
                    <a:pos x="T6" y="T7"/>
                  </a:cxn>
                  <a:cxn ang="0">
                    <a:pos x="T8" y="T9"/>
                  </a:cxn>
                  <a:cxn ang="0">
                    <a:pos x="T10" y="T11"/>
                  </a:cxn>
                </a:cxnLst>
                <a:rect l="0" t="0" r="r" b="b"/>
                <a:pathLst>
                  <a:path w="6" h="36">
                    <a:moveTo>
                      <a:pt x="0" y="36"/>
                    </a:moveTo>
                    <a:cubicBezTo>
                      <a:pt x="6" y="36"/>
                      <a:pt x="6" y="36"/>
                      <a:pt x="6" y="36"/>
                    </a:cubicBezTo>
                    <a:cubicBezTo>
                      <a:pt x="6" y="7"/>
                      <a:pt x="6" y="7"/>
                      <a:pt x="6" y="7"/>
                    </a:cubicBezTo>
                    <a:cubicBezTo>
                      <a:pt x="6" y="7"/>
                      <a:pt x="6" y="0"/>
                      <a:pt x="3" y="0"/>
                    </a:cubicBezTo>
                    <a:cubicBezTo>
                      <a:pt x="0" y="0"/>
                      <a:pt x="0" y="4"/>
                      <a:pt x="0" y="4"/>
                    </a:cubicBezTo>
                    <a:lnTo>
                      <a:pt x="0" y="36"/>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1" name="Freeform 219"/>
              <p:cNvSpPr>
                <a:spLocks/>
              </p:cNvSpPr>
              <p:nvPr userDrawn="1"/>
            </p:nvSpPr>
            <p:spPr bwMode="auto">
              <a:xfrm>
                <a:off x="3930" y="1895"/>
                <a:ext cx="14" cy="35"/>
              </a:xfrm>
              <a:custGeom>
                <a:avLst/>
                <a:gdLst>
                  <a:gd name="T0" fmla="*/ 3 w 7"/>
                  <a:gd name="T1" fmla="*/ 0 h 17"/>
                  <a:gd name="T2" fmla="*/ 0 w 7"/>
                  <a:gd name="T3" fmla="*/ 3 h 17"/>
                  <a:gd name="T4" fmla="*/ 0 w 7"/>
                  <a:gd name="T5" fmla="*/ 14 h 17"/>
                  <a:gd name="T6" fmla="*/ 3 w 7"/>
                  <a:gd name="T7" fmla="*/ 17 h 17"/>
                  <a:gd name="T8" fmla="*/ 7 w 7"/>
                  <a:gd name="T9" fmla="*/ 14 h 17"/>
                  <a:gd name="T10" fmla="*/ 7 w 7"/>
                  <a:gd name="T11" fmla="*/ 3 h 17"/>
                  <a:gd name="T12" fmla="*/ 3 w 7"/>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7" h="17">
                    <a:moveTo>
                      <a:pt x="3" y="0"/>
                    </a:moveTo>
                    <a:cubicBezTo>
                      <a:pt x="1" y="0"/>
                      <a:pt x="0" y="2"/>
                      <a:pt x="0" y="3"/>
                    </a:cubicBezTo>
                    <a:cubicBezTo>
                      <a:pt x="0" y="14"/>
                      <a:pt x="0" y="14"/>
                      <a:pt x="0" y="14"/>
                    </a:cubicBezTo>
                    <a:cubicBezTo>
                      <a:pt x="0" y="16"/>
                      <a:pt x="1" y="17"/>
                      <a:pt x="3" y="17"/>
                    </a:cubicBezTo>
                    <a:cubicBezTo>
                      <a:pt x="5" y="17"/>
                      <a:pt x="7" y="16"/>
                      <a:pt x="7" y="14"/>
                    </a:cubicBezTo>
                    <a:cubicBezTo>
                      <a:pt x="7" y="3"/>
                      <a:pt x="7" y="3"/>
                      <a:pt x="7" y="3"/>
                    </a:cubicBezTo>
                    <a:cubicBezTo>
                      <a:pt x="7" y="2"/>
                      <a:pt x="5" y="0"/>
                      <a:pt x="3"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2" name="Freeform 220"/>
              <p:cNvSpPr>
                <a:spLocks/>
              </p:cNvSpPr>
              <p:nvPr userDrawn="1"/>
            </p:nvSpPr>
            <p:spPr bwMode="auto">
              <a:xfrm>
                <a:off x="3972" y="1897"/>
                <a:ext cx="12" cy="35"/>
              </a:xfrm>
              <a:custGeom>
                <a:avLst/>
                <a:gdLst>
                  <a:gd name="T0" fmla="*/ 3 w 6"/>
                  <a:gd name="T1" fmla="*/ 0 h 17"/>
                  <a:gd name="T2" fmla="*/ 0 w 6"/>
                  <a:gd name="T3" fmla="*/ 3 h 17"/>
                  <a:gd name="T4" fmla="*/ 0 w 6"/>
                  <a:gd name="T5" fmla="*/ 14 h 17"/>
                  <a:gd name="T6" fmla="*/ 3 w 6"/>
                  <a:gd name="T7" fmla="*/ 17 h 17"/>
                  <a:gd name="T8" fmla="*/ 6 w 6"/>
                  <a:gd name="T9" fmla="*/ 14 h 17"/>
                  <a:gd name="T10" fmla="*/ 6 w 6"/>
                  <a:gd name="T11" fmla="*/ 3 h 17"/>
                  <a:gd name="T12" fmla="*/ 3 w 6"/>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6" h="17">
                    <a:moveTo>
                      <a:pt x="3" y="0"/>
                    </a:moveTo>
                    <a:cubicBezTo>
                      <a:pt x="1" y="0"/>
                      <a:pt x="0" y="2"/>
                      <a:pt x="0" y="3"/>
                    </a:cubicBezTo>
                    <a:cubicBezTo>
                      <a:pt x="0" y="14"/>
                      <a:pt x="0" y="14"/>
                      <a:pt x="0" y="14"/>
                    </a:cubicBezTo>
                    <a:cubicBezTo>
                      <a:pt x="0" y="16"/>
                      <a:pt x="1" y="17"/>
                      <a:pt x="3" y="17"/>
                    </a:cubicBezTo>
                    <a:cubicBezTo>
                      <a:pt x="5" y="17"/>
                      <a:pt x="6" y="16"/>
                      <a:pt x="6" y="14"/>
                    </a:cubicBezTo>
                    <a:cubicBezTo>
                      <a:pt x="6" y="3"/>
                      <a:pt x="6" y="3"/>
                      <a:pt x="6" y="3"/>
                    </a:cubicBezTo>
                    <a:cubicBezTo>
                      <a:pt x="6" y="2"/>
                      <a:pt x="5" y="0"/>
                      <a:pt x="3"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3" name="Freeform 221"/>
              <p:cNvSpPr>
                <a:spLocks/>
              </p:cNvSpPr>
              <p:nvPr userDrawn="1"/>
            </p:nvSpPr>
            <p:spPr bwMode="auto">
              <a:xfrm>
                <a:off x="4010" y="1899"/>
                <a:ext cx="14" cy="35"/>
              </a:xfrm>
              <a:custGeom>
                <a:avLst/>
                <a:gdLst>
                  <a:gd name="T0" fmla="*/ 4 w 7"/>
                  <a:gd name="T1" fmla="*/ 0 h 17"/>
                  <a:gd name="T2" fmla="*/ 0 w 7"/>
                  <a:gd name="T3" fmla="*/ 4 h 17"/>
                  <a:gd name="T4" fmla="*/ 0 w 7"/>
                  <a:gd name="T5" fmla="*/ 14 h 17"/>
                  <a:gd name="T6" fmla="*/ 4 w 7"/>
                  <a:gd name="T7" fmla="*/ 17 h 17"/>
                  <a:gd name="T8" fmla="*/ 7 w 7"/>
                  <a:gd name="T9" fmla="*/ 14 h 17"/>
                  <a:gd name="T10" fmla="*/ 7 w 7"/>
                  <a:gd name="T11" fmla="*/ 4 h 17"/>
                  <a:gd name="T12" fmla="*/ 4 w 7"/>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7" h="17">
                    <a:moveTo>
                      <a:pt x="4" y="0"/>
                    </a:moveTo>
                    <a:cubicBezTo>
                      <a:pt x="2" y="0"/>
                      <a:pt x="0" y="2"/>
                      <a:pt x="0" y="4"/>
                    </a:cubicBezTo>
                    <a:cubicBezTo>
                      <a:pt x="0" y="14"/>
                      <a:pt x="0" y="14"/>
                      <a:pt x="0" y="14"/>
                    </a:cubicBezTo>
                    <a:cubicBezTo>
                      <a:pt x="0" y="16"/>
                      <a:pt x="2" y="17"/>
                      <a:pt x="4" y="17"/>
                    </a:cubicBezTo>
                    <a:cubicBezTo>
                      <a:pt x="6" y="17"/>
                      <a:pt x="7" y="16"/>
                      <a:pt x="7" y="14"/>
                    </a:cubicBezTo>
                    <a:cubicBezTo>
                      <a:pt x="7" y="4"/>
                      <a:pt x="7" y="4"/>
                      <a:pt x="7" y="4"/>
                    </a:cubicBezTo>
                    <a:cubicBezTo>
                      <a:pt x="7" y="2"/>
                      <a:pt x="6" y="0"/>
                      <a:pt x="4"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4" name="Freeform 222"/>
              <p:cNvSpPr>
                <a:spLocks/>
              </p:cNvSpPr>
              <p:nvPr userDrawn="1"/>
            </p:nvSpPr>
            <p:spPr bwMode="auto">
              <a:xfrm>
                <a:off x="4050" y="1905"/>
                <a:ext cx="12" cy="35"/>
              </a:xfrm>
              <a:custGeom>
                <a:avLst/>
                <a:gdLst>
                  <a:gd name="T0" fmla="*/ 3 w 6"/>
                  <a:gd name="T1" fmla="*/ 0 h 17"/>
                  <a:gd name="T2" fmla="*/ 0 w 6"/>
                  <a:gd name="T3" fmla="*/ 3 h 17"/>
                  <a:gd name="T4" fmla="*/ 0 w 6"/>
                  <a:gd name="T5" fmla="*/ 14 h 17"/>
                  <a:gd name="T6" fmla="*/ 3 w 6"/>
                  <a:gd name="T7" fmla="*/ 17 h 17"/>
                  <a:gd name="T8" fmla="*/ 6 w 6"/>
                  <a:gd name="T9" fmla="*/ 14 h 17"/>
                  <a:gd name="T10" fmla="*/ 6 w 6"/>
                  <a:gd name="T11" fmla="*/ 3 h 17"/>
                  <a:gd name="T12" fmla="*/ 3 w 6"/>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6" h="17">
                    <a:moveTo>
                      <a:pt x="3" y="0"/>
                    </a:moveTo>
                    <a:cubicBezTo>
                      <a:pt x="1" y="0"/>
                      <a:pt x="0" y="2"/>
                      <a:pt x="0" y="3"/>
                    </a:cubicBezTo>
                    <a:cubicBezTo>
                      <a:pt x="0" y="14"/>
                      <a:pt x="0" y="14"/>
                      <a:pt x="0" y="14"/>
                    </a:cubicBezTo>
                    <a:cubicBezTo>
                      <a:pt x="0" y="16"/>
                      <a:pt x="1" y="17"/>
                      <a:pt x="3" y="17"/>
                    </a:cubicBezTo>
                    <a:cubicBezTo>
                      <a:pt x="5" y="17"/>
                      <a:pt x="6" y="16"/>
                      <a:pt x="6" y="14"/>
                    </a:cubicBezTo>
                    <a:cubicBezTo>
                      <a:pt x="6" y="3"/>
                      <a:pt x="6" y="3"/>
                      <a:pt x="6" y="3"/>
                    </a:cubicBezTo>
                    <a:cubicBezTo>
                      <a:pt x="6" y="2"/>
                      <a:pt x="5" y="0"/>
                      <a:pt x="3"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5" name="Freeform 223"/>
              <p:cNvSpPr>
                <a:spLocks/>
              </p:cNvSpPr>
              <p:nvPr userDrawn="1"/>
            </p:nvSpPr>
            <p:spPr bwMode="auto">
              <a:xfrm>
                <a:off x="4083" y="1911"/>
                <a:ext cx="14" cy="35"/>
              </a:xfrm>
              <a:custGeom>
                <a:avLst/>
                <a:gdLst>
                  <a:gd name="T0" fmla="*/ 3 w 7"/>
                  <a:gd name="T1" fmla="*/ 0 h 17"/>
                  <a:gd name="T2" fmla="*/ 1 w 7"/>
                  <a:gd name="T3" fmla="*/ 4 h 17"/>
                  <a:gd name="T4" fmla="*/ 2 w 7"/>
                  <a:gd name="T5" fmla="*/ 14 h 17"/>
                  <a:gd name="T6" fmla="*/ 5 w 7"/>
                  <a:gd name="T7" fmla="*/ 17 h 17"/>
                  <a:gd name="T8" fmla="*/ 7 w 7"/>
                  <a:gd name="T9" fmla="*/ 14 h 17"/>
                  <a:gd name="T10" fmla="*/ 6 w 7"/>
                  <a:gd name="T11" fmla="*/ 3 h 17"/>
                  <a:gd name="T12" fmla="*/ 3 w 7"/>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7" h="17">
                    <a:moveTo>
                      <a:pt x="3" y="0"/>
                    </a:moveTo>
                    <a:cubicBezTo>
                      <a:pt x="1" y="0"/>
                      <a:pt x="0" y="2"/>
                      <a:pt x="1" y="4"/>
                    </a:cubicBezTo>
                    <a:cubicBezTo>
                      <a:pt x="2" y="14"/>
                      <a:pt x="2" y="14"/>
                      <a:pt x="2" y="14"/>
                    </a:cubicBezTo>
                    <a:cubicBezTo>
                      <a:pt x="2" y="16"/>
                      <a:pt x="3" y="17"/>
                      <a:pt x="5" y="17"/>
                    </a:cubicBezTo>
                    <a:cubicBezTo>
                      <a:pt x="6" y="17"/>
                      <a:pt x="7" y="15"/>
                      <a:pt x="7" y="14"/>
                    </a:cubicBezTo>
                    <a:cubicBezTo>
                      <a:pt x="6" y="3"/>
                      <a:pt x="6" y="3"/>
                      <a:pt x="6" y="3"/>
                    </a:cubicBezTo>
                    <a:cubicBezTo>
                      <a:pt x="6" y="1"/>
                      <a:pt x="4" y="0"/>
                      <a:pt x="3"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6" name="Freeform 224"/>
              <p:cNvSpPr>
                <a:spLocks/>
              </p:cNvSpPr>
              <p:nvPr userDrawn="1"/>
            </p:nvSpPr>
            <p:spPr bwMode="auto">
              <a:xfrm>
                <a:off x="4113" y="1920"/>
                <a:ext cx="12" cy="34"/>
              </a:xfrm>
              <a:custGeom>
                <a:avLst/>
                <a:gdLst>
                  <a:gd name="T0" fmla="*/ 2 w 6"/>
                  <a:gd name="T1" fmla="*/ 0 h 17"/>
                  <a:gd name="T2" fmla="*/ 0 w 6"/>
                  <a:gd name="T3" fmla="*/ 4 h 17"/>
                  <a:gd name="T4" fmla="*/ 1 w 6"/>
                  <a:gd name="T5" fmla="*/ 14 h 17"/>
                  <a:gd name="T6" fmla="*/ 4 w 6"/>
                  <a:gd name="T7" fmla="*/ 17 h 17"/>
                  <a:gd name="T8" fmla="*/ 5 w 6"/>
                  <a:gd name="T9" fmla="*/ 13 h 17"/>
                  <a:gd name="T10" fmla="*/ 4 w 6"/>
                  <a:gd name="T11" fmla="*/ 3 h 17"/>
                  <a:gd name="T12" fmla="*/ 2 w 6"/>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6" h="17">
                    <a:moveTo>
                      <a:pt x="2" y="0"/>
                    </a:moveTo>
                    <a:cubicBezTo>
                      <a:pt x="0" y="0"/>
                      <a:pt x="0" y="2"/>
                      <a:pt x="0" y="4"/>
                    </a:cubicBezTo>
                    <a:cubicBezTo>
                      <a:pt x="1" y="14"/>
                      <a:pt x="1" y="14"/>
                      <a:pt x="1" y="14"/>
                    </a:cubicBezTo>
                    <a:cubicBezTo>
                      <a:pt x="1" y="16"/>
                      <a:pt x="2" y="17"/>
                      <a:pt x="4" y="17"/>
                    </a:cubicBezTo>
                    <a:cubicBezTo>
                      <a:pt x="5" y="17"/>
                      <a:pt x="6" y="15"/>
                      <a:pt x="5" y="13"/>
                    </a:cubicBezTo>
                    <a:cubicBezTo>
                      <a:pt x="4" y="3"/>
                      <a:pt x="4" y="3"/>
                      <a:pt x="4" y="3"/>
                    </a:cubicBezTo>
                    <a:cubicBezTo>
                      <a:pt x="4" y="1"/>
                      <a:pt x="3" y="0"/>
                      <a:pt x="2"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7" name="Freeform 225"/>
              <p:cNvSpPr>
                <a:spLocks/>
              </p:cNvSpPr>
              <p:nvPr userDrawn="1"/>
            </p:nvSpPr>
            <p:spPr bwMode="auto">
              <a:xfrm>
                <a:off x="4137" y="1928"/>
                <a:ext cx="8" cy="34"/>
              </a:xfrm>
              <a:custGeom>
                <a:avLst/>
                <a:gdLst>
                  <a:gd name="T0" fmla="*/ 1 w 4"/>
                  <a:gd name="T1" fmla="*/ 0 h 17"/>
                  <a:gd name="T2" fmla="*/ 0 w 4"/>
                  <a:gd name="T3" fmla="*/ 4 h 17"/>
                  <a:gd name="T4" fmla="*/ 1 w 4"/>
                  <a:gd name="T5" fmla="*/ 14 h 17"/>
                  <a:gd name="T6" fmla="*/ 3 w 4"/>
                  <a:gd name="T7" fmla="*/ 17 h 17"/>
                  <a:gd name="T8" fmla="*/ 4 w 4"/>
                  <a:gd name="T9" fmla="*/ 14 h 17"/>
                  <a:gd name="T10" fmla="*/ 3 w 4"/>
                  <a:gd name="T11" fmla="*/ 3 h 17"/>
                  <a:gd name="T12" fmla="*/ 1 w 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4" h="17">
                    <a:moveTo>
                      <a:pt x="1" y="0"/>
                    </a:moveTo>
                    <a:cubicBezTo>
                      <a:pt x="0" y="0"/>
                      <a:pt x="0" y="2"/>
                      <a:pt x="0" y="4"/>
                    </a:cubicBezTo>
                    <a:cubicBezTo>
                      <a:pt x="1" y="14"/>
                      <a:pt x="1" y="14"/>
                      <a:pt x="1" y="14"/>
                    </a:cubicBezTo>
                    <a:cubicBezTo>
                      <a:pt x="2" y="16"/>
                      <a:pt x="2" y="17"/>
                      <a:pt x="3" y="17"/>
                    </a:cubicBezTo>
                    <a:cubicBezTo>
                      <a:pt x="4" y="17"/>
                      <a:pt x="4" y="16"/>
                      <a:pt x="4" y="14"/>
                    </a:cubicBezTo>
                    <a:cubicBezTo>
                      <a:pt x="3" y="3"/>
                      <a:pt x="3" y="3"/>
                      <a:pt x="3" y="3"/>
                    </a:cubicBezTo>
                    <a:cubicBezTo>
                      <a:pt x="2" y="2"/>
                      <a:pt x="2" y="0"/>
                      <a:pt x="1"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8" name="Freeform 226"/>
              <p:cNvSpPr>
                <a:spLocks/>
              </p:cNvSpPr>
              <p:nvPr userDrawn="1"/>
            </p:nvSpPr>
            <p:spPr bwMode="auto">
              <a:xfrm>
                <a:off x="3888" y="1897"/>
                <a:ext cx="14" cy="35"/>
              </a:xfrm>
              <a:custGeom>
                <a:avLst/>
                <a:gdLst>
                  <a:gd name="T0" fmla="*/ 3 w 7"/>
                  <a:gd name="T1" fmla="*/ 0 h 17"/>
                  <a:gd name="T2" fmla="*/ 0 w 7"/>
                  <a:gd name="T3" fmla="*/ 3 h 17"/>
                  <a:gd name="T4" fmla="*/ 0 w 7"/>
                  <a:gd name="T5" fmla="*/ 14 h 17"/>
                  <a:gd name="T6" fmla="*/ 3 w 7"/>
                  <a:gd name="T7" fmla="*/ 17 h 17"/>
                  <a:gd name="T8" fmla="*/ 7 w 7"/>
                  <a:gd name="T9" fmla="*/ 14 h 17"/>
                  <a:gd name="T10" fmla="*/ 7 w 7"/>
                  <a:gd name="T11" fmla="*/ 3 h 17"/>
                  <a:gd name="T12" fmla="*/ 3 w 7"/>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7" h="17">
                    <a:moveTo>
                      <a:pt x="3" y="0"/>
                    </a:moveTo>
                    <a:cubicBezTo>
                      <a:pt x="2" y="0"/>
                      <a:pt x="0" y="2"/>
                      <a:pt x="0" y="3"/>
                    </a:cubicBezTo>
                    <a:cubicBezTo>
                      <a:pt x="0" y="14"/>
                      <a:pt x="0" y="14"/>
                      <a:pt x="0" y="14"/>
                    </a:cubicBezTo>
                    <a:cubicBezTo>
                      <a:pt x="0" y="16"/>
                      <a:pt x="2" y="17"/>
                      <a:pt x="3" y="17"/>
                    </a:cubicBezTo>
                    <a:cubicBezTo>
                      <a:pt x="5" y="17"/>
                      <a:pt x="7" y="16"/>
                      <a:pt x="7" y="14"/>
                    </a:cubicBezTo>
                    <a:cubicBezTo>
                      <a:pt x="7" y="3"/>
                      <a:pt x="7" y="3"/>
                      <a:pt x="7" y="3"/>
                    </a:cubicBezTo>
                    <a:cubicBezTo>
                      <a:pt x="7" y="2"/>
                      <a:pt x="5" y="0"/>
                      <a:pt x="3"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9" name="Freeform 227"/>
              <p:cNvSpPr>
                <a:spLocks/>
              </p:cNvSpPr>
              <p:nvPr userDrawn="1"/>
            </p:nvSpPr>
            <p:spPr bwMode="auto">
              <a:xfrm>
                <a:off x="3846" y="1899"/>
                <a:ext cx="16" cy="37"/>
              </a:xfrm>
              <a:custGeom>
                <a:avLst/>
                <a:gdLst>
                  <a:gd name="T0" fmla="*/ 5 w 8"/>
                  <a:gd name="T1" fmla="*/ 1 h 18"/>
                  <a:gd name="T2" fmla="*/ 1 w 8"/>
                  <a:gd name="T3" fmla="*/ 3 h 18"/>
                  <a:gd name="T4" fmla="*/ 0 w 8"/>
                  <a:gd name="T5" fmla="*/ 14 h 18"/>
                  <a:gd name="T6" fmla="*/ 3 w 8"/>
                  <a:gd name="T7" fmla="*/ 17 h 18"/>
                  <a:gd name="T8" fmla="*/ 6 w 8"/>
                  <a:gd name="T9" fmla="*/ 15 h 18"/>
                  <a:gd name="T10" fmla="*/ 8 w 8"/>
                  <a:gd name="T11" fmla="*/ 4 h 18"/>
                  <a:gd name="T12" fmla="*/ 5 w 8"/>
                  <a:gd name="T13" fmla="*/ 1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5" y="1"/>
                    </a:moveTo>
                    <a:cubicBezTo>
                      <a:pt x="3" y="0"/>
                      <a:pt x="1" y="2"/>
                      <a:pt x="1" y="3"/>
                    </a:cubicBezTo>
                    <a:cubicBezTo>
                      <a:pt x="0" y="14"/>
                      <a:pt x="0" y="14"/>
                      <a:pt x="0" y="14"/>
                    </a:cubicBezTo>
                    <a:cubicBezTo>
                      <a:pt x="0" y="16"/>
                      <a:pt x="1" y="17"/>
                      <a:pt x="3" y="17"/>
                    </a:cubicBezTo>
                    <a:cubicBezTo>
                      <a:pt x="4" y="18"/>
                      <a:pt x="6" y="16"/>
                      <a:pt x="6" y="15"/>
                    </a:cubicBezTo>
                    <a:cubicBezTo>
                      <a:pt x="8" y="4"/>
                      <a:pt x="8" y="4"/>
                      <a:pt x="8" y="4"/>
                    </a:cubicBezTo>
                    <a:cubicBezTo>
                      <a:pt x="8" y="2"/>
                      <a:pt x="7" y="1"/>
                      <a:pt x="5" y="1"/>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0" name="Freeform 228"/>
              <p:cNvSpPr>
                <a:spLocks/>
              </p:cNvSpPr>
              <p:nvPr userDrawn="1"/>
            </p:nvSpPr>
            <p:spPr bwMode="auto">
              <a:xfrm>
                <a:off x="3808" y="1903"/>
                <a:ext cx="16" cy="35"/>
              </a:xfrm>
              <a:custGeom>
                <a:avLst/>
                <a:gdLst>
                  <a:gd name="T0" fmla="*/ 5 w 8"/>
                  <a:gd name="T1" fmla="*/ 0 h 17"/>
                  <a:gd name="T2" fmla="*/ 1 w 8"/>
                  <a:gd name="T3" fmla="*/ 3 h 17"/>
                  <a:gd name="T4" fmla="*/ 0 w 8"/>
                  <a:gd name="T5" fmla="*/ 14 h 17"/>
                  <a:gd name="T6" fmla="*/ 3 w 8"/>
                  <a:gd name="T7" fmla="*/ 17 h 17"/>
                  <a:gd name="T8" fmla="*/ 6 w 8"/>
                  <a:gd name="T9" fmla="*/ 14 h 17"/>
                  <a:gd name="T10" fmla="*/ 8 w 8"/>
                  <a:gd name="T11" fmla="*/ 4 h 17"/>
                  <a:gd name="T12" fmla="*/ 5 w 8"/>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8" h="17">
                    <a:moveTo>
                      <a:pt x="5" y="0"/>
                    </a:moveTo>
                    <a:cubicBezTo>
                      <a:pt x="3" y="0"/>
                      <a:pt x="1" y="1"/>
                      <a:pt x="1" y="3"/>
                    </a:cubicBezTo>
                    <a:cubicBezTo>
                      <a:pt x="0" y="14"/>
                      <a:pt x="0" y="14"/>
                      <a:pt x="0" y="14"/>
                    </a:cubicBezTo>
                    <a:cubicBezTo>
                      <a:pt x="0" y="15"/>
                      <a:pt x="1" y="17"/>
                      <a:pt x="3" y="17"/>
                    </a:cubicBezTo>
                    <a:cubicBezTo>
                      <a:pt x="5" y="17"/>
                      <a:pt x="6" y="16"/>
                      <a:pt x="6" y="14"/>
                    </a:cubicBezTo>
                    <a:cubicBezTo>
                      <a:pt x="8" y="4"/>
                      <a:pt x="8" y="4"/>
                      <a:pt x="8" y="4"/>
                    </a:cubicBezTo>
                    <a:cubicBezTo>
                      <a:pt x="8" y="2"/>
                      <a:pt x="6" y="0"/>
                      <a:pt x="5"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1" name="Freeform 229"/>
              <p:cNvSpPr>
                <a:spLocks/>
              </p:cNvSpPr>
              <p:nvPr userDrawn="1"/>
            </p:nvSpPr>
            <p:spPr bwMode="auto">
              <a:xfrm>
                <a:off x="3776" y="1909"/>
                <a:ext cx="14" cy="35"/>
              </a:xfrm>
              <a:custGeom>
                <a:avLst/>
                <a:gdLst>
                  <a:gd name="T0" fmla="*/ 4 w 7"/>
                  <a:gd name="T1" fmla="*/ 0 h 17"/>
                  <a:gd name="T2" fmla="*/ 1 w 7"/>
                  <a:gd name="T3" fmla="*/ 3 h 17"/>
                  <a:gd name="T4" fmla="*/ 0 w 7"/>
                  <a:gd name="T5" fmla="*/ 14 h 17"/>
                  <a:gd name="T6" fmla="*/ 2 w 7"/>
                  <a:gd name="T7" fmla="*/ 17 h 17"/>
                  <a:gd name="T8" fmla="*/ 5 w 7"/>
                  <a:gd name="T9" fmla="*/ 14 h 17"/>
                  <a:gd name="T10" fmla="*/ 6 w 7"/>
                  <a:gd name="T11" fmla="*/ 4 h 17"/>
                  <a:gd name="T12" fmla="*/ 4 w 7"/>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7" h="17">
                    <a:moveTo>
                      <a:pt x="4" y="0"/>
                    </a:moveTo>
                    <a:cubicBezTo>
                      <a:pt x="3" y="0"/>
                      <a:pt x="2" y="1"/>
                      <a:pt x="1" y="3"/>
                    </a:cubicBezTo>
                    <a:cubicBezTo>
                      <a:pt x="0" y="14"/>
                      <a:pt x="0" y="14"/>
                      <a:pt x="0" y="14"/>
                    </a:cubicBezTo>
                    <a:cubicBezTo>
                      <a:pt x="0" y="15"/>
                      <a:pt x="0" y="17"/>
                      <a:pt x="2" y="17"/>
                    </a:cubicBezTo>
                    <a:cubicBezTo>
                      <a:pt x="3" y="17"/>
                      <a:pt x="4" y="16"/>
                      <a:pt x="5" y="14"/>
                    </a:cubicBezTo>
                    <a:cubicBezTo>
                      <a:pt x="6" y="4"/>
                      <a:pt x="6" y="4"/>
                      <a:pt x="6" y="4"/>
                    </a:cubicBezTo>
                    <a:cubicBezTo>
                      <a:pt x="7" y="2"/>
                      <a:pt x="6" y="1"/>
                      <a:pt x="4"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2" name="Freeform 230"/>
              <p:cNvSpPr>
                <a:spLocks/>
              </p:cNvSpPr>
              <p:nvPr userDrawn="1"/>
            </p:nvSpPr>
            <p:spPr bwMode="auto">
              <a:xfrm>
                <a:off x="3749" y="1918"/>
                <a:ext cx="12" cy="34"/>
              </a:xfrm>
              <a:custGeom>
                <a:avLst/>
                <a:gdLst>
                  <a:gd name="T0" fmla="*/ 4 w 6"/>
                  <a:gd name="T1" fmla="*/ 0 h 17"/>
                  <a:gd name="T2" fmla="*/ 1 w 6"/>
                  <a:gd name="T3" fmla="*/ 3 h 17"/>
                  <a:gd name="T4" fmla="*/ 0 w 6"/>
                  <a:gd name="T5" fmla="*/ 13 h 17"/>
                  <a:gd name="T6" fmla="*/ 1 w 6"/>
                  <a:gd name="T7" fmla="*/ 17 h 17"/>
                  <a:gd name="T8" fmla="*/ 4 w 6"/>
                  <a:gd name="T9" fmla="*/ 14 h 17"/>
                  <a:gd name="T10" fmla="*/ 6 w 6"/>
                  <a:gd name="T11" fmla="*/ 4 h 17"/>
                  <a:gd name="T12" fmla="*/ 4 w 6"/>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6" h="17">
                    <a:moveTo>
                      <a:pt x="4" y="0"/>
                    </a:moveTo>
                    <a:cubicBezTo>
                      <a:pt x="3" y="0"/>
                      <a:pt x="2" y="1"/>
                      <a:pt x="1" y="3"/>
                    </a:cubicBezTo>
                    <a:cubicBezTo>
                      <a:pt x="0" y="13"/>
                      <a:pt x="0" y="13"/>
                      <a:pt x="0" y="13"/>
                    </a:cubicBezTo>
                    <a:cubicBezTo>
                      <a:pt x="0" y="15"/>
                      <a:pt x="0" y="17"/>
                      <a:pt x="1" y="17"/>
                    </a:cubicBezTo>
                    <a:cubicBezTo>
                      <a:pt x="3" y="17"/>
                      <a:pt x="4" y="16"/>
                      <a:pt x="4" y="14"/>
                    </a:cubicBezTo>
                    <a:cubicBezTo>
                      <a:pt x="6" y="4"/>
                      <a:pt x="6" y="4"/>
                      <a:pt x="6" y="4"/>
                    </a:cubicBezTo>
                    <a:cubicBezTo>
                      <a:pt x="6" y="2"/>
                      <a:pt x="5" y="0"/>
                      <a:pt x="4"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3" name="Freeform 231"/>
              <p:cNvSpPr>
                <a:spLocks/>
              </p:cNvSpPr>
              <p:nvPr userDrawn="1"/>
            </p:nvSpPr>
            <p:spPr bwMode="auto">
              <a:xfrm>
                <a:off x="3727" y="1926"/>
                <a:ext cx="10" cy="34"/>
              </a:xfrm>
              <a:custGeom>
                <a:avLst/>
                <a:gdLst>
                  <a:gd name="T0" fmla="*/ 4 w 5"/>
                  <a:gd name="T1" fmla="*/ 0 h 17"/>
                  <a:gd name="T2" fmla="*/ 2 w 5"/>
                  <a:gd name="T3" fmla="*/ 3 h 17"/>
                  <a:gd name="T4" fmla="*/ 0 w 5"/>
                  <a:gd name="T5" fmla="*/ 13 h 17"/>
                  <a:gd name="T6" fmla="*/ 1 w 5"/>
                  <a:gd name="T7" fmla="*/ 17 h 17"/>
                  <a:gd name="T8" fmla="*/ 3 w 5"/>
                  <a:gd name="T9" fmla="*/ 14 h 17"/>
                  <a:gd name="T10" fmla="*/ 4 w 5"/>
                  <a:gd name="T11" fmla="*/ 3 h 17"/>
                  <a:gd name="T12" fmla="*/ 4 w 5"/>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5" h="17">
                    <a:moveTo>
                      <a:pt x="4" y="0"/>
                    </a:moveTo>
                    <a:cubicBezTo>
                      <a:pt x="3" y="0"/>
                      <a:pt x="2" y="1"/>
                      <a:pt x="2" y="3"/>
                    </a:cubicBezTo>
                    <a:cubicBezTo>
                      <a:pt x="0" y="13"/>
                      <a:pt x="0" y="13"/>
                      <a:pt x="0" y="13"/>
                    </a:cubicBezTo>
                    <a:cubicBezTo>
                      <a:pt x="0" y="15"/>
                      <a:pt x="0" y="17"/>
                      <a:pt x="1" y="17"/>
                    </a:cubicBezTo>
                    <a:cubicBezTo>
                      <a:pt x="2" y="17"/>
                      <a:pt x="3" y="15"/>
                      <a:pt x="3" y="14"/>
                    </a:cubicBezTo>
                    <a:cubicBezTo>
                      <a:pt x="4" y="3"/>
                      <a:pt x="4" y="3"/>
                      <a:pt x="4" y="3"/>
                    </a:cubicBezTo>
                    <a:cubicBezTo>
                      <a:pt x="5" y="2"/>
                      <a:pt x="4" y="0"/>
                      <a:pt x="4"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4" name="Freeform 232"/>
              <p:cNvSpPr>
                <a:spLocks/>
              </p:cNvSpPr>
              <p:nvPr userDrawn="1"/>
            </p:nvSpPr>
            <p:spPr bwMode="auto">
              <a:xfrm>
                <a:off x="2716" y="2908"/>
                <a:ext cx="30" cy="79"/>
              </a:xfrm>
              <a:custGeom>
                <a:avLst/>
                <a:gdLst>
                  <a:gd name="T0" fmla="*/ 15 w 15"/>
                  <a:gd name="T1" fmla="*/ 39 h 39"/>
                  <a:gd name="T2" fmla="*/ 15 w 15"/>
                  <a:gd name="T3" fmla="*/ 8 h 39"/>
                  <a:gd name="T4" fmla="*/ 8 w 15"/>
                  <a:gd name="T5" fmla="*/ 0 h 39"/>
                  <a:gd name="T6" fmla="*/ 0 w 15"/>
                  <a:gd name="T7" fmla="*/ 8 h 39"/>
                  <a:gd name="T8" fmla="*/ 0 w 15"/>
                  <a:gd name="T9" fmla="*/ 39 h 39"/>
                  <a:gd name="T10" fmla="*/ 15 w 15"/>
                  <a:gd name="T11" fmla="*/ 39 h 39"/>
                </a:gdLst>
                <a:ahLst/>
                <a:cxnLst>
                  <a:cxn ang="0">
                    <a:pos x="T0" y="T1"/>
                  </a:cxn>
                  <a:cxn ang="0">
                    <a:pos x="T2" y="T3"/>
                  </a:cxn>
                  <a:cxn ang="0">
                    <a:pos x="T4" y="T5"/>
                  </a:cxn>
                  <a:cxn ang="0">
                    <a:pos x="T6" y="T7"/>
                  </a:cxn>
                  <a:cxn ang="0">
                    <a:pos x="T8" y="T9"/>
                  </a:cxn>
                  <a:cxn ang="0">
                    <a:pos x="T10" y="T11"/>
                  </a:cxn>
                </a:cxnLst>
                <a:rect l="0" t="0" r="r" b="b"/>
                <a:pathLst>
                  <a:path w="15" h="39">
                    <a:moveTo>
                      <a:pt x="15" y="39"/>
                    </a:moveTo>
                    <a:cubicBezTo>
                      <a:pt x="15" y="8"/>
                      <a:pt x="15" y="8"/>
                      <a:pt x="15" y="8"/>
                    </a:cubicBezTo>
                    <a:cubicBezTo>
                      <a:pt x="15" y="8"/>
                      <a:pt x="15" y="0"/>
                      <a:pt x="8" y="0"/>
                    </a:cubicBezTo>
                    <a:cubicBezTo>
                      <a:pt x="8" y="0"/>
                      <a:pt x="0" y="1"/>
                      <a:pt x="0" y="8"/>
                    </a:cubicBezTo>
                    <a:cubicBezTo>
                      <a:pt x="0" y="15"/>
                      <a:pt x="0" y="39"/>
                      <a:pt x="0" y="39"/>
                    </a:cubicBezTo>
                    <a:lnTo>
                      <a:pt x="15" y="39"/>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5" name="Freeform 233"/>
              <p:cNvSpPr>
                <a:spLocks/>
              </p:cNvSpPr>
              <p:nvPr userDrawn="1"/>
            </p:nvSpPr>
            <p:spPr bwMode="auto">
              <a:xfrm>
                <a:off x="5058" y="2904"/>
                <a:ext cx="30" cy="77"/>
              </a:xfrm>
              <a:custGeom>
                <a:avLst/>
                <a:gdLst>
                  <a:gd name="T0" fmla="*/ 15 w 15"/>
                  <a:gd name="T1" fmla="*/ 38 h 38"/>
                  <a:gd name="T2" fmla="*/ 15 w 15"/>
                  <a:gd name="T3" fmla="*/ 8 h 38"/>
                  <a:gd name="T4" fmla="*/ 8 w 15"/>
                  <a:gd name="T5" fmla="*/ 0 h 38"/>
                  <a:gd name="T6" fmla="*/ 0 w 15"/>
                  <a:gd name="T7" fmla="*/ 8 h 38"/>
                  <a:gd name="T8" fmla="*/ 0 w 15"/>
                  <a:gd name="T9" fmla="*/ 38 h 38"/>
                  <a:gd name="T10" fmla="*/ 15 w 15"/>
                  <a:gd name="T11" fmla="*/ 38 h 38"/>
                </a:gdLst>
                <a:ahLst/>
                <a:cxnLst>
                  <a:cxn ang="0">
                    <a:pos x="T0" y="T1"/>
                  </a:cxn>
                  <a:cxn ang="0">
                    <a:pos x="T2" y="T3"/>
                  </a:cxn>
                  <a:cxn ang="0">
                    <a:pos x="T4" y="T5"/>
                  </a:cxn>
                  <a:cxn ang="0">
                    <a:pos x="T6" y="T7"/>
                  </a:cxn>
                  <a:cxn ang="0">
                    <a:pos x="T8" y="T9"/>
                  </a:cxn>
                  <a:cxn ang="0">
                    <a:pos x="T10" y="T11"/>
                  </a:cxn>
                </a:cxnLst>
                <a:rect l="0" t="0" r="r" b="b"/>
                <a:pathLst>
                  <a:path w="15" h="38">
                    <a:moveTo>
                      <a:pt x="15" y="38"/>
                    </a:moveTo>
                    <a:cubicBezTo>
                      <a:pt x="15" y="8"/>
                      <a:pt x="15" y="8"/>
                      <a:pt x="15" y="8"/>
                    </a:cubicBezTo>
                    <a:cubicBezTo>
                      <a:pt x="15" y="8"/>
                      <a:pt x="15" y="0"/>
                      <a:pt x="8" y="0"/>
                    </a:cubicBezTo>
                    <a:cubicBezTo>
                      <a:pt x="8" y="0"/>
                      <a:pt x="0" y="1"/>
                      <a:pt x="0" y="8"/>
                    </a:cubicBezTo>
                    <a:cubicBezTo>
                      <a:pt x="0" y="15"/>
                      <a:pt x="0" y="38"/>
                      <a:pt x="0" y="38"/>
                    </a:cubicBezTo>
                    <a:cubicBezTo>
                      <a:pt x="15" y="38"/>
                      <a:pt x="15" y="38"/>
                      <a:pt x="15" y="38"/>
                    </a:cubicBezTo>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6" name="Freeform 234"/>
              <p:cNvSpPr>
                <a:spLocks/>
              </p:cNvSpPr>
              <p:nvPr userDrawn="1"/>
            </p:nvSpPr>
            <p:spPr bwMode="auto">
              <a:xfrm>
                <a:off x="5116" y="2904"/>
                <a:ext cx="30" cy="77"/>
              </a:xfrm>
              <a:custGeom>
                <a:avLst/>
                <a:gdLst>
                  <a:gd name="T0" fmla="*/ 15 w 15"/>
                  <a:gd name="T1" fmla="*/ 38 h 38"/>
                  <a:gd name="T2" fmla="*/ 15 w 15"/>
                  <a:gd name="T3" fmla="*/ 8 h 38"/>
                  <a:gd name="T4" fmla="*/ 8 w 15"/>
                  <a:gd name="T5" fmla="*/ 0 h 38"/>
                  <a:gd name="T6" fmla="*/ 0 w 15"/>
                  <a:gd name="T7" fmla="*/ 8 h 38"/>
                  <a:gd name="T8" fmla="*/ 0 w 15"/>
                  <a:gd name="T9" fmla="*/ 38 h 38"/>
                  <a:gd name="T10" fmla="*/ 15 w 15"/>
                  <a:gd name="T11" fmla="*/ 38 h 38"/>
                </a:gdLst>
                <a:ahLst/>
                <a:cxnLst>
                  <a:cxn ang="0">
                    <a:pos x="T0" y="T1"/>
                  </a:cxn>
                  <a:cxn ang="0">
                    <a:pos x="T2" y="T3"/>
                  </a:cxn>
                  <a:cxn ang="0">
                    <a:pos x="T4" y="T5"/>
                  </a:cxn>
                  <a:cxn ang="0">
                    <a:pos x="T6" y="T7"/>
                  </a:cxn>
                  <a:cxn ang="0">
                    <a:pos x="T8" y="T9"/>
                  </a:cxn>
                  <a:cxn ang="0">
                    <a:pos x="T10" y="T11"/>
                  </a:cxn>
                </a:cxnLst>
                <a:rect l="0" t="0" r="r" b="b"/>
                <a:pathLst>
                  <a:path w="15" h="38">
                    <a:moveTo>
                      <a:pt x="15" y="38"/>
                    </a:moveTo>
                    <a:cubicBezTo>
                      <a:pt x="15" y="8"/>
                      <a:pt x="15" y="8"/>
                      <a:pt x="15" y="8"/>
                    </a:cubicBezTo>
                    <a:cubicBezTo>
                      <a:pt x="15" y="8"/>
                      <a:pt x="15" y="0"/>
                      <a:pt x="8" y="0"/>
                    </a:cubicBezTo>
                    <a:cubicBezTo>
                      <a:pt x="8" y="0"/>
                      <a:pt x="0" y="1"/>
                      <a:pt x="0" y="8"/>
                    </a:cubicBezTo>
                    <a:cubicBezTo>
                      <a:pt x="0" y="15"/>
                      <a:pt x="0" y="38"/>
                      <a:pt x="0" y="38"/>
                    </a:cubicBezTo>
                    <a:cubicBezTo>
                      <a:pt x="15" y="38"/>
                      <a:pt x="15" y="38"/>
                      <a:pt x="15" y="38"/>
                    </a:cubicBezTo>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7" name="Freeform 235"/>
              <p:cNvSpPr>
                <a:spLocks/>
              </p:cNvSpPr>
              <p:nvPr userDrawn="1"/>
            </p:nvSpPr>
            <p:spPr bwMode="auto">
              <a:xfrm>
                <a:off x="3876" y="1578"/>
                <a:ext cx="126" cy="48"/>
              </a:xfrm>
              <a:custGeom>
                <a:avLst/>
                <a:gdLst>
                  <a:gd name="T0" fmla="*/ 0 w 63"/>
                  <a:gd name="T1" fmla="*/ 18 h 24"/>
                  <a:gd name="T2" fmla="*/ 63 w 63"/>
                  <a:gd name="T3" fmla="*/ 20 h 24"/>
                  <a:gd name="T4" fmla="*/ 60 w 63"/>
                  <a:gd name="T5" fmla="*/ 24 h 24"/>
                  <a:gd name="T6" fmla="*/ 3 w 63"/>
                  <a:gd name="T7" fmla="*/ 24 h 24"/>
                  <a:gd name="T8" fmla="*/ 0 w 63"/>
                  <a:gd name="T9" fmla="*/ 18 h 24"/>
                </a:gdLst>
                <a:ahLst/>
                <a:cxnLst>
                  <a:cxn ang="0">
                    <a:pos x="T0" y="T1"/>
                  </a:cxn>
                  <a:cxn ang="0">
                    <a:pos x="T2" y="T3"/>
                  </a:cxn>
                  <a:cxn ang="0">
                    <a:pos x="T4" y="T5"/>
                  </a:cxn>
                  <a:cxn ang="0">
                    <a:pos x="T6" y="T7"/>
                  </a:cxn>
                  <a:cxn ang="0">
                    <a:pos x="T8" y="T9"/>
                  </a:cxn>
                </a:cxnLst>
                <a:rect l="0" t="0" r="r" b="b"/>
                <a:pathLst>
                  <a:path w="63" h="24">
                    <a:moveTo>
                      <a:pt x="0" y="18"/>
                    </a:moveTo>
                    <a:cubicBezTo>
                      <a:pt x="0" y="18"/>
                      <a:pt x="29" y="0"/>
                      <a:pt x="63" y="20"/>
                    </a:cubicBezTo>
                    <a:cubicBezTo>
                      <a:pt x="60" y="24"/>
                      <a:pt x="60" y="24"/>
                      <a:pt x="60" y="24"/>
                    </a:cubicBezTo>
                    <a:cubicBezTo>
                      <a:pt x="60" y="24"/>
                      <a:pt x="30" y="5"/>
                      <a:pt x="3" y="24"/>
                    </a:cubicBezTo>
                    <a:lnTo>
                      <a:pt x="0" y="18"/>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8" name="Freeform 236"/>
              <p:cNvSpPr>
                <a:spLocks/>
              </p:cNvSpPr>
              <p:nvPr userDrawn="1"/>
            </p:nvSpPr>
            <p:spPr bwMode="auto">
              <a:xfrm>
                <a:off x="3631" y="2062"/>
                <a:ext cx="602" cy="71"/>
              </a:xfrm>
              <a:custGeom>
                <a:avLst/>
                <a:gdLst>
                  <a:gd name="T0" fmla="*/ 298 w 300"/>
                  <a:gd name="T1" fmla="*/ 35 h 35"/>
                  <a:gd name="T2" fmla="*/ 295 w 300"/>
                  <a:gd name="T3" fmla="*/ 26 h 35"/>
                  <a:gd name="T4" fmla="*/ 140 w 300"/>
                  <a:gd name="T5" fmla="*/ 0 h 35"/>
                  <a:gd name="T6" fmla="*/ 0 w 300"/>
                  <a:gd name="T7" fmla="*/ 26 h 35"/>
                  <a:gd name="T8" fmla="*/ 4 w 300"/>
                  <a:gd name="T9" fmla="*/ 31 h 35"/>
                  <a:gd name="T10" fmla="*/ 140 w 300"/>
                  <a:gd name="T11" fmla="*/ 6 h 35"/>
                  <a:gd name="T12" fmla="*/ 288 w 300"/>
                  <a:gd name="T13" fmla="*/ 28 h 35"/>
                  <a:gd name="T14" fmla="*/ 298 w 300"/>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5">
                    <a:moveTo>
                      <a:pt x="298" y="35"/>
                    </a:moveTo>
                    <a:cubicBezTo>
                      <a:pt x="298" y="35"/>
                      <a:pt x="300" y="31"/>
                      <a:pt x="295" y="26"/>
                    </a:cubicBezTo>
                    <a:cubicBezTo>
                      <a:pt x="290" y="21"/>
                      <a:pt x="260" y="0"/>
                      <a:pt x="140" y="0"/>
                    </a:cubicBezTo>
                    <a:cubicBezTo>
                      <a:pt x="21" y="0"/>
                      <a:pt x="0" y="26"/>
                      <a:pt x="0" y="26"/>
                    </a:cubicBezTo>
                    <a:cubicBezTo>
                      <a:pt x="0" y="26"/>
                      <a:pt x="1" y="28"/>
                      <a:pt x="4" y="31"/>
                    </a:cubicBezTo>
                    <a:cubicBezTo>
                      <a:pt x="4" y="31"/>
                      <a:pt x="31" y="5"/>
                      <a:pt x="140" y="6"/>
                    </a:cubicBezTo>
                    <a:cubicBezTo>
                      <a:pt x="249" y="6"/>
                      <a:pt x="288" y="28"/>
                      <a:pt x="288" y="28"/>
                    </a:cubicBezTo>
                    <a:cubicBezTo>
                      <a:pt x="288" y="28"/>
                      <a:pt x="298" y="32"/>
                      <a:pt x="298" y="35"/>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9" name="Rectangle 237"/>
              <p:cNvSpPr>
                <a:spLocks noChangeArrowheads="1"/>
              </p:cNvSpPr>
              <p:nvPr userDrawn="1"/>
            </p:nvSpPr>
            <p:spPr bwMode="auto">
              <a:xfrm>
                <a:off x="2387" y="2754"/>
                <a:ext cx="26" cy="56"/>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0" name="Rectangle 238"/>
              <p:cNvSpPr>
                <a:spLocks noChangeArrowheads="1"/>
              </p:cNvSpPr>
              <p:nvPr userDrawn="1"/>
            </p:nvSpPr>
            <p:spPr bwMode="auto">
              <a:xfrm>
                <a:off x="2387" y="2647"/>
                <a:ext cx="26" cy="28"/>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1" name="Freeform 239"/>
              <p:cNvSpPr>
                <a:spLocks/>
              </p:cNvSpPr>
              <p:nvPr userDrawn="1"/>
            </p:nvSpPr>
            <p:spPr bwMode="auto">
              <a:xfrm>
                <a:off x="1570" y="2834"/>
                <a:ext cx="4692" cy="54"/>
              </a:xfrm>
              <a:custGeom>
                <a:avLst/>
                <a:gdLst>
                  <a:gd name="T0" fmla="*/ 0 w 4692"/>
                  <a:gd name="T1" fmla="*/ 12 h 54"/>
                  <a:gd name="T2" fmla="*/ 84 w 4692"/>
                  <a:gd name="T3" fmla="*/ 12 h 54"/>
                  <a:gd name="T4" fmla="*/ 84 w 4692"/>
                  <a:gd name="T5" fmla="*/ 0 h 54"/>
                  <a:gd name="T6" fmla="*/ 789 w 4692"/>
                  <a:gd name="T7" fmla="*/ 0 h 54"/>
                  <a:gd name="T8" fmla="*/ 801 w 4692"/>
                  <a:gd name="T9" fmla="*/ 2 h 54"/>
                  <a:gd name="T10" fmla="*/ 923 w 4692"/>
                  <a:gd name="T11" fmla="*/ 2 h 54"/>
                  <a:gd name="T12" fmla="*/ 1090 w 4692"/>
                  <a:gd name="T13" fmla="*/ 42 h 54"/>
                  <a:gd name="T14" fmla="*/ 1319 w 4692"/>
                  <a:gd name="T15" fmla="*/ 42 h 54"/>
                  <a:gd name="T16" fmla="*/ 1319 w 4692"/>
                  <a:gd name="T17" fmla="*/ 26 h 54"/>
                  <a:gd name="T18" fmla="*/ 1804 w 4692"/>
                  <a:gd name="T19" fmla="*/ 26 h 54"/>
                  <a:gd name="T20" fmla="*/ 1804 w 4692"/>
                  <a:gd name="T21" fmla="*/ 8 h 54"/>
                  <a:gd name="T22" fmla="*/ 2007 w 4692"/>
                  <a:gd name="T23" fmla="*/ 8 h 54"/>
                  <a:gd name="T24" fmla="*/ 2007 w 4692"/>
                  <a:gd name="T25" fmla="*/ 0 h 54"/>
                  <a:gd name="T26" fmla="*/ 2693 w 4692"/>
                  <a:gd name="T27" fmla="*/ 0 h 54"/>
                  <a:gd name="T28" fmla="*/ 2693 w 4692"/>
                  <a:gd name="T29" fmla="*/ 8 h 54"/>
                  <a:gd name="T30" fmla="*/ 2914 w 4692"/>
                  <a:gd name="T31" fmla="*/ 8 h 54"/>
                  <a:gd name="T32" fmla="*/ 2914 w 4692"/>
                  <a:gd name="T33" fmla="*/ 40 h 54"/>
                  <a:gd name="T34" fmla="*/ 3422 w 4692"/>
                  <a:gd name="T35" fmla="*/ 40 h 54"/>
                  <a:gd name="T36" fmla="*/ 3422 w 4692"/>
                  <a:gd name="T37" fmla="*/ 54 h 54"/>
                  <a:gd name="T38" fmla="*/ 3642 w 4692"/>
                  <a:gd name="T39" fmla="*/ 54 h 54"/>
                  <a:gd name="T40" fmla="*/ 3803 w 4692"/>
                  <a:gd name="T41" fmla="*/ 30 h 54"/>
                  <a:gd name="T42" fmla="*/ 3917 w 4692"/>
                  <a:gd name="T43" fmla="*/ 30 h 54"/>
                  <a:gd name="T44" fmla="*/ 3917 w 4692"/>
                  <a:gd name="T45" fmla="*/ 18 h 54"/>
                  <a:gd name="T46" fmla="*/ 4614 w 4692"/>
                  <a:gd name="T47" fmla="*/ 18 h 54"/>
                  <a:gd name="T48" fmla="*/ 4610 w 4692"/>
                  <a:gd name="T49" fmla="*/ 22 h 54"/>
                  <a:gd name="T50" fmla="*/ 4692 w 4692"/>
                  <a:gd name="T51" fmla="*/ 2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92" h="54">
                    <a:moveTo>
                      <a:pt x="0" y="12"/>
                    </a:moveTo>
                    <a:lnTo>
                      <a:pt x="84" y="12"/>
                    </a:lnTo>
                    <a:lnTo>
                      <a:pt x="84" y="0"/>
                    </a:lnTo>
                    <a:lnTo>
                      <a:pt x="789" y="0"/>
                    </a:lnTo>
                    <a:lnTo>
                      <a:pt x="801" y="2"/>
                    </a:lnTo>
                    <a:lnTo>
                      <a:pt x="923" y="2"/>
                    </a:lnTo>
                    <a:lnTo>
                      <a:pt x="1090" y="42"/>
                    </a:lnTo>
                    <a:lnTo>
                      <a:pt x="1319" y="42"/>
                    </a:lnTo>
                    <a:lnTo>
                      <a:pt x="1319" y="26"/>
                    </a:lnTo>
                    <a:lnTo>
                      <a:pt x="1804" y="26"/>
                    </a:lnTo>
                    <a:lnTo>
                      <a:pt x="1804" y="8"/>
                    </a:lnTo>
                    <a:lnTo>
                      <a:pt x="2007" y="8"/>
                    </a:lnTo>
                    <a:lnTo>
                      <a:pt x="2007" y="0"/>
                    </a:lnTo>
                    <a:lnTo>
                      <a:pt x="2693" y="0"/>
                    </a:lnTo>
                    <a:lnTo>
                      <a:pt x="2693" y="8"/>
                    </a:lnTo>
                    <a:lnTo>
                      <a:pt x="2914" y="8"/>
                    </a:lnTo>
                    <a:lnTo>
                      <a:pt x="2914" y="40"/>
                    </a:lnTo>
                    <a:lnTo>
                      <a:pt x="3422" y="40"/>
                    </a:lnTo>
                    <a:lnTo>
                      <a:pt x="3422" y="54"/>
                    </a:lnTo>
                    <a:lnTo>
                      <a:pt x="3642" y="54"/>
                    </a:lnTo>
                    <a:lnTo>
                      <a:pt x="3803" y="30"/>
                    </a:lnTo>
                    <a:lnTo>
                      <a:pt x="3917" y="30"/>
                    </a:lnTo>
                    <a:lnTo>
                      <a:pt x="3917" y="18"/>
                    </a:lnTo>
                    <a:lnTo>
                      <a:pt x="4614" y="18"/>
                    </a:lnTo>
                    <a:lnTo>
                      <a:pt x="4610" y="22"/>
                    </a:lnTo>
                    <a:lnTo>
                      <a:pt x="4692" y="22"/>
                    </a:lnTo>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2" name="Freeform 240"/>
              <p:cNvSpPr>
                <a:spLocks/>
              </p:cNvSpPr>
              <p:nvPr userDrawn="1"/>
            </p:nvSpPr>
            <p:spPr bwMode="auto">
              <a:xfrm>
                <a:off x="1548" y="2559"/>
                <a:ext cx="1334" cy="70"/>
              </a:xfrm>
              <a:custGeom>
                <a:avLst/>
                <a:gdLst>
                  <a:gd name="T0" fmla="*/ 1334 w 1334"/>
                  <a:gd name="T1" fmla="*/ 70 h 70"/>
                  <a:gd name="T2" fmla="*/ 1124 w 1334"/>
                  <a:gd name="T3" fmla="*/ 70 h 70"/>
                  <a:gd name="T4" fmla="*/ 957 w 1334"/>
                  <a:gd name="T5" fmla="*/ 8 h 70"/>
                  <a:gd name="T6" fmla="*/ 835 w 1334"/>
                  <a:gd name="T7" fmla="*/ 8 h 70"/>
                  <a:gd name="T8" fmla="*/ 811 w 1334"/>
                  <a:gd name="T9" fmla="*/ 0 h 70"/>
                  <a:gd name="T10" fmla="*/ 86 w 1334"/>
                  <a:gd name="T11" fmla="*/ 0 h 70"/>
                  <a:gd name="T12" fmla="*/ 100 w 1334"/>
                  <a:gd name="T13" fmla="*/ 8 h 70"/>
                  <a:gd name="T14" fmla="*/ 0 w 1334"/>
                  <a:gd name="T15" fmla="*/ 8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4" h="70">
                    <a:moveTo>
                      <a:pt x="1334" y="70"/>
                    </a:moveTo>
                    <a:lnTo>
                      <a:pt x="1124" y="70"/>
                    </a:lnTo>
                    <a:lnTo>
                      <a:pt x="957" y="8"/>
                    </a:lnTo>
                    <a:lnTo>
                      <a:pt x="835" y="8"/>
                    </a:lnTo>
                    <a:lnTo>
                      <a:pt x="811" y="0"/>
                    </a:lnTo>
                    <a:lnTo>
                      <a:pt x="86" y="0"/>
                    </a:lnTo>
                    <a:lnTo>
                      <a:pt x="100" y="8"/>
                    </a:lnTo>
                    <a:lnTo>
                      <a:pt x="0" y="8"/>
                    </a:lnTo>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3" name="Rectangle 241"/>
              <p:cNvSpPr>
                <a:spLocks noChangeArrowheads="1"/>
              </p:cNvSpPr>
              <p:nvPr userDrawn="1"/>
            </p:nvSpPr>
            <p:spPr bwMode="auto">
              <a:xfrm>
                <a:off x="1680" y="2607"/>
                <a:ext cx="53"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4" name="Rectangle 242"/>
              <p:cNvSpPr>
                <a:spLocks noChangeArrowheads="1"/>
              </p:cNvSpPr>
              <p:nvPr userDrawn="1"/>
            </p:nvSpPr>
            <p:spPr bwMode="auto">
              <a:xfrm>
                <a:off x="1755" y="2607"/>
                <a:ext cx="52"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5" name="Rectangle 243"/>
              <p:cNvSpPr>
                <a:spLocks noChangeArrowheads="1"/>
              </p:cNvSpPr>
              <p:nvPr userDrawn="1"/>
            </p:nvSpPr>
            <p:spPr bwMode="auto">
              <a:xfrm>
                <a:off x="1829" y="2607"/>
                <a:ext cx="52"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6" name="Rectangle 244"/>
              <p:cNvSpPr>
                <a:spLocks noChangeArrowheads="1"/>
              </p:cNvSpPr>
              <p:nvPr userDrawn="1"/>
            </p:nvSpPr>
            <p:spPr bwMode="auto">
              <a:xfrm>
                <a:off x="1903" y="2607"/>
                <a:ext cx="52"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7" name="Rectangle 245"/>
              <p:cNvSpPr>
                <a:spLocks noChangeArrowheads="1"/>
              </p:cNvSpPr>
              <p:nvPr userDrawn="1"/>
            </p:nvSpPr>
            <p:spPr bwMode="auto">
              <a:xfrm>
                <a:off x="1977" y="2607"/>
                <a:ext cx="53"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8" name="Rectangle 246"/>
              <p:cNvSpPr>
                <a:spLocks noChangeArrowheads="1"/>
              </p:cNvSpPr>
              <p:nvPr userDrawn="1"/>
            </p:nvSpPr>
            <p:spPr bwMode="auto">
              <a:xfrm>
                <a:off x="2052" y="2607"/>
                <a:ext cx="52"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9" name="Rectangle 247"/>
              <p:cNvSpPr>
                <a:spLocks noChangeArrowheads="1"/>
              </p:cNvSpPr>
              <p:nvPr userDrawn="1"/>
            </p:nvSpPr>
            <p:spPr bwMode="auto">
              <a:xfrm>
                <a:off x="2126" y="2607"/>
                <a:ext cx="52"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0" name="Rectangle 248"/>
              <p:cNvSpPr>
                <a:spLocks noChangeArrowheads="1"/>
              </p:cNvSpPr>
              <p:nvPr userDrawn="1"/>
            </p:nvSpPr>
            <p:spPr bwMode="auto">
              <a:xfrm>
                <a:off x="2200" y="2607"/>
                <a:ext cx="52"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1" name="Rectangle 249"/>
              <p:cNvSpPr>
                <a:spLocks noChangeArrowheads="1"/>
              </p:cNvSpPr>
              <p:nvPr userDrawn="1"/>
            </p:nvSpPr>
            <p:spPr bwMode="auto">
              <a:xfrm>
                <a:off x="2274" y="2607"/>
                <a:ext cx="53"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2" name="Rectangle 250"/>
              <p:cNvSpPr>
                <a:spLocks noChangeArrowheads="1"/>
              </p:cNvSpPr>
              <p:nvPr userDrawn="1"/>
            </p:nvSpPr>
            <p:spPr bwMode="auto">
              <a:xfrm>
                <a:off x="1680" y="2876"/>
                <a:ext cx="53" cy="9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3" name="Rectangle 251"/>
              <p:cNvSpPr>
                <a:spLocks noChangeArrowheads="1"/>
              </p:cNvSpPr>
              <p:nvPr userDrawn="1"/>
            </p:nvSpPr>
            <p:spPr bwMode="auto">
              <a:xfrm>
                <a:off x="1755" y="2876"/>
                <a:ext cx="52" cy="9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4" name="Rectangle 252"/>
              <p:cNvSpPr>
                <a:spLocks noChangeArrowheads="1"/>
              </p:cNvSpPr>
              <p:nvPr userDrawn="1"/>
            </p:nvSpPr>
            <p:spPr bwMode="auto">
              <a:xfrm>
                <a:off x="1829" y="2876"/>
                <a:ext cx="52" cy="9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5" name="Rectangle 253"/>
              <p:cNvSpPr>
                <a:spLocks noChangeArrowheads="1"/>
              </p:cNvSpPr>
              <p:nvPr userDrawn="1"/>
            </p:nvSpPr>
            <p:spPr bwMode="auto">
              <a:xfrm>
                <a:off x="1903" y="2876"/>
                <a:ext cx="52" cy="9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6" name="Rectangle 254"/>
              <p:cNvSpPr>
                <a:spLocks noChangeArrowheads="1"/>
              </p:cNvSpPr>
              <p:nvPr userDrawn="1"/>
            </p:nvSpPr>
            <p:spPr bwMode="auto">
              <a:xfrm>
                <a:off x="1977" y="2876"/>
                <a:ext cx="53" cy="9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7" name="Rectangle 255"/>
              <p:cNvSpPr>
                <a:spLocks noChangeArrowheads="1"/>
              </p:cNvSpPr>
              <p:nvPr userDrawn="1"/>
            </p:nvSpPr>
            <p:spPr bwMode="auto">
              <a:xfrm>
                <a:off x="2052" y="2876"/>
                <a:ext cx="52" cy="9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8" name="Rectangle 256"/>
              <p:cNvSpPr>
                <a:spLocks noChangeArrowheads="1"/>
              </p:cNvSpPr>
              <p:nvPr userDrawn="1"/>
            </p:nvSpPr>
            <p:spPr bwMode="auto">
              <a:xfrm>
                <a:off x="2126" y="2876"/>
                <a:ext cx="52" cy="9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9" name="Rectangle 257"/>
              <p:cNvSpPr>
                <a:spLocks noChangeArrowheads="1"/>
              </p:cNvSpPr>
              <p:nvPr userDrawn="1"/>
            </p:nvSpPr>
            <p:spPr bwMode="auto">
              <a:xfrm>
                <a:off x="2200" y="2876"/>
                <a:ext cx="52" cy="9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0" name="Rectangle 258"/>
              <p:cNvSpPr>
                <a:spLocks noChangeArrowheads="1"/>
              </p:cNvSpPr>
              <p:nvPr userDrawn="1"/>
            </p:nvSpPr>
            <p:spPr bwMode="auto">
              <a:xfrm>
                <a:off x="2274" y="2876"/>
                <a:ext cx="53" cy="9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1" name="Rectangle 259"/>
              <p:cNvSpPr>
                <a:spLocks noChangeArrowheads="1"/>
              </p:cNvSpPr>
              <p:nvPr userDrawn="1"/>
            </p:nvSpPr>
            <p:spPr bwMode="auto">
              <a:xfrm>
                <a:off x="2682" y="2675"/>
                <a:ext cx="32" cy="16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2" name="Rectangle 260"/>
              <p:cNvSpPr>
                <a:spLocks noChangeArrowheads="1"/>
              </p:cNvSpPr>
              <p:nvPr userDrawn="1"/>
            </p:nvSpPr>
            <p:spPr bwMode="auto">
              <a:xfrm>
                <a:off x="2732" y="2675"/>
                <a:ext cx="32" cy="16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3" name="Rectangle 261"/>
              <p:cNvSpPr>
                <a:spLocks noChangeArrowheads="1"/>
              </p:cNvSpPr>
              <p:nvPr userDrawn="1"/>
            </p:nvSpPr>
            <p:spPr bwMode="auto">
              <a:xfrm>
                <a:off x="2784" y="2675"/>
                <a:ext cx="32" cy="16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4" name="Rectangle 262"/>
              <p:cNvSpPr>
                <a:spLocks noChangeArrowheads="1"/>
              </p:cNvSpPr>
              <p:nvPr userDrawn="1"/>
            </p:nvSpPr>
            <p:spPr bwMode="auto">
              <a:xfrm>
                <a:off x="2834" y="2675"/>
                <a:ext cx="32" cy="16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5" name="Rectangle 263"/>
              <p:cNvSpPr>
                <a:spLocks noChangeArrowheads="1"/>
              </p:cNvSpPr>
              <p:nvPr userDrawn="1"/>
            </p:nvSpPr>
            <p:spPr bwMode="auto">
              <a:xfrm>
                <a:off x="3585" y="2617"/>
                <a:ext cx="22"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6" name="Rectangle 264"/>
              <p:cNvSpPr>
                <a:spLocks noChangeArrowheads="1"/>
              </p:cNvSpPr>
              <p:nvPr userDrawn="1"/>
            </p:nvSpPr>
            <p:spPr bwMode="auto">
              <a:xfrm>
                <a:off x="3629" y="2617"/>
                <a:ext cx="74"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7" name="Rectangle 265"/>
              <p:cNvSpPr>
                <a:spLocks noChangeArrowheads="1"/>
              </p:cNvSpPr>
              <p:nvPr userDrawn="1"/>
            </p:nvSpPr>
            <p:spPr bwMode="auto">
              <a:xfrm>
                <a:off x="3723" y="2617"/>
                <a:ext cx="22"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8" name="Rectangle 266"/>
              <p:cNvSpPr>
                <a:spLocks noChangeArrowheads="1"/>
              </p:cNvSpPr>
              <p:nvPr userDrawn="1"/>
            </p:nvSpPr>
            <p:spPr bwMode="auto">
              <a:xfrm>
                <a:off x="3765" y="2617"/>
                <a:ext cx="75"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9" name="Rectangle 267"/>
              <p:cNvSpPr>
                <a:spLocks noChangeArrowheads="1"/>
              </p:cNvSpPr>
              <p:nvPr userDrawn="1"/>
            </p:nvSpPr>
            <p:spPr bwMode="auto">
              <a:xfrm>
                <a:off x="3862" y="2617"/>
                <a:ext cx="22"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0" name="Rectangle 268"/>
              <p:cNvSpPr>
                <a:spLocks noChangeArrowheads="1"/>
              </p:cNvSpPr>
              <p:nvPr userDrawn="1"/>
            </p:nvSpPr>
            <p:spPr bwMode="auto">
              <a:xfrm>
                <a:off x="3904" y="2617"/>
                <a:ext cx="74"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1" name="Rectangle 269"/>
              <p:cNvSpPr>
                <a:spLocks noChangeArrowheads="1"/>
              </p:cNvSpPr>
              <p:nvPr userDrawn="1"/>
            </p:nvSpPr>
            <p:spPr bwMode="auto">
              <a:xfrm>
                <a:off x="3998" y="2617"/>
                <a:ext cx="22"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2" name="Rectangle 270"/>
              <p:cNvSpPr>
                <a:spLocks noChangeArrowheads="1"/>
              </p:cNvSpPr>
              <p:nvPr userDrawn="1"/>
            </p:nvSpPr>
            <p:spPr bwMode="auto">
              <a:xfrm>
                <a:off x="4042" y="2617"/>
                <a:ext cx="75"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3" name="Rectangle 271"/>
              <p:cNvSpPr>
                <a:spLocks noChangeArrowheads="1"/>
              </p:cNvSpPr>
              <p:nvPr userDrawn="1"/>
            </p:nvSpPr>
            <p:spPr bwMode="auto">
              <a:xfrm>
                <a:off x="4137" y="2617"/>
                <a:ext cx="22"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4" name="Rectangle 272"/>
              <p:cNvSpPr>
                <a:spLocks noChangeArrowheads="1"/>
              </p:cNvSpPr>
              <p:nvPr userDrawn="1"/>
            </p:nvSpPr>
            <p:spPr bwMode="auto">
              <a:xfrm>
                <a:off x="4179" y="2617"/>
                <a:ext cx="74"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5" name="Rectangle 273"/>
              <p:cNvSpPr>
                <a:spLocks noChangeArrowheads="1"/>
              </p:cNvSpPr>
              <p:nvPr userDrawn="1"/>
            </p:nvSpPr>
            <p:spPr bwMode="auto">
              <a:xfrm>
                <a:off x="5012" y="2691"/>
                <a:ext cx="34" cy="17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6" name="Rectangle 274"/>
              <p:cNvSpPr>
                <a:spLocks noChangeArrowheads="1"/>
              </p:cNvSpPr>
              <p:nvPr userDrawn="1"/>
            </p:nvSpPr>
            <p:spPr bwMode="auto">
              <a:xfrm>
                <a:off x="5064" y="2691"/>
                <a:ext cx="32" cy="17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7" name="Rectangle 275"/>
              <p:cNvSpPr>
                <a:spLocks noChangeArrowheads="1"/>
              </p:cNvSpPr>
              <p:nvPr userDrawn="1"/>
            </p:nvSpPr>
            <p:spPr bwMode="auto">
              <a:xfrm>
                <a:off x="5114" y="2691"/>
                <a:ext cx="34" cy="17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8" name="Rectangle 276"/>
              <p:cNvSpPr>
                <a:spLocks noChangeArrowheads="1"/>
              </p:cNvSpPr>
              <p:nvPr userDrawn="1"/>
            </p:nvSpPr>
            <p:spPr bwMode="auto">
              <a:xfrm>
                <a:off x="5166" y="2691"/>
                <a:ext cx="32" cy="17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9" name="Rectangle 277"/>
              <p:cNvSpPr>
                <a:spLocks noChangeArrowheads="1"/>
              </p:cNvSpPr>
              <p:nvPr userDrawn="1"/>
            </p:nvSpPr>
            <p:spPr bwMode="auto">
              <a:xfrm>
                <a:off x="5509" y="2627"/>
                <a:ext cx="53" cy="20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0" name="Rectangle 278"/>
              <p:cNvSpPr>
                <a:spLocks noChangeArrowheads="1"/>
              </p:cNvSpPr>
              <p:nvPr userDrawn="1"/>
            </p:nvSpPr>
            <p:spPr bwMode="auto">
              <a:xfrm>
                <a:off x="5584" y="2627"/>
                <a:ext cx="52" cy="20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1" name="Rectangle 279"/>
              <p:cNvSpPr>
                <a:spLocks noChangeArrowheads="1"/>
              </p:cNvSpPr>
              <p:nvPr userDrawn="1"/>
            </p:nvSpPr>
            <p:spPr bwMode="auto">
              <a:xfrm>
                <a:off x="5658" y="2627"/>
                <a:ext cx="52" cy="20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2" name="Rectangle 280"/>
              <p:cNvSpPr>
                <a:spLocks noChangeArrowheads="1"/>
              </p:cNvSpPr>
              <p:nvPr userDrawn="1"/>
            </p:nvSpPr>
            <p:spPr bwMode="auto">
              <a:xfrm>
                <a:off x="5732" y="2627"/>
                <a:ext cx="52" cy="20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3" name="Rectangle 281"/>
              <p:cNvSpPr>
                <a:spLocks noChangeArrowheads="1"/>
              </p:cNvSpPr>
              <p:nvPr userDrawn="1"/>
            </p:nvSpPr>
            <p:spPr bwMode="auto">
              <a:xfrm>
                <a:off x="5806" y="2627"/>
                <a:ext cx="53" cy="20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4" name="Rectangle 282"/>
              <p:cNvSpPr>
                <a:spLocks noChangeArrowheads="1"/>
              </p:cNvSpPr>
              <p:nvPr userDrawn="1"/>
            </p:nvSpPr>
            <p:spPr bwMode="auto">
              <a:xfrm>
                <a:off x="5881" y="2627"/>
                <a:ext cx="52" cy="20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5" name="Rectangle 283"/>
              <p:cNvSpPr>
                <a:spLocks noChangeArrowheads="1"/>
              </p:cNvSpPr>
              <p:nvPr userDrawn="1"/>
            </p:nvSpPr>
            <p:spPr bwMode="auto">
              <a:xfrm>
                <a:off x="5955" y="2627"/>
                <a:ext cx="52" cy="20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6" name="Rectangle 284"/>
              <p:cNvSpPr>
                <a:spLocks noChangeArrowheads="1"/>
              </p:cNvSpPr>
              <p:nvPr userDrawn="1"/>
            </p:nvSpPr>
            <p:spPr bwMode="auto">
              <a:xfrm>
                <a:off x="6029" y="2627"/>
                <a:ext cx="52" cy="20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7" name="Rectangle 285"/>
              <p:cNvSpPr>
                <a:spLocks noChangeArrowheads="1"/>
              </p:cNvSpPr>
              <p:nvPr userDrawn="1"/>
            </p:nvSpPr>
            <p:spPr bwMode="auto">
              <a:xfrm>
                <a:off x="6103" y="2627"/>
                <a:ext cx="53" cy="20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8" name="Rectangle 286"/>
              <p:cNvSpPr>
                <a:spLocks noChangeArrowheads="1"/>
              </p:cNvSpPr>
              <p:nvPr userDrawn="1"/>
            </p:nvSpPr>
            <p:spPr bwMode="auto">
              <a:xfrm>
                <a:off x="5509" y="2884"/>
                <a:ext cx="53" cy="9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9" name="Rectangle 287"/>
              <p:cNvSpPr>
                <a:spLocks noChangeArrowheads="1"/>
              </p:cNvSpPr>
              <p:nvPr userDrawn="1"/>
            </p:nvSpPr>
            <p:spPr bwMode="auto">
              <a:xfrm>
                <a:off x="5584" y="2884"/>
                <a:ext cx="52" cy="9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0" name="Rectangle 288"/>
              <p:cNvSpPr>
                <a:spLocks noChangeArrowheads="1"/>
              </p:cNvSpPr>
              <p:nvPr userDrawn="1"/>
            </p:nvSpPr>
            <p:spPr bwMode="auto">
              <a:xfrm>
                <a:off x="5658" y="2884"/>
                <a:ext cx="52" cy="9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1" name="Rectangle 289"/>
              <p:cNvSpPr>
                <a:spLocks noChangeArrowheads="1"/>
              </p:cNvSpPr>
              <p:nvPr userDrawn="1"/>
            </p:nvSpPr>
            <p:spPr bwMode="auto">
              <a:xfrm>
                <a:off x="5732" y="2884"/>
                <a:ext cx="52" cy="9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2" name="Rectangle 290"/>
              <p:cNvSpPr>
                <a:spLocks noChangeArrowheads="1"/>
              </p:cNvSpPr>
              <p:nvPr userDrawn="1"/>
            </p:nvSpPr>
            <p:spPr bwMode="auto">
              <a:xfrm>
                <a:off x="5806" y="2884"/>
                <a:ext cx="53" cy="9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3" name="Rectangle 291"/>
              <p:cNvSpPr>
                <a:spLocks noChangeArrowheads="1"/>
              </p:cNvSpPr>
              <p:nvPr userDrawn="1"/>
            </p:nvSpPr>
            <p:spPr bwMode="auto">
              <a:xfrm>
                <a:off x="5881" y="2884"/>
                <a:ext cx="52" cy="9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4" name="Rectangle 292"/>
              <p:cNvSpPr>
                <a:spLocks noChangeArrowheads="1"/>
              </p:cNvSpPr>
              <p:nvPr userDrawn="1"/>
            </p:nvSpPr>
            <p:spPr bwMode="auto">
              <a:xfrm>
                <a:off x="5955" y="2884"/>
                <a:ext cx="52" cy="9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5" name="Rectangle 293"/>
              <p:cNvSpPr>
                <a:spLocks noChangeArrowheads="1"/>
              </p:cNvSpPr>
              <p:nvPr userDrawn="1"/>
            </p:nvSpPr>
            <p:spPr bwMode="auto">
              <a:xfrm>
                <a:off x="6029" y="2884"/>
                <a:ext cx="52" cy="9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6" name="Rectangle 294"/>
              <p:cNvSpPr>
                <a:spLocks noChangeArrowheads="1"/>
              </p:cNvSpPr>
              <p:nvPr userDrawn="1"/>
            </p:nvSpPr>
            <p:spPr bwMode="auto">
              <a:xfrm>
                <a:off x="6103" y="2884"/>
                <a:ext cx="53" cy="9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7" name="Freeform 295"/>
              <p:cNvSpPr>
                <a:spLocks/>
              </p:cNvSpPr>
              <p:nvPr userDrawn="1"/>
            </p:nvSpPr>
            <p:spPr bwMode="auto">
              <a:xfrm>
                <a:off x="4980" y="2581"/>
                <a:ext cx="1292" cy="72"/>
              </a:xfrm>
              <a:custGeom>
                <a:avLst/>
                <a:gdLst>
                  <a:gd name="T0" fmla="*/ 0 w 1292"/>
                  <a:gd name="T1" fmla="*/ 72 h 72"/>
                  <a:gd name="T2" fmla="*/ 220 w 1292"/>
                  <a:gd name="T3" fmla="*/ 72 h 72"/>
                  <a:gd name="T4" fmla="*/ 379 w 1292"/>
                  <a:gd name="T5" fmla="*/ 16 h 72"/>
                  <a:gd name="T6" fmla="*/ 481 w 1292"/>
                  <a:gd name="T7" fmla="*/ 16 h 72"/>
                  <a:gd name="T8" fmla="*/ 529 w 1292"/>
                  <a:gd name="T9" fmla="*/ 0 h 72"/>
                  <a:gd name="T10" fmla="*/ 1214 w 1292"/>
                  <a:gd name="T11" fmla="*/ 0 h 72"/>
                  <a:gd name="T12" fmla="*/ 1196 w 1292"/>
                  <a:gd name="T13" fmla="*/ 22 h 72"/>
                  <a:gd name="T14" fmla="*/ 1292 w 1292"/>
                  <a:gd name="T15" fmla="*/ 2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2" h="72">
                    <a:moveTo>
                      <a:pt x="0" y="72"/>
                    </a:moveTo>
                    <a:lnTo>
                      <a:pt x="220" y="72"/>
                    </a:lnTo>
                    <a:lnTo>
                      <a:pt x="379" y="16"/>
                    </a:lnTo>
                    <a:lnTo>
                      <a:pt x="481" y="16"/>
                    </a:lnTo>
                    <a:lnTo>
                      <a:pt x="529" y="0"/>
                    </a:lnTo>
                    <a:lnTo>
                      <a:pt x="1214" y="0"/>
                    </a:lnTo>
                    <a:lnTo>
                      <a:pt x="1196" y="22"/>
                    </a:lnTo>
                    <a:lnTo>
                      <a:pt x="1292" y="22"/>
                    </a:lnTo>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8" name="Freeform 296"/>
              <p:cNvSpPr>
                <a:spLocks/>
              </p:cNvSpPr>
              <p:nvPr userDrawn="1"/>
            </p:nvSpPr>
            <p:spPr bwMode="auto">
              <a:xfrm>
                <a:off x="2778" y="2908"/>
                <a:ext cx="28" cy="79"/>
              </a:xfrm>
              <a:custGeom>
                <a:avLst/>
                <a:gdLst>
                  <a:gd name="T0" fmla="*/ 14 w 14"/>
                  <a:gd name="T1" fmla="*/ 39 h 39"/>
                  <a:gd name="T2" fmla="*/ 14 w 14"/>
                  <a:gd name="T3" fmla="*/ 8 h 39"/>
                  <a:gd name="T4" fmla="*/ 7 w 14"/>
                  <a:gd name="T5" fmla="*/ 0 h 39"/>
                  <a:gd name="T6" fmla="*/ 0 w 14"/>
                  <a:gd name="T7" fmla="*/ 8 h 39"/>
                  <a:gd name="T8" fmla="*/ 0 w 14"/>
                  <a:gd name="T9" fmla="*/ 39 h 39"/>
                  <a:gd name="T10" fmla="*/ 14 w 14"/>
                  <a:gd name="T11" fmla="*/ 39 h 39"/>
                </a:gdLst>
                <a:ahLst/>
                <a:cxnLst>
                  <a:cxn ang="0">
                    <a:pos x="T0" y="T1"/>
                  </a:cxn>
                  <a:cxn ang="0">
                    <a:pos x="T2" y="T3"/>
                  </a:cxn>
                  <a:cxn ang="0">
                    <a:pos x="T4" y="T5"/>
                  </a:cxn>
                  <a:cxn ang="0">
                    <a:pos x="T6" y="T7"/>
                  </a:cxn>
                  <a:cxn ang="0">
                    <a:pos x="T8" y="T9"/>
                  </a:cxn>
                  <a:cxn ang="0">
                    <a:pos x="T10" y="T11"/>
                  </a:cxn>
                </a:cxnLst>
                <a:rect l="0" t="0" r="r" b="b"/>
                <a:pathLst>
                  <a:path w="14" h="39">
                    <a:moveTo>
                      <a:pt x="14" y="39"/>
                    </a:moveTo>
                    <a:cubicBezTo>
                      <a:pt x="14" y="8"/>
                      <a:pt x="14" y="8"/>
                      <a:pt x="14" y="8"/>
                    </a:cubicBezTo>
                    <a:cubicBezTo>
                      <a:pt x="14" y="8"/>
                      <a:pt x="14" y="0"/>
                      <a:pt x="7" y="0"/>
                    </a:cubicBezTo>
                    <a:cubicBezTo>
                      <a:pt x="7" y="0"/>
                      <a:pt x="0" y="1"/>
                      <a:pt x="0" y="8"/>
                    </a:cubicBezTo>
                    <a:cubicBezTo>
                      <a:pt x="0" y="15"/>
                      <a:pt x="0" y="39"/>
                      <a:pt x="0" y="39"/>
                    </a:cubicBezTo>
                    <a:cubicBezTo>
                      <a:pt x="14" y="39"/>
                      <a:pt x="14" y="39"/>
                      <a:pt x="14" y="39"/>
                    </a:cubicBezTo>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9" name="Rectangle 297"/>
              <p:cNvSpPr>
                <a:spLocks noChangeArrowheads="1"/>
              </p:cNvSpPr>
              <p:nvPr userDrawn="1"/>
            </p:nvSpPr>
            <p:spPr bwMode="auto">
              <a:xfrm>
                <a:off x="3250" y="2521"/>
                <a:ext cx="14" cy="32"/>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0" name="Rectangle 298"/>
              <p:cNvSpPr>
                <a:spLocks noChangeArrowheads="1"/>
              </p:cNvSpPr>
              <p:nvPr userDrawn="1"/>
            </p:nvSpPr>
            <p:spPr bwMode="auto">
              <a:xfrm>
                <a:off x="3218" y="2521"/>
                <a:ext cx="14" cy="32"/>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1" name="Rectangle 299"/>
              <p:cNvSpPr>
                <a:spLocks noChangeArrowheads="1"/>
              </p:cNvSpPr>
              <p:nvPr userDrawn="1"/>
            </p:nvSpPr>
            <p:spPr bwMode="auto">
              <a:xfrm>
                <a:off x="3186" y="2521"/>
                <a:ext cx="14" cy="32"/>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2" name="Rectangle 300"/>
              <p:cNvSpPr>
                <a:spLocks noChangeArrowheads="1"/>
              </p:cNvSpPr>
              <p:nvPr userDrawn="1"/>
            </p:nvSpPr>
            <p:spPr bwMode="auto">
              <a:xfrm>
                <a:off x="3916" y="2261"/>
                <a:ext cx="44" cy="15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3" name="Freeform 301"/>
              <p:cNvSpPr>
                <a:spLocks/>
              </p:cNvSpPr>
              <p:nvPr userDrawn="1"/>
            </p:nvSpPr>
            <p:spPr bwMode="auto">
              <a:xfrm>
                <a:off x="3850" y="2261"/>
                <a:ext cx="44" cy="159"/>
              </a:xfrm>
              <a:custGeom>
                <a:avLst/>
                <a:gdLst>
                  <a:gd name="T0" fmla="*/ 44 w 44"/>
                  <a:gd name="T1" fmla="*/ 157 h 159"/>
                  <a:gd name="T2" fmla="*/ 0 w 44"/>
                  <a:gd name="T3" fmla="*/ 159 h 159"/>
                  <a:gd name="T4" fmla="*/ 0 w 44"/>
                  <a:gd name="T5" fmla="*/ 0 h 159"/>
                  <a:gd name="T6" fmla="*/ 44 w 44"/>
                  <a:gd name="T7" fmla="*/ 0 h 159"/>
                  <a:gd name="T8" fmla="*/ 44 w 44"/>
                  <a:gd name="T9" fmla="*/ 157 h 159"/>
                </a:gdLst>
                <a:ahLst/>
                <a:cxnLst>
                  <a:cxn ang="0">
                    <a:pos x="T0" y="T1"/>
                  </a:cxn>
                  <a:cxn ang="0">
                    <a:pos x="T2" y="T3"/>
                  </a:cxn>
                  <a:cxn ang="0">
                    <a:pos x="T4" y="T5"/>
                  </a:cxn>
                  <a:cxn ang="0">
                    <a:pos x="T6" y="T7"/>
                  </a:cxn>
                  <a:cxn ang="0">
                    <a:pos x="T8" y="T9"/>
                  </a:cxn>
                </a:cxnLst>
                <a:rect l="0" t="0" r="r" b="b"/>
                <a:pathLst>
                  <a:path w="44" h="159">
                    <a:moveTo>
                      <a:pt x="44" y="157"/>
                    </a:moveTo>
                    <a:lnTo>
                      <a:pt x="0" y="159"/>
                    </a:lnTo>
                    <a:lnTo>
                      <a:pt x="0" y="0"/>
                    </a:lnTo>
                    <a:lnTo>
                      <a:pt x="44" y="0"/>
                    </a:lnTo>
                    <a:lnTo>
                      <a:pt x="44" y="157"/>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4" name="Freeform 302"/>
              <p:cNvSpPr>
                <a:spLocks/>
              </p:cNvSpPr>
              <p:nvPr userDrawn="1"/>
            </p:nvSpPr>
            <p:spPr bwMode="auto">
              <a:xfrm>
                <a:off x="3980" y="2261"/>
                <a:ext cx="42" cy="159"/>
              </a:xfrm>
              <a:custGeom>
                <a:avLst/>
                <a:gdLst>
                  <a:gd name="T0" fmla="*/ 0 w 42"/>
                  <a:gd name="T1" fmla="*/ 157 h 159"/>
                  <a:gd name="T2" fmla="*/ 42 w 42"/>
                  <a:gd name="T3" fmla="*/ 159 h 159"/>
                  <a:gd name="T4" fmla="*/ 42 w 42"/>
                  <a:gd name="T5" fmla="*/ 0 h 159"/>
                  <a:gd name="T6" fmla="*/ 0 w 42"/>
                  <a:gd name="T7" fmla="*/ 0 h 159"/>
                  <a:gd name="T8" fmla="*/ 0 w 42"/>
                  <a:gd name="T9" fmla="*/ 157 h 159"/>
                </a:gdLst>
                <a:ahLst/>
                <a:cxnLst>
                  <a:cxn ang="0">
                    <a:pos x="T0" y="T1"/>
                  </a:cxn>
                  <a:cxn ang="0">
                    <a:pos x="T2" y="T3"/>
                  </a:cxn>
                  <a:cxn ang="0">
                    <a:pos x="T4" y="T5"/>
                  </a:cxn>
                  <a:cxn ang="0">
                    <a:pos x="T6" y="T7"/>
                  </a:cxn>
                  <a:cxn ang="0">
                    <a:pos x="T8" y="T9"/>
                  </a:cxn>
                </a:cxnLst>
                <a:rect l="0" t="0" r="r" b="b"/>
                <a:pathLst>
                  <a:path w="42" h="159">
                    <a:moveTo>
                      <a:pt x="0" y="157"/>
                    </a:moveTo>
                    <a:lnTo>
                      <a:pt x="42" y="159"/>
                    </a:lnTo>
                    <a:lnTo>
                      <a:pt x="42" y="0"/>
                    </a:lnTo>
                    <a:lnTo>
                      <a:pt x="0" y="0"/>
                    </a:lnTo>
                    <a:lnTo>
                      <a:pt x="0" y="157"/>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5" name="Freeform 303"/>
              <p:cNvSpPr>
                <a:spLocks/>
              </p:cNvSpPr>
              <p:nvPr userDrawn="1"/>
            </p:nvSpPr>
            <p:spPr bwMode="auto">
              <a:xfrm>
                <a:off x="3788" y="2261"/>
                <a:ext cx="44" cy="161"/>
              </a:xfrm>
              <a:custGeom>
                <a:avLst/>
                <a:gdLst>
                  <a:gd name="T0" fmla="*/ 44 w 44"/>
                  <a:gd name="T1" fmla="*/ 159 h 161"/>
                  <a:gd name="T2" fmla="*/ 0 w 44"/>
                  <a:gd name="T3" fmla="*/ 161 h 161"/>
                  <a:gd name="T4" fmla="*/ 0 w 44"/>
                  <a:gd name="T5" fmla="*/ 4 h 161"/>
                  <a:gd name="T6" fmla="*/ 44 w 44"/>
                  <a:gd name="T7" fmla="*/ 0 h 161"/>
                  <a:gd name="T8" fmla="*/ 44 w 44"/>
                  <a:gd name="T9" fmla="*/ 159 h 161"/>
                </a:gdLst>
                <a:ahLst/>
                <a:cxnLst>
                  <a:cxn ang="0">
                    <a:pos x="T0" y="T1"/>
                  </a:cxn>
                  <a:cxn ang="0">
                    <a:pos x="T2" y="T3"/>
                  </a:cxn>
                  <a:cxn ang="0">
                    <a:pos x="T4" y="T5"/>
                  </a:cxn>
                  <a:cxn ang="0">
                    <a:pos x="T6" y="T7"/>
                  </a:cxn>
                  <a:cxn ang="0">
                    <a:pos x="T8" y="T9"/>
                  </a:cxn>
                </a:cxnLst>
                <a:rect l="0" t="0" r="r" b="b"/>
                <a:pathLst>
                  <a:path w="44" h="161">
                    <a:moveTo>
                      <a:pt x="44" y="159"/>
                    </a:moveTo>
                    <a:lnTo>
                      <a:pt x="0" y="161"/>
                    </a:lnTo>
                    <a:lnTo>
                      <a:pt x="0" y="4"/>
                    </a:lnTo>
                    <a:lnTo>
                      <a:pt x="44" y="0"/>
                    </a:lnTo>
                    <a:lnTo>
                      <a:pt x="44" y="159"/>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6" name="Freeform 304"/>
              <p:cNvSpPr>
                <a:spLocks/>
              </p:cNvSpPr>
              <p:nvPr userDrawn="1"/>
            </p:nvSpPr>
            <p:spPr bwMode="auto">
              <a:xfrm>
                <a:off x="4042" y="2261"/>
                <a:ext cx="43" cy="161"/>
              </a:xfrm>
              <a:custGeom>
                <a:avLst/>
                <a:gdLst>
                  <a:gd name="T0" fmla="*/ 0 w 43"/>
                  <a:gd name="T1" fmla="*/ 159 h 161"/>
                  <a:gd name="T2" fmla="*/ 43 w 43"/>
                  <a:gd name="T3" fmla="*/ 161 h 161"/>
                  <a:gd name="T4" fmla="*/ 43 w 43"/>
                  <a:gd name="T5" fmla="*/ 4 h 161"/>
                  <a:gd name="T6" fmla="*/ 0 w 43"/>
                  <a:gd name="T7" fmla="*/ 0 h 161"/>
                  <a:gd name="T8" fmla="*/ 0 w 43"/>
                  <a:gd name="T9" fmla="*/ 159 h 161"/>
                </a:gdLst>
                <a:ahLst/>
                <a:cxnLst>
                  <a:cxn ang="0">
                    <a:pos x="T0" y="T1"/>
                  </a:cxn>
                  <a:cxn ang="0">
                    <a:pos x="T2" y="T3"/>
                  </a:cxn>
                  <a:cxn ang="0">
                    <a:pos x="T4" y="T5"/>
                  </a:cxn>
                  <a:cxn ang="0">
                    <a:pos x="T6" y="T7"/>
                  </a:cxn>
                  <a:cxn ang="0">
                    <a:pos x="T8" y="T9"/>
                  </a:cxn>
                </a:cxnLst>
                <a:rect l="0" t="0" r="r" b="b"/>
                <a:pathLst>
                  <a:path w="43" h="161">
                    <a:moveTo>
                      <a:pt x="0" y="159"/>
                    </a:moveTo>
                    <a:lnTo>
                      <a:pt x="43" y="161"/>
                    </a:lnTo>
                    <a:lnTo>
                      <a:pt x="43" y="4"/>
                    </a:lnTo>
                    <a:lnTo>
                      <a:pt x="0" y="0"/>
                    </a:lnTo>
                    <a:lnTo>
                      <a:pt x="0" y="159"/>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7" name="Freeform 305"/>
              <p:cNvSpPr>
                <a:spLocks/>
              </p:cNvSpPr>
              <p:nvPr userDrawn="1"/>
            </p:nvSpPr>
            <p:spPr bwMode="auto">
              <a:xfrm>
                <a:off x="3731" y="2265"/>
                <a:ext cx="38" cy="165"/>
              </a:xfrm>
              <a:custGeom>
                <a:avLst/>
                <a:gdLst>
                  <a:gd name="T0" fmla="*/ 38 w 38"/>
                  <a:gd name="T1" fmla="*/ 159 h 165"/>
                  <a:gd name="T2" fmla="*/ 0 w 38"/>
                  <a:gd name="T3" fmla="*/ 165 h 165"/>
                  <a:gd name="T4" fmla="*/ 0 w 38"/>
                  <a:gd name="T5" fmla="*/ 6 h 165"/>
                  <a:gd name="T6" fmla="*/ 38 w 38"/>
                  <a:gd name="T7" fmla="*/ 0 h 165"/>
                  <a:gd name="T8" fmla="*/ 38 w 38"/>
                  <a:gd name="T9" fmla="*/ 159 h 165"/>
                </a:gdLst>
                <a:ahLst/>
                <a:cxnLst>
                  <a:cxn ang="0">
                    <a:pos x="T0" y="T1"/>
                  </a:cxn>
                  <a:cxn ang="0">
                    <a:pos x="T2" y="T3"/>
                  </a:cxn>
                  <a:cxn ang="0">
                    <a:pos x="T4" y="T5"/>
                  </a:cxn>
                  <a:cxn ang="0">
                    <a:pos x="T6" y="T7"/>
                  </a:cxn>
                  <a:cxn ang="0">
                    <a:pos x="T8" y="T9"/>
                  </a:cxn>
                </a:cxnLst>
                <a:rect l="0" t="0" r="r" b="b"/>
                <a:pathLst>
                  <a:path w="38" h="165">
                    <a:moveTo>
                      <a:pt x="38" y="159"/>
                    </a:moveTo>
                    <a:lnTo>
                      <a:pt x="0" y="165"/>
                    </a:lnTo>
                    <a:lnTo>
                      <a:pt x="0" y="6"/>
                    </a:lnTo>
                    <a:lnTo>
                      <a:pt x="38" y="0"/>
                    </a:lnTo>
                    <a:lnTo>
                      <a:pt x="38" y="159"/>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8" name="Freeform 306"/>
              <p:cNvSpPr>
                <a:spLocks/>
              </p:cNvSpPr>
              <p:nvPr userDrawn="1"/>
            </p:nvSpPr>
            <p:spPr bwMode="auto">
              <a:xfrm>
                <a:off x="4105" y="2265"/>
                <a:ext cx="40" cy="165"/>
              </a:xfrm>
              <a:custGeom>
                <a:avLst/>
                <a:gdLst>
                  <a:gd name="T0" fmla="*/ 0 w 40"/>
                  <a:gd name="T1" fmla="*/ 159 h 165"/>
                  <a:gd name="T2" fmla="*/ 40 w 40"/>
                  <a:gd name="T3" fmla="*/ 165 h 165"/>
                  <a:gd name="T4" fmla="*/ 40 w 40"/>
                  <a:gd name="T5" fmla="*/ 6 h 165"/>
                  <a:gd name="T6" fmla="*/ 0 w 40"/>
                  <a:gd name="T7" fmla="*/ 0 h 165"/>
                  <a:gd name="T8" fmla="*/ 0 w 40"/>
                  <a:gd name="T9" fmla="*/ 159 h 165"/>
                </a:gdLst>
                <a:ahLst/>
                <a:cxnLst>
                  <a:cxn ang="0">
                    <a:pos x="T0" y="T1"/>
                  </a:cxn>
                  <a:cxn ang="0">
                    <a:pos x="T2" y="T3"/>
                  </a:cxn>
                  <a:cxn ang="0">
                    <a:pos x="T4" y="T5"/>
                  </a:cxn>
                  <a:cxn ang="0">
                    <a:pos x="T6" y="T7"/>
                  </a:cxn>
                  <a:cxn ang="0">
                    <a:pos x="T8" y="T9"/>
                  </a:cxn>
                </a:cxnLst>
                <a:rect l="0" t="0" r="r" b="b"/>
                <a:pathLst>
                  <a:path w="40" h="165">
                    <a:moveTo>
                      <a:pt x="0" y="159"/>
                    </a:moveTo>
                    <a:lnTo>
                      <a:pt x="40" y="165"/>
                    </a:lnTo>
                    <a:lnTo>
                      <a:pt x="40" y="6"/>
                    </a:lnTo>
                    <a:lnTo>
                      <a:pt x="0" y="0"/>
                    </a:lnTo>
                    <a:lnTo>
                      <a:pt x="0" y="159"/>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9" name="Freeform 307"/>
              <p:cNvSpPr>
                <a:spLocks/>
              </p:cNvSpPr>
              <p:nvPr userDrawn="1"/>
            </p:nvSpPr>
            <p:spPr bwMode="auto">
              <a:xfrm>
                <a:off x="4165" y="2275"/>
                <a:ext cx="28" cy="163"/>
              </a:xfrm>
              <a:custGeom>
                <a:avLst/>
                <a:gdLst>
                  <a:gd name="T0" fmla="*/ 0 w 28"/>
                  <a:gd name="T1" fmla="*/ 157 h 163"/>
                  <a:gd name="T2" fmla="*/ 28 w 28"/>
                  <a:gd name="T3" fmla="*/ 163 h 163"/>
                  <a:gd name="T4" fmla="*/ 28 w 28"/>
                  <a:gd name="T5" fmla="*/ 6 h 163"/>
                  <a:gd name="T6" fmla="*/ 0 w 28"/>
                  <a:gd name="T7" fmla="*/ 0 h 163"/>
                  <a:gd name="T8" fmla="*/ 0 w 28"/>
                  <a:gd name="T9" fmla="*/ 157 h 163"/>
                </a:gdLst>
                <a:ahLst/>
                <a:cxnLst>
                  <a:cxn ang="0">
                    <a:pos x="T0" y="T1"/>
                  </a:cxn>
                  <a:cxn ang="0">
                    <a:pos x="T2" y="T3"/>
                  </a:cxn>
                  <a:cxn ang="0">
                    <a:pos x="T4" y="T5"/>
                  </a:cxn>
                  <a:cxn ang="0">
                    <a:pos x="T6" y="T7"/>
                  </a:cxn>
                  <a:cxn ang="0">
                    <a:pos x="T8" y="T9"/>
                  </a:cxn>
                </a:cxnLst>
                <a:rect l="0" t="0" r="r" b="b"/>
                <a:pathLst>
                  <a:path w="28" h="163">
                    <a:moveTo>
                      <a:pt x="0" y="157"/>
                    </a:moveTo>
                    <a:lnTo>
                      <a:pt x="28" y="163"/>
                    </a:lnTo>
                    <a:lnTo>
                      <a:pt x="28" y="6"/>
                    </a:lnTo>
                    <a:lnTo>
                      <a:pt x="0" y="0"/>
                    </a:lnTo>
                    <a:lnTo>
                      <a:pt x="0" y="157"/>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0" name="Freeform 308"/>
              <p:cNvSpPr>
                <a:spLocks/>
              </p:cNvSpPr>
              <p:nvPr userDrawn="1"/>
            </p:nvSpPr>
            <p:spPr bwMode="auto">
              <a:xfrm>
                <a:off x="3683" y="2275"/>
                <a:ext cx="28" cy="163"/>
              </a:xfrm>
              <a:custGeom>
                <a:avLst/>
                <a:gdLst>
                  <a:gd name="T0" fmla="*/ 28 w 28"/>
                  <a:gd name="T1" fmla="*/ 157 h 163"/>
                  <a:gd name="T2" fmla="*/ 0 w 28"/>
                  <a:gd name="T3" fmla="*/ 163 h 163"/>
                  <a:gd name="T4" fmla="*/ 0 w 28"/>
                  <a:gd name="T5" fmla="*/ 6 h 163"/>
                  <a:gd name="T6" fmla="*/ 28 w 28"/>
                  <a:gd name="T7" fmla="*/ 0 h 163"/>
                  <a:gd name="T8" fmla="*/ 28 w 28"/>
                  <a:gd name="T9" fmla="*/ 157 h 163"/>
                </a:gdLst>
                <a:ahLst/>
                <a:cxnLst>
                  <a:cxn ang="0">
                    <a:pos x="T0" y="T1"/>
                  </a:cxn>
                  <a:cxn ang="0">
                    <a:pos x="T2" y="T3"/>
                  </a:cxn>
                  <a:cxn ang="0">
                    <a:pos x="T4" y="T5"/>
                  </a:cxn>
                  <a:cxn ang="0">
                    <a:pos x="T6" y="T7"/>
                  </a:cxn>
                  <a:cxn ang="0">
                    <a:pos x="T8" y="T9"/>
                  </a:cxn>
                </a:cxnLst>
                <a:rect l="0" t="0" r="r" b="b"/>
                <a:pathLst>
                  <a:path w="28" h="163">
                    <a:moveTo>
                      <a:pt x="28" y="157"/>
                    </a:moveTo>
                    <a:lnTo>
                      <a:pt x="0" y="163"/>
                    </a:lnTo>
                    <a:lnTo>
                      <a:pt x="0" y="6"/>
                    </a:lnTo>
                    <a:lnTo>
                      <a:pt x="28" y="0"/>
                    </a:lnTo>
                    <a:lnTo>
                      <a:pt x="28" y="157"/>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1" name="Freeform 309"/>
              <p:cNvSpPr>
                <a:spLocks/>
              </p:cNvSpPr>
              <p:nvPr userDrawn="1"/>
            </p:nvSpPr>
            <p:spPr bwMode="auto">
              <a:xfrm>
                <a:off x="3643" y="2285"/>
                <a:ext cx="20" cy="165"/>
              </a:xfrm>
              <a:custGeom>
                <a:avLst/>
                <a:gdLst>
                  <a:gd name="T0" fmla="*/ 20 w 20"/>
                  <a:gd name="T1" fmla="*/ 159 h 165"/>
                  <a:gd name="T2" fmla="*/ 0 w 20"/>
                  <a:gd name="T3" fmla="*/ 165 h 165"/>
                  <a:gd name="T4" fmla="*/ 0 w 20"/>
                  <a:gd name="T5" fmla="*/ 6 h 165"/>
                  <a:gd name="T6" fmla="*/ 20 w 20"/>
                  <a:gd name="T7" fmla="*/ 0 h 165"/>
                  <a:gd name="T8" fmla="*/ 20 w 20"/>
                  <a:gd name="T9" fmla="*/ 159 h 165"/>
                </a:gdLst>
                <a:ahLst/>
                <a:cxnLst>
                  <a:cxn ang="0">
                    <a:pos x="T0" y="T1"/>
                  </a:cxn>
                  <a:cxn ang="0">
                    <a:pos x="T2" y="T3"/>
                  </a:cxn>
                  <a:cxn ang="0">
                    <a:pos x="T4" y="T5"/>
                  </a:cxn>
                  <a:cxn ang="0">
                    <a:pos x="T6" y="T7"/>
                  </a:cxn>
                  <a:cxn ang="0">
                    <a:pos x="T8" y="T9"/>
                  </a:cxn>
                </a:cxnLst>
                <a:rect l="0" t="0" r="r" b="b"/>
                <a:pathLst>
                  <a:path w="20" h="165">
                    <a:moveTo>
                      <a:pt x="20" y="159"/>
                    </a:moveTo>
                    <a:lnTo>
                      <a:pt x="0" y="165"/>
                    </a:lnTo>
                    <a:lnTo>
                      <a:pt x="0" y="6"/>
                    </a:lnTo>
                    <a:lnTo>
                      <a:pt x="20" y="0"/>
                    </a:lnTo>
                    <a:lnTo>
                      <a:pt x="20" y="159"/>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2" name="Freeform 310"/>
              <p:cNvSpPr>
                <a:spLocks/>
              </p:cNvSpPr>
              <p:nvPr userDrawn="1"/>
            </p:nvSpPr>
            <p:spPr bwMode="auto">
              <a:xfrm>
                <a:off x="4213" y="2285"/>
                <a:ext cx="18" cy="165"/>
              </a:xfrm>
              <a:custGeom>
                <a:avLst/>
                <a:gdLst>
                  <a:gd name="T0" fmla="*/ 0 w 18"/>
                  <a:gd name="T1" fmla="*/ 159 h 165"/>
                  <a:gd name="T2" fmla="*/ 18 w 18"/>
                  <a:gd name="T3" fmla="*/ 165 h 165"/>
                  <a:gd name="T4" fmla="*/ 18 w 18"/>
                  <a:gd name="T5" fmla="*/ 6 h 165"/>
                  <a:gd name="T6" fmla="*/ 0 w 18"/>
                  <a:gd name="T7" fmla="*/ 0 h 165"/>
                  <a:gd name="T8" fmla="*/ 0 w 18"/>
                  <a:gd name="T9" fmla="*/ 159 h 165"/>
                </a:gdLst>
                <a:ahLst/>
                <a:cxnLst>
                  <a:cxn ang="0">
                    <a:pos x="T0" y="T1"/>
                  </a:cxn>
                  <a:cxn ang="0">
                    <a:pos x="T2" y="T3"/>
                  </a:cxn>
                  <a:cxn ang="0">
                    <a:pos x="T4" y="T5"/>
                  </a:cxn>
                  <a:cxn ang="0">
                    <a:pos x="T6" y="T7"/>
                  </a:cxn>
                  <a:cxn ang="0">
                    <a:pos x="T8" y="T9"/>
                  </a:cxn>
                </a:cxnLst>
                <a:rect l="0" t="0" r="r" b="b"/>
                <a:pathLst>
                  <a:path w="18" h="165">
                    <a:moveTo>
                      <a:pt x="0" y="159"/>
                    </a:moveTo>
                    <a:lnTo>
                      <a:pt x="18" y="165"/>
                    </a:lnTo>
                    <a:lnTo>
                      <a:pt x="18" y="6"/>
                    </a:lnTo>
                    <a:lnTo>
                      <a:pt x="0" y="0"/>
                    </a:lnTo>
                    <a:lnTo>
                      <a:pt x="0" y="159"/>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3" name="Rectangle 311"/>
              <p:cNvSpPr>
                <a:spLocks noChangeArrowheads="1"/>
              </p:cNvSpPr>
              <p:nvPr userDrawn="1"/>
            </p:nvSpPr>
            <p:spPr bwMode="auto">
              <a:xfrm>
                <a:off x="4677" y="2523"/>
                <a:ext cx="14" cy="32"/>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4" name="Rectangle 312"/>
              <p:cNvSpPr>
                <a:spLocks noChangeArrowheads="1"/>
              </p:cNvSpPr>
              <p:nvPr userDrawn="1"/>
            </p:nvSpPr>
            <p:spPr bwMode="auto">
              <a:xfrm>
                <a:off x="4644" y="2523"/>
                <a:ext cx="14" cy="32"/>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5" name="Rectangle 313"/>
              <p:cNvSpPr>
                <a:spLocks noChangeArrowheads="1"/>
              </p:cNvSpPr>
              <p:nvPr userDrawn="1"/>
            </p:nvSpPr>
            <p:spPr bwMode="auto">
              <a:xfrm>
                <a:off x="4612" y="2523"/>
                <a:ext cx="14" cy="32"/>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61" name="Oval 460"/>
            <p:cNvSpPr/>
            <p:nvPr userDrawn="1"/>
          </p:nvSpPr>
          <p:spPr bwMode="auto">
            <a:xfrm>
              <a:off x="8862042" y="3602293"/>
              <a:ext cx="103981" cy="103981"/>
            </a:xfrm>
            <a:prstGeom prst="ellipse">
              <a:avLst/>
            </a:prstGeom>
            <a:noFill/>
            <a:ln w="952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62" name="Straight Connector 461"/>
            <p:cNvCxnSpPr>
              <a:endCxn id="461" idx="4"/>
            </p:cNvCxnSpPr>
            <p:nvPr userDrawn="1"/>
          </p:nvCxnSpPr>
          <p:spPr>
            <a:xfrm flipV="1">
              <a:off x="8914033" y="3706274"/>
              <a:ext cx="0" cy="1456621"/>
            </a:xfrm>
            <a:prstGeom prst="line">
              <a:avLst/>
            </a:prstGeom>
            <a:ln w="9525">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5" name="Straight Connector 464"/>
            <p:cNvCxnSpPr/>
            <p:nvPr userDrawn="1"/>
          </p:nvCxnSpPr>
          <p:spPr>
            <a:xfrm flipV="1">
              <a:off x="8506564" y="-12945"/>
              <a:ext cx="0" cy="112515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6" name="Oval 465"/>
            <p:cNvSpPr/>
            <p:nvPr userDrawn="1"/>
          </p:nvSpPr>
          <p:spPr bwMode="auto">
            <a:xfrm>
              <a:off x="8453806" y="1112206"/>
              <a:ext cx="103981" cy="103981"/>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68" name="Straight Connector 467"/>
            <p:cNvCxnSpPr/>
            <p:nvPr userDrawn="1"/>
          </p:nvCxnSpPr>
          <p:spPr>
            <a:xfrm flipV="1">
              <a:off x="10973165" y="-16345"/>
              <a:ext cx="0" cy="1080299"/>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9" name="Oval 468"/>
            <p:cNvSpPr/>
            <p:nvPr userDrawn="1"/>
          </p:nvSpPr>
          <p:spPr bwMode="auto">
            <a:xfrm>
              <a:off x="10920407" y="1063954"/>
              <a:ext cx="103981" cy="103981"/>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22119" y="3340529"/>
            <a:ext cx="6545206" cy="1191690"/>
          </a:xfrm>
          <a:prstGeom prst="rect">
            <a:avLst/>
          </a:prstGeom>
        </p:spPr>
      </p:pic>
    </p:spTree>
    <p:extLst>
      <p:ext uri="{BB962C8B-B14F-4D97-AF65-F5344CB8AC3E}">
        <p14:creationId xmlns:p14="http://schemas.microsoft.com/office/powerpoint/2010/main" val="17799089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568471"/>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3"/>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282785749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4"/>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71686429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5"/>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253902509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6632" cy="922288"/>
          </a:xfrm>
        </p:spPr>
        <p:txBody>
          <a:bodyPr lIns="393192" bIns="91440"/>
          <a:lstStyle>
            <a:lvl1pPr marL="0" indent="0">
              <a:buNone/>
              <a:defRPr>
                <a:solidFill>
                  <a:schemeClr val="tx2"/>
                </a:solidFill>
              </a:defRPr>
            </a:lvl1pPr>
            <a:lvl2pPr marL="466298"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9991437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2"/>
                </a:solidFill>
              </a:defRPr>
            </a:lvl1pPr>
            <a:lvl2pPr marL="466298"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675826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3"/>
                </a:solidFill>
              </a:defRPr>
            </a:lvl1pPr>
            <a:lvl2pPr marL="466298"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3110333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4"/>
                </a:solidFill>
              </a:defRPr>
            </a:lvl1pPr>
            <a:lvl2pPr marL="466298"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705102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5"/>
                </a:solidFill>
              </a:defRPr>
            </a:lvl1pPr>
            <a:lvl2pPr marL="466298"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1410286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6632" cy="922288"/>
          </a:xfrm>
        </p:spPr>
        <p:txBody>
          <a:bodyPr lIns="393192" bIns="91440"/>
          <a:lstStyle>
            <a:lvl1pPr marL="0" indent="0">
              <a:buNone/>
              <a:defRPr>
                <a:solidFill>
                  <a:schemeClr val="tx2"/>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352426302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2"/>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33408836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3"/>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318495019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4"/>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178587288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5"/>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302710854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81882"/>
            <a:ext cx="4183177" cy="978967"/>
          </a:xfrm>
        </p:spPr>
        <p:txBody>
          <a:bodyPr lIns="393192" rIns="393192" bIns="91440"/>
          <a:lstStyle>
            <a:lvl1pPr marL="0" indent="0">
              <a:buNone/>
              <a:defRPr>
                <a:solidFill>
                  <a:schemeClr val="bg1"/>
                </a:solidFill>
              </a:defRPr>
            </a:lvl1pPr>
            <a:lvl2pPr marL="466298" indent="0">
              <a:buNone/>
              <a:defRPr/>
            </a:lvl2pPr>
          </a:lstStyle>
          <a:p>
            <a:pPr lvl="0"/>
            <a:r>
              <a:rPr lang="en-US" dirty="0"/>
              <a:t>Subtitle</a:t>
            </a:r>
          </a:p>
        </p:txBody>
      </p:sp>
      <p:sp>
        <p:nvSpPr>
          <p:cNvPr id="3"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297617288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81882"/>
            <a:ext cx="4183177" cy="978967"/>
          </a:xfrm>
        </p:spPr>
        <p:txBody>
          <a:bodyPr lIns="393192" rIns="393192" bIns="91440"/>
          <a:lstStyle>
            <a:lvl1pPr marL="0" indent="0">
              <a:buNone/>
              <a:defRPr>
                <a:solidFill>
                  <a:schemeClr val="bg1"/>
                </a:solidFill>
              </a:defRPr>
            </a:lvl1pPr>
            <a:lvl2pPr marL="466298"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263554018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81882"/>
            <a:ext cx="4183177" cy="978967"/>
          </a:xfrm>
        </p:spPr>
        <p:txBody>
          <a:bodyPr lIns="393192" rIns="393192" bIns="91440"/>
          <a:lstStyle>
            <a:lvl1pPr marL="0" indent="0">
              <a:buNone/>
              <a:defRPr>
                <a:solidFill>
                  <a:schemeClr val="bg1"/>
                </a:solidFill>
              </a:defRPr>
            </a:lvl1pPr>
            <a:lvl2pPr marL="466298"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8239120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81882"/>
            <a:ext cx="4183177" cy="978967"/>
          </a:xfrm>
        </p:spPr>
        <p:txBody>
          <a:bodyPr lIns="393192" rIns="393192" bIns="91440"/>
          <a:lstStyle>
            <a:lvl1pPr marL="0" indent="0">
              <a:buNone/>
              <a:defRPr>
                <a:solidFill>
                  <a:schemeClr val="bg1"/>
                </a:solidFill>
              </a:defRPr>
            </a:lvl1pPr>
            <a:lvl2pPr marL="466298"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414060967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81882"/>
            <a:ext cx="4183177" cy="978967"/>
          </a:xfrm>
        </p:spPr>
        <p:txBody>
          <a:bodyPr lIns="393192" rIns="393192" bIns="91440"/>
          <a:lstStyle>
            <a:lvl1pPr marL="0" indent="0">
              <a:buNone/>
              <a:defRPr>
                <a:solidFill>
                  <a:schemeClr val="bg1"/>
                </a:solidFill>
              </a:defRPr>
            </a:lvl1pPr>
            <a:lvl2pPr marL="466298"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423974495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914938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8039678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64043890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6826846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00778153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8439" y="3207650"/>
            <a:ext cx="3354447" cy="718469"/>
          </a:xfrm>
          <a:prstGeom prst="rect">
            <a:avLst/>
          </a:prstGeom>
        </p:spPr>
      </p:pic>
    </p:spTree>
    <p:extLst>
      <p:ext uri="{BB962C8B-B14F-4D97-AF65-F5344CB8AC3E}">
        <p14:creationId xmlns:p14="http://schemas.microsoft.com/office/powerpoint/2010/main" val="363063423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8439" y="3207650"/>
            <a:ext cx="3354447" cy="718469"/>
          </a:xfrm>
          <a:prstGeom prst="rect">
            <a:avLst/>
          </a:prstGeom>
        </p:spPr>
      </p:pic>
    </p:spTree>
    <p:extLst>
      <p:ext uri="{BB962C8B-B14F-4D97-AF65-F5344CB8AC3E}">
        <p14:creationId xmlns:p14="http://schemas.microsoft.com/office/powerpoint/2010/main" val="20858474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8439" y="3207650"/>
            <a:ext cx="3354447" cy="718469"/>
          </a:xfrm>
          <a:prstGeom prst="rect">
            <a:avLst/>
          </a:prstGeom>
        </p:spPr>
      </p:pic>
    </p:spTree>
    <p:extLst>
      <p:ext uri="{BB962C8B-B14F-4D97-AF65-F5344CB8AC3E}">
        <p14:creationId xmlns:p14="http://schemas.microsoft.com/office/powerpoint/2010/main" val="6012694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8439" y="3207650"/>
            <a:ext cx="3354447" cy="718469"/>
          </a:xfrm>
          <a:prstGeom prst="rect">
            <a:avLst/>
          </a:prstGeom>
        </p:spPr>
      </p:pic>
    </p:spTree>
    <p:extLst>
      <p:ext uri="{BB962C8B-B14F-4D97-AF65-F5344CB8AC3E}">
        <p14:creationId xmlns:p14="http://schemas.microsoft.com/office/powerpoint/2010/main" val="375289532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8439" y="3207650"/>
            <a:ext cx="3354447" cy="718469"/>
          </a:xfrm>
          <a:prstGeom prst="rect">
            <a:avLst/>
          </a:prstGeom>
        </p:spPr>
      </p:pic>
    </p:spTree>
    <p:extLst>
      <p:ext uri="{BB962C8B-B14F-4D97-AF65-F5344CB8AC3E}">
        <p14:creationId xmlns:p14="http://schemas.microsoft.com/office/powerpoint/2010/main" val="361160928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7372439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5247332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3"/>
            <a:ext cx="8229600"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8229600"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4"/>
            <a:ext cx="5486400" cy="406265"/>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4044247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ltGray">
          <a:xfrm>
            <a:off x="274703" y="677862"/>
            <a:ext cx="6857935" cy="1830538"/>
          </a:xfrm>
          <a:noFill/>
        </p:spPr>
        <p:txBody>
          <a:bodyPr lIns="146304" tIns="91440" rIns="146304" bIns="91440" anchor="b" anchorCtr="0"/>
          <a:lstStyle>
            <a:lvl1pPr>
              <a:defRPr sz="5999"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74703" y="2511576"/>
            <a:ext cx="6857935" cy="1825625"/>
          </a:xfrm>
        </p:spPr>
        <p:txBody>
          <a:bodyPr tIns="109728" bIns="109728">
            <a:noAutofit/>
          </a:bodyPr>
          <a:lstStyle>
            <a:lvl1pPr marL="0" indent="0">
              <a:spcBef>
                <a:spcPts val="0"/>
              </a:spcBef>
              <a:buNone/>
              <a:defRPr sz="3199"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3810" y="5612010"/>
            <a:ext cx="2599604" cy="1165327"/>
          </a:xfrm>
          <a:prstGeom prst="rect">
            <a:avLst/>
          </a:prstGeom>
        </p:spPr>
      </p:pic>
      <p:pic>
        <p:nvPicPr>
          <p:cNvPr id="399" name="Picture 39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27881" y="1034781"/>
            <a:ext cx="4788438" cy="4788438"/>
          </a:xfrm>
          <a:prstGeom prst="rect">
            <a:avLst/>
          </a:prstGeom>
        </p:spPr>
      </p:pic>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3810" y="5612010"/>
            <a:ext cx="2599604" cy="1165327"/>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627881" y="1034781"/>
            <a:ext cx="4788438" cy="4788438"/>
          </a:xfrm>
          <a:prstGeom prst="rect">
            <a:avLst/>
          </a:prstGeom>
        </p:spPr>
      </p:pic>
    </p:spTree>
    <p:extLst>
      <p:ext uri="{BB962C8B-B14F-4D97-AF65-F5344CB8AC3E}">
        <p14:creationId xmlns:p14="http://schemas.microsoft.com/office/powerpoint/2010/main" val="9940933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7891" y="6004173"/>
            <a:ext cx="1820563" cy="388690"/>
          </a:xfrm>
          <a:prstGeom prst="rect">
            <a:avLst/>
          </a:prstGeom>
        </p:spPr>
      </p:pic>
      <p:pic>
        <p:nvPicPr>
          <p:cNvPr id="16" name="Picture 1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27881" y="1034781"/>
            <a:ext cx="4788438" cy="4788438"/>
          </a:xfrm>
          <a:prstGeom prst="rect">
            <a:avLst/>
          </a:prstGeom>
        </p:spPr>
      </p:pic>
      <p:sp>
        <p:nvSpPr>
          <p:cNvPr id="9" name="Title 1"/>
          <p:cNvSpPr>
            <a:spLocks noGrp="1"/>
          </p:cNvSpPr>
          <p:nvPr>
            <p:ph type="title" hasCustomPrompt="1"/>
          </p:nvPr>
        </p:nvSpPr>
        <p:spPr bwMode="ltGray">
          <a:xfrm>
            <a:off x="274703" y="677862"/>
            <a:ext cx="6857935" cy="1830538"/>
          </a:xfrm>
          <a:noFill/>
        </p:spPr>
        <p:txBody>
          <a:bodyPr lIns="146304" tIns="91440" rIns="146304" bIns="91440" anchor="b" anchorCtr="0"/>
          <a:lstStyle>
            <a:lvl1pPr>
              <a:defRPr sz="5999" spc="-100" baseline="0">
                <a:solidFill>
                  <a:schemeClr val="tx2"/>
                </a:solidFill>
              </a:defRPr>
            </a:lvl1pPr>
          </a:lstStyle>
          <a:p>
            <a:r>
              <a:rPr lang="en-US" dirty="0"/>
              <a:t>Presentation title</a:t>
            </a:r>
          </a:p>
        </p:txBody>
      </p:sp>
      <p:sp>
        <p:nvSpPr>
          <p:cNvPr id="3" name="Text Placeholder 2"/>
          <p:cNvSpPr>
            <a:spLocks noGrp="1"/>
          </p:cNvSpPr>
          <p:nvPr>
            <p:ph type="body" sz="quarter" idx="14" hasCustomPrompt="1"/>
          </p:nvPr>
        </p:nvSpPr>
        <p:spPr bwMode="ltGray">
          <a:xfrm>
            <a:off x="274703" y="2511576"/>
            <a:ext cx="6857935" cy="1825625"/>
          </a:xfrm>
        </p:spPr>
        <p:txBody>
          <a:bodyPr tIns="109728" bIns="109728">
            <a:noAutofit/>
          </a:bodyPr>
          <a:lstStyle>
            <a:lvl1pPr marL="0" indent="0">
              <a:spcBef>
                <a:spcPts val="0"/>
              </a:spcBef>
              <a:buNone/>
              <a:defRPr sz="3199" baseline="0">
                <a:solidFill>
                  <a:schemeClr val="tx2"/>
                </a:solidFill>
              </a:defRPr>
            </a:lvl1pPr>
          </a:lstStyle>
          <a:p>
            <a:pPr lvl="0"/>
            <a:r>
              <a:rPr lang="en-US" dirty="0"/>
              <a:t>Speaker Name</a:t>
            </a:r>
          </a:p>
        </p:txBody>
      </p:sp>
    </p:spTree>
    <p:extLst>
      <p:ext uri="{BB962C8B-B14F-4D97-AF65-F5344CB8AC3E}">
        <p14:creationId xmlns:p14="http://schemas.microsoft.com/office/powerpoint/2010/main" val="1443136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rgbClr val="00BCF2"/>
        </a:solidFill>
        <a:effectLst/>
      </p:bgPr>
    </p:bg>
    <p:spTree>
      <p:nvGrpSpPr>
        <p:cNvPr id="1" name=""/>
        <p:cNvGrpSpPr/>
        <p:nvPr/>
      </p:nvGrpSpPr>
      <p:grpSpPr>
        <a:xfrm>
          <a:off x="0" y="0"/>
          <a:ext cx="0" cy="0"/>
          <a:chOff x="0" y="0"/>
          <a:chExt cx="0" cy="0"/>
        </a:xfrm>
      </p:grpSpPr>
      <p:sp>
        <p:nvSpPr>
          <p:cNvPr id="14" name="Oval 13"/>
          <p:cNvSpPr/>
          <p:nvPr/>
        </p:nvSpPr>
        <p:spPr bwMode="auto">
          <a:xfrm>
            <a:off x="7589838" y="1668463"/>
            <a:ext cx="3657600" cy="36576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8" y="1570039"/>
            <a:ext cx="7146318" cy="3854448"/>
          </a:xfrm>
          <a:noFill/>
        </p:spPr>
        <p:txBody>
          <a:bodyPr tIns="91440" bIns="91440" anchor="ctr" anchorCtr="0"/>
          <a:lstStyle>
            <a:lvl1pPr>
              <a:defRPr sz="5999" spc="-100" baseline="0">
                <a:gradFill>
                  <a:gsLst>
                    <a:gs pos="100000">
                      <a:schemeClr val="tx1"/>
                    </a:gs>
                    <a:gs pos="0">
                      <a:schemeClr val="tx1"/>
                    </a:gs>
                  </a:gsLst>
                  <a:lin ang="5400000" scaled="0"/>
                </a:gradFill>
              </a:defRPr>
            </a:lvl1pPr>
          </a:lstStyle>
          <a:p>
            <a:r>
              <a:rPr lang="en-US" dirty="0"/>
              <a:t>Section title</a:t>
            </a:r>
          </a:p>
        </p:txBody>
      </p:sp>
      <p:pic>
        <p:nvPicPr>
          <p:cNvPr id="148" name="Picture 14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89643" y="1668762"/>
            <a:ext cx="3469562" cy="3469562"/>
          </a:xfrm>
          <a:prstGeom prst="rect">
            <a:avLst/>
          </a:prstGeom>
        </p:spPr>
      </p:pic>
    </p:spTree>
    <p:extLst>
      <p:ext uri="{BB962C8B-B14F-4D97-AF65-F5344CB8AC3E}">
        <p14:creationId xmlns:p14="http://schemas.microsoft.com/office/powerpoint/2010/main" val="2593456981"/>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1_Section Title">
    <p:bg>
      <p:bgPr>
        <a:solidFill>
          <a:schemeClr val="tx1"/>
        </a:solidFill>
        <a:effectLst/>
      </p:bgPr>
    </p:bg>
    <p:spTree>
      <p:nvGrpSpPr>
        <p:cNvPr id="1" name=""/>
        <p:cNvGrpSpPr/>
        <p:nvPr/>
      </p:nvGrpSpPr>
      <p:grpSpPr>
        <a:xfrm>
          <a:off x="0" y="0"/>
          <a:ext cx="0" cy="0"/>
          <a:chOff x="0" y="0"/>
          <a:chExt cx="0" cy="0"/>
        </a:xfrm>
      </p:grpSpPr>
      <p:sp>
        <p:nvSpPr>
          <p:cNvPr id="14" name="Oval 13"/>
          <p:cNvSpPr/>
          <p:nvPr/>
        </p:nvSpPr>
        <p:spPr bwMode="auto">
          <a:xfrm>
            <a:off x="7589838" y="1668463"/>
            <a:ext cx="3657600" cy="365760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8" y="1570039"/>
            <a:ext cx="7146318" cy="3854448"/>
          </a:xfrm>
          <a:noFill/>
        </p:spPr>
        <p:txBody>
          <a:bodyPr tIns="91440" bIns="91440" anchor="ctr" anchorCtr="0"/>
          <a:lstStyle>
            <a:lvl1pPr>
              <a:defRPr sz="5999" spc="-100" baseline="0">
                <a:solidFill>
                  <a:schemeClr val="bg2"/>
                </a:solidFill>
              </a:defRPr>
            </a:lvl1pPr>
          </a:lstStyle>
          <a:p>
            <a:r>
              <a:rPr lang="en-US" dirty="0"/>
              <a:t>Section title</a:t>
            </a: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85849" y="1668762"/>
            <a:ext cx="3465576" cy="3465576"/>
          </a:xfrm>
          <a:prstGeom prst="rect">
            <a:avLst/>
          </a:prstGeom>
        </p:spPr>
      </p:pic>
    </p:spTree>
    <p:extLst>
      <p:ext uri="{BB962C8B-B14F-4D97-AF65-F5344CB8AC3E}">
        <p14:creationId xmlns:p14="http://schemas.microsoft.com/office/powerpoint/2010/main" val="2776934981"/>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93689" y="1624013"/>
            <a:ext cx="11868150" cy="5073650"/>
          </a:xfrm>
        </p:spPr>
        <p:txBody>
          <a:bodyPr/>
          <a:lstStyle>
            <a:lvl1pPr marL="0" indent="0">
              <a:spcBef>
                <a:spcPts val="0"/>
              </a:spcBef>
              <a:spcAft>
                <a:spcPts val="800"/>
              </a:spcAft>
              <a:buNone/>
              <a:defRPr sz="2400">
                <a:solidFill>
                  <a:schemeClr val="tx2"/>
                </a:solidFill>
                <a:latin typeface="+mn-lt"/>
              </a:defRPr>
            </a:lvl1pPr>
            <a:lvl2pPr marL="0" indent="0">
              <a:spcBef>
                <a:spcPts val="0"/>
              </a:spcBef>
              <a:spcAft>
                <a:spcPts val="800"/>
              </a:spcAft>
              <a:buFontTx/>
              <a:buNone/>
              <a:defRPr sz="1800"/>
            </a:lvl2pPr>
            <a:lvl3pPr marL="228557" indent="0">
              <a:spcBef>
                <a:spcPts val="0"/>
              </a:spcBef>
              <a:spcAft>
                <a:spcPts val="800"/>
              </a:spcAft>
              <a:buNone/>
              <a:defRPr sz="1800"/>
            </a:lvl3pPr>
            <a:lvl4pPr marL="457112" indent="0">
              <a:spcBef>
                <a:spcPts val="0"/>
              </a:spcBef>
              <a:spcAft>
                <a:spcPts val="800"/>
              </a:spcAft>
              <a:buNone/>
              <a:defRPr sz="1800"/>
            </a:lvl4pPr>
            <a:lvl5pPr marL="685669" indent="0">
              <a:spcBef>
                <a:spcPts val="0"/>
              </a:spcBef>
              <a:spcAft>
                <a:spcPts val="800"/>
              </a:spcAft>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3122861"/>
      </p:ext>
    </p:extLst>
  </p:cSld>
  <p:clrMapOvr>
    <a:masterClrMapping/>
  </p:clrMapOvr>
  <p:transition>
    <p:fade/>
  </p:transition>
  <p:hf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99384" y="1624013"/>
            <a:ext cx="5486399" cy="5073650"/>
          </a:xfrm>
        </p:spPr>
        <p:txBody>
          <a:bodyPr wrap="square">
            <a:noAutofit/>
          </a:bodyPr>
          <a:lstStyle>
            <a:lvl1pPr marL="287282" indent="-287282">
              <a:spcBef>
                <a:spcPts val="1224"/>
              </a:spcBef>
              <a:buClr>
                <a:schemeClr val="tx1"/>
              </a:buClr>
              <a:buFont typeface="Arial" pitchFamily="34" charset="0"/>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59564" y="1624013"/>
            <a:ext cx="5486399" cy="5073650"/>
          </a:xfrm>
        </p:spPr>
        <p:txBody>
          <a:bodyPr wrap="square">
            <a:noAutofit/>
          </a:bodyPr>
          <a:lstStyle>
            <a:lvl1pPr marL="287282" indent="-287282">
              <a:spcBef>
                <a:spcPts val="1224"/>
              </a:spcBef>
              <a:buClr>
                <a:schemeClr val="tx1"/>
              </a:buClr>
              <a:buFont typeface="Arial" pitchFamily="34" charset="0"/>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9283688"/>
      </p:ext>
    </p:extLst>
  </p:cSld>
  <p:clrMapOvr>
    <a:masterClrMapping/>
  </p:clrMapOvr>
  <p:transition>
    <p:fade/>
  </p:transition>
  <p:hf hdr="0" ftr="0" dt="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2841262"/>
      </p:ext>
    </p:extLst>
  </p:cSld>
  <p:clrMapOvr>
    <a:masterClrMapping/>
  </p:clrMapOvr>
  <p:transition>
    <p:fade/>
  </p:transition>
  <p:hf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2625260"/>
      </p:ext>
    </p:extLst>
  </p:cSld>
  <p:clrMapOvr>
    <a:masterClrMapping/>
  </p:clrMapOvr>
  <p:transition>
    <p:fade/>
  </p:transition>
  <p:hf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Color blank">
    <p:bg>
      <p:bgPr>
        <a:solidFill>
          <a:srgbClr val="00BCF2"/>
        </a:solidFill>
        <a:effectLst/>
      </p:bgPr>
    </p:bg>
    <p:spTree>
      <p:nvGrpSpPr>
        <p:cNvPr id="1" name=""/>
        <p:cNvGrpSpPr/>
        <p:nvPr/>
      </p:nvGrpSpPr>
      <p:grpSpPr>
        <a:xfrm>
          <a:off x="0" y="0"/>
          <a:ext cx="0" cy="0"/>
          <a:chOff x="0" y="0"/>
          <a:chExt cx="0" cy="0"/>
        </a:xfrm>
      </p:grpSpPr>
      <p:grpSp>
        <p:nvGrpSpPr>
          <p:cNvPr id="22" name="Group 21"/>
          <p:cNvGrpSpPr/>
          <p:nvPr/>
        </p:nvGrpSpPr>
        <p:grpSpPr>
          <a:xfrm>
            <a:off x="12619037" y="19412"/>
            <a:ext cx="727074" cy="4161151"/>
            <a:chOff x="12912724" y="60725"/>
            <a:chExt cx="853436" cy="4884337"/>
          </a:xfrm>
        </p:grpSpPr>
        <p:grpSp>
          <p:nvGrpSpPr>
            <p:cNvPr id="23" name="Group 22"/>
            <p:cNvGrpSpPr/>
            <p:nvPr userDrawn="1"/>
          </p:nvGrpSpPr>
          <p:grpSpPr>
            <a:xfrm>
              <a:off x="12912724" y="595396"/>
              <a:ext cx="853436" cy="4349666"/>
              <a:chOff x="12619037" y="21669"/>
              <a:chExt cx="1440814" cy="7343325"/>
            </a:xfrm>
          </p:grpSpPr>
          <p:sp>
            <p:nvSpPr>
              <p:cNvPr id="25" name="Rectangle: Rounded Corners 24"/>
              <p:cNvSpPr/>
              <p:nvPr userDrawn="1"/>
            </p:nvSpPr>
            <p:spPr bwMode="auto">
              <a:xfrm rot="5400000">
                <a:off x="9667781" y="2972925"/>
                <a:ext cx="7343325" cy="1440814"/>
              </a:xfrm>
              <a:prstGeom prst="roundRect">
                <a:avLst>
                  <a:gd name="adj" fmla="val 50000"/>
                </a:avLst>
              </a:prstGeom>
              <a:solidFill>
                <a:srgbClr val="FFFFFF"/>
              </a:solidFill>
              <a:ln w="28575"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Oval 25"/>
              <p:cNvSpPr/>
              <p:nvPr userDrawn="1"/>
            </p:nvSpPr>
            <p:spPr bwMode="auto">
              <a:xfrm>
                <a:off x="12745094" y="2804501"/>
                <a:ext cx="1206527" cy="1206042"/>
              </a:xfrm>
              <a:prstGeom prst="ellipse">
                <a:avLst/>
              </a:prstGeom>
              <a:solidFill>
                <a:srgbClr val="0072C6"/>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3</a:t>
                </a:r>
              </a:p>
            </p:txBody>
          </p:sp>
          <p:sp>
            <p:nvSpPr>
              <p:cNvPr id="27" name="Oval 26"/>
              <p:cNvSpPr/>
              <p:nvPr userDrawn="1"/>
            </p:nvSpPr>
            <p:spPr bwMode="auto">
              <a:xfrm>
                <a:off x="12745094" y="1499525"/>
                <a:ext cx="1206527" cy="1206042"/>
              </a:xfrm>
              <a:prstGeom prst="ellipse">
                <a:avLst/>
              </a:prstGeom>
              <a:solidFill>
                <a:srgbClr val="BAD80A"/>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2</a:t>
                </a:r>
              </a:p>
            </p:txBody>
          </p:sp>
          <p:sp>
            <p:nvSpPr>
              <p:cNvPr id="28" name="Oval 27"/>
              <p:cNvSpPr/>
              <p:nvPr userDrawn="1"/>
            </p:nvSpPr>
            <p:spPr bwMode="auto">
              <a:xfrm>
                <a:off x="12745094" y="194549"/>
                <a:ext cx="1206527" cy="1206042"/>
              </a:xfrm>
              <a:prstGeom prst="ellipse">
                <a:avLst/>
              </a:prstGeom>
              <a:solidFill>
                <a:srgbClr val="00BCF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1</a:t>
                </a:r>
              </a:p>
            </p:txBody>
          </p:sp>
          <p:sp>
            <p:nvSpPr>
              <p:cNvPr id="29" name="Oval 28"/>
              <p:cNvSpPr/>
              <p:nvPr userDrawn="1"/>
            </p:nvSpPr>
            <p:spPr bwMode="auto">
              <a:xfrm>
                <a:off x="12880492" y="6179816"/>
                <a:ext cx="935733" cy="935357"/>
              </a:xfrm>
              <a:prstGeom prst="ellipse">
                <a:avLst/>
              </a:prstGeom>
              <a:solidFill>
                <a:srgbClr val="FFD800"/>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6</a:t>
                </a:r>
              </a:p>
            </p:txBody>
          </p:sp>
          <p:sp>
            <p:nvSpPr>
              <p:cNvPr id="30" name="Oval 29"/>
              <p:cNvSpPr/>
              <p:nvPr userDrawn="1"/>
            </p:nvSpPr>
            <p:spPr bwMode="auto">
              <a:xfrm>
                <a:off x="12880492" y="5148257"/>
                <a:ext cx="935733" cy="935357"/>
              </a:xfrm>
              <a:prstGeom prst="ellipse">
                <a:avLst/>
              </a:prstGeom>
              <a:solidFill>
                <a:srgbClr val="00B294"/>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5</a:t>
                </a:r>
              </a:p>
            </p:txBody>
          </p:sp>
          <p:sp>
            <p:nvSpPr>
              <p:cNvPr id="31" name="Oval 30"/>
              <p:cNvSpPr/>
              <p:nvPr userDrawn="1"/>
            </p:nvSpPr>
            <p:spPr bwMode="auto">
              <a:xfrm>
                <a:off x="12880492" y="4109425"/>
                <a:ext cx="935733" cy="935357"/>
              </a:xfrm>
              <a:prstGeom prst="ellipse">
                <a:avLst/>
              </a:prstGeom>
              <a:solidFill>
                <a:srgbClr val="FFB900"/>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4</a:t>
                </a:r>
              </a:p>
            </p:txBody>
          </p:sp>
        </p:grpSp>
        <p:sp>
          <p:nvSpPr>
            <p:cNvPr id="24" name="TextBox 23"/>
            <p:cNvSpPr txBox="1"/>
            <p:nvPr userDrawn="1"/>
          </p:nvSpPr>
          <p:spPr>
            <a:xfrm>
              <a:off x="12912724" y="60725"/>
              <a:ext cx="853436" cy="397628"/>
            </a:xfrm>
            <a:prstGeom prst="rect">
              <a:avLst/>
            </a:prstGeom>
            <a:noFill/>
          </p:spPr>
          <p:txBody>
            <a:bodyPr wrap="square" lIns="0" tIns="0" rIns="0" bIns="0" rtlCol="0" anchor="ctr">
              <a:spAutoFit/>
            </a:bodyPr>
            <a:lstStyle/>
            <a:p>
              <a:pPr marL="0" marR="0" lvl="0" indent="0" algn="ctr" defTabSz="914224" eaLnBrk="1" fontAlgn="auto" latinLnBrk="0" hangingPunct="1">
                <a:lnSpc>
                  <a:spcPct val="90000"/>
                </a:lnSpc>
                <a:spcBef>
                  <a:spcPts val="0"/>
                </a:spcBef>
                <a:spcAft>
                  <a:spcPts val="600"/>
                </a:spcAft>
                <a:buClrTx/>
                <a:buSzTx/>
                <a:buFontTx/>
                <a:buNone/>
                <a:tabLst/>
                <a:defRPr/>
              </a:pPr>
              <a:r>
                <a:rPr kumimoji="0" lang="en-US" sz="1199"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Semibold" panose="020B0702040204020203" pitchFamily="34" charset="0"/>
                  <a:cs typeface="Segoe UI Semibold" panose="020B0702040204020203" pitchFamily="34" charset="0"/>
                </a:rPr>
                <a:t>Color </a:t>
              </a:r>
              <a:br>
                <a:rPr kumimoji="0" lang="en-US" sz="1199"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Semibold" panose="020B0702040204020203" pitchFamily="34" charset="0"/>
                  <a:cs typeface="Segoe UI Semibold" panose="020B0702040204020203" pitchFamily="34" charset="0"/>
                </a:rPr>
              </a:br>
              <a:r>
                <a:rPr kumimoji="0" lang="en-US" sz="1199"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Semibold" panose="020B0702040204020203" pitchFamily="34" charset="0"/>
                  <a:cs typeface="Segoe UI Semibold" panose="020B0702040204020203" pitchFamily="34" charset="0"/>
                </a:rPr>
                <a:t>scheme</a:t>
              </a:r>
            </a:p>
          </p:txBody>
        </p:sp>
      </p:grpSp>
    </p:spTree>
    <p:extLst>
      <p:ext uri="{BB962C8B-B14F-4D97-AF65-F5344CB8AC3E}">
        <p14:creationId xmlns:p14="http://schemas.microsoft.com/office/powerpoint/2010/main" val="2005631500"/>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8229600" cy="1181862"/>
          </a:xfrm>
          <a:noFill/>
        </p:spPr>
        <p:txBody>
          <a:bodyPr wrap="square"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Microsoft sign off">
    <p:bg>
      <p:bgPr>
        <a:solidFill>
          <a:srgbClr val="00BCF2"/>
        </a:solidFill>
        <a:effectLst/>
      </p:bgPr>
    </p:bg>
    <p:spTree>
      <p:nvGrpSpPr>
        <p:cNvPr id="1" name=""/>
        <p:cNvGrpSpPr/>
        <p:nvPr/>
      </p:nvGrpSpPr>
      <p:grpSpPr>
        <a:xfrm>
          <a:off x="0" y="0"/>
          <a:ext cx="0" cy="0"/>
          <a:chOff x="0" y="0"/>
          <a:chExt cx="0" cy="0"/>
        </a:xfrm>
      </p:grpSpPr>
      <p:grpSp>
        <p:nvGrpSpPr>
          <p:cNvPr id="22" name="Group 21"/>
          <p:cNvGrpSpPr/>
          <p:nvPr/>
        </p:nvGrpSpPr>
        <p:grpSpPr>
          <a:xfrm>
            <a:off x="12619037" y="19412"/>
            <a:ext cx="727074" cy="4161151"/>
            <a:chOff x="12912724" y="60725"/>
            <a:chExt cx="853436" cy="4884337"/>
          </a:xfrm>
        </p:grpSpPr>
        <p:grpSp>
          <p:nvGrpSpPr>
            <p:cNvPr id="23" name="Group 22"/>
            <p:cNvGrpSpPr/>
            <p:nvPr userDrawn="1"/>
          </p:nvGrpSpPr>
          <p:grpSpPr>
            <a:xfrm>
              <a:off x="12912724" y="595396"/>
              <a:ext cx="853436" cy="4349666"/>
              <a:chOff x="12619037" y="21669"/>
              <a:chExt cx="1440814" cy="7343325"/>
            </a:xfrm>
          </p:grpSpPr>
          <p:sp>
            <p:nvSpPr>
              <p:cNvPr id="25" name="Rectangle: Rounded Corners 24"/>
              <p:cNvSpPr/>
              <p:nvPr userDrawn="1"/>
            </p:nvSpPr>
            <p:spPr bwMode="auto">
              <a:xfrm rot="5400000">
                <a:off x="9667781" y="2972925"/>
                <a:ext cx="7343325" cy="1440814"/>
              </a:xfrm>
              <a:prstGeom prst="roundRect">
                <a:avLst>
                  <a:gd name="adj" fmla="val 50000"/>
                </a:avLst>
              </a:prstGeom>
              <a:solidFill>
                <a:srgbClr val="FFFFFF"/>
              </a:solidFill>
              <a:ln w="28575"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Oval 25"/>
              <p:cNvSpPr/>
              <p:nvPr userDrawn="1"/>
            </p:nvSpPr>
            <p:spPr bwMode="auto">
              <a:xfrm>
                <a:off x="12745094" y="2804501"/>
                <a:ext cx="1206527" cy="1206042"/>
              </a:xfrm>
              <a:prstGeom prst="ellipse">
                <a:avLst/>
              </a:prstGeom>
              <a:solidFill>
                <a:srgbClr val="0072C6"/>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3</a:t>
                </a:r>
              </a:p>
            </p:txBody>
          </p:sp>
          <p:sp>
            <p:nvSpPr>
              <p:cNvPr id="27" name="Oval 26"/>
              <p:cNvSpPr/>
              <p:nvPr userDrawn="1"/>
            </p:nvSpPr>
            <p:spPr bwMode="auto">
              <a:xfrm>
                <a:off x="12745094" y="1499525"/>
                <a:ext cx="1206527" cy="1206042"/>
              </a:xfrm>
              <a:prstGeom prst="ellipse">
                <a:avLst/>
              </a:prstGeom>
              <a:solidFill>
                <a:srgbClr val="BAD80A"/>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2</a:t>
                </a:r>
              </a:p>
            </p:txBody>
          </p:sp>
          <p:sp>
            <p:nvSpPr>
              <p:cNvPr id="28" name="Oval 27"/>
              <p:cNvSpPr/>
              <p:nvPr userDrawn="1"/>
            </p:nvSpPr>
            <p:spPr bwMode="auto">
              <a:xfrm>
                <a:off x="12745094" y="194549"/>
                <a:ext cx="1206527" cy="1206042"/>
              </a:xfrm>
              <a:prstGeom prst="ellipse">
                <a:avLst/>
              </a:prstGeom>
              <a:solidFill>
                <a:srgbClr val="00BCF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1</a:t>
                </a:r>
              </a:p>
            </p:txBody>
          </p:sp>
          <p:sp>
            <p:nvSpPr>
              <p:cNvPr id="29" name="Oval 28"/>
              <p:cNvSpPr/>
              <p:nvPr userDrawn="1"/>
            </p:nvSpPr>
            <p:spPr bwMode="auto">
              <a:xfrm>
                <a:off x="12880492" y="6179816"/>
                <a:ext cx="935733" cy="935357"/>
              </a:xfrm>
              <a:prstGeom prst="ellipse">
                <a:avLst/>
              </a:prstGeom>
              <a:solidFill>
                <a:srgbClr val="FFD800"/>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6</a:t>
                </a:r>
              </a:p>
            </p:txBody>
          </p:sp>
          <p:sp>
            <p:nvSpPr>
              <p:cNvPr id="30" name="Oval 29"/>
              <p:cNvSpPr/>
              <p:nvPr userDrawn="1"/>
            </p:nvSpPr>
            <p:spPr bwMode="auto">
              <a:xfrm>
                <a:off x="12880492" y="5148257"/>
                <a:ext cx="935733" cy="935357"/>
              </a:xfrm>
              <a:prstGeom prst="ellipse">
                <a:avLst/>
              </a:prstGeom>
              <a:solidFill>
                <a:srgbClr val="00B294"/>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5</a:t>
                </a:r>
              </a:p>
            </p:txBody>
          </p:sp>
          <p:sp>
            <p:nvSpPr>
              <p:cNvPr id="31" name="Oval 30"/>
              <p:cNvSpPr/>
              <p:nvPr userDrawn="1"/>
            </p:nvSpPr>
            <p:spPr bwMode="auto">
              <a:xfrm>
                <a:off x="12880492" y="4109425"/>
                <a:ext cx="935733" cy="935357"/>
              </a:xfrm>
              <a:prstGeom prst="ellipse">
                <a:avLst/>
              </a:prstGeom>
              <a:solidFill>
                <a:srgbClr val="FFB900"/>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4</a:t>
                </a:r>
              </a:p>
            </p:txBody>
          </p:sp>
        </p:grpSp>
        <p:sp>
          <p:nvSpPr>
            <p:cNvPr id="24" name="TextBox 23"/>
            <p:cNvSpPr txBox="1"/>
            <p:nvPr userDrawn="1"/>
          </p:nvSpPr>
          <p:spPr>
            <a:xfrm>
              <a:off x="12912724" y="60725"/>
              <a:ext cx="853436" cy="397628"/>
            </a:xfrm>
            <a:prstGeom prst="rect">
              <a:avLst/>
            </a:prstGeom>
            <a:noFill/>
          </p:spPr>
          <p:txBody>
            <a:bodyPr wrap="square" lIns="0" tIns="0" rIns="0" bIns="0" rtlCol="0" anchor="ctr">
              <a:spAutoFit/>
            </a:bodyPr>
            <a:lstStyle/>
            <a:p>
              <a:pPr marL="0" marR="0" lvl="0" indent="0" algn="ctr" defTabSz="914224" eaLnBrk="1" fontAlgn="auto" latinLnBrk="0" hangingPunct="1">
                <a:lnSpc>
                  <a:spcPct val="90000"/>
                </a:lnSpc>
                <a:spcBef>
                  <a:spcPts val="0"/>
                </a:spcBef>
                <a:spcAft>
                  <a:spcPts val="600"/>
                </a:spcAft>
                <a:buClrTx/>
                <a:buSzTx/>
                <a:buFontTx/>
                <a:buNone/>
                <a:tabLst/>
                <a:defRPr/>
              </a:pPr>
              <a:r>
                <a:rPr kumimoji="0" lang="en-US" sz="1199"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Semibold" panose="020B0702040204020203" pitchFamily="34" charset="0"/>
                  <a:cs typeface="Segoe UI Semibold" panose="020B0702040204020203" pitchFamily="34" charset="0"/>
                </a:rPr>
                <a:t>Color </a:t>
              </a:r>
              <a:br>
                <a:rPr kumimoji="0" lang="en-US" sz="1199"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Semibold" panose="020B0702040204020203" pitchFamily="34" charset="0"/>
                  <a:cs typeface="Segoe UI Semibold" panose="020B0702040204020203" pitchFamily="34" charset="0"/>
                </a:rPr>
              </a:br>
              <a:r>
                <a:rPr kumimoji="0" lang="en-US" sz="1199"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Semibold" panose="020B0702040204020203" pitchFamily="34" charset="0"/>
                  <a:cs typeface="Segoe UI Semibold" panose="020B0702040204020203" pitchFamily="34" charset="0"/>
                </a:rPr>
                <a:t>scheme</a:t>
              </a:r>
            </a:p>
          </p:txBody>
        </p:sp>
      </p:grpSp>
      <p:sp>
        <p:nvSpPr>
          <p:cNvPr id="12" name="Text Box 3"/>
          <p:cNvSpPr txBox="1">
            <a:spLocks noChangeArrowheads="1"/>
          </p:cNvSpPr>
          <p:nvPr/>
        </p:nvSpPr>
        <p:spPr bwMode="blackWhite">
          <a:xfrm>
            <a:off x="273051" y="6079033"/>
            <a:ext cx="10974388" cy="625023"/>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Microsoft, Windows, Windows Vista and other product names are or may be registered trademarks and / or trademarks in the U.S. and / or other countries.</a:t>
            </a:r>
          </a:p>
          <a:p>
            <a:pPr defTabSz="932111"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3035056499"/>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1_Microsoft sign off">
    <p:bg>
      <p:bgPr>
        <a:solidFill>
          <a:schemeClr val="tx1"/>
        </a:solidFill>
        <a:effectLst/>
      </p:bgPr>
    </p:bg>
    <p:spTree>
      <p:nvGrpSpPr>
        <p:cNvPr id="1" name=""/>
        <p:cNvGrpSpPr/>
        <p:nvPr/>
      </p:nvGrpSpPr>
      <p:grpSpPr>
        <a:xfrm>
          <a:off x="0" y="0"/>
          <a:ext cx="0" cy="0"/>
          <a:chOff x="0" y="0"/>
          <a:chExt cx="0" cy="0"/>
        </a:xfrm>
      </p:grpSpPr>
      <p:grpSp>
        <p:nvGrpSpPr>
          <p:cNvPr id="22" name="Group 21"/>
          <p:cNvGrpSpPr/>
          <p:nvPr/>
        </p:nvGrpSpPr>
        <p:grpSpPr>
          <a:xfrm>
            <a:off x="12619037" y="19412"/>
            <a:ext cx="727074" cy="4161151"/>
            <a:chOff x="12912724" y="60725"/>
            <a:chExt cx="853436" cy="4884337"/>
          </a:xfrm>
        </p:grpSpPr>
        <p:grpSp>
          <p:nvGrpSpPr>
            <p:cNvPr id="23" name="Group 22"/>
            <p:cNvGrpSpPr/>
            <p:nvPr userDrawn="1"/>
          </p:nvGrpSpPr>
          <p:grpSpPr>
            <a:xfrm>
              <a:off x="12912724" y="595396"/>
              <a:ext cx="853436" cy="4349666"/>
              <a:chOff x="12619037" y="21669"/>
              <a:chExt cx="1440814" cy="7343325"/>
            </a:xfrm>
          </p:grpSpPr>
          <p:sp>
            <p:nvSpPr>
              <p:cNvPr id="25" name="Rectangle: Rounded Corners 24"/>
              <p:cNvSpPr/>
              <p:nvPr userDrawn="1"/>
            </p:nvSpPr>
            <p:spPr bwMode="auto">
              <a:xfrm rot="5400000">
                <a:off x="9667781" y="2972925"/>
                <a:ext cx="7343325" cy="1440814"/>
              </a:xfrm>
              <a:prstGeom prst="roundRect">
                <a:avLst>
                  <a:gd name="adj" fmla="val 50000"/>
                </a:avLst>
              </a:prstGeom>
              <a:solidFill>
                <a:srgbClr val="FFFFFF"/>
              </a:solidFill>
              <a:ln w="28575"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Oval 25"/>
              <p:cNvSpPr/>
              <p:nvPr userDrawn="1"/>
            </p:nvSpPr>
            <p:spPr bwMode="auto">
              <a:xfrm>
                <a:off x="12745094" y="2804501"/>
                <a:ext cx="1206527" cy="1206042"/>
              </a:xfrm>
              <a:prstGeom prst="ellipse">
                <a:avLst/>
              </a:prstGeom>
              <a:solidFill>
                <a:srgbClr val="0072C6"/>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3</a:t>
                </a:r>
              </a:p>
            </p:txBody>
          </p:sp>
          <p:sp>
            <p:nvSpPr>
              <p:cNvPr id="27" name="Oval 26"/>
              <p:cNvSpPr/>
              <p:nvPr userDrawn="1"/>
            </p:nvSpPr>
            <p:spPr bwMode="auto">
              <a:xfrm>
                <a:off x="12745094" y="1499525"/>
                <a:ext cx="1206527" cy="1206042"/>
              </a:xfrm>
              <a:prstGeom prst="ellipse">
                <a:avLst/>
              </a:prstGeom>
              <a:solidFill>
                <a:srgbClr val="BAD80A"/>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2</a:t>
                </a:r>
              </a:p>
            </p:txBody>
          </p:sp>
          <p:sp>
            <p:nvSpPr>
              <p:cNvPr id="28" name="Oval 27"/>
              <p:cNvSpPr/>
              <p:nvPr userDrawn="1"/>
            </p:nvSpPr>
            <p:spPr bwMode="auto">
              <a:xfrm>
                <a:off x="12745094" y="194549"/>
                <a:ext cx="1206527" cy="1206042"/>
              </a:xfrm>
              <a:prstGeom prst="ellipse">
                <a:avLst/>
              </a:prstGeom>
              <a:solidFill>
                <a:srgbClr val="00BCF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1</a:t>
                </a:r>
              </a:p>
            </p:txBody>
          </p:sp>
          <p:sp>
            <p:nvSpPr>
              <p:cNvPr id="29" name="Oval 28"/>
              <p:cNvSpPr/>
              <p:nvPr userDrawn="1"/>
            </p:nvSpPr>
            <p:spPr bwMode="auto">
              <a:xfrm>
                <a:off x="12880492" y="6179816"/>
                <a:ext cx="935733" cy="935357"/>
              </a:xfrm>
              <a:prstGeom prst="ellipse">
                <a:avLst/>
              </a:prstGeom>
              <a:solidFill>
                <a:srgbClr val="FFD800"/>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6</a:t>
                </a:r>
              </a:p>
            </p:txBody>
          </p:sp>
          <p:sp>
            <p:nvSpPr>
              <p:cNvPr id="30" name="Oval 29"/>
              <p:cNvSpPr/>
              <p:nvPr userDrawn="1"/>
            </p:nvSpPr>
            <p:spPr bwMode="auto">
              <a:xfrm>
                <a:off x="12880492" y="5148257"/>
                <a:ext cx="935733" cy="935357"/>
              </a:xfrm>
              <a:prstGeom prst="ellipse">
                <a:avLst/>
              </a:prstGeom>
              <a:solidFill>
                <a:srgbClr val="00B294"/>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5</a:t>
                </a:r>
              </a:p>
            </p:txBody>
          </p:sp>
          <p:sp>
            <p:nvSpPr>
              <p:cNvPr id="31" name="Oval 30"/>
              <p:cNvSpPr/>
              <p:nvPr userDrawn="1"/>
            </p:nvSpPr>
            <p:spPr bwMode="auto">
              <a:xfrm>
                <a:off x="12880492" y="4109425"/>
                <a:ext cx="935733" cy="935357"/>
              </a:xfrm>
              <a:prstGeom prst="ellipse">
                <a:avLst/>
              </a:prstGeom>
              <a:solidFill>
                <a:srgbClr val="FFB900"/>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4</a:t>
                </a:r>
              </a:p>
            </p:txBody>
          </p:sp>
        </p:grpSp>
        <p:sp>
          <p:nvSpPr>
            <p:cNvPr id="24" name="TextBox 23"/>
            <p:cNvSpPr txBox="1"/>
            <p:nvPr userDrawn="1"/>
          </p:nvSpPr>
          <p:spPr>
            <a:xfrm>
              <a:off x="12912724" y="60725"/>
              <a:ext cx="853436" cy="397628"/>
            </a:xfrm>
            <a:prstGeom prst="rect">
              <a:avLst/>
            </a:prstGeom>
            <a:noFill/>
          </p:spPr>
          <p:txBody>
            <a:bodyPr wrap="square" lIns="0" tIns="0" rIns="0" bIns="0" rtlCol="0" anchor="ctr">
              <a:spAutoFit/>
            </a:bodyPr>
            <a:lstStyle/>
            <a:p>
              <a:pPr marL="0" marR="0" lvl="0" indent="0" algn="ctr" defTabSz="914224" eaLnBrk="1" fontAlgn="auto" latinLnBrk="0" hangingPunct="1">
                <a:lnSpc>
                  <a:spcPct val="90000"/>
                </a:lnSpc>
                <a:spcBef>
                  <a:spcPts val="0"/>
                </a:spcBef>
                <a:spcAft>
                  <a:spcPts val="600"/>
                </a:spcAft>
                <a:buClrTx/>
                <a:buSzTx/>
                <a:buFontTx/>
                <a:buNone/>
                <a:tabLst/>
                <a:defRPr/>
              </a:pPr>
              <a:r>
                <a:rPr kumimoji="0" lang="en-US" sz="1199"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Semibold" panose="020B0702040204020203" pitchFamily="34" charset="0"/>
                  <a:cs typeface="Segoe UI Semibold" panose="020B0702040204020203" pitchFamily="34" charset="0"/>
                </a:rPr>
                <a:t>Color </a:t>
              </a:r>
              <a:br>
                <a:rPr kumimoji="0" lang="en-US" sz="1199"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Semibold" panose="020B0702040204020203" pitchFamily="34" charset="0"/>
                  <a:cs typeface="Segoe UI Semibold" panose="020B0702040204020203" pitchFamily="34" charset="0"/>
                </a:rPr>
              </a:br>
              <a:r>
                <a:rPr kumimoji="0" lang="en-US" sz="1199"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Semibold" panose="020B0702040204020203" pitchFamily="34" charset="0"/>
                  <a:cs typeface="Segoe UI Semibold" panose="020B0702040204020203" pitchFamily="34" charset="0"/>
                </a:rPr>
                <a:t>scheme</a:t>
              </a:r>
            </a:p>
          </p:txBody>
        </p:sp>
      </p:grpSp>
      <p:sp>
        <p:nvSpPr>
          <p:cNvPr id="12" name="Text Box 3"/>
          <p:cNvSpPr txBox="1">
            <a:spLocks noChangeArrowheads="1"/>
          </p:cNvSpPr>
          <p:nvPr/>
        </p:nvSpPr>
        <p:spPr bwMode="blackWhite">
          <a:xfrm>
            <a:off x="273051" y="6079033"/>
            <a:ext cx="10974388" cy="625023"/>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solidFill>
                  <a:schemeClr val="bg1">
                    <a:lumMod val="40000"/>
                    <a:lumOff val="60000"/>
                  </a:schemeClr>
                </a:solidFill>
                <a:cs typeface="Segoe UI" pitchFamily="34" charset="0"/>
              </a:rPr>
              <a:t>© 2016 Microsoft Corporation. All rights reserved. Microsoft, Windows, Windows Vista and other product names are or may be registered trademarks and / or trademarks in the U.S. and / or other countries.</a:t>
            </a:r>
          </a:p>
          <a:p>
            <a:pPr defTabSz="932111" eaLnBrk="0" hangingPunct="0"/>
            <a:r>
              <a:rPr lang="en-US" sz="700" dirty="0">
                <a:solidFill>
                  <a:schemeClr val="bg1">
                    <a:lumMod val="40000"/>
                    <a:lumOff val="60000"/>
                  </a:schemeClr>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15" name="Picture 1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9231" y="3145041"/>
            <a:ext cx="3299510" cy="704445"/>
          </a:xfrm>
          <a:prstGeom prst="rect">
            <a:avLst/>
          </a:prstGeom>
        </p:spPr>
      </p:pic>
    </p:spTree>
    <p:extLst>
      <p:ext uri="{BB962C8B-B14F-4D97-AF65-F5344CB8AC3E}">
        <p14:creationId xmlns:p14="http://schemas.microsoft.com/office/powerpoint/2010/main" val="153479333"/>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6751629"/>
      </p:ext>
    </p:extLst>
  </p:cSld>
  <p:clrMapOvr>
    <a:masterClrMapping/>
  </p:clrMapOvr>
  <p:transition>
    <p:fade/>
  </p:transition>
  <p:hf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ltGray">
          <a:xfrm>
            <a:off x="274703" y="677862"/>
            <a:ext cx="6857935" cy="1830538"/>
          </a:xfrm>
          <a:noFill/>
        </p:spPr>
        <p:txBody>
          <a:bodyPr lIns="146304" tIns="91440" rIns="146304" bIns="91440" anchor="b" anchorCtr="0"/>
          <a:lstStyle>
            <a:lvl1pPr>
              <a:defRPr sz="5999"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74703" y="2511576"/>
            <a:ext cx="6857935" cy="1825625"/>
          </a:xfrm>
        </p:spPr>
        <p:txBody>
          <a:bodyPr tIns="109728" bIns="109728">
            <a:noAutofit/>
          </a:bodyPr>
          <a:lstStyle>
            <a:lvl1pPr marL="0" indent="0">
              <a:spcBef>
                <a:spcPts val="0"/>
              </a:spcBef>
              <a:buNone/>
              <a:defRPr sz="3199"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3810" y="5612010"/>
            <a:ext cx="2599604" cy="1165327"/>
          </a:xfrm>
          <a:prstGeom prst="rect">
            <a:avLst/>
          </a:prstGeom>
        </p:spPr>
      </p:pic>
      <p:pic>
        <p:nvPicPr>
          <p:cNvPr id="399" name="Picture 39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27881" y="1034781"/>
            <a:ext cx="4788438" cy="4788438"/>
          </a:xfrm>
          <a:prstGeom prst="rect">
            <a:avLst/>
          </a:prstGeom>
        </p:spPr>
      </p:pic>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3810" y="5612010"/>
            <a:ext cx="2599604" cy="1165327"/>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627881" y="1034781"/>
            <a:ext cx="4788438" cy="4788438"/>
          </a:xfrm>
          <a:prstGeom prst="rect">
            <a:avLst/>
          </a:prstGeom>
        </p:spPr>
      </p:pic>
    </p:spTree>
    <p:extLst>
      <p:ext uri="{BB962C8B-B14F-4D97-AF65-F5344CB8AC3E}">
        <p14:creationId xmlns:p14="http://schemas.microsoft.com/office/powerpoint/2010/main" val="18598350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7891" y="6004173"/>
            <a:ext cx="1820563" cy="388690"/>
          </a:xfrm>
          <a:prstGeom prst="rect">
            <a:avLst/>
          </a:prstGeom>
        </p:spPr>
      </p:pic>
      <p:pic>
        <p:nvPicPr>
          <p:cNvPr id="16" name="Picture 1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27881" y="1034781"/>
            <a:ext cx="4788438" cy="4788438"/>
          </a:xfrm>
          <a:prstGeom prst="rect">
            <a:avLst/>
          </a:prstGeom>
        </p:spPr>
      </p:pic>
      <p:sp>
        <p:nvSpPr>
          <p:cNvPr id="9" name="Title 1"/>
          <p:cNvSpPr>
            <a:spLocks noGrp="1"/>
          </p:cNvSpPr>
          <p:nvPr>
            <p:ph type="title" hasCustomPrompt="1"/>
          </p:nvPr>
        </p:nvSpPr>
        <p:spPr bwMode="ltGray">
          <a:xfrm>
            <a:off x="274703" y="677862"/>
            <a:ext cx="6857935" cy="1830538"/>
          </a:xfrm>
          <a:noFill/>
        </p:spPr>
        <p:txBody>
          <a:bodyPr lIns="146304" tIns="91440" rIns="146304" bIns="91440" anchor="b" anchorCtr="0"/>
          <a:lstStyle>
            <a:lvl1pPr>
              <a:defRPr sz="5999" spc="-100" baseline="0">
                <a:solidFill>
                  <a:schemeClr val="tx2"/>
                </a:solidFill>
              </a:defRPr>
            </a:lvl1pPr>
          </a:lstStyle>
          <a:p>
            <a:r>
              <a:rPr lang="en-US" dirty="0"/>
              <a:t>Presentation title</a:t>
            </a:r>
          </a:p>
        </p:txBody>
      </p:sp>
      <p:sp>
        <p:nvSpPr>
          <p:cNvPr id="3" name="Text Placeholder 2"/>
          <p:cNvSpPr>
            <a:spLocks noGrp="1"/>
          </p:cNvSpPr>
          <p:nvPr>
            <p:ph type="body" sz="quarter" idx="14" hasCustomPrompt="1"/>
          </p:nvPr>
        </p:nvSpPr>
        <p:spPr bwMode="ltGray">
          <a:xfrm>
            <a:off x="274703" y="2511576"/>
            <a:ext cx="6857935" cy="1825625"/>
          </a:xfrm>
        </p:spPr>
        <p:txBody>
          <a:bodyPr tIns="109728" bIns="109728">
            <a:noAutofit/>
          </a:bodyPr>
          <a:lstStyle>
            <a:lvl1pPr marL="0" indent="0">
              <a:spcBef>
                <a:spcPts val="0"/>
              </a:spcBef>
              <a:buNone/>
              <a:defRPr sz="3199" baseline="0">
                <a:solidFill>
                  <a:schemeClr val="tx2"/>
                </a:solidFill>
              </a:defRPr>
            </a:lvl1pPr>
          </a:lstStyle>
          <a:p>
            <a:pPr lvl="0"/>
            <a:r>
              <a:rPr lang="en-US" dirty="0"/>
              <a:t>Speaker Name</a:t>
            </a:r>
          </a:p>
        </p:txBody>
      </p:sp>
    </p:spTree>
    <p:extLst>
      <p:ext uri="{BB962C8B-B14F-4D97-AF65-F5344CB8AC3E}">
        <p14:creationId xmlns:p14="http://schemas.microsoft.com/office/powerpoint/2010/main" val="7341145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hdr="0" ftr="0" dt="0"/>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rgbClr val="00BCF2"/>
        </a:solidFill>
        <a:effectLst/>
      </p:bgPr>
    </p:bg>
    <p:spTree>
      <p:nvGrpSpPr>
        <p:cNvPr id="1" name=""/>
        <p:cNvGrpSpPr/>
        <p:nvPr/>
      </p:nvGrpSpPr>
      <p:grpSpPr>
        <a:xfrm>
          <a:off x="0" y="0"/>
          <a:ext cx="0" cy="0"/>
          <a:chOff x="0" y="0"/>
          <a:chExt cx="0" cy="0"/>
        </a:xfrm>
      </p:grpSpPr>
      <p:sp>
        <p:nvSpPr>
          <p:cNvPr id="14" name="Oval 13"/>
          <p:cNvSpPr/>
          <p:nvPr/>
        </p:nvSpPr>
        <p:spPr bwMode="auto">
          <a:xfrm>
            <a:off x="7589838" y="1668463"/>
            <a:ext cx="3657600" cy="36576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8" y="1570039"/>
            <a:ext cx="7146318" cy="3854448"/>
          </a:xfrm>
          <a:noFill/>
        </p:spPr>
        <p:txBody>
          <a:bodyPr tIns="91440" bIns="91440" anchor="ctr" anchorCtr="0"/>
          <a:lstStyle>
            <a:lvl1pPr>
              <a:defRPr sz="5999" spc="-100" baseline="0">
                <a:gradFill>
                  <a:gsLst>
                    <a:gs pos="100000">
                      <a:schemeClr val="tx1"/>
                    </a:gs>
                    <a:gs pos="0">
                      <a:schemeClr val="tx1"/>
                    </a:gs>
                  </a:gsLst>
                  <a:lin ang="5400000" scaled="0"/>
                </a:gradFill>
              </a:defRPr>
            </a:lvl1pPr>
          </a:lstStyle>
          <a:p>
            <a:r>
              <a:rPr lang="en-US" dirty="0"/>
              <a:t>Section title</a:t>
            </a:r>
          </a:p>
        </p:txBody>
      </p:sp>
      <p:pic>
        <p:nvPicPr>
          <p:cNvPr id="148" name="Picture 14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89643" y="1668762"/>
            <a:ext cx="3469562" cy="3469562"/>
          </a:xfrm>
          <a:prstGeom prst="rect">
            <a:avLst/>
          </a:prstGeom>
        </p:spPr>
      </p:pic>
    </p:spTree>
    <p:extLst>
      <p:ext uri="{BB962C8B-B14F-4D97-AF65-F5344CB8AC3E}">
        <p14:creationId xmlns:p14="http://schemas.microsoft.com/office/powerpoint/2010/main" val="1971322068"/>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1_Section Title">
    <p:bg>
      <p:bgPr>
        <a:solidFill>
          <a:schemeClr val="tx1"/>
        </a:solidFill>
        <a:effectLst/>
      </p:bgPr>
    </p:bg>
    <p:spTree>
      <p:nvGrpSpPr>
        <p:cNvPr id="1" name=""/>
        <p:cNvGrpSpPr/>
        <p:nvPr/>
      </p:nvGrpSpPr>
      <p:grpSpPr>
        <a:xfrm>
          <a:off x="0" y="0"/>
          <a:ext cx="0" cy="0"/>
          <a:chOff x="0" y="0"/>
          <a:chExt cx="0" cy="0"/>
        </a:xfrm>
      </p:grpSpPr>
      <p:sp>
        <p:nvSpPr>
          <p:cNvPr id="14" name="Oval 13"/>
          <p:cNvSpPr/>
          <p:nvPr/>
        </p:nvSpPr>
        <p:spPr bwMode="auto">
          <a:xfrm>
            <a:off x="7589838" y="1668463"/>
            <a:ext cx="3657600" cy="365760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8" y="1570039"/>
            <a:ext cx="7146318" cy="3854448"/>
          </a:xfrm>
          <a:noFill/>
        </p:spPr>
        <p:txBody>
          <a:bodyPr tIns="91440" bIns="91440" anchor="ctr" anchorCtr="0"/>
          <a:lstStyle>
            <a:lvl1pPr>
              <a:defRPr sz="5999" spc="-100" baseline="0">
                <a:solidFill>
                  <a:schemeClr val="bg2"/>
                </a:solidFill>
              </a:defRPr>
            </a:lvl1pPr>
          </a:lstStyle>
          <a:p>
            <a:r>
              <a:rPr lang="en-US" dirty="0"/>
              <a:t>Section title</a:t>
            </a: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85849" y="1668762"/>
            <a:ext cx="3465576" cy="3465576"/>
          </a:xfrm>
          <a:prstGeom prst="rect">
            <a:avLst/>
          </a:prstGeom>
        </p:spPr>
      </p:pic>
    </p:spTree>
    <p:extLst>
      <p:ext uri="{BB962C8B-B14F-4D97-AF65-F5344CB8AC3E}">
        <p14:creationId xmlns:p14="http://schemas.microsoft.com/office/powerpoint/2010/main" val="922564406"/>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93689" y="1624013"/>
            <a:ext cx="11868150" cy="5073650"/>
          </a:xfrm>
        </p:spPr>
        <p:txBody>
          <a:bodyPr/>
          <a:lstStyle>
            <a:lvl1pPr marL="0" indent="0">
              <a:spcBef>
                <a:spcPts val="0"/>
              </a:spcBef>
              <a:spcAft>
                <a:spcPts val="800"/>
              </a:spcAft>
              <a:buNone/>
              <a:defRPr sz="2400">
                <a:solidFill>
                  <a:schemeClr val="tx2"/>
                </a:solidFill>
                <a:latin typeface="+mn-lt"/>
              </a:defRPr>
            </a:lvl1pPr>
            <a:lvl2pPr marL="0" indent="0">
              <a:spcBef>
                <a:spcPts val="0"/>
              </a:spcBef>
              <a:spcAft>
                <a:spcPts val="800"/>
              </a:spcAft>
              <a:buFontTx/>
              <a:buNone/>
              <a:defRPr sz="1800"/>
            </a:lvl2pPr>
            <a:lvl3pPr marL="228557" indent="0">
              <a:spcBef>
                <a:spcPts val="0"/>
              </a:spcBef>
              <a:spcAft>
                <a:spcPts val="800"/>
              </a:spcAft>
              <a:buNone/>
              <a:defRPr sz="1800"/>
            </a:lvl3pPr>
            <a:lvl4pPr marL="457112" indent="0">
              <a:spcBef>
                <a:spcPts val="0"/>
              </a:spcBef>
              <a:spcAft>
                <a:spcPts val="800"/>
              </a:spcAft>
              <a:buNone/>
              <a:defRPr sz="1800"/>
            </a:lvl4pPr>
            <a:lvl5pPr marL="685669" indent="0">
              <a:spcBef>
                <a:spcPts val="0"/>
              </a:spcBef>
              <a:spcAft>
                <a:spcPts val="800"/>
              </a:spcAft>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243524"/>
      </p:ext>
    </p:extLst>
  </p:cSld>
  <p:clrMapOvr>
    <a:masterClrMapping/>
  </p:clrMapOvr>
  <p:transition>
    <p:fade/>
  </p:transition>
  <p:hf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99384" y="1624013"/>
            <a:ext cx="5486399" cy="5073650"/>
          </a:xfrm>
        </p:spPr>
        <p:txBody>
          <a:bodyPr wrap="square">
            <a:noAutofit/>
          </a:bodyPr>
          <a:lstStyle>
            <a:lvl1pPr marL="287282" indent="-287282">
              <a:spcBef>
                <a:spcPts val="1224"/>
              </a:spcBef>
              <a:buClr>
                <a:schemeClr val="tx1"/>
              </a:buClr>
              <a:buFont typeface="Arial" pitchFamily="34" charset="0"/>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59564" y="1624013"/>
            <a:ext cx="5486399" cy="5073650"/>
          </a:xfrm>
        </p:spPr>
        <p:txBody>
          <a:bodyPr wrap="square">
            <a:noAutofit/>
          </a:bodyPr>
          <a:lstStyle>
            <a:lvl1pPr marL="287282" indent="-287282">
              <a:spcBef>
                <a:spcPts val="1224"/>
              </a:spcBef>
              <a:buClr>
                <a:schemeClr val="tx1"/>
              </a:buClr>
              <a:buFont typeface="Arial" pitchFamily="34" charset="0"/>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4110580"/>
      </p:ext>
    </p:extLst>
  </p:cSld>
  <p:clrMapOvr>
    <a:masterClrMapping/>
  </p:clrMapOvr>
  <p:transition>
    <p:fade/>
  </p:transition>
  <p:hf hdr="0" ftr="0" dt="0"/>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2359339"/>
      </p:ext>
    </p:extLst>
  </p:cSld>
  <p:clrMapOvr>
    <a:masterClrMapping/>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5458774"/>
      </p:ext>
    </p:extLst>
  </p:cSld>
  <p:clrMapOvr>
    <a:masterClrMapping/>
  </p:clrMapOvr>
  <p:transition>
    <p:fade/>
  </p:transition>
  <p:hf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Color blank">
    <p:bg>
      <p:bgPr>
        <a:solidFill>
          <a:srgbClr val="00BCF2"/>
        </a:solidFill>
        <a:effectLst/>
      </p:bgPr>
    </p:bg>
    <p:spTree>
      <p:nvGrpSpPr>
        <p:cNvPr id="1" name=""/>
        <p:cNvGrpSpPr/>
        <p:nvPr/>
      </p:nvGrpSpPr>
      <p:grpSpPr>
        <a:xfrm>
          <a:off x="0" y="0"/>
          <a:ext cx="0" cy="0"/>
          <a:chOff x="0" y="0"/>
          <a:chExt cx="0" cy="0"/>
        </a:xfrm>
      </p:grpSpPr>
      <p:grpSp>
        <p:nvGrpSpPr>
          <p:cNvPr id="22" name="Group 21"/>
          <p:cNvGrpSpPr/>
          <p:nvPr/>
        </p:nvGrpSpPr>
        <p:grpSpPr>
          <a:xfrm>
            <a:off x="12619037" y="19412"/>
            <a:ext cx="727074" cy="4161151"/>
            <a:chOff x="12912724" y="60725"/>
            <a:chExt cx="853436" cy="4884337"/>
          </a:xfrm>
        </p:grpSpPr>
        <p:grpSp>
          <p:nvGrpSpPr>
            <p:cNvPr id="23" name="Group 22"/>
            <p:cNvGrpSpPr/>
            <p:nvPr userDrawn="1"/>
          </p:nvGrpSpPr>
          <p:grpSpPr>
            <a:xfrm>
              <a:off x="12912724" y="595396"/>
              <a:ext cx="853436" cy="4349666"/>
              <a:chOff x="12619037" y="21669"/>
              <a:chExt cx="1440814" cy="7343325"/>
            </a:xfrm>
          </p:grpSpPr>
          <p:sp>
            <p:nvSpPr>
              <p:cNvPr id="25" name="Rectangle: Rounded Corners 24"/>
              <p:cNvSpPr/>
              <p:nvPr userDrawn="1"/>
            </p:nvSpPr>
            <p:spPr bwMode="auto">
              <a:xfrm rot="5400000">
                <a:off x="9667781" y="2972925"/>
                <a:ext cx="7343325" cy="1440814"/>
              </a:xfrm>
              <a:prstGeom prst="roundRect">
                <a:avLst>
                  <a:gd name="adj" fmla="val 50000"/>
                </a:avLst>
              </a:prstGeom>
              <a:solidFill>
                <a:srgbClr val="FFFFFF"/>
              </a:solidFill>
              <a:ln w="28575"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Oval 25"/>
              <p:cNvSpPr/>
              <p:nvPr userDrawn="1"/>
            </p:nvSpPr>
            <p:spPr bwMode="auto">
              <a:xfrm>
                <a:off x="12745094" y="2804501"/>
                <a:ext cx="1206527" cy="1206042"/>
              </a:xfrm>
              <a:prstGeom prst="ellipse">
                <a:avLst/>
              </a:prstGeom>
              <a:solidFill>
                <a:srgbClr val="0072C6"/>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3</a:t>
                </a:r>
              </a:p>
            </p:txBody>
          </p:sp>
          <p:sp>
            <p:nvSpPr>
              <p:cNvPr id="27" name="Oval 26"/>
              <p:cNvSpPr/>
              <p:nvPr userDrawn="1"/>
            </p:nvSpPr>
            <p:spPr bwMode="auto">
              <a:xfrm>
                <a:off x="12745094" y="1499525"/>
                <a:ext cx="1206527" cy="1206042"/>
              </a:xfrm>
              <a:prstGeom prst="ellipse">
                <a:avLst/>
              </a:prstGeom>
              <a:solidFill>
                <a:srgbClr val="BAD80A"/>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2</a:t>
                </a:r>
              </a:p>
            </p:txBody>
          </p:sp>
          <p:sp>
            <p:nvSpPr>
              <p:cNvPr id="28" name="Oval 27"/>
              <p:cNvSpPr/>
              <p:nvPr userDrawn="1"/>
            </p:nvSpPr>
            <p:spPr bwMode="auto">
              <a:xfrm>
                <a:off x="12745094" y="194549"/>
                <a:ext cx="1206527" cy="1206042"/>
              </a:xfrm>
              <a:prstGeom prst="ellipse">
                <a:avLst/>
              </a:prstGeom>
              <a:solidFill>
                <a:srgbClr val="00BCF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1</a:t>
                </a:r>
              </a:p>
            </p:txBody>
          </p:sp>
          <p:sp>
            <p:nvSpPr>
              <p:cNvPr id="29" name="Oval 28"/>
              <p:cNvSpPr/>
              <p:nvPr userDrawn="1"/>
            </p:nvSpPr>
            <p:spPr bwMode="auto">
              <a:xfrm>
                <a:off x="12880492" y="6179816"/>
                <a:ext cx="935733" cy="935357"/>
              </a:xfrm>
              <a:prstGeom prst="ellipse">
                <a:avLst/>
              </a:prstGeom>
              <a:solidFill>
                <a:srgbClr val="FFD800"/>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6</a:t>
                </a:r>
              </a:p>
            </p:txBody>
          </p:sp>
          <p:sp>
            <p:nvSpPr>
              <p:cNvPr id="30" name="Oval 29"/>
              <p:cNvSpPr/>
              <p:nvPr userDrawn="1"/>
            </p:nvSpPr>
            <p:spPr bwMode="auto">
              <a:xfrm>
                <a:off x="12880492" y="5148257"/>
                <a:ext cx="935733" cy="935357"/>
              </a:xfrm>
              <a:prstGeom prst="ellipse">
                <a:avLst/>
              </a:prstGeom>
              <a:solidFill>
                <a:srgbClr val="00B294"/>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5</a:t>
                </a:r>
              </a:p>
            </p:txBody>
          </p:sp>
          <p:sp>
            <p:nvSpPr>
              <p:cNvPr id="31" name="Oval 30"/>
              <p:cNvSpPr/>
              <p:nvPr userDrawn="1"/>
            </p:nvSpPr>
            <p:spPr bwMode="auto">
              <a:xfrm>
                <a:off x="12880492" y="4109425"/>
                <a:ext cx="935733" cy="935357"/>
              </a:xfrm>
              <a:prstGeom prst="ellipse">
                <a:avLst/>
              </a:prstGeom>
              <a:solidFill>
                <a:srgbClr val="FFB900"/>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4</a:t>
                </a:r>
              </a:p>
            </p:txBody>
          </p:sp>
        </p:grpSp>
        <p:sp>
          <p:nvSpPr>
            <p:cNvPr id="24" name="TextBox 23"/>
            <p:cNvSpPr txBox="1"/>
            <p:nvPr userDrawn="1"/>
          </p:nvSpPr>
          <p:spPr>
            <a:xfrm>
              <a:off x="12912724" y="60725"/>
              <a:ext cx="853436" cy="397628"/>
            </a:xfrm>
            <a:prstGeom prst="rect">
              <a:avLst/>
            </a:prstGeom>
            <a:noFill/>
          </p:spPr>
          <p:txBody>
            <a:bodyPr wrap="square" lIns="0" tIns="0" rIns="0" bIns="0" rtlCol="0" anchor="ctr">
              <a:spAutoFit/>
            </a:bodyPr>
            <a:lstStyle/>
            <a:p>
              <a:pPr marL="0" marR="0" lvl="0" indent="0" algn="ctr" defTabSz="914224" eaLnBrk="1" fontAlgn="auto" latinLnBrk="0" hangingPunct="1">
                <a:lnSpc>
                  <a:spcPct val="90000"/>
                </a:lnSpc>
                <a:spcBef>
                  <a:spcPts val="0"/>
                </a:spcBef>
                <a:spcAft>
                  <a:spcPts val="600"/>
                </a:spcAft>
                <a:buClrTx/>
                <a:buSzTx/>
                <a:buFontTx/>
                <a:buNone/>
                <a:tabLst/>
                <a:defRPr/>
              </a:pPr>
              <a:r>
                <a:rPr kumimoji="0" lang="en-US" sz="1199"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Semibold" panose="020B0702040204020203" pitchFamily="34" charset="0"/>
                  <a:cs typeface="Segoe UI Semibold" panose="020B0702040204020203" pitchFamily="34" charset="0"/>
                </a:rPr>
                <a:t>Color </a:t>
              </a:r>
              <a:br>
                <a:rPr kumimoji="0" lang="en-US" sz="1199"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Semibold" panose="020B0702040204020203" pitchFamily="34" charset="0"/>
                  <a:cs typeface="Segoe UI Semibold" panose="020B0702040204020203" pitchFamily="34" charset="0"/>
                </a:rPr>
              </a:br>
              <a:r>
                <a:rPr kumimoji="0" lang="en-US" sz="1199"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Semibold" panose="020B0702040204020203" pitchFamily="34" charset="0"/>
                  <a:cs typeface="Segoe UI Semibold" panose="020B0702040204020203" pitchFamily="34" charset="0"/>
                </a:rPr>
                <a:t>scheme</a:t>
              </a:r>
            </a:p>
          </p:txBody>
        </p:sp>
      </p:grpSp>
    </p:spTree>
    <p:extLst>
      <p:ext uri="{BB962C8B-B14F-4D97-AF65-F5344CB8AC3E}">
        <p14:creationId xmlns:p14="http://schemas.microsoft.com/office/powerpoint/2010/main" val="2626924563"/>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Microsoft sign off">
    <p:bg>
      <p:bgPr>
        <a:solidFill>
          <a:srgbClr val="00BCF2"/>
        </a:solidFill>
        <a:effectLst/>
      </p:bgPr>
    </p:bg>
    <p:spTree>
      <p:nvGrpSpPr>
        <p:cNvPr id="1" name=""/>
        <p:cNvGrpSpPr/>
        <p:nvPr/>
      </p:nvGrpSpPr>
      <p:grpSpPr>
        <a:xfrm>
          <a:off x="0" y="0"/>
          <a:ext cx="0" cy="0"/>
          <a:chOff x="0" y="0"/>
          <a:chExt cx="0" cy="0"/>
        </a:xfrm>
      </p:grpSpPr>
      <p:grpSp>
        <p:nvGrpSpPr>
          <p:cNvPr id="22" name="Group 21"/>
          <p:cNvGrpSpPr/>
          <p:nvPr/>
        </p:nvGrpSpPr>
        <p:grpSpPr>
          <a:xfrm>
            <a:off x="12619037" y="19412"/>
            <a:ext cx="727074" cy="4161151"/>
            <a:chOff x="12912724" y="60725"/>
            <a:chExt cx="853436" cy="4884337"/>
          </a:xfrm>
        </p:grpSpPr>
        <p:grpSp>
          <p:nvGrpSpPr>
            <p:cNvPr id="23" name="Group 22"/>
            <p:cNvGrpSpPr/>
            <p:nvPr userDrawn="1"/>
          </p:nvGrpSpPr>
          <p:grpSpPr>
            <a:xfrm>
              <a:off x="12912724" y="595396"/>
              <a:ext cx="853436" cy="4349666"/>
              <a:chOff x="12619037" y="21669"/>
              <a:chExt cx="1440814" cy="7343325"/>
            </a:xfrm>
          </p:grpSpPr>
          <p:sp>
            <p:nvSpPr>
              <p:cNvPr id="25" name="Rectangle: Rounded Corners 24"/>
              <p:cNvSpPr/>
              <p:nvPr userDrawn="1"/>
            </p:nvSpPr>
            <p:spPr bwMode="auto">
              <a:xfrm rot="5400000">
                <a:off x="9667781" y="2972925"/>
                <a:ext cx="7343325" cy="1440814"/>
              </a:xfrm>
              <a:prstGeom prst="roundRect">
                <a:avLst>
                  <a:gd name="adj" fmla="val 50000"/>
                </a:avLst>
              </a:prstGeom>
              <a:solidFill>
                <a:srgbClr val="FFFFFF"/>
              </a:solidFill>
              <a:ln w="28575"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Oval 25"/>
              <p:cNvSpPr/>
              <p:nvPr userDrawn="1"/>
            </p:nvSpPr>
            <p:spPr bwMode="auto">
              <a:xfrm>
                <a:off x="12745094" y="2804501"/>
                <a:ext cx="1206527" cy="1206042"/>
              </a:xfrm>
              <a:prstGeom prst="ellipse">
                <a:avLst/>
              </a:prstGeom>
              <a:solidFill>
                <a:srgbClr val="0072C6"/>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3</a:t>
                </a:r>
              </a:p>
            </p:txBody>
          </p:sp>
          <p:sp>
            <p:nvSpPr>
              <p:cNvPr id="27" name="Oval 26"/>
              <p:cNvSpPr/>
              <p:nvPr userDrawn="1"/>
            </p:nvSpPr>
            <p:spPr bwMode="auto">
              <a:xfrm>
                <a:off x="12745094" y="1499525"/>
                <a:ext cx="1206527" cy="1206042"/>
              </a:xfrm>
              <a:prstGeom prst="ellipse">
                <a:avLst/>
              </a:prstGeom>
              <a:solidFill>
                <a:srgbClr val="BAD80A"/>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2</a:t>
                </a:r>
              </a:p>
            </p:txBody>
          </p:sp>
          <p:sp>
            <p:nvSpPr>
              <p:cNvPr id="28" name="Oval 27"/>
              <p:cNvSpPr/>
              <p:nvPr userDrawn="1"/>
            </p:nvSpPr>
            <p:spPr bwMode="auto">
              <a:xfrm>
                <a:off x="12745094" y="194549"/>
                <a:ext cx="1206527" cy="1206042"/>
              </a:xfrm>
              <a:prstGeom prst="ellipse">
                <a:avLst/>
              </a:prstGeom>
              <a:solidFill>
                <a:srgbClr val="00BCF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1</a:t>
                </a:r>
              </a:p>
            </p:txBody>
          </p:sp>
          <p:sp>
            <p:nvSpPr>
              <p:cNvPr id="29" name="Oval 28"/>
              <p:cNvSpPr/>
              <p:nvPr userDrawn="1"/>
            </p:nvSpPr>
            <p:spPr bwMode="auto">
              <a:xfrm>
                <a:off x="12880492" y="6179816"/>
                <a:ext cx="935733" cy="935357"/>
              </a:xfrm>
              <a:prstGeom prst="ellipse">
                <a:avLst/>
              </a:prstGeom>
              <a:solidFill>
                <a:srgbClr val="FFD800"/>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6</a:t>
                </a:r>
              </a:p>
            </p:txBody>
          </p:sp>
          <p:sp>
            <p:nvSpPr>
              <p:cNvPr id="30" name="Oval 29"/>
              <p:cNvSpPr/>
              <p:nvPr userDrawn="1"/>
            </p:nvSpPr>
            <p:spPr bwMode="auto">
              <a:xfrm>
                <a:off x="12880492" y="5148257"/>
                <a:ext cx="935733" cy="935357"/>
              </a:xfrm>
              <a:prstGeom prst="ellipse">
                <a:avLst/>
              </a:prstGeom>
              <a:solidFill>
                <a:srgbClr val="00B294"/>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5</a:t>
                </a:r>
              </a:p>
            </p:txBody>
          </p:sp>
          <p:sp>
            <p:nvSpPr>
              <p:cNvPr id="31" name="Oval 30"/>
              <p:cNvSpPr/>
              <p:nvPr userDrawn="1"/>
            </p:nvSpPr>
            <p:spPr bwMode="auto">
              <a:xfrm>
                <a:off x="12880492" y="4109425"/>
                <a:ext cx="935733" cy="935357"/>
              </a:xfrm>
              <a:prstGeom prst="ellipse">
                <a:avLst/>
              </a:prstGeom>
              <a:solidFill>
                <a:srgbClr val="FFB900"/>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4</a:t>
                </a:r>
              </a:p>
            </p:txBody>
          </p:sp>
        </p:grpSp>
        <p:sp>
          <p:nvSpPr>
            <p:cNvPr id="24" name="TextBox 23"/>
            <p:cNvSpPr txBox="1"/>
            <p:nvPr userDrawn="1"/>
          </p:nvSpPr>
          <p:spPr>
            <a:xfrm>
              <a:off x="12912724" y="60725"/>
              <a:ext cx="853436" cy="397628"/>
            </a:xfrm>
            <a:prstGeom prst="rect">
              <a:avLst/>
            </a:prstGeom>
            <a:noFill/>
          </p:spPr>
          <p:txBody>
            <a:bodyPr wrap="square" lIns="0" tIns="0" rIns="0" bIns="0" rtlCol="0" anchor="ctr">
              <a:spAutoFit/>
            </a:bodyPr>
            <a:lstStyle/>
            <a:p>
              <a:pPr marL="0" marR="0" lvl="0" indent="0" algn="ctr" defTabSz="914224" eaLnBrk="1" fontAlgn="auto" latinLnBrk="0" hangingPunct="1">
                <a:lnSpc>
                  <a:spcPct val="90000"/>
                </a:lnSpc>
                <a:spcBef>
                  <a:spcPts val="0"/>
                </a:spcBef>
                <a:spcAft>
                  <a:spcPts val="600"/>
                </a:spcAft>
                <a:buClrTx/>
                <a:buSzTx/>
                <a:buFontTx/>
                <a:buNone/>
                <a:tabLst/>
                <a:defRPr/>
              </a:pPr>
              <a:r>
                <a:rPr kumimoji="0" lang="en-US" sz="1199"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Semibold" panose="020B0702040204020203" pitchFamily="34" charset="0"/>
                  <a:cs typeface="Segoe UI Semibold" panose="020B0702040204020203" pitchFamily="34" charset="0"/>
                </a:rPr>
                <a:t>Color </a:t>
              </a:r>
              <a:br>
                <a:rPr kumimoji="0" lang="en-US" sz="1199"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Semibold" panose="020B0702040204020203" pitchFamily="34" charset="0"/>
                  <a:cs typeface="Segoe UI Semibold" panose="020B0702040204020203" pitchFamily="34" charset="0"/>
                </a:rPr>
              </a:br>
              <a:r>
                <a:rPr kumimoji="0" lang="en-US" sz="1199"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Semibold" panose="020B0702040204020203" pitchFamily="34" charset="0"/>
                  <a:cs typeface="Segoe UI Semibold" panose="020B0702040204020203" pitchFamily="34" charset="0"/>
                </a:rPr>
                <a:t>scheme</a:t>
              </a:r>
            </a:p>
          </p:txBody>
        </p:sp>
      </p:grpSp>
      <p:sp>
        <p:nvSpPr>
          <p:cNvPr id="12" name="Text Box 3"/>
          <p:cNvSpPr txBox="1">
            <a:spLocks noChangeArrowheads="1"/>
          </p:cNvSpPr>
          <p:nvPr/>
        </p:nvSpPr>
        <p:spPr bwMode="blackWhite">
          <a:xfrm>
            <a:off x="273051" y="6079033"/>
            <a:ext cx="10974388" cy="625023"/>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Microsoft, Windows, Windows Vista and other product names are or may be registered trademarks and / or trademarks in the U.S. and / or other countries.</a:t>
            </a:r>
          </a:p>
          <a:p>
            <a:pPr defTabSz="932111"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1970002951"/>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1_Microsoft sign off">
    <p:bg>
      <p:bgPr>
        <a:solidFill>
          <a:schemeClr val="tx1"/>
        </a:solidFill>
        <a:effectLst/>
      </p:bgPr>
    </p:bg>
    <p:spTree>
      <p:nvGrpSpPr>
        <p:cNvPr id="1" name=""/>
        <p:cNvGrpSpPr/>
        <p:nvPr/>
      </p:nvGrpSpPr>
      <p:grpSpPr>
        <a:xfrm>
          <a:off x="0" y="0"/>
          <a:ext cx="0" cy="0"/>
          <a:chOff x="0" y="0"/>
          <a:chExt cx="0" cy="0"/>
        </a:xfrm>
      </p:grpSpPr>
      <p:grpSp>
        <p:nvGrpSpPr>
          <p:cNvPr id="22" name="Group 21"/>
          <p:cNvGrpSpPr/>
          <p:nvPr/>
        </p:nvGrpSpPr>
        <p:grpSpPr>
          <a:xfrm>
            <a:off x="12619037" y="19412"/>
            <a:ext cx="727074" cy="4161151"/>
            <a:chOff x="12912724" y="60725"/>
            <a:chExt cx="853436" cy="4884337"/>
          </a:xfrm>
        </p:grpSpPr>
        <p:grpSp>
          <p:nvGrpSpPr>
            <p:cNvPr id="23" name="Group 22"/>
            <p:cNvGrpSpPr/>
            <p:nvPr userDrawn="1"/>
          </p:nvGrpSpPr>
          <p:grpSpPr>
            <a:xfrm>
              <a:off x="12912724" y="595396"/>
              <a:ext cx="853436" cy="4349666"/>
              <a:chOff x="12619037" y="21669"/>
              <a:chExt cx="1440814" cy="7343325"/>
            </a:xfrm>
          </p:grpSpPr>
          <p:sp>
            <p:nvSpPr>
              <p:cNvPr id="25" name="Rectangle: Rounded Corners 24"/>
              <p:cNvSpPr/>
              <p:nvPr userDrawn="1"/>
            </p:nvSpPr>
            <p:spPr bwMode="auto">
              <a:xfrm rot="5400000">
                <a:off x="9667781" y="2972925"/>
                <a:ext cx="7343325" cy="1440814"/>
              </a:xfrm>
              <a:prstGeom prst="roundRect">
                <a:avLst>
                  <a:gd name="adj" fmla="val 50000"/>
                </a:avLst>
              </a:prstGeom>
              <a:solidFill>
                <a:srgbClr val="FFFFFF"/>
              </a:solidFill>
              <a:ln w="28575"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Oval 25"/>
              <p:cNvSpPr/>
              <p:nvPr userDrawn="1"/>
            </p:nvSpPr>
            <p:spPr bwMode="auto">
              <a:xfrm>
                <a:off x="12745094" y="2804501"/>
                <a:ext cx="1206527" cy="1206042"/>
              </a:xfrm>
              <a:prstGeom prst="ellipse">
                <a:avLst/>
              </a:prstGeom>
              <a:solidFill>
                <a:srgbClr val="0072C6"/>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3</a:t>
                </a:r>
              </a:p>
            </p:txBody>
          </p:sp>
          <p:sp>
            <p:nvSpPr>
              <p:cNvPr id="27" name="Oval 26"/>
              <p:cNvSpPr/>
              <p:nvPr userDrawn="1"/>
            </p:nvSpPr>
            <p:spPr bwMode="auto">
              <a:xfrm>
                <a:off x="12745094" y="1499525"/>
                <a:ext cx="1206527" cy="1206042"/>
              </a:xfrm>
              <a:prstGeom prst="ellipse">
                <a:avLst/>
              </a:prstGeom>
              <a:solidFill>
                <a:srgbClr val="BAD80A"/>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2</a:t>
                </a:r>
              </a:p>
            </p:txBody>
          </p:sp>
          <p:sp>
            <p:nvSpPr>
              <p:cNvPr id="28" name="Oval 27"/>
              <p:cNvSpPr/>
              <p:nvPr userDrawn="1"/>
            </p:nvSpPr>
            <p:spPr bwMode="auto">
              <a:xfrm>
                <a:off x="12745094" y="194549"/>
                <a:ext cx="1206527" cy="1206042"/>
              </a:xfrm>
              <a:prstGeom prst="ellipse">
                <a:avLst/>
              </a:prstGeom>
              <a:solidFill>
                <a:srgbClr val="00BCF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1</a:t>
                </a:r>
              </a:p>
            </p:txBody>
          </p:sp>
          <p:sp>
            <p:nvSpPr>
              <p:cNvPr id="29" name="Oval 28"/>
              <p:cNvSpPr/>
              <p:nvPr userDrawn="1"/>
            </p:nvSpPr>
            <p:spPr bwMode="auto">
              <a:xfrm>
                <a:off x="12880492" y="6179816"/>
                <a:ext cx="935733" cy="935357"/>
              </a:xfrm>
              <a:prstGeom prst="ellipse">
                <a:avLst/>
              </a:prstGeom>
              <a:solidFill>
                <a:srgbClr val="FFD800"/>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6</a:t>
                </a:r>
              </a:p>
            </p:txBody>
          </p:sp>
          <p:sp>
            <p:nvSpPr>
              <p:cNvPr id="30" name="Oval 29"/>
              <p:cNvSpPr/>
              <p:nvPr userDrawn="1"/>
            </p:nvSpPr>
            <p:spPr bwMode="auto">
              <a:xfrm>
                <a:off x="12880492" y="5148257"/>
                <a:ext cx="935733" cy="935357"/>
              </a:xfrm>
              <a:prstGeom prst="ellipse">
                <a:avLst/>
              </a:prstGeom>
              <a:solidFill>
                <a:srgbClr val="00B294"/>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5</a:t>
                </a:r>
              </a:p>
            </p:txBody>
          </p:sp>
          <p:sp>
            <p:nvSpPr>
              <p:cNvPr id="31" name="Oval 30"/>
              <p:cNvSpPr/>
              <p:nvPr userDrawn="1"/>
            </p:nvSpPr>
            <p:spPr bwMode="auto">
              <a:xfrm>
                <a:off x="12880492" y="4109425"/>
                <a:ext cx="935733" cy="935357"/>
              </a:xfrm>
              <a:prstGeom prst="ellipse">
                <a:avLst/>
              </a:prstGeom>
              <a:solidFill>
                <a:srgbClr val="FFB900"/>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cent 4</a:t>
                </a:r>
              </a:p>
            </p:txBody>
          </p:sp>
        </p:grpSp>
        <p:sp>
          <p:nvSpPr>
            <p:cNvPr id="24" name="TextBox 23"/>
            <p:cNvSpPr txBox="1"/>
            <p:nvPr userDrawn="1"/>
          </p:nvSpPr>
          <p:spPr>
            <a:xfrm>
              <a:off x="12912724" y="60725"/>
              <a:ext cx="853436" cy="397628"/>
            </a:xfrm>
            <a:prstGeom prst="rect">
              <a:avLst/>
            </a:prstGeom>
            <a:noFill/>
          </p:spPr>
          <p:txBody>
            <a:bodyPr wrap="square" lIns="0" tIns="0" rIns="0" bIns="0" rtlCol="0" anchor="ctr">
              <a:spAutoFit/>
            </a:bodyPr>
            <a:lstStyle/>
            <a:p>
              <a:pPr marL="0" marR="0" lvl="0" indent="0" algn="ctr" defTabSz="914224" eaLnBrk="1" fontAlgn="auto" latinLnBrk="0" hangingPunct="1">
                <a:lnSpc>
                  <a:spcPct val="90000"/>
                </a:lnSpc>
                <a:spcBef>
                  <a:spcPts val="0"/>
                </a:spcBef>
                <a:spcAft>
                  <a:spcPts val="600"/>
                </a:spcAft>
                <a:buClrTx/>
                <a:buSzTx/>
                <a:buFontTx/>
                <a:buNone/>
                <a:tabLst/>
                <a:defRPr/>
              </a:pPr>
              <a:r>
                <a:rPr kumimoji="0" lang="en-US" sz="1199"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Semibold" panose="020B0702040204020203" pitchFamily="34" charset="0"/>
                  <a:cs typeface="Segoe UI Semibold" panose="020B0702040204020203" pitchFamily="34" charset="0"/>
                </a:rPr>
                <a:t>Color </a:t>
              </a:r>
              <a:br>
                <a:rPr kumimoji="0" lang="en-US" sz="1199"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Semibold" panose="020B0702040204020203" pitchFamily="34" charset="0"/>
                  <a:cs typeface="Segoe UI Semibold" panose="020B0702040204020203" pitchFamily="34" charset="0"/>
                </a:rPr>
              </a:br>
              <a:r>
                <a:rPr kumimoji="0" lang="en-US" sz="1199"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Semibold" panose="020B0702040204020203" pitchFamily="34" charset="0"/>
                  <a:cs typeface="Segoe UI Semibold" panose="020B0702040204020203" pitchFamily="34" charset="0"/>
                </a:rPr>
                <a:t>scheme</a:t>
              </a:r>
            </a:p>
          </p:txBody>
        </p:sp>
      </p:grpSp>
      <p:sp>
        <p:nvSpPr>
          <p:cNvPr id="12" name="Text Box 3"/>
          <p:cNvSpPr txBox="1">
            <a:spLocks noChangeArrowheads="1"/>
          </p:cNvSpPr>
          <p:nvPr/>
        </p:nvSpPr>
        <p:spPr bwMode="blackWhite">
          <a:xfrm>
            <a:off x="273051" y="6079033"/>
            <a:ext cx="10974388" cy="625023"/>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solidFill>
                  <a:schemeClr val="bg1">
                    <a:lumMod val="40000"/>
                    <a:lumOff val="60000"/>
                  </a:schemeClr>
                </a:solidFill>
                <a:cs typeface="Segoe UI" pitchFamily="34" charset="0"/>
              </a:rPr>
              <a:t>© 2016 Microsoft Corporation. All rights reserved. Microsoft, Windows, Windows Vista and other product names are or may be registered trademarks and / or trademarks in the U.S. and / or other countries.</a:t>
            </a:r>
          </a:p>
          <a:p>
            <a:pPr defTabSz="932111" eaLnBrk="0" hangingPunct="0"/>
            <a:r>
              <a:rPr lang="en-US" sz="700" dirty="0">
                <a:solidFill>
                  <a:schemeClr val="bg1">
                    <a:lumMod val="40000"/>
                    <a:lumOff val="60000"/>
                  </a:schemeClr>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15" name="Picture 1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9231" y="3145041"/>
            <a:ext cx="3299510" cy="704445"/>
          </a:xfrm>
          <a:prstGeom prst="rect">
            <a:avLst/>
          </a:prstGeom>
        </p:spPr>
      </p:pic>
    </p:spTree>
    <p:extLst>
      <p:ext uri="{BB962C8B-B14F-4D97-AF65-F5344CB8AC3E}">
        <p14:creationId xmlns:p14="http://schemas.microsoft.com/office/powerpoint/2010/main" val="2842567651"/>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268816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737770"/>
      </p:ext>
    </p:extLst>
  </p:cSld>
  <p:clrMapOvr>
    <a:masterClrMapping/>
  </p:clrMapOvr>
  <p:transition>
    <p:fade/>
  </p:transition>
  <p:hf hdr="0" ftr="0" dt="0"/>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124192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5600698"/>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3763403"/>
            <a:ext cx="7315200" cy="1837298"/>
          </a:xfrm>
          <a:noFill/>
        </p:spPr>
        <p:txBody>
          <a:bodyPr lIns="146260" tIns="91413" rIns="146260" bIns="91413" anchor="t" anchorCtr="0"/>
          <a:lstStyle>
            <a:lvl1pPr>
              <a:defRPr sz="5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63207" y="6507950"/>
            <a:ext cx="1005841" cy="195077"/>
          </a:xfrm>
          <a:prstGeom prst="rect">
            <a:avLst/>
          </a:prstGeom>
          <a:noFill/>
        </p:spPr>
      </p:pic>
      <p:pic>
        <p:nvPicPr>
          <p:cNvPr id="8" name="Picture 7" descr="VS_Wht_rgb.w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580" y="2125663"/>
            <a:ext cx="2743550" cy="484156"/>
          </a:xfrm>
          <a:prstGeom prst="rect">
            <a:avLst/>
          </a:prstGeom>
        </p:spPr>
      </p:pic>
    </p:spTree>
    <p:extLst>
      <p:ext uri="{BB962C8B-B14F-4D97-AF65-F5344CB8AC3E}">
        <p14:creationId xmlns:p14="http://schemas.microsoft.com/office/powerpoint/2010/main" val="1379256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4711" cy="6994525"/>
          </a:xfrm>
          <a:prstGeom prst="rect">
            <a:avLst/>
          </a:prstGeom>
        </p:spPr>
      </p:pic>
      <p:sp>
        <p:nvSpPr>
          <p:cNvPr id="5" name="Text Placeholder 4"/>
          <p:cNvSpPr>
            <a:spLocks noGrp="1"/>
          </p:cNvSpPr>
          <p:nvPr>
            <p:ph type="body" sz="quarter" idx="12" hasCustomPrompt="1"/>
          </p:nvPr>
        </p:nvSpPr>
        <p:spPr>
          <a:xfrm>
            <a:off x="276542" y="5600698"/>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3763403"/>
            <a:ext cx="7315200" cy="1837298"/>
          </a:xfrm>
          <a:noFill/>
        </p:spPr>
        <p:txBody>
          <a:bodyPr lIns="146260" tIns="91413" rIns="146260" bIns="91413" anchor="t" anchorCtr="0"/>
          <a:lstStyle>
            <a:lvl1pPr>
              <a:defRPr sz="5000" spc="-100"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580" y="2125663"/>
            <a:ext cx="2743550" cy="484156"/>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10163207" y="6507950"/>
            <a:ext cx="1005841" cy="195077"/>
          </a:xfrm>
          <a:prstGeom prst="rect">
            <a:avLst/>
          </a:prstGeom>
          <a:noFill/>
        </p:spPr>
      </p:pic>
    </p:spTree>
    <p:extLst>
      <p:ext uri="{BB962C8B-B14F-4D97-AF65-F5344CB8AC3E}">
        <p14:creationId xmlns:p14="http://schemas.microsoft.com/office/powerpoint/2010/main" val="1445809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4711" cy="6994524"/>
          </a:xfrm>
          <a:prstGeom prst="rect">
            <a:avLst/>
          </a:prstGeom>
        </p:spPr>
      </p:pic>
      <p:pic>
        <p:nvPicPr>
          <p:cNvPr id="7" name="Picture 6" descr="VS_Purp526_rgb.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50907" y="1924372"/>
            <a:ext cx="3217432" cy="901047"/>
          </a:xfrm>
          <a:prstGeom prst="rect">
            <a:avLst/>
          </a:prstGeom>
        </p:spPr>
      </p:pic>
      <p:pic>
        <p:nvPicPr>
          <p:cNvPr id="10" name="Picture 9" descr="MSFT_logo_rgb_C-Gray.png"/>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0126763" y="6434577"/>
            <a:ext cx="1254513" cy="352486"/>
          </a:xfrm>
          <a:prstGeom prst="rect">
            <a:avLst/>
          </a:prstGeom>
        </p:spPr>
      </p:pic>
      <p:sp>
        <p:nvSpPr>
          <p:cNvPr id="5" name="Text Placeholder 4"/>
          <p:cNvSpPr>
            <a:spLocks noGrp="1"/>
          </p:cNvSpPr>
          <p:nvPr>
            <p:ph type="body" sz="quarter" idx="12" hasCustomPrompt="1"/>
          </p:nvPr>
        </p:nvSpPr>
        <p:spPr>
          <a:xfrm>
            <a:off x="276542" y="5600698"/>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3" y="3763403"/>
            <a:ext cx="7315200" cy="1837298"/>
          </a:xfrm>
          <a:noFill/>
        </p:spPr>
        <p:txBody>
          <a:bodyPr lIns="146260" tIns="91413" rIns="146260" bIns="91413" anchor="t" anchorCtr="0"/>
          <a:lstStyle>
            <a:lvl1pPr>
              <a:defRPr sz="5000" spc="-100"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39873607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4710" cy="6994524"/>
          </a:xfrm>
          <a:prstGeom prst="rect">
            <a:avLst/>
          </a:prstGeom>
        </p:spPr>
      </p:pic>
      <p:pic>
        <p:nvPicPr>
          <p:cNvPr id="7" name="Picture 6" descr="VS_Purp526_rgb.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50907" y="1924372"/>
            <a:ext cx="3217432" cy="901047"/>
          </a:xfrm>
          <a:prstGeom prst="rect">
            <a:avLst/>
          </a:prstGeom>
        </p:spPr>
      </p:pic>
      <p:sp>
        <p:nvSpPr>
          <p:cNvPr id="5" name="Text Placeholder 4"/>
          <p:cNvSpPr>
            <a:spLocks noGrp="1"/>
          </p:cNvSpPr>
          <p:nvPr>
            <p:ph type="body" sz="quarter" idx="12" hasCustomPrompt="1"/>
          </p:nvPr>
        </p:nvSpPr>
        <p:spPr>
          <a:xfrm>
            <a:off x="276542" y="5600698"/>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3" y="3763403"/>
            <a:ext cx="7315200" cy="1837298"/>
          </a:xfrm>
          <a:noFill/>
        </p:spPr>
        <p:txBody>
          <a:bodyPr lIns="146260" tIns="91413" rIns="146260" bIns="91413" anchor="t" anchorCtr="0"/>
          <a:lstStyle>
            <a:lvl1pPr>
              <a:defRPr sz="5000" spc="-100"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0126763" y="6434577"/>
            <a:ext cx="1254513" cy="352486"/>
          </a:xfrm>
          <a:prstGeom prst="rect">
            <a:avLst/>
          </a:prstGeom>
        </p:spPr>
      </p:pic>
    </p:spTree>
    <p:extLst>
      <p:ext uri="{BB962C8B-B14F-4D97-AF65-F5344CB8AC3E}">
        <p14:creationId xmlns:p14="http://schemas.microsoft.com/office/powerpoint/2010/main" val="1576106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4711" cy="6994525"/>
          </a:xfrm>
          <a:prstGeom prst="rect">
            <a:avLst/>
          </a:prstGeom>
        </p:spPr>
      </p:pic>
      <p:sp>
        <p:nvSpPr>
          <p:cNvPr id="2" name="Title 1"/>
          <p:cNvSpPr>
            <a:spLocks noGrp="1"/>
          </p:cNvSpPr>
          <p:nvPr>
            <p:ph type="title" hasCustomPrompt="1"/>
          </p:nvPr>
        </p:nvSpPr>
        <p:spPr>
          <a:xfrm>
            <a:off x="274638" y="274320"/>
            <a:ext cx="7315200" cy="1831975"/>
          </a:xfrm>
          <a:noFill/>
        </p:spPr>
        <p:txBody>
          <a:bodyPr tIns="91413" bIns="91413"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057540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4711" cy="6994524"/>
          </a:xfrm>
          <a:prstGeom prst="rect">
            <a:avLst/>
          </a:prstGeom>
        </p:spPr>
      </p:pic>
      <p:sp>
        <p:nvSpPr>
          <p:cNvPr id="2" name="Title 1"/>
          <p:cNvSpPr>
            <a:spLocks noGrp="1"/>
          </p:cNvSpPr>
          <p:nvPr>
            <p:ph type="title" hasCustomPrompt="1"/>
          </p:nvPr>
        </p:nvSpPr>
        <p:spPr>
          <a:xfrm>
            <a:off x="274638" y="274320"/>
            <a:ext cx="7315200" cy="1831975"/>
          </a:xfrm>
          <a:noFill/>
        </p:spPr>
        <p:txBody>
          <a:bodyPr tIns="91413" bIns="91413"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336547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4711" cy="6994524"/>
          </a:xfrm>
          <a:prstGeom prst="rect">
            <a:avLst/>
          </a:prstGeom>
        </p:spPr>
      </p:pic>
      <p:sp>
        <p:nvSpPr>
          <p:cNvPr id="2" name="Title 1"/>
          <p:cNvSpPr>
            <a:spLocks noGrp="1"/>
          </p:cNvSpPr>
          <p:nvPr>
            <p:ph type="title" hasCustomPrompt="1"/>
          </p:nvPr>
        </p:nvSpPr>
        <p:spPr>
          <a:xfrm>
            <a:off x="274638" y="274320"/>
            <a:ext cx="7315200" cy="1831975"/>
          </a:xfrm>
          <a:noFill/>
        </p:spPr>
        <p:txBody>
          <a:bodyPr tIns="91413" bIns="91413"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93213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1"/>
            <a:ext cx="11887200" cy="2052338"/>
          </a:xfrm>
        </p:spPr>
        <p:txBody>
          <a:bodyPr/>
          <a:lstStyle>
            <a:lvl1pPr marL="0" indent="0">
              <a:buNone/>
              <a:defRPr>
                <a:solidFill>
                  <a:schemeClr val="accent2"/>
                </a:solidFill>
              </a:defRPr>
            </a:lvl1pPr>
            <a:lvl2pPr marL="0" indent="0">
              <a:buFontTx/>
              <a:buNone/>
              <a:defRPr sz="2000"/>
            </a:lvl2pPr>
            <a:lvl3pPr marL="228533" indent="0">
              <a:buNone/>
              <a:defRPr/>
            </a:lvl3pPr>
            <a:lvl4pPr marL="457065" indent="0">
              <a:buNone/>
              <a:defRPr/>
            </a:lvl4pPr>
            <a:lvl5pPr marL="685598"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5974671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1"/>
            <a:ext cx="11887200" cy="2052338"/>
          </a:xfrm>
        </p:spPr>
        <p:txBody>
          <a:bodyPr/>
          <a:lstStyle>
            <a:lvl1pPr marL="0" indent="0">
              <a:buNone/>
              <a:defRPr>
                <a:solidFill>
                  <a:schemeClr val="tx2"/>
                </a:solidFill>
              </a:defRPr>
            </a:lvl1pPr>
            <a:lvl2pPr marL="0" indent="0">
              <a:buFontTx/>
              <a:buNone/>
              <a:defRPr sz="2000"/>
            </a:lvl2pPr>
            <a:lvl3pPr marL="228533" indent="0">
              <a:buNone/>
              <a:defRPr/>
            </a:lvl3pPr>
            <a:lvl4pPr marL="457065" indent="0">
              <a:buNone/>
              <a:defRPr/>
            </a:lvl4pPr>
            <a:lvl5pPr marL="685598"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0987971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3"/>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77255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3"/>
            <a:ext cx="11887200" cy="2121397"/>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3840021"/>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68368"/>
          </a:xfrm>
        </p:spPr>
        <p:txBody>
          <a:bodyPr wrap="square">
            <a:spAutoFit/>
          </a:bodyPr>
          <a:lstStyle>
            <a:lvl1pPr marL="0" indent="0">
              <a:spcBef>
                <a:spcPts val="1224"/>
              </a:spcBef>
              <a:buClr>
                <a:schemeClr val="tx1"/>
              </a:buClr>
              <a:buFont typeface="Wingdings" pitchFamily="2" charset="2"/>
              <a:buNone/>
              <a:defRPr sz="3600">
                <a:solidFill>
                  <a:schemeClr val="accent2"/>
                </a:solidFill>
              </a:defRPr>
            </a:lvl1pPr>
            <a:lvl2pPr marL="0" indent="0">
              <a:buNone/>
              <a:defRPr sz="2000"/>
            </a:lvl2pPr>
            <a:lvl3pPr marL="231707" indent="0">
              <a:buNone/>
              <a:tabLst/>
              <a:defRPr sz="2000"/>
            </a:lvl3pPr>
            <a:lvl4pPr marL="460239" indent="0">
              <a:buNone/>
              <a:defRPr/>
            </a:lvl4pPr>
            <a:lvl5pPr marL="68559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2" y="1212849"/>
            <a:ext cx="5486399" cy="2468368"/>
          </a:xfrm>
        </p:spPr>
        <p:txBody>
          <a:bodyPr wrap="square">
            <a:spAutoFit/>
          </a:bodyPr>
          <a:lstStyle>
            <a:lvl1pPr marL="0" indent="0">
              <a:spcBef>
                <a:spcPts val="1224"/>
              </a:spcBef>
              <a:buClr>
                <a:schemeClr val="tx1"/>
              </a:buClr>
              <a:buFont typeface="Wingdings" pitchFamily="2" charset="2"/>
              <a:buNone/>
              <a:defRPr sz="3600">
                <a:solidFill>
                  <a:srgbClr val="68217A"/>
                </a:solidFill>
              </a:defRPr>
            </a:lvl1pPr>
            <a:lvl2pPr marL="0" indent="0">
              <a:buNone/>
              <a:defRPr sz="2000"/>
            </a:lvl2pPr>
            <a:lvl3pPr marL="231707" indent="0">
              <a:buNone/>
              <a:tabLst/>
              <a:defRPr sz="2000"/>
            </a:lvl3pPr>
            <a:lvl4pPr marL="460239" indent="0">
              <a:buNone/>
              <a:defRPr/>
            </a:lvl4pPr>
            <a:lvl5pPr marL="68559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129905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68368"/>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707" indent="0">
              <a:buNone/>
              <a:tabLst/>
              <a:defRPr sz="2000"/>
            </a:lvl3pPr>
            <a:lvl4pPr marL="460239" indent="0">
              <a:buNone/>
              <a:defRPr/>
            </a:lvl4pPr>
            <a:lvl5pPr marL="68559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2" y="1212849"/>
            <a:ext cx="5486399" cy="2468368"/>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707" indent="0">
              <a:buNone/>
              <a:tabLst/>
              <a:defRPr sz="2000"/>
            </a:lvl3pPr>
            <a:lvl4pPr marL="460239" indent="0">
              <a:buNone/>
              <a:defRPr/>
            </a:lvl4pPr>
            <a:lvl5pPr marL="68559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776502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52"/>
            <a:ext cx="5486399" cy="2536079"/>
          </a:xfrm>
        </p:spPr>
        <p:txBody>
          <a:bodyPr wrap="square">
            <a:spAutoFit/>
          </a:bodyPr>
          <a:lstStyle>
            <a:lvl1pPr marL="287254" indent="-287254">
              <a:spcBef>
                <a:spcPts val="1224"/>
              </a:spcBef>
              <a:buClr>
                <a:schemeClr val="tx1"/>
              </a:buClr>
              <a:buFont typeface="Arial" pitchFamily="34" charset="0"/>
              <a:buChar char="•"/>
              <a:defRPr sz="3600">
                <a:solidFill>
                  <a:srgbClr val="68217A"/>
                </a:solidFill>
              </a:defRPr>
            </a:lvl1pPr>
            <a:lvl2pPr marL="531010" indent="-233127">
              <a:defRPr sz="2400"/>
            </a:lvl2pPr>
            <a:lvl3pPr marL="699380" indent="-168370">
              <a:tabLst/>
              <a:defRPr sz="2000"/>
            </a:lvl3pPr>
            <a:lvl4pPr marL="880699" indent="-181321">
              <a:defRPr/>
            </a:lvl4pPr>
            <a:lvl5pPr marL="1049068" indent="-1683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2" y="1212852"/>
            <a:ext cx="5486399" cy="2536079"/>
          </a:xfrm>
        </p:spPr>
        <p:txBody>
          <a:bodyPr wrap="square">
            <a:spAutoFit/>
          </a:bodyPr>
          <a:lstStyle>
            <a:lvl1pPr marL="287254" indent="-287254">
              <a:spcBef>
                <a:spcPts val="1224"/>
              </a:spcBef>
              <a:buClr>
                <a:schemeClr val="tx1"/>
              </a:buClr>
              <a:buFont typeface="Arial" pitchFamily="34" charset="0"/>
              <a:buChar char="•"/>
              <a:defRPr sz="3600">
                <a:solidFill>
                  <a:srgbClr val="68217A"/>
                </a:solidFill>
              </a:defRPr>
            </a:lvl1pPr>
            <a:lvl2pPr marL="531010" indent="-233127">
              <a:defRPr sz="2400"/>
            </a:lvl2pPr>
            <a:lvl3pPr marL="699380" indent="-168370">
              <a:tabLst/>
              <a:defRPr sz="2000"/>
            </a:lvl3pPr>
            <a:lvl4pPr marL="880699" indent="-181321">
              <a:defRPr/>
            </a:lvl4pPr>
            <a:lvl5pPr marL="1049068" indent="-1683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4873601"/>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52"/>
            <a:ext cx="5486399" cy="2536079"/>
          </a:xfrm>
        </p:spPr>
        <p:txBody>
          <a:bodyPr wrap="square">
            <a:spAutoFit/>
          </a:bodyPr>
          <a:lstStyle>
            <a:lvl1pPr marL="287254" indent="-287254">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010" indent="-233127">
              <a:defRPr sz="2400"/>
            </a:lvl2pPr>
            <a:lvl3pPr marL="699380" indent="-168370">
              <a:tabLst/>
              <a:defRPr sz="2000"/>
            </a:lvl3pPr>
            <a:lvl4pPr marL="880699" indent="-181321">
              <a:defRPr/>
            </a:lvl4pPr>
            <a:lvl5pPr marL="1049068" indent="-1683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2" y="1212852"/>
            <a:ext cx="5486399" cy="2536079"/>
          </a:xfrm>
        </p:spPr>
        <p:txBody>
          <a:bodyPr wrap="square">
            <a:spAutoFit/>
          </a:bodyPr>
          <a:lstStyle>
            <a:lvl1pPr marL="287254" indent="-287254">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010" indent="-233127">
              <a:defRPr sz="2400"/>
            </a:lvl2pPr>
            <a:lvl3pPr marL="699380" indent="-168370">
              <a:tabLst/>
              <a:defRPr sz="2000"/>
            </a:lvl3pPr>
            <a:lvl4pPr marL="880699" indent="-181321">
              <a:defRPr/>
            </a:lvl4pPr>
            <a:lvl5pPr marL="1049068" indent="-1683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0220991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4075"/>
            <a:ext cx="5943600"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1" y="2124075"/>
            <a:ext cx="5943600" cy="3657600"/>
          </a:xfrm>
          <a:solidFill>
            <a:schemeClr val="accent4"/>
          </a:solidFill>
        </p:spPr>
        <p:txBody>
          <a:bodyPr wrap="square" tIns="146304" bIns="146304">
            <a:noAutofit/>
          </a:bodyPr>
          <a:lstStyle>
            <a:lvl1pPr marL="0" indent="0">
              <a:spcBef>
                <a:spcPts val="1224"/>
              </a:spcBef>
              <a:buClr>
                <a:schemeClr val="tx1"/>
              </a:buClr>
              <a:buFont typeface="Wingdings" pitchFamily="2" charset="2"/>
              <a:buNone/>
              <a:defRPr sz="4000">
                <a:solidFill>
                  <a:srgbClr val="FFFFFF"/>
                </a:solidFill>
              </a:defRPr>
            </a:lvl1pPr>
            <a:lvl2pPr marL="0" indent="0">
              <a:spcBef>
                <a:spcPts val="1080"/>
              </a:spcBef>
              <a:buNone/>
              <a:defRPr sz="2000">
                <a:solidFill>
                  <a:srgbClr val="FFFFFF"/>
                </a:solidFill>
              </a:defRPr>
            </a:lvl2pPr>
            <a:lvl3pPr marL="231707" indent="0">
              <a:buNone/>
              <a:tabLst/>
              <a:defRPr sz="2000">
                <a:solidFill>
                  <a:srgbClr val="FFFFFF"/>
                </a:solidFill>
              </a:defRPr>
            </a:lvl3pPr>
            <a:lvl4pPr marL="460239" indent="0">
              <a:buNone/>
              <a:defRPr>
                <a:solidFill>
                  <a:srgbClr val="FFFFFF"/>
                </a:solidFill>
              </a:defRPr>
            </a:lvl4pPr>
            <a:lvl5pPr marL="685598"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0991354"/>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4075"/>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4075"/>
            <a:ext cx="3913632" cy="3657600"/>
          </a:xfr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4000">
                <a:solidFill>
                  <a:schemeClr val="tx1"/>
                </a:solidFill>
              </a:defRPr>
            </a:lvl1pPr>
            <a:lvl2pPr marL="0" indent="0">
              <a:spcBef>
                <a:spcPts val="1080"/>
              </a:spcBef>
              <a:buNone/>
              <a:defRPr sz="2000">
                <a:solidFill>
                  <a:schemeClr val="tx1"/>
                </a:solidFill>
              </a:defRPr>
            </a:lvl2pPr>
            <a:lvl3pPr marL="231707" indent="0">
              <a:buNone/>
              <a:tabLst/>
              <a:defRPr sz="2000">
                <a:solidFill>
                  <a:schemeClr val="tx1"/>
                </a:solidFill>
              </a:defRPr>
            </a:lvl3pPr>
            <a:lvl4pPr marL="460239" indent="0">
              <a:buNone/>
              <a:defRPr>
                <a:solidFill>
                  <a:schemeClr val="tx1"/>
                </a:solidFill>
              </a:defRPr>
            </a:lvl4pPr>
            <a:lvl5pPr marL="685598"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4075"/>
            <a:ext cx="3959352"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8745768"/>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1" y="2122133"/>
            <a:ext cx="7995121" cy="3657600"/>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4075"/>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1467174"/>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058992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1" y="2124075"/>
            <a:ext cx="11887200" cy="1353136"/>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707" indent="0">
              <a:buNone/>
              <a:tabLst/>
              <a:defRPr sz="2000">
                <a:solidFill>
                  <a:schemeClr val="tx1"/>
                </a:solidFill>
              </a:defRPr>
            </a:lvl3pPr>
            <a:lvl4pPr marL="460239" indent="0">
              <a:buNone/>
              <a:defRPr>
                <a:solidFill>
                  <a:schemeClr val="tx1"/>
                </a:solidFill>
              </a:defRPr>
            </a:lvl4pPr>
            <a:lvl5pPr marL="685598" indent="0">
              <a:buNone/>
              <a:tabLst/>
              <a:defRPr>
                <a:solidFill>
                  <a:schemeClr val="tx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68046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8205661" y="2124075"/>
            <a:ext cx="3959352" cy="3657600"/>
          </a:xfrm>
          <a:solidFill>
            <a:schemeClr val="accent3"/>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0"/>
          </p:nvPr>
        </p:nvSpPr>
        <p:spPr>
          <a:xfrm>
            <a:off x="274641" y="2124075"/>
            <a:ext cx="7315200" cy="3048472"/>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707" indent="0">
              <a:buNone/>
              <a:tabLst/>
              <a:defRPr sz="2000">
                <a:solidFill>
                  <a:schemeClr val="tx1"/>
                </a:solidFill>
              </a:defRPr>
            </a:lvl3pPr>
            <a:lvl4pPr marL="460239" indent="0">
              <a:buNone/>
              <a:defRPr>
                <a:solidFill>
                  <a:schemeClr val="tx1"/>
                </a:solidFill>
              </a:defRPr>
            </a:lvl4pPr>
            <a:lvl5pPr marL="685598"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2083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2" y="1212849"/>
            <a:ext cx="5486399" cy="3048472"/>
          </a:xfrm>
        </p:spPr>
        <p:txBody>
          <a:bodyPr wrap="square">
            <a:spAutoFit/>
          </a:bodyPr>
          <a:lstStyle>
            <a:lvl1pPr marL="0" indent="0">
              <a:spcBef>
                <a:spcPts val="1224"/>
              </a:spcBef>
              <a:buClr>
                <a:schemeClr val="tx1"/>
              </a:buClr>
              <a:buFont typeface="Wingdings" pitchFamily="2" charset="2"/>
              <a:buNone/>
              <a:defRPr sz="5400">
                <a:solidFill>
                  <a:schemeClr val="accent2"/>
                </a:solidFill>
              </a:defRPr>
            </a:lvl1pPr>
            <a:lvl2pPr marL="0" indent="0">
              <a:spcBef>
                <a:spcPts val="1080"/>
              </a:spcBef>
              <a:buNone/>
              <a:defRPr sz="2000"/>
            </a:lvl2pPr>
            <a:lvl3pPr marL="231707" indent="0">
              <a:buNone/>
              <a:tabLst/>
              <a:defRPr sz="2000"/>
            </a:lvl3pPr>
            <a:lvl4pPr marL="460239" indent="0">
              <a:buNone/>
              <a:defRPr/>
            </a:lvl4pPr>
            <a:lvl5pPr marL="68559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200150"/>
            <a:ext cx="2697480" cy="2697480"/>
          </a:xfrm>
          <a:solidFill>
            <a:srgbClr val="55C5E9"/>
          </a:solidFill>
        </p:spPr>
        <p:txBody>
          <a:bodyPr wrap="square" tIns="146304" bIns="146304">
            <a:noAutofit/>
          </a:bodyPr>
          <a:lstStyle>
            <a:lvl1pPr marL="0" indent="0">
              <a:spcBef>
                <a:spcPts val="1224"/>
              </a:spcBef>
              <a:buClr>
                <a:schemeClr val="tx1"/>
              </a:buClr>
              <a:buFont typeface="Wingdings" pitchFamily="2" charset="2"/>
              <a:buNone/>
              <a:defRPr sz="4000">
                <a:solidFill>
                  <a:schemeClr val="tx1"/>
                </a:solidFill>
              </a:defRPr>
            </a:lvl1pPr>
            <a:lvl2pPr marL="0" indent="0">
              <a:spcBef>
                <a:spcPts val="1080"/>
              </a:spcBef>
              <a:buNone/>
              <a:defRPr sz="2000">
                <a:solidFill>
                  <a:schemeClr val="tx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200150"/>
            <a:ext cx="2743200" cy="269748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4938"/>
            <a:ext cx="2697480" cy="27432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4938"/>
            <a:ext cx="2743200" cy="2743200"/>
          </a:xfrm>
          <a:solidFill>
            <a:schemeClr val="accent5"/>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1412081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5"/>
            <a:ext cx="11887200" cy="1831975"/>
          </a:xfrm>
          <a:noFill/>
        </p:spPr>
        <p:txBody>
          <a:bodyPr tIns="91413" bIns="91413"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8847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5"/>
            <a:ext cx="11887200" cy="1831975"/>
          </a:xfrm>
          <a:noFill/>
        </p:spPr>
        <p:txBody>
          <a:bodyPr tIns="91413" bIns="91413"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407765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5"/>
            <a:ext cx="11887200" cy="1831975"/>
          </a:xfrm>
          <a:noFill/>
        </p:spPr>
        <p:txBody>
          <a:bodyPr tIns="91413" bIns="91413" anchor="t" anchorCtr="0"/>
          <a:lstStyle>
            <a:lvl1pPr>
              <a:defRPr sz="8800" spc="-100" baseline="0">
                <a:solidFill>
                  <a:schemeClr val="bg1"/>
                </a:solidFill>
              </a:defRPr>
            </a:lvl1pPr>
          </a:lstStyle>
          <a:p>
            <a:r>
              <a:rPr lang="en-US" dirty="0"/>
              <a:t>Section title</a:t>
            </a:r>
          </a:p>
        </p:txBody>
      </p:sp>
    </p:spTree>
    <p:extLst>
      <p:ext uri="{BB962C8B-B14F-4D97-AF65-F5344CB8AC3E}">
        <p14:creationId xmlns:p14="http://schemas.microsoft.com/office/powerpoint/2010/main" val="3047935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98420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96170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56685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976894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4"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7" tIns="46627" rIns="46627" bIns="46627" numCol="1" spcCol="0" rtlCol="0" fromWordArt="0" anchor="ctr" anchorCtr="0" forceAA="0" compatLnSpc="1">
            <a:prstTxWarp prst="textNoShape">
              <a:avLst/>
            </a:prstTxWarp>
            <a:noAutofit/>
          </a:bodyPr>
          <a:lstStyle/>
          <a:p>
            <a:pPr algn="ctr" defTabSz="932199"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21160"/>
            <a:ext cx="11887199" cy="2022517"/>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451" indent="0">
              <a:buNone/>
              <a:defRPr>
                <a:gradFill>
                  <a:gsLst>
                    <a:gs pos="1250">
                      <a:srgbClr val="000000"/>
                    </a:gs>
                    <a:gs pos="100000">
                      <a:srgbClr val="000000"/>
                    </a:gs>
                  </a:gsLst>
                  <a:lin ang="5400000" scaled="0"/>
                </a:gradFill>
                <a:latin typeface="Segoe UI" pitchFamily="34" charset="0"/>
                <a:cs typeface="Segoe UI" pitchFamily="34" charset="0"/>
              </a:defRPr>
            </a:lvl2pPr>
            <a:lvl3pPr marL="584436" indent="0">
              <a:buNone/>
              <a:defRPr>
                <a:gradFill>
                  <a:gsLst>
                    <a:gs pos="1250">
                      <a:srgbClr val="000000"/>
                    </a:gs>
                    <a:gs pos="100000">
                      <a:srgbClr val="000000"/>
                    </a:gs>
                  </a:gsLst>
                  <a:lin ang="5400000" scaled="0"/>
                </a:gradFill>
                <a:latin typeface="Segoe UI" pitchFamily="34" charset="0"/>
                <a:cs typeface="Segoe UI" pitchFamily="34" charset="0"/>
              </a:defRPr>
            </a:lvl3pPr>
            <a:lvl4pPr marL="814324"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688"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9602686"/>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2"/>
            <a:ext cx="11887200" cy="2443746"/>
          </a:xfrm>
          <a:prstGeom prst="rect">
            <a:avLst/>
          </a:prstGeom>
        </p:spPr>
        <p:txBody>
          <a:bodyPr/>
          <a:lstStyle>
            <a:lvl1pPr marL="290428" indent="-29042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33" indent="-280905">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59" indent="-29042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92" indent="-22853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26" indent="-22853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4838695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6863902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274641" y="2142640"/>
            <a:ext cx="11228387" cy="1720381"/>
          </a:xfrm>
        </p:spPr>
        <p:txBody>
          <a:bodyPr/>
          <a:lstStyle>
            <a:lvl1pPr>
              <a:defRPr sz="5998">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274703" y="3954463"/>
            <a:ext cx="8705850" cy="1055382"/>
          </a:xfrm>
        </p:spPr>
        <p:txBody>
          <a:bodyPr/>
          <a:lstStyle>
            <a:lvl1pPr marL="0" indent="0" algn="l">
              <a:buNone/>
              <a:defRPr sz="2200">
                <a:solidFill>
                  <a:schemeClr val="bg1"/>
                </a:solidFill>
                <a:latin typeface="+mn-lt"/>
              </a:defRPr>
            </a:lvl1pPr>
            <a:lvl2pPr marL="457012" indent="0" algn="ctr">
              <a:buNone/>
              <a:defRPr>
                <a:solidFill>
                  <a:schemeClr val="tx1">
                    <a:tint val="75000"/>
                  </a:schemeClr>
                </a:solidFill>
              </a:defRPr>
            </a:lvl2pPr>
            <a:lvl3pPr marL="914026" indent="0" algn="ctr">
              <a:buNone/>
              <a:defRPr>
                <a:solidFill>
                  <a:schemeClr val="tx1">
                    <a:tint val="75000"/>
                  </a:schemeClr>
                </a:solidFill>
              </a:defRPr>
            </a:lvl3pPr>
            <a:lvl4pPr marL="1371039" indent="0" algn="ctr">
              <a:buNone/>
              <a:defRPr>
                <a:solidFill>
                  <a:schemeClr val="tx1">
                    <a:tint val="75000"/>
                  </a:schemeClr>
                </a:solidFill>
              </a:defRPr>
            </a:lvl4pPr>
            <a:lvl5pPr marL="1828053" indent="0" algn="ctr">
              <a:buNone/>
              <a:defRPr>
                <a:solidFill>
                  <a:schemeClr val="tx1">
                    <a:tint val="75000"/>
                  </a:schemeClr>
                </a:solidFill>
              </a:defRPr>
            </a:lvl5pPr>
            <a:lvl6pPr marL="2285065" indent="0" algn="ctr">
              <a:buNone/>
              <a:defRPr>
                <a:solidFill>
                  <a:schemeClr val="tx1">
                    <a:tint val="75000"/>
                  </a:schemeClr>
                </a:solidFill>
              </a:defRPr>
            </a:lvl6pPr>
            <a:lvl7pPr marL="2742078" indent="0" algn="ctr">
              <a:buNone/>
              <a:defRPr>
                <a:solidFill>
                  <a:schemeClr val="tx1">
                    <a:tint val="75000"/>
                  </a:schemeClr>
                </a:solidFill>
              </a:defRPr>
            </a:lvl7pPr>
            <a:lvl8pPr marL="3199091" indent="0" algn="ctr">
              <a:buNone/>
              <a:defRPr>
                <a:solidFill>
                  <a:schemeClr val="tx1">
                    <a:tint val="75000"/>
                  </a:schemeClr>
                </a:solidFill>
              </a:defRPr>
            </a:lvl8pPr>
            <a:lvl9pPr marL="3656103" indent="0" algn="ctr">
              <a:buNone/>
              <a:defRPr>
                <a:solidFill>
                  <a:schemeClr val="tx1">
                    <a:tint val="75000"/>
                  </a:schemeClr>
                </a:solidFill>
              </a:defRPr>
            </a:lvl9pPr>
          </a:lstStyle>
          <a:p>
            <a:r>
              <a:rPr lang="en-US"/>
              <a:t>Speaker Name</a:t>
            </a:r>
            <a:br>
              <a:rPr lang="en-US"/>
            </a:br>
            <a:r>
              <a:rPr lang="en-US"/>
              <a:t>Date</a:t>
            </a:r>
          </a:p>
        </p:txBody>
      </p:sp>
      <p:pic>
        <p:nvPicPr>
          <p:cNvPr id="6" name="Picture 5"/>
          <p:cNvPicPr>
            <a:picLocks noChangeAspect="1"/>
          </p:cNvPicPr>
          <p:nvPr userDrawn="1"/>
        </p:nvPicPr>
        <p:blipFill>
          <a:blip r:embed="rId6" cstate="email">
            <a:clrChange>
              <a:clrFrom>
                <a:srgbClr val="FFFFFF"/>
              </a:clrFrom>
              <a:clrTo>
                <a:srgbClr val="FFFFFF">
                  <a:alpha val="0"/>
                </a:srgbClr>
              </a:clrTo>
            </a:clrChange>
            <a:biLevel thresh="25000"/>
            <a:extLst>
              <a:ext uri="{28A0092B-C50C-407E-A947-70E740481C1C}">
                <a14:useLocalDpi xmlns:a14="http://schemas.microsoft.com/office/drawing/2010/main"/>
              </a:ext>
            </a:extLst>
          </a:blip>
          <a:stretch>
            <a:fillRect/>
          </a:stretch>
        </p:blipFill>
        <p:spPr>
          <a:xfrm>
            <a:off x="3178" y="2"/>
            <a:ext cx="3448281" cy="1595221"/>
          </a:xfrm>
          <a:prstGeom prst="rect">
            <a:avLst/>
          </a:prstGeom>
        </p:spPr>
      </p:pic>
    </p:spTree>
    <p:extLst>
      <p:ext uri="{BB962C8B-B14F-4D97-AF65-F5344CB8AC3E}">
        <p14:creationId xmlns:p14="http://schemas.microsoft.com/office/powerpoint/2010/main" val="126412497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128" name="Group 127"/>
          <p:cNvGrpSpPr/>
          <p:nvPr userDrawn="1"/>
        </p:nvGrpSpPr>
        <p:grpSpPr>
          <a:xfrm>
            <a:off x="2610807" y="5270504"/>
            <a:ext cx="9827154" cy="1724754"/>
            <a:chOff x="4402138" y="4330700"/>
            <a:chExt cx="4757738" cy="835026"/>
          </a:xfrm>
        </p:grpSpPr>
        <p:sp>
          <p:nvSpPr>
            <p:cNvPr id="219"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marL="0" marR="0" lvl="0" indent="0" algn="l" defTabSz="621461"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0"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marL="0" marR="0" lvl="0" indent="0" algn="l" defTabSz="621461"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1"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marL="0" marR="0" lvl="0" indent="0" algn="l" defTabSz="621461"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4" name="Group 23"/>
          <p:cNvGrpSpPr/>
          <p:nvPr userDrawn="1"/>
        </p:nvGrpSpPr>
        <p:grpSpPr>
          <a:xfrm>
            <a:off x="5067533" y="6253060"/>
            <a:ext cx="470039" cy="458142"/>
            <a:chOff x="5067530" y="6253060"/>
            <a:chExt cx="470039" cy="458142"/>
          </a:xfrm>
        </p:grpSpPr>
        <p:sp>
          <p:nvSpPr>
            <p:cNvPr id="146" name="Rectangle 7"/>
            <p:cNvSpPr>
              <a:spLocks noChangeArrowheads="1"/>
            </p:cNvSpPr>
            <p:nvPr userDrawn="1"/>
          </p:nvSpPr>
          <p:spPr bwMode="auto">
            <a:xfrm flipH="1">
              <a:off x="5208385" y="6427624"/>
              <a:ext cx="329184" cy="283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7" name="Rectangle 8"/>
            <p:cNvSpPr>
              <a:spLocks noChangeArrowheads="1"/>
            </p:cNvSpPr>
            <p:nvPr userDrawn="1"/>
          </p:nvSpPr>
          <p:spPr bwMode="auto">
            <a:xfrm flipH="1">
              <a:off x="5067530" y="6297029"/>
              <a:ext cx="362817" cy="4141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0" name="Rectangle 149"/>
            <p:cNvSpPr/>
            <p:nvPr userDrawn="1"/>
          </p:nvSpPr>
          <p:spPr bwMode="auto">
            <a:xfrm>
              <a:off x="5316482" y="6573207"/>
              <a:ext cx="76044" cy="9644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Rectangle 150"/>
            <p:cNvSpPr/>
            <p:nvPr userDrawn="1"/>
          </p:nvSpPr>
          <p:spPr bwMode="auto">
            <a:xfrm>
              <a:off x="5428924" y="6573207"/>
              <a:ext cx="76044" cy="9644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Rectangle 151"/>
            <p:cNvSpPr/>
            <p:nvPr userDrawn="1"/>
          </p:nvSpPr>
          <p:spPr bwMode="auto">
            <a:xfrm>
              <a:off x="5100322" y="6573207"/>
              <a:ext cx="76044" cy="9644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Rectangle 152"/>
            <p:cNvSpPr/>
            <p:nvPr userDrawn="1"/>
          </p:nvSpPr>
          <p:spPr bwMode="auto">
            <a:xfrm>
              <a:off x="5208402" y="6573207"/>
              <a:ext cx="76044" cy="9644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Rectangle 215"/>
            <p:cNvSpPr/>
            <p:nvPr userDrawn="1"/>
          </p:nvSpPr>
          <p:spPr bwMode="auto">
            <a:xfrm>
              <a:off x="5316482" y="6341456"/>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Rectangle 216"/>
            <p:cNvSpPr/>
            <p:nvPr userDrawn="1"/>
          </p:nvSpPr>
          <p:spPr bwMode="auto">
            <a:xfrm>
              <a:off x="5208402" y="6341456"/>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8" name="Rectangle 217"/>
            <p:cNvSpPr/>
            <p:nvPr userDrawn="1"/>
          </p:nvSpPr>
          <p:spPr bwMode="auto">
            <a:xfrm>
              <a:off x="5100322" y="6341456"/>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0" name="Rectangle 189"/>
            <p:cNvSpPr/>
            <p:nvPr userDrawn="1"/>
          </p:nvSpPr>
          <p:spPr bwMode="auto">
            <a:xfrm>
              <a:off x="5428924" y="6459119"/>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1" name="Rectangle 190"/>
            <p:cNvSpPr/>
            <p:nvPr userDrawn="1"/>
          </p:nvSpPr>
          <p:spPr bwMode="auto">
            <a:xfrm>
              <a:off x="5316482" y="6459119"/>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2" name="Rectangle 191"/>
            <p:cNvSpPr/>
            <p:nvPr userDrawn="1"/>
          </p:nvSpPr>
          <p:spPr bwMode="auto">
            <a:xfrm>
              <a:off x="5208402" y="6459119"/>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3" name="Rectangle 192"/>
            <p:cNvSpPr/>
            <p:nvPr userDrawn="1"/>
          </p:nvSpPr>
          <p:spPr bwMode="auto">
            <a:xfrm>
              <a:off x="5100322" y="6459119"/>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9" name="Rectangle 6"/>
            <p:cNvSpPr>
              <a:spLocks noChangeArrowheads="1"/>
            </p:cNvSpPr>
            <p:nvPr userDrawn="1"/>
          </p:nvSpPr>
          <p:spPr bwMode="auto">
            <a:xfrm flipH="1">
              <a:off x="5100321" y="6253060"/>
              <a:ext cx="108080" cy="5468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49" name="Rectangle 10"/>
          <p:cNvSpPr>
            <a:spLocks noChangeArrowheads="1"/>
          </p:cNvSpPr>
          <p:nvPr userDrawn="1"/>
        </p:nvSpPr>
        <p:spPr bwMode="auto">
          <a:xfrm flipH="1">
            <a:off x="1370770" y="5878859"/>
            <a:ext cx="546633" cy="6005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28" name="Group 27"/>
          <p:cNvGrpSpPr/>
          <p:nvPr userDrawn="1"/>
        </p:nvGrpSpPr>
        <p:grpSpPr>
          <a:xfrm>
            <a:off x="1321045" y="5793051"/>
            <a:ext cx="818370" cy="686381"/>
            <a:chOff x="1321042" y="5793049"/>
            <a:chExt cx="818370" cy="686381"/>
          </a:xfrm>
        </p:grpSpPr>
        <p:sp>
          <p:nvSpPr>
            <p:cNvPr id="148" name="Rectangle 9"/>
            <p:cNvSpPr>
              <a:spLocks noChangeArrowheads="1"/>
            </p:cNvSpPr>
            <p:nvPr/>
          </p:nvSpPr>
          <p:spPr bwMode="auto">
            <a:xfrm flipH="1">
              <a:off x="1592780" y="6228918"/>
              <a:ext cx="546632" cy="2505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27" name="Group 26"/>
            <p:cNvGrpSpPr/>
            <p:nvPr userDrawn="1"/>
          </p:nvGrpSpPr>
          <p:grpSpPr>
            <a:xfrm>
              <a:off x="1321042" y="5793049"/>
              <a:ext cx="764532" cy="599334"/>
              <a:chOff x="1321042" y="5793049"/>
              <a:chExt cx="764532" cy="599334"/>
            </a:xfrm>
          </p:grpSpPr>
          <p:sp>
            <p:nvSpPr>
              <p:cNvPr id="282" name="Rectangle 6"/>
              <p:cNvSpPr>
                <a:spLocks noChangeArrowheads="1"/>
              </p:cNvSpPr>
              <p:nvPr userDrawn="1"/>
            </p:nvSpPr>
            <p:spPr bwMode="auto">
              <a:xfrm flipH="1">
                <a:off x="1370769" y="5793049"/>
                <a:ext cx="91440" cy="506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5" name="Rectangle 214"/>
              <p:cNvSpPr/>
              <p:nvPr userDrawn="1"/>
            </p:nvSpPr>
            <p:spPr bwMode="auto">
              <a:xfrm>
                <a:off x="1949600" y="6266909"/>
                <a:ext cx="135230" cy="12547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1" name="Rectangle 6"/>
              <p:cNvSpPr>
                <a:spLocks noChangeArrowheads="1"/>
              </p:cNvSpPr>
              <p:nvPr userDrawn="1"/>
            </p:nvSpPr>
            <p:spPr bwMode="auto">
              <a:xfrm flipH="1">
                <a:off x="1321042" y="5844430"/>
                <a:ext cx="640080" cy="36576"/>
              </a:xfrm>
              <a:prstGeom prst="rect">
                <a:avLst/>
              </a:prstGeom>
              <a:solidFill>
                <a:schemeClr val="bg1">
                  <a:lumMod val="6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2" name="Rectangle 221"/>
              <p:cNvSpPr/>
              <p:nvPr userDrawn="1"/>
            </p:nvSpPr>
            <p:spPr bwMode="auto">
              <a:xfrm>
                <a:off x="1409374" y="5909621"/>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Rectangle 222"/>
              <p:cNvSpPr/>
              <p:nvPr userDrawn="1"/>
            </p:nvSpPr>
            <p:spPr bwMode="auto">
              <a:xfrm>
                <a:off x="1534990" y="5909621"/>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Rectangle 223"/>
              <p:cNvSpPr/>
              <p:nvPr userDrawn="1"/>
            </p:nvSpPr>
            <p:spPr bwMode="auto">
              <a:xfrm>
                <a:off x="1661403" y="5909621"/>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Rectangle 224"/>
              <p:cNvSpPr/>
              <p:nvPr userDrawn="1"/>
            </p:nvSpPr>
            <p:spPr bwMode="auto">
              <a:xfrm>
                <a:off x="1794849" y="5909621"/>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9" name="Rectangle 288"/>
              <p:cNvSpPr/>
              <p:nvPr userDrawn="1"/>
            </p:nvSpPr>
            <p:spPr bwMode="auto">
              <a:xfrm>
                <a:off x="1409374" y="6028612"/>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0" name="Rectangle 289"/>
              <p:cNvSpPr/>
              <p:nvPr userDrawn="1"/>
            </p:nvSpPr>
            <p:spPr bwMode="auto">
              <a:xfrm>
                <a:off x="1534990" y="6028612"/>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1" name="Rectangle 290"/>
              <p:cNvSpPr/>
              <p:nvPr userDrawn="1"/>
            </p:nvSpPr>
            <p:spPr bwMode="auto">
              <a:xfrm>
                <a:off x="1661403" y="6028612"/>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2" name="Rectangle 291"/>
              <p:cNvSpPr/>
              <p:nvPr userDrawn="1"/>
            </p:nvSpPr>
            <p:spPr bwMode="auto">
              <a:xfrm>
                <a:off x="1794849" y="6028612"/>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Rectangle 294"/>
              <p:cNvSpPr/>
              <p:nvPr userDrawn="1"/>
            </p:nvSpPr>
            <p:spPr bwMode="auto">
              <a:xfrm>
                <a:off x="1409374" y="6147603"/>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Rectangle 295"/>
              <p:cNvSpPr/>
              <p:nvPr userDrawn="1"/>
            </p:nvSpPr>
            <p:spPr bwMode="auto">
              <a:xfrm>
                <a:off x="1534990" y="6147603"/>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7" name="Rectangle 296"/>
              <p:cNvSpPr/>
              <p:nvPr userDrawn="1"/>
            </p:nvSpPr>
            <p:spPr bwMode="auto">
              <a:xfrm>
                <a:off x="1661403" y="6147603"/>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8" name="Rectangle 297"/>
              <p:cNvSpPr/>
              <p:nvPr userDrawn="1"/>
            </p:nvSpPr>
            <p:spPr bwMode="auto">
              <a:xfrm>
                <a:off x="1794849" y="6147603"/>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2" name="Rectangle 311"/>
              <p:cNvSpPr/>
              <p:nvPr userDrawn="1"/>
            </p:nvSpPr>
            <p:spPr bwMode="auto">
              <a:xfrm>
                <a:off x="1534990" y="6266591"/>
                <a:ext cx="83947" cy="12578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3" name="Rectangle 312"/>
              <p:cNvSpPr/>
              <p:nvPr userDrawn="1"/>
            </p:nvSpPr>
            <p:spPr bwMode="auto">
              <a:xfrm>
                <a:off x="1661403" y="6266595"/>
                <a:ext cx="83947" cy="12578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8" name="Rectangle 6"/>
              <p:cNvSpPr>
                <a:spLocks noChangeArrowheads="1"/>
              </p:cNvSpPr>
              <p:nvPr userDrawn="1"/>
            </p:nvSpPr>
            <p:spPr bwMode="auto">
              <a:xfrm flipH="1">
                <a:off x="1994134" y="6182191"/>
                <a:ext cx="91440" cy="506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277" name="Rectangle 6"/>
          <p:cNvSpPr>
            <a:spLocks noChangeArrowheads="1"/>
          </p:cNvSpPr>
          <p:nvPr userDrawn="1"/>
        </p:nvSpPr>
        <p:spPr bwMode="auto">
          <a:xfrm flipH="1">
            <a:off x="3416894" y="5783529"/>
            <a:ext cx="91441" cy="506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8" name="Rectangle 6"/>
          <p:cNvSpPr>
            <a:spLocks noChangeArrowheads="1"/>
          </p:cNvSpPr>
          <p:nvPr userDrawn="1"/>
        </p:nvSpPr>
        <p:spPr bwMode="auto">
          <a:xfrm flipH="1">
            <a:off x="3524041" y="5783529"/>
            <a:ext cx="91441" cy="506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9" name="Freeform 9"/>
          <p:cNvSpPr>
            <a:spLocks/>
          </p:cNvSpPr>
          <p:nvPr userDrawn="1"/>
        </p:nvSpPr>
        <p:spPr bwMode="auto">
          <a:xfrm>
            <a:off x="7104971" y="5672814"/>
            <a:ext cx="5331507" cy="1331570"/>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140" name="Freeform 15"/>
          <p:cNvSpPr>
            <a:spLocks/>
          </p:cNvSpPr>
          <p:nvPr userDrawn="1"/>
        </p:nvSpPr>
        <p:spPr bwMode="auto">
          <a:xfrm>
            <a:off x="9327157" y="6315940"/>
            <a:ext cx="3144301" cy="688442"/>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142" name="Freeform 141"/>
          <p:cNvSpPr>
            <a:spLocks/>
          </p:cNvSpPr>
          <p:nvPr userDrawn="1"/>
        </p:nvSpPr>
        <p:spPr bwMode="black">
          <a:xfrm>
            <a:off x="7185750" y="6735807"/>
            <a:ext cx="320838" cy="181002"/>
          </a:xfrm>
          <a:custGeom>
            <a:avLst/>
            <a:gdLst>
              <a:gd name="connsiteX0" fmla="*/ 208342 w 644867"/>
              <a:gd name="connsiteY0" fmla="*/ 178753 h 363803"/>
              <a:gd name="connsiteX1" fmla="*/ 284403 w 644867"/>
              <a:gd name="connsiteY1" fmla="*/ 224190 h 363803"/>
              <a:gd name="connsiteX2" fmla="*/ 322434 w 644867"/>
              <a:gd name="connsiteY2" fmla="*/ 234103 h 363803"/>
              <a:gd name="connsiteX3" fmla="*/ 359638 w 644867"/>
              <a:gd name="connsiteY3" fmla="*/ 224190 h 363803"/>
              <a:gd name="connsiteX4" fmla="*/ 436526 w 644867"/>
              <a:gd name="connsiteY4" fmla="*/ 178753 h 363803"/>
              <a:gd name="connsiteX5" fmla="*/ 644867 w 644867"/>
              <a:gd name="connsiteY5" fmla="*/ 302671 h 363803"/>
              <a:gd name="connsiteX6" fmla="*/ 644867 w 644867"/>
              <a:gd name="connsiteY6" fmla="*/ 324150 h 363803"/>
              <a:gd name="connsiteX7" fmla="*/ 605183 w 644867"/>
              <a:gd name="connsiteY7" fmla="*/ 363803 h 363803"/>
              <a:gd name="connsiteX8" fmla="*/ 39684 w 644867"/>
              <a:gd name="connsiteY8" fmla="*/ 363803 h 363803"/>
              <a:gd name="connsiteX9" fmla="*/ 0 w 644867"/>
              <a:gd name="connsiteY9" fmla="*/ 324150 h 363803"/>
              <a:gd name="connsiteX10" fmla="*/ 0 w 644867"/>
              <a:gd name="connsiteY10" fmla="*/ 302671 h 363803"/>
              <a:gd name="connsiteX11" fmla="*/ 208342 w 644867"/>
              <a:gd name="connsiteY11" fmla="*/ 178753 h 363803"/>
              <a:gd name="connsiteX12" fmla="*/ 644867 w 644867"/>
              <a:gd name="connsiteY12" fmla="*/ 54570 h 363803"/>
              <a:gd name="connsiteX13" fmla="*/ 644867 w 644867"/>
              <a:gd name="connsiteY13" fmla="*/ 267954 h 363803"/>
              <a:gd name="connsiteX14" fmla="*/ 465368 w 644867"/>
              <a:gd name="connsiteY14" fmla="*/ 161262 h 363803"/>
              <a:gd name="connsiteX15" fmla="*/ 0 w 644867"/>
              <a:gd name="connsiteY15" fmla="*/ 54570 h 363803"/>
              <a:gd name="connsiteX16" fmla="*/ 179149 w 644867"/>
              <a:gd name="connsiteY16" fmla="*/ 161262 h 363803"/>
              <a:gd name="connsiteX17" fmla="*/ 0 w 644867"/>
              <a:gd name="connsiteY17" fmla="*/ 267954 h 363803"/>
              <a:gd name="connsiteX18" fmla="*/ 39412 w 644867"/>
              <a:gd name="connsiteY18" fmla="*/ 0 h 363803"/>
              <a:gd name="connsiteX19" fmla="*/ 605107 w 644867"/>
              <a:gd name="connsiteY19" fmla="*/ 0 h 363803"/>
              <a:gd name="connsiteX20" fmla="*/ 640669 w 644867"/>
              <a:gd name="connsiteY20" fmla="*/ 22331 h 363803"/>
              <a:gd name="connsiteX21" fmla="*/ 343762 w 644867"/>
              <a:gd name="connsiteY21" fmla="*/ 198501 h 363803"/>
              <a:gd name="connsiteX22" fmla="*/ 343762 w 644867"/>
              <a:gd name="connsiteY22" fmla="*/ 199328 h 363803"/>
              <a:gd name="connsiteX23" fmla="*/ 322259 w 644867"/>
              <a:gd name="connsiteY23" fmla="*/ 204290 h 363803"/>
              <a:gd name="connsiteX24" fmla="*/ 299929 w 644867"/>
              <a:gd name="connsiteY24" fmla="*/ 199328 h 363803"/>
              <a:gd name="connsiteX25" fmla="*/ 3849 w 644867"/>
              <a:gd name="connsiteY25" fmla="*/ 22331 h 363803"/>
              <a:gd name="connsiteX26" fmla="*/ 39412 w 644867"/>
              <a:gd name="connsiteY26" fmla="*/ 0 h 36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44867" h="363803">
                <a:moveTo>
                  <a:pt x="208342" y="178753"/>
                </a:moveTo>
                <a:cubicBezTo>
                  <a:pt x="208342" y="178753"/>
                  <a:pt x="208342" y="178753"/>
                  <a:pt x="284403" y="224190"/>
                </a:cubicBezTo>
                <a:cubicBezTo>
                  <a:pt x="295151" y="230798"/>
                  <a:pt x="308379" y="234103"/>
                  <a:pt x="322434" y="234103"/>
                </a:cubicBezTo>
                <a:cubicBezTo>
                  <a:pt x="336489" y="234103"/>
                  <a:pt x="349717" y="230798"/>
                  <a:pt x="359638" y="224190"/>
                </a:cubicBezTo>
                <a:cubicBezTo>
                  <a:pt x="359638" y="224190"/>
                  <a:pt x="359638" y="224190"/>
                  <a:pt x="436526" y="178753"/>
                </a:cubicBezTo>
                <a:cubicBezTo>
                  <a:pt x="436526" y="178753"/>
                  <a:pt x="436526" y="178753"/>
                  <a:pt x="644867" y="302671"/>
                </a:cubicBezTo>
                <a:cubicBezTo>
                  <a:pt x="644867" y="302671"/>
                  <a:pt x="644867" y="302671"/>
                  <a:pt x="644867" y="324150"/>
                </a:cubicBezTo>
                <a:cubicBezTo>
                  <a:pt x="644867" y="346455"/>
                  <a:pt x="626679" y="363803"/>
                  <a:pt x="605183" y="363803"/>
                </a:cubicBezTo>
                <a:cubicBezTo>
                  <a:pt x="605183" y="363803"/>
                  <a:pt x="605183" y="363803"/>
                  <a:pt x="39684" y="363803"/>
                </a:cubicBezTo>
                <a:cubicBezTo>
                  <a:pt x="17362" y="363803"/>
                  <a:pt x="0" y="346455"/>
                  <a:pt x="0" y="324150"/>
                </a:cubicBezTo>
                <a:lnTo>
                  <a:pt x="0" y="302671"/>
                </a:lnTo>
                <a:cubicBezTo>
                  <a:pt x="0" y="302671"/>
                  <a:pt x="0" y="302671"/>
                  <a:pt x="208342" y="178753"/>
                </a:cubicBezTo>
                <a:close/>
                <a:moveTo>
                  <a:pt x="644867" y="54570"/>
                </a:moveTo>
                <a:lnTo>
                  <a:pt x="644867" y="267954"/>
                </a:lnTo>
                <a:lnTo>
                  <a:pt x="465368" y="161262"/>
                </a:lnTo>
                <a:close/>
                <a:moveTo>
                  <a:pt x="0" y="54570"/>
                </a:moveTo>
                <a:lnTo>
                  <a:pt x="179149" y="161262"/>
                </a:lnTo>
                <a:lnTo>
                  <a:pt x="0" y="267954"/>
                </a:lnTo>
                <a:close/>
                <a:moveTo>
                  <a:pt x="39412" y="0"/>
                </a:moveTo>
                <a:cubicBezTo>
                  <a:pt x="39412" y="0"/>
                  <a:pt x="39412" y="0"/>
                  <a:pt x="605107" y="0"/>
                </a:cubicBezTo>
                <a:cubicBezTo>
                  <a:pt x="620820" y="0"/>
                  <a:pt x="634053" y="9098"/>
                  <a:pt x="640669" y="22331"/>
                </a:cubicBezTo>
                <a:cubicBezTo>
                  <a:pt x="640669" y="22331"/>
                  <a:pt x="640669" y="22331"/>
                  <a:pt x="343762" y="198501"/>
                </a:cubicBezTo>
                <a:cubicBezTo>
                  <a:pt x="343762" y="198501"/>
                  <a:pt x="343762" y="198501"/>
                  <a:pt x="343762" y="199328"/>
                </a:cubicBezTo>
                <a:cubicBezTo>
                  <a:pt x="337973" y="202636"/>
                  <a:pt x="330530" y="204290"/>
                  <a:pt x="322259" y="204290"/>
                </a:cubicBezTo>
                <a:cubicBezTo>
                  <a:pt x="313989" y="204290"/>
                  <a:pt x="305718" y="202636"/>
                  <a:pt x="299929" y="199328"/>
                </a:cubicBezTo>
                <a:cubicBezTo>
                  <a:pt x="299929" y="199328"/>
                  <a:pt x="299929" y="199328"/>
                  <a:pt x="3849" y="22331"/>
                </a:cubicBezTo>
                <a:cubicBezTo>
                  <a:pt x="9639" y="9098"/>
                  <a:pt x="23698" y="0"/>
                  <a:pt x="39412" y="0"/>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397" tIns="45699" rIns="91397" bIns="45699" numCol="1" rtlCol="0" anchor="ctr" anchorCtr="0" compatLnSpc="1">
            <a:prstTxWarp prst="textNoShape">
              <a:avLst/>
            </a:prstTxWarp>
            <a:noAutofit/>
          </a:bodyPr>
          <a:lstStyle/>
          <a:p>
            <a:pPr marL="0" marR="0" lvl="0" indent="0" algn="l" defTabSz="7402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sp>
        <p:nvSpPr>
          <p:cNvPr id="143" name="Rectangle 5"/>
          <p:cNvSpPr>
            <a:spLocks noChangeArrowheads="1"/>
          </p:cNvSpPr>
          <p:nvPr userDrawn="1"/>
        </p:nvSpPr>
        <p:spPr bwMode="auto">
          <a:xfrm flipH="1">
            <a:off x="3418308" y="5868869"/>
            <a:ext cx="550363" cy="53060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4" name="Rectangle 6"/>
          <p:cNvSpPr>
            <a:spLocks noChangeArrowheads="1"/>
          </p:cNvSpPr>
          <p:nvPr userDrawn="1"/>
        </p:nvSpPr>
        <p:spPr bwMode="auto">
          <a:xfrm flipH="1">
            <a:off x="3373346" y="5832524"/>
            <a:ext cx="640080" cy="36576"/>
          </a:xfrm>
          <a:prstGeom prst="rect">
            <a:avLst/>
          </a:prstGeom>
          <a:solidFill>
            <a:schemeClr val="bg1">
              <a:lumMod val="65000"/>
            </a:schemeClr>
          </a:solidFill>
          <a:ln>
            <a:noFill/>
          </a:ln>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5" name="Rectangle 144"/>
          <p:cNvSpPr/>
          <p:nvPr userDrawn="1"/>
        </p:nvSpPr>
        <p:spPr bwMode="auto">
          <a:xfrm>
            <a:off x="3462616" y="6228918"/>
            <a:ext cx="461744" cy="7315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6" name="Freeform 11"/>
          <p:cNvSpPr>
            <a:spLocks/>
          </p:cNvSpPr>
          <p:nvPr userDrawn="1"/>
        </p:nvSpPr>
        <p:spPr bwMode="auto">
          <a:xfrm flipH="1">
            <a:off x="4392842" y="6489852"/>
            <a:ext cx="3970621" cy="51025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7" name="Freeform 18"/>
          <p:cNvSpPr>
            <a:spLocks/>
          </p:cNvSpPr>
          <p:nvPr userDrawn="1"/>
        </p:nvSpPr>
        <p:spPr bwMode="auto">
          <a:xfrm flipH="1">
            <a:off x="984" y="6027174"/>
            <a:ext cx="6091253" cy="97293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8" name="Freeform 29"/>
          <p:cNvSpPr>
            <a:spLocks/>
          </p:cNvSpPr>
          <p:nvPr userDrawn="1"/>
        </p:nvSpPr>
        <p:spPr bwMode="auto">
          <a:xfrm flipH="1">
            <a:off x="432650" y="6571942"/>
            <a:ext cx="3340253"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9" name="AutoShape 3"/>
          <p:cNvSpPr>
            <a:spLocks noChangeAspect="1" noChangeArrowheads="1" noTextEdit="1"/>
          </p:cNvSpPr>
          <p:nvPr userDrawn="1"/>
        </p:nvSpPr>
        <p:spPr bwMode="auto">
          <a:xfrm flipH="1">
            <a:off x="985" y="5602741"/>
            <a:ext cx="4298430"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60" name="Group 159"/>
          <p:cNvGrpSpPr/>
          <p:nvPr userDrawn="1"/>
        </p:nvGrpSpPr>
        <p:grpSpPr>
          <a:xfrm flipH="1">
            <a:off x="2682364" y="5937790"/>
            <a:ext cx="188333" cy="365034"/>
            <a:chOff x="6229350" y="5232400"/>
            <a:chExt cx="539750" cy="1046162"/>
          </a:xfrm>
        </p:grpSpPr>
        <p:sp>
          <p:nvSpPr>
            <p:cNvPr id="20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61" name="Group 160"/>
          <p:cNvGrpSpPr/>
          <p:nvPr userDrawn="1"/>
        </p:nvGrpSpPr>
        <p:grpSpPr>
          <a:xfrm flipH="1">
            <a:off x="4803498" y="6266911"/>
            <a:ext cx="188333" cy="365034"/>
            <a:chOff x="6229350" y="5232400"/>
            <a:chExt cx="539750" cy="1046162"/>
          </a:xfrm>
        </p:grpSpPr>
        <p:sp>
          <p:nvSpPr>
            <p:cNvPr id="203"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4"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5"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62" name="Freeform 17"/>
          <p:cNvSpPr>
            <a:spLocks/>
          </p:cNvSpPr>
          <p:nvPr userDrawn="1"/>
        </p:nvSpPr>
        <p:spPr bwMode="auto">
          <a:xfrm flipH="1">
            <a:off x="-5288" y="6414294"/>
            <a:ext cx="1445870" cy="58581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63" name="Group 162"/>
          <p:cNvGrpSpPr/>
          <p:nvPr userDrawn="1"/>
        </p:nvGrpSpPr>
        <p:grpSpPr>
          <a:xfrm flipH="1">
            <a:off x="4579669" y="6201149"/>
            <a:ext cx="188333" cy="365034"/>
            <a:chOff x="6229350" y="5232400"/>
            <a:chExt cx="539750" cy="1046162"/>
          </a:xfrm>
        </p:grpSpPr>
        <p:sp>
          <p:nvSpPr>
            <p:cNvPr id="20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65" name="Group 164"/>
          <p:cNvGrpSpPr/>
          <p:nvPr userDrawn="1"/>
        </p:nvGrpSpPr>
        <p:grpSpPr>
          <a:xfrm>
            <a:off x="10950847" y="5461051"/>
            <a:ext cx="485776" cy="941389"/>
            <a:chOff x="7916877" y="4953006"/>
            <a:chExt cx="485776" cy="941389"/>
          </a:xfrm>
        </p:grpSpPr>
        <p:sp>
          <p:nvSpPr>
            <p:cNvPr id="197" name="Rectangle 43"/>
            <p:cNvSpPr>
              <a:spLocks noChangeArrowheads="1"/>
            </p:cNvSpPr>
            <p:nvPr userDrawn="1"/>
          </p:nvSpPr>
          <p:spPr bwMode="auto">
            <a:xfrm>
              <a:off x="8113727" y="5524507"/>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8" name="Oval 44"/>
            <p:cNvSpPr>
              <a:spLocks noChangeArrowheads="1"/>
            </p:cNvSpPr>
            <p:nvPr userDrawn="1"/>
          </p:nvSpPr>
          <p:spPr bwMode="auto">
            <a:xfrm>
              <a:off x="7916877" y="5205419"/>
              <a:ext cx="485776" cy="485776"/>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9" name="Oval 45"/>
            <p:cNvSpPr>
              <a:spLocks noChangeArrowheads="1"/>
            </p:cNvSpPr>
            <p:nvPr userDrawn="1"/>
          </p:nvSpPr>
          <p:spPr bwMode="auto">
            <a:xfrm>
              <a:off x="7977202" y="4953006"/>
              <a:ext cx="357188" cy="357188"/>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66" name="Freeform 11"/>
          <p:cNvSpPr>
            <a:spLocks/>
          </p:cNvSpPr>
          <p:nvPr userDrawn="1"/>
        </p:nvSpPr>
        <p:spPr bwMode="auto">
          <a:xfrm>
            <a:off x="8668361" y="3297853"/>
            <a:ext cx="2763842" cy="2762254"/>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7" name="Freeform 12"/>
          <p:cNvSpPr>
            <a:spLocks/>
          </p:cNvSpPr>
          <p:nvPr userDrawn="1"/>
        </p:nvSpPr>
        <p:spPr bwMode="auto">
          <a:xfrm flipH="1">
            <a:off x="8088330" y="577853"/>
            <a:ext cx="1508128" cy="990602"/>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chemeClr val="bg1">
              <a:lumMod val="95000"/>
            </a:schemeClr>
          </a:solidFill>
          <a:ln>
            <a:noFill/>
          </a:ln>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8" name="Freeform 13"/>
          <p:cNvSpPr>
            <a:spLocks/>
          </p:cNvSpPr>
          <p:nvPr userDrawn="1"/>
        </p:nvSpPr>
        <p:spPr bwMode="auto">
          <a:xfrm>
            <a:off x="9793305" y="1322388"/>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9" name="Freeform 14"/>
          <p:cNvSpPr>
            <a:spLocks/>
          </p:cNvSpPr>
          <p:nvPr userDrawn="1"/>
        </p:nvSpPr>
        <p:spPr bwMode="auto">
          <a:xfrm flipH="1">
            <a:off x="7386651" y="1501776"/>
            <a:ext cx="836614" cy="546101"/>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chemeClr val="accent6">
              <a:lumMod val="20000"/>
              <a:lumOff val="80000"/>
            </a:schemeClr>
          </a:solidFill>
          <a:ln>
            <a:noFill/>
          </a:ln>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0" name="Rectangle 16"/>
          <p:cNvSpPr>
            <a:spLocks noChangeArrowheads="1"/>
          </p:cNvSpPr>
          <p:nvPr userDrawn="1"/>
        </p:nvSpPr>
        <p:spPr bwMode="auto">
          <a:xfrm>
            <a:off x="8518542" y="2017714"/>
            <a:ext cx="1846266" cy="1531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1" name="Rectangle 20"/>
          <p:cNvSpPr>
            <a:spLocks noChangeArrowheads="1"/>
          </p:cNvSpPr>
          <p:nvPr userDrawn="1"/>
        </p:nvSpPr>
        <p:spPr bwMode="auto">
          <a:xfrm>
            <a:off x="8704278" y="2220916"/>
            <a:ext cx="1489079"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2" name="Rectangle 22"/>
          <p:cNvSpPr>
            <a:spLocks noChangeArrowheads="1"/>
          </p:cNvSpPr>
          <p:nvPr userDrawn="1"/>
        </p:nvSpPr>
        <p:spPr bwMode="auto">
          <a:xfrm>
            <a:off x="8704278" y="2640016"/>
            <a:ext cx="1489079"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3" name="Rectangle 27"/>
          <p:cNvSpPr>
            <a:spLocks noChangeArrowheads="1"/>
          </p:cNvSpPr>
          <p:nvPr userDrawn="1"/>
        </p:nvSpPr>
        <p:spPr bwMode="auto">
          <a:xfrm>
            <a:off x="8704278" y="3051178"/>
            <a:ext cx="1489079"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4" name="Rectangle 29"/>
          <p:cNvSpPr>
            <a:spLocks noChangeArrowheads="1"/>
          </p:cNvSpPr>
          <p:nvPr userDrawn="1"/>
        </p:nvSpPr>
        <p:spPr bwMode="auto">
          <a:xfrm>
            <a:off x="8518542" y="3549656"/>
            <a:ext cx="1846266" cy="2344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5" name="Rectangle 31"/>
          <p:cNvSpPr>
            <a:spLocks noChangeArrowheads="1"/>
          </p:cNvSpPr>
          <p:nvPr userDrawn="1"/>
        </p:nvSpPr>
        <p:spPr bwMode="auto">
          <a:xfrm>
            <a:off x="8426466" y="3513143"/>
            <a:ext cx="2030417"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6" name="Rectangle 34"/>
          <p:cNvSpPr>
            <a:spLocks noChangeArrowheads="1"/>
          </p:cNvSpPr>
          <p:nvPr userDrawn="1"/>
        </p:nvSpPr>
        <p:spPr bwMode="auto">
          <a:xfrm>
            <a:off x="9115442" y="5426084"/>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7" name="Rectangle 36"/>
          <p:cNvSpPr>
            <a:spLocks noChangeArrowheads="1"/>
          </p:cNvSpPr>
          <p:nvPr userDrawn="1"/>
        </p:nvSpPr>
        <p:spPr bwMode="auto">
          <a:xfrm>
            <a:off x="8704278" y="3795719"/>
            <a:ext cx="1489079"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8" name="Rectangle 38"/>
          <p:cNvSpPr>
            <a:spLocks noChangeArrowheads="1"/>
          </p:cNvSpPr>
          <p:nvPr userDrawn="1"/>
        </p:nvSpPr>
        <p:spPr bwMode="auto">
          <a:xfrm>
            <a:off x="8704278" y="4208467"/>
            <a:ext cx="1489079"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9" name="Rectangle 42"/>
          <p:cNvSpPr>
            <a:spLocks noChangeArrowheads="1"/>
          </p:cNvSpPr>
          <p:nvPr userDrawn="1"/>
        </p:nvSpPr>
        <p:spPr bwMode="auto">
          <a:xfrm>
            <a:off x="8704278" y="5038731"/>
            <a:ext cx="1489079"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80" name="Group 179"/>
          <p:cNvGrpSpPr/>
          <p:nvPr userDrawn="1"/>
        </p:nvGrpSpPr>
        <p:grpSpPr>
          <a:xfrm>
            <a:off x="9491238" y="5857916"/>
            <a:ext cx="485776" cy="941389"/>
            <a:chOff x="7319976" y="4953006"/>
            <a:chExt cx="485776" cy="941389"/>
          </a:xfrm>
        </p:grpSpPr>
        <p:sp>
          <p:nvSpPr>
            <p:cNvPr id="194" name="Rectangle 46"/>
            <p:cNvSpPr>
              <a:spLocks noChangeArrowheads="1"/>
            </p:cNvSpPr>
            <p:nvPr userDrawn="1"/>
          </p:nvSpPr>
          <p:spPr bwMode="auto">
            <a:xfrm>
              <a:off x="7516826" y="5524507"/>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5" name="Oval 47"/>
            <p:cNvSpPr>
              <a:spLocks noChangeArrowheads="1"/>
            </p:cNvSpPr>
            <p:nvPr userDrawn="1"/>
          </p:nvSpPr>
          <p:spPr bwMode="auto">
            <a:xfrm>
              <a:off x="7319976" y="5205419"/>
              <a:ext cx="485776" cy="485776"/>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6" name="Oval 48"/>
            <p:cNvSpPr>
              <a:spLocks noChangeArrowheads="1"/>
            </p:cNvSpPr>
            <p:nvPr userDrawn="1"/>
          </p:nvSpPr>
          <p:spPr bwMode="auto">
            <a:xfrm>
              <a:off x="7380301" y="4953006"/>
              <a:ext cx="357188" cy="357188"/>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81" name="Freeform 263"/>
          <p:cNvSpPr>
            <a:spLocks/>
          </p:cNvSpPr>
          <p:nvPr userDrawn="1"/>
        </p:nvSpPr>
        <p:spPr bwMode="auto">
          <a:xfrm flipH="1">
            <a:off x="9767465" y="1212855"/>
            <a:ext cx="705928" cy="467731"/>
          </a:xfrm>
          <a:custGeom>
            <a:avLst/>
            <a:gdLst>
              <a:gd name="T0" fmla="*/ 181 w 216"/>
              <a:gd name="T1" fmla="*/ 63 h 143"/>
              <a:gd name="T2" fmla="*/ 181 w 216"/>
              <a:gd name="T3" fmla="*/ 60 h 143"/>
              <a:gd name="T4" fmla="*/ 122 w 216"/>
              <a:gd name="T5" fmla="*/ 0 h 143"/>
              <a:gd name="T6" fmla="*/ 72 w 216"/>
              <a:gd name="T7" fmla="*/ 27 h 143"/>
              <a:gd name="T8" fmla="*/ 56 w 216"/>
              <a:gd name="T9" fmla="*/ 23 h 143"/>
              <a:gd name="T10" fmla="*/ 36 w 216"/>
              <a:gd name="T11" fmla="*/ 28 h 143"/>
              <a:gd name="T12" fmla="*/ 21 w 216"/>
              <a:gd name="T13" fmla="*/ 56 h 143"/>
              <a:gd name="T14" fmla="*/ 0 w 216"/>
              <a:gd name="T15" fmla="*/ 96 h 143"/>
              <a:gd name="T16" fmla="*/ 41 w 216"/>
              <a:gd name="T17" fmla="*/ 143 h 143"/>
              <a:gd name="T18" fmla="*/ 47 w 216"/>
              <a:gd name="T19" fmla="*/ 143 h 143"/>
              <a:gd name="T20" fmla="*/ 51 w 216"/>
              <a:gd name="T21" fmla="*/ 143 h 143"/>
              <a:gd name="T22" fmla="*/ 149 w 216"/>
              <a:gd name="T23" fmla="*/ 143 h 143"/>
              <a:gd name="T24" fmla="*/ 151 w 216"/>
              <a:gd name="T25" fmla="*/ 143 h 143"/>
              <a:gd name="T26" fmla="*/ 153 w 216"/>
              <a:gd name="T27" fmla="*/ 143 h 143"/>
              <a:gd name="T28" fmla="*/ 160 w 216"/>
              <a:gd name="T29" fmla="*/ 143 h 143"/>
              <a:gd name="T30" fmla="*/ 176 w 216"/>
              <a:gd name="T31" fmla="*/ 143 h 143"/>
              <a:gd name="T32" fmla="*/ 216 w 216"/>
              <a:gd name="T33" fmla="*/ 102 h 143"/>
              <a:gd name="T34" fmla="*/ 181 w 216"/>
              <a:gd name="T35" fmla="*/ 6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143">
                <a:moveTo>
                  <a:pt x="181" y="63"/>
                </a:moveTo>
                <a:cubicBezTo>
                  <a:pt x="181" y="62"/>
                  <a:pt x="181" y="61"/>
                  <a:pt x="181" y="60"/>
                </a:cubicBezTo>
                <a:cubicBezTo>
                  <a:pt x="181" y="27"/>
                  <a:pt x="155" y="0"/>
                  <a:pt x="122" y="0"/>
                </a:cubicBezTo>
                <a:cubicBezTo>
                  <a:pt x="101" y="0"/>
                  <a:pt x="83" y="11"/>
                  <a:pt x="72" y="27"/>
                </a:cubicBezTo>
                <a:cubicBezTo>
                  <a:pt x="67" y="24"/>
                  <a:pt x="62" y="23"/>
                  <a:pt x="56" y="23"/>
                </a:cubicBezTo>
                <a:cubicBezTo>
                  <a:pt x="48" y="23"/>
                  <a:pt x="42" y="25"/>
                  <a:pt x="36" y="28"/>
                </a:cubicBezTo>
                <a:cubicBezTo>
                  <a:pt x="27" y="34"/>
                  <a:pt x="21" y="45"/>
                  <a:pt x="21" y="56"/>
                </a:cubicBezTo>
                <a:cubicBezTo>
                  <a:pt x="8" y="65"/>
                  <a:pt x="0" y="79"/>
                  <a:pt x="0" y="96"/>
                </a:cubicBezTo>
                <a:cubicBezTo>
                  <a:pt x="0" y="120"/>
                  <a:pt x="18" y="140"/>
                  <a:pt x="41" y="143"/>
                </a:cubicBezTo>
                <a:cubicBezTo>
                  <a:pt x="43" y="143"/>
                  <a:pt x="45" y="143"/>
                  <a:pt x="47" y="143"/>
                </a:cubicBezTo>
                <a:cubicBezTo>
                  <a:pt x="48" y="143"/>
                  <a:pt x="50" y="143"/>
                  <a:pt x="51" y="143"/>
                </a:cubicBezTo>
                <a:cubicBezTo>
                  <a:pt x="73" y="143"/>
                  <a:pt x="124" y="143"/>
                  <a:pt x="149" y="143"/>
                </a:cubicBezTo>
                <a:cubicBezTo>
                  <a:pt x="150" y="143"/>
                  <a:pt x="150" y="143"/>
                  <a:pt x="151" y="143"/>
                </a:cubicBezTo>
                <a:cubicBezTo>
                  <a:pt x="153" y="143"/>
                  <a:pt x="153" y="143"/>
                  <a:pt x="153" y="143"/>
                </a:cubicBezTo>
                <a:cubicBezTo>
                  <a:pt x="154" y="143"/>
                  <a:pt x="158" y="143"/>
                  <a:pt x="160" y="143"/>
                </a:cubicBezTo>
                <a:cubicBezTo>
                  <a:pt x="176" y="143"/>
                  <a:pt x="176" y="143"/>
                  <a:pt x="176" y="143"/>
                </a:cubicBezTo>
                <a:cubicBezTo>
                  <a:pt x="198" y="142"/>
                  <a:pt x="216" y="124"/>
                  <a:pt x="216" y="102"/>
                </a:cubicBezTo>
                <a:cubicBezTo>
                  <a:pt x="216" y="82"/>
                  <a:pt x="201" y="66"/>
                  <a:pt x="181" y="63"/>
                </a:cubicBezTo>
                <a:close/>
              </a:path>
            </a:pathLst>
          </a:custGeom>
          <a:solidFill>
            <a:schemeClr val="accent6">
              <a:lumMod val="40000"/>
              <a:lumOff val="60000"/>
            </a:schemeClr>
          </a:solidFill>
          <a:ln>
            <a:noFill/>
          </a:ln>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2" name="Freeform 264"/>
          <p:cNvSpPr>
            <a:spLocks/>
          </p:cNvSpPr>
          <p:nvPr userDrawn="1"/>
        </p:nvSpPr>
        <p:spPr bwMode="auto">
          <a:xfrm flipH="1">
            <a:off x="11328706" y="1452493"/>
            <a:ext cx="873388" cy="574559"/>
          </a:xfrm>
          <a:custGeom>
            <a:avLst/>
            <a:gdLst>
              <a:gd name="T0" fmla="*/ 224 w 267"/>
              <a:gd name="T1" fmla="*/ 77 h 176"/>
              <a:gd name="T2" fmla="*/ 224 w 267"/>
              <a:gd name="T3" fmla="*/ 74 h 176"/>
              <a:gd name="T4" fmla="*/ 151 w 267"/>
              <a:gd name="T5" fmla="*/ 0 h 176"/>
              <a:gd name="T6" fmla="*/ 89 w 267"/>
              <a:gd name="T7" fmla="*/ 33 h 176"/>
              <a:gd name="T8" fmla="*/ 69 w 267"/>
              <a:gd name="T9" fmla="*/ 28 h 176"/>
              <a:gd name="T10" fmla="*/ 46 w 267"/>
              <a:gd name="T11" fmla="*/ 35 h 176"/>
              <a:gd name="T12" fmla="*/ 27 w 267"/>
              <a:gd name="T13" fmla="*/ 69 h 176"/>
              <a:gd name="T14" fmla="*/ 0 w 267"/>
              <a:gd name="T15" fmla="*/ 118 h 176"/>
              <a:gd name="T16" fmla="*/ 52 w 267"/>
              <a:gd name="T17" fmla="*/ 176 h 176"/>
              <a:gd name="T18" fmla="*/ 58 w 267"/>
              <a:gd name="T19" fmla="*/ 176 h 176"/>
              <a:gd name="T20" fmla="*/ 64 w 267"/>
              <a:gd name="T21" fmla="*/ 176 h 176"/>
              <a:gd name="T22" fmla="*/ 184 w 267"/>
              <a:gd name="T23" fmla="*/ 176 h 176"/>
              <a:gd name="T24" fmla="*/ 186 w 267"/>
              <a:gd name="T25" fmla="*/ 176 h 176"/>
              <a:gd name="T26" fmla="*/ 190 w 267"/>
              <a:gd name="T27" fmla="*/ 176 h 176"/>
              <a:gd name="T28" fmla="*/ 198 w 267"/>
              <a:gd name="T29" fmla="*/ 176 h 176"/>
              <a:gd name="T30" fmla="*/ 218 w 267"/>
              <a:gd name="T31" fmla="*/ 176 h 176"/>
              <a:gd name="T32" fmla="*/ 267 w 267"/>
              <a:gd name="T33" fmla="*/ 126 h 176"/>
              <a:gd name="T34" fmla="*/ 224 w 267"/>
              <a:gd name="T35" fmla="*/ 7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7" h="176">
                <a:moveTo>
                  <a:pt x="224" y="77"/>
                </a:moveTo>
                <a:cubicBezTo>
                  <a:pt x="224" y="76"/>
                  <a:pt x="224" y="75"/>
                  <a:pt x="224" y="74"/>
                </a:cubicBezTo>
                <a:cubicBezTo>
                  <a:pt x="224" y="33"/>
                  <a:pt x="191" y="0"/>
                  <a:pt x="151" y="0"/>
                </a:cubicBezTo>
                <a:cubicBezTo>
                  <a:pt x="125" y="0"/>
                  <a:pt x="103" y="13"/>
                  <a:pt x="89" y="33"/>
                </a:cubicBezTo>
                <a:cubicBezTo>
                  <a:pt x="84" y="30"/>
                  <a:pt x="77" y="28"/>
                  <a:pt x="69" y="28"/>
                </a:cubicBezTo>
                <a:cubicBezTo>
                  <a:pt x="60" y="28"/>
                  <a:pt x="52" y="30"/>
                  <a:pt x="46" y="35"/>
                </a:cubicBezTo>
                <a:cubicBezTo>
                  <a:pt x="34" y="42"/>
                  <a:pt x="27" y="55"/>
                  <a:pt x="27" y="69"/>
                </a:cubicBezTo>
                <a:cubicBezTo>
                  <a:pt x="11" y="80"/>
                  <a:pt x="0" y="98"/>
                  <a:pt x="0" y="118"/>
                </a:cubicBezTo>
                <a:cubicBezTo>
                  <a:pt x="0" y="148"/>
                  <a:pt x="23" y="172"/>
                  <a:pt x="52" y="176"/>
                </a:cubicBezTo>
                <a:cubicBezTo>
                  <a:pt x="54" y="176"/>
                  <a:pt x="56" y="176"/>
                  <a:pt x="58" y="176"/>
                </a:cubicBezTo>
                <a:cubicBezTo>
                  <a:pt x="60" y="176"/>
                  <a:pt x="62" y="176"/>
                  <a:pt x="64" y="176"/>
                </a:cubicBezTo>
                <a:cubicBezTo>
                  <a:pt x="91" y="176"/>
                  <a:pt x="154" y="176"/>
                  <a:pt x="184" y="176"/>
                </a:cubicBezTo>
                <a:cubicBezTo>
                  <a:pt x="185" y="176"/>
                  <a:pt x="186" y="176"/>
                  <a:pt x="186" y="176"/>
                </a:cubicBezTo>
                <a:cubicBezTo>
                  <a:pt x="190" y="176"/>
                  <a:pt x="190" y="176"/>
                  <a:pt x="190" y="176"/>
                </a:cubicBezTo>
                <a:cubicBezTo>
                  <a:pt x="191" y="176"/>
                  <a:pt x="195" y="176"/>
                  <a:pt x="198" y="176"/>
                </a:cubicBezTo>
                <a:cubicBezTo>
                  <a:pt x="218" y="176"/>
                  <a:pt x="218" y="176"/>
                  <a:pt x="218" y="176"/>
                </a:cubicBezTo>
                <a:cubicBezTo>
                  <a:pt x="245" y="175"/>
                  <a:pt x="267" y="153"/>
                  <a:pt x="267" y="126"/>
                </a:cubicBezTo>
                <a:cubicBezTo>
                  <a:pt x="267" y="101"/>
                  <a:pt x="248" y="81"/>
                  <a:pt x="224" y="77"/>
                </a:cubicBezTo>
                <a:close/>
              </a:path>
            </a:pathLst>
          </a:custGeom>
          <a:solidFill>
            <a:schemeClr val="bg1"/>
          </a:solidFill>
          <a:ln>
            <a:noFill/>
          </a:ln>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3" name="Freeform 266"/>
          <p:cNvSpPr>
            <a:spLocks/>
          </p:cNvSpPr>
          <p:nvPr userDrawn="1"/>
        </p:nvSpPr>
        <p:spPr bwMode="auto">
          <a:xfrm>
            <a:off x="10480612" y="2678121"/>
            <a:ext cx="664063" cy="154466"/>
          </a:xfrm>
          <a:custGeom>
            <a:avLst/>
            <a:gdLst>
              <a:gd name="T0" fmla="*/ 147 w 203"/>
              <a:gd name="T1" fmla="*/ 0 h 47"/>
              <a:gd name="T2" fmla="*/ 112 w 203"/>
              <a:gd name="T3" fmla="*/ 11 h 47"/>
              <a:gd name="T4" fmla="*/ 72 w 203"/>
              <a:gd name="T5" fmla="*/ 0 h 47"/>
              <a:gd name="T6" fmla="*/ 0 w 203"/>
              <a:gd name="T7" fmla="*/ 47 h 47"/>
              <a:gd name="T8" fmla="*/ 72 w 203"/>
              <a:gd name="T9" fmla="*/ 19 h 47"/>
              <a:gd name="T10" fmla="*/ 99 w 203"/>
              <a:gd name="T11" fmla="*/ 22 h 47"/>
              <a:gd name="T12" fmla="*/ 91 w 203"/>
              <a:gd name="T13" fmla="*/ 36 h 47"/>
              <a:gd name="T14" fmla="*/ 107 w 203"/>
              <a:gd name="T15" fmla="*/ 24 h 47"/>
              <a:gd name="T16" fmla="*/ 122 w 203"/>
              <a:gd name="T17" fmla="*/ 18 h 47"/>
              <a:gd name="T18" fmla="*/ 147 w 203"/>
              <a:gd name="T19" fmla="*/ 15 h 47"/>
              <a:gd name="T20" fmla="*/ 203 w 203"/>
              <a:gd name="T21" fmla="*/ 36 h 47"/>
              <a:gd name="T22" fmla="*/ 147 w 203"/>
              <a:gd name="T2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3" h="47">
                <a:moveTo>
                  <a:pt x="147" y="0"/>
                </a:moveTo>
                <a:cubicBezTo>
                  <a:pt x="134" y="0"/>
                  <a:pt x="122" y="4"/>
                  <a:pt x="112" y="11"/>
                </a:cubicBezTo>
                <a:cubicBezTo>
                  <a:pt x="101" y="4"/>
                  <a:pt x="87" y="0"/>
                  <a:pt x="72" y="0"/>
                </a:cubicBezTo>
                <a:cubicBezTo>
                  <a:pt x="40" y="0"/>
                  <a:pt x="12" y="19"/>
                  <a:pt x="0" y="47"/>
                </a:cubicBezTo>
                <a:cubicBezTo>
                  <a:pt x="17" y="30"/>
                  <a:pt x="43" y="19"/>
                  <a:pt x="72" y="19"/>
                </a:cubicBezTo>
                <a:cubicBezTo>
                  <a:pt x="82" y="19"/>
                  <a:pt x="91" y="20"/>
                  <a:pt x="99" y="22"/>
                </a:cubicBezTo>
                <a:cubicBezTo>
                  <a:pt x="96" y="27"/>
                  <a:pt x="93" y="31"/>
                  <a:pt x="91" y="36"/>
                </a:cubicBezTo>
                <a:cubicBezTo>
                  <a:pt x="96" y="32"/>
                  <a:pt x="101" y="28"/>
                  <a:pt x="107" y="24"/>
                </a:cubicBezTo>
                <a:cubicBezTo>
                  <a:pt x="112" y="22"/>
                  <a:pt x="117" y="20"/>
                  <a:pt x="122" y="18"/>
                </a:cubicBezTo>
                <a:cubicBezTo>
                  <a:pt x="130" y="16"/>
                  <a:pt x="138" y="15"/>
                  <a:pt x="147" y="15"/>
                </a:cubicBezTo>
                <a:cubicBezTo>
                  <a:pt x="169" y="15"/>
                  <a:pt x="189" y="23"/>
                  <a:pt x="203" y="36"/>
                </a:cubicBezTo>
                <a:cubicBezTo>
                  <a:pt x="193" y="15"/>
                  <a:pt x="172" y="0"/>
                  <a:pt x="147" y="0"/>
                </a:cubicBezTo>
              </a:path>
            </a:pathLst>
          </a:custGeom>
          <a:solidFill>
            <a:schemeClr val="accent1">
              <a:lumMod val="50000"/>
            </a:schemeClr>
          </a:solidFill>
          <a:ln>
            <a:noFill/>
          </a:ln>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4" name="Freeform 267"/>
          <p:cNvSpPr>
            <a:spLocks/>
          </p:cNvSpPr>
          <p:nvPr userDrawn="1"/>
        </p:nvSpPr>
        <p:spPr bwMode="auto">
          <a:xfrm>
            <a:off x="11013304" y="2411056"/>
            <a:ext cx="661176" cy="147249"/>
          </a:xfrm>
          <a:custGeom>
            <a:avLst/>
            <a:gdLst>
              <a:gd name="T0" fmla="*/ 146 w 202"/>
              <a:gd name="T1" fmla="*/ 0 h 45"/>
              <a:gd name="T2" fmla="*/ 111 w 202"/>
              <a:gd name="T3" fmla="*/ 10 h 45"/>
              <a:gd name="T4" fmla="*/ 71 w 202"/>
              <a:gd name="T5" fmla="*/ 0 h 45"/>
              <a:gd name="T6" fmla="*/ 0 w 202"/>
              <a:gd name="T7" fmla="*/ 45 h 45"/>
              <a:gd name="T8" fmla="*/ 71 w 202"/>
              <a:gd name="T9" fmla="*/ 18 h 45"/>
              <a:gd name="T10" fmla="*/ 99 w 202"/>
              <a:gd name="T11" fmla="*/ 22 h 45"/>
              <a:gd name="T12" fmla="*/ 90 w 202"/>
              <a:gd name="T13" fmla="*/ 35 h 45"/>
              <a:gd name="T14" fmla="*/ 106 w 202"/>
              <a:gd name="T15" fmla="*/ 24 h 45"/>
              <a:gd name="T16" fmla="*/ 122 w 202"/>
              <a:gd name="T17" fmla="*/ 17 h 45"/>
              <a:gd name="T18" fmla="*/ 146 w 202"/>
              <a:gd name="T19" fmla="*/ 14 h 45"/>
              <a:gd name="T20" fmla="*/ 202 w 202"/>
              <a:gd name="T21" fmla="*/ 35 h 45"/>
              <a:gd name="T22" fmla="*/ 146 w 202"/>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2" h="45">
                <a:moveTo>
                  <a:pt x="146" y="0"/>
                </a:moveTo>
                <a:cubicBezTo>
                  <a:pt x="133" y="0"/>
                  <a:pt x="121" y="4"/>
                  <a:pt x="111" y="10"/>
                </a:cubicBezTo>
                <a:cubicBezTo>
                  <a:pt x="100" y="4"/>
                  <a:pt x="86" y="0"/>
                  <a:pt x="71" y="0"/>
                </a:cubicBezTo>
                <a:cubicBezTo>
                  <a:pt x="40" y="0"/>
                  <a:pt x="12" y="19"/>
                  <a:pt x="0" y="45"/>
                </a:cubicBezTo>
                <a:cubicBezTo>
                  <a:pt x="17" y="29"/>
                  <a:pt x="43" y="18"/>
                  <a:pt x="71" y="18"/>
                </a:cubicBezTo>
                <a:cubicBezTo>
                  <a:pt x="81" y="18"/>
                  <a:pt x="90" y="20"/>
                  <a:pt x="99" y="22"/>
                </a:cubicBezTo>
                <a:cubicBezTo>
                  <a:pt x="95" y="26"/>
                  <a:pt x="92" y="30"/>
                  <a:pt x="90" y="35"/>
                </a:cubicBezTo>
                <a:cubicBezTo>
                  <a:pt x="95" y="31"/>
                  <a:pt x="100" y="27"/>
                  <a:pt x="106" y="24"/>
                </a:cubicBezTo>
                <a:cubicBezTo>
                  <a:pt x="111" y="21"/>
                  <a:pt x="116" y="19"/>
                  <a:pt x="122" y="17"/>
                </a:cubicBezTo>
                <a:cubicBezTo>
                  <a:pt x="129" y="15"/>
                  <a:pt x="138" y="14"/>
                  <a:pt x="146" y="14"/>
                </a:cubicBezTo>
                <a:cubicBezTo>
                  <a:pt x="168" y="14"/>
                  <a:pt x="188" y="22"/>
                  <a:pt x="202" y="35"/>
                </a:cubicBezTo>
                <a:cubicBezTo>
                  <a:pt x="192" y="14"/>
                  <a:pt x="171" y="0"/>
                  <a:pt x="146" y="0"/>
                </a:cubicBezTo>
              </a:path>
            </a:pathLst>
          </a:custGeom>
          <a:solidFill>
            <a:schemeClr val="accent1">
              <a:lumMod val="50000"/>
            </a:schemeClr>
          </a:solidFill>
          <a:ln>
            <a:noFill/>
          </a:ln>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5" name="Freeform 268"/>
          <p:cNvSpPr>
            <a:spLocks/>
          </p:cNvSpPr>
          <p:nvPr userDrawn="1"/>
        </p:nvSpPr>
        <p:spPr bwMode="auto">
          <a:xfrm>
            <a:off x="11325126" y="2623266"/>
            <a:ext cx="664063" cy="157354"/>
          </a:xfrm>
          <a:custGeom>
            <a:avLst/>
            <a:gdLst>
              <a:gd name="T0" fmla="*/ 147 w 203"/>
              <a:gd name="T1" fmla="*/ 0 h 48"/>
              <a:gd name="T2" fmla="*/ 112 w 203"/>
              <a:gd name="T3" fmla="*/ 11 h 48"/>
              <a:gd name="T4" fmla="*/ 72 w 203"/>
              <a:gd name="T5" fmla="*/ 0 h 48"/>
              <a:gd name="T6" fmla="*/ 0 w 203"/>
              <a:gd name="T7" fmla="*/ 48 h 48"/>
              <a:gd name="T8" fmla="*/ 72 w 203"/>
              <a:gd name="T9" fmla="*/ 19 h 48"/>
              <a:gd name="T10" fmla="*/ 99 w 203"/>
              <a:gd name="T11" fmla="*/ 23 h 48"/>
              <a:gd name="T12" fmla="*/ 91 w 203"/>
              <a:gd name="T13" fmla="*/ 37 h 48"/>
              <a:gd name="T14" fmla="*/ 107 w 203"/>
              <a:gd name="T15" fmla="*/ 25 h 48"/>
              <a:gd name="T16" fmla="*/ 122 w 203"/>
              <a:gd name="T17" fmla="*/ 18 h 48"/>
              <a:gd name="T18" fmla="*/ 147 w 203"/>
              <a:gd name="T19" fmla="*/ 15 h 48"/>
              <a:gd name="T20" fmla="*/ 203 w 203"/>
              <a:gd name="T21" fmla="*/ 37 h 48"/>
              <a:gd name="T22" fmla="*/ 147 w 203"/>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3" h="48">
                <a:moveTo>
                  <a:pt x="147" y="0"/>
                </a:moveTo>
                <a:cubicBezTo>
                  <a:pt x="134" y="0"/>
                  <a:pt x="122" y="4"/>
                  <a:pt x="112" y="11"/>
                </a:cubicBezTo>
                <a:cubicBezTo>
                  <a:pt x="101" y="4"/>
                  <a:pt x="87" y="0"/>
                  <a:pt x="72" y="0"/>
                </a:cubicBezTo>
                <a:cubicBezTo>
                  <a:pt x="40" y="0"/>
                  <a:pt x="13" y="20"/>
                  <a:pt x="0" y="48"/>
                </a:cubicBezTo>
                <a:cubicBezTo>
                  <a:pt x="18" y="30"/>
                  <a:pt x="44" y="19"/>
                  <a:pt x="72" y="19"/>
                </a:cubicBezTo>
                <a:cubicBezTo>
                  <a:pt x="82" y="19"/>
                  <a:pt x="91" y="21"/>
                  <a:pt x="99" y="23"/>
                </a:cubicBezTo>
                <a:cubicBezTo>
                  <a:pt x="96" y="27"/>
                  <a:pt x="93" y="32"/>
                  <a:pt x="91" y="37"/>
                </a:cubicBezTo>
                <a:cubicBezTo>
                  <a:pt x="96" y="32"/>
                  <a:pt x="101" y="28"/>
                  <a:pt x="107" y="25"/>
                </a:cubicBezTo>
                <a:cubicBezTo>
                  <a:pt x="112" y="22"/>
                  <a:pt x="117" y="20"/>
                  <a:pt x="122" y="18"/>
                </a:cubicBezTo>
                <a:cubicBezTo>
                  <a:pt x="130" y="16"/>
                  <a:pt x="138" y="15"/>
                  <a:pt x="147" y="15"/>
                </a:cubicBezTo>
                <a:cubicBezTo>
                  <a:pt x="169" y="15"/>
                  <a:pt x="189" y="24"/>
                  <a:pt x="203" y="37"/>
                </a:cubicBezTo>
                <a:cubicBezTo>
                  <a:pt x="193" y="15"/>
                  <a:pt x="172" y="0"/>
                  <a:pt x="147" y="0"/>
                </a:cubicBezTo>
              </a:path>
            </a:pathLst>
          </a:custGeom>
          <a:solidFill>
            <a:schemeClr val="accent1">
              <a:lumMod val="50000"/>
            </a:schemeClr>
          </a:solidFill>
          <a:ln>
            <a:noFill/>
          </a:ln>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6" name="Rectangle 185"/>
          <p:cNvSpPr/>
          <p:nvPr userDrawn="1"/>
        </p:nvSpPr>
        <p:spPr bwMode="auto">
          <a:xfrm>
            <a:off x="3462616" y="5909103"/>
            <a:ext cx="461744" cy="7315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Rectangle 186"/>
          <p:cNvSpPr/>
          <p:nvPr userDrawn="1"/>
        </p:nvSpPr>
        <p:spPr bwMode="auto">
          <a:xfrm>
            <a:off x="3462616" y="6020212"/>
            <a:ext cx="461744" cy="7315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Rectangle 187"/>
          <p:cNvSpPr/>
          <p:nvPr userDrawn="1"/>
        </p:nvSpPr>
        <p:spPr bwMode="auto">
          <a:xfrm>
            <a:off x="3462616" y="6126558"/>
            <a:ext cx="461744" cy="7315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60" y="327125"/>
            <a:ext cx="1606856" cy="591072"/>
          </a:xfrm>
          <a:prstGeom prst="rect">
            <a:avLst/>
          </a:prstGeom>
        </p:spPr>
      </p:pic>
      <p:sp>
        <p:nvSpPr>
          <p:cNvPr id="2" name="Title 1"/>
          <p:cNvSpPr>
            <a:spLocks noGrp="1"/>
          </p:cNvSpPr>
          <p:nvPr userDrawn="1">
            <p:ph type="ctrTitle" hasCustomPrompt="1"/>
          </p:nvPr>
        </p:nvSpPr>
        <p:spPr>
          <a:xfrm>
            <a:off x="274641" y="2142640"/>
            <a:ext cx="11228387" cy="1720381"/>
          </a:xfrm>
        </p:spPr>
        <p:txBody>
          <a:bodyPr/>
          <a:lstStyle>
            <a:lvl1pPr>
              <a:defRPr sz="5998">
                <a:solidFill>
                  <a:schemeClr val="bg1"/>
                </a:solidFill>
              </a:defRPr>
            </a:lvl1pPr>
          </a:lstStyle>
          <a:p>
            <a:r>
              <a:rPr lang="en-US"/>
              <a:t>Headline here</a:t>
            </a:r>
          </a:p>
        </p:txBody>
      </p:sp>
      <p:sp>
        <p:nvSpPr>
          <p:cNvPr id="3" name="Subtitle 2"/>
          <p:cNvSpPr>
            <a:spLocks noGrp="1"/>
          </p:cNvSpPr>
          <p:nvPr userDrawn="1">
            <p:ph type="subTitle" idx="1" hasCustomPrompt="1"/>
          </p:nvPr>
        </p:nvSpPr>
        <p:spPr>
          <a:xfrm>
            <a:off x="274703" y="3954463"/>
            <a:ext cx="8705850" cy="1055382"/>
          </a:xfrm>
        </p:spPr>
        <p:txBody>
          <a:bodyPr/>
          <a:lstStyle>
            <a:lvl1pPr marL="0" indent="0" algn="l">
              <a:buNone/>
              <a:defRPr sz="2200">
                <a:solidFill>
                  <a:schemeClr val="bg1"/>
                </a:solidFill>
                <a:latin typeface="+mn-lt"/>
              </a:defRPr>
            </a:lvl1pPr>
            <a:lvl2pPr marL="457012" indent="0" algn="ctr">
              <a:buNone/>
              <a:defRPr>
                <a:solidFill>
                  <a:schemeClr val="tx1">
                    <a:tint val="75000"/>
                  </a:schemeClr>
                </a:solidFill>
              </a:defRPr>
            </a:lvl2pPr>
            <a:lvl3pPr marL="914026" indent="0" algn="ctr">
              <a:buNone/>
              <a:defRPr>
                <a:solidFill>
                  <a:schemeClr val="tx1">
                    <a:tint val="75000"/>
                  </a:schemeClr>
                </a:solidFill>
              </a:defRPr>
            </a:lvl3pPr>
            <a:lvl4pPr marL="1371039" indent="0" algn="ctr">
              <a:buNone/>
              <a:defRPr>
                <a:solidFill>
                  <a:schemeClr val="tx1">
                    <a:tint val="75000"/>
                  </a:schemeClr>
                </a:solidFill>
              </a:defRPr>
            </a:lvl4pPr>
            <a:lvl5pPr marL="1828053" indent="0" algn="ctr">
              <a:buNone/>
              <a:defRPr>
                <a:solidFill>
                  <a:schemeClr val="tx1">
                    <a:tint val="75000"/>
                  </a:schemeClr>
                </a:solidFill>
              </a:defRPr>
            </a:lvl5pPr>
            <a:lvl6pPr marL="2285065" indent="0" algn="ctr">
              <a:buNone/>
              <a:defRPr>
                <a:solidFill>
                  <a:schemeClr val="tx1">
                    <a:tint val="75000"/>
                  </a:schemeClr>
                </a:solidFill>
              </a:defRPr>
            </a:lvl6pPr>
            <a:lvl7pPr marL="2742078" indent="0" algn="ctr">
              <a:buNone/>
              <a:defRPr>
                <a:solidFill>
                  <a:schemeClr val="tx1">
                    <a:tint val="75000"/>
                  </a:schemeClr>
                </a:solidFill>
              </a:defRPr>
            </a:lvl7pPr>
            <a:lvl8pPr marL="3199091" indent="0" algn="ctr">
              <a:buNone/>
              <a:defRPr>
                <a:solidFill>
                  <a:schemeClr val="tx1">
                    <a:tint val="75000"/>
                  </a:schemeClr>
                </a:solidFill>
              </a:defRPr>
            </a:lvl8pPr>
            <a:lvl9pPr marL="3656103"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23266082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9" y="2142640"/>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585219" y="3954463"/>
            <a:ext cx="11228387" cy="1055382"/>
          </a:xfrm>
        </p:spPr>
        <p:txBody>
          <a:bodyPr/>
          <a:lstStyle>
            <a:lvl1pPr marL="0" indent="0" algn="l">
              <a:buNone/>
              <a:defRPr sz="2200">
                <a:solidFill>
                  <a:schemeClr val="bg1"/>
                </a:solidFill>
                <a:latin typeface="+mn-lt"/>
              </a:defRPr>
            </a:lvl1pPr>
            <a:lvl2pPr marL="457012" indent="0" algn="ctr">
              <a:buNone/>
              <a:defRPr>
                <a:solidFill>
                  <a:schemeClr val="tx1">
                    <a:tint val="75000"/>
                  </a:schemeClr>
                </a:solidFill>
              </a:defRPr>
            </a:lvl2pPr>
            <a:lvl3pPr marL="914026" indent="0" algn="ctr">
              <a:buNone/>
              <a:defRPr>
                <a:solidFill>
                  <a:schemeClr val="tx1">
                    <a:tint val="75000"/>
                  </a:schemeClr>
                </a:solidFill>
              </a:defRPr>
            </a:lvl3pPr>
            <a:lvl4pPr marL="1371039" indent="0" algn="ctr">
              <a:buNone/>
              <a:defRPr>
                <a:solidFill>
                  <a:schemeClr val="tx1">
                    <a:tint val="75000"/>
                  </a:schemeClr>
                </a:solidFill>
              </a:defRPr>
            </a:lvl4pPr>
            <a:lvl5pPr marL="1828053" indent="0" algn="ctr">
              <a:buNone/>
              <a:defRPr>
                <a:solidFill>
                  <a:schemeClr val="tx1">
                    <a:tint val="75000"/>
                  </a:schemeClr>
                </a:solidFill>
              </a:defRPr>
            </a:lvl5pPr>
            <a:lvl6pPr marL="2285065" indent="0" algn="ctr">
              <a:buNone/>
              <a:defRPr>
                <a:solidFill>
                  <a:schemeClr val="tx1">
                    <a:tint val="75000"/>
                  </a:schemeClr>
                </a:solidFill>
              </a:defRPr>
            </a:lvl6pPr>
            <a:lvl7pPr marL="2742078" indent="0" algn="ctr">
              <a:buNone/>
              <a:defRPr>
                <a:solidFill>
                  <a:schemeClr val="tx1">
                    <a:tint val="75000"/>
                  </a:schemeClr>
                </a:solidFill>
              </a:defRPr>
            </a:lvl7pPr>
            <a:lvl8pPr marL="3199091" indent="0" algn="ctr">
              <a:buNone/>
              <a:defRPr>
                <a:solidFill>
                  <a:schemeClr val="tx1">
                    <a:tint val="75000"/>
                  </a:schemeClr>
                </a:solidFill>
              </a:defRPr>
            </a:lvl8pPr>
            <a:lvl9pPr marL="3656103" indent="0" algn="ctr">
              <a:buNone/>
              <a:defRPr>
                <a:solidFill>
                  <a:schemeClr val="tx1">
                    <a:tint val="75000"/>
                  </a:schemeClr>
                </a:solidFill>
              </a:defRPr>
            </a:lvl9pPr>
          </a:lstStyle>
          <a:p>
            <a:r>
              <a:rPr lang="en-US" dirty="0"/>
              <a:t>Subtitle</a:t>
            </a:r>
          </a:p>
        </p:txBody>
      </p:sp>
      <p:grpSp>
        <p:nvGrpSpPr>
          <p:cNvPr id="14" name="Group 13"/>
          <p:cNvGrpSpPr/>
          <p:nvPr userDrawn="1"/>
        </p:nvGrpSpPr>
        <p:grpSpPr>
          <a:xfrm>
            <a:off x="585218" y="5405058"/>
            <a:ext cx="1578689" cy="833174"/>
            <a:chOff x="2825708" y="3803918"/>
            <a:chExt cx="5590060" cy="2950238"/>
          </a:xfrm>
          <a:solidFill>
            <a:schemeClr val="bg1"/>
          </a:solidFill>
        </p:grpSpPr>
        <p:sp>
          <p:nvSpPr>
            <p:cNvPr id="20" name="Freeform 19"/>
            <p:cNvSpPr>
              <a:spLocks/>
            </p:cNvSpPr>
            <p:nvPr userDrawn="1"/>
          </p:nvSpPr>
          <p:spPr bwMode="auto">
            <a:xfrm flipH="1">
              <a:off x="2825708" y="3803918"/>
              <a:ext cx="3798668" cy="2644406"/>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361" rtl="0" eaLnBrk="1" fontAlgn="auto" latinLnBrk="0" hangingPunct="1">
                <a:lnSpc>
                  <a:spcPct val="100000"/>
                </a:lnSpc>
                <a:spcBef>
                  <a:spcPts val="0"/>
                </a:spcBef>
                <a:spcAft>
                  <a:spcPts val="0"/>
                </a:spcAft>
                <a:buClrTx/>
                <a:buSzTx/>
                <a:buFontTx/>
                <a:buNone/>
                <a:tabLst/>
                <a:defRPr/>
              </a:pPr>
              <a:endParaRPr kumimoji="0" lang="en-US" sz="1198" b="0" i="0" u="none" strike="noStrike" kern="1200" cap="none" spc="0" normalizeH="0" baseline="0" noProof="0" dirty="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690317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8" y="2142640"/>
            <a:ext cx="11228832" cy="1720381"/>
          </a:xfrm>
        </p:spPr>
        <p:txBody>
          <a:bodyPr/>
          <a:lstStyle>
            <a:lvl1pPr>
              <a:defRPr sz="5998">
                <a:solidFill>
                  <a:schemeClr val="bg1"/>
                </a:solidFill>
              </a:defRPr>
            </a:lvl1pPr>
          </a:lstStyle>
          <a:p>
            <a:r>
              <a:rPr lang="en-US" dirty="0"/>
              <a:t>Title</a:t>
            </a:r>
          </a:p>
        </p:txBody>
      </p:sp>
      <p:sp>
        <p:nvSpPr>
          <p:cNvPr id="10" name="Subtitle 2"/>
          <p:cNvSpPr>
            <a:spLocks noGrp="1"/>
          </p:cNvSpPr>
          <p:nvPr>
            <p:ph type="subTitle" idx="1" hasCustomPrompt="1"/>
          </p:nvPr>
        </p:nvSpPr>
        <p:spPr>
          <a:xfrm>
            <a:off x="585218" y="3954463"/>
            <a:ext cx="11228832" cy="1055382"/>
          </a:xfrm>
        </p:spPr>
        <p:txBody>
          <a:bodyPr/>
          <a:lstStyle>
            <a:lvl1pPr marL="0" indent="0" algn="l">
              <a:buNone/>
              <a:defRPr sz="2200">
                <a:solidFill>
                  <a:schemeClr val="bg1"/>
                </a:solidFill>
                <a:latin typeface="+mn-lt"/>
              </a:defRPr>
            </a:lvl1pPr>
            <a:lvl2pPr marL="457012" indent="0" algn="ctr">
              <a:buNone/>
              <a:defRPr>
                <a:solidFill>
                  <a:schemeClr val="tx1">
                    <a:tint val="75000"/>
                  </a:schemeClr>
                </a:solidFill>
              </a:defRPr>
            </a:lvl2pPr>
            <a:lvl3pPr marL="914026" indent="0" algn="ctr">
              <a:buNone/>
              <a:defRPr>
                <a:solidFill>
                  <a:schemeClr val="tx1">
                    <a:tint val="75000"/>
                  </a:schemeClr>
                </a:solidFill>
              </a:defRPr>
            </a:lvl3pPr>
            <a:lvl4pPr marL="1371039" indent="0" algn="ctr">
              <a:buNone/>
              <a:defRPr>
                <a:solidFill>
                  <a:schemeClr val="tx1">
                    <a:tint val="75000"/>
                  </a:schemeClr>
                </a:solidFill>
              </a:defRPr>
            </a:lvl4pPr>
            <a:lvl5pPr marL="1828053" indent="0" algn="ctr">
              <a:buNone/>
              <a:defRPr>
                <a:solidFill>
                  <a:schemeClr val="tx1">
                    <a:tint val="75000"/>
                  </a:schemeClr>
                </a:solidFill>
              </a:defRPr>
            </a:lvl5pPr>
            <a:lvl6pPr marL="2285065" indent="0" algn="ctr">
              <a:buNone/>
              <a:defRPr>
                <a:solidFill>
                  <a:schemeClr val="tx1">
                    <a:tint val="75000"/>
                  </a:schemeClr>
                </a:solidFill>
              </a:defRPr>
            </a:lvl6pPr>
            <a:lvl7pPr marL="2742078" indent="0" algn="ctr">
              <a:buNone/>
              <a:defRPr>
                <a:solidFill>
                  <a:schemeClr val="tx1">
                    <a:tint val="75000"/>
                  </a:schemeClr>
                </a:solidFill>
              </a:defRPr>
            </a:lvl7pPr>
            <a:lvl8pPr marL="3199091" indent="0" algn="ctr">
              <a:buNone/>
              <a:defRPr>
                <a:solidFill>
                  <a:schemeClr val="tx1">
                    <a:tint val="75000"/>
                  </a:schemeClr>
                </a:solidFill>
              </a:defRPr>
            </a:lvl8pPr>
            <a:lvl9pPr marL="3656103" indent="0" algn="ctr">
              <a:buNone/>
              <a:defRPr>
                <a:solidFill>
                  <a:schemeClr val="tx1">
                    <a:tint val="75000"/>
                  </a:schemeClr>
                </a:solidFill>
              </a:defRPr>
            </a:lvl9pPr>
          </a:lstStyle>
          <a:p>
            <a:r>
              <a:rPr lang="en-US" dirty="0"/>
              <a:t>Subtitle</a:t>
            </a:r>
          </a:p>
        </p:txBody>
      </p:sp>
      <p:grpSp>
        <p:nvGrpSpPr>
          <p:cNvPr id="8" name="Group 7"/>
          <p:cNvGrpSpPr/>
          <p:nvPr userDrawn="1"/>
        </p:nvGrpSpPr>
        <p:grpSpPr>
          <a:xfrm>
            <a:off x="585218" y="5405058"/>
            <a:ext cx="1578689" cy="833174"/>
            <a:chOff x="2825708" y="3803918"/>
            <a:chExt cx="5590060" cy="2950238"/>
          </a:xfrm>
          <a:solidFill>
            <a:schemeClr val="bg1"/>
          </a:solidFill>
        </p:grpSpPr>
        <p:sp>
          <p:nvSpPr>
            <p:cNvPr id="9" name="Freeform 8"/>
            <p:cNvSpPr>
              <a:spLocks/>
            </p:cNvSpPr>
            <p:nvPr userDrawn="1"/>
          </p:nvSpPr>
          <p:spPr bwMode="auto">
            <a:xfrm flipH="1">
              <a:off x="2825708" y="3803918"/>
              <a:ext cx="3798668" cy="2644406"/>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361" rtl="0" eaLnBrk="1" fontAlgn="auto" latinLnBrk="0" hangingPunct="1">
                <a:lnSpc>
                  <a:spcPct val="100000"/>
                </a:lnSpc>
                <a:spcBef>
                  <a:spcPts val="0"/>
                </a:spcBef>
                <a:spcAft>
                  <a:spcPts val="0"/>
                </a:spcAft>
                <a:buClrTx/>
                <a:buSzTx/>
                <a:buFontTx/>
                <a:buNone/>
                <a:tabLst/>
                <a:defRPr/>
              </a:pPr>
              <a:endParaRPr kumimoji="0" lang="en-US" sz="1198" b="0" i="0" u="none" strike="noStrike" kern="1200" cap="none" spc="0" normalizeH="0" baseline="0" noProof="0" dirty="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49711409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9" y="2142640"/>
            <a:ext cx="11228387" cy="1720381"/>
          </a:xfrm>
        </p:spPr>
        <p:txBody>
          <a:bodyPr/>
          <a:lstStyle>
            <a:lvl1pPr>
              <a:defRPr sz="5998">
                <a:solidFill>
                  <a:schemeClr val="bg1"/>
                </a:solidFill>
              </a:defRPr>
            </a:lvl1pPr>
          </a:lstStyle>
          <a:p>
            <a:r>
              <a:rPr lang="en-US" dirty="0"/>
              <a:t>Title</a:t>
            </a:r>
          </a:p>
        </p:txBody>
      </p:sp>
      <p:sp>
        <p:nvSpPr>
          <p:cNvPr id="10" name="Subtitle 2"/>
          <p:cNvSpPr>
            <a:spLocks noGrp="1"/>
          </p:cNvSpPr>
          <p:nvPr>
            <p:ph type="subTitle" idx="1" hasCustomPrompt="1"/>
          </p:nvPr>
        </p:nvSpPr>
        <p:spPr>
          <a:xfrm>
            <a:off x="585219" y="3954463"/>
            <a:ext cx="11228832" cy="1055382"/>
          </a:xfrm>
        </p:spPr>
        <p:txBody>
          <a:bodyPr/>
          <a:lstStyle>
            <a:lvl1pPr marL="0" indent="0" algn="l">
              <a:buNone/>
              <a:defRPr sz="2200">
                <a:solidFill>
                  <a:schemeClr val="bg1"/>
                </a:solidFill>
                <a:latin typeface="+mn-lt"/>
              </a:defRPr>
            </a:lvl1pPr>
            <a:lvl2pPr marL="457012" indent="0" algn="ctr">
              <a:buNone/>
              <a:defRPr>
                <a:solidFill>
                  <a:schemeClr val="tx1">
                    <a:tint val="75000"/>
                  </a:schemeClr>
                </a:solidFill>
              </a:defRPr>
            </a:lvl2pPr>
            <a:lvl3pPr marL="914026" indent="0" algn="ctr">
              <a:buNone/>
              <a:defRPr>
                <a:solidFill>
                  <a:schemeClr val="tx1">
                    <a:tint val="75000"/>
                  </a:schemeClr>
                </a:solidFill>
              </a:defRPr>
            </a:lvl3pPr>
            <a:lvl4pPr marL="1371039" indent="0" algn="ctr">
              <a:buNone/>
              <a:defRPr>
                <a:solidFill>
                  <a:schemeClr val="tx1">
                    <a:tint val="75000"/>
                  </a:schemeClr>
                </a:solidFill>
              </a:defRPr>
            </a:lvl4pPr>
            <a:lvl5pPr marL="1828053" indent="0" algn="ctr">
              <a:buNone/>
              <a:defRPr>
                <a:solidFill>
                  <a:schemeClr val="tx1">
                    <a:tint val="75000"/>
                  </a:schemeClr>
                </a:solidFill>
              </a:defRPr>
            </a:lvl5pPr>
            <a:lvl6pPr marL="2285065" indent="0" algn="ctr">
              <a:buNone/>
              <a:defRPr>
                <a:solidFill>
                  <a:schemeClr val="tx1">
                    <a:tint val="75000"/>
                  </a:schemeClr>
                </a:solidFill>
              </a:defRPr>
            </a:lvl6pPr>
            <a:lvl7pPr marL="2742078" indent="0" algn="ctr">
              <a:buNone/>
              <a:defRPr>
                <a:solidFill>
                  <a:schemeClr val="tx1">
                    <a:tint val="75000"/>
                  </a:schemeClr>
                </a:solidFill>
              </a:defRPr>
            </a:lvl7pPr>
            <a:lvl8pPr marL="3199091" indent="0" algn="ctr">
              <a:buNone/>
              <a:defRPr>
                <a:solidFill>
                  <a:schemeClr val="tx1">
                    <a:tint val="75000"/>
                  </a:schemeClr>
                </a:solidFill>
              </a:defRPr>
            </a:lvl8pPr>
            <a:lvl9pPr marL="3656103" indent="0" algn="ctr">
              <a:buNone/>
              <a:defRPr>
                <a:solidFill>
                  <a:schemeClr val="tx1">
                    <a:tint val="75000"/>
                  </a:schemeClr>
                </a:solidFill>
              </a:defRPr>
            </a:lvl9pPr>
          </a:lstStyle>
          <a:p>
            <a:r>
              <a:rPr lang="en-US" dirty="0"/>
              <a:t>Subtitle</a:t>
            </a:r>
          </a:p>
        </p:txBody>
      </p:sp>
      <p:grpSp>
        <p:nvGrpSpPr>
          <p:cNvPr id="8" name="Group 7"/>
          <p:cNvGrpSpPr/>
          <p:nvPr userDrawn="1"/>
        </p:nvGrpSpPr>
        <p:grpSpPr>
          <a:xfrm>
            <a:off x="585218" y="5405058"/>
            <a:ext cx="1578689" cy="833174"/>
            <a:chOff x="2825708" y="3803918"/>
            <a:chExt cx="5590060" cy="2950238"/>
          </a:xfrm>
          <a:solidFill>
            <a:schemeClr val="bg1"/>
          </a:solidFill>
        </p:grpSpPr>
        <p:sp>
          <p:nvSpPr>
            <p:cNvPr id="9" name="Freeform 8"/>
            <p:cNvSpPr>
              <a:spLocks/>
            </p:cNvSpPr>
            <p:nvPr userDrawn="1"/>
          </p:nvSpPr>
          <p:spPr bwMode="auto">
            <a:xfrm flipH="1">
              <a:off x="2825708" y="3803918"/>
              <a:ext cx="3798668" cy="2644406"/>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361" rtl="0" eaLnBrk="1" fontAlgn="auto" latinLnBrk="0" hangingPunct="1">
                <a:lnSpc>
                  <a:spcPct val="100000"/>
                </a:lnSpc>
                <a:spcBef>
                  <a:spcPts val="0"/>
                </a:spcBef>
                <a:spcAft>
                  <a:spcPts val="0"/>
                </a:spcAft>
                <a:buClrTx/>
                <a:buSzTx/>
                <a:buFontTx/>
                <a:buNone/>
                <a:tabLst/>
                <a:defRPr/>
              </a:pPr>
              <a:endParaRPr kumimoji="0" lang="en-US" sz="1198" b="0" i="0" u="none" strike="noStrike" kern="1200" cap="none" spc="0" normalizeH="0" baseline="0" noProof="0" dirty="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399724410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86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9" y="2142640"/>
            <a:ext cx="11228387" cy="1720381"/>
          </a:xfrm>
        </p:spPr>
        <p:txBody>
          <a:bodyPr/>
          <a:lstStyle>
            <a:lvl1pPr>
              <a:defRPr sz="5998">
                <a:solidFill>
                  <a:schemeClr val="bg1"/>
                </a:solidFill>
              </a:defRPr>
            </a:lvl1pPr>
          </a:lstStyle>
          <a:p>
            <a:r>
              <a:rPr lang="en-US" dirty="0"/>
              <a:t>Title</a:t>
            </a:r>
          </a:p>
        </p:txBody>
      </p:sp>
      <p:sp>
        <p:nvSpPr>
          <p:cNvPr id="10" name="Subtitle 2"/>
          <p:cNvSpPr>
            <a:spLocks noGrp="1"/>
          </p:cNvSpPr>
          <p:nvPr>
            <p:ph type="subTitle" idx="1" hasCustomPrompt="1"/>
          </p:nvPr>
        </p:nvSpPr>
        <p:spPr>
          <a:xfrm>
            <a:off x="585218" y="3954463"/>
            <a:ext cx="11228832" cy="1055382"/>
          </a:xfrm>
        </p:spPr>
        <p:txBody>
          <a:bodyPr/>
          <a:lstStyle>
            <a:lvl1pPr marL="0" indent="0" algn="l">
              <a:buNone/>
              <a:defRPr sz="2200">
                <a:solidFill>
                  <a:schemeClr val="bg1"/>
                </a:solidFill>
                <a:latin typeface="+mn-lt"/>
              </a:defRPr>
            </a:lvl1pPr>
            <a:lvl2pPr marL="457012" indent="0" algn="ctr">
              <a:buNone/>
              <a:defRPr>
                <a:solidFill>
                  <a:schemeClr val="tx1">
                    <a:tint val="75000"/>
                  </a:schemeClr>
                </a:solidFill>
              </a:defRPr>
            </a:lvl2pPr>
            <a:lvl3pPr marL="914026" indent="0" algn="ctr">
              <a:buNone/>
              <a:defRPr>
                <a:solidFill>
                  <a:schemeClr val="tx1">
                    <a:tint val="75000"/>
                  </a:schemeClr>
                </a:solidFill>
              </a:defRPr>
            </a:lvl3pPr>
            <a:lvl4pPr marL="1371039" indent="0" algn="ctr">
              <a:buNone/>
              <a:defRPr>
                <a:solidFill>
                  <a:schemeClr val="tx1">
                    <a:tint val="75000"/>
                  </a:schemeClr>
                </a:solidFill>
              </a:defRPr>
            </a:lvl4pPr>
            <a:lvl5pPr marL="1828053" indent="0" algn="ctr">
              <a:buNone/>
              <a:defRPr>
                <a:solidFill>
                  <a:schemeClr val="tx1">
                    <a:tint val="75000"/>
                  </a:schemeClr>
                </a:solidFill>
              </a:defRPr>
            </a:lvl5pPr>
            <a:lvl6pPr marL="2285065" indent="0" algn="ctr">
              <a:buNone/>
              <a:defRPr>
                <a:solidFill>
                  <a:schemeClr val="tx1">
                    <a:tint val="75000"/>
                  </a:schemeClr>
                </a:solidFill>
              </a:defRPr>
            </a:lvl6pPr>
            <a:lvl7pPr marL="2742078" indent="0" algn="ctr">
              <a:buNone/>
              <a:defRPr>
                <a:solidFill>
                  <a:schemeClr val="tx1">
                    <a:tint val="75000"/>
                  </a:schemeClr>
                </a:solidFill>
              </a:defRPr>
            </a:lvl7pPr>
            <a:lvl8pPr marL="3199091" indent="0" algn="ctr">
              <a:buNone/>
              <a:defRPr>
                <a:solidFill>
                  <a:schemeClr val="tx1">
                    <a:tint val="75000"/>
                  </a:schemeClr>
                </a:solidFill>
              </a:defRPr>
            </a:lvl8pPr>
            <a:lvl9pPr marL="3656103" indent="0" algn="ctr">
              <a:buNone/>
              <a:defRPr>
                <a:solidFill>
                  <a:schemeClr val="tx1">
                    <a:tint val="75000"/>
                  </a:schemeClr>
                </a:solidFill>
              </a:defRPr>
            </a:lvl9pPr>
          </a:lstStyle>
          <a:p>
            <a:r>
              <a:rPr lang="en-US" dirty="0"/>
              <a:t>Subtitle</a:t>
            </a:r>
          </a:p>
        </p:txBody>
      </p:sp>
      <p:grpSp>
        <p:nvGrpSpPr>
          <p:cNvPr id="8" name="Group 7"/>
          <p:cNvGrpSpPr/>
          <p:nvPr userDrawn="1"/>
        </p:nvGrpSpPr>
        <p:grpSpPr>
          <a:xfrm>
            <a:off x="585218" y="5405058"/>
            <a:ext cx="1578689" cy="833174"/>
            <a:chOff x="2825708" y="3803918"/>
            <a:chExt cx="5590060" cy="2950238"/>
          </a:xfrm>
          <a:solidFill>
            <a:schemeClr val="bg1"/>
          </a:solidFill>
        </p:grpSpPr>
        <p:sp>
          <p:nvSpPr>
            <p:cNvPr id="9" name="Freeform 8"/>
            <p:cNvSpPr>
              <a:spLocks/>
            </p:cNvSpPr>
            <p:nvPr userDrawn="1"/>
          </p:nvSpPr>
          <p:spPr bwMode="auto">
            <a:xfrm flipH="1">
              <a:off x="2825708" y="3803918"/>
              <a:ext cx="3798668" cy="2644406"/>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361" rtl="0" eaLnBrk="1" fontAlgn="auto" latinLnBrk="0" hangingPunct="1">
                <a:lnSpc>
                  <a:spcPct val="100000"/>
                </a:lnSpc>
                <a:spcBef>
                  <a:spcPts val="0"/>
                </a:spcBef>
                <a:spcAft>
                  <a:spcPts val="0"/>
                </a:spcAft>
                <a:buClrTx/>
                <a:buSzTx/>
                <a:buFontTx/>
                <a:buNone/>
                <a:tabLst/>
                <a:defRPr/>
              </a:pPr>
              <a:endParaRPr kumimoji="0" lang="en-US" sz="1198" b="0" i="0" u="none" strike="noStrike" kern="1200" cap="none" spc="0" normalizeH="0" baseline="0" noProof="0" dirty="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327481500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96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9" y="2142640"/>
            <a:ext cx="11228387" cy="1720381"/>
          </a:xfrm>
        </p:spPr>
        <p:txBody>
          <a:bodyPr/>
          <a:lstStyle>
            <a:lvl1pPr>
              <a:defRPr sz="5998">
                <a:solidFill>
                  <a:schemeClr val="bg1"/>
                </a:solidFill>
              </a:defRPr>
            </a:lvl1pPr>
          </a:lstStyle>
          <a:p>
            <a:r>
              <a:rPr lang="en-US" dirty="0"/>
              <a:t>Title</a:t>
            </a:r>
          </a:p>
        </p:txBody>
      </p:sp>
      <p:sp>
        <p:nvSpPr>
          <p:cNvPr id="10" name="Subtitle 2"/>
          <p:cNvSpPr>
            <a:spLocks noGrp="1"/>
          </p:cNvSpPr>
          <p:nvPr>
            <p:ph type="subTitle" idx="1" hasCustomPrompt="1"/>
          </p:nvPr>
        </p:nvSpPr>
        <p:spPr>
          <a:xfrm>
            <a:off x="585219" y="3954463"/>
            <a:ext cx="11228832" cy="1055382"/>
          </a:xfrm>
        </p:spPr>
        <p:txBody>
          <a:bodyPr/>
          <a:lstStyle>
            <a:lvl1pPr marL="0" indent="0" algn="l">
              <a:buNone/>
              <a:defRPr sz="2200">
                <a:solidFill>
                  <a:schemeClr val="bg1"/>
                </a:solidFill>
                <a:latin typeface="+mn-lt"/>
              </a:defRPr>
            </a:lvl1pPr>
            <a:lvl2pPr marL="457012" indent="0" algn="ctr">
              <a:buNone/>
              <a:defRPr>
                <a:solidFill>
                  <a:schemeClr val="tx1">
                    <a:tint val="75000"/>
                  </a:schemeClr>
                </a:solidFill>
              </a:defRPr>
            </a:lvl2pPr>
            <a:lvl3pPr marL="914026" indent="0" algn="ctr">
              <a:buNone/>
              <a:defRPr>
                <a:solidFill>
                  <a:schemeClr val="tx1">
                    <a:tint val="75000"/>
                  </a:schemeClr>
                </a:solidFill>
              </a:defRPr>
            </a:lvl3pPr>
            <a:lvl4pPr marL="1371039" indent="0" algn="ctr">
              <a:buNone/>
              <a:defRPr>
                <a:solidFill>
                  <a:schemeClr val="tx1">
                    <a:tint val="75000"/>
                  </a:schemeClr>
                </a:solidFill>
              </a:defRPr>
            </a:lvl4pPr>
            <a:lvl5pPr marL="1828053" indent="0" algn="ctr">
              <a:buNone/>
              <a:defRPr>
                <a:solidFill>
                  <a:schemeClr val="tx1">
                    <a:tint val="75000"/>
                  </a:schemeClr>
                </a:solidFill>
              </a:defRPr>
            </a:lvl5pPr>
            <a:lvl6pPr marL="2285065" indent="0" algn="ctr">
              <a:buNone/>
              <a:defRPr>
                <a:solidFill>
                  <a:schemeClr val="tx1">
                    <a:tint val="75000"/>
                  </a:schemeClr>
                </a:solidFill>
              </a:defRPr>
            </a:lvl6pPr>
            <a:lvl7pPr marL="2742078" indent="0" algn="ctr">
              <a:buNone/>
              <a:defRPr>
                <a:solidFill>
                  <a:schemeClr val="tx1">
                    <a:tint val="75000"/>
                  </a:schemeClr>
                </a:solidFill>
              </a:defRPr>
            </a:lvl7pPr>
            <a:lvl8pPr marL="3199091" indent="0" algn="ctr">
              <a:buNone/>
              <a:defRPr>
                <a:solidFill>
                  <a:schemeClr val="tx1">
                    <a:tint val="75000"/>
                  </a:schemeClr>
                </a:solidFill>
              </a:defRPr>
            </a:lvl8pPr>
            <a:lvl9pPr marL="3656103" indent="0" algn="ctr">
              <a:buNone/>
              <a:defRPr>
                <a:solidFill>
                  <a:schemeClr val="tx1">
                    <a:tint val="75000"/>
                  </a:schemeClr>
                </a:solidFill>
              </a:defRPr>
            </a:lvl9pPr>
          </a:lstStyle>
          <a:p>
            <a:r>
              <a:rPr lang="en-US" dirty="0"/>
              <a:t>Subtitle</a:t>
            </a:r>
          </a:p>
        </p:txBody>
      </p:sp>
      <p:grpSp>
        <p:nvGrpSpPr>
          <p:cNvPr id="12" name="Group 11"/>
          <p:cNvGrpSpPr/>
          <p:nvPr userDrawn="1"/>
        </p:nvGrpSpPr>
        <p:grpSpPr>
          <a:xfrm>
            <a:off x="585218" y="5405058"/>
            <a:ext cx="1578689" cy="833174"/>
            <a:chOff x="2825708" y="3803918"/>
            <a:chExt cx="5590060" cy="2950238"/>
          </a:xfrm>
          <a:solidFill>
            <a:schemeClr val="bg1"/>
          </a:solidFill>
        </p:grpSpPr>
        <p:sp>
          <p:nvSpPr>
            <p:cNvPr id="16" name="Freeform 15"/>
            <p:cNvSpPr>
              <a:spLocks/>
            </p:cNvSpPr>
            <p:nvPr userDrawn="1"/>
          </p:nvSpPr>
          <p:spPr bwMode="auto">
            <a:xfrm flipH="1">
              <a:off x="2825708" y="3803918"/>
              <a:ext cx="3798668" cy="2644406"/>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361" rtl="0" eaLnBrk="1" fontAlgn="auto" latinLnBrk="0" hangingPunct="1">
                <a:lnSpc>
                  <a:spcPct val="100000"/>
                </a:lnSpc>
                <a:spcBef>
                  <a:spcPts val="0"/>
                </a:spcBef>
                <a:spcAft>
                  <a:spcPts val="0"/>
                </a:spcAft>
                <a:buClrTx/>
                <a:buSzTx/>
                <a:buFontTx/>
                <a:buNone/>
                <a:tabLst/>
                <a:defRPr/>
              </a:pPr>
              <a:endParaRPr kumimoji="0" lang="en-US" sz="1198" b="0" i="0" u="none" strike="noStrike" kern="1200" cap="none" spc="0" normalizeH="0" baseline="0" noProof="0" dirty="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30487995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8" y="2142640"/>
            <a:ext cx="11228832" cy="1720381"/>
          </a:xfrm>
        </p:spPr>
        <p:txBody>
          <a:bodyPr/>
          <a:lstStyle>
            <a:lvl1pPr>
              <a:defRPr sz="5998">
                <a:solidFill>
                  <a:schemeClr val="bg1"/>
                </a:solidFill>
              </a:defRPr>
            </a:lvl1pPr>
          </a:lstStyle>
          <a:p>
            <a:r>
              <a:rPr lang="en-US" dirty="0"/>
              <a:t>Title</a:t>
            </a:r>
          </a:p>
        </p:txBody>
      </p:sp>
      <p:sp>
        <p:nvSpPr>
          <p:cNvPr id="10" name="Subtitle 2"/>
          <p:cNvSpPr>
            <a:spLocks noGrp="1"/>
          </p:cNvSpPr>
          <p:nvPr>
            <p:ph type="subTitle" idx="1" hasCustomPrompt="1"/>
          </p:nvPr>
        </p:nvSpPr>
        <p:spPr>
          <a:xfrm>
            <a:off x="585218" y="3954463"/>
            <a:ext cx="11228832" cy="1055382"/>
          </a:xfrm>
        </p:spPr>
        <p:txBody>
          <a:bodyPr/>
          <a:lstStyle>
            <a:lvl1pPr marL="0" indent="0" algn="l">
              <a:buNone/>
              <a:defRPr sz="2200">
                <a:solidFill>
                  <a:schemeClr val="bg1"/>
                </a:solidFill>
                <a:latin typeface="+mn-lt"/>
              </a:defRPr>
            </a:lvl1pPr>
            <a:lvl2pPr marL="457012" indent="0" algn="ctr">
              <a:buNone/>
              <a:defRPr>
                <a:solidFill>
                  <a:schemeClr val="tx1">
                    <a:tint val="75000"/>
                  </a:schemeClr>
                </a:solidFill>
              </a:defRPr>
            </a:lvl2pPr>
            <a:lvl3pPr marL="914026" indent="0" algn="ctr">
              <a:buNone/>
              <a:defRPr>
                <a:solidFill>
                  <a:schemeClr val="tx1">
                    <a:tint val="75000"/>
                  </a:schemeClr>
                </a:solidFill>
              </a:defRPr>
            </a:lvl3pPr>
            <a:lvl4pPr marL="1371039" indent="0" algn="ctr">
              <a:buNone/>
              <a:defRPr>
                <a:solidFill>
                  <a:schemeClr val="tx1">
                    <a:tint val="75000"/>
                  </a:schemeClr>
                </a:solidFill>
              </a:defRPr>
            </a:lvl4pPr>
            <a:lvl5pPr marL="1828053" indent="0" algn="ctr">
              <a:buNone/>
              <a:defRPr>
                <a:solidFill>
                  <a:schemeClr val="tx1">
                    <a:tint val="75000"/>
                  </a:schemeClr>
                </a:solidFill>
              </a:defRPr>
            </a:lvl5pPr>
            <a:lvl6pPr marL="2285065" indent="0" algn="ctr">
              <a:buNone/>
              <a:defRPr>
                <a:solidFill>
                  <a:schemeClr val="tx1">
                    <a:tint val="75000"/>
                  </a:schemeClr>
                </a:solidFill>
              </a:defRPr>
            </a:lvl6pPr>
            <a:lvl7pPr marL="2742078" indent="0" algn="ctr">
              <a:buNone/>
              <a:defRPr>
                <a:solidFill>
                  <a:schemeClr val="tx1">
                    <a:tint val="75000"/>
                  </a:schemeClr>
                </a:solidFill>
              </a:defRPr>
            </a:lvl7pPr>
            <a:lvl8pPr marL="3199091" indent="0" algn="ctr">
              <a:buNone/>
              <a:defRPr>
                <a:solidFill>
                  <a:schemeClr val="tx1">
                    <a:tint val="75000"/>
                  </a:schemeClr>
                </a:solidFill>
              </a:defRPr>
            </a:lvl8pPr>
            <a:lvl9pPr marL="3656103" indent="0" algn="ctr">
              <a:buNone/>
              <a:defRPr>
                <a:solidFill>
                  <a:schemeClr val="tx1">
                    <a:tint val="75000"/>
                  </a:schemeClr>
                </a:solidFill>
              </a:defRPr>
            </a:lvl9pPr>
          </a:lstStyle>
          <a:p>
            <a:r>
              <a:rPr lang="en-US" dirty="0"/>
              <a:t>Subtitle</a:t>
            </a:r>
          </a:p>
        </p:txBody>
      </p:sp>
      <p:grpSp>
        <p:nvGrpSpPr>
          <p:cNvPr id="8" name="Group 7"/>
          <p:cNvGrpSpPr/>
          <p:nvPr userDrawn="1"/>
        </p:nvGrpSpPr>
        <p:grpSpPr>
          <a:xfrm>
            <a:off x="585218" y="5405058"/>
            <a:ext cx="1578689" cy="833174"/>
            <a:chOff x="2825708" y="3803918"/>
            <a:chExt cx="5590060" cy="2950238"/>
          </a:xfrm>
          <a:solidFill>
            <a:schemeClr val="bg1"/>
          </a:solidFill>
        </p:grpSpPr>
        <p:sp>
          <p:nvSpPr>
            <p:cNvPr id="9" name="Freeform 8"/>
            <p:cNvSpPr>
              <a:spLocks/>
            </p:cNvSpPr>
            <p:nvPr userDrawn="1"/>
          </p:nvSpPr>
          <p:spPr bwMode="auto">
            <a:xfrm flipH="1">
              <a:off x="2825708" y="3803918"/>
              <a:ext cx="3798668" cy="2644406"/>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361" rtl="0" eaLnBrk="1" fontAlgn="auto" latinLnBrk="0" hangingPunct="1">
                <a:lnSpc>
                  <a:spcPct val="100000"/>
                </a:lnSpc>
                <a:spcBef>
                  <a:spcPts val="0"/>
                </a:spcBef>
                <a:spcAft>
                  <a:spcPts val="0"/>
                </a:spcAft>
                <a:buClrTx/>
                <a:buSzTx/>
                <a:buFontTx/>
                <a:buNone/>
                <a:tabLst/>
                <a:defRPr/>
              </a:pPr>
              <a:endParaRPr kumimoji="0" lang="en-US" sz="1198" b="0" i="0" u="none" strike="noStrike" kern="1200" cap="none" spc="0" normalizeH="0" baseline="0" noProof="0" dirty="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86185816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39">
              <a:defRPr/>
            </a:pPr>
            <a:fld id="{27258FFF-F925-446B-8502-81C933981705}" type="slidenum">
              <a:rPr lang="en-US" smtClean="0">
                <a:solidFill>
                  <a:srgbClr val="505050"/>
                </a:solidFill>
              </a:rPr>
              <a:pPr defTabSz="932539">
                <a:defRPr/>
              </a:pPr>
              <a:t>‹#›</a:t>
            </a:fld>
            <a:endParaRPr lang="en-US" dirty="0">
              <a:solidFill>
                <a:srgbClr val="505050"/>
              </a:solidFill>
            </a:endParaRPr>
          </a:p>
        </p:txBody>
      </p:sp>
      <p:sp>
        <p:nvSpPr>
          <p:cNvPr id="8" name="Text Placeholder 7"/>
          <p:cNvSpPr>
            <a:spLocks noGrp="1"/>
          </p:cNvSpPr>
          <p:nvPr>
            <p:ph type="body" sz="quarter" idx="13" hasCustomPrompt="1"/>
          </p:nvPr>
        </p:nvSpPr>
        <p:spPr>
          <a:xfrm>
            <a:off x="603505" y="1545465"/>
            <a:ext cx="11226196" cy="4663068"/>
          </a:xfrm>
        </p:spPr>
        <p:txBody>
          <a:bodyPr lIns="0" tIns="0"/>
          <a:lstStyle>
            <a:lvl1pPr marL="233268" indent="-233268">
              <a:spcBef>
                <a:spcPts val="1198"/>
              </a:spcBef>
              <a:defRPr sz="2600">
                <a:latin typeface="+mn-lt"/>
              </a:defRPr>
            </a:lvl1pPr>
            <a:lvl2pPr marL="690281" indent="-233268">
              <a:spcBef>
                <a:spcPts val="1198"/>
              </a:spcBef>
              <a:buSzPct val="100000"/>
              <a:buFont typeface="Segoe UI" pitchFamily="34" charset="0"/>
              <a:buChar char="‐"/>
              <a:defRPr/>
            </a:lvl2pPr>
            <a:lvl3pPr marL="1147294" indent="-233268">
              <a:spcBef>
                <a:spcPts val="1198"/>
              </a:spcBef>
              <a:buFont typeface="Wingdings" pitchFamily="2" charset="2"/>
              <a:buChar char="§"/>
              <a:defRPr/>
            </a:lvl3pPr>
            <a:lvl4pPr marL="1599545" indent="-342760">
              <a:spcBef>
                <a:spcPts val="1198"/>
              </a:spcBef>
              <a:buFont typeface="+mj-lt"/>
              <a:buAutoNum type="arabicPeriod"/>
              <a:defRPr/>
            </a:lvl4pPr>
            <a:lvl5pPr marL="1945479" indent="-342760">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8805641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917647"/>
            <a:ext cx="12436475" cy="1096703"/>
            <a:chOff x="0" y="5910383"/>
            <a:chExt cx="12433852" cy="1096703"/>
          </a:xfrm>
        </p:grpSpPr>
        <p:sp>
          <p:nvSpPr>
            <p:cNvPr id="9" name="Rectangle 33"/>
            <p:cNvSpPr>
              <a:spLocks noChangeArrowheads="1"/>
            </p:cNvSpPr>
            <p:nvPr/>
          </p:nvSpPr>
          <p:spPr bwMode="auto">
            <a:xfrm>
              <a:off x="0" y="6945847"/>
              <a:ext cx="9978167"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Freeform 19"/>
            <p:cNvSpPr>
              <a:spLocks/>
            </p:cNvSpPr>
            <p:nvPr/>
          </p:nvSpPr>
          <p:spPr bwMode="auto">
            <a:xfrm>
              <a:off x="9689136" y="6552307"/>
              <a:ext cx="1379347" cy="454779"/>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Freeform 19"/>
            <p:cNvSpPr>
              <a:spLocks/>
            </p:cNvSpPr>
            <p:nvPr/>
          </p:nvSpPr>
          <p:spPr bwMode="auto">
            <a:xfrm>
              <a:off x="10664396" y="6423685"/>
              <a:ext cx="1769456" cy="583401"/>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 name="Freeform 30"/>
            <p:cNvSpPr>
              <a:spLocks/>
            </p:cNvSpPr>
            <p:nvPr/>
          </p:nvSpPr>
          <p:spPr bwMode="auto">
            <a:xfrm>
              <a:off x="11338712" y="6747862"/>
              <a:ext cx="969018" cy="257259"/>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Freeform 6"/>
            <p:cNvSpPr>
              <a:spLocks/>
            </p:cNvSpPr>
            <p:nvPr/>
          </p:nvSpPr>
          <p:spPr bwMode="auto">
            <a:xfrm>
              <a:off x="8546614" y="6504095"/>
              <a:ext cx="475067" cy="450977"/>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 name="Freeform 7"/>
            <p:cNvSpPr>
              <a:spLocks/>
            </p:cNvSpPr>
            <p:nvPr/>
          </p:nvSpPr>
          <p:spPr bwMode="auto">
            <a:xfrm>
              <a:off x="8796987" y="6504095"/>
              <a:ext cx="473785" cy="450977"/>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Freeform 8"/>
            <p:cNvSpPr>
              <a:spLocks/>
            </p:cNvSpPr>
            <p:nvPr/>
          </p:nvSpPr>
          <p:spPr bwMode="auto">
            <a:xfrm flipH="1">
              <a:off x="9943982" y="5930685"/>
              <a:ext cx="316320" cy="233119"/>
            </a:xfrm>
            <a:custGeom>
              <a:avLst/>
              <a:gdLst>
                <a:gd name="T0" fmla="*/ 117 w 139"/>
                <a:gd name="T1" fmla="*/ 40 h 91"/>
                <a:gd name="T2" fmla="*/ 117 w 139"/>
                <a:gd name="T3" fmla="*/ 38 h 91"/>
                <a:gd name="T4" fmla="*/ 79 w 139"/>
                <a:gd name="T5" fmla="*/ 0 h 91"/>
                <a:gd name="T6" fmla="*/ 47 w 139"/>
                <a:gd name="T7" fmla="*/ 17 h 91"/>
                <a:gd name="T8" fmla="*/ 36 w 139"/>
                <a:gd name="T9" fmla="*/ 14 h 91"/>
                <a:gd name="T10" fmla="*/ 24 w 139"/>
                <a:gd name="T11" fmla="*/ 18 h 91"/>
                <a:gd name="T12" fmla="*/ 14 w 139"/>
                <a:gd name="T13" fmla="*/ 36 h 91"/>
                <a:gd name="T14" fmla="*/ 0 w 139"/>
                <a:gd name="T15" fmla="*/ 61 h 91"/>
                <a:gd name="T16" fmla="*/ 27 w 139"/>
                <a:gd name="T17" fmla="*/ 91 h 91"/>
                <a:gd name="T18" fmla="*/ 30 w 139"/>
                <a:gd name="T19" fmla="*/ 91 h 91"/>
                <a:gd name="T20" fmla="*/ 33 w 139"/>
                <a:gd name="T21" fmla="*/ 91 h 91"/>
                <a:gd name="T22" fmla="*/ 96 w 139"/>
                <a:gd name="T23" fmla="*/ 91 h 91"/>
                <a:gd name="T24" fmla="*/ 97 w 139"/>
                <a:gd name="T25" fmla="*/ 91 h 91"/>
                <a:gd name="T26" fmla="*/ 99 w 139"/>
                <a:gd name="T27" fmla="*/ 91 h 91"/>
                <a:gd name="T28" fmla="*/ 103 w 139"/>
                <a:gd name="T29" fmla="*/ 91 h 91"/>
                <a:gd name="T30" fmla="*/ 113 w 139"/>
                <a:gd name="T31" fmla="*/ 91 h 91"/>
                <a:gd name="T32" fmla="*/ 139 w 139"/>
                <a:gd name="T33" fmla="*/ 66 h 91"/>
                <a:gd name="T34" fmla="*/ 117 w 139"/>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91">
                  <a:moveTo>
                    <a:pt x="117" y="40"/>
                  </a:moveTo>
                  <a:cubicBezTo>
                    <a:pt x="117" y="39"/>
                    <a:pt x="117" y="39"/>
                    <a:pt x="117" y="38"/>
                  </a:cubicBezTo>
                  <a:cubicBezTo>
                    <a:pt x="117" y="17"/>
                    <a:pt x="100" y="0"/>
                    <a:pt x="79" y="0"/>
                  </a:cubicBezTo>
                  <a:cubicBezTo>
                    <a:pt x="65" y="0"/>
                    <a:pt x="53" y="7"/>
                    <a:pt x="47" y="17"/>
                  </a:cubicBezTo>
                  <a:cubicBezTo>
                    <a:pt x="43" y="15"/>
                    <a:pt x="40" y="14"/>
                    <a:pt x="36" y="14"/>
                  </a:cubicBezTo>
                  <a:cubicBezTo>
                    <a:pt x="31" y="14"/>
                    <a:pt x="27" y="15"/>
                    <a:pt x="24" y="18"/>
                  </a:cubicBezTo>
                  <a:cubicBezTo>
                    <a:pt x="18" y="22"/>
                    <a:pt x="14" y="28"/>
                    <a:pt x="14" y="36"/>
                  </a:cubicBezTo>
                  <a:cubicBezTo>
                    <a:pt x="6" y="41"/>
                    <a:pt x="0" y="51"/>
                    <a:pt x="0" y="61"/>
                  </a:cubicBezTo>
                  <a:cubicBezTo>
                    <a:pt x="0" y="77"/>
                    <a:pt x="12" y="90"/>
                    <a:pt x="27" y="91"/>
                  </a:cubicBezTo>
                  <a:cubicBezTo>
                    <a:pt x="28" y="91"/>
                    <a:pt x="29" y="91"/>
                    <a:pt x="30" y="91"/>
                  </a:cubicBezTo>
                  <a:cubicBezTo>
                    <a:pt x="31" y="91"/>
                    <a:pt x="32" y="91"/>
                    <a:pt x="33" y="91"/>
                  </a:cubicBezTo>
                  <a:cubicBezTo>
                    <a:pt x="47" y="91"/>
                    <a:pt x="80" y="91"/>
                    <a:pt x="96" y="91"/>
                  </a:cubicBezTo>
                  <a:cubicBezTo>
                    <a:pt x="97" y="91"/>
                    <a:pt x="97" y="91"/>
                    <a:pt x="97" y="91"/>
                  </a:cubicBezTo>
                  <a:cubicBezTo>
                    <a:pt x="99" y="91"/>
                    <a:pt x="99" y="91"/>
                    <a:pt x="99" y="91"/>
                  </a:cubicBezTo>
                  <a:cubicBezTo>
                    <a:pt x="100" y="91"/>
                    <a:pt x="102" y="91"/>
                    <a:pt x="103" y="91"/>
                  </a:cubicBezTo>
                  <a:cubicBezTo>
                    <a:pt x="113" y="91"/>
                    <a:pt x="113" y="91"/>
                    <a:pt x="113" y="91"/>
                  </a:cubicBezTo>
                  <a:cubicBezTo>
                    <a:pt x="128" y="91"/>
                    <a:pt x="139" y="80"/>
                    <a:pt x="139" y="66"/>
                  </a:cubicBezTo>
                  <a:cubicBezTo>
                    <a:pt x="139" y="53"/>
                    <a:pt x="130" y="42"/>
                    <a:pt x="117"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 name="Rectangle 9"/>
            <p:cNvSpPr>
              <a:spLocks noChangeArrowheads="1"/>
            </p:cNvSpPr>
            <p:nvPr/>
          </p:nvSpPr>
          <p:spPr bwMode="auto">
            <a:xfrm>
              <a:off x="8244881" y="6345096"/>
              <a:ext cx="430129" cy="609976"/>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 name="Rectangle 10"/>
            <p:cNvSpPr>
              <a:spLocks noChangeArrowheads="1"/>
            </p:cNvSpPr>
            <p:nvPr/>
          </p:nvSpPr>
          <p:spPr bwMode="auto">
            <a:xfrm>
              <a:off x="8224338" y="6327750"/>
              <a:ext cx="472500" cy="173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 name="Rectangle 11"/>
            <p:cNvSpPr>
              <a:spLocks noChangeArrowheads="1"/>
            </p:cNvSpPr>
            <p:nvPr/>
          </p:nvSpPr>
          <p:spPr bwMode="auto">
            <a:xfrm>
              <a:off x="8284685" y="6400022"/>
              <a:ext cx="55211" cy="650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Rectangle 12"/>
            <p:cNvSpPr>
              <a:spLocks noChangeArrowheads="1"/>
            </p:cNvSpPr>
            <p:nvPr/>
          </p:nvSpPr>
          <p:spPr bwMode="auto">
            <a:xfrm>
              <a:off x="8284685" y="6400022"/>
              <a:ext cx="55211" cy="33247"/>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Rectangle 13"/>
            <p:cNvSpPr>
              <a:spLocks noChangeArrowheads="1"/>
            </p:cNvSpPr>
            <p:nvPr/>
          </p:nvSpPr>
          <p:spPr bwMode="auto">
            <a:xfrm>
              <a:off x="8382266" y="6400022"/>
              <a:ext cx="55211" cy="65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Rectangle 14"/>
            <p:cNvSpPr>
              <a:spLocks noChangeArrowheads="1"/>
            </p:cNvSpPr>
            <p:nvPr/>
          </p:nvSpPr>
          <p:spPr bwMode="auto">
            <a:xfrm>
              <a:off x="8478564" y="6400022"/>
              <a:ext cx="57779" cy="6504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Rectangle 15"/>
            <p:cNvSpPr>
              <a:spLocks noChangeArrowheads="1"/>
            </p:cNvSpPr>
            <p:nvPr/>
          </p:nvSpPr>
          <p:spPr bwMode="auto">
            <a:xfrm>
              <a:off x="8382266" y="6830764"/>
              <a:ext cx="55211" cy="12430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Rectangle 16"/>
            <p:cNvSpPr>
              <a:spLocks noChangeArrowheads="1"/>
            </p:cNvSpPr>
            <p:nvPr/>
          </p:nvSpPr>
          <p:spPr bwMode="auto">
            <a:xfrm>
              <a:off x="8478564" y="6830764"/>
              <a:ext cx="57779" cy="12430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Rectangle 17"/>
            <p:cNvSpPr>
              <a:spLocks noChangeArrowheads="1"/>
            </p:cNvSpPr>
            <p:nvPr/>
          </p:nvSpPr>
          <p:spPr bwMode="auto">
            <a:xfrm>
              <a:off x="8577429" y="6400022"/>
              <a:ext cx="56494" cy="65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Rectangle 18"/>
            <p:cNvSpPr>
              <a:spLocks noChangeArrowheads="1"/>
            </p:cNvSpPr>
            <p:nvPr/>
          </p:nvSpPr>
          <p:spPr bwMode="auto">
            <a:xfrm>
              <a:off x="8284685" y="6509876"/>
              <a:ext cx="55211" cy="6504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Rectangle 19"/>
            <p:cNvSpPr>
              <a:spLocks noChangeArrowheads="1"/>
            </p:cNvSpPr>
            <p:nvPr/>
          </p:nvSpPr>
          <p:spPr bwMode="auto">
            <a:xfrm>
              <a:off x="8382266" y="6509876"/>
              <a:ext cx="55211" cy="65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Rectangle 20"/>
            <p:cNvSpPr>
              <a:spLocks noChangeArrowheads="1"/>
            </p:cNvSpPr>
            <p:nvPr/>
          </p:nvSpPr>
          <p:spPr bwMode="auto">
            <a:xfrm>
              <a:off x="8478564" y="6509876"/>
              <a:ext cx="57779" cy="65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Rectangle 21"/>
            <p:cNvSpPr>
              <a:spLocks noChangeArrowheads="1"/>
            </p:cNvSpPr>
            <p:nvPr/>
          </p:nvSpPr>
          <p:spPr bwMode="auto">
            <a:xfrm>
              <a:off x="8577429" y="6509876"/>
              <a:ext cx="56494" cy="650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Rectangle 22"/>
            <p:cNvSpPr>
              <a:spLocks noChangeArrowheads="1"/>
            </p:cNvSpPr>
            <p:nvPr/>
          </p:nvSpPr>
          <p:spPr bwMode="auto">
            <a:xfrm>
              <a:off x="8284685" y="6621175"/>
              <a:ext cx="55211" cy="6215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 name="Rectangle 23"/>
            <p:cNvSpPr>
              <a:spLocks noChangeArrowheads="1"/>
            </p:cNvSpPr>
            <p:nvPr/>
          </p:nvSpPr>
          <p:spPr bwMode="auto">
            <a:xfrm>
              <a:off x="8382266" y="6621175"/>
              <a:ext cx="55211" cy="621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Rectangle 24"/>
            <p:cNvSpPr>
              <a:spLocks noChangeArrowheads="1"/>
            </p:cNvSpPr>
            <p:nvPr/>
          </p:nvSpPr>
          <p:spPr bwMode="auto">
            <a:xfrm>
              <a:off x="8478564" y="6621175"/>
              <a:ext cx="57779" cy="6215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 name="Rectangle 25"/>
            <p:cNvSpPr>
              <a:spLocks noChangeArrowheads="1"/>
            </p:cNvSpPr>
            <p:nvPr/>
          </p:nvSpPr>
          <p:spPr bwMode="auto">
            <a:xfrm>
              <a:off x="8577429" y="6621175"/>
              <a:ext cx="56494" cy="6215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 name="Rectangle 26"/>
            <p:cNvSpPr>
              <a:spLocks noChangeArrowheads="1"/>
            </p:cNvSpPr>
            <p:nvPr/>
          </p:nvSpPr>
          <p:spPr bwMode="auto">
            <a:xfrm>
              <a:off x="8284685" y="6729583"/>
              <a:ext cx="55211" cy="6359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 name="Rectangle 27"/>
            <p:cNvSpPr>
              <a:spLocks noChangeArrowheads="1"/>
            </p:cNvSpPr>
            <p:nvPr/>
          </p:nvSpPr>
          <p:spPr bwMode="auto">
            <a:xfrm>
              <a:off x="8382266" y="6729583"/>
              <a:ext cx="55211" cy="635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 name="Rectangle 28"/>
            <p:cNvSpPr>
              <a:spLocks noChangeArrowheads="1"/>
            </p:cNvSpPr>
            <p:nvPr/>
          </p:nvSpPr>
          <p:spPr bwMode="auto">
            <a:xfrm>
              <a:off x="8478564" y="6729583"/>
              <a:ext cx="57779" cy="635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Rectangle 29"/>
            <p:cNvSpPr>
              <a:spLocks noChangeArrowheads="1"/>
            </p:cNvSpPr>
            <p:nvPr/>
          </p:nvSpPr>
          <p:spPr bwMode="auto">
            <a:xfrm>
              <a:off x="8577429" y="6729583"/>
              <a:ext cx="56494" cy="6359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Rectangle 30"/>
            <p:cNvSpPr>
              <a:spLocks noChangeArrowheads="1"/>
            </p:cNvSpPr>
            <p:nvPr/>
          </p:nvSpPr>
          <p:spPr bwMode="auto">
            <a:xfrm>
              <a:off x="8284685" y="6621175"/>
              <a:ext cx="55211" cy="3035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Rectangle 31"/>
            <p:cNvSpPr>
              <a:spLocks noChangeArrowheads="1"/>
            </p:cNvSpPr>
            <p:nvPr/>
          </p:nvSpPr>
          <p:spPr bwMode="auto">
            <a:xfrm>
              <a:off x="8577429" y="6621175"/>
              <a:ext cx="56494" cy="3035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Rectangle 32"/>
            <p:cNvSpPr>
              <a:spLocks noChangeArrowheads="1"/>
            </p:cNvSpPr>
            <p:nvPr/>
          </p:nvSpPr>
          <p:spPr bwMode="auto">
            <a:xfrm>
              <a:off x="8577429" y="6509876"/>
              <a:ext cx="56494" cy="3180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Rectangle 34"/>
            <p:cNvSpPr>
              <a:spLocks noChangeArrowheads="1"/>
            </p:cNvSpPr>
            <p:nvPr/>
          </p:nvSpPr>
          <p:spPr bwMode="auto">
            <a:xfrm>
              <a:off x="7966261" y="6851378"/>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Oval 35"/>
            <p:cNvSpPr>
              <a:spLocks noChangeArrowheads="1"/>
            </p:cNvSpPr>
            <p:nvPr/>
          </p:nvSpPr>
          <p:spPr bwMode="auto">
            <a:xfrm>
              <a:off x="7916186" y="6758868"/>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 name="Oval 36"/>
            <p:cNvSpPr>
              <a:spLocks noChangeArrowheads="1"/>
            </p:cNvSpPr>
            <p:nvPr/>
          </p:nvSpPr>
          <p:spPr bwMode="auto">
            <a:xfrm>
              <a:off x="7932878" y="6688043"/>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 name="Rectangle 37"/>
            <p:cNvSpPr>
              <a:spLocks noChangeArrowheads="1"/>
            </p:cNvSpPr>
            <p:nvPr/>
          </p:nvSpPr>
          <p:spPr bwMode="auto">
            <a:xfrm>
              <a:off x="8128041" y="6851378"/>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 name="Oval 38"/>
            <p:cNvSpPr>
              <a:spLocks noChangeArrowheads="1"/>
            </p:cNvSpPr>
            <p:nvPr/>
          </p:nvSpPr>
          <p:spPr bwMode="auto">
            <a:xfrm>
              <a:off x="8077966" y="6758868"/>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 name="Oval 39"/>
            <p:cNvSpPr>
              <a:spLocks noChangeArrowheads="1"/>
            </p:cNvSpPr>
            <p:nvPr/>
          </p:nvSpPr>
          <p:spPr bwMode="auto">
            <a:xfrm>
              <a:off x="8094658" y="6688043"/>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 name="Rectangle 40"/>
            <p:cNvSpPr>
              <a:spLocks noChangeArrowheads="1"/>
            </p:cNvSpPr>
            <p:nvPr/>
          </p:nvSpPr>
          <p:spPr bwMode="auto">
            <a:xfrm>
              <a:off x="8437476" y="6251143"/>
              <a:ext cx="166916" cy="76609"/>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Rectangle 41"/>
            <p:cNvSpPr>
              <a:spLocks noChangeArrowheads="1"/>
            </p:cNvSpPr>
            <p:nvPr/>
          </p:nvSpPr>
          <p:spPr bwMode="auto">
            <a:xfrm>
              <a:off x="9297734" y="6567695"/>
              <a:ext cx="423500" cy="38737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Rectangle 42"/>
            <p:cNvSpPr>
              <a:spLocks noChangeArrowheads="1"/>
            </p:cNvSpPr>
            <p:nvPr/>
          </p:nvSpPr>
          <p:spPr bwMode="auto">
            <a:xfrm>
              <a:off x="9277189" y="6550349"/>
              <a:ext cx="457200" cy="17345"/>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Rectangle 43"/>
            <p:cNvSpPr>
              <a:spLocks noChangeArrowheads="1"/>
            </p:cNvSpPr>
            <p:nvPr/>
          </p:nvSpPr>
          <p:spPr bwMode="auto">
            <a:xfrm>
              <a:off x="9435118" y="6830764"/>
              <a:ext cx="56494" cy="124308"/>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Rectangle 44"/>
            <p:cNvSpPr>
              <a:spLocks noChangeArrowheads="1"/>
            </p:cNvSpPr>
            <p:nvPr/>
          </p:nvSpPr>
          <p:spPr bwMode="auto">
            <a:xfrm>
              <a:off x="9531414" y="6830764"/>
              <a:ext cx="57779" cy="124308"/>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1" name="Rectangle 45"/>
            <p:cNvSpPr>
              <a:spLocks noChangeArrowheads="1"/>
            </p:cNvSpPr>
            <p:nvPr/>
          </p:nvSpPr>
          <p:spPr bwMode="auto">
            <a:xfrm>
              <a:off x="9337536" y="6621175"/>
              <a:ext cx="55211" cy="6215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Rectangle 46"/>
            <p:cNvSpPr>
              <a:spLocks noChangeArrowheads="1"/>
            </p:cNvSpPr>
            <p:nvPr/>
          </p:nvSpPr>
          <p:spPr bwMode="auto">
            <a:xfrm>
              <a:off x="9435118" y="6621175"/>
              <a:ext cx="56494" cy="621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3" name="Rectangle 47"/>
            <p:cNvSpPr>
              <a:spLocks noChangeArrowheads="1"/>
            </p:cNvSpPr>
            <p:nvPr/>
          </p:nvSpPr>
          <p:spPr bwMode="auto">
            <a:xfrm>
              <a:off x="9531414" y="6621175"/>
              <a:ext cx="57779" cy="62154"/>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4" name="Rectangle 48"/>
            <p:cNvSpPr>
              <a:spLocks noChangeArrowheads="1"/>
            </p:cNvSpPr>
            <p:nvPr/>
          </p:nvSpPr>
          <p:spPr bwMode="auto">
            <a:xfrm>
              <a:off x="9630280" y="6621175"/>
              <a:ext cx="56494" cy="6215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5" name="Rectangle 49"/>
            <p:cNvSpPr>
              <a:spLocks noChangeArrowheads="1"/>
            </p:cNvSpPr>
            <p:nvPr/>
          </p:nvSpPr>
          <p:spPr bwMode="auto">
            <a:xfrm>
              <a:off x="9337536" y="6729583"/>
              <a:ext cx="55211" cy="63599"/>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6" name="Rectangle 50"/>
            <p:cNvSpPr>
              <a:spLocks noChangeArrowheads="1"/>
            </p:cNvSpPr>
            <p:nvPr/>
          </p:nvSpPr>
          <p:spPr bwMode="auto">
            <a:xfrm>
              <a:off x="9435118" y="6729583"/>
              <a:ext cx="56494" cy="635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7" name="Rectangle 51"/>
            <p:cNvSpPr>
              <a:spLocks noChangeArrowheads="1"/>
            </p:cNvSpPr>
            <p:nvPr/>
          </p:nvSpPr>
          <p:spPr bwMode="auto">
            <a:xfrm>
              <a:off x="9531414" y="6729583"/>
              <a:ext cx="57779" cy="635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8" name="Rectangle 52"/>
            <p:cNvSpPr>
              <a:spLocks noChangeArrowheads="1"/>
            </p:cNvSpPr>
            <p:nvPr/>
          </p:nvSpPr>
          <p:spPr bwMode="auto">
            <a:xfrm>
              <a:off x="9630280" y="6729583"/>
              <a:ext cx="56494" cy="63599"/>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9" name="Rectangle 53"/>
            <p:cNvSpPr>
              <a:spLocks noChangeArrowheads="1"/>
            </p:cNvSpPr>
            <p:nvPr/>
          </p:nvSpPr>
          <p:spPr bwMode="auto">
            <a:xfrm>
              <a:off x="9337536" y="6621175"/>
              <a:ext cx="55211" cy="30355"/>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0" name="Rectangle 54"/>
            <p:cNvSpPr>
              <a:spLocks noChangeArrowheads="1"/>
            </p:cNvSpPr>
            <p:nvPr/>
          </p:nvSpPr>
          <p:spPr bwMode="auto">
            <a:xfrm>
              <a:off x="9630280" y="6621175"/>
              <a:ext cx="56494" cy="30355"/>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1" name="Rectangle 55"/>
            <p:cNvSpPr>
              <a:spLocks noChangeArrowheads="1"/>
            </p:cNvSpPr>
            <p:nvPr/>
          </p:nvSpPr>
          <p:spPr bwMode="auto">
            <a:xfrm>
              <a:off x="9491612" y="6473740"/>
              <a:ext cx="165633" cy="76609"/>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2" name="Rectangle 56"/>
            <p:cNvSpPr>
              <a:spLocks noChangeArrowheads="1"/>
            </p:cNvSpPr>
            <p:nvPr/>
          </p:nvSpPr>
          <p:spPr bwMode="auto">
            <a:xfrm>
              <a:off x="8771308" y="6129726"/>
              <a:ext cx="430129" cy="82534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3" name="Rectangle 57"/>
            <p:cNvSpPr>
              <a:spLocks noChangeArrowheads="1"/>
            </p:cNvSpPr>
            <p:nvPr/>
          </p:nvSpPr>
          <p:spPr bwMode="auto">
            <a:xfrm>
              <a:off x="8750764" y="6109489"/>
              <a:ext cx="472500" cy="20237"/>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4" name="Rectangle 58"/>
            <p:cNvSpPr>
              <a:spLocks noChangeArrowheads="1"/>
            </p:cNvSpPr>
            <p:nvPr/>
          </p:nvSpPr>
          <p:spPr bwMode="auto">
            <a:xfrm>
              <a:off x="8811110" y="6400022"/>
              <a:ext cx="55211" cy="65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5" name="Rectangle 59"/>
            <p:cNvSpPr>
              <a:spLocks noChangeArrowheads="1"/>
            </p:cNvSpPr>
            <p:nvPr/>
          </p:nvSpPr>
          <p:spPr bwMode="auto">
            <a:xfrm>
              <a:off x="8811110" y="6400022"/>
              <a:ext cx="55211" cy="33247"/>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6" name="Rectangle 60"/>
            <p:cNvSpPr>
              <a:spLocks noChangeArrowheads="1"/>
            </p:cNvSpPr>
            <p:nvPr/>
          </p:nvSpPr>
          <p:spPr bwMode="auto">
            <a:xfrm>
              <a:off x="8908691" y="6400022"/>
              <a:ext cx="55211" cy="6504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7" name="Rectangle 61"/>
            <p:cNvSpPr>
              <a:spLocks noChangeArrowheads="1"/>
            </p:cNvSpPr>
            <p:nvPr/>
          </p:nvSpPr>
          <p:spPr bwMode="auto">
            <a:xfrm>
              <a:off x="9004990" y="6400022"/>
              <a:ext cx="57779" cy="65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8" name="Rectangle 62"/>
            <p:cNvSpPr>
              <a:spLocks noChangeArrowheads="1"/>
            </p:cNvSpPr>
            <p:nvPr/>
          </p:nvSpPr>
          <p:spPr bwMode="auto">
            <a:xfrm>
              <a:off x="8908691" y="6830764"/>
              <a:ext cx="55211" cy="12430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9" name="Rectangle 63"/>
            <p:cNvSpPr>
              <a:spLocks noChangeArrowheads="1"/>
            </p:cNvSpPr>
            <p:nvPr/>
          </p:nvSpPr>
          <p:spPr bwMode="auto">
            <a:xfrm>
              <a:off x="9004990" y="6830764"/>
              <a:ext cx="57779" cy="12430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0" name="Rectangle 64"/>
            <p:cNvSpPr>
              <a:spLocks noChangeArrowheads="1"/>
            </p:cNvSpPr>
            <p:nvPr/>
          </p:nvSpPr>
          <p:spPr bwMode="auto">
            <a:xfrm>
              <a:off x="9103855" y="6400022"/>
              <a:ext cx="56494" cy="6504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1" name="Rectangle 65"/>
            <p:cNvSpPr>
              <a:spLocks noChangeArrowheads="1"/>
            </p:cNvSpPr>
            <p:nvPr/>
          </p:nvSpPr>
          <p:spPr bwMode="auto">
            <a:xfrm>
              <a:off x="8811110" y="6509876"/>
              <a:ext cx="55211" cy="65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2" name="Rectangle 66"/>
            <p:cNvSpPr>
              <a:spLocks noChangeArrowheads="1"/>
            </p:cNvSpPr>
            <p:nvPr/>
          </p:nvSpPr>
          <p:spPr bwMode="auto">
            <a:xfrm>
              <a:off x="8908691" y="6509876"/>
              <a:ext cx="55211" cy="6504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3" name="Rectangle 67"/>
            <p:cNvSpPr>
              <a:spLocks noChangeArrowheads="1"/>
            </p:cNvSpPr>
            <p:nvPr/>
          </p:nvSpPr>
          <p:spPr bwMode="auto">
            <a:xfrm>
              <a:off x="9004990" y="6509876"/>
              <a:ext cx="57779" cy="6504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4" name="Rectangle 68"/>
            <p:cNvSpPr>
              <a:spLocks noChangeArrowheads="1"/>
            </p:cNvSpPr>
            <p:nvPr/>
          </p:nvSpPr>
          <p:spPr bwMode="auto">
            <a:xfrm>
              <a:off x="9103855" y="6509876"/>
              <a:ext cx="56494" cy="65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5" name="Rectangle 69"/>
            <p:cNvSpPr>
              <a:spLocks noChangeArrowheads="1"/>
            </p:cNvSpPr>
            <p:nvPr/>
          </p:nvSpPr>
          <p:spPr bwMode="auto">
            <a:xfrm>
              <a:off x="8811110" y="6621175"/>
              <a:ext cx="55211" cy="62154"/>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6" name="Rectangle 70"/>
            <p:cNvSpPr>
              <a:spLocks noChangeArrowheads="1"/>
            </p:cNvSpPr>
            <p:nvPr/>
          </p:nvSpPr>
          <p:spPr bwMode="auto">
            <a:xfrm>
              <a:off x="8908691" y="6621175"/>
              <a:ext cx="55211" cy="62154"/>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7" name="Rectangle 71"/>
            <p:cNvSpPr>
              <a:spLocks noChangeArrowheads="1"/>
            </p:cNvSpPr>
            <p:nvPr/>
          </p:nvSpPr>
          <p:spPr bwMode="auto">
            <a:xfrm>
              <a:off x="9004990" y="6621175"/>
              <a:ext cx="57779" cy="6215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8" name="Rectangle 72"/>
            <p:cNvSpPr>
              <a:spLocks noChangeArrowheads="1"/>
            </p:cNvSpPr>
            <p:nvPr/>
          </p:nvSpPr>
          <p:spPr bwMode="auto">
            <a:xfrm>
              <a:off x="9103855" y="6621175"/>
              <a:ext cx="56494" cy="62154"/>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9" name="Rectangle 73"/>
            <p:cNvSpPr>
              <a:spLocks noChangeArrowheads="1"/>
            </p:cNvSpPr>
            <p:nvPr/>
          </p:nvSpPr>
          <p:spPr bwMode="auto">
            <a:xfrm>
              <a:off x="8811110" y="6729583"/>
              <a:ext cx="55211" cy="63599"/>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0" name="Rectangle 74"/>
            <p:cNvSpPr>
              <a:spLocks noChangeArrowheads="1"/>
            </p:cNvSpPr>
            <p:nvPr/>
          </p:nvSpPr>
          <p:spPr bwMode="auto">
            <a:xfrm>
              <a:off x="8908691" y="6729583"/>
              <a:ext cx="55211" cy="63599"/>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1" name="Rectangle 75"/>
            <p:cNvSpPr>
              <a:spLocks noChangeArrowheads="1"/>
            </p:cNvSpPr>
            <p:nvPr/>
          </p:nvSpPr>
          <p:spPr bwMode="auto">
            <a:xfrm>
              <a:off x="9004990" y="6729583"/>
              <a:ext cx="57779" cy="63599"/>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2" name="Rectangle 76"/>
            <p:cNvSpPr>
              <a:spLocks noChangeArrowheads="1"/>
            </p:cNvSpPr>
            <p:nvPr/>
          </p:nvSpPr>
          <p:spPr bwMode="auto">
            <a:xfrm>
              <a:off x="9103855" y="6729583"/>
              <a:ext cx="56494" cy="63599"/>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3" name="Rectangle 77"/>
            <p:cNvSpPr>
              <a:spLocks noChangeArrowheads="1"/>
            </p:cNvSpPr>
            <p:nvPr/>
          </p:nvSpPr>
          <p:spPr bwMode="auto">
            <a:xfrm>
              <a:off x="8811110" y="6621175"/>
              <a:ext cx="55211" cy="3035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4" name="Rectangle 78"/>
            <p:cNvSpPr>
              <a:spLocks noChangeArrowheads="1"/>
            </p:cNvSpPr>
            <p:nvPr/>
          </p:nvSpPr>
          <p:spPr bwMode="auto">
            <a:xfrm>
              <a:off x="9103855" y="6621175"/>
              <a:ext cx="56494" cy="3035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Rectangle 79"/>
            <p:cNvSpPr>
              <a:spLocks noChangeArrowheads="1"/>
            </p:cNvSpPr>
            <p:nvPr/>
          </p:nvSpPr>
          <p:spPr bwMode="auto">
            <a:xfrm>
              <a:off x="9103855" y="6509876"/>
              <a:ext cx="56494" cy="31800"/>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 name="Rectangle 80"/>
            <p:cNvSpPr>
              <a:spLocks noChangeArrowheads="1"/>
            </p:cNvSpPr>
            <p:nvPr/>
          </p:nvSpPr>
          <p:spPr bwMode="auto">
            <a:xfrm>
              <a:off x="8811110" y="6181762"/>
              <a:ext cx="55211" cy="62154"/>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7" name="Rectangle 81"/>
            <p:cNvSpPr>
              <a:spLocks noChangeArrowheads="1"/>
            </p:cNvSpPr>
            <p:nvPr/>
          </p:nvSpPr>
          <p:spPr bwMode="auto">
            <a:xfrm>
              <a:off x="8811110" y="6181762"/>
              <a:ext cx="55211" cy="31800"/>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8" name="Rectangle 82"/>
            <p:cNvSpPr>
              <a:spLocks noChangeArrowheads="1"/>
            </p:cNvSpPr>
            <p:nvPr/>
          </p:nvSpPr>
          <p:spPr bwMode="auto">
            <a:xfrm>
              <a:off x="8908691" y="6181762"/>
              <a:ext cx="55211" cy="6215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9" name="Rectangle 83"/>
            <p:cNvSpPr>
              <a:spLocks noChangeArrowheads="1"/>
            </p:cNvSpPr>
            <p:nvPr/>
          </p:nvSpPr>
          <p:spPr bwMode="auto">
            <a:xfrm>
              <a:off x="9004990" y="6181762"/>
              <a:ext cx="57779" cy="62154"/>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0" name="Rectangle 84"/>
            <p:cNvSpPr>
              <a:spLocks noChangeArrowheads="1"/>
            </p:cNvSpPr>
            <p:nvPr/>
          </p:nvSpPr>
          <p:spPr bwMode="auto">
            <a:xfrm>
              <a:off x="9103855" y="6181762"/>
              <a:ext cx="56494" cy="6215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1" name="Rectangle 85"/>
            <p:cNvSpPr>
              <a:spLocks noChangeArrowheads="1"/>
            </p:cNvSpPr>
            <p:nvPr/>
          </p:nvSpPr>
          <p:spPr bwMode="auto">
            <a:xfrm>
              <a:off x="8811110" y="6291614"/>
              <a:ext cx="55211" cy="62154"/>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2" name="Rectangle 86"/>
            <p:cNvSpPr>
              <a:spLocks noChangeArrowheads="1"/>
            </p:cNvSpPr>
            <p:nvPr/>
          </p:nvSpPr>
          <p:spPr bwMode="auto">
            <a:xfrm>
              <a:off x="8908691" y="6291614"/>
              <a:ext cx="55211" cy="6215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3" name="Rectangle 87"/>
            <p:cNvSpPr>
              <a:spLocks noChangeArrowheads="1"/>
            </p:cNvSpPr>
            <p:nvPr/>
          </p:nvSpPr>
          <p:spPr bwMode="auto">
            <a:xfrm>
              <a:off x="9004990" y="6291614"/>
              <a:ext cx="57779" cy="6215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4" name="Rectangle 88"/>
            <p:cNvSpPr>
              <a:spLocks noChangeArrowheads="1"/>
            </p:cNvSpPr>
            <p:nvPr/>
          </p:nvSpPr>
          <p:spPr bwMode="auto">
            <a:xfrm>
              <a:off x="9103855" y="6291614"/>
              <a:ext cx="56494" cy="62154"/>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5" name="Rectangle 89"/>
            <p:cNvSpPr>
              <a:spLocks noChangeArrowheads="1"/>
            </p:cNvSpPr>
            <p:nvPr/>
          </p:nvSpPr>
          <p:spPr bwMode="auto">
            <a:xfrm>
              <a:off x="9103855" y="6291614"/>
              <a:ext cx="56494" cy="31800"/>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6" name="Rectangle 90"/>
            <p:cNvSpPr>
              <a:spLocks noChangeArrowheads="1"/>
            </p:cNvSpPr>
            <p:nvPr/>
          </p:nvSpPr>
          <p:spPr bwMode="auto">
            <a:xfrm>
              <a:off x="8841926" y="6034327"/>
              <a:ext cx="51358" cy="75162"/>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7" name="Rectangle 91"/>
            <p:cNvSpPr>
              <a:spLocks noChangeArrowheads="1"/>
            </p:cNvSpPr>
            <p:nvPr/>
          </p:nvSpPr>
          <p:spPr bwMode="auto">
            <a:xfrm>
              <a:off x="8911259" y="6034327"/>
              <a:ext cx="51358" cy="75162"/>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8" name="Freeform 5"/>
            <p:cNvSpPr>
              <a:spLocks/>
            </p:cNvSpPr>
            <p:nvPr/>
          </p:nvSpPr>
          <p:spPr bwMode="auto">
            <a:xfrm flipH="1">
              <a:off x="11367681" y="6220501"/>
              <a:ext cx="298224" cy="217539"/>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9" name="Freeform 8"/>
            <p:cNvSpPr>
              <a:spLocks/>
            </p:cNvSpPr>
            <p:nvPr/>
          </p:nvSpPr>
          <p:spPr bwMode="auto">
            <a:xfrm flipH="1">
              <a:off x="10808219" y="5910383"/>
              <a:ext cx="559462" cy="412309"/>
            </a:xfrm>
            <a:custGeom>
              <a:avLst/>
              <a:gdLst>
                <a:gd name="T0" fmla="*/ 117 w 139"/>
                <a:gd name="T1" fmla="*/ 40 h 91"/>
                <a:gd name="T2" fmla="*/ 117 w 139"/>
                <a:gd name="T3" fmla="*/ 38 h 91"/>
                <a:gd name="T4" fmla="*/ 79 w 139"/>
                <a:gd name="T5" fmla="*/ 0 h 91"/>
                <a:gd name="T6" fmla="*/ 47 w 139"/>
                <a:gd name="T7" fmla="*/ 17 h 91"/>
                <a:gd name="T8" fmla="*/ 36 w 139"/>
                <a:gd name="T9" fmla="*/ 14 h 91"/>
                <a:gd name="T10" fmla="*/ 24 w 139"/>
                <a:gd name="T11" fmla="*/ 18 h 91"/>
                <a:gd name="T12" fmla="*/ 14 w 139"/>
                <a:gd name="T13" fmla="*/ 36 h 91"/>
                <a:gd name="T14" fmla="*/ 0 w 139"/>
                <a:gd name="T15" fmla="*/ 61 h 91"/>
                <a:gd name="T16" fmla="*/ 27 w 139"/>
                <a:gd name="T17" fmla="*/ 91 h 91"/>
                <a:gd name="T18" fmla="*/ 30 w 139"/>
                <a:gd name="T19" fmla="*/ 91 h 91"/>
                <a:gd name="T20" fmla="*/ 33 w 139"/>
                <a:gd name="T21" fmla="*/ 91 h 91"/>
                <a:gd name="T22" fmla="*/ 96 w 139"/>
                <a:gd name="T23" fmla="*/ 91 h 91"/>
                <a:gd name="T24" fmla="*/ 97 w 139"/>
                <a:gd name="T25" fmla="*/ 91 h 91"/>
                <a:gd name="T26" fmla="*/ 99 w 139"/>
                <a:gd name="T27" fmla="*/ 91 h 91"/>
                <a:gd name="T28" fmla="*/ 103 w 139"/>
                <a:gd name="T29" fmla="*/ 91 h 91"/>
                <a:gd name="T30" fmla="*/ 113 w 139"/>
                <a:gd name="T31" fmla="*/ 91 h 91"/>
                <a:gd name="T32" fmla="*/ 139 w 139"/>
                <a:gd name="T33" fmla="*/ 66 h 91"/>
                <a:gd name="T34" fmla="*/ 117 w 139"/>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91">
                  <a:moveTo>
                    <a:pt x="117" y="40"/>
                  </a:moveTo>
                  <a:cubicBezTo>
                    <a:pt x="117" y="39"/>
                    <a:pt x="117" y="39"/>
                    <a:pt x="117" y="38"/>
                  </a:cubicBezTo>
                  <a:cubicBezTo>
                    <a:pt x="117" y="17"/>
                    <a:pt x="100" y="0"/>
                    <a:pt x="79" y="0"/>
                  </a:cubicBezTo>
                  <a:cubicBezTo>
                    <a:pt x="65" y="0"/>
                    <a:pt x="53" y="7"/>
                    <a:pt x="47" y="17"/>
                  </a:cubicBezTo>
                  <a:cubicBezTo>
                    <a:pt x="43" y="15"/>
                    <a:pt x="40" y="14"/>
                    <a:pt x="36" y="14"/>
                  </a:cubicBezTo>
                  <a:cubicBezTo>
                    <a:pt x="31" y="14"/>
                    <a:pt x="27" y="15"/>
                    <a:pt x="24" y="18"/>
                  </a:cubicBezTo>
                  <a:cubicBezTo>
                    <a:pt x="18" y="22"/>
                    <a:pt x="14" y="28"/>
                    <a:pt x="14" y="36"/>
                  </a:cubicBezTo>
                  <a:cubicBezTo>
                    <a:pt x="6" y="41"/>
                    <a:pt x="0" y="51"/>
                    <a:pt x="0" y="61"/>
                  </a:cubicBezTo>
                  <a:cubicBezTo>
                    <a:pt x="0" y="77"/>
                    <a:pt x="12" y="90"/>
                    <a:pt x="27" y="91"/>
                  </a:cubicBezTo>
                  <a:cubicBezTo>
                    <a:pt x="28" y="91"/>
                    <a:pt x="29" y="91"/>
                    <a:pt x="30" y="91"/>
                  </a:cubicBezTo>
                  <a:cubicBezTo>
                    <a:pt x="31" y="91"/>
                    <a:pt x="32" y="91"/>
                    <a:pt x="33" y="91"/>
                  </a:cubicBezTo>
                  <a:cubicBezTo>
                    <a:pt x="47" y="91"/>
                    <a:pt x="80" y="91"/>
                    <a:pt x="96" y="91"/>
                  </a:cubicBezTo>
                  <a:cubicBezTo>
                    <a:pt x="97" y="91"/>
                    <a:pt x="97" y="91"/>
                    <a:pt x="97" y="91"/>
                  </a:cubicBezTo>
                  <a:cubicBezTo>
                    <a:pt x="99" y="91"/>
                    <a:pt x="99" y="91"/>
                    <a:pt x="99" y="91"/>
                  </a:cubicBezTo>
                  <a:cubicBezTo>
                    <a:pt x="100" y="91"/>
                    <a:pt x="102" y="91"/>
                    <a:pt x="103" y="91"/>
                  </a:cubicBezTo>
                  <a:cubicBezTo>
                    <a:pt x="113" y="91"/>
                    <a:pt x="113" y="91"/>
                    <a:pt x="113" y="91"/>
                  </a:cubicBezTo>
                  <a:cubicBezTo>
                    <a:pt x="128" y="91"/>
                    <a:pt x="139" y="80"/>
                    <a:pt x="139" y="66"/>
                  </a:cubicBezTo>
                  <a:cubicBezTo>
                    <a:pt x="139" y="53"/>
                    <a:pt x="130" y="42"/>
                    <a:pt x="117"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0" name="Freeform 5"/>
            <p:cNvSpPr>
              <a:spLocks/>
            </p:cNvSpPr>
            <p:nvPr/>
          </p:nvSpPr>
          <p:spPr bwMode="auto">
            <a:xfrm flipH="1">
              <a:off x="9589010" y="6027095"/>
              <a:ext cx="593792" cy="372934"/>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39">
              <a:defRPr/>
            </a:pPr>
            <a:fld id="{27258FFF-F925-446B-8502-81C933981705}" type="slidenum">
              <a:rPr lang="en-US" smtClean="0">
                <a:solidFill>
                  <a:srgbClr val="FFFFFF"/>
                </a:solidFill>
              </a:rPr>
              <a:pPr defTabSz="932539">
                <a:defRPr/>
              </a:pPr>
              <a:t>‹#›</a:t>
            </a:fld>
            <a:endParaRPr lang="en-US" dirty="0">
              <a:solidFill>
                <a:srgbClr val="FFFFFF"/>
              </a:solidFill>
            </a:endParaRPr>
          </a:p>
        </p:txBody>
      </p:sp>
      <p:sp>
        <p:nvSpPr>
          <p:cNvPr id="8" name="Text Placeholder 7"/>
          <p:cNvSpPr>
            <a:spLocks noGrp="1"/>
          </p:cNvSpPr>
          <p:nvPr>
            <p:ph type="body" sz="quarter" idx="13" hasCustomPrompt="1"/>
          </p:nvPr>
        </p:nvSpPr>
        <p:spPr>
          <a:xfrm>
            <a:off x="603505" y="1545465"/>
            <a:ext cx="11226196" cy="4663068"/>
          </a:xfrm>
        </p:spPr>
        <p:txBody>
          <a:bodyPr lIns="0" tIns="0"/>
          <a:lstStyle>
            <a:lvl1pPr marL="233268" indent="-233268">
              <a:spcBef>
                <a:spcPts val="1198"/>
              </a:spcBef>
              <a:defRPr sz="2600">
                <a:latin typeface="+mn-lt"/>
              </a:defRPr>
            </a:lvl1pPr>
            <a:lvl2pPr marL="690281" indent="-233268">
              <a:spcBef>
                <a:spcPts val="1198"/>
              </a:spcBef>
              <a:buSzPct val="100000"/>
              <a:buFont typeface="Segoe UI" pitchFamily="34" charset="0"/>
              <a:buChar char="‐"/>
              <a:defRPr/>
            </a:lvl2pPr>
            <a:lvl3pPr marL="1147294" indent="-233268">
              <a:spcBef>
                <a:spcPts val="1198"/>
              </a:spcBef>
              <a:buFont typeface="Wingdings" pitchFamily="2" charset="2"/>
              <a:buChar char="§"/>
              <a:defRPr/>
            </a:lvl3pPr>
            <a:lvl4pPr marL="1599545" indent="-342760">
              <a:spcBef>
                <a:spcPts val="1198"/>
              </a:spcBef>
              <a:buFont typeface="+mj-lt"/>
              <a:buAutoNum type="arabicPeriod"/>
              <a:defRPr/>
            </a:lvl4pPr>
            <a:lvl5pPr marL="1945479" indent="-342760">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6784246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7_36pt Title/26pt Bullet Text">
    <p:spTree>
      <p:nvGrpSpPr>
        <p:cNvPr id="1" name=""/>
        <p:cNvGrpSpPr/>
        <p:nvPr/>
      </p:nvGrpSpPr>
      <p:grpSpPr>
        <a:xfrm>
          <a:off x="0" y="0"/>
          <a:ext cx="0" cy="0"/>
          <a:chOff x="0" y="0"/>
          <a:chExt cx="0" cy="0"/>
        </a:xfrm>
      </p:grpSpPr>
      <p:grpSp>
        <p:nvGrpSpPr>
          <p:cNvPr id="117" name="Group 116"/>
          <p:cNvGrpSpPr/>
          <p:nvPr userDrawn="1"/>
        </p:nvGrpSpPr>
        <p:grpSpPr>
          <a:xfrm>
            <a:off x="3" y="4993316"/>
            <a:ext cx="12436476" cy="2001211"/>
            <a:chOff x="0" y="4993314"/>
            <a:chExt cx="12436476" cy="2001211"/>
          </a:xfrm>
        </p:grpSpPr>
        <p:grpSp>
          <p:nvGrpSpPr>
            <p:cNvPr id="105" name="Group 104"/>
            <p:cNvGrpSpPr/>
            <p:nvPr userDrawn="1"/>
          </p:nvGrpSpPr>
          <p:grpSpPr>
            <a:xfrm>
              <a:off x="6658406" y="6223303"/>
              <a:ext cx="1193626" cy="727808"/>
              <a:chOff x="8258144" y="6079687"/>
              <a:chExt cx="1510051" cy="920747"/>
            </a:xfrm>
          </p:grpSpPr>
          <p:sp>
            <p:nvSpPr>
              <p:cNvPr id="13" name="Freeform 6"/>
              <p:cNvSpPr>
                <a:spLocks/>
              </p:cNvSpPr>
              <p:nvPr userDrawn="1"/>
            </p:nvSpPr>
            <p:spPr bwMode="auto">
              <a:xfrm>
                <a:off x="8580420" y="6549455"/>
                <a:ext cx="475067" cy="450977"/>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 name="Freeform 7"/>
              <p:cNvSpPr>
                <a:spLocks/>
              </p:cNvSpPr>
              <p:nvPr userDrawn="1"/>
            </p:nvSpPr>
            <p:spPr bwMode="auto">
              <a:xfrm>
                <a:off x="8830793" y="6549455"/>
                <a:ext cx="473785" cy="450977"/>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 name="Rectangle 9"/>
              <p:cNvSpPr>
                <a:spLocks noChangeArrowheads="1"/>
              </p:cNvSpPr>
              <p:nvPr userDrawn="1"/>
            </p:nvSpPr>
            <p:spPr bwMode="auto">
              <a:xfrm>
                <a:off x="8278687" y="6390456"/>
                <a:ext cx="430129" cy="609976"/>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 name="Rectangle 10"/>
              <p:cNvSpPr>
                <a:spLocks noChangeArrowheads="1"/>
              </p:cNvSpPr>
              <p:nvPr userDrawn="1"/>
            </p:nvSpPr>
            <p:spPr bwMode="auto">
              <a:xfrm>
                <a:off x="8258144" y="6373110"/>
                <a:ext cx="472500" cy="173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 name="Rectangle 11"/>
              <p:cNvSpPr>
                <a:spLocks noChangeArrowheads="1"/>
              </p:cNvSpPr>
              <p:nvPr userDrawn="1"/>
            </p:nvSpPr>
            <p:spPr bwMode="auto">
              <a:xfrm>
                <a:off x="8318491" y="6445382"/>
                <a:ext cx="55211" cy="650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Rectangle 12"/>
              <p:cNvSpPr>
                <a:spLocks noChangeArrowheads="1"/>
              </p:cNvSpPr>
              <p:nvPr userDrawn="1"/>
            </p:nvSpPr>
            <p:spPr bwMode="auto">
              <a:xfrm>
                <a:off x="8318491" y="6445382"/>
                <a:ext cx="55211" cy="33247"/>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Rectangle 13"/>
              <p:cNvSpPr>
                <a:spLocks noChangeArrowheads="1"/>
              </p:cNvSpPr>
              <p:nvPr userDrawn="1"/>
            </p:nvSpPr>
            <p:spPr bwMode="auto">
              <a:xfrm>
                <a:off x="8416072" y="6445382"/>
                <a:ext cx="55211" cy="65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Rectangle 14"/>
              <p:cNvSpPr>
                <a:spLocks noChangeArrowheads="1"/>
              </p:cNvSpPr>
              <p:nvPr userDrawn="1"/>
            </p:nvSpPr>
            <p:spPr bwMode="auto">
              <a:xfrm>
                <a:off x="8512370" y="6445382"/>
                <a:ext cx="57779" cy="6504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Rectangle 15"/>
              <p:cNvSpPr>
                <a:spLocks noChangeArrowheads="1"/>
              </p:cNvSpPr>
              <p:nvPr userDrawn="1"/>
            </p:nvSpPr>
            <p:spPr bwMode="auto">
              <a:xfrm>
                <a:off x="8416072" y="6876124"/>
                <a:ext cx="55211" cy="12430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Rectangle 16"/>
              <p:cNvSpPr>
                <a:spLocks noChangeArrowheads="1"/>
              </p:cNvSpPr>
              <p:nvPr userDrawn="1"/>
            </p:nvSpPr>
            <p:spPr bwMode="auto">
              <a:xfrm>
                <a:off x="8512370" y="6876124"/>
                <a:ext cx="57779" cy="12430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Rectangle 17"/>
              <p:cNvSpPr>
                <a:spLocks noChangeArrowheads="1"/>
              </p:cNvSpPr>
              <p:nvPr userDrawn="1"/>
            </p:nvSpPr>
            <p:spPr bwMode="auto">
              <a:xfrm>
                <a:off x="8611235" y="6445382"/>
                <a:ext cx="56494" cy="65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Rectangle 18"/>
              <p:cNvSpPr>
                <a:spLocks noChangeArrowheads="1"/>
              </p:cNvSpPr>
              <p:nvPr userDrawn="1"/>
            </p:nvSpPr>
            <p:spPr bwMode="auto">
              <a:xfrm>
                <a:off x="8318491" y="6555236"/>
                <a:ext cx="55211" cy="6504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Rectangle 19"/>
              <p:cNvSpPr>
                <a:spLocks noChangeArrowheads="1"/>
              </p:cNvSpPr>
              <p:nvPr userDrawn="1"/>
            </p:nvSpPr>
            <p:spPr bwMode="auto">
              <a:xfrm>
                <a:off x="8416072" y="6555236"/>
                <a:ext cx="55211" cy="65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Rectangle 20"/>
              <p:cNvSpPr>
                <a:spLocks noChangeArrowheads="1"/>
              </p:cNvSpPr>
              <p:nvPr userDrawn="1"/>
            </p:nvSpPr>
            <p:spPr bwMode="auto">
              <a:xfrm>
                <a:off x="8512370" y="6555236"/>
                <a:ext cx="57779" cy="65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Rectangle 21"/>
              <p:cNvSpPr>
                <a:spLocks noChangeArrowheads="1"/>
              </p:cNvSpPr>
              <p:nvPr userDrawn="1"/>
            </p:nvSpPr>
            <p:spPr bwMode="auto">
              <a:xfrm>
                <a:off x="8611235" y="6555236"/>
                <a:ext cx="56494" cy="650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Rectangle 22"/>
              <p:cNvSpPr>
                <a:spLocks noChangeArrowheads="1"/>
              </p:cNvSpPr>
              <p:nvPr userDrawn="1"/>
            </p:nvSpPr>
            <p:spPr bwMode="auto">
              <a:xfrm>
                <a:off x="8318491" y="6666535"/>
                <a:ext cx="55211" cy="6215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 name="Rectangle 23"/>
              <p:cNvSpPr>
                <a:spLocks noChangeArrowheads="1"/>
              </p:cNvSpPr>
              <p:nvPr userDrawn="1"/>
            </p:nvSpPr>
            <p:spPr bwMode="auto">
              <a:xfrm>
                <a:off x="8416072" y="6666535"/>
                <a:ext cx="55211" cy="621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Rectangle 24"/>
              <p:cNvSpPr>
                <a:spLocks noChangeArrowheads="1"/>
              </p:cNvSpPr>
              <p:nvPr userDrawn="1"/>
            </p:nvSpPr>
            <p:spPr bwMode="auto">
              <a:xfrm>
                <a:off x="8512370" y="6666535"/>
                <a:ext cx="57779" cy="6215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 name="Rectangle 25"/>
              <p:cNvSpPr>
                <a:spLocks noChangeArrowheads="1"/>
              </p:cNvSpPr>
              <p:nvPr userDrawn="1"/>
            </p:nvSpPr>
            <p:spPr bwMode="auto">
              <a:xfrm>
                <a:off x="8611235" y="6666535"/>
                <a:ext cx="56494" cy="6215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 name="Rectangle 26"/>
              <p:cNvSpPr>
                <a:spLocks noChangeArrowheads="1"/>
              </p:cNvSpPr>
              <p:nvPr userDrawn="1"/>
            </p:nvSpPr>
            <p:spPr bwMode="auto">
              <a:xfrm>
                <a:off x="8318491" y="6774943"/>
                <a:ext cx="55211" cy="6359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 name="Rectangle 27"/>
              <p:cNvSpPr>
                <a:spLocks noChangeArrowheads="1"/>
              </p:cNvSpPr>
              <p:nvPr userDrawn="1"/>
            </p:nvSpPr>
            <p:spPr bwMode="auto">
              <a:xfrm>
                <a:off x="8416072" y="6774943"/>
                <a:ext cx="55211" cy="635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 name="Rectangle 28"/>
              <p:cNvSpPr>
                <a:spLocks noChangeArrowheads="1"/>
              </p:cNvSpPr>
              <p:nvPr userDrawn="1"/>
            </p:nvSpPr>
            <p:spPr bwMode="auto">
              <a:xfrm>
                <a:off x="8512370" y="6774943"/>
                <a:ext cx="57779" cy="635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Rectangle 29"/>
              <p:cNvSpPr>
                <a:spLocks noChangeArrowheads="1"/>
              </p:cNvSpPr>
              <p:nvPr userDrawn="1"/>
            </p:nvSpPr>
            <p:spPr bwMode="auto">
              <a:xfrm>
                <a:off x="8611235" y="6774943"/>
                <a:ext cx="56494" cy="6359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Rectangle 30"/>
              <p:cNvSpPr>
                <a:spLocks noChangeArrowheads="1"/>
              </p:cNvSpPr>
              <p:nvPr userDrawn="1"/>
            </p:nvSpPr>
            <p:spPr bwMode="auto">
              <a:xfrm>
                <a:off x="8318491" y="6666535"/>
                <a:ext cx="55211" cy="3035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Rectangle 31"/>
              <p:cNvSpPr>
                <a:spLocks noChangeArrowheads="1"/>
              </p:cNvSpPr>
              <p:nvPr userDrawn="1"/>
            </p:nvSpPr>
            <p:spPr bwMode="auto">
              <a:xfrm>
                <a:off x="8611235" y="6666535"/>
                <a:ext cx="56494" cy="3035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Rectangle 32"/>
              <p:cNvSpPr>
                <a:spLocks noChangeArrowheads="1"/>
              </p:cNvSpPr>
              <p:nvPr userDrawn="1"/>
            </p:nvSpPr>
            <p:spPr bwMode="auto">
              <a:xfrm>
                <a:off x="8611235" y="6555236"/>
                <a:ext cx="56494" cy="3180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 name="Rectangle 40"/>
              <p:cNvSpPr>
                <a:spLocks noChangeArrowheads="1"/>
              </p:cNvSpPr>
              <p:nvPr userDrawn="1"/>
            </p:nvSpPr>
            <p:spPr bwMode="auto">
              <a:xfrm>
                <a:off x="8471282" y="6296503"/>
                <a:ext cx="166916" cy="76609"/>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Rectangle 41"/>
              <p:cNvSpPr>
                <a:spLocks noChangeArrowheads="1"/>
              </p:cNvSpPr>
              <p:nvPr userDrawn="1"/>
            </p:nvSpPr>
            <p:spPr bwMode="auto">
              <a:xfrm>
                <a:off x="9331540" y="6613055"/>
                <a:ext cx="423500" cy="38737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Rectangle 42"/>
              <p:cNvSpPr>
                <a:spLocks noChangeArrowheads="1"/>
              </p:cNvSpPr>
              <p:nvPr userDrawn="1"/>
            </p:nvSpPr>
            <p:spPr bwMode="auto">
              <a:xfrm>
                <a:off x="9310995" y="6595709"/>
                <a:ext cx="457200" cy="17345"/>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Rectangle 43"/>
              <p:cNvSpPr>
                <a:spLocks noChangeArrowheads="1"/>
              </p:cNvSpPr>
              <p:nvPr userDrawn="1"/>
            </p:nvSpPr>
            <p:spPr bwMode="auto">
              <a:xfrm>
                <a:off x="9468924" y="6876124"/>
                <a:ext cx="56494" cy="124308"/>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Rectangle 44"/>
              <p:cNvSpPr>
                <a:spLocks noChangeArrowheads="1"/>
              </p:cNvSpPr>
              <p:nvPr userDrawn="1"/>
            </p:nvSpPr>
            <p:spPr bwMode="auto">
              <a:xfrm>
                <a:off x="9565220" y="6876124"/>
                <a:ext cx="57779" cy="124308"/>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1" name="Rectangle 45"/>
              <p:cNvSpPr>
                <a:spLocks noChangeArrowheads="1"/>
              </p:cNvSpPr>
              <p:nvPr userDrawn="1"/>
            </p:nvSpPr>
            <p:spPr bwMode="auto">
              <a:xfrm>
                <a:off x="9371342" y="6666535"/>
                <a:ext cx="55211" cy="6215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Rectangle 46"/>
              <p:cNvSpPr>
                <a:spLocks noChangeArrowheads="1"/>
              </p:cNvSpPr>
              <p:nvPr userDrawn="1"/>
            </p:nvSpPr>
            <p:spPr bwMode="auto">
              <a:xfrm>
                <a:off x="9468924" y="6666535"/>
                <a:ext cx="56494" cy="621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3" name="Rectangle 47"/>
              <p:cNvSpPr>
                <a:spLocks noChangeArrowheads="1"/>
              </p:cNvSpPr>
              <p:nvPr userDrawn="1"/>
            </p:nvSpPr>
            <p:spPr bwMode="auto">
              <a:xfrm>
                <a:off x="9565220" y="6666535"/>
                <a:ext cx="57779" cy="62154"/>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4" name="Rectangle 48"/>
              <p:cNvSpPr>
                <a:spLocks noChangeArrowheads="1"/>
              </p:cNvSpPr>
              <p:nvPr userDrawn="1"/>
            </p:nvSpPr>
            <p:spPr bwMode="auto">
              <a:xfrm>
                <a:off x="9664086" y="6666535"/>
                <a:ext cx="56494" cy="6215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5" name="Rectangle 49"/>
              <p:cNvSpPr>
                <a:spLocks noChangeArrowheads="1"/>
              </p:cNvSpPr>
              <p:nvPr userDrawn="1"/>
            </p:nvSpPr>
            <p:spPr bwMode="auto">
              <a:xfrm>
                <a:off x="9371342" y="6774943"/>
                <a:ext cx="55211" cy="63599"/>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6" name="Rectangle 50"/>
              <p:cNvSpPr>
                <a:spLocks noChangeArrowheads="1"/>
              </p:cNvSpPr>
              <p:nvPr userDrawn="1"/>
            </p:nvSpPr>
            <p:spPr bwMode="auto">
              <a:xfrm>
                <a:off x="9468924" y="6774943"/>
                <a:ext cx="56494" cy="635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7" name="Rectangle 51"/>
              <p:cNvSpPr>
                <a:spLocks noChangeArrowheads="1"/>
              </p:cNvSpPr>
              <p:nvPr userDrawn="1"/>
            </p:nvSpPr>
            <p:spPr bwMode="auto">
              <a:xfrm>
                <a:off x="9565220" y="6774943"/>
                <a:ext cx="57779" cy="635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8" name="Rectangle 52"/>
              <p:cNvSpPr>
                <a:spLocks noChangeArrowheads="1"/>
              </p:cNvSpPr>
              <p:nvPr userDrawn="1"/>
            </p:nvSpPr>
            <p:spPr bwMode="auto">
              <a:xfrm>
                <a:off x="9664086" y="6774943"/>
                <a:ext cx="56494" cy="63599"/>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9" name="Rectangle 53"/>
              <p:cNvSpPr>
                <a:spLocks noChangeArrowheads="1"/>
              </p:cNvSpPr>
              <p:nvPr userDrawn="1"/>
            </p:nvSpPr>
            <p:spPr bwMode="auto">
              <a:xfrm>
                <a:off x="9371342" y="6666535"/>
                <a:ext cx="55211" cy="30355"/>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0" name="Rectangle 54"/>
              <p:cNvSpPr>
                <a:spLocks noChangeArrowheads="1"/>
              </p:cNvSpPr>
              <p:nvPr userDrawn="1"/>
            </p:nvSpPr>
            <p:spPr bwMode="auto">
              <a:xfrm>
                <a:off x="9664086" y="6666535"/>
                <a:ext cx="56494" cy="30355"/>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1" name="Rectangle 55"/>
              <p:cNvSpPr>
                <a:spLocks noChangeArrowheads="1"/>
              </p:cNvSpPr>
              <p:nvPr userDrawn="1"/>
            </p:nvSpPr>
            <p:spPr bwMode="auto">
              <a:xfrm>
                <a:off x="9525418" y="6519100"/>
                <a:ext cx="165633" cy="76609"/>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2" name="Rectangle 56"/>
              <p:cNvSpPr>
                <a:spLocks noChangeArrowheads="1"/>
              </p:cNvSpPr>
              <p:nvPr userDrawn="1"/>
            </p:nvSpPr>
            <p:spPr bwMode="auto">
              <a:xfrm>
                <a:off x="8805114" y="6175086"/>
                <a:ext cx="430129" cy="82534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3" name="Rectangle 57"/>
              <p:cNvSpPr>
                <a:spLocks noChangeArrowheads="1"/>
              </p:cNvSpPr>
              <p:nvPr userDrawn="1"/>
            </p:nvSpPr>
            <p:spPr bwMode="auto">
              <a:xfrm>
                <a:off x="8784570" y="6154849"/>
                <a:ext cx="472500" cy="20237"/>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4" name="Rectangle 58"/>
              <p:cNvSpPr>
                <a:spLocks noChangeArrowheads="1"/>
              </p:cNvSpPr>
              <p:nvPr userDrawn="1"/>
            </p:nvSpPr>
            <p:spPr bwMode="auto">
              <a:xfrm>
                <a:off x="8844916" y="6445382"/>
                <a:ext cx="55211" cy="65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5" name="Rectangle 59"/>
              <p:cNvSpPr>
                <a:spLocks noChangeArrowheads="1"/>
              </p:cNvSpPr>
              <p:nvPr userDrawn="1"/>
            </p:nvSpPr>
            <p:spPr bwMode="auto">
              <a:xfrm>
                <a:off x="8844916" y="6445382"/>
                <a:ext cx="55211" cy="33247"/>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6" name="Rectangle 60"/>
              <p:cNvSpPr>
                <a:spLocks noChangeArrowheads="1"/>
              </p:cNvSpPr>
              <p:nvPr userDrawn="1"/>
            </p:nvSpPr>
            <p:spPr bwMode="auto">
              <a:xfrm>
                <a:off x="8942497" y="6445382"/>
                <a:ext cx="55211" cy="6504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7" name="Rectangle 61"/>
              <p:cNvSpPr>
                <a:spLocks noChangeArrowheads="1"/>
              </p:cNvSpPr>
              <p:nvPr userDrawn="1"/>
            </p:nvSpPr>
            <p:spPr bwMode="auto">
              <a:xfrm>
                <a:off x="9038796" y="6445382"/>
                <a:ext cx="57779" cy="65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8" name="Rectangle 62"/>
              <p:cNvSpPr>
                <a:spLocks noChangeArrowheads="1"/>
              </p:cNvSpPr>
              <p:nvPr userDrawn="1"/>
            </p:nvSpPr>
            <p:spPr bwMode="auto">
              <a:xfrm>
                <a:off x="8942497" y="6876124"/>
                <a:ext cx="55211" cy="12430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9" name="Rectangle 63"/>
              <p:cNvSpPr>
                <a:spLocks noChangeArrowheads="1"/>
              </p:cNvSpPr>
              <p:nvPr userDrawn="1"/>
            </p:nvSpPr>
            <p:spPr bwMode="auto">
              <a:xfrm>
                <a:off x="9038796" y="6876124"/>
                <a:ext cx="57779" cy="12430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0" name="Rectangle 64"/>
              <p:cNvSpPr>
                <a:spLocks noChangeArrowheads="1"/>
              </p:cNvSpPr>
              <p:nvPr userDrawn="1"/>
            </p:nvSpPr>
            <p:spPr bwMode="auto">
              <a:xfrm>
                <a:off x="9137661" y="6445382"/>
                <a:ext cx="56494" cy="6504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1" name="Rectangle 65"/>
              <p:cNvSpPr>
                <a:spLocks noChangeArrowheads="1"/>
              </p:cNvSpPr>
              <p:nvPr userDrawn="1"/>
            </p:nvSpPr>
            <p:spPr bwMode="auto">
              <a:xfrm>
                <a:off x="8844916" y="6555236"/>
                <a:ext cx="55211" cy="65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2" name="Rectangle 66"/>
              <p:cNvSpPr>
                <a:spLocks noChangeArrowheads="1"/>
              </p:cNvSpPr>
              <p:nvPr userDrawn="1"/>
            </p:nvSpPr>
            <p:spPr bwMode="auto">
              <a:xfrm>
                <a:off x="8942497" y="6555236"/>
                <a:ext cx="55211" cy="6504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3" name="Rectangle 67"/>
              <p:cNvSpPr>
                <a:spLocks noChangeArrowheads="1"/>
              </p:cNvSpPr>
              <p:nvPr userDrawn="1"/>
            </p:nvSpPr>
            <p:spPr bwMode="auto">
              <a:xfrm>
                <a:off x="9038796" y="6555236"/>
                <a:ext cx="57779" cy="6504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4" name="Rectangle 68"/>
              <p:cNvSpPr>
                <a:spLocks noChangeArrowheads="1"/>
              </p:cNvSpPr>
              <p:nvPr userDrawn="1"/>
            </p:nvSpPr>
            <p:spPr bwMode="auto">
              <a:xfrm>
                <a:off x="9137661" y="6555236"/>
                <a:ext cx="56494" cy="65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5" name="Rectangle 69"/>
              <p:cNvSpPr>
                <a:spLocks noChangeArrowheads="1"/>
              </p:cNvSpPr>
              <p:nvPr userDrawn="1"/>
            </p:nvSpPr>
            <p:spPr bwMode="auto">
              <a:xfrm>
                <a:off x="8844916" y="6666535"/>
                <a:ext cx="55211" cy="62154"/>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6" name="Rectangle 70"/>
              <p:cNvSpPr>
                <a:spLocks noChangeArrowheads="1"/>
              </p:cNvSpPr>
              <p:nvPr userDrawn="1"/>
            </p:nvSpPr>
            <p:spPr bwMode="auto">
              <a:xfrm>
                <a:off x="8942497" y="6666535"/>
                <a:ext cx="55211" cy="62154"/>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7" name="Rectangle 71"/>
              <p:cNvSpPr>
                <a:spLocks noChangeArrowheads="1"/>
              </p:cNvSpPr>
              <p:nvPr userDrawn="1"/>
            </p:nvSpPr>
            <p:spPr bwMode="auto">
              <a:xfrm>
                <a:off x="9038796" y="6666535"/>
                <a:ext cx="57779" cy="6215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8" name="Rectangle 72"/>
              <p:cNvSpPr>
                <a:spLocks noChangeArrowheads="1"/>
              </p:cNvSpPr>
              <p:nvPr userDrawn="1"/>
            </p:nvSpPr>
            <p:spPr bwMode="auto">
              <a:xfrm>
                <a:off x="9137661" y="6666535"/>
                <a:ext cx="56494" cy="62154"/>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9" name="Rectangle 73"/>
              <p:cNvSpPr>
                <a:spLocks noChangeArrowheads="1"/>
              </p:cNvSpPr>
              <p:nvPr userDrawn="1"/>
            </p:nvSpPr>
            <p:spPr bwMode="auto">
              <a:xfrm>
                <a:off x="8844916" y="6774943"/>
                <a:ext cx="55211" cy="63599"/>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0" name="Rectangle 74"/>
              <p:cNvSpPr>
                <a:spLocks noChangeArrowheads="1"/>
              </p:cNvSpPr>
              <p:nvPr userDrawn="1"/>
            </p:nvSpPr>
            <p:spPr bwMode="auto">
              <a:xfrm>
                <a:off x="8942497" y="6774943"/>
                <a:ext cx="55211" cy="63599"/>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1" name="Rectangle 75"/>
              <p:cNvSpPr>
                <a:spLocks noChangeArrowheads="1"/>
              </p:cNvSpPr>
              <p:nvPr userDrawn="1"/>
            </p:nvSpPr>
            <p:spPr bwMode="auto">
              <a:xfrm>
                <a:off x="9038796" y="6774943"/>
                <a:ext cx="57779" cy="63599"/>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2" name="Rectangle 76"/>
              <p:cNvSpPr>
                <a:spLocks noChangeArrowheads="1"/>
              </p:cNvSpPr>
              <p:nvPr userDrawn="1"/>
            </p:nvSpPr>
            <p:spPr bwMode="auto">
              <a:xfrm>
                <a:off x="9137661" y="6774943"/>
                <a:ext cx="56494" cy="63599"/>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3" name="Rectangle 77"/>
              <p:cNvSpPr>
                <a:spLocks noChangeArrowheads="1"/>
              </p:cNvSpPr>
              <p:nvPr userDrawn="1"/>
            </p:nvSpPr>
            <p:spPr bwMode="auto">
              <a:xfrm>
                <a:off x="8844916" y="6666535"/>
                <a:ext cx="55211" cy="3035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4" name="Rectangle 78"/>
              <p:cNvSpPr>
                <a:spLocks noChangeArrowheads="1"/>
              </p:cNvSpPr>
              <p:nvPr userDrawn="1"/>
            </p:nvSpPr>
            <p:spPr bwMode="auto">
              <a:xfrm>
                <a:off x="9137661" y="6666535"/>
                <a:ext cx="56494" cy="3035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Rectangle 79"/>
              <p:cNvSpPr>
                <a:spLocks noChangeArrowheads="1"/>
              </p:cNvSpPr>
              <p:nvPr userDrawn="1"/>
            </p:nvSpPr>
            <p:spPr bwMode="auto">
              <a:xfrm>
                <a:off x="9137661" y="6555236"/>
                <a:ext cx="56494" cy="31800"/>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 name="Rectangle 80"/>
              <p:cNvSpPr>
                <a:spLocks noChangeArrowheads="1"/>
              </p:cNvSpPr>
              <p:nvPr userDrawn="1"/>
            </p:nvSpPr>
            <p:spPr bwMode="auto">
              <a:xfrm>
                <a:off x="8844916" y="6227122"/>
                <a:ext cx="55211" cy="62154"/>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7" name="Rectangle 81"/>
              <p:cNvSpPr>
                <a:spLocks noChangeArrowheads="1"/>
              </p:cNvSpPr>
              <p:nvPr userDrawn="1"/>
            </p:nvSpPr>
            <p:spPr bwMode="auto">
              <a:xfrm>
                <a:off x="8844916" y="6227122"/>
                <a:ext cx="55211" cy="31800"/>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8" name="Rectangle 82"/>
              <p:cNvSpPr>
                <a:spLocks noChangeArrowheads="1"/>
              </p:cNvSpPr>
              <p:nvPr userDrawn="1"/>
            </p:nvSpPr>
            <p:spPr bwMode="auto">
              <a:xfrm>
                <a:off x="8942497" y="6227122"/>
                <a:ext cx="55211" cy="6215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9" name="Rectangle 83"/>
              <p:cNvSpPr>
                <a:spLocks noChangeArrowheads="1"/>
              </p:cNvSpPr>
              <p:nvPr userDrawn="1"/>
            </p:nvSpPr>
            <p:spPr bwMode="auto">
              <a:xfrm>
                <a:off x="9038796" y="6227122"/>
                <a:ext cx="57779" cy="62154"/>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0" name="Rectangle 84"/>
              <p:cNvSpPr>
                <a:spLocks noChangeArrowheads="1"/>
              </p:cNvSpPr>
              <p:nvPr userDrawn="1"/>
            </p:nvSpPr>
            <p:spPr bwMode="auto">
              <a:xfrm>
                <a:off x="9137661" y="6227122"/>
                <a:ext cx="56494" cy="6215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1" name="Rectangle 85"/>
              <p:cNvSpPr>
                <a:spLocks noChangeArrowheads="1"/>
              </p:cNvSpPr>
              <p:nvPr userDrawn="1"/>
            </p:nvSpPr>
            <p:spPr bwMode="auto">
              <a:xfrm>
                <a:off x="8844916" y="6336974"/>
                <a:ext cx="55211" cy="62154"/>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2" name="Rectangle 86"/>
              <p:cNvSpPr>
                <a:spLocks noChangeArrowheads="1"/>
              </p:cNvSpPr>
              <p:nvPr userDrawn="1"/>
            </p:nvSpPr>
            <p:spPr bwMode="auto">
              <a:xfrm>
                <a:off x="8942497" y="6336974"/>
                <a:ext cx="55211" cy="6215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3" name="Rectangle 87"/>
              <p:cNvSpPr>
                <a:spLocks noChangeArrowheads="1"/>
              </p:cNvSpPr>
              <p:nvPr userDrawn="1"/>
            </p:nvSpPr>
            <p:spPr bwMode="auto">
              <a:xfrm>
                <a:off x="9038796" y="6336974"/>
                <a:ext cx="57779" cy="6215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4" name="Rectangle 88"/>
              <p:cNvSpPr>
                <a:spLocks noChangeArrowheads="1"/>
              </p:cNvSpPr>
              <p:nvPr userDrawn="1"/>
            </p:nvSpPr>
            <p:spPr bwMode="auto">
              <a:xfrm>
                <a:off x="9137661" y="6336974"/>
                <a:ext cx="56494" cy="62154"/>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5" name="Rectangle 89"/>
              <p:cNvSpPr>
                <a:spLocks noChangeArrowheads="1"/>
              </p:cNvSpPr>
              <p:nvPr userDrawn="1"/>
            </p:nvSpPr>
            <p:spPr bwMode="auto">
              <a:xfrm>
                <a:off x="9137661" y="6336974"/>
                <a:ext cx="56494" cy="31800"/>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6" name="Rectangle 90"/>
              <p:cNvSpPr>
                <a:spLocks noChangeArrowheads="1"/>
              </p:cNvSpPr>
              <p:nvPr userDrawn="1"/>
            </p:nvSpPr>
            <p:spPr bwMode="auto">
              <a:xfrm>
                <a:off x="8875732" y="6079687"/>
                <a:ext cx="51358" cy="75162"/>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7" name="Rectangle 91"/>
              <p:cNvSpPr>
                <a:spLocks noChangeArrowheads="1"/>
              </p:cNvSpPr>
              <p:nvPr userDrawn="1"/>
            </p:nvSpPr>
            <p:spPr bwMode="auto">
              <a:xfrm>
                <a:off x="8945065" y="6079687"/>
                <a:ext cx="51358" cy="75162"/>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0" name="Freeform 19"/>
            <p:cNvSpPr>
              <a:spLocks/>
            </p:cNvSpPr>
            <p:nvPr/>
          </p:nvSpPr>
          <p:spPr bwMode="auto">
            <a:xfrm>
              <a:off x="7744838" y="6539746"/>
              <a:ext cx="3238782" cy="454779"/>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2" name="Freeform 101"/>
            <p:cNvSpPr>
              <a:spLocks/>
            </p:cNvSpPr>
            <p:nvPr/>
          </p:nvSpPr>
          <p:spPr bwMode="auto">
            <a:xfrm>
              <a:off x="8629420" y="6554616"/>
              <a:ext cx="3807055" cy="439909"/>
            </a:xfrm>
            <a:custGeom>
              <a:avLst/>
              <a:gdLst>
                <a:gd name="connsiteX0" fmla="*/ 2322554 w 2401673"/>
                <a:gd name="connsiteY0" fmla="*/ 973 h 439909"/>
                <a:gd name="connsiteX1" fmla="*/ 2401673 w 2401673"/>
                <a:gd name="connsiteY1" fmla="*/ 4032 h 439909"/>
                <a:gd name="connsiteX2" fmla="*/ 2401673 w 2401673"/>
                <a:gd name="connsiteY2" fmla="*/ 439909 h 439909"/>
                <a:gd name="connsiteX3" fmla="*/ 2173626 w 2401673"/>
                <a:gd name="connsiteY3" fmla="*/ 439909 h 439909"/>
                <a:gd name="connsiteX4" fmla="*/ 0 w 2401673"/>
                <a:gd name="connsiteY4" fmla="*/ 439909 h 439909"/>
                <a:gd name="connsiteX5" fmla="*/ 2322554 w 2401673"/>
                <a:gd name="connsiteY5" fmla="*/ 973 h 439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1673" h="439909">
                  <a:moveTo>
                    <a:pt x="2322554" y="973"/>
                  </a:moveTo>
                  <a:lnTo>
                    <a:pt x="2401673" y="4032"/>
                  </a:lnTo>
                  <a:lnTo>
                    <a:pt x="2401673" y="439909"/>
                  </a:lnTo>
                  <a:lnTo>
                    <a:pt x="2173626" y="439909"/>
                  </a:lnTo>
                  <a:cubicBezTo>
                    <a:pt x="1618903" y="439909"/>
                    <a:pt x="908858" y="439909"/>
                    <a:pt x="0" y="439909"/>
                  </a:cubicBezTo>
                  <a:cubicBezTo>
                    <a:pt x="639059" y="132740"/>
                    <a:pt x="1485754" y="-13456"/>
                    <a:pt x="2322554" y="97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4" name="Freeform 103"/>
            <p:cNvSpPr>
              <a:spLocks/>
            </p:cNvSpPr>
            <p:nvPr/>
          </p:nvSpPr>
          <p:spPr bwMode="auto">
            <a:xfrm>
              <a:off x="10823726" y="6783074"/>
              <a:ext cx="1612750" cy="211451"/>
            </a:xfrm>
            <a:custGeom>
              <a:avLst/>
              <a:gdLst>
                <a:gd name="connsiteX0" fmla="*/ 818343 w 818343"/>
                <a:gd name="connsiteY0" fmla="*/ 0 h 211451"/>
                <a:gd name="connsiteX1" fmla="*/ 818343 w 818343"/>
                <a:gd name="connsiteY1" fmla="*/ 211451 h 211451"/>
                <a:gd name="connsiteX2" fmla="*/ 807632 w 818343"/>
                <a:gd name="connsiteY2" fmla="*/ 211451 h 211451"/>
                <a:gd name="connsiteX3" fmla="*/ 0 w 818343"/>
                <a:gd name="connsiteY3" fmla="*/ 211451 h 211451"/>
                <a:gd name="connsiteX4" fmla="*/ 660044 w 818343"/>
                <a:gd name="connsiteY4" fmla="*/ 18752 h 211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343" h="211451">
                  <a:moveTo>
                    <a:pt x="818343" y="0"/>
                  </a:moveTo>
                  <a:lnTo>
                    <a:pt x="818343" y="211451"/>
                  </a:lnTo>
                  <a:lnTo>
                    <a:pt x="807632" y="211451"/>
                  </a:lnTo>
                  <a:cubicBezTo>
                    <a:pt x="807632" y="211451"/>
                    <a:pt x="807632" y="211451"/>
                    <a:pt x="0" y="211451"/>
                  </a:cubicBezTo>
                  <a:cubicBezTo>
                    <a:pt x="190634" y="119152"/>
                    <a:pt x="418165" y="54837"/>
                    <a:pt x="660044" y="18752"/>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Rectangle 33"/>
            <p:cNvSpPr>
              <a:spLocks noChangeArrowheads="1"/>
            </p:cNvSpPr>
            <p:nvPr userDrawn="1"/>
          </p:nvSpPr>
          <p:spPr bwMode="auto">
            <a:xfrm>
              <a:off x="0" y="6942034"/>
              <a:ext cx="10789920"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Freeform 8"/>
            <p:cNvSpPr>
              <a:spLocks/>
            </p:cNvSpPr>
            <p:nvPr userDrawn="1"/>
          </p:nvSpPr>
          <p:spPr bwMode="auto">
            <a:xfrm flipH="1">
              <a:off x="6417462" y="6215900"/>
              <a:ext cx="257182" cy="189536"/>
            </a:xfrm>
            <a:custGeom>
              <a:avLst/>
              <a:gdLst>
                <a:gd name="T0" fmla="*/ 117 w 139"/>
                <a:gd name="T1" fmla="*/ 40 h 91"/>
                <a:gd name="T2" fmla="*/ 117 w 139"/>
                <a:gd name="T3" fmla="*/ 38 h 91"/>
                <a:gd name="T4" fmla="*/ 79 w 139"/>
                <a:gd name="T5" fmla="*/ 0 h 91"/>
                <a:gd name="T6" fmla="*/ 47 w 139"/>
                <a:gd name="T7" fmla="*/ 17 h 91"/>
                <a:gd name="T8" fmla="*/ 36 w 139"/>
                <a:gd name="T9" fmla="*/ 14 h 91"/>
                <a:gd name="T10" fmla="*/ 24 w 139"/>
                <a:gd name="T11" fmla="*/ 18 h 91"/>
                <a:gd name="T12" fmla="*/ 14 w 139"/>
                <a:gd name="T13" fmla="*/ 36 h 91"/>
                <a:gd name="T14" fmla="*/ 0 w 139"/>
                <a:gd name="T15" fmla="*/ 61 h 91"/>
                <a:gd name="T16" fmla="*/ 27 w 139"/>
                <a:gd name="T17" fmla="*/ 91 h 91"/>
                <a:gd name="T18" fmla="*/ 30 w 139"/>
                <a:gd name="T19" fmla="*/ 91 h 91"/>
                <a:gd name="T20" fmla="*/ 33 w 139"/>
                <a:gd name="T21" fmla="*/ 91 h 91"/>
                <a:gd name="T22" fmla="*/ 96 w 139"/>
                <a:gd name="T23" fmla="*/ 91 h 91"/>
                <a:gd name="T24" fmla="*/ 97 w 139"/>
                <a:gd name="T25" fmla="*/ 91 h 91"/>
                <a:gd name="T26" fmla="*/ 99 w 139"/>
                <a:gd name="T27" fmla="*/ 91 h 91"/>
                <a:gd name="T28" fmla="*/ 103 w 139"/>
                <a:gd name="T29" fmla="*/ 91 h 91"/>
                <a:gd name="T30" fmla="*/ 113 w 139"/>
                <a:gd name="T31" fmla="*/ 91 h 91"/>
                <a:gd name="T32" fmla="*/ 139 w 139"/>
                <a:gd name="T33" fmla="*/ 66 h 91"/>
                <a:gd name="T34" fmla="*/ 117 w 139"/>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91">
                  <a:moveTo>
                    <a:pt x="117" y="40"/>
                  </a:moveTo>
                  <a:cubicBezTo>
                    <a:pt x="117" y="39"/>
                    <a:pt x="117" y="39"/>
                    <a:pt x="117" y="38"/>
                  </a:cubicBezTo>
                  <a:cubicBezTo>
                    <a:pt x="117" y="17"/>
                    <a:pt x="100" y="0"/>
                    <a:pt x="79" y="0"/>
                  </a:cubicBezTo>
                  <a:cubicBezTo>
                    <a:pt x="65" y="0"/>
                    <a:pt x="53" y="7"/>
                    <a:pt x="47" y="17"/>
                  </a:cubicBezTo>
                  <a:cubicBezTo>
                    <a:pt x="43" y="15"/>
                    <a:pt x="40" y="14"/>
                    <a:pt x="36" y="14"/>
                  </a:cubicBezTo>
                  <a:cubicBezTo>
                    <a:pt x="31" y="14"/>
                    <a:pt x="27" y="15"/>
                    <a:pt x="24" y="18"/>
                  </a:cubicBezTo>
                  <a:cubicBezTo>
                    <a:pt x="18" y="22"/>
                    <a:pt x="14" y="28"/>
                    <a:pt x="14" y="36"/>
                  </a:cubicBezTo>
                  <a:cubicBezTo>
                    <a:pt x="6" y="41"/>
                    <a:pt x="0" y="51"/>
                    <a:pt x="0" y="61"/>
                  </a:cubicBezTo>
                  <a:cubicBezTo>
                    <a:pt x="0" y="77"/>
                    <a:pt x="12" y="90"/>
                    <a:pt x="27" y="91"/>
                  </a:cubicBezTo>
                  <a:cubicBezTo>
                    <a:pt x="28" y="91"/>
                    <a:pt x="29" y="91"/>
                    <a:pt x="30" y="91"/>
                  </a:cubicBezTo>
                  <a:cubicBezTo>
                    <a:pt x="31" y="91"/>
                    <a:pt x="32" y="91"/>
                    <a:pt x="33" y="91"/>
                  </a:cubicBezTo>
                  <a:cubicBezTo>
                    <a:pt x="47" y="91"/>
                    <a:pt x="80" y="91"/>
                    <a:pt x="96" y="91"/>
                  </a:cubicBezTo>
                  <a:cubicBezTo>
                    <a:pt x="97" y="91"/>
                    <a:pt x="97" y="91"/>
                    <a:pt x="97" y="91"/>
                  </a:cubicBezTo>
                  <a:cubicBezTo>
                    <a:pt x="99" y="91"/>
                    <a:pt x="99" y="91"/>
                    <a:pt x="99" y="91"/>
                  </a:cubicBezTo>
                  <a:cubicBezTo>
                    <a:pt x="100" y="91"/>
                    <a:pt x="102" y="91"/>
                    <a:pt x="103" y="91"/>
                  </a:cubicBezTo>
                  <a:cubicBezTo>
                    <a:pt x="113" y="91"/>
                    <a:pt x="113" y="91"/>
                    <a:pt x="113" y="91"/>
                  </a:cubicBezTo>
                  <a:cubicBezTo>
                    <a:pt x="128" y="91"/>
                    <a:pt x="139" y="80"/>
                    <a:pt x="139" y="66"/>
                  </a:cubicBezTo>
                  <a:cubicBezTo>
                    <a:pt x="139" y="53"/>
                    <a:pt x="130" y="42"/>
                    <a:pt x="117"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Rectangle 34"/>
            <p:cNvSpPr>
              <a:spLocks noChangeArrowheads="1"/>
            </p:cNvSpPr>
            <p:nvPr userDrawn="1"/>
          </p:nvSpPr>
          <p:spPr bwMode="auto">
            <a:xfrm>
              <a:off x="8000067" y="6844200"/>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Oval 35"/>
            <p:cNvSpPr>
              <a:spLocks noChangeArrowheads="1"/>
            </p:cNvSpPr>
            <p:nvPr userDrawn="1"/>
          </p:nvSpPr>
          <p:spPr bwMode="auto">
            <a:xfrm>
              <a:off x="7949992" y="6751690"/>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 name="Oval 36"/>
            <p:cNvSpPr>
              <a:spLocks noChangeArrowheads="1"/>
            </p:cNvSpPr>
            <p:nvPr userDrawn="1"/>
          </p:nvSpPr>
          <p:spPr bwMode="auto">
            <a:xfrm>
              <a:off x="7966684" y="6680865"/>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 name="Rectangle 37"/>
            <p:cNvSpPr>
              <a:spLocks noChangeArrowheads="1"/>
            </p:cNvSpPr>
            <p:nvPr userDrawn="1"/>
          </p:nvSpPr>
          <p:spPr bwMode="auto">
            <a:xfrm>
              <a:off x="8161847" y="6844200"/>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 name="Oval 38"/>
            <p:cNvSpPr>
              <a:spLocks noChangeArrowheads="1"/>
            </p:cNvSpPr>
            <p:nvPr userDrawn="1"/>
          </p:nvSpPr>
          <p:spPr bwMode="auto">
            <a:xfrm>
              <a:off x="8111772" y="6751690"/>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 name="Oval 39"/>
            <p:cNvSpPr>
              <a:spLocks noChangeArrowheads="1"/>
            </p:cNvSpPr>
            <p:nvPr userDrawn="1"/>
          </p:nvSpPr>
          <p:spPr bwMode="auto">
            <a:xfrm>
              <a:off x="8128464" y="6680865"/>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8" name="Freeform 5"/>
            <p:cNvSpPr>
              <a:spLocks/>
            </p:cNvSpPr>
            <p:nvPr userDrawn="1"/>
          </p:nvSpPr>
          <p:spPr bwMode="auto">
            <a:xfrm flipH="1">
              <a:off x="11003652" y="5812825"/>
              <a:ext cx="298224" cy="217539"/>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9" name="Freeform 8"/>
            <p:cNvSpPr>
              <a:spLocks/>
            </p:cNvSpPr>
            <p:nvPr userDrawn="1"/>
          </p:nvSpPr>
          <p:spPr bwMode="auto">
            <a:xfrm flipH="1">
              <a:off x="11877013" y="4993314"/>
              <a:ext cx="559462" cy="412309"/>
            </a:xfrm>
            <a:custGeom>
              <a:avLst/>
              <a:gdLst>
                <a:gd name="T0" fmla="*/ 117 w 139"/>
                <a:gd name="T1" fmla="*/ 40 h 91"/>
                <a:gd name="T2" fmla="*/ 117 w 139"/>
                <a:gd name="T3" fmla="*/ 38 h 91"/>
                <a:gd name="T4" fmla="*/ 79 w 139"/>
                <a:gd name="T5" fmla="*/ 0 h 91"/>
                <a:gd name="T6" fmla="*/ 47 w 139"/>
                <a:gd name="T7" fmla="*/ 17 h 91"/>
                <a:gd name="T8" fmla="*/ 36 w 139"/>
                <a:gd name="T9" fmla="*/ 14 h 91"/>
                <a:gd name="T10" fmla="*/ 24 w 139"/>
                <a:gd name="T11" fmla="*/ 18 h 91"/>
                <a:gd name="T12" fmla="*/ 14 w 139"/>
                <a:gd name="T13" fmla="*/ 36 h 91"/>
                <a:gd name="T14" fmla="*/ 0 w 139"/>
                <a:gd name="T15" fmla="*/ 61 h 91"/>
                <a:gd name="T16" fmla="*/ 27 w 139"/>
                <a:gd name="T17" fmla="*/ 91 h 91"/>
                <a:gd name="T18" fmla="*/ 30 w 139"/>
                <a:gd name="T19" fmla="*/ 91 h 91"/>
                <a:gd name="T20" fmla="*/ 33 w 139"/>
                <a:gd name="T21" fmla="*/ 91 h 91"/>
                <a:gd name="T22" fmla="*/ 96 w 139"/>
                <a:gd name="T23" fmla="*/ 91 h 91"/>
                <a:gd name="T24" fmla="*/ 97 w 139"/>
                <a:gd name="T25" fmla="*/ 91 h 91"/>
                <a:gd name="T26" fmla="*/ 99 w 139"/>
                <a:gd name="T27" fmla="*/ 91 h 91"/>
                <a:gd name="T28" fmla="*/ 103 w 139"/>
                <a:gd name="T29" fmla="*/ 91 h 91"/>
                <a:gd name="T30" fmla="*/ 113 w 139"/>
                <a:gd name="T31" fmla="*/ 91 h 91"/>
                <a:gd name="T32" fmla="*/ 139 w 139"/>
                <a:gd name="T33" fmla="*/ 66 h 91"/>
                <a:gd name="T34" fmla="*/ 117 w 139"/>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91">
                  <a:moveTo>
                    <a:pt x="117" y="40"/>
                  </a:moveTo>
                  <a:cubicBezTo>
                    <a:pt x="117" y="39"/>
                    <a:pt x="117" y="39"/>
                    <a:pt x="117" y="38"/>
                  </a:cubicBezTo>
                  <a:cubicBezTo>
                    <a:pt x="117" y="17"/>
                    <a:pt x="100" y="0"/>
                    <a:pt x="79" y="0"/>
                  </a:cubicBezTo>
                  <a:cubicBezTo>
                    <a:pt x="65" y="0"/>
                    <a:pt x="53" y="7"/>
                    <a:pt x="47" y="17"/>
                  </a:cubicBezTo>
                  <a:cubicBezTo>
                    <a:pt x="43" y="15"/>
                    <a:pt x="40" y="14"/>
                    <a:pt x="36" y="14"/>
                  </a:cubicBezTo>
                  <a:cubicBezTo>
                    <a:pt x="31" y="14"/>
                    <a:pt x="27" y="15"/>
                    <a:pt x="24" y="18"/>
                  </a:cubicBezTo>
                  <a:cubicBezTo>
                    <a:pt x="18" y="22"/>
                    <a:pt x="14" y="28"/>
                    <a:pt x="14" y="36"/>
                  </a:cubicBezTo>
                  <a:cubicBezTo>
                    <a:pt x="6" y="41"/>
                    <a:pt x="0" y="51"/>
                    <a:pt x="0" y="61"/>
                  </a:cubicBezTo>
                  <a:cubicBezTo>
                    <a:pt x="0" y="77"/>
                    <a:pt x="12" y="90"/>
                    <a:pt x="27" y="91"/>
                  </a:cubicBezTo>
                  <a:cubicBezTo>
                    <a:pt x="28" y="91"/>
                    <a:pt x="29" y="91"/>
                    <a:pt x="30" y="91"/>
                  </a:cubicBezTo>
                  <a:cubicBezTo>
                    <a:pt x="31" y="91"/>
                    <a:pt x="32" y="91"/>
                    <a:pt x="33" y="91"/>
                  </a:cubicBezTo>
                  <a:cubicBezTo>
                    <a:pt x="47" y="91"/>
                    <a:pt x="80" y="91"/>
                    <a:pt x="96" y="91"/>
                  </a:cubicBezTo>
                  <a:cubicBezTo>
                    <a:pt x="97" y="91"/>
                    <a:pt x="97" y="91"/>
                    <a:pt x="97" y="91"/>
                  </a:cubicBezTo>
                  <a:cubicBezTo>
                    <a:pt x="99" y="91"/>
                    <a:pt x="99" y="91"/>
                    <a:pt x="99" y="91"/>
                  </a:cubicBezTo>
                  <a:cubicBezTo>
                    <a:pt x="100" y="91"/>
                    <a:pt x="102" y="91"/>
                    <a:pt x="103" y="91"/>
                  </a:cubicBezTo>
                  <a:cubicBezTo>
                    <a:pt x="113" y="91"/>
                    <a:pt x="113" y="91"/>
                    <a:pt x="113" y="91"/>
                  </a:cubicBezTo>
                  <a:cubicBezTo>
                    <a:pt x="128" y="91"/>
                    <a:pt x="139" y="80"/>
                    <a:pt x="139" y="66"/>
                  </a:cubicBezTo>
                  <a:cubicBezTo>
                    <a:pt x="139" y="53"/>
                    <a:pt x="130" y="42"/>
                    <a:pt x="117"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0" name="Freeform 5"/>
            <p:cNvSpPr>
              <a:spLocks/>
            </p:cNvSpPr>
            <p:nvPr userDrawn="1"/>
          </p:nvSpPr>
          <p:spPr bwMode="auto">
            <a:xfrm flipH="1">
              <a:off x="5688604" y="6223017"/>
              <a:ext cx="482778" cy="303211"/>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6" name="Rectangle 21"/>
            <p:cNvSpPr/>
            <p:nvPr userDrawn="1"/>
          </p:nvSpPr>
          <p:spPr>
            <a:xfrm>
              <a:off x="11105619" y="5168674"/>
              <a:ext cx="1330856" cy="146937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361" rtl="0" eaLnBrk="1" fontAlgn="auto" latinLnBrk="0" hangingPunct="1">
                <a:lnSpc>
                  <a:spcPct val="100000"/>
                </a:lnSpc>
                <a:spcBef>
                  <a:spcPts val="0"/>
                </a:spcBef>
                <a:spcAft>
                  <a:spcPts val="0"/>
                </a:spcAft>
                <a:buClrTx/>
                <a:buSzTx/>
                <a:buFontTx/>
                <a:buNone/>
                <a:tabLst/>
                <a:defRPr/>
              </a:pPr>
              <a:endParaRPr kumimoji="0" lang="en-US" sz="119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7" name="Rectangle 37"/>
            <p:cNvSpPr>
              <a:spLocks noChangeArrowheads="1"/>
            </p:cNvSpPr>
            <p:nvPr userDrawn="1"/>
          </p:nvSpPr>
          <p:spPr bwMode="auto">
            <a:xfrm>
              <a:off x="11053727" y="6545283"/>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8" name="Oval 38"/>
            <p:cNvSpPr>
              <a:spLocks noChangeArrowheads="1"/>
            </p:cNvSpPr>
            <p:nvPr userDrawn="1"/>
          </p:nvSpPr>
          <p:spPr bwMode="auto">
            <a:xfrm>
              <a:off x="11003652" y="6452773"/>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9" name="Oval 39"/>
            <p:cNvSpPr>
              <a:spLocks noChangeArrowheads="1"/>
            </p:cNvSpPr>
            <p:nvPr userDrawn="1"/>
          </p:nvSpPr>
          <p:spPr bwMode="auto">
            <a:xfrm>
              <a:off x="11020344" y="6381948"/>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0" name="Rectangle 34"/>
            <p:cNvSpPr>
              <a:spLocks noChangeArrowheads="1"/>
            </p:cNvSpPr>
            <p:nvPr userDrawn="1"/>
          </p:nvSpPr>
          <p:spPr bwMode="auto">
            <a:xfrm>
              <a:off x="132773" y="6844200"/>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1" name="Oval 35"/>
            <p:cNvSpPr>
              <a:spLocks noChangeArrowheads="1"/>
            </p:cNvSpPr>
            <p:nvPr userDrawn="1"/>
          </p:nvSpPr>
          <p:spPr bwMode="auto">
            <a:xfrm>
              <a:off x="82698" y="6751690"/>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2" name="Oval 36"/>
            <p:cNvSpPr>
              <a:spLocks noChangeArrowheads="1"/>
            </p:cNvSpPr>
            <p:nvPr userDrawn="1"/>
          </p:nvSpPr>
          <p:spPr bwMode="auto">
            <a:xfrm>
              <a:off x="99390" y="6680865"/>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3" name="Freeform 8"/>
            <p:cNvSpPr>
              <a:spLocks/>
            </p:cNvSpPr>
            <p:nvPr userDrawn="1"/>
          </p:nvSpPr>
          <p:spPr bwMode="auto">
            <a:xfrm flipH="1">
              <a:off x="29861" y="6215900"/>
              <a:ext cx="257182" cy="189536"/>
            </a:xfrm>
            <a:custGeom>
              <a:avLst/>
              <a:gdLst>
                <a:gd name="T0" fmla="*/ 117 w 139"/>
                <a:gd name="T1" fmla="*/ 40 h 91"/>
                <a:gd name="T2" fmla="*/ 117 w 139"/>
                <a:gd name="T3" fmla="*/ 38 h 91"/>
                <a:gd name="T4" fmla="*/ 79 w 139"/>
                <a:gd name="T5" fmla="*/ 0 h 91"/>
                <a:gd name="T6" fmla="*/ 47 w 139"/>
                <a:gd name="T7" fmla="*/ 17 h 91"/>
                <a:gd name="T8" fmla="*/ 36 w 139"/>
                <a:gd name="T9" fmla="*/ 14 h 91"/>
                <a:gd name="T10" fmla="*/ 24 w 139"/>
                <a:gd name="T11" fmla="*/ 18 h 91"/>
                <a:gd name="T12" fmla="*/ 14 w 139"/>
                <a:gd name="T13" fmla="*/ 36 h 91"/>
                <a:gd name="T14" fmla="*/ 0 w 139"/>
                <a:gd name="T15" fmla="*/ 61 h 91"/>
                <a:gd name="T16" fmla="*/ 27 w 139"/>
                <a:gd name="T17" fmla="*/ 91 h 91"/>
                <a:gd name="T18" fmla="*/ 30 w 139"/>
                <a:gd name="T19" fmla="*/ 91 h 91"/>
                <a:gd name="T20" fmla="*/ 33 w 139"/>
                <a:gd name="T21" fmla="*/ 91 h 91"/>
                <a:gd name="T22" fmla="*/ 96 w 139"/>
                <a:gd name="T23" fmla="*/ 91 h 91"/>
                <a:gd name="T24" fmla="*/ 97 w 139"/>
                <a:gd name="T25" fmla="*/ 91 h 91"/>
                <a:gd name="T26" fmla="*/ 99 w 139"/>
                <a:gd name="T27" fmla="*/ 91 h 91"/>
                <a:gd name="T28" fmla="*/ 103 w 139"/>
                <a:gd name="T29" fmla="*/ 91 h 91"/>
                <a:gd name="T30" fmla="*/ 113 w 139"/>
                <a:gd name="T31" fmla="*/ 91 h 91"/>
                <a:gd name="T32" fmla="*/ 139 w 139"/>
                <a:gd name="T33" fmla="*/ 66 h 91"/>
                <a:gd name="T34" fmla="*/ 117 w 139"/>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91">
                  <a:moveTo>
                    <a:pt x="117" y="40"/>
                  </a:moveTo>
                  <a:cubicBezTo>
                    <a:pt x="117" y="39"/>
                    <a:pt x="117" y="39"/>
                    <a:pt x="117" y="38"/>
                  </a:cubicBezTo>
                  <a:cubicBezTo>
                    <a:pt x="117" y="17"/>
                    <a:pt x="100" y="0"/>
                    <a:pt x="79" y="0"/>
                  </a:cubicBezTo>
                  <a:cubicBezTo>
                    <a:pt x="65" y="0"/>
                    <a:pt x="53" y="7"/>
                    <a:pt x="47" y="17"/>
                  </a:cubicBezTo>
                  <a:cubicBezTo>
                    <a:pt x="43" y="15"/>
                    <a:pt x="40" y="14"/>
                    <a:pt x="36" y="14"/>
                  </a:cubicBezTo>
                  <a:cubicBezTo>
                    <a:pt x="31" y="14"/>
                    <a:pt x="27" y="15"/>
                    <a:pt x="24" y="18"/>
                  </a:cubicBezTo>
                  <a:cubicBezTo>
                    <a:pt x="18" y="22"/>
                    <a:pt x="14" y="28"/>
                    <a:pt x="14" y="36"/>
                  </a:cubicBezTo>
                  <a:cubicBezTo>
                    <a:pt x="6" y="41"/>
                    <a:pt x="0" y="51"/>
                    <a:pt x="0" y="61"/>
                  </a:cubicBezTo>
                  <a:cubicBezTo>
                    <a:pt x="0" y="77"/>
                    <a:pt x="12" y="90"/>
                    <a:pt x="27" y="91"/>
                  </a:cubicBezTo>
                  <a:cubicBezTo>
                    <a:pt x="28" y="91"/>
                    <a:pt x="29" y="91"/>
                    <a:pt x="30" y="91"/>
                  </a:cubicBezTo>
                  <a:cubicBezTo>
                    <a:pt x="31" y="91"/>
                    <a:pt x="32" y="91"/>
                    <a:pt x="33" y="91"/>
                  </a:cubicBezTo>
                  <a:cubicBezTo>
                    <a:pt x="47" y="91"/>
                    <a:pt x="80" y="91"/>
                    <a:pt x="96" y="91"/>
                  </a:cubicBezTo>
                  <a:cubicBezTo>
                    <a:pt x="97" y="91"/>
                    <a:pt x="97" y="91"/>
                    <a:pt x="97" y="91"/>
                  </a:cubicBezTo>
                  <a:cubicBezTo>
                    <a:pt x="99" y="91"/>
                    <a:pt x="99" y="91"/>
                    <a:pt x="99" y="91"/>
                  </a:cubicBezTo>
                  <a:cubicBezTo>
                    <a:pt x="100" y="91"/>
                    <a:pt x="102" y="91"/>
                    <a:pt x="103" y="91"/>
                  </a:cubicBezTo>
                  <a:cubicBezTo>
                    <a:pt x="113" y="91"/>
                    <a:pt x="113" y="91"/>
                    <a:pt x="113" y="91"/>
                  </a:cubicBezTo>
                  <a:cubicBezTo>
                    <a:pt x="128" y="91"/>
                    <a:pt x="139" y="80"/>
                    <a:pt x="139" y="66"/>
                  </a:cubicBezTo>
                  <a:cubicBezTo>
                    <a:pt x="139" y="53"/>
                    <a:pt x="130" y="42"/>
                    <a:pt x="117"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5"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6"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userDrawn="1">
            <p:ph type="ftr" sz="quarter" idx="10"/>
          </p:nvPr>
        </p:nvSpPr>
        <p:spPr/>
        <p:txBody>
          <a:bodyPr/>
          <a:lstStyle/>
          <a:p>
            <a:pPr>
              <a:defRPr/>
            </a:pPr>
            <a:r>
              <a:rPr lang="en-US">
                <a:solidFill>
                  <a:srgbClr val="505050"/>
                </a:solidFill>
              </a:rPr>
              <a:t>Microsoft confidential 2015</a:t>
            </a:r>
            <a:endParaRPr lang="en-US" dirty="0">
              <a:solidFill>
                <a:srgbClr val="505050"/>
              </a:solidFill>
            </a:endParaRPr>
          </a:p>
        </p:txBody>
      </p:sp>
      <p:sp>
        <p:nvSpPr>
          <p:cNvPr id="4" name="Slide Number Placeholder 3"/>
          <p:cNvSpPr>
            <a:spLocks noGrp="1"/>
          </p:cNvSpPr>
          <p:nvPr userDrawn="1">
            <p:ph type="sldNum" sz="quarter" idx="11"/>
          </p:nvPr>
        </p:nvSpPr>
        <p:spPr/>
        <p:txBody>
          <a:bodyPr/>
          <a:lstStyle>
            <a:lvl1pPr>
              <a:defRPr>
                <a:solidFill>
                  <a:schemeClr val="bg1"/>
                </a:solidFill>
              </a:defRPr>
            </a:lvl1pPr>
          </a:lstStyle>
          <a:p>
            <a:pPr defTabSz="932539">
              <a:defRPr/>
            </a:pPr>
            <a:fld id="{27258FFF-F925-446B-8502-81C933981705}" type="slidenum">
              <a:rPr lang="en-US" smtClean="0">
                <a:solidFill>
                  <a:srgbClr val="FFFFFF"/>
                </a:solidFill>
              </a:rPr>
              <a:pPr defTabSz="932539">
                <a:defRPr/>
              </a:pPr>
              <a:t>‹#›</a:t>
            </a:fld>
            <a:endParaRPr lang="en-US" dirty="0">
              <a:solidFill>
                <a:srgbClr val="FFFFFF"/>
              </a:solidFill>
            </a:endParaRPr>
          </a:p>
        </p:txBody>
      </p:sp>
      <p:sp>
        <p:nvSpPr>
          <p:cNvPr id="8" name="Text Placeholder 7"/>
          <p:cNvSpPr>
            <a:spLocks noGrp="1"/>
          </p:cNvSpPr>
          <p:nvPr userDrawn="1">
            <p:ph type="body" sz="quarter" idx="13" hasCustomPrompt="1"/>
          </p:nvPr>
        </p:nvSpPr>
        <p:spPr>
          <a:xfrm>
            <a:off x="603505" y="1545465"/>
            <a:ext cx="11226196" cy="4663068"/>
          </a:xfrm>
        </p:spPr>
        <p:txBody>
          <a:bodyPr lIns="0" tIns="0"/>
          <a:lstStyle>
            <a:lvl1pPr marL="233268" indent="-233268">
              <a:spcBef>
                <a:spcPts val="1198"/>
              </a:spcBef>
              <a:defRPr sz="2600">
                <a:latin typeface="+mn-lt"/>
              </a:defRPr>
            </a:lvl1pPr>
            <a:lvl2pPr marL="690281" indent="-233268">
              <a:spcBef>
                <a:spcPts val="1198"/>
              </a:spcBef>
              <a:buSzPct val="100000"/>
              <a:buFont typeface="Segoe UI" pitchFamily="34" charset="0"/>
              <a:buChar char="‐"/>
              <a:defRPr/>
            </a:lvl2pPr>
            <a:lvl3pPr marL="1147294" indent="-233268">
              <a:spcBef>
                <a:spcPts val="1198"/>
              </a:spcBef>
              <a:buFont typeface="Wingdings" pitchFamily="2" charset="2"/>
              <a:buChar char="§"/>
              <a:defRPr/>
            </a:lvl3pPr>
            <a:lvl4pPr marL="1599545" indent="-342760">
              <a:spcBef>
                <a:spcPts val="1198"/>
              </a:spcBef>
              <a:buFont typeface="+mj-lt"/>
              <a:buAutoNum type="arabicPeriod"/>
              <a:defRPr/>
            </a:lvl4pPr>
            <a:lvl5pPr marL="1945479" indent="-342760">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9949059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001736"/>
        </a:solidFill>
        <a:effectLst/>
      </p:bgPr>
    </p:bg>
    <p:spTree>
      <p:nvGrpSpPr>
        <p:cNvPr id="1" name=""/>
        <p:cNvGrpSpPr/>
        <p:nvPr/>
      </p:nvGrpSpPr>
      <p:grpSpPr>
        <a:xfrm>
          <a:off x="0" y="0"/>
          <a:ext cx="0" cy="0"/>
          <a:chOff x="0" y="0"/>
          <a:chExt cx="0" cy="0"/>
        </a:xfrm>
      </p:grpSpPr>
      <p:sp>
        <p:nvSpPr>
          <p:cNvPr id="16" name="TextBox 15"/>
          <p:cNvSpPr txBox="1"/>
          <p:nvPr userDrawn="1"/>
        </p:nvSpPr>
        <p:spPr>
          <a:xfrm>
            <a:off x="-126083" y="-160338"/>
            <a:ext cx="12821320" cy="7497437"/>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lang="en-US" sz="2000" kern="1200" dirty="0">
                <a:gradFill>
                  <a:gsLst>
                    <a:gs pos="94340">
                      <a:schemeClr val="accent1">
                        <a:alpha val="25000"/>
                      </a:schemeClr>
                    </a:gs>
                    <a:gs pos="67000">
                      <a:schemeClr val="accent1">
                        <a:alpha val="25000"/>
                      </a:schemeClr>
                    </a:gs>
                  </a:gsLst>
                  <a:lin ang="5400000" scaled="0"/>
                </a:gradFill>
                <a:latin typeface="Segoe UI Light" panose="020B0502040204020203" pitchFamily="34" charset="0"/>
                <a:ea typeface="+mn-ea"/>
                <a:cs typeface="Segoe UI Light" panose="020B0502040204020203" pitchFamily="34" charset="0"/>
              </a:rPr>
              <a:t>10011100100101011100110101011000010101010000111000001001100011001001110010010101110011010101100001010101000011100000100110001100100111001001010111001101010110000101010100001110000010011000110010011100100101011100110101011000010101010000111000001001100011001001110010010101110011010101100001010101000011100000100110001100100111001001010111001101010110000101010100001110000010011000110010001110010011001010111011001101111011011000111010101110100011001001110010010101110011010101100000110100101101111011011100110000101110010011110010010000010110000101010100001110000010011000011101000111001001100001011011100111001101100110011011111001100011001001110010010101110111001001101101011000010111010001101001011011110110111001010111001101010110000101010100001110000010011000110010011100100101011100110101011000010101010000111000001001100011001001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45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100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010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10110</a:t>
            </a:r>
            <a:r>
              <a:rPr lang="en-US" sz="2000" kern="1200" dirty="0">
                <a:gradFill>
                  <a:gsLst>
                    <a:gs pos="94340">
                      <a:schemeClr val="accent1">
                        <a:alpha val="25000"/>
                      </a:schemeClr>
                    </a:gs>
                    <a:gs pos="67000">
                      <a:schemeClr val="accent1">
                        <a:alpha val="25000"/>
                      </a:schemeClr>
                    </a:gs>
                  </a:gsLst>
                  <a:lin ang="5400000" scaled="0"/>
                </a:gradFill>
                <a:latin typeface="Segoe UI Light" panose="020B0502040204020203" pitchFamily="34" charset="0"/>
                <a:ea typeface="+mn-ea"/>
                <a:cs typeface="Segoe UI Light" panose="020B0502040204020203" pitchFamily="34" charset="0"/>
              </a:rPr>
              <a:t>000010101010000111000001001100011001001110010010101110011010101100001010101000011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111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110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25000"/>
                      </a:schemeClr>
                    </a:gs>
                    <a:gs pos="67000">
                      <a:schemeClr val="accent1">
                        <a:alpha val="25000"/>
                      </a:schemeClr>
                    </a:gs>
                  </a:gsLst>
                  <a:lin ang="5400000" scaled="0"/>
                </a:gradFill>
                <a:latin typeface="Segoe UI Light" panose="020B0502040204020203" pitchFamily="34" charset="0"/>
                <a:ea typeface="+mn-ea"/>
                <a:cs typeface="Segoe UI Light" panose="020B0502040204020203" pitchFamily="34" charset="0"/>
              </a:rPr>
              <a:t>0010101110011010101100001010101000011100000100110001100100111001001010111001011100000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10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1010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100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a:t>
            </a:r>
            <a:r>
              <a:rPr lang="en-US" sz="2000" kern="1200" dirty="0">
                <a:noFill/>
                <a:latin typeface="Segoe UI Light" panose="020B0502040204020203" pitchFamily="34" charset="0"/>
                <a:ea typeface="+mn-ea"/>
                <a:cs typeface="Segoe UI Light" panose="020B0502040204020203" pitchFamily="34" charset="0"/>
              </a:rPr>
              <a:t>__</a:t>
            </a:r>
            <a:r>
              <a:rPr lang="en-US" sz="2000" kern="1200" dirty="0">
                <a:gradFill>
                  <a:gsLst>
                    <a:gs pos="94340">
                      <a:schemeClr val="accent1">
                        <a:alpha val="25000"/>
                      </a:schemeClr>
                    </a:gs>
                    <a:gs pos="67000">
                      <a:schemeClr val="accent1">
                        <a:alpha val="25000"/>
                      </a:schemeClr>
                    </a:gs>
                  </a:gsLst>
                  <a:lin ang="5400000" scaled="0"/>
                </a:gradFill>
                <a:latin typeface="Segoe UI Light" panose="020B0502040204020203" pitchFamily="34" charset="0"/>
                <a:ea typeface="+mn-ea"/>
                <a:cs typeface="Segoe UI Light" panose="020B0502040204020203" pitchFamily="34" charset="0"/>
              </a:rPr>
              <a:t>0110010011100100101011100110101011000010101010000111100001011000110111001110010010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10111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11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000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25000"/>
                      </a:schemeClr>
                    </a:gs>
                    <a:gs pos="67000">
                      <a:schemeClr val="accent1">
                        <a:alpha val="25000"/>
                      </a:schemeClr>
                    </a:gs>
                  </a:gsLst>
                  <a:lin ang="5400000" scaled="0"/>
                </a:gradFill>
                <a:latin typeface="Segoe UI Light" panose="020B0502040204020203" pitchFamily="34" charset="0"/>
                <a:ea typeface="+mn-ea"/>
                <a:cs typeface="Segoe UI Light" panose="020B0502040204020203" pitchFamily="34" charset="0"/>
              </a:rPr>
              <a:t>00011100000100110001100100111001000101011010000110110000101010100001110000010011000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100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1100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010000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25000"/>
                      </a:schemeClr>
                    </a:gs>
                    <a:gs pos="67000">
                      <a:schemeClr val="accent1">
                        <a:alpha val="25000"/>
                      </a:schemeClr>
                    </a:gs>
                  </a:gsLst>
                  <a:lin ang="5400000" scaled="0"/>
                </a:gradFill>
                <a:latin typeface="Segoe UI Light" panose="020B0502040204020203" pitchFamily="34" charset="0"/>
                <a:ea typeface="+mn-ea"/>
                <a:cs typeface="Segoe UI Light" panose="020B0502040204020203" pitchFamily="34" charset="0"/>
              </a:rPr>
              <a:t>1011000010111101101100011001001100011001001110010010101110011010101100001010101000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1010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100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000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25000"/>
                      </a:schemeClr>
                    </a:gs>
                    <a:gs pos="67000">
                      <a:schemeClr val="accent1">
                        <a:alpha val="25000"/>
                      </a:schemeClr>
                    </a:gs>
                  </a:gsLst>
                  <a:lin ang="5400000" scaled="0"/>
                </a:gradFill>
                <a:latin typeface="Segoe UI Light" panose="020B0502040204020203" pitchFamily="34" charset="0"/>
                <a:ea typeface="+mn-ea"/>
                <a:cs typeface="Segoe UI Light" panose="020B0502040204020203" pitchFamily="34" charset="0"/>
              </a:rPr>
              <a:t>0011100110101011000010101010000111000001001100011001001110010010101110011010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11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1001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01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111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25000"/>
                      </a:schemeClr>
                    </a:gs>
                    <a:gs pos="67000">
                      <a:schemeClr val="accent1">
                        <a:alpha val="25000"/>
                      </a:schemeClr>
                    </a:gs>
                  </a:gsLst>
                  <a:lin ang="5400000" scaled="0"/>
                </a:gradFill>
                <a:latin typeface="Segoe UI Light" panose="020B0502040204020203" pitchFamily="34" charset="0"/>
                <a:ea typeface="+mn-ea"/>
                <a:cs typeface="Segoe UI Light" panose="020B0502040204020203" pitchFamily="34" charset="0"/>
              </a:rPr>
              <a:t>01100100111001001010111001101010110000101010100001110000110010101111000011100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100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110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000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25000"/>
                      </a:schemeClr>
                    </a:gs>
                    <a:gs pos="67000">
                      <a:schemeClr val="accent1">
                        <a:alpha val="25000"/>
                      </a:schemeClr>
                    </a:gs>
                  </a:gsLst>
                  <a:lin ang="5400000" scaled="0"/>
                </a:gradFill>
                <a:latin typeface="Segoe UI Light" panose="020B0502040204020203" pitchFamily="34" charset="0"/>
                <a:ea typeface="+mn-ea"/>
                <a:cs typeface="Segoe UI Light" panose="020B0502040204020203" pitchFamily="34" charset="0"/>
              </a:rPr>
              <a:t>1110000010011000110010011100100101011100110100011000010101010000111000001001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10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100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111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1110</a:t>
            </a:r>
            <a:r>
              <a:rPr lang="en-US" sz="2000" kern="1200" dirty="0">
                <a:gradFill>
                  <a:gsLst>
                    <a:gs pos="94340">
                      <a:schemeClr val="accent1">
                        <a:alpha val="25000"/>
                      </a:schemeClr>
                    </a:gs>
                    <a:gs pos="67000">
                      <a:schemeClr val="accent1">
                        <a:alpha val="25000"/>
                      </a:schemeClr>
                    </a:gs>
                  </a:gsLst>
                  <a:lin ang="5400000" scaled="0"/>
                </a:gradFill>
                <a:latin typeface="Segoe UI Light" panose="020B0502040204020203" pitchFamily="34" charset="0"/>
                <a:ea typeface="+mn-ea"/>
                <a:cs typeface="Segoe UI Light" panose="020B0502040204020203" pitchFamily="34" charset="0"/>
              </a:rPr>
              <a:t>0101100001010101000011100000100110001100100111001001010111001101010110000101010100001110000010011000110010011100100101011100110101011000010101010000111000001001100011001001110010010101110011010101100001010101000011100000100110001100101110011010101100001010101000011100000100110001100100111001001010111001101010110000101010100001110000010011000110010011100100101011100110101011000010101010000111000001001100011001011100110101011000010101010000111000001001100011001001110010010101110011010101100001010101000011100000100110001100100111001001010111001101010110000101010100001110000010011000110011000011100001100101011110000111001001010111001101010110000101010100001110000010011000110010011100100101011100110100011000010101010000111000001001100011001001110010010101110011010101100001010101000011100000100110001100100111001001010111001101010110000101010100001110000010011000110010011100100101011100110101011000010101010000111000001001100011001001110010010101110011010101100001010101000011100000100110001100101110011010101100001010101000011100000100110001100100111001001010111001101010110000101010100001110000010011000110</a:t>
            </a:r>
          </a:p>
        </p:txBody>
      </p:sp>
      <p:pic>
        <p:nvPicPr>
          <p:cNvPr id="33" name="Picture 32" hidden="1"/>
          <p:cNvPicPr>
            <a:picLocks noChangeAspect="1"/>
          </p:cNvPicPr>
          <p:nvPr userDrawn="1"/>
        </p:nvPicPr>
        <p:blipFill>
          <a:blip r:embed="rId2" cstate="email">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a:ext>
            </a:extLst>
          </a:blip>
          <a:stretch>
            <a:fillRect/>
          </a:stretch>
        </p:blipFill>
        <p:spPr>
          <a:xfrm>
            <a:off x="7281115" y="604440"/>
            <a:ext cx="5046080" cy="4472661"/>
          </a:xfrm>
          <a:prstGeom prst="rect">
            <a:avLst/>
          </a:prstGeom>
        </p:spPr>
      </p:pic>
      <p:sp>
        <p:nvSpPr>
          <p:cNvPr id="12" name="Rectangle 11"/>
          <p:cNvSpPr/>
          <p:nvPr userDrawn="1"/>
        </p:nvSpPr>
        <p:spPr bwMode="auto">
          <a:xfrm rot="10800000">
            <a:off x="-9669" y="-11191"/>
            <a:ext cx="5718002" cy="4889415"/>
          </a:xfrm>
          <a:prstGeom prst="rect">
            <a:avLst/>
          </a:prstGeom>
          <a:gradFill flip="none" rotWithShape="1">
            <a:gsLst>
              <a:gs pos="100000">
                <a:srgbClr val="000000">
                  <a:alpha val="47000"/>
                </a:srgbClr>
              </a:gs>
              <a:gs pos="38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p:cNvPicPr>
            <a:picLocks noChangeAspect="1"/>
          </p:cNvPicPr>
          <p:nvPr userDrawn="1"/>
        </p:nvPicPr>
        <p:blipFill rotWithShape="1">
          <a:blip r:embed="rId4" cstate="email">
            <a:extLst>
              <a:ext uri="{BEBA8EAE-BF5A-486C-A8C5-ECC9F3942E4B}">
                <a14:imgProps xmlns:a14="http://schemas.microsoft.com/office/drawing/2010/main">
                  <a14:imgLayer r:embed="rId5">
                    <a14:imgEffect>
                      <a14:colorTemperature colorTemp="4700"/>
                    </a14:imgEffect>
                    <a14:imgEffect>
                      <a14:brightnessContrast contrast="20000"/>
                    </a14:imgEffect>
                  </a14:imgLayer>
                </a14:imgProps>
              </a:ext>
              <a:ext uri="{28A0092B-C50C-407E-A947-70E740481C1C}">
                <a14:useLocalDpi xmlns:a14="http://schemas.microsoft.com/office/drawing/2010/main"/>
              </a:ext>
            </a:extLst>
          </a:blip>
          <a:srcRect/>
          <a:stretch/>
        </p:blipFill>
        <p:spPr>
          <a:xfrm>
            <a:off x="8869968" y="1028409"/>
            <a:ext cx="3565624" cy="5966116"/>
          </a:xfrm>
          <a:prstGeom prst="rect">
            <a:avLst/>
          </a:prstGeom>
        </p:spPr>
      </p:pic>
      <p:sp>
        <p:nvSpPr>
          <p:cNvPr id="127" name="Rectangle 126"/>
          <p:cNvSpPr/>
          <p:nvPr userDrawn="1"/>
        </p:nvSpPr>
        <p:spPr bwMode="auto">
          <a:xfrm>
            <a:off x="3566506" y="1"/>
            <a:ext cx="8871245" cy="7004292"/>
          </a:xfrm>
          <a:prstGeom prst="rect">
            <a:avLst/>
          </a:prstGeom>
          <a:gradFill flip="none" rotWithShape="1">
            <a:gsLst>
              <a:gs pos="100000">
                <a:srgbClr val="000000">
                  <a:alpha val="70000"/>
                </a:srgbClr>
              </a:gs>
              <a:gs pos="100000">
                <a:srgbClr val="000000">
                  <a:alpha val="94000"/>
                </a:srgbClr>
              </a:gs>
              <a:gs pos="0">
                <a:srgbClr val="000000">
                  <a:alpha val="0"/>
                </a:srgbClr>
              </a:gs>
              <a:gs pos="69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Rectangle 127"/>
          <p:cNvSpPr/>
          <p:nvPr userDrawn="1"/>
        </p:nvSpPr>
        <p:spPr bwMode="auto">
          <a:xfrm rot="10800000">
            <a:off x="-15337" y="-11191"/>
            <a:ext cx="12451811" cy="7018742"/>
          </a:xfrm>
          <a:prstGeom prst="rect">
            <a:avLst/>
          </a:prstGeom>
          <a:gradFill flip="none" rotWithShape="1">
            <a:gsLst>
              <a:gs pos="76000">
                <a:srgbClr val="000000">
                  <a:alpha val="72000"/>
                </a:srgbClr>
              </a:gs>
              <a:gs pos="100000">
                <a:srgbClr val="000000">
                  <a:alpha val="90000"/>
                </a:srgbClr>
              </a:gs>
              <a:gs pos="0">
                <a:srgbClr val="000000">
                  <a:alpha val="0"/>
                </a:srgbClr>
              </a:gs>
              <a:gs pos="30000">
                <a:srgbClr val="000000">
                  <a:alpha val="0"/>
                </a:srgbClr>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20755">
                    <a:srgbClr val="000814"/>
                  </a:gs>
                  <a:gs pos="58000">
                    <a:srgbClr val="000814"/>
                  </a:gs>
                  <a:gs pos="100000">
                    <a:srgbClr val="FFFFFF"/>
                  </a:gs>
                </a:gsLst>
                <a:lin ang="5400000" scaled="0"/>
              </a:gradFill>
              <a:ea typeface="Segoe UI" pitchFamily="34" charset="0"/>
              <a:cs typeface="Segoe UI" pitchFamily="34" charset="0"/>
            </a:endParaRPr>
          </a:p>
        </p:txBody>
      </p:sp>
      <p:grpSp>
        <p:nvGrpSpPr>
          <p:cNvPr id="8" name="Group 7"/>
          <p:cNvGrpSpPr>
            <a:grpSpLocks noChangeAspect="1"/>
          </p:cNvGrpSpPr>
          <p:nvPr userDrawn="1"/>
        </p:nvGrpSpPr>
        <p:grpSpPr bwMode="white">
          <a:xfrm>
            <a:off x="468308" y="479425"/>
            <a:ext cx="1448129" cy="310896"/>
            <a:chOff x="457200" y="1643393"/>
            <a:chExt cx="4492753" cy="964540"/>
          </a:xfrm>
        </p:grpSpPr>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bwMode="white">
            <a:xfrm>
              <a:off x="457200" y="1643393"/>
              <a:ext cx="964540" cy="964540"/>
            </a:xfrm>
            <a:prstGeom prst="rect">
              <a:avLst/>
            </a:prstGeom>
          </p:spPr>
        </p:pic>
        <p:sp>
          <p:nvSpPr>
            <p:cNvPr id="11" name="Freeform 10"/>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9" name="Title 1"/>
          <p:cNvSpPr>
            <a:spLocks noGrp="1"/>
          </p:cNvSpPr>
          <p:nvPr>
            <p:ph type="title" hasCustomPrompt="1"/>
          </p:nvPr>
        </p:nvSpPr>
        <p:spPr bwMode="black">
          <a:xfrm>
            <a:off x="274702" y="199349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black">
          <a:xfrm>
            <a:off x="273050" y="3828783"/>
            <a:ext cx="6402388" cy="1381229"/>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165" name="Picture 164"/>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black">
          <a:xfrm>
            <a:off x="393192" y="5860991"/>
            <a:ext cx="3975899" cy="723895"/>
          </a:xfrm>
          <a:prstGeom prst="rect">
            <a:avLst/>
          </a:prstGeom>
        </p:spPr>
      </p:pic>
      <p:pic>
        <p:nvPicPr>
          <p:cNvPr id="35" name="Picture 34" hidden="1"/>
          <p:cNvPicPr>
            <a:picLocks noChangeAspect="1"/>
          </p:cNvPicPr>
          <p:nvPr userDrawn="1"/>
        </p:nvPicPr>
        <p:blipFill rotWithShape="1">
          <a:blip r:embed="rId8" cstate="email">
            <a:extLst>
              <a:ext uri="{BEBA8EAE-BF5A-486C-A8C5-ECC9F3942E4B}">
                <a14:imgProps xmlns:a14="http://schemas.microsoft.com/office/drawing/2010/main">
                  <a14:imgLayer r:embed="rId9">
                    <a14:imgEffect>
                      <a14:sharpenSoften amount="-17000"/>
                    </a14:imgEffect>
                  </a14:imgLayer>
                </a14:imgProps>
              </a:ext>
              <a:ext uri="{28A0092B-C50C-407E-A947-70E740481C1C}">
                <a14:useLocalDpi xmlns:a14="http://schemas.microsoft.com/office/drawing/2010/main"/>
              </a:ext>
            </a:extLst>
          </a:blip>
          <a:srcRect/>
          <a:stretch/>
        </p:blipFill>
        <p:spPr>
          <a:xfrm>
            <a:off x="2243328" y="-11194"/>
            <a:ext cx="8864220" cy="6434503"/>
          </a:xfrm>
          <a:prstGeom prst="rect">
            <a:avLst/>
          </a:prstGeom>
        </p:spPr>
      </p:pic>
    </p:spTree>
    <p:extLst>
      <p:ext uri="{BB962C8B-B14F-4D97-AF65-F5344CB8AC3E}">
        <p14:creationId xmlns:p14="http://schemas.microsoft.com/office/powerpoint/2010/main" val="1929118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1" y="5734730"/>
            <a:ext cx="12416881"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39"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1" b="0" i="0" u="none" strike="noStrike" kern="1200" cap="none" spc="0" normalizeH="0" baseline="0" noProof="0">
                  <a:ln>
                    <a:noFill/>
                  </a:ln>
                  <a:solidFill>
                    <a:srgbClr val="505050"/>
                  </a:solidFill>
                  <a:effectLst/>
                  <a:uLnTx/>
                  <a:uFillTx/>
                  <a:latin typeface="Segoe UI"/>
                  <a:ea typeface="+mn-ea"/>
                  <a:cs typeface="+mn-cs"/>
                </a:rPr>
                <a:pPr marL="0" marR="0" lvl="0" indent="0" algn="r" defTabSz="932539" rtl="0" eaLnBrk="1" fontAlgn="auto" latinLnBrk="0" hangingPunct="1">
                  <a:lnSpc>
                    <a:spcPct val="100000"/>
                  </a:lnSpc>
                  <a:spcBef>
                    <a:spcPts val="0"/>
                  </a:spcBef>
                  <a:spcAft>
                    <a:spcPts val="0"/>
                  </a:spcAft>
                  <a:buClrTx/>
                  <a:buSzTx/>
                  <a:buFontTx/>
                  <a:buNone/>
                  <a:tabLst/>
                  <a:defRPr/>
                </a:pPr>
                <a:t>‹#›</a:t>
              </a:fld>
              <a:endParaRPr kumimoji="0" lang="en-US" sz="901"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481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pPr>
              <a:defRPr/>
            </a:pPr>
            <a:r>
              <a:rPr lang="en-US">
                <a:solidFill>
                  <a:srgbClr val="FFFFFF"/>
                </a:solidFill>
              </a:rPr>
              <a:t>Microsoft confidential 2015</a:t>
            </a:r>
            <a:endParaRPr lang="en-US" dirty="0">
              <a:solidFill>
                <a:srgbClr val="FFFFFF"/>
              </a:solidFill>
            </a:endParaRPr>
          </a:p>
        </p:txBody>
      </p:sp>
      <p:sp>
        <p:nvSpPr>
          <p:cNvPr id="4" name="Slide Number Placeholder 3"/>
          <p:cNvSpPr>
            <a:spLocks noGrp="1"/>
          </p:cNvSpPr>
          <p:nvPr>
            <p:ph type="sldNum" sz="quarter" idx="11"/>
          </p:nvPr>
        </p:nvSpPr>
        <p:spPr/>
        <p:txBody>
          <a:bodyPr/>
          <a:lstStyle/>
          <a:p>
            <a:pPr defTabSz="932539">
              <a:defRPr/>
            </a:pPr>
            <a:fld id="{27258FFF-F925-446B-8502-81C933981705}" type="slidenum">
              <a:rPr lang="en-US" smtClean="0">
                <a:solidFill>
                  <a:srgbClr val="505050"/>
                </a:solidFill>
              </a:rPr>
              <a:pPr defTabSz="932539">
                <a:defRPr/>
              </a:pPr>
              <a:t>‹#›</a:t>
            </a:fld>
            <a:endParaRPr lang="en-US" dirty="0">
              <a:solidFill>
                <a:srgbClr val="505050"/>
              </a:solidFill>
            </a:endParaRPr>
          </a:p>
        </p:txBody>
      </p:sp>
      <p:sp>
        <p:nvSpPr>
          <p:cNvPr id="8" name="Text Placeholder 7"/>
          <p:cNvSpPr>
            <a:spLocks noGrp="1"/>
          </p:cNvSpPr>
          <p:nvPr>
            <p:ph type="body" sz="quarter" idx="13" hasCustomPrompt="1"/>
          </p:nvPr>
        </p:nvSpPr>
        <p:spPr>
          <a:xfrm>
            <a:off x="603505" y="1545465"/>
            <a:ext cx="11226196" cy="4663068"/>
          </a:xfrm>
        </p:spPr>
        <p:txBody>
          <a:bodyPr lIns="0" tIns="0"/>
          <a:lstStyle>
            <a:lvl1pPr marL="233268" indent="-233268">
              <a:spcBef>
                <a:spcPts val="1198"/>
              </a:spcBef>
              <a:defRPr sz="2600">
                <a:latin typeface="+mn-lt"/>
              </a:defRPr>
            </a:lvl1pPr>
            <a:lvl2pPr marL="690281" indent="-233268">
              <a:spcBef>
                <a:spcPts val="1198"/>
              </a:spcBef>
              <a:buSzPct val="100000"/>
              <a:buFont typeface="Segoe UI" pitchFamily="34" charset="0"/>
              <a:buChar char="‐"/>
              <a:defRPr/>
            </a:lvl2pPr>
            <a:lvl3pPr marL="1147294" indent="-233268">
              <a:spcBef>
                <a:spcPts val="1198"/>
              </a:spcBef>
              <a:buFont typeface="Wingdings" pitchFamily="2" charset="2"/>
              <a:buChar char="§"/>
              <a:defRPr/>
            </a:lvl3pPr>
            <a:lvl4pPr marL="1599545" indent="-342760">
              <a:spcBef>
                <a:spcPts val="1198"/>
              </a:spcBef>
              <a:buFont typeface="+mj-lt"/>
              <a:buAutoNum type="arabicPeriod"/>
              <a:defRPr/>
            </a:lvl4pPr>
            <a:lvl5pPr marL="1945479" indent="-342760">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198233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8_36pt Title/26pt Bullet Text">
    <p:spTree>
      <p:nvGrpSpPr>
        <p:cNvPr id="1" name=""/>
        <p:cNvGrpSpPr/>
        <p:nvPr/>
      </p:nvGrpSpPr>
      <p:grpSpPr>
        <a:xfrm>
          <a:off x="0" y="0"/>
          <a:ext cx="0" cy="0"/>
          <a:chOff x="0" y="0"/>
          <a:chExt cx="0" cy="0"/>
        </a:xfrm>
      </p:grpSpPr>
      <p:sp>
        <p:nvSpPr>
          <p:cNvPr id="38" name="Freeform 70"/>
          <p:cNvSpPr>
            <a:spLocks/>
          </p:cNvSpPr>
          <p:nvPr userDrawn="1"/>
        </p:nvSpPr>
        <p:spPr bwMode="auto">
          <a:xfrm flipH="1">
            <a:off x="1352514" y="6834770"/>
            <a:ext cx="2066420" cy="109266"/>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 name="Freeform 70"/>
          <p:cNvSpPr>
            <a:spLocks/>
          </p:cNvSpPr>
          <p:nvPr/>
        </p:nvSpPr>
        <p:spPr bwMode="auto">
          <a:xfrm flipH="1">
            <a:off x="-15183" y="6533998"/>
            <a:ext cx="2383298" cy="428324"/>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Freeform 47"/>
          <p:cNvSpPr>
            <a:spLocks/>
          </p:cNvSpPr>
          <p:nvPr/>
        </p:nvSpPr>
        <p:spPr bwMode="auto">
          <a:xfrm flipH="1">
            <a:off x="1" y="5814957"/>
            <a:ext cx="523152" cy="452133"/>
          </a:xfrm>
          <a:custGeom>
            <a:avLst/>
            <a:gdLst>
              <a:gd name="connsiteX0" fmla="*/ 407468 w 523152"/>
              <a:gd name="connsiteY0" fmla="*/ 0 h 452133"/>
              <a:gd name="connsiteX1" fmla="*/ 244481 w 523152"/>
              <a:gd name="connsiteY1" fmla="*/ 83151 h 452133"/>
              <a:gd name="connsiteX2" fmla="*/ 190152 w 523152"/>
              <a:gd name="connsiteY2" fmla="*/ 67560 h 452133"/>
              <a:gd name="connsiteX3" fmla="*/ 124957 w 523152"/>
              <a:gd name="connsiteY3" fmla="*/ 88348 h 452133"/>
              <a:gd name="connsiteX4" fmla="*/ 76061 w 523152"/>
              <a:gd name="connsiteY4" fmla="*/ 176696 h 452133"/>
              <a:gd name="connsiteX5" fmla="*/ 0 w 523152"/>
              <a:gd name="connsiteY5" fmla="*/ 301422 h 452133"/>
              <a:gd name="connsiteX6" fmla="*/ 141256 w 523152"/>
              <a:gd name="connsiteY6" fmla="*/ 452133 h 452133"/>
              <a:gd name="connsiteX7" fmla="*/ 157554 w 523152"/>
              <a:gd name="connsiteY7" fmla="*/ 452133 h 452133"/>
              <a:gd name="connsiteX8" fmla="*/ 173853 w 523152"/>
              <a:gd name="connsiteY8" fmla="*/ 452133 h 452133"/>
              <a:gd name="connsiteX9" fmla="*/ 499828 w 523152"/>
              <a:gd name="connsiteY9" fmla="*/ 452133 h 452133"/>
              <a:gd name="connsiteX10" fmla="*/ 505261 w 523152"/>
              <a:gd name="connsiteY10" fmla="*/ 452133 h 452133"/>
              <a:gd name="connsiteX11" fmla="*/ 516126 w 523152"/>
              <a:gd name="connsiteY11" fmla="*/ 452133 h 452133"/>
              <a:gd name="connsiteX12" fmla="*/ 523152 w 523152"/>
              <a:gd name="connsiteY12" fmla="*/ 452133 h 452133"/>
              <a:gd name="connsiteX13" fmla="*/ 523152 w 523152"/>
              <a:gd name="connsiteY13" fmla="*/ 37266 h 452133"/>
              <a:gd name="connsiteX14" fmla="*/ 487009 w 523152"/>
              <a:gd name="connsiteY14" fmla="*/ 14617 h 452133"/>
              <a:gd name="connsiteX15" fmla="*/ 407468 w 523152"/>
              <a:gd name="connsiteY15" fmla="*/ 0 h 45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3152" h="452133">
                <a:moveTo>
                  <a:pt x="407468" y="0"/>
                </a:moveTo>
                <a:cubicBezTo>
                  <a:pt x="342273" y="0"/>
                  <a:pt x="277078" y="31182"/>
                  <a:pt x="244481" y="83151"/>
                </a:cubicBezTo>
                <a:cubicBezTo>
                  <a:pt x="228182" y="72757"/>
                  <a:pt x="211884" y="67560"/>
                  <a:pt x="190152" y="67560"/>
                </a:cubicBezTo>
                <a:cubicBezTo>
                  <a:pt x="162987" y="67560"/>
                  <a:pt x="141256" y="77954"/>
                  <a:pt x="124957" y="88348"/>
                </a:cubicBezTo>
                <a:cubicBezTo>
                  <a:pt x="92359" y="103939"/>
                  <a:pt x="76061" y="140317"/>
                  <a:pt x="76061" y="176696"/>
                </a:cubicBezTo>
                <a:cubicBezTo>
                  <a:pt x="32597" y="202681"/>
                  <a:pt x="0" y="249453"/>
                  <a:pt x="0" y="301422"/>
                </a:cubicBezTo>
                <a:cubicBezTo>
                  <a:pt x="0" y="379376"/>
                  <a:pt x="65195" y="441739"/>
                  <a:pt x="141256" y="452133"/>
                </a:cubicBezTo>
                <a:cubicBezTo>
                  <a:pt x="146689" y="452133"/>
                  <a:pt x="152121" y="452133"/>
                  <a:pt x="157554" y="452133"/>
                </a:cubicBezTo>
                <a:cubicBezTo>
                  <a:pt x="162987" y="452133"/>
                  <a:pt x="168420" y="452133"/>
                  <a:pt x="173853" y="452133"/>
                </a:cubicBezTo>
                <a:cubicBezTo>
                  <a:pt x="249914" y="452133"/>
                  <a:pt x="418334" y="452133"/>
                  <a:pt x="499828" y="452133"/>
                </a:cubicBezTo>
                <a:cubicBezTo>
                  <a:pt x="499828" y="452133"/>
                  <a:pt x="505261" y="452133"/>
                  <a:pt x="505261" y="452133"/>
                </a:cubicBezTo>
                <a:cubicBezTo>
                  <a:pt x="516126" y="452133"/>
                  <a:pt x="516126" y="452133"/>
                  <a:pt x="516126" y="452133"/>
                </a:cubicBezTo>
                <a:lnTo>
                  <a:pt x="523152" y="452133"/>
                </a:lnTo>
                <a:lnTo>
                  <a:pt x="523152" y="37266"/>
                </a:lnTo>
                <a:lnTo>
                  <a:pt x="487009" y="14617"/>
                </a:lnTo>
                <a:cubicBezTo>
                  <a:pt x="462816" y="5197"/>
                  <a:pt x="435991" y="0"/>
                  <a:pt x="407468" y="0"/>
                </a:cubicBezTo>
                <a:close/>
              </a:path>
            </a:pathLst>
          </a:custGeom>
          <a:solidFill>
            <a:schemeClr val="bg1">
              <a:lumMod val="95000"/>
            </a:schemeClr>
          </a:solidFill>
          <a:ln>
            <a:noFill/>
          </a:ln>
          <a:extLst/>
        </p:spPr>
        <p:txBody>
          <a:bodyPr vert="horz" wrap="square" lIns="91415" tIns="45707" rIns="91415" bIns="45707"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807858" y="6204253"/>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3829742" y="6294898"/>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1136913" y="6245140"/>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 name="Freeform 34"/>
          <p:cNvSpPr>
            <a:spLocks/>
          </p:cNvSpPr>
          <p:nvPr/>
        </p:nvSpPr>
        <p:spPr bwMode="auto">
          <a:xfrm flipH="1">
            <a:off x="0" y="6498359"/>
            <a:ext cx="1096755" cy="463967"/>
          </a:xfrm>
          <a:custGeom>
            <a:avLst/>
            <a:gdLst>
              <a:gd name="connsiteX0" fmla="*/ 1033978 w 1096754"/>
              <a:gd name="connsiteY0" fmla="*/ 161 h 463967"/>
              <a:gd name="connsiteX1" fmla="*/ 697835 w 1096754"/>
              <a:gd name="connsiteY1" fmla="*/ 38554 h 463967"/>
              <a:gd name="connsiteX2" fmla="*/ 0 w 1096754"/>
              <a:gd name="connsiteY2" fmla="*/ 463967 h 463967"/>
              <a:gd name="connsiteX3" fmla="*/ 883236 w 1096754"/>
              <a:gd name="connsiteY3" fmla="*/ 463967 h 463967"/>
              <a:gd name="connsiteX4" fmla="*/ 1096754 w 1096754"/>
              <a:gd name="connsiteY4" fmla="*/ 463967 h 463967"/>
              <a:gd name="connsiteX5" fmla="*/ 1096754 w 1096754"/>
              <a:gd name="connsiteY5" fmla="*/ 5199 h 463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6754" h="463967">
                <a:moveTo>
                  <a:pt x="1033978" y="161"/>
                </a:moveTo>
                <a:cubicBezTo>
                  <a:pt x="920999" y="-1604"/>
                  <a:pt x="808020" y="11194"/>
                  <a:pt x="697835" y="38554"/>
                </a:cubicBezTo>
                <a:cubicBezTo>
                  <a:pt x="442335" y="103867"/>
                  <a:pt x="199610" y="245083"/>
                  <a:pt x="0" y="463967"/>
                </a:cubicBezTo>
                <a:cubicBezTo>
                  <a:pt x="357201" y="463967"/>
                  <a:pt x="647428" y="463967"/>
                  <a:pt x="883236" y="463967"/>
                </a:cubicBezTo>
                <a:lnTo>
                  <a:pt x="1096754" y="463967"/>
                </a:lnTo>
                <a:lnTo>
                  <a:pt x="1096754" y="519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p:nvSpPr>
        <p:spPr bwMode="auto">
          <a:xfrm flipH="1">
            <a:off x="3" y="6741892"/>
            <a:ext cx="370794" cy="220431"/>
          </a:xfrm>
          <a:custGeom>
            <a:avLst/>
            <a:gdLst>
              <a:gd name="connsiteX0" fmla="*/ 370794 w 370794"/>
              <a:gd name="connsiteY0" fmla="*/ 0 h 220431"/>
              <a:gd name="connsiteX1" fmla="*/ 332995 w 370794"/>
              <a:gd name="connsiteY1" fmla="*/ 8734 h 220431"/>
              <a:gd name="connsiteX2" fmla="*/ 0 w 370794"/>
              <a:gd name="connsiteY2" fmla="*/ 220431 h 220431"/>
              <a:gd name="connsiteX3" fmla="*/ 368902 w 370794"/>
              <a:gd name="connsiteY3" fmla="*/ 220431 h 220431"/>
              <a:gd name="connsiteX4" fmla="*/ 370794 w 370794"/>
              <a:gd name="connsiteY4" fmla="*/ 220431 h 220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794" h="220431">
                <a:moveTo>
                  <a:pt x="370794" y="0"/>
                </a:moveTo>
                <a:lnTo>
                  <a:pt x="332995" y="8734"/>
                </a:lnTo>
                <a:cubicBezTo>
                  <a:pt x="210976" y="44223"/>
                  <a:pt x="95819" y="114789"/>
                  <a:pt x="0" y="220431"/>
                </a:cubicBezTo>
                <a:cubicBezTo>
                  <a:pt x="368902" y="220431"/>
                  <a:pt x="368902" y="220431"/>
                  <a:pt x="368902" y="220431"/>
                </a:cubicBezTo>
                <a:lnTo>
                  <a:pt x="370794" y="22043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6" name="Group 15"/>
          <p:cNvGrpSpPr/>
          <p:nvPr userDrawn="1"/>
        </p:nvGrpSpPr>
        <p:grpSpPr>
          <a:xfrm flipH="1">
            <a:off x="1758580" y="6159747"/>
            <a:ext cx="904198"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userDrawn="1">
            <p:ph type="ftr" sz="quarter" idx="10"/>
          </p:nvPr>
        </p:nvSpPr>
        <p:spPr/>
        <p:txBody>
          <a:bodyPr/>
          <a:lstStyle>
            <a:lvl1pPr>
              <a:defRPr>
                <a:solidFill>
                  <a:schemeClr val="bg1"/>
                </a:solidFill>
              </a:defRPr>
            </a:lvl1pPr>
          </a:lstStyle>
          <a:p>
            <a:pPr>
              <a:defRPr/>
            </a:pPr>
            <a:r>
              <a:rPr lang="en-US">
                <a:solidFill>
                  <a:srgbClr val="FFFFFF"/>
                </a:solidFill>
              </a:rPr>
              <a:t>Microsoft confidential 2015</a:t>
            </a:r>
            <a:endParaRPr lang="en-US" dirty="0">
              <a:solidFill>
                <a:srgbClr val="FFFFFF"/>
              </a:solidFill>
            </a:endParaRPr>
          </a:p>
        </p:txBody>
      </p:sp>
      <p:sp>
        <p:nvSpPr>
          <p:cNvPr id="4" name="Slide Number Placeholder 3"/>
          <p:cNvSpPr>
            <a:spLocks noGrp="1"/>
          </p:cNvSpPr>
          <p:nvPr userDrawn="1">
            <p:ph type="sldNum" sz="quarter" idx="11"/>
          </p:nvPr>
        </p:nvSpPr>
        <p:spPr/>
        <p:txBody>
          <a:bodyPr/>
          <a:lstStyle/>
          <a:p>
            <a:pPr defTabSz="932539">
              <a:defRPr/>
            </a:pPr>
            <a:fld id="{27258FFF-F925-446B-8502-81C933981705}" type="slidenum">
              <a:rPr lang="en-US" smtClean="0">
                <a:solidFill>
                  <a:srgbClr val="505050"/>
                </a:solidFill>
              </a:rPr>
              <a:pPr defTabSz="932539">
                <a:defRPr/>
              </a:pPr>
              <a:t>‹#›</a:t>
            </a:fld>
            <a:endParaRPr lang="en-US" dirty="0">
              <a:solidFill>
                <a:srgbClr val="505050"/>
              </a:solidFill>
            </a:endParaRPr>
          </a:p>
        </p:txBody>
      </p:sp>
      <p:sp>
        <p:nvSpPr>
          <p:cNvPr id="8" name="Text Placeholder 7"/>
          <p:cNvSpPr>
            <a:spLocks noGrp="1"/>
          </p:cNvSpPr>
          <p:nvPr userDrawn="1">
            <p:ph type="body" sz="quarter" idx="13" hasCustomPrompt="1"/>
          </p:nvPr>
        </p:nvSpPr>
        <p:spPr>
          <a:xfrm>
            <a:off x="603505" y="1545465"/>
            <a:ext cx="11226196" cy="4663068"/>
          </a:xfrm>
        </p:spPr>
        <p:txBody>
          <a:bodyPr lIns="0" tIns="0"/>
          <a:lstStyle>
            <a:lvl1pPr marL="233268" indent="-233268">
              <a:spcBef>
                <a:spcPts val="1198"/>
              </a:spcBef>
              <a:defRPr sz="2600">
                <a:latin typeface="+mn-lt"/>
              </a:defRPr>
            </a:lvl1pPr>
            <a:lvl2pPr marL="690281" indent="-233268">
              <a:spcBef>
                <a:spcPts val="1198"/>
              </a:spcBef>
              <a:buSzPct val="100000"/>
              <a:buFont typeface="Segoe UI" pitchFamily="34" charset="0"/>
              <a:buChar char="‐"/>
              <a:defRPr/>
            </a:lvl2pPr>
            <a:lvl3pPr marL="1147294" indent="-233268">
              <a:spcBef>
                <a:spcPts val="1198"/>
              </a:spcBef>
              <a:buFont typeface="Wingdings" pitchFamily="2" charset="2"/>
              <a:buChar char="§"/>
              <a:defRPr/>
            </a:lvl3pPr>
            <a:lvl4pPr marL="1599545" indent="-342760">
              <a:spcBef>
                <a:spcPts val="1198"/>
              </a:spcBef>
              <a:buFont typeface="+mj-lt"/>
              <a:buAutoNum type="arabicPeriod"/>
              <a:defRPr/>
            </a:lvl4pPr>
            <a:lvl5pPr marL="1945479" indent="-342760">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Rectangle 33"/>
          <p:cNvSpPr>
            <a:spLocks noChangeArrowheads="1"/>
          </p:cNvSpPr>
          <p:nvPr userDrawn="1"/>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 name="Freeform 32"/>
          <p:cNvSpPr>
            <a:spLocks noChangeArrowheads="1"/>
          </p:cNvSpPr>
          <p:nvPr userDrawn="1"/>
        </p:nvSpPr>
        <p:spPr bwMode="auto">
          <a:xfrm>
            <a:off x="3011945" y="6481370"/>
            <a:ext cx="511114" cy="459098"/>
          </a:xfrm>
          <a:custGeom>
            <a:avLst/>
            <a:gdLst>
              <a:gd name="connsiteX0" fmla="*/ 603250 w 647700"/>
              <a:gd name="connsiteY0" fmla="*/ 501650 h 647700"/>
              <a:gd name="connsiteX1" fmla="*/ 633413 w 647700"/>
              <a:gd name="connsiteY1" fmla="*/ 501650 h 647700"/>
              <a:gd name="connsiteX2" fmla="*/ 633413 w 647700"/>
              <a:gd name="connsiteY2" fmla="*/ 647700 h 647700"/>
              <a:gd name="connsiteX3" fmla="*/ 603250 w 647700"/>
              <a:gd name="connsiteY3" fmla="*/ 647700 h 647700"/>
              <a:gd name="connsiteX4" fmla="*/ 550863 w 647700"/>
              <a:gd name="connsiteY4" fmla="*/ 501650 h 647700"/>
              <a:gd name="connsiteX5" fmla="*/ 579438 w 647700"/>
              <a:gd name="connsiteY5" fmla="*/ 501650 h 647700"/>
              <a:gd name="connsiteX6" fmla="*/ 579438 w 647700"/>
              <a:gd name="connsiteY6" fmla="*/ 647700 h 647700"/>
              <a:gd name="connsiteX7" fmla="*/ 550863 w 647700"/>
              <a:gd name="connsiteY7" fmla="*/ 647700 h 647700"/>
              <a:gd name="connsiteX8" fmla="*/ 496888 w 647700"/>
              <a:gd name="connsiteY8" fmla="*/ 501650 h 647700"/>
              <a:gd name="connsiteX9" fmla="*/ 527051 w 647700"/>
              <a:gd name="connsiteY9" fmla="*/ 501650 h 647700"/>
              <a:gd name="connsiteX10" fmla="*/ 527051 w 647700"/>
              <a:gd name="connsiteY10" fmla="*/ 647700 h 647700"/>
              <a:gd name="connsiteX11" fmla="*/ 496888 w 647700"/>
              <a:gd name="connsiteY11" fmla="*/ 647700 h 647700"/>
              <a:gd name="connsiteX12" fmla="*/ 442913 w 647700"/>
              <a:gd name="connsiteY12" fmla="*/ 501650 h 647700"/>
              <a:gd name="connsiteX13" fmla="*/ 473076 w 647700"/>
              <a:gd name="connsiteY13" fmla="*/ 501650 h 647700"/>
              <a:gd name="connsiteX14" fmla="*/ 473076 w 647700"/>
              <a:gd name="connsiteY14" fmla="*/ 647700 h 647700"/>
              <a:gd name="connsiteX15" fmla="*/ 442913 w 647700"/>
              <a:gd name="connsiteY15" fmla="*/ 647700 h 647700"/>
              <a:gd name="connsiteX16" fmla="*/ 390525 w 647700"/>
              <a:gd name="connsiteY16" fmla="*/ 501650 h 647700"/>
              <a:gd name="connsiteX17" fmla="*/ 419100 w 647700"/>
              <a:gd name="connsiteY17" fmla="*/ 501650 h 647700"/>
              <a:gd name="connsiteX18" fmla="*/ 419100 w 647700"/>
              <a:gd name="connsiteY18" fmla="*/ 647700 h 647700"/>
              <a:gd name="connsiteX19" fmla="*/ 390525 w 647700"/>
              <a:gd name="connsiteY19" fmla="*/ 647700 h 647700"/>
              <a:gd name="connsiteX20" fmla="*/ 336550 w 647700"/>
              <a:gd name="connsiteY20" fmla="*/ 501650 h 647700"/>
              <a:gd name="connsiteX21" fmla="*/ 366713 w 647700"/>
              <a:gd name="connsiteY21" fmla="*/ 501650 h 647700"/>
              <a:gd name="connsiteX22" fmla="*/ 366713 w 647700"/>
              <a:gd name="connsiteY22" fmla="*/ 647700 h 647700"/>
              <a:gd name="connsiteX23" fmla="*/ 336550 w 647700"/>
              <a:gd name="connsiteY23" fmla="*/ 647700 h 647700"/>
              <a:gd name="connsiteX24" fmla="*/ 284163 w 647700"/>
              <a:gd name="connsiteY24" fmla="*/ 501650 h 647700"/>
              <a:gd name="connsiteX25" fmla="*/ 312738 w 647700"/>
              <a:gd name="connsiteY25" fmla="*/ 501650 h 647700"/>
              <a:gd name="connsiteX26" fmla="*/ 312738 w 647700"/>
              <a:gd name="connsiteY26" fmla="*/ 647700 h 647700"/>
              <a:gd name="connsiteX27" fmla="*/ 284163 w 647700"/>
              <a:gd name="connsiteY27" fmla="*/ 647700 h 647700"/>
              <a:gd name="connsiteX28" fmla="*/ 230188 w 647700"/>
              <a:gd name="connsiteY28" fmla="*/ 501650 h 647700"/>
              <a:gd name="connsiteX29" fmla="*/ 258763 w 647700"/>
              <a:gd name="connsiteY29" fmla="*/ 501650 h 647700"/>
              <a:gd name="connsiteX30" fmla="*/ 258763 w 647700"/>
              <a:gd name="connsiteY30" fmla="*/ 647700 h 647700"/>
              <a:gd name="connsiteX31" fmla="*/ 230188 w 647700"/>
              <a:gd name="connsiteY31" fmla="*/ 647700 h 647700"/>
              <a:gd name="connsiteX32" fmla="*/ 176213 w 647700"/>
              <a:gd name="connsiteY32" fmla="*/ 501650 h 647700"/>
              <a:gd name="connsiteX33" fmla="*/ 206376 w 647700"/>
              <a:gd name="connsiteY33" fmla="*/ 501650 h 647700"/>
              <a:gd name="connsiteX34" fmla="*/ 206376 w 647700"/>
              <a:gd name="connsiteY34" fmla="*/ 647700 h 647700"/>
              <a:gd name="connsiteX35" fmla="*/ 176213 w 647700"/>
              <a:gd name="connsiteY35" fmla="*/ 647700 h 647700"/>
              <a:gd name="connsiteX36" fmla="*/ 122238 w 647700"/>
              <a:gd name="connsiteY36" fmla="*/ 501650 h 647700"/>
              <a:gd name="connsiteX37" fmla="*/ 152401 w 647700"/>
              <a:gd name="connsiteY37" fmla="*/ 501650 h 647700"/>
              <a:gd name="connsiteX38" fmla="*/ 152401 w 647700"/>
              <a:gd name="connsiteY38" fmla="*/ 647700 h 647700"/>
              <a:gd name="connsiteX39" fmla="*/ 122238 w 647700"/>
              <a:gd name="connsiteY39" fmla="*/ 647700 h 647700"/>
              <a:gd name="connsiteX40" fmla="*/ 69850 w 647700"/>
              <a:gd name="connsiteY40" fmla="*/ 501650 h 647700"/>
              <a:gd name="connsiteX41" fmla="*/ 98425 w 647700"/>
              <a:gd name="connsiteY41" fmla="*/ 501650 h 647700"/>
              <a:gd name="connsiteX42" fmla="*/ 98425 w 647700"/>
              <a:gd name="connsiteY42" fmla="*/ 647700 h 647700"/>
              <a:gd name="connsiteX43" fmla="*/ 69850 w 647700"/>
              <a:gd name="connsiteY43" fmla="*/ 647700 h 647700"/>
              <a:gd name="connsiteX44" fmla="*/ 15875 w 647700"/>
              <a:gd name="connsiteY44" fmla="*/ 501650 h 647700"/>
              <a:gd name="connsiteX45" fmla="*/ 44450 w 647700"/>
              <a:gd name="connsiteY45" fmla="*/ 501650 h 647700"/>
              <a:gd name="connsiteX46" fmla="*/ 44450 w 647700"/>
              <a:gd name="connsiteY46" fmla="*/ 647700 h 647700"/>
              <a:gd name="connsiteX47" fmla="*/ 15875 w 647700"/>
              <a:gd name="connsiteY47" fmla="*/ 647700 h 647700"/>
              <a:gd name="connsiteX48" fmla="*/ 0 w 647700"/>
              <a:gd name="connsiteY48" fmla="*/ 444500 h 647700"/>
              <a:gd name="connsiteX49" fmla="*/ 647700 w 647700"/>
              <a:gd name="connsiteY49" fmla="*/ 444500 h 647700"/>
              <a:gd name="connsiteX50" fmla="*/ 647700 w 647700"/>
              <a:gd name="connsiteY50" fmla="*/ 487363 h 647700"/>
              <a:gd name="connsiteX51" fmla="*/ 0 w 647700"/>
              <a:gd name="connsiteY51" fmla="*/ 487363 h 647700"/>
              <a:gd name="connsiteX52" fmla="*/ 107950 w 647700"/>
              <a:gd name="connsiteY52" fmla="*/ 392113 h 647700"/>
              <a:gd name="connsiteX53" fmla="*/ 539750 w 647700"/>
              <a:gd name="connsiteY53" fmla="*/ 392113 h 647700"/>
              <a:gd name="connsiteX54" fmla="*/ 539750 w 647700"/>
              <a:gd name="connsiteY54" fmla="*/ 423863 h 647700"/>
              <a:gd name="connsiteX55" fmla="*/ 107950 w 647700"/>
              <a:gd name="connsiteY55" fmla="*/ 423863 h 647700"/>
              <a:gd name="connsiteX56" fmla="*/ 204788 w 647700"/>
              <a:gd name="connsiteY56" fmla="*/ 385763 h 647700"/>
              <a:gd name="connsiteX57" fmla="*/ 206376 w 647700"/>
              <a:gd name="connsiteY57" fmla="*/ 385763 h 647700"/>
              <a:gd name="connsiteX58" fmla="*/ 206376 w 647700"/>
              <a:gd name="connsiteY58" fmla="*/ 387351 h 647700"/>
              <a:gd name="connsiteX59" fmla="*/ 204788 w 647700"/>
              <a:gd name="connsiteY59" fmla="*/ 387351 h 647700"/>
              <a:gd name="connsiteX60" fmla="*/ 331788 w 647700"/>
              <a:gd name="connsiteY60" fmla="*/ 0 h 647700"/>
              <a:gd name="connsiteX61" fmla="*/ 404813 w 647700"/>
              <a:gd name="connsiteY61" fmla="*/ 0 h 647700"/>
              <a:gd name="connsiteX62" fmla="*/ 404813 w 647700"/>
              <a:gd name="connsiteY62" fmla="*/ 52388 h 647700"/>
              <a:gd name="connsiteX63" fmla="*/ 331788 w 647700"/>
              <a:gd name="connsiteY63" fmla="*/ 52388 h 647700"/>
              <a:gd name="connsiteX64" fmla="*/ 315913 w 647700"/>
              <a:gd name="connsiteY64" fmla="*/ 0 h 647700"/>
              <a:gd name="connsiteX65" fmla="*/ 325438 w 647700"/>
              <a:gd name="connsiteY65" fmla="*/ 0 h 647700"/>
              <a:gd name="connsiteX66" fmla="*/ 325438 w 647700"/>
              <a:gd name="connsiteY66" fmla="*/ 93663 h 647700"/>
              <a:gd name="connsiteX67" fmla="*/ 365919 w 647700"/>
              <a:gd name="connsiteY67" fmla="*/ 93663 h 647700"/>
              <a:gd name="connsiteX68" fmla="*/ 371476 w 647700"/>
              <a:gd name="connsiteY68" fmla="*/ 93663 h 647700"/>
              <a:gd name="connsiteX69" fmla="*/ 371476 w 647700"/>
              <a:gd name="connsiteY69" fmla="*/ 100013 h 647700"/>
              <a:gd name="connsiteX70" fmla="*/ 371476 w 647700"/>
              <a:gd name="connsiteY70" fmla="*/ 105569 h 647700"/>
              <a:gd name="connsiteX71" fmla="*/ 371476 w 647700"/>
              <a:gd name="connsiteY71" fmla="*/ 111919 h 647700"/>
              <a:gd name="connsiteX72" fmla="*/ 371476 w 647700"/>
              <a:gd name="connsiteY72" fmla="*/ 123825 h 647700"/>
              <a:gd name="connsiteX73" fmla="*/ 390526 w 647700"/>
              <a:gd name="connsiteY73" fmla="*/ 129382 h 647700"/>
              <a:gd name="connsiteX74" fmla="*/ 408782 w 647700"/>
              <a:gd name="connsiteY74" fmla="*/ 136525 h 647700"/>
              <a:gd name="connsiteX75" fmla="*/ 425450 w 647700"/>
              <a:gd name="connsiteY75" fmla="*/ 145257 h 647700"/>
              <a:gd name="connsiteX76" fmla="*/ 442119 w 647700"/>
              <a:gd name="connsiteY76" fmla="*/ 156369 h 647700"/>
              <a:gd name="connsiteX77" fmla="*/ 457994 w 647700"/>
              <a:gd name="connsiteY77" fmla="*/ 168275 h 647700"/>
              <a:gd name="connsiteX78" fmla="*/ 471488 w 647700"/>
              <a:gd name="connsiteY78" fmla="*/ 180975 h 647700"/>
              <a:gd name="connsiteX79" fmla="*/ 484982 w 647700"/>
              <a:gd name="connsiteY79" fmla="*/ 195263 h 647700"/>
              <a:gd name="connsiteX80" fmla="*/ 496888 w 647700"/>
              <a:gd name="connsiteY80" fmla="*/ 211138 h 647700"/>
              <a:gd name="connsiteX81" fmla="*/ 508000 w 647700"/>
              <a:gd name="connsiteY81" fmla="*/ 228600 h 647700"/>
              <a:gd name="connsiteX82" fmla="*/ 517526 w 647700"/>
              <a:gd name="connsiteY82" fmla="*/ 246857 h 647700"/>
              <a:gd name="connsiteX83" fmla="*/ 525463 w 647700"/>
              <a:gd name="connsiteY83" fmla="*/ 265113 h 647700"/>
              <a:gd name="connsiteX84" fmla="*/ 531813 w 647700"/>
              <a:gd name="connsiteY84" fmla="*/ 284957 h 647700"/>
              <a:gd name="connsiteX85" fmla="*/ 537369 w 647700"/>
              <a:gd name="connsiteY85" fmla="*/ 305594 h 647700"/>
              <a:gd name="connsiteX86" fmla="*/ 542132 w 647700"/>
              <a:gd name="connsiteY86" fmla="*/ 327819 h 647700"/>
              <a:gd name="connsiteX87" fmla="*/ 543719 w 647700"/>
              <a:gd name="connsiteY87" fmla="*/ 350838 h 647700"/>
              <a:gd name="connsiteX88" fmla="*/ 544513 w 647700"/>
              <a:gd name="connsiteY88" fmla="*/ 373857 h 647700"/>
              <a:gd name="connsiteX89" fmla="*/ 544513 w 647700"/>
              <a:gd name="connsiteY89" fmla="*/ 376238 h 647700"/>
              <a:gd name="connsiteX90" fmla="*/ 455657 w 647700"/>
              <a:gd name="connsiteY90" fmla="*/ 376238 h 647700"/>
              <a:gd name="connsiteX91" fmla="*/ 455722 w 647700"/>
              <a:gd name="connsiteY91" fmla="*/ 377850 h 647700"/>
              <a:gd name="connsiteX92" fmla="*/ 455722 w 647700"/>
              <a:gd name="connsiteY92" fmla="*/ 385763 h 647700"/>
              <a:gd name="connsiteX93" fmla="*/ 443049 w 647700"/>
              <a:gd name="connsiteY93" fmla="*/ 385763 h 647700"/>
              <a:gd name="connsiteX94" fmla="*/ 443049 w 647700"/>
              <a:gd name="connsiteY94" fmla="*/ 377850 h 647700"/>
              <a:gd name="connsiteX95" fmla="*/ 442982 w 647700"/>
              <a:gd name="connsiteY95" fmla="*/ 376238 h 647700"/>
              <a:gd name="connsiteX96" fmla="*/ 393150 w 647700"/>
              <a:gd name="connsiteY96" fmla="*/ 376238 h 647700"/>
              <a:gd name="connsiteX97" fmla="*/ 393150 w 647700"/>
              <a:gd name="connsiteY97" fmla="*/ 376268 h 647700"/>
              <a:gd name="connsiteX98" fmla="*/ 393150 w 647700"/>
              <a:gd name="connsiteY98" fmla="*/ 385763 h 647700"/>
              <a:gd name="connsiteX99" fmla="*/ 380477 w 647700"/>
              <a:gd name="connsiteY99" fmla="*/ 385763 h 647700"/>
              <a:gd name="connsiteX100" fmla="*/ 380477 w 647700"/>
              <a:gd name="connsiteY100" fmla="*/ 377059 h 647700"/>
              <a:gd name="connsiteX101" fmla="*/ 380477 w 647700"/>
              <a:gd name="connsiteY101" fmla="*/ 376238 h 647700"/>
              <a:gd name="connsiteX102" fmla="*/ 330578 w 647700"/>
              <a:gd name="connsiteY102" fmla="*/ 376238 h 647700"/>
              <a:gd name="connsiteX103" fmla="*/ 330578 w 647700"/>
              <a:gd name="connsiteY103" fmla="*/ 385763 h 647700"/>
              <a:gd name="connsiteX104" fmla="*/ 317905 w 647700"/>
              <a:gd name="connsiteY104" fmla="*/ 385763 h 647700"/>
              <a:gd name="connsiteX105" fmla="*/ 317905 w 647700"/>
              <a:gd name="connsiteY105" fmla="*/ 376238 h 647700"/>
              <a:gd name="connsiteX106" fmla="*/ 268006 w 647700"/>
              <a:gd name="connsiteY106" fmla="*/ 376238 h 647700"/>
              <a:gd name="connsiteX107" fmla="*/ 268006 w 647700"/>
              <a:gd name="connsiteY107" fmla="*/ 377059 h 647700"/>
              <a:gd name="connsiteX108" fmla="*/ 268006 w 647700"/>
              <a:gd name="connsiteY108" fmla="*/ 385763 h 647700"/>
              <a:gd name="connsiteX109" fmla="*/ 255333 w 647700"/>
              <a:gd name="connsiteY109" fmla="*/ 385763 h 647700"/>
              <a:gd name="connsiteX110" fmla="*/ 255333 w 647700"/>
              <a:gd name="connsiteY110" fmla="*/ 376268 h 647700"/>
              <a:gd name="connsiteX111" fmla="*/ 255333 w 647700"/>
              <a:gd name="connsiteY111" fmla="*/ 376238 h 647700"/>
              <a:gd name="connsiteX112" fmla="*/ 204708 w 647700"/>
              <a:gd name="connsiteY112" fmla="*/ 376238 h 647700"/>
              <a:gd name="connsiteX113" fmla="*/ 204641 w 647700"/>
              <a:gd name="connsiteY113" fmla="*/ 377850 h 647700"/>
              <a:gd name="connsiteX114" fmla="*/ 204641 w 647700"/>
              <a:gd name="connsiteY114" fmla="*/ 385763 h 647700"/>
              <a:gd name="connsiteX115" fmla="*/ 191969 w 647700"/>
              <a:gd name="connsiteY115" fmla="*/ 385763 h 647700"/>
              <a:gd name="connsiteX116" fmla="*/ 191969 w 647700"/>
              <a:gd name="connsiteY116" fmla="*/ 377059 h 647700"/>
              <a:gd name="connsiteX117" fmla="*/ 192002 w 647700"/>
              <a:gd name="connsiteY117" fmla="*/ 376238 h 647700"/>
              <a:gd name="connsiteX118" fmla="*/ 147426 w 647700"/>
              <a:gd name="connsiteY118" fmla="*/ 376238 h 647700"/>
              <a:gd name="connsiteX119" fmla="*/ 147614 w 647700"/>
              <a:gd name="connsiteY119" fmla="*/ 379433 h 647700"/>
              <a:gd name="connsiteX120" fmla="*/ 137317 w 647700"/>
              <a:gd name="connsiteY120" fmla="*/ 379433 h 647700"/>
              <a:gd name="connsiteX121" fmla="*/ 137226 w 647700"/>
              <a:gd name="connsiteY121" fmla="*/ 376238 h 647700"/>
              <a:gd name="connsiteX122" fmla="*/ 100013 w 647700"/>
              <a:gd name="connsiteY122" fmla="*/ 376238 h 647700"/>
              <a:gd name="connsiteX123" fmla="*/ 100013 w 647700"/>
              <a:gd name="connsiteY123" fmla="*/ 373857 h 647700"/>
              <a:gd name="connsiteX124" fmla="*/ 100807 w 647700"/>
              <a:gd name="connsiteY124" fmla="*/ 350838 h 647700"/>
              <a:gd name="connsiteX125" fmla="*/ 102394 w 647700"/>
              <a:gd name="connsiteY125" fmla="*/ 327819 h 647700"/>
              <a:gd name="connsiteX126" fmla="*/ 107157 w 647700"/>
              <a:gd name="connsiteY126" fmla="*/ 307182 h 647700"/>
              <a:gd name="connsiteX127" fmla="*/ 111919 w 647700"/>
              <a:gd name="connsiteY127" fmla="*/ 285750 h 647700"/>
              <a:gd name="connsiteX128" fmla="*/ 119063 w 647700"/>
              <a:gd name="connsiteY128" fmla="*/ 265907 h 647700"/>
              <a:gd name="connsiteX129" fmla="*/ 127000 w 647700"/>
              <a:gd name="connsiteY129" fmla="*/ 246857 h 647700"/>
              <a:gd name="connsiteX130" fmla="*/ 136526 w 647700"/>
              <a:gd name="connsiteY130" fmla="*/ 229394 h 647700"/>
              <a:gd name="connsiteX131" fmla="*/ 147638 w 647700"/>
              <a:gd name="connsiteY131" fmla="*/ 211932 h 647700"/>
              <a:gd name="connsiteX132" fmla="*/ 157957 w 647700"/>
              <a:gd name="connsiteY132" fmla="*/ 196057 h 647700"/>
              <a:gd name="connsiteX133" fmla="*/ 172244 w 647700"/>
              <a:gd name="connsiteY133" fmla="*/ 181769 h 647700"/>
              <a:gd name="connsiteX134" fmla="*/ 185738 w 647700"/>
              <a:gd name="connsiteY134" fmla="*/ 168275 h 647700"/>
              <a:gd name="connsiteX135" fmla="*/ 201613 w 647700"/>
              <a:gd name="connsiteY135" fmla="*/ 156369 h 647700"/>
              <a:gd name="connsiteX136" fmla="*/ 216694 w 647700"/>
              <a:gd name="connsiteY136" fmla="*/ 146050 h 647700"/>
              <a:gd name="connsiteX137" fmla="*/ 234157 w 647700"/>
              <a:gd name="connsiteY137" fmla="*/ 136525 h 647700"/>
              <a:gd name="connsiteX138" fmla="*/ 251619 w 647700"/>
              <a:gd name="connsiteY138" fmla="*/ 129382 h 647700"/>
              <a:gd name="connsiteX139" fmla="*/ 270669 w 647700"/>
              <a:gd name="connsiteY139" fmla="*/ 123825 h 647700"/>
              <a:gd name="connsiteX140" fmla="*/ 270669 w 647700"/>
              <a:gd name="connsiteY140" fmla="*/ 100013 h 647700"/>
              <a:gd name="connsiteX141" fmla="*/ 270669 w 647700"/>
              <a:gd name="connsiteY141" fmla="*/ 93663 h 647700"/>
              <a:gd name="connsiteX142" fmla="*/ 277019 w 647700"/>
              <a:gd name="connsiteY142" fmla="*/ 93663 h 647700"/>
              <a:gd name="connsiteX143" fmla="*/ 315913 w 647700"/>
              <a:gd name="connsiteY143" fmla="*/ 93663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647700" h="647700">
                <a:moveTo>
                  <a:pt x="603250" y="501650"/>
                </a:moveTo>
                <a:lnTo>
                  <a:pt x="633413" y="501650"/>
                </a:lnTo>
                <a:lnTo>
                  <a:pt x="633413" y="647700"/>
                </a:lnTo>
                <a:lnTo>
                  <a:pt x="603250" y="647700"/>
                </a:lnTo>
                <a:close/>
                <a:moveTo>
                  <a:pt x="550863" y="501650"/>
                </a:moveTo>
                <a:lnTo>
                  <a:pt x="579438" y="501650"/>
                </a:lnTo>
                <a:lnTo>
                  <a:pt x="579438" y="647700"/>
                </a:lnTo>
                <a:lnTo>
                  <a:pt x="550863" y="647700"/>
                </a:lnTo>
                <a:close/>
                <a:moveTo>
                  <a:pt x="496888" y="501650"/>
                </a:moveTo>
                <a:lnTo>
                  <a:pt x="527051" y="501650"/>
                </a:lnTo>
                <a:lnTo>
                  <a:pt x="527051" y="647700"/>
                </a:lnTo>
                <a:lnTo>
                  <a:pt x="496888" y="647700"/>
                </a:lnTo>
                <a:close/>
                <a:moveTo>
                  <a:pt x="442913" y="501650"/>
                </a:moveTo>
                <a:lnTo>
                  <a:pt x="473076" y="501650"/>
                </a:lnTo>
                <a:lnTo>
                  <a:pt x="473076" y="647700"/>
                </a:lnTo>
                <a:lnTo>
                  <a:pt x="442913" y="647700"/>
                </a:lnTo>
                <a:close/>
                <a:moveTo>
                  <a:pt x="390525" y="501650"/>
                </a:moveTo>
                <a:lnTo>
                  <a:pt x="419100" y="501650"/>
                </a:lnTo>
                <a:lnTo>
                  <a:pt x="419100" y="647700"/>
                </a:lnTo>
                <a:lnTo>
                  <a:pt x="390525" y="647700"/>
                </a:lnTo>
                <a:close/>
                <a:moveTo>
                  <a:pt x="336550" y="501650"/>
                </a:moveTo>
                <a:lnTo>
                  <a:pt x="366713" y="501650"/>
                </a:lnTo>
                <a:lnTo>
                  <a:pt x="366713" y="647700"/>
                </a:lnTo>
                <a:lnTo>
                  <a:pt x="336550" y="647700"/>
                </a:lnTo>
                <a:close/>
                <a:moveTo>
                  <a:pt x="284163" y="501650"/>
                </a:moveTo>
                <a:lnTo>
                  <a:pt x="312738" y="501650"/>
                </a:lnTo>
                <a:lnTo>
                  <a:pt x="312738" y="647700"/>
                </a:lnTo>
                <a:lnTo>
                  <a:pt x="284163" y="647700"/>
                </a:lnTo>
                <a:close/>
                <a:moveTo>
                  <a:pt x="230188" y="501650"/>
                </a:moveTo>
                <a:lnTo>
                  <a:pt x="258763" y="501650"/>
                </a:lnTo>
                <a:lnTo>
                  <a:pt x="258763" y="647700"/>
                </a:lnTo>
                <a:lnTo>
                  <a:pt x="230188" y="647700"/>
                </a:lnTo>
                <a:close/>
                <a:moveTo>
                  <a:pt x="176213" y="501650"/>
                </a:moveTo>
                <a:lnTo>
                  <a:pt x="206376" y="501650"/>
                </a:lnTo>
                <a:lnTo>
                  <a:pt x="206376" y="647700"/>
                </a:lnTo>
                <a:lnTo>
                  <a:pt x="176213" y="647700"/>
                </a:lnTo>
                <a:close/>
                <a:moveTo>
                  <a:pt x="122238" y="501650"/>
                </a:moveTo>
                <a:lnTo>
                  <a:pt x="152401" y="501650"/>
                </a:lnTo>
                <a:lnTo>
                  <a:pt x="152401" y="647700"/>
                </a:lnTo>
                <a:lnTo>
                  <a:pt x="122238" y="647700"/>
                </a:lnTo>
                <a:close/>
                <a:moveTo>
                  <a:pt x="69850" y="501650"/>
                </a:moveTo>
                <a:lnTo>
                  <a:pt x="98425" y="501650"/>
                </a:lnTo>
                <a:lnTo>
                  <a:pt x="98425" y="647700"/>
                </a:lnTo>
                <a:lnTo>
                  <a:pt x="69850" y="647700"/>
                </a:lnTo>
                <a:close/>
                <a:moveTo>
                  <a:pt x="15875" y="501650"/>
                </a:moveTo>
                <a:lnTo>
                  <a:pt x="44450" y="501650"/>
                </a:lnTo>
                <a:lnTo>
                  <a:pt x="44450" y="647700"/>
                </a:lnTo>
                <a:lnTo>
                  <a:pt x="15875" y="647700"/>
                </a:lnTo>
                <a:close/>
                <a:moveTo>
                  <a:pt x="0" y="444500"/>
                </a:moveTo>
                <a:lnTo>
                  <a:pt x="647700" y="444500"/>
                </a:lnTo>
                <a:lnTo>
                  <a:pt x="647700" y="487363"/>
                </a:lnTo>
                <a:lnTo>
                  <a:pt x="0" y="487363"/>
                </a:lnTo>
                <a:close/>
                <a:moveTo>
                  <a:pt x="107950" y="392113"/>
                </a:moveTo>
                <a:lnTo>
                  <a:pt x="539750" y="392113"/>
                </a:lnTo>
                <a:lnTo>
                  <a:pt x="539750" y="423863"/>
                </a:lnTo>
                <a:lnTo>
                  <a:pt x="107950" y="423863"/>
                </a:lnTo>
                <a:close/>
                <a:moveTo>
                  <a:pt x="204788" y="385763"/>
                </a:moveTo>
                <a:lnTo>
                  <a:pt x="206376" y="385763"/>
                </a:lnTo>
                <a:lnTo>
                  <a:pt x="206376" y="387351"/>
                </a:lnTo>
                <a:lnTo>
                  <a:pt x="204788" y="387351"/>
                </a:lnTo>
                <a:close/>
                <a:moveTo>
                  <a:pt x="331788" y="0"/>
                </a:moveTo>
                <a:lnTo>
                  <a:pt x="404813" y="0"/>
                </a:lnTo>
                <a:lnTo>
                  <a:pt x="404813" y="52388"/>
                </a:lnTo>
                <a:lnTo>
                  <a:pt x="331788" y="52388"/>
                </a:lnTo>
                <a:close/>
                <a:moveTo>
                  <a:pt x="315913" y="0"/>
                </a:moveTo>
                <a:lnTo>
                  <a:pt x="325438" y="0"/>
                </a:lnTo>
                <a:lnTo>
                  <a:pt x="325438" y="93663"/>
                </a:lnTo>
                <a:lnTo>
                  <a:pt x="365919" y="93663"/>
                </a:lnTo>
                <a:lnTo>
                  <a:pt x="371476" y="93663"/>
                </a:lnTo>
                <a:lnTo>
                  <a:pt x="371476" y="100013"/>
                </a:lnTo>
                <a:lnTo>
                  <a:pt x="371476" y="105569"/>
                </a:lnTo>
                <a:lnTo>
                  <a:pt x="371476" y="111919"/>
                </a:lnTo>
                <a:lnTo>
                  <a:pt x="371476" y="123825"/>
                </a:lnTo>
                <a:lnTo>
                  <a:pt x="390526" y="129382"/>
                </a:lnTo>
                <a:lnTo>
                  <a:pt x="408782" y="136525"/>
                </a:lnTo>
                <a:lnTo>
                  <a:pt x="425450" y="145257"/>
                </a:lnTo>
                <a:lnTo>
                  <a:pt x="442119" y="156369"/>
                </a:lnTo>
                <a:lnTo>
                  <a:pt x="457994" y="168275"/>
                </a:lnTo>
                <a:lnTo>
                  <a:pt x="471488" y="180975"/>
                </a:lnTo>
                <a:lnTo>
                  <a:pt x="484982" y="195263"/>
                </a:lnTo>
                <a:lnTo>
                  <a:pt x="496888" y="211138"/>
                </a:lnTo>
                <a:lnTo>
                  <a:pt x="508000" y="228600"/>
                </a:lnTo>
                <a:lnTo>
                  <a:pt x="517526" y="246857"/>
                </a:lnTo>
                <a:lnTo>
                  <a:pt x="525463" y="265113"/>
                </a:lnTo>
                <a:lnTo>
                  <a:pt x="531813" y="284957"/>
                </a:lnTo>
                <a:lnTo>
                  <a:pt x="537369" y="305594"/>
                </a:lnTo>
                <a:lnTo>
                  <a:pt x="542132" y="327819"/>
                </a:lnTo>
                <a:lnTo>
                  <a:pt x="543719" y="350838"/>
                </a:lnTo>
                <a:lnTo>
                  <a:pt x="544513" y="373857"/>
                </a:lnTo>
                <a:lnTo>
                  <a:pt x="544513" y="376238"/>
                </a:lnTo>
                <a:lnTo>
                  <a:pt x="455657" y="376238"/>
                </a:lnTo>
                <a:lnTo>
                  <a:pt x="455722" y="377850"/>
                </a:lnTo>
                <a:lnTo>
                  <a:pt x="455722" y="385763"/>
                </a:lnTo>
                <a:lnTo>
                  <a:pt x="443049" y="385763"/>
                </a:lnTo>
                <a:lnTo>
                  <a:pt x="443049" y="377850"/>
                </a:lnTo>
                <a:lnTo>
                  <a:pt x="442982" y="376238"/>
                </a:lnTo>
                <a:lnTo>
                  <a:pt x="393150" y="376238"/>
                </a:lnTo>
                <a:lnTo>
                  <a:pt x="393150" y="376268"/>
                </a:lnTo>
                <a:lnTo>
                  <a:pt x="393150" y="385763"/>
                </a:lnTo>
                <a:lnTo>
                  <a:pt x="380477" y="385763"/>
                </a:lnTo>
                <a:lnTo>
                  <a:pt x="380477" y="377059"/>
                </a:lnTo>
                <a:lnTo>
                  <a:pt x="380477" y="376238"/>
                </a:lnTo>
                <a:lnTo>
                  <a:pt x="330578" y="376238"/>
                </a:lnTo>
                <a:lnTo>
                  <a:pt x="330578" y="385763"/>
                </a:lnTo>
                <a:lnTo>
                  <a:pt x="317905" y="385763"/>
                </a:lnTo>
                <a:lnTo>
                  <a:pt x="317905" y="376238"/>
                </a:lnTo>
                <a:lnTo>
                  <a:pt x="268006" y="376238"/>
                </a:lnTo>
                <a:lnTo>
                  <a:pt x="268006" y="377059"/>
                </a:lnTo>
                <a:lnTo>
                  <a:pt x="268006" y="385763"/>
                </a:lnTo>
                <a:lnTo>
                  <a:pt x="255333" y="385763"/>
                </a:lnTo>
                <a:lnTo>
                  <a:pt x="255333" y="376268"/>
                </a:lnTo>
                <a:lnTo>
                  <a:pt x="255333" y="376238"/>
                </a:lnTo>
                <a:lnTo>
                  <a:pt x="204708" y="376238"/>
                </a:lnTo>
                <a:lnTo>
                  <a:pt x="204641" y="377850"/>
                </a:lnTo>
                <a:lnTo>
                  <a:pt x="204641" y="385763"/>
                </a:lnTo>
                <a:lnTo>
                  <a:pt x="191969" y="385763"/>
                </a:lnTo>
                <a:lnTo>
                  <a:pt x="191969" y="377059"/>
                </a:lnTo>
                <a:lnTo>
                  <a:pt x="192002" y="376238"/>
                </a:lnTo>
                <a:lnTo>
                  <a:pt x="147426" y="376238"/>
                </a:lnTo>
                <a:lnTo>
                  <a:pt x="147614" y="379433"/>
                </a:lnTo>
                <a:lnTo>
                  <a:pt x="137317" y="379433"/>
                </a:lnTo>
                <a:lnTo>
                  <a:pt x="137226" y="376238"/>
                </a:lnTo>
                <a:lnTo>
                  <a:pt x="100013" y="376238"/>
                </a:lnTo>
                <a:lnTo>
                  <a:pt x="100013" y="373857"/>
                </a:lnTo>
                <a:lnTo>
                  <a:pt x="100807" y="350838"/>
                </a:lnTo>
                <a:lnTo>
                  <a:pt x="102394" y="327819"/>
                </a:lnTo>
                <a:lnTo>
                  <a:pt x="107157" y="307182"/>
                </a:lnTo>
                <a:lnTo>
                  <a:pt x="111919" y="285750"/>
                </a:lnTo>
                <a:lnTo>
                  <a:pt x="119063" y="265907"/>
                </a:lnTo>
                <a:lnTo>
                  <a:pt x="127000" y="246857"/>
                </a:lnTo>
                <a:lnTo>
                  <a:pt x="136526" y="229394"/>
                </a:lnTo>
                <a:lnTo>
                  <a:pt x="147638" y="211932"/>
                </a:lnTo>
                <a:lnTo>
                  <a:pt x="157957" y="196057"/>
                </a:lnTo>
                <a:lnTo>
                  <a:pt x="172244" y="181769"/>
                </a:lnTo>
                <a:lnTo>
                  <a:pt x="185738" y="168275"/>
                </a:lnTo>
                <a:lnTo>
                  <a:pt x="201613" y="156369"/>
                </a:lnTo>
                <a:lnTo>
                  <a:pt x="216694" y="146050"/>
                </a:lnTo>
                <a:lnTo>
                  <a:pt x="234157" y="136525"/>
                </a:lnTo>
                <a:lnTo>
                  <a:pt x="251619" y="129382"/>
                </a:lnTo>
                <a:lnTo>
                  <a:pt x="270669" y="123825"/>
                </a:lnTo>
                <a:lnTo>
                  <a:pt x="270669" y="100013"/>
                </a:lnTo>
                <a:lnTo>
                  <a:pt x="270669" y="93663"/>
                </a:lnTo>
                <a:lnTo>
                  <a:pt x="277019" y="93663"/>
                </a:lnTo>
                <a:lnTo>
                  <a:pt x="315913" y="93663"/>
                </a:lnTo>
                <a:close/>
              </a:path>
            </a:pathLst>
          </a:custGeom>
          <a:solidFill>
            <a:schemeClr val="accent1"/>
          </a:solidFill>
          <a:ln>
            <a:noFill/>
          </a:ln>
          <a:extLst/>
        </p:spPr>
        <p:txBody>
          <a:bodyPr vert="horz" wrap="square" lIns="91415" tIns="45707" rIns="91415" bIns="45707"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42" name="Group 41"/>
          <p:cNvGrpSpPr/>
          <p:nvPr userDrawn="1"/>
        </p:nvGrpSpPr>
        <p:grpSpPr>
          <a:xfrm>
            <a:off x="3556809" y="6680712"/>
            <a:ext cx="124545" cy="268852"/>
            <a:chOff x="9197851" y="6405436"/>
            <a:chExt cx="124545" cy="268852"/>
          </a:xfrm>
        </p:grpSpPr>
        <p:sp>
          <p:nvSpPr>
            <p:cNvPr id="39"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43" name="Group 42"/>
          <p:cNvGrpSpPr/>
          <p:nvPr userDrawn="1"/>
        </p:nvGrpSpPr>
        <p:grpSpPr>
          <a:xfrm>
            <a:off x="11955085" y="6680712"/>
            <a:ext cx="124545" cy="268852"/>
            <a:chOff x="9197851" y="6405436"/>
            <a:chExt cx="124545" cy="268852"/>
          </a:xfrm>
        </p:grpSpPr>
        <p:sp>
          <p:nvSpPr>
            <p:cNvPr id="44"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49" name="Group 48"/>
          <p:cNvGrpSpPr/>
          <p:nvPr userDrawn="1"/>
        </p:nvGrpSpPr>
        <p:grpSpPr>
          <a:xfrm>
            <a:off x="680443" y="6369994"/>
            <a:ext cx="124545" cy="268852"/>
            <a:chOff x="9197851" y="6405436"/>
            <a:chExt cx="124545" cy="268852"/>
          </a:xfrm>
        </p:grpSpPr>
        <p:sp>
          <p:nvSpPr>
            <p:cNvPr id="50"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1"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18429928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5_36pt Title/26pt Bullet Text">
    <p:spTree>
      <p:nvGrpSpPr>
        <p:cNvPr id="1" name=""/>
        <p:cNvGrpSpPr/>
        <p:nvPr/>
      </p:nvGrpSpPr>
      <p:grpSpPr>
        <a:xfrm>
          <a:off x="0" y="0"/>
          <a:ext cx="0" cy="0"/>
          <a:chOff x="0" y="0"/>
          <a:chExt cx="0" cy="0"/>
        </a:xfrm>
      </p:grpSpPr>
      <p:grpSp>
        <p:nvGrpSpPr>
          <p:cNvPr id="6" name="Group 5"/>
          <p:cNvGrpSpPr/>
          <p:nvPr userDrawn="1"/>
        </p:nvGrpSpPr>
        <p:grpSpPr>
          <a:xfrm>
            <a:off x="0" y="5920693"/>
            <a:ext cx="12436475" cy="1073832"/>
            <a:chOff x="-1" y="5930185"/>
            <a:chExt cx="12436475" cy="1073832"/>
          </a:xfrm>
        </p:grpSpPr>
        <p:sp>
          <p:nvSpPr>
            <p:cNvPr id="17" name="Freeform 20"/>
            <p:cNvSpPr>
              <a:spLocks/>
            </p:cNvSpPr>
            <p:nvPr/>
          </p:nvSpPr>
          <p:spPr bwMode="auto">
            <a:xfrm>
              <a:off x="8352953" y="6290150"/>
              <a:ext cx="634144" cy="668147"/>
            </a:xfrm>
            <a:custGeom>
              <a:avLst/>
              <a:gdLst>
                <a:gd name="T0" fmla="*/ 295 w 539"/>
                <a:gd name="T1" fmla="*/ 77 h 711"/>
                <a:gd name="T2" fmla="*/ 295 w 539"/>
                <a:gd name="T3" fmla="*/ 0 h 711"/>
                <a:gd name="T4" fmla="*/ 105 w 539"/>
                <a:gd name="T5" fmla="*/ 0 h 711"/>
                <a:gd name="T6" fmla="*/ 105 w 539"/>
                <a:gd name="T7" fmla="*/ 77 h 711"/>
                <a:gd name="T8" fmla="*/ 0 w 539"/>
                <a:gd name="T9" fmla="*/ 77 h 711"/>
                <a:gd name="T10" fmla="*/ 0 w 539"/>
                <a:gd name="T11" fmla="*/ 95 h 711"/>
                <a:gd name="T12" fmla="*/ 23 w 539"/>
                <a:gd name="T13" fmla="*/ 95 h 711"/>
                <a:gd name="T14" fmla="*/ 23 w 539"/>
                <a:gd name="T15" fmla="*/ 711 h 711"/>
                <a:gd name="T16" fmla="*/ 515 w 539"/>
                <a:gd name="T17" fmla="*/ 711 h 711"/>
                <a:gd name="T18" fmla="*/ 515 w 539"/>
                <a:gd name="T19" fmla="*/ 95 h 711"/>
                <a:gd name="T20" fmla="*/ 539 w 539"/>
                <a:gd name="T21" fmla="*/ 95 h 711"/>
                <a:gd name="T22" fmla="*/ 539 w 539"/>
                <a:gd name="T23" fmla="*/ 77 h 711"/>
                <a:gd name="T24" fmla="*/ 295 w 539"/>
                <a:gd name="T25" fmla="*/ 77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9" h="711">
                  <a:moveTo>
                    <a:pt x="295" y="77"/>
                  </a:moveTo>
                  <a:lnTo>
                    <a:pt x="295" y="0"/>
                  </a:lnTo>
                  <a:lnTo>
                    <a:pt x="105" y="0"/>
                  </a:lnTo>
                  <a:lnTo>
                    <a:pt x="105" y="77"/>
                  </a:lnTo>
                  <a:lnTo>
                    <a:pt x="0" y="77"/>
                  </a:lnTo>
                  <a:lnTo>
                    <a:pt x="0" y="95"/>
                  </a:lnTo>
                  <a:lnTo>
                    <a:pt x="23" y="95"/>
                  </a:lnTo>
                  <a:lnTo>
                    <a:pt x="23" y="711"/>
                  </a:lnTo>
                  <a:lnTo>
                    <a:pt x="515" y="711"/>
                  </a:lnTo>
                  <a:lnTo>
                    <a:pt x="515" y="95"/>
                  </a:lnTo>
                  <a:lnTo>
                    <a:pt x="539" y="95"/>
                  </a:lnTo>
                  <a:lnTo>
                    <a:pt x="539" y="77"/>
                  </a:lnTo>
                  <a:lnTo>
                    <a:pt x="295" y="77"/>
                  </a:ln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Rectangle 34"/>
            <p:cNvSpPr>
              <a:spLocks noChangeArrowheads="1"/>
            </p:cNvSpPr>
            <p:nvPr/>
          </p:nvSpPr>
          <p:spPr bwMode="auto">
            <a:xfrm flipH="1">
              <a:off x="-1" y="6953678"/>
              <a:ext cx="12436475" cy="5033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0" name="Group 9"/>
            <p:cNvGrpSpPr/>
            <p:nvPr/>
          </p:nvGrpSpPr>
          <p:grpSpPr>
            <a:xfrm flipH="1">
              <a:off x="3715135" y="6560578"/>
              <a:ext cx="203193" cy="393100"/>
              <a:chOff x="6812419" y="6555317"/>
              <a:chExt cx="203193" cy="393100"/>
            </a:xfrm>
          </p:grpSpPr>
          <p:sp>
            <p:nvSpPr>
              <p:cNvPr id="68" name="Rectangle 35"/>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9" name="Oval 36"/>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0" name="Oval 37"/>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1" name="Group 10"/>
            <p:cNvGrpSpPr/>
            <p:nvPr/>
          </p:nvGrpSpPr>
          <p:grpSpPr>
            <a:xfrm flipH="1">
              <a:off x="3447858" y="6560578"/>
              <a:ext cx="204756" cy="393100"/>
              <a:chOff x="7078133" y="6555317"/>
              <a:chExt cx="204756" cy="393100"/>
            </a:xfrm>
          </p:grpSpPr>
          <p:sp>
            <p:nvSpPr>
              <p:cNvPr id="65" name="Rectangle 38"/>
              <p:cNvSpPr>
                <a:spLocks noChangeArrowheads="1"/>
              </p:cNvSpPr>
              <p:nvPr/>
            </p:nvSpPr>
            <p:spPr bwMode="auto">
              <a:xfrm>
                <a:off x="7161754" y="6795241"/>
                <a:ext cx="39857"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6" name="Oval 39"/>
              <p:cNvSpPr>
                <a:spLocks noChangeArrowheads="1"/>
              </p:cNvSpPr>
              <p:nvPr/>
            </p:nvSpPr>
            <p:spPr bwMode="auto">
              <a:xfrm>
                <a:off x="7078133" y="6660039"/>
                <a:ext cx="204756"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7" name="Oval 40"/>
              <p:cNvSpPr>
                <a:spLocks noChangeArrowheads="1"/>
              </p:cNvSpPr>
              <p:nvPr/>
            </p:nvSpPr>
            <p:spPr bwMode="auto">
              <a:xfrm>
                <a:off x="7106267" y="6555317"/>
                <a:ext cx="149269"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2" name="Group 11"/>
            <p:cNvGrpSpPr/>
            <p:nvPr/>
          </p:nvGrpSpPr>
          <p:grpSpPr>
            <a:xfrm flipH="1">
              <a:off x="2393357" y="5930185"/>
              <a:ext cx="779166" cy="1028469"/>
              <a:chOff x="10027859" y="5966057"/>
              <a:chExt cx="779166" cy="1028469"/>
            </a:xfrm>
          </p:grpSpPr>
          <p:sp>
            <p:nvSpPr>
              <p:cNvPr id="40" name="Rectangle 10"/>
              <p:cNvSpPr>
                <a:spLocks noChangeArrowheads="1"/>
              </p:cNvSpPr>
              <p:nvPr/>
            </p:nvSpPr>
            <p:spPr bwMode="auto">
              <a:xfrm>
                <a:off x="10063027" y="6104385"/>
                <a:ext cx="708830" cy="89014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Rectangle 11"/>
              <p:cNvSpPr>
                <a:spLocks noChangeArrowheads="1"/>
              </p:cNvSpPr>
              <p:nvPr/>
            </p:nvSpPr>
            <p:spPr bwMode="auto">
              <a:xfrm>
                <a:off x="10027859" y="6077032"/>
                <a:ext cx="779166" cy="27353"/>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 name="Rectangle 12"/>
              <p:cNvSpPr>
                <a:spLocks noChangeArrowheads="1"/>
              </p:cNvSpPr>
              <p:nvPr/>
            </p:nvSpPr>
            <p:spPr bwMode="auto">
              <a:xfrm>
                <a:off x="10129455" y="6185662"/>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 name="Rectangle 13"/>
              <p:cNvSpPr>
                <a:spLocks noChangeArrowheads="1"/>
              </p:cNvSpPr>
              <p:nvPr/>
            </p:nvSpPr>
            <p:spPr bwMode="auto">
              <a:xfrm>
                <a:off x="10129455" y="6185662"/>
                <a:ext cx="92218" cy="46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 name="Rectangle 14"/>
              <p:cNvSpPr>
                <a:spLocks noChangeArrowheads="1"/>
              </p:cNvSpPr>
              <p:nvPr/>
            </p:nvSpPr>
            <p:spPr bwMode="auto">
              <a:xfrm>
                <a:off x="10289665" y="6185662"/>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 name="Rectangle 15"/>
              <p:cNvSpPr>
                <a:spLocks noChangeArrowheads="1"/>
              </p:cNvSpPr>
              <p:nvPr/>
            </p:nvSpPr>
            <p:spPr bwMode="auto">
              <a:xfrm>
                <a:off x="10448311" y="6185662"/>
                <a:ext cx="93000"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 name="Rectangle 16"/>
              <p:cNvSpPr>
                <a:spLocks noChangeArrowheads="1"/>
              </p:cNvSpPr>
              <p:nvPr/>
            </p:nvSpPr>
            <p:spPr bwMode="auto">
              <a:xfrm>
                <a:off x="10289665" y="6813997"/>
                <a:ext cx="92218" cy="18052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Rectangle 17"/>
              <p:cNvSpPr>
                <a:spLocks noChangeArrowheads="1"/>
              </p:cNvSpPr>
              <p:nvPr/>
            </p:nvSpPr>
            <p:spPr bwMode="auto">
              <a:xfrm>
                <a:off x="10448311" y="6813997"/>
                <a:ext cx="93000" cy="18052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Rectangle 18"/>
              <p:cNvSpPr>
                <a:spLocks noChangeArrowheads="1"/>
              </p:cNvSpPr>
              <p:nvPr/>
            </p:nvSpPr>
            <p:spPr bwMode="auto">
              <a:xfrm>
                <a:off x="10609302" y="6185662"/>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Rectangle 19"/>
              <p:cNvSpPr>
                <a:spLocks noChangeArrowheads="1"/>
              </p:cNvSpPr>
              <p:nvPr/>
            </p:nvSpPr>
            <p:spPr bwMode="auto">
              <a:xfrm>
                <a:off x="10129455" y="6344309"/>
                <a:ext cx="92218" cy="930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Rectangle 20"/>
              <p:cNvSpPr>
                <a:spLocks noChangeArrowheads="1"/>
              </p:cNvSpPr>
              <p:nvPr/>
            </p:nvSpPr>
            <p:spPr bwMode="auto">
              <a:xfrm>
                <a:off x="10289665" y="6344309"/>
                <a:ext cx="92218" cy="9300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1" name="Rectangle 21"/>
              <p:cNvSpPr>
                <a:spLocks noChangeArrowheads="1"/>
              </p:cNvSpPr>
              <p:nvPr/>
            </p:nvSpPr>
            <p:spPr bwMode="auto">
              <a:xfrm>
                <a:off x="10448311" y="6344309"/>
                <a:ext cx="93000" cy="9300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Rectangle 22"/>
              <p:cNvSpPr>
                <a:spLocks noChangeArrowheads="1"/>
              </p:cNvSpPr>
              <p:nvPr/>
            </p:nvSpPr>
            <p:spPr bwMode="auto">
              <a:xfrm>
                <a:off x="10609302" y="6344309"/>
                <a:ext cx="92218" cy="930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3" name="Rectangle 23"/>
              <p:cNvSpPr>
                <a:spLocks noChangeArrowheads="1"/>
              </p:cNvSpPr>
              <p:nvPr/>
            </p:nvSpPr>
            <p:spPr bwMode="auto">
              <a:xfrm>
                <a:off x="10129455" y="6505300"/>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4" name="Rectangle 24"/>
              <p:cNvSpPr>
                <a:spLocks noChangeArrowheads="1"/>
              </p:cNvSpPr>
              <p:nvPr/>
            </p:nvSpPr>
            <p:spPr bwMode="auto">
              <a:xfrm>
                <a:off x="10289665" y="6505300"/>
                <a:ext cx="92218"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5" name="Rectangle 25"/>
              <p:cNvSpPr>
                <a:spLocks noChangeArrowheads="1"/>
              </p:cNvSpPr>
              <p:nvPr/>
            </p:nvSpPr>
            <p:spPr bwMode="auto">
              <a:xfrm>
                <a:off x="10448311" y="6505300"/>
                <a:ext cx="93000"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6" name="Rectangle 26"/>
              <p:cNvSpPr>
                <a:spLocks noChangeArrowheads="1"/>
              </p:cNvSpPr>
              <p:nvPr/>
            </p:nvSpPr>
            <p:spPr bwMode="auto">
              <a:xfrm>
                <a:off x="10609302" y="6505300"/>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7" name="Rectangle 27"/>
              <p:cNvSpPr>
                <a:spLocks noChangeArrowheads="1"/>
              </p:cNvSpPr>
              <p:nvPr/>
            </p:nvSpPr>
            <p:spPr bwMode="auto">
              <a:xfrm>
                <a:off x="10129455" y="6663947"/>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8" name="Rectangle 28"/>
              <p:cNvSpPr>
                <a:spLocks noChangeArrowheads="1"/>
              </p:cNvSpPr>
              <p:nvPr/>
            </p:nvSpPr>
            <p:spPr bwMode="auto">
              <a:xfrm>
                <a:off x="10289665" y="6663947"/>
                <a:ext cx="92218"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9" name="Rectangle 29"/>
              <p:cNvSpPr>
                <a:spLocks noChangeArrowheads="1"/>
              </p:cNvSpPr>
              <p:nvPr/>
            </p:nvSpPr>
            <p:spPr bwMode="auto">
              <a:xfrm>
                <a:off x="10448311" y="6663947"/>
                <a:ext cx="93000"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0" name="Rectangle 30"/>
              <p:cNvSpPr>
                <a:spLocks noChangeArrowheads="1"/>
              </p:cNvSpPr>
              <p:nvPr/>
            </p:nvSpPr>
            <p:spPr bwMode="auto">
              <a:xfrm>
                <a:off x="10609302" y="6663947"/>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1" name="Rectangle 31"/>
              <p:cNvSpPr>
                <a:spLocks noChangeArrowheads="1"/>
              </p:cNvSpPr>
              <p:nvPr/>
            </p:nvSpPr>
            <p:spPr bwMode="auto">
              <a:xfrm>
                <a:off x="10129455" y="6505300"/>
                <a:ext cx="92218" cy="46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2" name="Rectangle 32"/>
              <p:cNvSpPr>
                <a:spLocks noChangeArrowheads="1"/>
              </p:cNvSpPr>
              <p:nvPr/>
            </p:nvSpPr>
            <p:spPr bwMode="auto">
              <a:xfrm>
                <a:off x="10609302" y="6505300"/>
                <a:ext cx="92218" cy="46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3" name="Rectangle 33"/>
              <p:cNvSpPr>
                <a:spLocks noChangeArrowheads="1"/>
              </p:cNvSpPr>
              <p:nvPr/>
            </p:nvSpPr>
            <p:spPr bwMode="auto">
              <a:xfrm>
                <a:off x="10609302" y="6344309"/>
                <a:ext cx="92218" cy="46891"/>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4" name="Rectangle 41"/>
              <p:cNvSpPr>
                <a:spLocks noChangeArrowheads="1"/>
              </p:cNvSpPr>
              <p:nvPr/>
            </p:nvSpPr>
            <p:spPr bwMode="auto">
              <a:xfrm>
                <a:off x="10381881" y="5966057"/>
                <a:ext cx="273529" cy="11097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3" name="Group 12"/>
            <p:cNvGrpSpPr/>
            <p:nvPr/>
          </p:nvGrpSpPr>
          <p:grpSpPr>
            <a:xfrm flipH="1">
              <a:off x="2120803" y="6565197"/>
              <a:ext cx="204756" cy="393100"/>
              <a:chOff x="7078133" y="6555317"/>
              <a:chExt cx="204756" cy="393100"/>
            </a:xfrm>
          </p:grpSpPr>
          <p:sp>
            <p:nvSpPr>
              <p:cNvPr id="37" name="Rectangle 36"/>
              <p:cNvSpPr>
                <a:spLocks noChangeArrowheads="1"/>
              </p:cNvSpPr>
              <p:nvPr/>
            </p:nvSpPr>
            <p:spPr bwMode="auto">
              <a:xfrm>
                <a:off x="7161754" y="6795241"/>
                <a:ext cx="39857"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Oval 37"/>
              <p:cNvSpPr>
                <a:spLocks noChangeArrowheads="1"/>
              </p:cNvSpPr>
              <p:nvPr/>
            </p:nvSpPr>
            <p:spPr bwMode="auto">
              <a:xfrm>
                <a:off x="7078133" y="6660039"/>
                <a:ext cx="204756"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Oval 38"/>
              <p:cNvSpPr>
                <a:spLocks noChangeArrowheads="1"/>
              </p:cNvSpPr>
              <p:nvPr/>
            </p:nvSpPr>
            <p:spPr bwMode="auto">
              <a:xfrm>
                <a:off x="7106267" y="6555317"/>
                <a:ext cx="149269"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4" name="Group 13"/>
            <p:cNvGrpSpPr/>
            <p:nvPr/>
          </p:nvGrpSpPr>
          <p:grpSpPr>
            <a:xfrm flipH="1">
              <a:off x="5633976" y="6560578"/>
              <a:ext cx="203193" cy="393100"/>
              <a:chOff x="6812419" y="6555317"/>
              <a:chExt cx="203193" cy="393100"/>
            </a:xfrm>
          </p:grpSpPr>
          <p:sp>
            <p:nvSpPr>
              <p:cNvPr id="34" name="Rectangle 33"/>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 name="Oval 34"/>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Oval 35"/>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5" name="Freeform 7"/>
            <p:cNvSpPr>
              <a:spLocks/>
            </p:cNvSpPr>
            <p:nvPr/>
          </p:nvSpPr>
          <p:spPr bwMode="auto">
            <a:xfrm>
              <a:off x="7952093" y="6378707"/>
              <a:ext cx="190768" cy="574971"/>
            </a:xfrm>
            <a:custGeom>
              <a:avLst/>
              <a:gdLst>
                <a:gd name="T0" fmla="*/ 80 w 143"/>
                <a:gd name="T1" fmla="*/ 0 h 431"/>
                <a:gd name="T2" fmla="*/ 0 w 143"/>
                <a:gd name="T3" fmla="*/ 431 h 431"/>
                <a:gd name="T4" fmla="*/ 143 w 143"/>
                <a:gd name="T5" fmla="*/ 431 h 431"/>
                <a:gd name="T6" fmla="*/ 80 w 143"/>
                <a:gd name="T7" fmla="*/ 0 h 431"/>
              </a:gdLst>
              <a:ahLst/>
              <a:cxnLst>
                <a:cxn ang="0">
                  <a:pos x="T0" y="T1"/>
                </a:cxn>
                <a:cxn ang="0">
                  <a:pos x="T2" y="T3"/>
                </a:cxn>
                <a:cxn ang="0">
                  <a:pos x="T4" y="T5"/>
                </a:cxn>
                <a:cxn ang="0">
                  <a:pos x="T6" y="T7"/>
                </a:cxn>
              </a:cxnLst>
              <a:rect l="0" t="0" r="r" b="b"/>
              <a:pathLst>
                <a:path w="143" h="431">
                  <a:moveTo>
                    <a:pt x="80" y="0"/>
                  </a:moveTo>
                  <a:lnTo>
                    <a:pt x="0" y="431"/>
                  </a:lnTo>
                  <a:lnTo>
                    <a:pt x="143" y="431"/>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 name="Freeform 8"/>
            <p:cNvSpPr>
              <a:spLocks/>
            </p:cNvSpPr>
            <p:nvPr/>
          </p:nvSpPr>
          <p:spPr bwMode="auto">
            <a:xfrm>
              <a:off x="8110844" y="6646015"/>
              <a:ext cx="130594" cy="307663"/>
            </a:xfrm>
            <a:custGeom>
              <a:avLst/>
              <a:gdLst>
                <a:gd name="T0" fmla="*/ 62 w 111"/>
                <a:gd name="T1" fmla="*/ 0 h 332"/>
                <a:gd name="T2" fmla="*/ 0 w 111"/>
                <a:gd name="T3" fmla="*/ 332 h 332"/>
                <a:gd name="T4" fmla="*/ 111 w 111"/>
                <a:gd name="T5" fmla="*/ 332 h 332"/>
                <a:gd name="T6" fmla="*/ 62 w 111"/>
                <a:gd name="T7" fmla="*/ 0 h 332"/>
              </a:gdLst>
              <a:ahLst/>
              <a:cxnLst>
                <a:cxn ang="0">
                  <a:pos x="T0" y="T1"/>
                </a:cxn>
                <a:cxn ang="0">
                  <a:pos x="T2" y="T3"/>
                </a:cxn>
                <a:cxn ang="0">
                  <a:pos x="T4" y="T5"/>
                </a:cxn>
                <a:cxn ang="0">
                  <a:pos x="T6" y="T7"/>
                </a:cxn>
              </a:cxnLst>
              <a:rect l="0" t="0" r="r" b="b"/>
              <a:pathLst>
                <a:path w="111" h="332">
                  <a:moveTo>
                    <a:pt x="62" y="0"/>
                  </a:moveTo>
                  <a:lnTo>
                    <a:pt x="0" y="332"/>
                  </a:lnTo>
                  <a:lnTo>
                    <a:pt x="111" y="332"/>
                  </a:lnTo>
                  <a:lnTo>
                    <a:pt x="6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 name="Rectangle 21"/>
            <p:cNvSpPr>
              <a:spLocks noChangeArrowheads="1"/>
            </p:cNvSpPr>
            <p:nvPr/>
          </p:nvSpPr>
          <p:spPr bwMode="auto">
            <a:xfrm>
              <a:off x="8700027" y="6837956"/>
              <a:ext cx="74121" cy="115837"/>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Rectangle 22"/>
            <p:cNvSpPr>
              <a:spLocks noChangeArrowheads="1"/>
            </p:cNvSpPr>
            <p:nvPr/>
          </p:nvSpPr>
          <p:spPr bwMode="auto">
            <a:xfrm>
              <a:off x="8569433" y="6837956"/>
              <a:ext cx="74121" cy="115837"/>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Rectangle 23"/>
            <p:cNvSpPr>
              <a:spLocks noChangeArrowheads="1"/>
            </p:cNvSpPr>
            <p:nvPr/>
          </p:nvSpPr>
          <p:spPr bwMode="auto">
            <a:xfrm>
              <a:off x="8438839" y="6430081"/>
              <a:ext cx="465902" cy="58382"/>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Rectangle 24"/>
            <p:cNvSpPr>
              <a:spLocks noChangeArrowheads="1"/>
            </p:cNvSpPr>
            <p:nvPr/>
          </p:nvSpPr>
          <p:spPr bwMode="auto">
            <a:xfrm>
              <a:off x="8438839" y="6532945"/>
              <a:ext cx="465902" cy="59309"/>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Rectangle 25"/>
            <p:cNvSpPr>
              <a:spLocks noChangeArrowheads="1"/>
            </p:cNvSpPr>
            <p:nvPr/>
          </p:nvSpPr>
          <p:spPr bwMode="auto">
            <a:xfrm>
              <a:off x="8438839" y="6633954"/>
              <a:ext cx="465902" cy="61162"/>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Rectangle 26"/>
            <p:cNvSpPr>
              <a:spLocks noChangeArrowheads="1"/>
            </p:cNvSpPr>
            <p:nvPr/>
          </p:nvSpPr>
          <p:spPr bwMode="auto">
            <a:xfrm>
              <a:off x="8438839" y="6737744"/>
              <a:ext cx="465902" cy="58382"/>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7"/>
            <p:cNvSpPr>
              <a:spLocks/>
            </p:cNvSpPr>
            <p:nvPr/>
          </p:nvSpPr>
          <p:spPr bwMode="auto">
            <a:xfrm>
              <a:off x="5222313" y="6387031"/>
              <a:ext cx="190768" cy="574971"/>
            </a:xfrm>
            <a:custGeom>
              <a:avLst/>
              <a:gdLst>
                <a:gd name="T0" fmla="*/ 80 w 143"/>
                <a:gd name="T1" fmla="*/ 0 h 431"/>
                <a:gd name="T2" fmla="*/ 0 w 143"/>
                <a:gd name="T3" fmla="*/ 431 h 431"/>
                <a:gd name="T4" fmla="*/ 143 w 143"/>
                <a:gd name="T5" fmla="*/ 431 h 431"/>
                <a:gd name="T6" fmla="*/ 80 w 143"/>
                <a:gd name="T7" fmla="*/ 0 h 431"/>
              </a:gdLst>
              <a:ahLst/>
              <a:cxnLst>
                <a:cxn ang="0">
                  <a:pos x="T0" y="T1"/>
                </a:cxn>
                <a:cxn ang="0">
                  <a:pos x="T2" y="T3"/>
                </a:cxn>
                <a:cxn ang="0">
                  <a:pos x="T4" y="T5"/>
                </a:cxn>
                <a:cxn ang="0">
                  <a:pos x="T6" y="T7"/>
                </a:cxn>
              </a:cxnLst>
              <a:rect l="0" t="0" r="r" b="b"/>
              <a:pathLst>
                <a:path w="143" h="431">
                  <a:moveTo>
                    <a:pt x="80" y="0"/>
                  </a:moveTo>
                  <a:lnTo>
                    <a:pt x="0" y="431"/>
                  </a:lnTo>
                  <a:lnTo>
                    <a:pt x="143" y="431"/>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Freeform 8"/>
            <p:cNvSpPr>
              <a:spLocks/>
            </p:cNvSpPr>
            <p:nvPr/>
          </p:nvSpPr>
          <p:spPr bwMode="auto">
            <a:xfrm>
              <a:off x="5381064" y="6654339"/>
              <a:ext cx="130594" cy="307663"/>
            </a:xfrm>
            <a:custGeom>
              <a:avLst/>
              <a:gdLst>
                <a:gd name="T0" fmla="*/ 62 w 111"/>
                <a:gd name="T1" fmla="*/ 0 h 332"/>
                <a:gd name="T2" fmla="*/ 0 w 111"/>
                <a:gd name="T3" fmla="*/ 332 h 332"/>
                <a:gd name="T4" fmla="*/ 111 w 111"/>
                <a:gd name="T5" fmla="*/ 332 h 332"/>
                <a:gd name="T6" fmla="*/ 62 w 111"/>
                <a:gd name="T7" fmla="*/ 0 h 332"/>
              </a:gdLst>
              <a:ahLst/>
              <a:cxnLst>
                <a:cxn ang="0">
                  <a:pos x="T0" y="T1"/>
                </a:cxn>
                <a:cxn ang="0">
                  <a:pos x="T2" y="T3"/>
                </a:cxn>
                <a:cxn ang="0">
                  <a:pos x="T4" y="T5"/>
                </a:cxn>
                <a:cxn ang="0">
                  <a:pos x="T6" y="T7"/>
                </a:cxn>
              </a:cxnLst>
              <a:rect l="0" t="0" r="r" b="b"/>
              <a:pathLst>
                <a:path w="111" h="332">
                  <a:moveTo>
                    <a:pt x="62" y="0"/>
                  </a:moveTo>
                  <a:lnTo>
                    <a:pt x="0" y="332"/>
                  </a:lnTo>
                  <a:lnTo>
                    <a:pt x="111" y="332"/>
                  </a:lnTo>
                  <a:lnTo>
                    <a:pt x="6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26" name="Group 25"/>
            <p:cNvGrpSpPr/>
            <p:nvPr/>
          </p:nvGrpSpPr>
          <p:grpSpPr>
            <a:xfrm flipH="1">
              <a:off x="9706279" y="6592254"/>
              <a:ext cx="203193" cy="393100"/>
              <a:chOff x="6812419" y="6555317"/>
              <a:chExt cx="203193" cy="393100"/>
            </a:xfrm>
          </p:grpSpPr>
          <p:sp>
            <p:nvSpPr>
              <p:cNvPr id="31" name="Rectangle 35"/>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 name="Oval 36"/>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 name="Oval 37"/>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7" name="Group 26"/>
            <p:cNvGrpSpPr/>
            <p:nvPr/>
          </p:nvGrpSpPr>
          <p:grpSpPr>
            <a:xfrm flipH="1">
              <a:off x="9439002" y="6592254"/>
              <a:ext cx="204756" cy="393100"/>
              <a:chOff x="7078133" y="6555317"/>
              <a:chExt cx="204756" cy="393100"/>
            </a:xfrm>
          </p:grpSpPr>
          <p:sp>
            <p:nvSpPr>
              <p:cNvPr id="28" name="Rectangle 38"/>
              <p:cNvSpPr>
                <a:spLocks noChangeArrowheads="1"/>
              </p:cNvSpPr>
              <p:nvPr/>
            </p:nvSpPr>
            <p:spPr bwMode="auto">
              <a:xfrm>
                <a:off x="7161754" y="6795241"/>
                <a:ext cx="39857"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Oval 39"/>
              <p:cNvSpPr>
                <a:spLocks noChangeArrowheads="1"/>
              </p:cNvSpPr>
              <p:nvPr/>
            </p:nvSpPr>
            <p:spPr bwMode="auto">
              <a:xfrm>
                <a:off x="7078133" y="6660039"/>
                <a:ext cx="204756"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 name="Oval 40"/>
              <p:cNvSpPr>
                <a:spLocks noChangeArrowheads="1"/>
              </p:cNvSpPr>
              <p:nvPr/>
            </p:nvSpPr>
            <p:spPr bwMode="auto">
              <a:xfrm>
                <a:off x="7106267" y="6555317"/>
                <a:ext cx="149269"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userDrawn="1">
            <p:ph type="ftr" sz="quarter" idx="10"/>
          </p:nvPr>
        </p:nvSpPr>
        <p:spPr/>
        <p:txBody>
          <a:bodyPr/>
          <a:lstStyle/>
          <a:p>
            <a:pPr>
              <a:defRPr/>
            </a:pPr>
            <a:r>
              <a:rPr lang="en-US">
                <a:solidFill>
                  <a:srgbClr val="505050"/>
                </a:solidFill>
              </a:rPr>
              <a:t>Microsoft confidential 2015</a:t>
            </a:r>
            <a:endParaRPr lang="en-US" dirty="0">
              <a:solidFill>
                <a:srgbClr val="505050"/>
              </a:solidFill>
            </a:endParaRPr>
          </a:p>
        </p:txBody>
      </p:sp>
      <p:sp>
        <p:nvSpPr>
          <p:cNvPr id="4" name="Slide Number Placeholder 3"/>
          <p:cNvSpPr>
            <a:spLocks noGrp="1"/>
          </p:cNvSpPr>
          <p:nvPr userDrawn="1">
            <p:ph type="sldNum" sz="quarter" idx="11"/>
          </p:nvPr>
        </p:nvSpPr>
        <p:spPr/>
        <p:txBody>
          <a:bodyPr/>
          <a:lstStyle/>
          <a:p>
            <a:pPr defTabSz="932539">
              <a:defRPr/>
            </a:pPr>
            <a:fld id="{27258FFF-F925-446B-8502-81C933981705}" type="slidenum">
              <a:rPr lang="en-US" smtClean="0">
                <a:solidFill>
                  <a:srgbClr val="505050"/>
                </a:solidFill>
              </a:rPr>
              <a:pPr defTabSz="932539">
                <a:defRPr/>
              </a:pPr>
              <a:t>‹#›</a:t>
            </a:fld>
            <a:endParaRPr lang="en-US" dirty="0">
              <a:solidFill>
                <a:srgbClr val="505050"/>
              </a:solidFill>
            </a:endParaRPr>
          </a:p>
        </p:txBody>
      </p:sp>
      <p:sp>
        <p:nvSpPr>
          <p:cNvPr id="8" name="Text Placeholder 7"/>
          <p:cNvSpPr>
            <a:spLocks noGrp="1"/>
          </p:cNvSpPr>
          <p:nvPr userDrawn="1">
            <p:ph type="body" sz="quarter" idx="13" hasCustomPrompt="1"/>
          </p:nvPr>
        </p:nvSpPr>
        <p:spPr>
          <a:xfrm>
            <a:off x="603505" y="1545465"/>
            <a:ext cx="11226196" cy="4663068"/>
          </a:xfrm>
        </p:spPr>
        <p:txBody>
          <a:bodyPr lIns="0" tIns="0"/>
          <a:lstStyle>
            <a:lvl1pPr marL="233268" indent="-233268">
              <a:spcBef>
                <a:spcPts val="1198"/>
              </a:spcBef>
              <a:defRPr sz="2600">
                <a:latin typeface="+mn-lt"/>
              </a:defRPr>
            </a:lvl1pPr>
            <a:lvl2pPr marL="690281" indent="-233268">
              <a:spcBef>
                <a:spcPts val="1198"/>
              </a:spcBef>
              <a:buSzPct val="100000"/>
              <a:buFont typeface="Segoe UI" pitchFamily="34" charset="0"/>
              <a:buChar char="‐"/>
              <a:defRPr/>
            </a:lvl2pPr>
            <a:lvl3pPr marL="1147294" indent="-233268">
              <a:spcBef>
                <a:spcPts val="1198"/>
              </a:spcBef>
              <a:buFont typeface="Wingdings" pitchFamily="2" charset="2"/>
              <a:buChar char="§"/>
              <a:defRPr/>
            </a:lvl3pPr>
            <a:lvl4pPr marL="1599545" indent="-342760">
              <a:spcBef>
                <a:spcPts val="1198"/>
              </a:spcBef>
              <a:buFont typeface="+mj-lt"/>
              <a:buAutoNum type="arabicPeriod"/>
              <a:defRPr/>
            </a:lvl4pPr>
            <a:lvl5pPr marL="1945479" indent="-342760">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301347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9_36pt Title/26pt Bullet Text">
    <p:spTree>
      <p:nvGrpSpPr>
        <p:cNvPr id="1" name=""/>
        <p:cNvGrpSpPr/>
        <p:nvPr/>
      </p:nvGrpSpPr>
      <p:grpSpPr>
        <a:xfrm>
          <a:off x="0" y="0"/>
          <a:ext cx="0" cy="0"/>
          <a:chOff x="0" y="0"/>
          <a:chExt cx="0" cy="0"/>
        </a:xfrm>
      </p:grpSpPr>
      <p:sp>
        <p:nvSpPr>
          <p:cNvPr id="80" name="Freeform 79"/>
          <p:cNvSpPr>
            <a:spLocks/>
          </p:cNvSpPr>
          <p:nvPr userDrawn="1"/>
        </p:nvSpPr>
        <p:spPr bwMode="auto">
          <a:xfrm>
            <a:off x="4287986" y="6714428"/>
            <a:ext cx="1706310" cy="289954"/>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12" name="Group 11"/>
          <p:cNvGrpSpPr/>
          <p:nvPr userDrawn="1"/>
        </p:nvGrpSpPr>
        <p:grpSpPr>
          <a:xfrm flipH="1">
            <a:off x="4950525" y="5924846"/>
            <a:ext cx="779166" cy="1028469"/>
            <a:chOff x="10027859" y="5966057"/>
            <a:chExt cx="779166" cy="1028469"/>
          </a:xfrm>
        </p:grpSpPr>
        <p:sp>
          <p:nvSpPr>
            <p:cNvPr id="40" name="Rectangle 10"/>
            <p:cNvSpPr>
              <a:spLocks noChangeArrowheads="1"/>
            </p:cNvSpPr>
            <p:nvPr/>
          </p:nvSpPr>
          <p:spPr bwMode="auto">
            <a:xfrm>
              <a:off x="10063027" y="6104385"/>
              <a:ext cx="708830" cy="89014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Rectangle 11"/>
            <p:cNvSpPr>
              <a:spLocks noChangeArrowheads="1"/>
            </p:cNvSpPr>
            <p:nvPr/>
          </p:nvSpPr>
          <p:spPr bwMode="auto">
            <a:xfrm>
              <a:off x="10027859" y="6077032"/>
              <a:ext cx="779166" cy="27353"/>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 name="Rectangle 12"/>
            <p:cNvSpPr>
              <a:spLocks noChangeArrowheads="1"/>
            </p:cNvSpPr>
            <p:nvPr/>
          </p:nvSpPr>
          <p:spPr bwMode="auto">
            <a:xfrm>
              <a:off x="10129455" y="6185662"/>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 name="Rectangle 13"/>
            <p:cNvSpPr>
              <a:spLocks noChangeArrowheads="1"/>
            </p:cNvSpPr>
            <p:nvPr/>
          </p:nvSpPr>
          <p:spPr bwMode="auto">
            <a:xfrm>
              <a:off x="10129455" y="6185662"/>
              <a:ext cx="92218" cy="46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 name="Rectangle 14"/>
            <p:cNvSpPr>
              <a:spLocks noChangeArrowheads="1"/>
            </p:cNvSpPr>
            <p:nvPr/>
          </p:nvSpPr>
          <p:spPr bwMode="auto">
            <a:xfrm>
              <a:off x="10289665" y="6185662"/>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 name="Rectangle 15"/>
            <p:cNvSpPr>
              <a:spLocks noChangeArrowheads="1"/>
            </p:cNvSpPr>
            <p:nvPr/>
          </p:nvSpPr>
          <p:spPr bwMode="auto">
            <a:xfrm>
              <a:off x="10448311" y="6185662"/>
              <a:ext cx="93000"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 name="Rectangle 16"/>
            <p:cNvSpPr>
              <a:spLocks noChangeArrowheads="1"/>
            </p:cNvSpPr>
            <p:nvPr/>
          </p:nvSpPr>
          <p:spPr bwMode="auto">
            <a:xfrm>
              <a:off x="10289665" y="6813997"/>
              <a:ext cx="92218" cy="18052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Rectangle 17"/>
            <p:cNvSpPr>
              <a:spLocks noChangeArrowheads="1"/>
            </p:cNvSpPr>
            <p:nvPr/>
          </p:nvSpPr>
          <p:spPr bwMode="auto">
            <a:xfrm>
              <a:off x="10448311" y="6813997"/>
              <a:ext cx="93000" cy="18052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Rectangle 18"/>
            <p:cNvSpPr>
              <a:spLocks noChangeArrowheads="1"/>
            </p:cNvSpPr>
            <p:nvPr/>
          </p:nvSpPr>
          <p:spPr bwMode="auto">
            <a:xfrm>
              <a:off x="10609302" y="6185662"/>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Rectangle 19"/>
            <p:cNvSpPr>
              <a:spLocks noChangeArrowheads="1"/>
            </p:cNvSpPr>
            <p:nvPr/>
          </p:nvSpPr>
          <p:spPr bwMode="auto">
            <a:xfrm>
              <a:off x="10129455" y="6344309"/>
              <a:ext cx="92218" cy="930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Rectangle 20"/>
            <p:cNvSpPr>
              <a:spLocks noChangeArrowheads="1"/>
            </p:cNvSpPr>
            <p:nvPr/>
          </p:nvSpPr>
          <p:spPr bwMode="auto">
            <a:xfrm>
              <a:off x="10289665" y="6344309"/>
              <a:ext cx="92218" cy="9300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1" name="Rectangle 21"/>
            <p:cNvSpPr>
              <a:spLocks noChangeArrowheads="1"/>
            </p:cNvSpPr>
            <p:nvPr/>
          </p:nvSpPr>
          <p:spPr bwMode="auto">
            <a:xfrm>
              <a:off x="10448311" y="6344309"/>
              <a:ext cx="93000" cy="9300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Rectangle 22"/>
            <p:cNvSpPr>
              <a:spLocks noChangeArrowheads="1"/>
            </p:cNvSpPr>
            <p:nvPr/>
          </p:nvSpPr>
          <p:spPr bwMode="auto">
            <a:xfrm>
              <a:off x="10609302" y="6344309"/>
              <a:ext cx="92218" cy="930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3" name="Rectangle 23"/>
            <p:cNvSpPr>
              <a:spLocks noChangeArrowheads="1"/>
            </p:cNvSpPr>
            <p:nvPr/>
          </p:nvSpPr>
          <p:spPr bwMode="auto">
            <a:xfrm>
              <a:off x="10129455" y="6505300"/>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4" name="Rectangle 24"/>
            <p:cNvSpPr>
              <a:spLocks noChangeArrowheads="1"/>
            </p:cNvSpPr>
            <p:nvPr/>
          </p:nvSpPr>
          <p:spPr bwMode="auto">
            <a:xfrm>
              <a:off x="10289665" y="6505300"/>
              <a:ext cx="92218"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5" name="Rectangle 25"/>
            <p:cNvSpPr>
              <a:spLocks noChangeArrowheads="1"/>
            </p:cNvSpPr>
            <p:nvPr/>
          </p:nvSpPr>
          <p:spPr bwMode="auto">
            <a:xfrm>
              <a:off x="10448311" y="6505300"/>
              <a:ext cx="93000"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6" name="Rectangle 26"/>
            <p:cNvSpPr>
              <a:spLocks noChangeArrowheads="1"/>
            </p:cNvSpPr>
            <p:nvPr/>
          </p:nvSpPr>
          <p:spPr bwMode="auto">
            <a:xfrm>
              <a:off x="10609302" y="6505300"/>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7" name="Rectangle 27"/>
            <p:cNvSpPr>
              <a:spLocks noChangeArrowheads="1"/>
            </p:cNvSpPr>
            <p:nvPr/>
          </p:nvSpPr>
          <p:spPr bwMode="auto">
            <a:xfrm>
              <a:off x="10129455" y="6663947"/>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8" name="Rectangle 28"/>
            <p:cNvSpPr>
              <a:spLocks noChangeArrowheads="1"/>
            </p:cNvSpPr>
            <p:nvPr/>
          </p:nvSpPr>
          <p:spPr bwMode="auto">
            <a:xfrm>
              <a:off x="10289665" y="6663947"/>
              <a:ext cx="92218"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9" name="Rectangle 29"/>
            <p:cNvSpPr>
              <a:spLocks noChangeArrowheads="1"/>
            </p:cNvSpPr>
            <p:nvPr/>
          </p:nvSpPr>
          <p:spPr bwMode="auto">
            <a:xfrm>
              <a:off x="10448311" y="6663947"/>
              <a:ext cx="93000"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0" name="Rectangle 30"/>
            <p:cNvSpPr>
              <a:spLocks noChangeArrowheads="1"/>
            </p:cNvSpPr>
            <p:nvPr/>
          </p:nvSpPr>
          <p:spPr bwMode="auto">
            <a:xfrm>
              <a:off x="10609302" y="6663947"/>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1" name="Rectangle 31"/>
            <p:cNvSpPr>
              <a:spLocks noChangeArrowheads="1"/>
            </p:cNvSpPr>
            <p:nvPr/>
          </p:nvSpPr>
          <p:spPr bwMode="auto">
            <a:xfrm>
              <a:off x="10129455" y="6505300"/>
              <a:ext cx="92218" cy="46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2" name="Rectangle 32"/>
            <p:cNvSpPr>
              <a:spLocks noChangeArrowheads="1"/>
            </p:cNvSpPr>
            <p:nvPr/>
          </p:nvSpPr>
          <p:spPr bwMode="auto">
            <a:xfrm>
              <a:off x="10609302" y="6505300"/>
              <a:ext cx="92218" cy="46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3" name="Rectangle 33"/>
            <p:cNvSpPr>
              <a:spLocks noChangeArrowheads="1"/>
            </p:cNvSpPr>
            <p:nvPr/>
          </p:nvSpPr>
          <p:spPr bwMode="auto">
            <a:xfrm>
              <a:off x="10609302" y="6344309"/>
              <a:ext cx="92218" cy="46891"/>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4" name="Rectangle 41"/>
            <p:cNvSpPr>
              <a:spLocks noChangeArrowheads="1"/>
            </p:cNvSpPr>
            <p:nvPr/>
          </p:nvSpPr>
          <p:spPr bwMode="auto">
            <a:xfrm>
              <a:off x="10381881" y="5966057"/>
              <a:ext cx="273529" cy="11097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81" name="Freeform 9"/>
          <p:cNvSpPr>
            <a:spLocks/>
          </p:cNvSpPr>
          <p:nvPr userDrawn="1"/>
        </p:nvSpPr>
        <p:spPr bwMode="auto">
          <a:xfrm>
            <a:off x="5069014" y="6574241"/>
            <a:ext cx="2372546" cy="430145"/>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82" name="Freeform 15"/>
          <p:cNvSpPr>
            <a:spLocks/>
          </p:cNvSpPr>
          <p:nvPr userDrawn="1"/>
        </p:nvSpPr>
        <p:spPr bwMode="auto">
          <a:xfrm>
            <a:off x="6057897" y="6781994"/>
            <a:ext cx="1399229" cy="222392"/>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9" name="Rectangle 34"/>
          <p:cNvSpPr>
            <a:spLocks noChangeArrowheads="1"/>
          </p:cNvSpPr>
          <p:nvPr userDrawn="1"/>
        </p:nvSpPr>
        <p:spPr bwMode="auto">
          <a:xfrm flipH="1">
            <a:off x="0" y="6953680"/>
            <a:ext cx="12436475" cy="5033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3" name="Group 12"/>
          <p:cNvGrpSpPr/>
          <p:nvPr userDrawn="1"/>
        </p:nvGrpSpPr>
        <p:grpSpPr>
          <a:xfrm flipH="1">
            <a:off x="4830183" y="6565199"/>
            <a:ext cx="204756" cy="393100"/>
            <a:chOff x="7078133" y="6555317"/>
            <a:chExt cx="204756" cy="393100"/>
          </a:xfrm>
        </p:grpSpPr>
        <p:sp>
          <p:nvSpPr>
            <p:cNvPr id="37" name="Rectangle 36"/>
            <p:cNvSpPr>
              <a:spLocks noChangeArrowheads="1"/>
            </p:cNvSpPr>
            <p:nvPr/>
          </p:nvSpPr>
          <p:spPr bwMode="auto">
            <a:xfrm>
              <a:off x="7161754" y="6795241"/>
              <a:ext cx="39857"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Oval 37"/>
            <p:cNvSpPr>
              <a:spLocks noChangeArrowheads="1"/>
            </p:cNvSpPr>
            <p:nvPr/>
          </p:nvSpPr>
          <p:spPr bwMode="auto">
            <a:xfrm>
              <a:off x="7078133" y="6660039"/>
              <a:ext cx="204756"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Oval 38"/>
            <p:cNvSpPr>
              <a:spLocks noChangeArrowheads="1"/>
            </p:cNvSpPr>
            <p:nvPr/>
          </p:nvSpPr>
          <p:spPr bwMode="auto">
            <a:xfrm>
              <a:off x="7106267" y="6555317"/>
              <a:ext cx="149269"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5" name="Freeform 7"/>
          <p:cNvSpPr>
            <a:spLocks/>
          </p:cNvSpPr>
          <p:nvPr userDrawn="1"/>
        </p:nvSpPr>
        <p:spPr bwMode="auto">
          <a:xfrm>
            <a:off x="12037705" y="6378709"/>
            <a:ext cx="190769" cy="574971"/>
          </a:xfrm>
          <a:custGeom>
            <a:avLst/>
            <a:gdLst>
              <a:gd name="T0" fmla="*/ 80 w 143"/>
              <a:gd name="T1" fmla="*/ 0 h 431"/>
              <a:gd name="T2" fmla="*/ 0 w 143"/>
              <a:gd name="T3" fmla="*/ 431 h 431"/>
              <a:gd name="T4" fmla="*/ 143 w 143"/>
              <a:gd name="T5" fmla="*/ 431 h 431"/>
              <a:gd name="T6" fmla="*/ 80 w 143"/>
              <a:gd name="T7" fmla="*/ 0 h 431"/>
            </a:gdLst>
            <a:ahLst/>
            <a:cxnLst>
              <a:cxn ang="0">
                <a:pos x="T0" y="T1"/>
              </a:cxn>
              <a:cxn ang="0">
                <a:pos x="T2" y="T3"/>
              </a:cxn>
              <a:cxn ang="0">
                <a:pos x="T4" y="T5"/>
              </a:cxn>
              <a:cxn ang="0">
                <a:pos x="T6" y="T7"/>
              </a:cxn>
            </a:cxnLst>
            <a:rect l="0" t="0" r="r" b="b"/>
            <a:pathLst>
              <a:path w="143" h="431">
                <a:moveTo>
                  <a:pt x="80" y="0"/>
                </a:moveTo>
                <a:lnTo>
                  <a:pt x="0" y="431"/>
                </a:lnTo>
                <a:lnTo>
                  <a:pt x="143" y="431"/>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 name="Freeform 8"/>
          <p:cNvSpPr>
            <a:spLocks/>
          </p:cNvSpPr>
          <p:nvPr userDrawn="1"/>
        </p:nvSpPr>
        <p:spPr bwMode="auto">
          <a:xfrm>
            <a:off x="12196456" y="6646017"/>
            <a:ext cx="130594" cy="307663"/>
          </a:xfrm>
          <a:custGeom>
            <a:avLst/>
            <a:gdLst>
              <a:gd name="T0" fmla="*/ 62 w 111"/>
              <a:gd name="T1" fmla="*/ 0 h 332"/>
              <a:gd name="T2" fmla="*/ 0 w 111"/>
              <a:gd name="T3" fmla="*/ 332 h 332"/>
              <a:gd name="T4" fmla="*/ 111 w 111"/>
              <a:gd name="T5" fmla="*/ 332 h 332"/>
              <a:gd name="T6" fmla="*/ 62 w 111"/>
              <a:gd name="T7" fmla="*/ 0 h 332"/>
            </a:gdLst>
            <a:ahLst/>
            <a:cxnLst>
              <a:cxn ang="0">
                <a:pos x="T0" y="T1"/>
              </a:cxn>
              <a:cxn ang="0">
                <a:pos x="T2" y="T3"/>
              </a:cxn>
              <a:cxn ang="0">
                <a:pos x="T4" y="T5"/>
              </a:cxn>
              <a:cxn ang="0">
                <a:pos x="T6" y="T7"/>
              </a:cxn>
            </a:cxnLst>
            <a:rect l="0" t="0" r="r" b="b"/>
            <a:pathLst>
              <a:path w="111" h="332">
                <a:moveTo>
                  <a:pt x="62" y="0"/>
                </a:moveTo>
                <a:lnTo>
                  <a:pt x="0" y="332"/>
                </a:lnTo>
                <a:lnTo>
                  <a:pt x="111" y="332"/>
                </a:lnTo>
                <a:lnTo>
                  <a:pt x="6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75" name="Group 74"/>
          <p:cNvGrpSpPr/>
          <p:nvPr userDrawn="1"/>
        </p:nvGrpSpPr>
        <p:grpSpPr>
          <a:xfrm>
            <a:off x="5853119" y="6290152"/>
            <a:ext cx="634145" cy="668147"/>
            <a:chOff x="8352953" y="6290150"/>
            <a:chExt cx="634144" cy="668147"/>
          </a:xfrm>
        </p:grpSpPr>
        <p:sp>
          <p:nvSpPr>
            <p:cNvPr id="17" name="Freeform 20"/>
            <p:cNvSpPr>
              <a:spLocks/>
            </p:cNvSpPr>
            <p:nvPr/>
          </p:nvSpPr>
          <p:spPr bwMode="auto">
            <a:xfrm>
              <a:off x="8352953" y="6290150"/>
              <a:ext cx="634144" cy="668147"/>
            </a:xfrm>
            <a:custGeom>
              <a:avLst/>
              <a:gdLst>
                <a:gd name="T0" fmla="*/ 295 w 539"/>
                <a:gd name="T1" fmla="*/ 77 h 711"/>
                <a:gd name="T2" fmla="*/ 295 w 539"/>
                <a:gd name="T3" fmla="*/ 0 h 711"/>
                <a:gd name="T4" fmla="*/ 105 w 539"/>
                <a:gd name="T5" fmla="*/ 0 h 711"/>
                <a:gd name="T6" fmla="*/ 105 w 539"/>
                <a:gd name="T7" fmla="*/ 77 h 711"/>
                <a:gd name="T8" fmla="*/ 0 w 539"/>
                <a:gd name="T9" fmla="*/ 77 h 711"/>
                <a:gd name="T10" fmla="*/ 0 w 539"/>
                <a:gd name="T11" fmla="*/ 95 h 711"/>
                <a:gd name="T12" fmla="*/ 23 w 539"/>
                <a:gd name="T13" fmla="*/ 95 h 711"/>
                <a:gd name="T14" fmla="*/ 23 w 539"/>
                <a:gd name="T15" fmla="*/ 711 h 711"/>
                <a:gd name="T16" fmla="*/ 515 w 539"/>
                <a:gd name="T17" fmla="*/ 711 h 711"/>
                <a:gd name="T18" fmla="*/ 515 w 539"/>
                <a:gd name="T19" fmla="*/ 95 h 711"/>
                <a:gd name="T20" fmla="*/ 539 w 539"/>
                <a:gd name="T21" fmla="*/ 95 h 711"/>
                <a:gd name="T22" fmla="*/ 539 w 539"/>
                <a:gd name="T23" fmla="*/ 77 h 711"/>
                <a:gd name="T24" fmla="*/ 295 w 539"/>
                <a:gd name="T25" fmla="*/ 77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9" h="711">
                  <a:moveTo>
                    <a:pt x="295" y="77"/>
                  </a:moveTo>
                  <a:lnTo>
                    <a:pt x="295" y="0"/>
                  </a:lnTo>
                  <a:lnTo>
                    <a:pt x="105" y="0"/>
                  </a:lnTo>
                  <a:lnTo>
                    <a:pt x="105" y="77"/>
                  </a:lnTo>
                  <a:lnTo>
                    <a:pt x="0" y="77"/>
                  </a:lnTo>
                  <a:lnTo>
                    <a:pt x="0" y="95"/>
                  </a:lnTo>
                  <a:lnTo>
                    <a:pt x="23" y="95"/>
                  </a:lnTo>
                  <a:lnTo>
                    <a:pt x="23" y="711"/>
                  </a:lnTo>
                  <a:lnTo>
                    <a:pt x="515" y="711"/>
                  </a:lnTo>
                  <a:lnTo>
                    <a:pt x="515" y="95"/>
                  </a:lnTo>
                  <a:lnTo>
                    <a:pt x="539" y="95"/>
                  </a:lnTo>
                  <a:lnTo>
                    <a:pt x="539" y="77"/>
                  </a:lnTo>
                  <a:lnTo>
                    <a:pt x="295" y="77"/>
                  </a:ln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 name="Rectangle 21"/>
            <p:cNvSpPr>
              <a:spLocks noChangeArrowheads="1"/>
            </p:cNvSpPr>
            <p:nvPr/>
          </p:nvSpPr>
          <p:spPr bwMode="auto">
            <a:xfrm>
              <a:off x="8700027" y="6837956"/>
              <a:ext cx="74121" cy="115837"/>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Rectangle 22"/>
            <p:cNvSpPr>
              <a:spLocks noChangeArrowheads="1"/>
            </p:cNvSpPr>
            <p:nvPr/>
          </p:nvSpPr>
          <p:spPr bwMode="auto">
            <a:xfrm>
              <a:off x="8569433" y="6837956"/>
              <a:ext cx="74121" cy="115837"/>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Rectangle 23"/>
            <p:cNvSpPr>
              <a:spLocks noChangeArrowheads="1"/>
            </p:cNvSpPr>
            <p:nvPr/>
          </p:nvSpPr>
          <p:spPr bwMode="auto">
            <a:xfrm>
              <a:off x="8438839" y="6430081"/>
              <a:ext cx="465902" cy="58382"/>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Rectangle 24"/>
            <p:cNvSpPr>
              <a:spLocks noChangeArrowheads="1"/>
            </p:cNvSpPr>
            <p:nvPr/>
          </p:nvSpPr>
          <p:spPr bwMode="auto">
            <a:xfrm>
              <a:off x="8438839" y="6532945"/>
              <a:ext cx="465902" cy="59309"/>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Rectangle 25"/>
            <p:cNvSpPr>
              <a:spLocks noChangeArrowheads="1"/>
            </p:cNvSpPr>
            <p:nvPr/>
          </p:nvSpPr>
          <p:spPr bwMode="auto">
            <a:xfrm>
              <a:off x="8438839" y="6633954"/>
              <a:ext cx="465902" cy="61162"/>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Rectangle 26"/>
            <p:cNvSpPr>
              <a:spLocks noChangeArrowheads="1"/>
            </p:cNvSpPr>
            <p:nvPr/>
          </p:nvSpPr>
          <p:spPr bwMode="auto">
            <a:xfrm>
              <a:off x="8438839" y="6737744"/>
              <a:ext cx="465902" cy="58382"/>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79" name="Group 78"/>
          <p:cNvGrpSpPr/>
          <p:nvPr userDrawn="1"/>
        </p:nvGrpSpPr>
        <p:grpSpPr>
          <a:xfrm>
            <a:off x="11219964" y="6633958"/>
            <a:ext cx="165085" cy="328048"/>
            <a:chOff x="11012654" y="6387031"/>
            <a:chExt cx="289345" cy="574971"/>
          </a:xfrm>
        </p:grpSpPr>
        <p:sp>
          <p:nvSpPr>
            <p:cNvPr id="24" name="Freeform 7"/>
            <p:cNvSpPr>
              <a:spLocks/>
            </p:cNvSpPr>
            <p:nvPr/>
          </p:nvSpPr>
          <p:spPr bwMode="auto">
            <a:xfrm>
              <a:off x="11012654" y="6387031"/>
              <a:ext cx="190768" cy="574971"/>
            </a:xfrm>
            <a:custGeom>
              <a:avLst/>
              <a:gdLst>
                <a:gd name="T0" fmla="*/ 80 w 143"/>
                <a:gd name="T1" fmla="*/ 0 h 431"/>
                <a:gd name="T2" fmla="*/ 0 w 143"/>
                <a:gd name="T3" fmla="*/ 431 h 431"/>
                <a:gd name="T4" fmla="*/ 143 w 143"/>
                <a:gd name="T5" fmla="*/ 431 h 431"/>
                <a:gd name="T6" fmla="*/ 80 w 143"/>
                <a:gd name="T7" fmla="*/ 0 h 431"/>
              </a:gdLst>
              <a:ahLst/>
              <a:cxnLst>
                <a:cxn ang="0">
                  <a:pos x="T0" y="T1"/>
                </a:cxn>
                <a:cxn ang="0">
                  <a:pos x="T2" y="T3"/>
                </a:cxn>
                <a:cxn ang="0">
                  <a:pos x="T4" y="T5"/>
                </a:cxn>
                <a:cxn ang="0">
                  <a:pos x="T6" y="T7"/>
                </a:cxn>
              </a:cxnLst>
              <a:rect l="0" t="0" r="r" b="b"/>
              <a:pathLst>
                <a:path w="143" h="431">
                  <a:moveTo>
                    <a:pt x="80" y="0"/>
                  </a:moveTo>
                  <a:lnTo>
                    <a:pt x="0" y="431"/>
                  </a:lnTo>
                  <a:lnTo>
                    <a:pt x="143" y="431"/>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Freeform 8"/>
            <p:cNvSpPr>
              <a:spLocks/>
            </p:cNvSpPr>
            <p:nvPr/>
          </p:nvSpPr>
          <p:spPr bwMode="auto">
            <a:xfrm>
              <a:off x="11171405" y="6654339"/>
              <a:ext cx="130594" cy="307663"/>
            </a:xfrm>
            <a:custGeom>
              <a:avLst/>
              <a:gdLst>
                <a:gd name="T0" fmla="*/ 62 w 111"/>
                <a:gd name="T1" fmla="*/ 0 h 332"/>
                <a:gd name="T2" fmla="*/ 0 w 111"/>
                <a:gd name="T3" fmla="*/ 332 h 332"/>
                <a:gd name="T4" fmla="*/ 111 w 111"/>
                <a:gd name="T5" fmla="*/ 332 h 332"/>
                <a:gd name="T6" fmla="*/ 62 w 111"/>
                <a:gd name="T7" fmla="*/ 0 h 332"/>
              </a:gdLst>
              <a:ahLst/>
              <a:cxnLst>
                <a:cxn ang="0">
                  <a:pos x="T0" y="T1"/>
                </a:cxn>
                <a:cxn ang="0">
                  <a:pos x="T2" y="T3"/>
                </a:cxn>
                <a:cxn ang="0">
                  <a:pos x="T4" y="T5"/>
                </a:cxn>
                <a:cxn ang="0">
                  <a:pos x="T6" y="T7"/>
                </a:cxn>
              </a:cxnLst>
              <a:rect l="0" t="0" r="r" b="b"/>
              <a:pathLst>
                <a:path w="111" h="332">
                  <a:moveTo>
                    <a:pt x="62" y="0"/>
                  </a:moveTo>
                  <a:lnTo>
                    <a:pt x="0" y="332"/>
                  </a:lnTo>
                  <a:lnTo>
                    <a:pt x="111" y="332"/>
                  </a:lnTo>
                  <a:lnTo>
                    <a:pt x="6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7" name="Group 26"/>
          <p:cNvGrpSpPr/>
          <p:nvPr userDrawn="1"/>
        </p:nvGrpSpPr>
        <p:grpSpPr>
          <a:xfrm flipH="1">
            <a:off x="6904103" y="6450908"/>
            <a:ext cx="126061" cy="242017"/>
            <a:chOff x="7078133" y="6555317"/>
            <a:chExt cx="204756" cy="393100"/>
          </a:xfrm>
        </p:grpSpPr>
        <p:sp>
          <p:nvSpPr>
            <p:cNvPr id="28" name="Rectangle 38"/>
            <p:cNvSpPr>
              <a:spLocks noChangeArrowheads="1"/>
            </p:cNvSpPr>
            <p:nvPr/>
          </p:nvSpPr>
          <p:spPr bwMode="auto">
            <a:xfrm>
              <a:off x="7161754" y="6795241"/>
              <a:ext cx="39857"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Oval 39"/>
            <p:cNvSpPr>
              <a:spLocks noChangeArrowheads="1"/>
            </p:cNvSpPr>
            <p:nvPr/>
          </p:nvSpPr>
          <p:spPr bwMode="auto">
            <a:xfrm>
              <a:off x="7078133" y="6660039"/>
              <a:ext cx="204756"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 name="Oval 40"/>
            <p:cNvSpPr>
              <a:spLocks noChangeArrowheads="1"/>
            </p:cNvSpPr>
            <p:nvPr/>
          </p:nvSpPr>
          <p:spPr bwMode="auto">
            <a:xfrm>
              <a:off x="7106267" y="6555317"/>
              <a:ext cx="149269"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789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userDrawn="1">
            <p:ph type="ftr" sz="quarter" idx="10"/>
          </p:nvPr>
        </p:nvSpPr>
        <p:spPr/>
        <p:txBody>
          <a:bodyPr/>
          <a:lstStyle>
            <a:lvl1pPr>
              <a:defRPr>
                <a:solidFill>
                  <a:schemeClr val="tx2"/>
                </a:solidFill>
              </a:defRPr>
            </a:lvl1pPr>
          </a:lstStyle>
          <a:p>
            <a:pPr>
              <a:defRPr/>
            </a:pPr>
            <a:r>
              <a:rPr lang="en-IN">
                <a:solidFill>
                  <a:srgbClr val="505050"/>
                </a:solidFill>
              </a:rPr>
              <a:t>Microsoft confidential 2015</a:t>
            </a:r>
            <a:endParaRPr lang="en-IN" dirty="0">
              <a:solidFill>
                <a:srgbClr val="505050"/>
              </a:solidFill>
            </a:endParaRPr>
          </a:p>
        </p:txBody>
      </p:sp>
      <p:sp>
        <p:nvSpPr>
          <p:cNvPr id="4" name="Slide Number Placeholder 3"/>
          <p:cNvSpPr>
            <a:spLocks noGrp="1"/>
          </p:cNvSpPr>
          <p:nvPr userDrawn="1">
            <p:ph type="sldNum" sz="quarter" idx="11"/>
          </p:nvPr>
        </p:nvSpPr>
        <p:spPr/>
        <p:txBody>
          <a:bodyPr/>
          <a:lstStyle/>
          <a:p>
            <a:pPr defTabSz="932539">
              <a:defRPr/>
            </a:pPr>
            <a:fld id="{27258FFF-F925-446B-8502-81C933981705}" type="slidenum">
              <a:rPr lang="en-US" smtClean="0">
                <a:solidFill>
                  <a:srgbClr val="505050"/>
                </a:solidFill>
              </a:rPr>
              <a:pPr defTabSz="932539">
                <a:defRPr/>
              </a:pPr>
              <a:t>‹#›</a:t>
            </a:fld>
            <a:endParaRPr lang="en-US" dirty="0">
              <a:solidFill>
                <a:srgbClr val="505050"/>
              </a:solidFill>
            </a:endParaRPr>
          </a:p>
        </p:txBody>
      </p:sp>
      <p:sp>
        <p:nvSpPr>
          <p:cNvPr id="8" name="Text Placeholder 7"/>
          <p:cNvSpPr>
            <a:spLocks noGrp="1"/>
          </p:cNvSpPr>
          <p:nvPr userDrawn="1">
            <p:ph type="body" sz="quarter" idx="13" hasCustomPrompt="1"/>
          </p:nvPr>
        </p:nvSpPr>
        <p:spPr>
          <a:xfrm>
            <a:off x="603505" y="1545465"/>
            <a:ext cx="11226196" cy="4663068"/>
          </a:xfrm>
        </p:spPr>
        <p:txBody>
          <a:bodyPr lIns="0" tIns="0"/>
          <a:lstStyle>
            <a:lvl1pPr marL="233268" indent="-233268">
              <a:spcBef>
                <a:spcPts val="1198"/>
              </a:spcBef>
              <a:defRPr sz="2600">
                <a:latin typeface="+mn-lt"/>
              </a:defRPr>
            </a:lvl1pPr>
            <a:lvl2pPr marL="690281" indent="-233268">
              <a:spcBef>
                <a:spcPts val="1198"/>
              </a:spcBef>
              <a:buSzPct val="100000"/>
              <a:buFont typeface="Segoe UI" pitchFamily="34" charset="0"/>
              <a:buChar char="‐"/>
              <a:defRPr/>
            </a:lvl2pPr>
            <a:lvl3pPr marL="1147294" indent="-233268">
              <a:spcBef>
                <a:spcPts val="1198"/>
              </a:spcBef>
              <a:buFont typeface="Wingdings" pitchFamily="2" charset="2"/>
              <a:buChar char="§"/>
              <a:defRPr/>
            </a:lvl3pPr>
            <a:lvl4pPr marL="1599545" indent="-342760">
              <a:spcBef>
                <a:spcPts val="1198"/>
              </a:spcBef>
              <a:buFont typeface="+mj-lt"/>
              <a:buAutoNum type="arabicPeriod"/>
              <a:defRPr/>
            </a:lvl4pPr>
            <a:lvl5pPr marL="1945479" indent="-342760">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1" name="Freeform 70"/>
          <p:cNvSpPr>
            <a:spLocks noChangeArrowheads="1"/>
          </p:cNvSpPr>
          <p:nvPr userDrawn="1"/>
        </p:nvSpPr>
        <p:spPr bwMode="auto">
          <a:xfrm>
            <a:off x="7065027" y="6099048"/>
            <a:ext cx="982228" cy="854749"/>
          </a:xfrm>
          <a:custGeom>
            <a:avLst/>
            <a:gdLst>
              <a:gd name="connsiteX0" fmla="*/ 1116013 w 1679575"/>
              <a:gd name="connsiteY0" fmla="*/ 750887 h 1262063"/>
              <a:gd name="connsiteX1" fmla="*/ 1089025 w 1679575"/>
              <a:gd name="connsiteY1" fmla="*/ 778007 h 1262063"/>
              <a:gd name="connsiteX2" fmla="*/ 1089025 w 1679575"/>
              <a:gd name="connsiteY2" fmla="*/ 1076325 h 1262063"/>
              <a:gd name="connsiteX3" fmla="*/ 1143000 w 1679575"/>
              <a:gd name="connsiteY3" fmla="*/ 1076325 h 1262063"/>
              <a:gd name="connsiteX4" fmla="*/ 1143000 w 1679575"/>
              <a:gd name="connsiteY4" fmla="*/ 778007 h 1262063"/>
              <a:gd name="connsiteX5" fmla="*/ 1116013 w 1679575"/>
              <a:gd name="connsiteY5" fmla="*/ 750887 h 1262063"/>
              <a:gd name="connsiteX6" fmla="*/ 1023938 w 1679575"/>
              <a:gd name="connsiteY6" fmla="*/ 750887 h 1262063"/>
              <a:gd name="connsiteX7" fmla="*/ 996950 w 1679575"/>
              <a:gd name="connsiteY7" fmla="*/ 778007 h 1262063"/>
              <a:gd name="connsiteX8" fmla="*/ 996950 w 1679575"/>
              <a:gd name="connsiteY8" fmla="*/ 1076325 h 1262063"/>
              <a:gd name="connsiteX9" fmla="*/ 1050925 w 1679575"/>
              <a:gd name="connsiteY9" fmla="*/ 1076325 h 1262063"/>
              <a:gd name="connsiteX10" fmla="*/ 1050925 w 1679575"/>
              <a:gd name="connsiteY10" fmla="*/ 778007 h 1262063"/>
              <a:gd name="connsiteX11" fmla="*/ 1023938 w 1679575"/>
              <a:gd name="connsiteY11" fmla="*/ 750887 h 1262063"/>
              <a:gd name="connsiteX12" fmla="*/ 926748 w 1679575"/>
              <a:gd name="connsiteY12" fmla="*/ 750887 h 1262063"/>
              <a:gd name="connsiteX13" fmla="*/ 904875 w 1679575"/>
              <a:gd name="connsiteY13" fmla="*/ 778007 h 1262063"/>
              <a:gd name="connsiteX14" fmla="*/ 904875 w 1679575"/>
              <a:gd name="connsiteY14" fmla="*/ 1076325 h 1262063"/>
              <a:gd name="connsiteX15" fmla="*/ 954088 w 1679575"/>
              <a:gd name="connsiteY15" fmla="*/ 1076325 h 1262063"/>
              <a:gd name="connsiteX16" fmla="*/ 954088 w 1679575"/>
              <a:gd name="connsiteY16" fmla="*/ 778007 h 1262063"/>
              <a:gd name="connsiteX17" fmla="*/ 926748 w 1679575"/>
              <a:gd name="connsiteY17" fmla="*/ 750887 h 1262063"/>
              <a:gd name="connsiteX18" fmla="*/ 834232 w 1679575"/>
              <a:gd name="connsiteY18" fmla="*/ 750887 h 1262063"/>
              <a:gd name="connsiteX19" fmla="*/ 806450 w 1679575"/>
              <a:gd name="connsiteY19" fmla="*/ 778007 h 1262063"/>
              <a:gd name="connsiteX20" fmla="*/ 806450 w 1679575"/>
              <a:gd name="connsiteY20" fmla="*/ 1076325 h 1262063"/>
              <a:gd name="connsiteX21" fmla="*/ 862013 w 1679575"/>
              <a:gd name="connsiteY21" fmla="*/ 1076325 h 1262063"/>
              <a:gd name="connsiteX22" fmla="*/ 862013 w 1679575"/>
              <a:gd name="connsiteY22" fmla="*/ 778007 h 1262063"/>
              <a:gd name="connsiteX23" fmla="*/ 834232 w 1679575"/>
              <a:gd name="connsiteY23" fmla="*/ 750887 h 1262063"/>
              <a:gd name="connsiteX24" fmla="*/ 742950 w 1679575"/>
              <a:gd name="connsiteY24" fmla="*/ 750887 h 1262063"/>
              <a:gd name="connsiteX25" fmla="*/ 715962 w 1679575"/>
              <a:gd name="connsiteY25" fmla="*/ 778007 h 1262063"/>
              <a:gd name="connsiteX26" fmla="*/ 715962 w 1679575"/>
              <a:gd name="connsiteY26" fmla="*/ 1076325 h 1262063"/>
              <a:gd name="connsiteX27" fmla="*/ 769937 w 1679575"/>
              <a:gd name="connsiteY27" fmla="*/ 1076325 h 1262063"/>
              <a:gd name="connsiteX28" fmla="*/ 769937 w 1679575"/>
              <a:gd name="connsiteY28" fmla="*/ 778007 h 1262063"/>
              <a:gd name="connsiteX29" fmla="*/ 742950 w 1679575"/>
              <a:gd name="connsiteY29" fmla="*/ 750887 h 1262063"/>
              <a:gd name="connsiteX30" fmla="*/ 650875 w 1679575"/>
              <a:gd name="connsiteY30" fmla="*/ 750887 h 1262063"/>
              <a:gd name="connsiteX31" fmla="*/ 623887 w 1679575"/>
              <a:gd name="connsiteY31" fmla="*/ 778007 h 1262063"/>
              <a:gd name="connsiteX32" fmla="*/ 623887 w 1679575"/>
              <a:gd name="connsiteY32" fmla="*/ 1076325 h 1262063"/>
              <a:gd name="connsiteX33" fmla="*/ 677862 w 1679575"/>
              <a:gd name="connsiteY33" fmla="*/ 1076325 h 1262063"/>
              <a:gd name="connsiteX34" fmla="*/ 677862 w 1679575"/>
              <a:gd name="connsiteY34" fmla="*/ 778007 h 1262063"/>
              <a:gd name="connsiteX35" fmla="*/ 650875 w 1679575"/>
              <a:gd name="connsiteY35" fmla="*/ 750887 h 1262063"/>
              <a:gd name="connsiteX36" fmla="*/ 558270 w 1679575"/>
              <a:gd name="connsiteY36" fmla="*/ 750887 h 1262063"/>
              <a:gd name="connsiteX37" fmla="*/ 531812 w 1679575"/>
              <a:gd name="connsiteY37" fmla="*/ 778007 h 1262063"/>
              <a:gd name="connsiteX38" fmla="*/ 531812 w 1679575"/>
              <a:gd name="connsiteY38" fmla="*/ 1076325 h 1262063"/>
              <a:gd name="connsiteX39" fmla="*/ 579437 w 1679575"/>
              <a:gd name="connsiteY39" fmla="*/ 1076325 h 1262063"/>
              <a:gd name="connsiteX40" fmla="*/ 579437 w 1679575"/>
              <a:gd name="connsiteY40" fmla="*/ 778007 h 1262063"/>
              <a:gd name="connsiteX41" fmla="*/ 558270 w 1679575"/>
              <a:gd name="connsiteY41" fmla="*/ 750887 h 1262063"/>
              <a:gd name="connsiteX42" fmla="*/ 87313 w 1679575"/>
              <a:gd name="connsiteY42" fmla="*/ 576262 h 1262063"/>
              <a:gd name="connsiteX43" fmla="*/ 98425 w 1679575"/>
              <a:gd name="connsiteY43" fmla="*/ 576262 h 1262063"/>
              <a:gd name="connsiteX44" fmla="*/ 123560 w 1679575"/>
              <a:gd name="connsiteY44" fmla="*/ 636587 h 1262063"/>
              <a:gd name="connsiteX45" fmla="*/ 130175 w 1679575"/>
              <a:gd name="connsiteY45" fmla="*/ 636587 h 1262063"/>
              <a:gd name="connsiteX46" fmla="*/ 130175 w 1679575"/>
              <a:gd name="connsiteY46" fmla="*/ 652462 h 1262063"/>
              <a:gd name="connsiteX47" fmla="*/ 130175 w 1679575"/>
              <a:gd name="connsiteY47" fmla="*/ 690562 h 1262063"/>
              <a:gd name="connsiteX48" fmla="*/ 157162 w 1679575"/>
              <a:gd name="connsiteY48" fmla="*/ 690562 h 1262063"/>
              <a:gd name="connsiteX49" fmla="*/ 157162 w 1679575"/>
              <a:gd name="connsiteY49" fmla="*/ 777875 h 1262063"/>
              <a:gd name="connsiteX50" fmla="*/ 184150 w 1679575"/>
              <a:gd name="connsiteY50" fmla="*/ 777875 h 1262063"/>
              <a:gd name="connsiteX51" fmla="*/ 184150 w 1679575"/>
              <a:gd name="connsiteY51" fmla="*/ 1076325 h 1262063"/>
              <a:gd name="connsiteX52" fmla="*/ 374650 w 1679575"/>
              <a:gd name="connsiteY52" fmla="*/ 1076325 h 1262063"/>
              <a:gd name="connsiteX53" fmla="*/ 374650 w 1679575"/>
              <a:gd name="connsiteY53" fmla="*/ 849312 h 1262063"/>
              <a:gd name="connsiteX54" fmla="*/ 374650 w 1679575"/>
              <a:gd name="connsiteY54" fmla="*/ 800100 h 1262063"/>
              <a:gd name="connsiteX55" fmla="*/ 471487 w 1679575"/>
              <a:gd name="connsiteY55" fmla="*/ 800100 h 1262063"/>
              <a:gd name="connsiteX56" fmla="*/ 471487 w 1679575"/>
              <a:gd name="connsiteY56" fmla="*/ 666472 h 1262063"/>
              <a:gd name="connsiteX57" fmla="*/ 1201737 w 1679575"/>
              <a:gd name="connsiteY57" fmla="*/ 666472 h 1262063"/>
              <a:gd name="connsiteX58" fmla="*/ 1201737 w 1679575"/>
              <a:gd name="connsiteY58" fmla="*/ 800100 h 1262063"/>
              <a:gd name="connsiteX59" fmla="*/ 1300163 w 1679575"/>
              <a:gd name="connsiteY59" fmla="*/ 800100 h 1262063"/>
              <a:gd name="connsiteX60" fmla="*/ 1300163 w 1679575"/>
              <a:gd name="connsiteY60" fmla="*/ 849312 h 1262063"/>
              <a:gd name="connsiteX61" fmla="*/ 1300163 w 1679575"/>
              <a:gd name="connsiteY61" fmla="*/ 1076325 h 1262063"/>
              <a:gd name="connsiteX62" fmla="*/ 1489075 w 1679575"/>
              <a:gd name="connsiteY62" fmla="*/ 1076325 h 1262063"/>
              <a:gd name="connsiteX63" fmla="*/ 1489075 w 1679575"/>
              <a:gd name="connsiteY63" fmla="*/ 777875 h 1262063"/>
              <a:gd name="connsiteX64" fmla="*/ 1516062 w 1679575"/>
              <a:gd name="connsiteY64" fmla="*/ 777875 h 1262063"/>
              <a:gd name="connsiteX65" fmla="*/ 1516062 w 1679575"/>
              <a:gd name="connsiteY65" fmla="*/ 690562 h 1262063"/>
              <a:gd name="connsiteX66" fmla="*/ 1543050 w 1679575"/>
              <a:gd name="connsiteY66" fmla="*/ 690562 h 1262063"/>
              <a:gd name="connsiteX67" fmla="*/ 1543050 w 1679575"/>
              <a:gd name="connsiteY67" fmla="*/ 652462 h 1262063"/>
              <a:gd name="connsiteX68" fmla="*/ 1543050 w 1679575"/>
              <a:gd name="connsiteY68" fmla="*/ 636587 h 1262063"/>
              <a:gd name="connsiteX69" fmla="*/ 1549995 w 1679575"/>
              <a:gd name="connsiteY69" fmla="*/ 636587 h 1262063"/>
              <a:gd name="connsiteX70" fmla="*/ 1576388 w 1679575"/>
              <a:gd name="connsiteY70" fmla="*/ 576262 h 1262063"/>
              <a:gd name="connsiteX71" fmla="*/ 1587500 w 1679575"/>
              <a:gd name="connsiteY71" fmla="*/ 576262 h 1262063"/>
              <a:gd name="connsiteX72" fmla="*/ 1612635 w 1679575"/>
              <a:gd name="connsiteY72" fmla="*/ 636587 h 1262063"/>
              <a:gd name="connsiteX73" fmla="*/ 1619250 w 1679575"/>
              <a:gd name="connsiteY73" fmla="*/ 636587 h 1262063"/>
              <a:gd name="connsiteX74" fmla="*/ 1619250 w 1679575"/>
              <a:gd name="connsiteY74" fmla="*/ 652462 h 1262063"/>
              <a:gd name="connsiteX75" fmla="*/ 1619250 w 1679575"/>
              <a:gd name="connsiteY75" fmla="*/ 690562 h 1262063"/>
              <a:gd name="connsiteX76" fmla="*/ 1646237 w 1679575"/>
              <a:gd name="connsiteY76" fmla="*/ 690562 h 1262063"/>
              <a:gd name="connsiteX77" fmla="*/ 1646237 w 1679575"/>
              <a:gd name="connsiteY77" fmla="*/ 777875 h 1262063"/>
              <a:gd name="connsiteX78" fmla="*/ 1679575 w 1679575"/>
              <a:gd name="connsiteY78" fmla="*/ 777875 h 1262063"/>
              <a:gd name="connsiteX79" fmla="*/ 1679575 w 1679575"/>
              <a:gd name="connsiteY79" fmla="*/ 1262063 h 1262063"/>
              <a:gd name="connsiteX80" fmla="*/ 1516062 w 1679575"/>
              <a:gd name="connsiteY80" fmla="*/ 1262063 h 1262063"/>
              <a:gd name="connsiteX81" fmla="*/ 1489075 w 1679575"/>
              <a:gd name="connsiteY81" fmla="*/ 1262063 h 1262063"/>
              <a:gd name="connsiteX82" fmla="*/ 1300163 w 1679575"/>
              <a:gd name="connsiteY82" fmla="*/ 1262063 h 1262063"/>
              <a:gd name="connsiteX83" fmla="*/ 374650 w 1679575"/>
              <a:gd name="connsiteY83" fmla="*/ 1262063 h 1262063"/>
              <a:gd name="connsiteX84" fmla="*/ 184150 w 1679575"/>
              <a:gd name="connsiteY84" fmla="*/ 1262063 h 1262063"/>
              <a:gd name="connsiteX85" fmla="*/ 173037 w 1679575"/>
              <a:gd name="connsiteY85" fmla="*/ 1262063 h 1262063"/>
              <a:gd name="connsiteX86" fmla="*/ 0 w 1679575"/>
              <a:gd name="connsiteY86" fmla="*/ 1262063 h 1262063"/>
              <a:gd name="connsiteX87" fmla="*/ 0 w 1679575"/>
              <a:gd name="connsiteY87" fmla="*/ 777875 h 1262063"/>
              <a:gd name="connsiteX88" fmla="*/ 26987 w 1679575"/>
              <a:gd name="connsiteY88" fmla="*/ 777875 h 1262063"/>
              <a:gd name="connsiteX89" fmla="*/ 26987 w 1679575"/>
              <a:gd name="connsiteY89" fmla="*/ 690562 h 1262063"/>
              <a:gd name="connsiteX90" fmla="*/ 53975 w 1679575"/>
              <a:gd name="connsiteY90" fmla="*/ 690562 h 1262063"/>
              <a:gd name="connsiteX91" fmla="*/ 53975 w 1679575"/>
              <a:gd name="connsiteY91" fmla="*/ 652462 h 1262063"/>
              <a:gd name="connsiteX92" fmla="*/ 53975 w 1679575"/>
              <a:gd name="connsiteY92" fmla="*/ 636587 h 1262063"/>
              <a:gd name="connsiteX93" fmla="*/ 60920 w 1679575"/>
              <a:gd name="connsiteY93" fmla="*/ 636587 h 1262063"/>
              <a:gd name="connsiteX94" fmla="*/ 835025 w 1679575"/>
              <a:gd name="connsiteY94" fmla="*/ 0 h 1262063"/>
              <a:gd name="connsiteX95" fmla="*/ 839788 w 1679575"/>
              <a:gd name="connsiteY95" fmla="*/ 0 h 1262063"/>
              <a:gd name="connsiteX96" fmla="*/ 839788 w 1679575"/>
              <a:gd name="connsiteY96" fmla="*/ 98425 h 1262063"/>
              <a:gd name="connsiteX97" fmla="*/ 855662 w 1679575"/>
              <a:gd name="connsiteY97" fmla="*/ 98425 h 1262063"/>
              <a:gd name="connsiteX98" fmla="*/ 855662 w 1679575"/>
              <a:gd name="connsiteY98" fmla="*/ 133122 h 1262063"/>
              <a:gd name="connsiteX99" fmla="*/ 866032 w 1679575"/>
              <a:gd name="connsiteY99" fmla="*/ 137501 h 1262063"/>
              <a:gd name="connsiteX100" fmla="*/ 877889 w 1679575"/>
              <a:gd name="connsiteY100" fmla="*/ 166687 h 1262063"/>
              <a:gd name="connsiteX101" fmla="*/ 876599 w 1679575"/>
              <a:gd name="connsiteY101" fmla="*/ 169862 h 1262063"/>
              <a:gd name="connsiteX102" fmla="*/ 898525 w 1679575"/>
              <a:gd name="connsiteY102" fmla="*/ 169862 h 1262063"/>
              <a:gd name="connsiteX103" fmla="*/ 898525 w 1679575"/>
              <a:gd name="connsiteY103" fmla="*/ 310731 h 1262063"/>
              <a:gd name="connsiteX104" fmla="*/ 908400 w 1679575"/>
              <a:gd name="connsiteY104" fmla="*/ 311721 h 1262063"/>
              <a:gd name="connsiteX105" fmla="*/ 1185862 w 1679575"/>
              <a:gd name="connsiteY105" fmla="*/ 647700 h 1262063"/>
              <a:gd name="connsiteX106" fmla="*/ 1201737 w 1679575"/>
              <a:gd name="connsiteY106" fmla="*/ 647700 h 1262063"/>
              <a:gd name="connsiteX107" fmla="*/ 1201737 w 1679575"/>
              <a:gd name="connsiteY107" fmla="*/ 648184 h 1262063"/>
              <a:gd name="connsiteX108" fmla="*/ 471487 w 1679575"/>
              <a:gd name="connsiteY108" fmla="*/ 648184 h 1262063"/>
              <a:gd name="connsiteX109" fmla="*/ 471487 w 1679575"/>
              <a:gd name="connsiteY109" fmla="*/ 647700 h 1262063"/>
              <a:gd name="connsiteX110" fmla="*/ 487362 w 1679575"/>
              <a:gd name="connsiteY110" fmla="*/ 647700 h 1262063"/>
              <a:gd name="connsiteX111" fmla="*/ 768452 w 1679575"/>
              <a:gd name="connsiteY111" fmla="*/ 311721 h 1262063"/>
              <a:gd name="connsiteX112" fmla="*/ 774700 w 1679575"/>
              <a:gd name="connsiteY112" fmla="*/ 311111 h 1262063"/>
              <a:gd name="connsiteX113" fmla="*/ 774700 w 1679575"/>
              <a:gd name="connsiteY113" fmla="*/ 169862 h 1262063"/>
              <a:gd name="connsiteX114" fmla="*/ 798215 w 1679575"/>
              <a:gd name="connsiteY114" fmla="*/ 169862 h 1262063"/>
              <a:gd name="connsiteX115" fmla="*/ 796925 w 1679575"/>
              <a:gd name="connsiteY115" fmla="*/ 166687 h 1262063"/>
              <a:gd name="connsiteX116" fmla="*/ 808782 w 1679575"/>
              <a:gd name="connsiteY116" fmla="*/ 137501 h 1262063"/>
              <a:gd name="connsiteX117" fmla="*/ 817562 w 1679575"/>
              <a:gd name="connsiteY117" fmla="*/ 133793 h 1262063"/>
              <a:gd name="connsiteX118" fmla="*/ 817562 w 1679575"/>
              <a:gd name="connsiteY118" fmla="*/ 98425 h 1262063"/>
              <a:gd name="connsiteX119" fmla="*/ 835025 w 1679575"/>
              <a:gd name="connsiteY119" fmla="*/ 98425 h 1262063"/>
              <a:gd name="connsiteX0" fmla="*/ 1116013 w 1679575"/>
              <a:gd name="connsiteY0" fmla="*/ 750887 h 1262063"/>
              <a:gd name="connsiteX1" fmla="*/ 1089025 w 1679575"/>
              <a:gd name="connsiteY1" fmla="*/ 778007 h 1262063"/>
              <a:gd name="connsiteX2" fmla="*/ 1089025 w 1679575"/>
              <a:gd name="connsiteY2" fmla="*/ 1076325 h 1262063"/>
              <a:gd name="connsiteX3" fmla="*/ 1143000 w 1679575"/>
              <a:gd name="connsiteY3" fmla="*/ 1076325 h 1262063"/>
              <a:gd name="connsiteX4" fmla="*/ 1143000 w 1679575"/>
              <a:gd name="connsiteY4" fmla="*/ 778007 h 1262063"/>
              <a:gd name="connsiteX5" fmla="*/ 1116013 w 1679575"/>
              <a:gd name="connsiteY5" fmla="*/ 750887 h 1262063"/>
              <a:gd name="connsiteX6" fmla="*/ 1023938 w 1679575"/>
              <a:gd name="connsiteY6" fmla="*/ 750887 h 1262063"/>
              <a:gd name="connsiteX7" fmla="*/ 996950 w 1679575"/>
              <a:gd name="connsiteY7" fmla="*/ 778007 h 1262063"/>
              <a:gd name="connsiteX8" fmla="*/ 996950 w 1679575"/>
              <a:gd name="connsiteY8" fmla="*/ 1076325 h 1262063"/>
              <a:gd name="connsiteX9" fmla="*/ 1050925 w 1679575"/>
              <a:gd name="connsiteY9" fmla="*/ 1076325 h 1262063"/>
              <a:gd name="connsiteX10" fmla="*/ 1050925 w 1679575"/>
              <a:gd name="connsiteY10" fmla="*/ 778007 h 1262063"/>
              <a:gd name="connsiteX11" fmla="*/ 1023938 w 1679575"/>
              <a:gd name="connsiteY11" fmla="*/ 750887 h 1262063"/>
              <a:gd name="connsiteX12" fmla="*/ 926748 w 1679575"/>
              <a:gd name="connsiteY12" fmla="*/ 750887 h 1262063"/>
              <a:gd name="connsiteX13" fmla="*/ 904875 w 1679575"/>
              <a:gd name="connsiteY13" fmla="*/ 778007 h 1262063"/>
              <a:gd name="connsiteX14" fmla="*/ 904875 w 1679575"/>
              <a:gd name="connsiteY14" fmla="*/ 1076325 h 1262063"/>
              <a:gd name="connsiteX15" fmla="*/ 954088 w 1679575"/>
              <a:gd name="connsiteY15" fmla="*/ 1076325 h 1262063"/>
              <a:gd name="connsiteX16" fmla="*/ 954088 w 1679575"/>
              <a:gd name="connsiteY16" fmla="*/ 778007 h 1262063"/>
              <a:gd name="connsiteX17" fmla="*/ 926748 w 1679575"/>
              <a:gd name="connsiteY17" fmla="*/ 750887 h 1262063"/>
              <a:gd name="connsiteX18" fmla="*/ 834232 w 1679575"/>
              <a:gd name="connsiteY18" fmla="*/ 750887 h 1262063"/>
              <a:gd name="connsiteX19" fmla="*/ 806450 w 1679575"/>
              <a:gd name="connsiteY19" fmla="*/ 778007 h 1262063"/>
              <a:gd name="connsiteX20" fmla="*/ 806450 w 1679575"/>
              <a:gd name="connsiteY20" fmla="*/ 1076325 h 1262063"/>
              <a:gd name="connsiteX21" fmla="*/ 862013 w 1679575"/>
              <a:gd name="connsiteY21" fmla="*/ 1076325 h 1262063"/>
              <a:gd name="connsiteX22" fmla="*/ 862013 w 1679575"/>
              <a:gd name="connsiteY22" fmla="*/ 778007 h 1262063"/>
              <a:gd name="connsiteX23" fmla="*/ 834232 w 1679575"/>
              <a:gd name="connsiteY23" fmla="*/ 750887 h 1262063"/>
              <a:gd name="connsiteX24" fmla="*/ 742950 w 1679575"/>
              <a:gd name="connsiteY24" fmla="*/ 750887 h 1262063"/>
              <a:gd name="connsiteX25" fmla="*/ 715962 w 1679575"/>
              <a:gd name="connsiteY25" fmla="*/ 778007 h 1262063"/>
              <a:gd name="connsiteX26" fmla="*/ 715962 w 1679575"/>
              <a:gd name="connsiteY26" fmla="*/ 1076325 h 1262063"/>
              <a:gd name="connsiteX27" fmla="*/ 769937 w 1679575"/>
              <a:gd name="connsiteY27" fmla="*/ 1076325 h 1262063"/>
              <a:gd name="connsiteX28" fmla="*/ 769937 w 1679575"/>
              <a:gd name="connsiteY28" fmla="*/ 778007 h 1262063"/>
              <a:gd name="connsiteX29" fmla="*/ 742950 w 1679575"/>
              <a:gd name="connsiteY29" fmla="*/ 750887 h 1262063"/>
              <a:gd name="connsiteX30" fmla="*/ 650875 w 1679575"/>
              <a:gd name="connsiteY30" fmla="*/ 750887 h 1262063"/>
              <a:gd name="connsiteX31" fmla="*/ 623887 w 1679575"/>
              <a:gd name="connsiteY31" fmla="*/ 778007 h 1262063"/>
              <a:gd name="connsiteX32" fmla="*/ 623887 w 1679575"/>
              <a:gd name="connsiteY32" fmla="*/ 1076325 h 1262063"/>
              <a:gd name="connsiteX33" fmla="*/ 677862 w 1679575"/>
              <a:gd name="connsiteY33" fmla="*/ 1076325 h 1262063"/>
              <a:gd name="connsiteX34" fmla="*/ 677862 w 1679575"/>
              <a:gd name="connsiteY34" fmla="*/ 778007 h 1262063"/>
              <a:gd name="connsiteX35" fmla="*/ 650875 w 1679575"/>
              <a:gd name="connsiteY35" fmla="*/ 750887 h 1262063"/>
              <a:gd name="connsiteX36" fmla="*/ 558270 w 1679575"/>
              <a:gd name="connsiteY36" fmla="*/ 750887 h 1262063"/>
              <a:gd name="connsiteX37" fmla="*/ 531812 w 1679575"/>
              <a:gd name="connsiteY37" fmla="*/ 778007 h 1262063"/>
              <a:gd name="connsiteX38" fmla="*/ 531812 w 1679575"/>
              <a:gd name="connsiteY38" fmla="*/ 1076325 h 1262063"/>
              <a:gd name="connsiteX39" fmla="*/ 579437 w 1679575"/>
              <a:gd name="connsiteY39" fmla="*/ 1076325 h 1262063"/>
              <a:gd name="connsiteX40" fmla="*/ 579437 w 1679575"/>
              <a:gd name="connsiteY40" fmla="*/ 778007 h 1262063"/>
              <a:gd name="connsiteX41" fmla="*/ 558270 w 1679575"/>
              <a:gd name="connsiteY41" fmla="*/ 750887 h 1262063"/>
              <a:gd name="connsiteX42" fmla="*/ 87313 w 1679575"/>
              <a:gd name="connsiteY42" fmla="*/ 576262 h 1262063"/>
              <a:gd name="connsiteX43" fmla="*/ 98425 w 1679575"/>
              <a:gd name="connsiteY43" fmla="*/ 576262 h 1262063"/>
              <a:gd name="connsiteX44" fmla="*/ 123560 w 1679575"/>
              <a:gd name="connsiteY44" fmla="*/ 636587 h 1262063"/>
              <a:gd name="connsiteX45" fmla="*/ 130175 w 1679575"/>
              <a:gd name="connsiteY45" fmla="*/ 636587 h 1262063"/>
              <a:gd name="connsiteX46" fmla="*/ 130175 w 1679575"/>
              <a:gd name="connsiteY46" fmla="*/ 652462 h 1262063"/>
              <a:gd name="connsiteX47" fmla="*/ 130175 w 1679575"/>
              <a:gd name="connsiteY47" fmla="*/ 690562 h 1262063"/>
              <a:gd name="connsiteX48" fmla="*/ 157162 w 1679575"/>
              <a:gd name="connsiteY48" fmla="*/ 690562 h 1262063"/>
              <a:gd name="connsiteX49" fmla="*/ 157162 w 1679575"/>
              <a:gd name="connsiteY49" fmla="*/ 777875 h 1262063"/>
              <a:gd name="connsiteX50" fmla="*/ 184150 w 1679575"/>
              <a:gd name="connsiteY50" fmla="*/ 777875 h 1262063"/>
              <a:gd name="connsiteX51" fmla="*/ 184150 w 1679575"/>
              <a:gd name="connsiteY51" fmla="*/ 1076325 h 1262063"/>
              <a:gd name="connsiteX52" fmla="*/ 374650 w 1679575"/>
              <a:gd name="connsiteY52" fmla="*/ 1076325 h 1262063"/>
              <a:gd name="connsiteX53" fmla="*/ 374650 w 1679575"/>
              <a:gd name="connsiteY53" fmla="*/ 849312 h 1262063"/>
              <a:gd name="connsiteX54" fmla="*/ 374650 w 1679575"/>
              <a:gd name="connsiteY54" fmla="*/ 800100 h 1262063"/>
              <a:gd name="connsiteX55" fmla="*/ 471487 w 1679575"/>
              <a:gd name="connsiteY55" fmla="*/ 800100 h 1262063"/>
              <a:gd name="connsiteX56" fmla="*/ 471487 w 1679575"/>
              <a:gd name="connsiteY56" fmla="*/ 666472 h 1262063"/>
              <a:gd name="connsiteX57" fmla="*/ 1201737 w 1679575"/>
              <a:gd name="connsiteY57" fmla="*/ 666472 h 1262063"/>
              <a:gd name="connsiteX58" fmla="*/ 1201737 w 1679575"/>
              <a:gd name="connsiteY58" fmla="*/ 800100 h 1262063"/>
              <a:gd name="connsiteX59" fmla="*/ 1300163 w 1679575"/>
              <a:gd name="connsiteY59" fmla="*/ 800100 h 1262063"/>
              <a:gd name="connsiteX60" fmla="*/ 1300163 w 1679575"/>
              <a:gd name="connsiteY60" fmla="*/ 849312 h 1262063"/>
              <a:gd name="connsiteX61" fmla="*/ 1300163 w 1679575"/>
              <a:gd name="connsiteY61" fmla="*/ 1076325 h 1262063"/>
              <a:gd name="connsiteX62" fmla="*/ 1489075 w 1679575"/>
              <a:gd name="connsiteY62" fmla="*/ 1076325 h 1262063"/>
              <a:gd name="connsiteX63" fmla="*/ 1489075 w 1679575"/>
              <a:gd name="connsiteY63" fmla="*/ 777875 h 1262063"/>
              <a:gd name="connsiteX64" fmla="*/ 1516062 w 1679575"/>
              <a:gd name="connsiteY64" fmla="*/ 777875 h 1262063"/>
              <a:gd name="connsiteX65" fmla="*/ 1516062 w 1679575"/>
              <a:gd name="connsiteY65" fmla="*/ 690562 h 1262063"/>
              <a:gd name="connsiteX66" fmla="*/ 1543050 w 1679575"/>
              <a:gd name="connsiteY66" fmla="*/ 690562 h 1262063"/>
              <a:gd name="connsiteX67" fmla="*/ 1543050 w 1679575"/>
              <a:gd name="connsiteY67" fmla="*/ 652462 h 1262063"/>
              <a:gd name="connsiteX68" fmla="*/ 1543050 w 1679575"/>
              <a:gd name="connsiteY68" fmla="*/ 636587 h 1262063"/>
              <a:gd name="connsiteX69" fmla="*/ 1549995 w 1679575"/>
              <a:gd name="connsiteY69" fmla="*/ 636587 h 1262063"/>
              <a:gd name="connsiteX70" fmla="*/ 1576388 w 1679575"/>
              <a:gd name="connsiteY70" fmla="*/ 576262 h 1262063"/>
              <a:gd name="connsiteX71" fmla="*/ 1587500 w 1679575"/>
              <a:gd name="connsiteY71" fmla="*/ 576262 h 1262063"/>
              <a:gd name="connsiteX72" fmla="*/ 1612635 w 1679575"/>
              <a:gd name="connsiteY72" fmla="*/ 636587 h 1262063"/>
              <a:gd name="connsiteX73" fmla="*/ 1619250 w 1679575"/>
              <a:gd name="connsiteY73" fmla="*/ 636587 h 1262063"/>
              <a:gd name="connsiteX74" fmla="*/ 1619250 w 1679575"/>
              <a:gd name="connsiteY74" fmla="*/ 652462 h 1262063"/>
              <a:gd name="connsiteX75" fmla="*/ 1619250 w 1679575"/>
              <a:gd name="connsiteY75" fmla="*/ 690562 h 1262063"/>
              <a:gd name="connsiteX76" fmla="*/ 1646237 w 1679575"/>
              <a:gd name="connsiteY76" fmla="*/ 690562 h 1262063"/>
              <a:gd name="connsiteX77" fmla="*/ 1646237 w 1679575"/>
              <a:gd name="connsiteY77" fmla="*/ 777875 h 1262063"/>
              <a:gd name="connsiteX78" fmla="*/ 1679575 w 1679575"/>
              <a:gd name="connsiteY78" fmla="*/ 777875 h 1262063"/>
              <a:gd name="connsiteX79" fmla="*/ 1679575 w 1679575"/>
              <a:gd name="connsiteY79" fmla="*/ 1262063 h 1262063"/>
              <a:gd name="connsiteX80" fmla="*/ 1516062 w 1679575"/>
              <a:gd name="connsiteY80" fmla="*/ 1262063 h 1262063"/>
              <a:gd name="connsiteX81" fmla="*/ 1489075 w 1679575"/>
              <a:gd name="connsiteY81" fmla="*/ 1262063 h 1262063"/>
              <a:gd name="connsiteX82" fmla="*/ 1300163 w 1679575"/>
              <a:gd name="connsiteY82" fmla="*/ 1262063 h 1262063"/>
              <a:gd name="connsiteX83" fmla="*/ 374650 w 1679575"/>
              <a:gd name="connsiteY83" fmla="*/ 1262063 h 1262063"/>
              <a:gd name="connsiteX84" fmla="*/ 184150 w 1679575"/>
              <a:gd name="connsiteY84" fmla="*/ 1262063 h 1262063"/>
              <a:gd name="connsiteX85" fmla="*/ 173037 w 1679575"/>
              <a:gd name="connsiteY85" fmla="*/ 1262063 h 1262063"/>
              <a:gd name="connsiteX86" fmla="*/ 0 w 1679575"/>
              <a:gd name="connsiteY86" fmla="*/ 1262063 h 1262063"/>
              <a:gd name="connsiteX87" fmla="*/ 0 w 1679575"/>
              <a:gd name="connsiteY87" fmla="*/ 777875 h 1262063"/>
              <a:gd name="connsiteX88" fmla="*/ 26987 w 1679575"/>
              <a:gd name="connsiteY88" fmla="*/ 777875 h 1262063"/>
              <a:gd name="connsiteX89" fmla="*/ 26987 w 1679575"/>
              <a:gd name="connsiteY89" fmla="*/ 690562 h 1262063"/>
              <a:gd name="connsiteX90" fmla="*/ 53975 w 1679575"/>
              <a:gd name="connsiteY90" fmla="*/ 690562 h 1262063"/>
              <a:gd name="connsiteX91" fmla="*/ 53975 w 1679575"/>
              <a:gd name="connsiteY91" fmla="*/ 652462 h 1262063"/>
              <a:gd name="connsiteX92" fmla="*/ 53975 w 1679575"/>
              <a:gd name="connsiteY92" fmla="*/ 636587 h 1262063"/>
              <a:gd name="connsiteX93" fmla="*/ 60920 w 1679575"/>
              <a:gd name="connsiteY93" fmla="*/ 636587 h 1262063"/>
              <a:gd name="connsiteX94" fmla="*/ 87313 w 1679575"/>
              <a:gd name="connsiteY94" fmla="*/ 576262 h 1262063"/>
              <a:gd name="connsiteX95" fmla="*/ 835025 w 1679575"/>
              <a:gd name="connsiteY95" fmla="*/ 0 h 1262063"/>
              <a:gd name="connsiteX96" fmla="*/ 839788 w 1679575"/>
              <a:gd name="connsiteY96" fmla="*/ 0 h 1262063"/>
              <a:gd name="connsiteX97" fmla="*/ 839788 w 1679575"/>
              <a:gd name="connsiteY97" fmla="*/ 98425 h 1262063"/>
              <a:gd name="connsiteX98" fmla="*/ 855662 w 1679575"/>
              <a:gd name="connsiteY98" fmla="*/ 98425 h 1262063"/>
              <a:gd name="connsiteX99" fmla="*/ 855662 w 1679575"/>
              <a:gd name="connsiteY99" fmla="*/ 133122 h 1262063"/>
              <a:gd name="connsiteX100" fmla="*/ 866032 w 1679575"/>
              <a:gd name="connsiteY100" fmla="*/ 137501 h 1262063"/>
              <a:gd name="connsiteX101" fmla="*/ 877889 w 1679575"/>
              <a:gd name="connsiteY101" fmla="*/ 166687 h 1262063"/>
              <a:gd name="connsiteX102" fmla="*/ 876599 w 1679575"/>
              <a:gd name="connsiteY102" fmla="*/ 169862 h 1262063"/>
              <a:gd name="connsiteX103" fmla="*/ 898525 w 1679575"/>
              <a:gd name="connsiteY103" fmla="*/ 169862 h 1262063"/>
              <a:gd name="connsiteX104" fmla="*/ 898525 w 1679575"/>
              <a:gd name="connsiteY104" fmla="*/ 310731 h 1262063"/>
              <a:gd name="connsiteX105" fmla="*/ 908400 w 1679575"/>
              <a:gd name="connsiteY105" fmla="*/ 311721 h 1262063"/>
              <a:gd name="connsiteX106" fmla="*/ 1185862 w 1679575"/>
              <a:gd name="connsiteY106" fmla="*/ 647700 h 1262063"/>
              <a:gd name="connsiteX107" fmla="*/ 1201737 w 1679575"/>
              <a:gd name="connsiteY107" fmla="*/ 647700 h 1262063"/>
              <a:gd name="connsiteX108" fmla="*/ 471487 w 1679575"/>
              <a:gd name="connsiteY108" fmla="*/ 648184 h 1262063"/>
              <a:gd name="connsiteX109" fmla="*/ 471487 w 1679575"/>
              <a:gd name="connsiteY109" fmla="*/ 647700 h 1262063"/>
              <a:gd name="connsiteX110" fmla="*/ 487362 w 1679575"/>
              <a:gd name="connsiteY110" fmla="*/ 647700 h 1262063"/>
              <a:gd name="connsiteX111" fmla="*/ 768452 w 1679575"/>
              <a:gd name="connsiteY111" fmla="*/ 311721 h 1262063"/>
              <a:gd name="connsiteX112" fmla="*/ 774700 w 1679575"/>
              <a:gd name="connsiteY112" fmla="*/ 311111 h 1262063"/>
              <a:gd name="connsiteX113" fmla="*/ 774700 w 1679575"/>
              <a:gd name="connsiteY113" fmla="*/ 169862 h 1262063"/>
              <a:gd name="connsiteX114" fmla="*/ 798215 w 1679575"/>
              <a:gd name="connsiteY114" fmla="*/ 169862 h 1262063"/>
              <a:gd name="connsiteX115" fmla="*/ 796925 w 1679575"/>
              <a:gd name="connsiteY115" fmla="*/ 166687 h 1262063"/>
              <a:gd name="connsiteX116" fmla="*/ 808782 w 1679575"/>
              <a:gd name="connsiteY116" fmla="*/ 137501 h 1262063"/>
              <a:gd name="connsiteX117" fmla="*/ 817562 w 1679575"/>
              <a:gd name="connsiteY117" fmla="*/ 133793 h 1262063"/>
              <a:gd name="connsiteX118" fmla="*/ 817562 w 1679575"/>
              <a:gd name="connsiteY118" fmla="*/ 98425 h 1262063"/>
              <a:gd name="connsiteX119" fmla="*/ 835025 w 1679575"/>
              <a:gd name="connsiteY119" fmla="*/ 98425 h 1262063"/>
              <a:gd name="connsiteX120" fmla="*/ 835025 w 1679575"/>
              <a:gd name="connsiteY120" fmla="*/ 0 h 1262063"/>
              <a:gd name="connsiteX0" fmla="*/ 1116013 w 1679575"/>
              <a:gd name="connsiteY0" fmla="*/ 750887 h 1262063"/>
              <a:gd name="connsiteX1" fmla="*/ 1089025 w 1679575"/>
              <a:gd name="connsiteY1" fmla="*/ 778007 h 1262063"/>
              <a:gd name="connsiteX2" fmla="*/ 1089025 w 1679575"/>
              <a:gd name="connsiteY2" fmla="*/ 1076325 h 1262063"/>
              <a:gd name="connsiteX3" fmla="*/ 1143000 w 1679575"/>
              <a:gd name="connsiteY3" fmla="*/ 1076325 h 1262063"/>
              <a:gd name="connsiteX4" fmla="*/ 1143000 w 1679575"/>
              <a:gd name="connsiteY4" fmla="*/ 778007 h 1262063"/>
              <a:gd name="connsiteX5" fmla="*/ 1116013 w 1679575"/>
              <a:gd name="connsiteY5" fmla="*/ 750887 h 1262063"/>
              <a:gd name="connsiteX6" fmla="*/ 1023938 w 1679575"/>
              <a:gd name="connsiteY6" fmla="*/ 750887 h 1262063"/>
              <a:gd name="connsiteX7" fmla="*/ 996950 w 1679575"/>
              <a:gd name="connsiteY7" fmla="*/ 778007 h 1262063"/>
              <a:gd name="connsiteX8" fmla="*/ 996950 w 1679575"/>
              <a:gd name="connsiteY8" fmla="*/ 1076325 h 1262063"/>
              <a:gd name="connsiteX9" fmla="*/ 1050925 w 1679575"/>
              <a:gd name="connsiteY9" fmla="*/ 1076325 h 1262063"/>
              <a:gd name="connsiteX10" fmla="*/ 1050925 w 1679575"/>
              <a:gd name="connsiteY10" fmla="*/ 778007 h 1262063"/>
              <a:gd name="connsiteX11" fmla="*/ 1023938 w 1679575"/>
              <a:gd name="connsiteY11" fmla="*/ 750887 h 1262063"/>
              <a:gd name="connsiteX12" fmla="*/ 926748 w 1679575"/>
              <a:gd name="connsiteY12" fmla="*/ 750887 h 1262063"/>
              <a:gd name="connsiteX13" fmla="*/ 904875 w 1679575"/>
              <a:gd name="connsiteY13" fmla="*/ 778007 h 1262063"/>
              <a:gd name="connsiteX14" fmla="*/ 904875 w 1679575"/>
              <a:gd name="connsiteY14" fmla="*/ 1076325 h 1262063"/>
              <a:gd name="connsiteX15" fmla="*/ 954088 w 1679575"/>
              <a:gd name="connsiteY15" fmla="*/ 1076325 h 1262063"/>
              <a:gd name="connsiteX16" fmla="*/ 954088 w 1679575"/>
              <a:gd name="connsiteY16" fmla="*/ 778007 h 1262063"/>
              <a:gd name="connsiteX17" fmla="*/ 926748 w 1679575"/>
              <a:gd name="connsiteY17" fmla="*/ 750887 h 1262063"/>
              <a:gd name="connsiteX18" fmla="*/ 834232 w 1679575"/>
              <a:gd name="connsiteY18" fmla="*/ 750887 h 1262063"/>
              <a:gd name="connsiteX19" fmla="*/ 806450 w 1679575"/>
              <a:gd name="connsiteY19" fmla="*/ 778007 h 1262063"/>
              <a:gd name="connsiteX20" fmla="*/ 806450 w 1679575"/>
              <a:gd name="connsiteY20" fmla="*/ 1076325 h 1262063"/>
              <a:gd name="connsiteX21" fmla="*/ 862013 w 1679575"/>
              <a:gd name="connsiteY21" fmla="*/ 1076325 h 1262063"/>
              <a:gd name="connsiteX22" fmla="*/ 862013 w 1679575"/>
              <a:gd name="connsiteY22" fmla="*/ 778007 h 1262063"/>
              <a:gd name="connsiteX23" fmla="*/ 834232 w 1679575"/>
              <a:gd name="connsiteY23" fmla="*/ 750887 h 1262063"/>
              <a:gd name="connsiteX24" fmla="*/ 742950 w 1679575"/>
              <a:gd name="connsiteY24" fmla="*/ 750887 h 1262063"/>
              <a:gd name="connsiteX25" fmla="*/ 715962 w 1679575"/>
              <a:gd name="connsiteY25" fmla="*/ 778007 h 1262063"/>
              <a:gd name="connsiteX26" fmla="*/ 715962 w 1679575"/>
              <a:gd name="connsiteY26" fmla="*/ 1076325 h 1262063"/>
              <a:gd name="connsiteX27" fmla="*/ 769937 w 1679575"/>
              <a:gd name="connsiteY27" fmla="*/ 1076325 h 1262063"/>
              <a:gd name="connsiteX28" fmla="*/ 769937 w 1679575"/>
              <a:gd name="connsiteY28" fmla="*/ 778007 h 1262063"/>
              <a:gd name="connsiteX29" fmla="*/ 742950 w 1679575"/>
              <a:gd name="connsiteY29" fmla="*/ 750887 h 1262063"/>
              <a:gd name="connsiteX30" fmla="*/ 650875 w 1679575"/>
              <a:gd name="connsiteY30" fmla="*/ 750887 h 1262063"/>
              <a:gd name="connsiteX31" fmla="*/ 623887 w 1679575"/>
              <a:gd name="connsiteY31" fmla="*/ 778007 h 1262063"/>
              <a:gd name="connsiteX32" fmla="*/ 623887 w 1679575"/>
              <a:gd name="connsiteY32" fmla="*/ 1076325 h 1262063"/>
              <a:gd name="connsiteX33" fmla="*/ 677862 w 1679575"/>
              <a:gd name="connsiteY33" fmla="*/ 1076325 h 1262063"/>
              <a:gd name="connsiteX34" fmla="*/ 677862 w 1679575"/>
              <a:gd name="connsiteY34" fmla="*/ 778007 h 1262063"/>
              <a:gd name="connsiteX35" fmla="*/ 650875 w 1679575"/>
              <a:gd name="connsiteY35" fmla="*/ 750887 h 1262063"/>
              <a:gd name="connsiteX36" fmla="*/ 558270 w 1679575"/>
              <a:gd name="connsiteY36" fmla="*/ 750887 h 1262063"/>
              <a:gd name="connsiteX37" fmla="*/ 531812 w 1679575"/>
              <a:gd name="connsiteY37" fmla="*/ 778007 h 1262063"/>
              <a:gd name="connsiteX38" fmla="*/ 531812 w 1679575"/>
              <a:gd name="connsiteY38" fmla="*/ 1076325 h 1262063"/>
              <a:gd name="connsiteX39" fmla="*/ 579437 w 1679575"/>
              <a:gd name="connsiteY39" fmla="*/ 1076325 h 1262063"/>
              <a:gd name="connsiteX40" fmla="*/ 579437 w 1679575"/>
              <a:gd name="connsiteY40" fmla="*/ 778007 h 1262063"/>
              <a:gd name="connsiteX41" fmla="*/ 558270 w 1679575"/>
              <a:gd name="connsiteY41" fmla="*/ 750887 h 1262063"/>
              <a:gd name="connsiteX42" fmla="*/ 87313 w 1679575"/>
              <a:gd name="connsiteY42" fmla="*/ 576262 h 1262063"/>
              <a:gd name="connsiteX43" fmla="*/ 98425 w 1679575"/>
              <a:gd name="connsiteY43" fmla="*/ 576262 h 1262063"/>
              <a:gd name="connsiteX44" fmla="*/ 123560 w 1679575"/>
              <a:gd name="connsiteY44" fmla="*/ 636587 h 1262063"/>
              <a:gd name="connsiteX45" fmla="*/ 130175 w 1679575"/>
              <a:gd name="connsiteY45" fmla="*/ 636587 h 1262063"/>
              <a:gd name="connsiteX46" fmla="*/ 130175 w 1679575"/>
              <a:gd name="connsiteY46" fmla="*/ 652462 h 1262063"/>
              <a:gd name="connsiteX47" fmla="*/ 130175 w 1679575"/>
              <a:gd name="connsiteY47" fmla="*/ 690562 h 1262063"/>
              <a:gd name="connsiteX48" fmla="*/ 157162 w 1679575"/>
              <a:gd name="connsiteY48" fmla="*/ 690562 h 1262063"/>
              <a:gd name="connsiteX49" fmla="*/ 157162 w 1679575"/>
              <a:gd name="connsiteY49" fmla="*/ 777875 h 1262063"/>
              <a:gd name="connsiteX50" fmla="*/ 184150 w 1679575"/>
              <a:gd name="connsiteY50" fmla="*/ 777875 h 1262063"/>
              <a:gd name="connsiteX51" fmla="*/ 184150 w 1679575"/>
              <a:gd name="connsiteY51" fmla="*/ 1076325 h 1262063"/>
              <a:gd name="connsiteX52" fmla="*/ 374650 w 1679575"/>
              <a:gd name="connsiteY52" fmla="*/ 1076325 h 1262063"/>
              <a:gd name="connsiteX53" fmla="*/ 374650 w 1679575"/>
              <a:gd name="connsiteY53" fmla="*/ 849312 h 1262063"/>
              <a:gd name="connsiteX54" fmla="*/ 374650 w 1679575"/>
              <a:gd name="connsiteY54" fmla="*/ 800100 h 1262063"/>
              <a:gd name="connsiteX55" fmla="*/ 471487 w 1679575"/>
              <a:gd name="connsiteY55" fmla="*/ 800100 h 1262063"/>
              <a:gd name="connsiteX56" fmla="*/ 471487 w 1679575"/>
              <a:gd name="connsiteY56" fmla="*/ 666472 h 1262063"/>
              <a:gd name="connsiteX57" fmla="*/ 1201737 w 1679575"/>
              <a:gd name="connsiteY57" fmla="*/ 666472 h 1262063"/>
              <a:gd name="connsiteX58" fmla="*/ 1201737 w 1679575"/>
              <a:gd name="connsiteY58" fmla="*/ 800100 h 1262063"/>
              <a:gd name="connsiteX59" fmla="*/ 1300163 w 1679575"/>
              <a:gd name="connsiteY59" fmla="*/ 800100 h 1262063"/>
              <a:gd name="connsiteX60" fmla="*/ 1300163 w 1679575"/>
              <a:gd name="connsiteY60" fmla="*/ 849312 h 1262063"/>
              <a:gd name="connsiteX61" fmla="*/ 1300163 w 1679575"/>
              <a:gd name="connsiteY61" fmla="*/ 1076325 h 1262063"/>
              <a:gd name="connsiteX62" fmla="*/ 1489075 w 1679575"/>
              <a:gd name="connsiteY62" fmla="*/ 1076325 h 1262063"/>
              <a:gd name="connsiteX63" fmla="*/ 1489075 w 1679575"/>
              <a:gd name="connsiteY63" fmla="*/ 777875 h 1262063"/>
              <a:gd name="connsiteX64" fmla="*/ 1516062 w 1679575"/>
              <a:gd name="connsiteY64" fmla="*/ 777875 h 1262063"/>
              <a:gd name="connsiteX65" fmla="*/ 1516062 w 1679575"/>
              <a:gd name="connsiteY65" fmla="*/ 690562 h 1262063"/>
              <a:gd name="connsiteX66" fmla="*/ 1543050 w 1679575"/>
              <a:gd name="connsiteY66" fmla="*/ 690562 h 1262063"/>
              <a:gd name="connsiteX67" fmla="*/ 1543050 w 1679575"/>
              <a:gd name="connsiteY67" fmla="*/ 652462 h 1262063"/>
              <a:gd name="connsiteX68" fmla="*/ 1543050 w 1679575"/>
              <a:gd name="connsiteY68" fmla="*/ 636587 h 1262063"/>
              <a:gd name="connsiteX69" fmla="*/ 1549995 w 1679575"/>
              <a:gd name="connsiteY69" fmla="*/ 636587 h 1262063"/>
              <a:gd name="connsiteX70" fmla="*/ 1576388 w 1679575"/>
              <a:gd name="connsiteY70" fmla="*/ 576262 h 1262063"/>
              <a:gd name="connsiteX71" fmla="*/ 1587500 w 1679575"/>
              <a:gd name="connsiteY71" fmla="*/ 576262 h 1262063"/>
              <a:gd name="connsiteX72" fmla="*/ 1612635 w 1679575"/>
              <a:gd name="connsiteY72" fmla="*/ 636587 h 1262063"/>
              <a:gd name="connsiteX73" fmla="*/ 1619250 w 1679575"/>
              <a:gd name="connsiteY73" fmla="*/ 636587 h 1262063"/>
              <a:gd name="connsiteX74" fmla="*/ 1619250 w 1679575"/>
              <a:gd name="connsiteY74" fmla="*/ 652462 h 1262063"/>
              <a:gd name="connsiteX75" fmla="*/ 1619250 w 1679575"/>
              <a:gd name="connsiteY75" fmla="*/ 690562 h 1262063"/>
              <a:gd name="connsiteX76" fmla="*/ 1646237 w 1679575"/>
              <a:gd name="connsiteY76" fmla="*/ 690562 h 1262063"/>
              <a:gd name="connsiteX77" fmla="*/ 1646237 w 1679575"/>
              <a:gd name="connsiteY77" fmla="*/ 777875 h 1262063"/>
              <a:gd name="connsiteX78" fmla="*/ 1679575 w 1679575"/>
              <a:gd name="connsiteY78" fmla="*/ 777875 h 1262063"/>
              <a:gd name="connsiteX79" fmla="*/ 1679575 w 1679575"/>
              <a:gd name="connsiteY79" fmla="*/ 1262063 h 1262063"/>
              <a:gd name="connsiteX80" fmla="*/ 1516062 w 1679575"/>
              <a:gd name="connsiteY80" fmla="*/ 1262063 h 1262063"/>
              <a:gd name="connsiteX81" fmla="*/ 1489075 w 1679575"/>
              <a:gd name="connsiteY81" fmla="*/ 1262063 h 1262063"/>
              <a:gd name="connsiteX82" fmla="*/ 1300163 w 1679575"/>
              <a:gd name="connsiteY82" fmla="*/ 1262063 h 1262063"/>
              <a:gd name="connsiteX83" fmla="*/ 374650 w 1679575"/>
              <a:gd name="connsiteY83" fmla="*/ 1262063 h 1262063"/>
              <a:gd name="connsiteX84" fmla="*/ 184150 w 1679575"/>
              <a:gd name="connsiteY84" fmla="*/ 1262063 h 1262063"/>
              <a:gd name="connsiteX85" fmla="*/ 173037 w 1679575"/>
              <a:gd name="connsiteY85" fmla="*/ 1262063 h 1262063"/>
              <a:gd name="connsiteX86" fmla="*/ 0 w 1679575"/>
              <a:gd name="connsiteY86" fmla="*/ 1262063 h 1262063"/>
              <a:gd name="connsiteX87" fmla="*/ 0 w 1679575"/>
              <a:gd name="connsiteY87" fmla="*/ 777875 h 1262063"/>
              <a:gd name="connsiteX88" fmla="*/ 26987 w 1679575"/>
              <a:gd name="connsiteY88" fmla="*/ 777875 h 1262063"/>
              <a:gd name="connsiteX89" fmla="*/ 26987 w 1679575"/>
              <a:gd name="connsiteY89" fmla="*/ 690562 h 1262063"/>
              <a:gd name="connsiteX90" fmla="*/ 53975 w 1679575"/>
              <a:gd name="connsiteY90" fmla="*/ 690562 h 1262063"/>
              <a:gd name="connsiteX91" fmla="*/ 53975 w 1679575"/>
              <a:gd name="connsiteY91" fmla="*/ 652462 h 1262063"/>
              <a:gd name="connsiteX92" fmla="*/ 53975 w 1679575"/>
              <a:gd name="connsiteY92" fmla="*/ 636587 h 1262063"/>
              <a:gd name="connsiteX93" fmla="*/ 60920 w 1679575"/>
              <a:gd name="connsiteY93" fmla="*/ 636587 h 1262063"/>
              <a:gd name="connsiteX94" fmla="*/ 87313 w 1679575"/>
              <a:gd name="connsiteY94" fmla="*/ 576262 h 1262063"/>
              <a:gd name="connsiteX95" fmla="*/ 835025 w 1679575"/>
              <a:gd name="connsiteY95" fmla="*/ 0 h 1262063"/>
              <a:gd name="connsiteX96" fmla="*/ 839788 w 1679575"/>
              <a:gd name="connsiteY96" fmla="*/ 0 h 1262063"/>
              <a:gd name="connsiteX97" fmla="*/ 839788 w 1679575"/>
              <a:gd name="connsiteY97" fmla="*/ 98425 h 1262063"/>
              <a:gd name="connsiteX98" fmla="*/ 855662 w 1679575"/>
              <a:gd name="connsiteY98" fmla="*/ 98425 h 1262063"/>
              <a:gd name="connsiteX99" fmla="*/ 855662 w 1679575"/>
              <a:gd name="connsiteY99" fmla="*/ 133122 h 1262063"/>
              <a:gd name="connsiteX100" fmla="*/ 866032 w 1679575"/>
              <a:gd name="connsiteY100" fmla="*/ 137501 h 1262063"/>
              <a:gd name="connsiteX101" fmla="*/ 877889 w 1679575"/>
              <a:gd name="connsiteY101" fmla="*/ 166687 h 1262063"/>
              <a:gd name="connsiteX102" fmla="*/ 876599 w 1679575"/>
              <a:gd name="connsiteY102" fmla="*/ 169862 h 1262063"/>
              <a:gd name="connsiteX103" fmla="*/ 898525 w 1679575"/>
              <a:gd name="connsiteY103" fmla="*/ 169862 h 1262063"/>
              <a:gd name="connsiteX104" fmla="*/ 898525 w 1679575"/>
              <a:gd name="connsiteY104" fmla="*/ 310731 h 1262063"/>
              <a:gd name="connsiteX105" fmla="*/ 908400 w 1679575"/>
              <a:gd name="connsiteY105" fmla="*/ 311721 h 1262063"/>
              <a:gd name="connsiteX106" fmla="*/ 1185862 w 1679575"/>
              <a:gd name="connsiteY106" fmla="*/ 647700 h 1262063"/>
              <a:gd name="connsiteX107" fmla="*/ 471487 w 1679575"/>
              <a:gd name="connsiteY107" fmla="*/ 648184 h 1262063"/>
              <a:gd name="connsiteX108" fmla="*/ 471487 w 1679575"/>
              <a:gd name="connsiteY108" fmla="*/ 647700 h 1262063"/>
              <a:gd name="connsiteX109" fmla="*/ 487362 w 1679575"/>
              <a:gd name="connsiteY109" fmla="*/ 647700 h 1262063"/>
              <a:gd name="connsiteX110" fmla="*/ 768452 w 1679575"/>
              <a:gd name="connsiteY110" fmla="*/ 311721 h 1262063"/>
              <a:gd name="connsiteX111" fmla="*/ 774700 w 1679575"/>
              <a:gd name="connsiteY111" fmla="*/ 311111 h 1262063"/>
              <a:gd name="connsiteX112" fmla="*/ 774700 w 1679575"/>
              <a:gd name="connsiteY112" fmla="*/ 169862 h 1262063"/>
              <a:gd name="connsiteX113" fmla="*/ 798215 w 1679575"/>
              <a:gd name="connsiteY113" fmla="*/ 169862 h 1262063"/>
              <a:gd name="connsiteX114" fmla="*/ 796925 w 1679575"/>
              <a:gd name="connsiteY114" fmla="*/ 166687 h 1262063"/>
              <a:gd name="connsiteX115" fmla="*/ 808782 w 1679575"/>
              <a:gd name="connsiteY115" fmla="*/ 137501 h 1262063"/>
              <a:gd name="connsiteX116" fmla="*/ 817562 w 1679575"/>
              <a:gd name="connsiteY116" fmla="*/ 133793 h 1262063"/>
              <a:gd name="connsiteX117" fmla="*/ 817562 w 1679575"/>
              <a:gd name="connsiteY117" fmla="*/ 98425 h 1262063"/>
              <a:gd name="connsiteX118" fmla="*/ 835025 w 1679575"/>
              <a:gd name="connsiteY118" fmla="*/ 98425 h 1262063"/>
              <a:gd name="connsiteX119" fmla="*/ 835025 w 1679575"/>
              <a:gd name="connsiteY119" fmla="*/ 0 h 1262063"/>
              <a:gd name="connsiteX0" fmla="*/ 1116013 w 1679575"/>
              <a:gd name="connsiteY0" fmla="*/ 750887 h 1262063"/>
              <a:gd name="connsiteX1" fmla="*/ 1089025 w 1679575"/>
              <a:gd name="connsiteY1" fmla="*/ 778007 h 1262063"/>
              <a:gd name="connsiteX2" fmla="*/ 1089025 w 1679575"/>
              <a:gd name="connsiteY2" fmla="*/ 1076325 h 1262063"/>
              <a:gd name="connsiteX3" fmla="*/ 1143000 w 1679575"/>
              <a:gd name="connsiteY3" fmla="*/ 1076325 h 1262063"/>
              <a:gd name="connsiteX4" fmla="*/ 1143000 w 1679575"/>
              <a:gd name="connsiteY4" fmla="*/ 778007 h 1262063"/>
              <a:gd name="connsiteX5" fmla="*/ 1116013 w 1679575"/>
              <a:gd name="connsiteY5" fmla="*/ 750887 h 1262063"/>
              <a:gd name="connsiteX6" fmla="*/ 1023938 w 1679575"/>
              <a:gd name="connsiteY6" fmla="*/ 750887 h 1262063"/>
              <a:gd name="connsiteX7" fmla="*/ 996950 w 1679575"/>
              <a:gd name="connsiteY7" fmla="*/ 778007 h 1262063"/>
              <a:gd name="connsiteX8" fmla="*/ 996950 w 1679575"/>
              <a:gd name="connsiteY8" fmla="*/ 1076325 h 1262063"/>
              <a:gd name="connsiteX9" fmla="*/ 1050925 w 1679575"/>
              <a:gd name="connsiteY9" fmla="*/ 1076325 h 1262063"/>
              <a:gd name="connsiteX10" fmla="*/ 1050925 w 1679575"/>
              <a:gd name="connsiteY10" fmla="*/ 778007 h 1262063"/>
              <a:gd name="connsiteX11" fmla="*/ 1023938 w 1679575"/>
              <a:gd name="connsiteY11" fmla="*/ 750887 h 1262063"/>
              <a:gd name="connsiteX12" fmla="*/ 926748 w 1679575"/>
              <a:gd name="connsiteY12" fmla="*/ 750887 h 1262063"/>
              <a:gd name="connsiteX13" fmla="*/ 904875 w 1679575"/>
              <a:gd name="connsiteY13" fmla="*/ 778007 h 1262063"/>
              <a:gd name="connsiteX14" fmla="*/ 904875 w 1679575"/>
              <a:gd name="connsiteY14" fmla="*/ 1076325 h 1262063"/>
              <a:gd name="connsiteX15" fmla="*/ 954088 w 1679575"/>
              <a:gd name="connsiteY15" fmla="*/ 1076325 h 1262063"/>
              <a:gd name="connsiteX16" fmla="*/ 954088 w 1679575"/>
              <a:gd name="connsiteY16" fmla="*/ 778007 h 1262063"/>
              <a:gd name="connsiteX17" fmla="*/ 926748 w 1679575"/>
              <a:gd name="connsiteY17" fmla="*/ 750887 h 1262063"/>
              <a:gd name="connsiteX18" fmla="*/ 834232 w 1679575"/>
              <a:gd name="connsiteY18" fmla="*/ 750887 h 1262063"/>
              <a:gd name="connsiteX19" fmla="*/ 806450 w 1679575"/>
              <a:gd name="connsiteY19" fmla="*/ 778007 h 1262063"/>
              <a:gd name="connsiteX20" fmla="*/ 806450 w 1679575"/>
              <a:gd name="connsiteY20" fmla="*/ 1076325 h 1262063"/>
              <a:gd name="connsiteX21" fmla="*/ 862013 w 1679575"/>
              <a:gd name="connsiteY21" fmla="*/ 1076325 h 1262063"/>
              <a:gd name="connsiteX22" fmla="*/ 862013 w 1679575"/>
              <a:gd name="connsiteY22" fmla="*/ 778007 h 1262063"/>
              <a:gd name="connsiteX23" fmla="*/ 834232 w 1679575"/>
              <a:gd name="connsiteY23" fmla="*/ 750887 h 1262063"/>
              <a:gd name="connsiteX24" fmla="*/ 742950 w 1679575"/>
              <a:gd name="connsiteY24" fmla="*/ 750887 h 1262063"/>
              <a:gd name="connsiteX25" fmla="*/ 715962 w 1679575"/>
              <a:gd name="connsiteY25" fmla="*/ 778007 h 1262063"/>
              <a:gd name="connsiteX26" fmla="*/ 715962 w 1679575"/>
              <a:gd name="connsiteY26" fmla="*/ 1076325 h 1262063"/>
              <a:gd name="connsiteX27" fmla="*/ 769937 w 1679575"/>
              <a:gd name="connsiteY27" fmla="*/ 1076325 h 1262063"/>
              <a:gd name="connsiteX28" fmla="*/ 769937 w 1679575"/>
              <a:gd name="connsiteY28" fmla="*/ 778007 h 1262063"/>
              <a:gd name="connsiteX29" fmla="*/ 742950 w 1679575"/>
              <a:gd name="connsiteY29" fmla="*/ 750887 h 1262063"/>
              <a:gd name="connsiteX30" fmla="*/ 650875 w 1679575"/>
              <a:gd name="connsiteY30" fmla="*/ 750887 h 1262063"/>
              <a:gd name="connsiteX31" fmla="*/ 623887 w 1679575"/>
              <a:gd name="connsiteY31" fmla="*/ 778007 h 1262063"/>
              <a:gd name="connsiteX32" fmla="*/ 623887 w 1679575"/>
              <a:gd name="connsiteY32" fmla="*/ 1076325 h 1262063"/>
              <a:gd name="connsiteX33" fmla="*/ 677862 w 1679575"/>
              <a:gd name="connsiteY33" fmla="*/ 1076325 h 1262063"/>
              <a:gd name="connsiteX34" fmla="*/ 677862 w 1679575"/>
              <a:gd name="connsiteY34" fmla="*/ 778007 h 1262063"/>
              <a:gd name="connsiteX35" fmla="*/ 650875 w 1679575"/>
              <a:gd name="connsiteY35" fmla="*/ 750887 h 1262063"/>
              <a:gd name="connsiteX36" fmla="*/ 558270 w 1679575"/>
              <a:gd name="connsiteY36" fmla="*/ 750887 h 1262063"/>
              <a:gd name="connsiteX37" fmla="*/ 531812 w 1679575"/>
              <a:gd name="connsiteY37" fmla="*/ 778007 h 1262063"/>
              <a:gd name="connsiteX38" fmla="*/ 531812 w 1679575"/>
              <a:gd name="connsiteY38" fmla="*/ 1076325 h 1262063"/>
              <a:gd name="connsiteX39" fmla="*/ 579437 w 1679575"/>
              <a:gd name="connsiteY39" fmla="*/ 1076325 h 1262063"/>
              <a:gd name="connsiteX40" fmla="*/ 579437 w 1679575"/>
              <a:gd name="connsiteY40" fmla="*/ 778007 h 1262063"/>
              <a:gd name="connsiteX41" fmla="*/ 558270 w 1679575"/>
              <a:gd name="connsiteY41" fmla="*/ 750887 h 1262063"/>
              <a:gd name="connsiteX42" fmla="*/ 87313 w 1679575"/>
              <a:gd name="connsiteY42" fmla="*/ 576262 h 1262063"/>
              <a:gd name="connsiteX43" fmla="*/ 98425 w 1679575"/>
              <a:gd name="connsiteY43" fmla="*/ 576262 h 1262063"/>
              <a:gd name="connsiteX44" fmla="*/ 123560 w 1679575"/>
              <a:gd name="connsiteY44" fmla="*/ 636587 h 1262063"/>
              <a:gd name="connsiteX45" fmla="*/ 130175 w 1679575"/>
              <a:gd name="connsiteY45" fmla="*/ 636587 h 1262063"/>
              <a:gd name="connsiteX46" fmla="*/ 130175 w 1679575"/>
              <a:gd name="connsiteY46" fmla="*/ 652462 h 1262063"/>
              <a:gd name="connsiteX47" fmla="*/ 130175 w 1679575"/>
              <a:gd name="connsiteY47" fmla="*/ 690562 h 1262063"/>
              <a:gd name="connsiteX48" fmla="*/ 157162 w 1679575"/>
              <a:gd name="connsiteY48" fmla="*/ 690562 h 1262063"/>
              <a:gd name="connsiteX49" fmla="*/ 157162 w 1679575"/>
              <a:gd name="connsiteY49" fmla="*/ 777875 h 1262063"/>
              <a:gd name="connsiteX50" fmla="*/ 184150 w 1679575"/>
              <a:gd name="connsiteY50" fmla="*/ 777875 h 1262063"/>
              <a:gd name="connsiteX51" fmla="*/ 184150 w 1679575"/>
              <a:gd name="connsiteY51" fmla="*/ 1076325 h 1262063"/>
              <a:gd name="connsiteX52" fmla="*/ 374650 w 1679575"/>
              <a:gd name="connsiteY52" fmla="*/ 1076325 h 1262063"/>
              <a:gd name="connsiteX53" fmla="*/ 374650 w 1679575"/>
              <a:gd name="connsiteY53" fmla="*/ 849312 h 1262063"/>
              <a:gd name="connsiteX54" fmla="*/ 374650 w 1679575"/>
              <a:gd name="connsiteY54" fmla="*/ 800100 h 1262063"/>
              <a:gd name="connsiteX55" fmla="*/ 471487 w 1679575"/>
              <a:gd name="connsiteY55" fmla="*/ 800100 h 1262063"/>
              <a:gd name="connsiteX56" fmla="*/ 471487 w 1679575"/>
              <a:gd name="connsiteY56" fmla="*/ 666472 h 1262063"/>
              <a:gd name="connsiteX57" fmla="*/ 1201737 w 1679575"/>
              <a:gd name="connsiteY57" fmla="*/ 666472 h 1262063"/>
              <a:gd name="connsiteX58" fmla="*/ 1201737 w 1679575"/>
              <a:gd name="connsiteY58" fmla="*/ 800100 h 1262063"/>
              <a:gd name="connsiteX59" fmla="*/ 1300163 w 1679575"/>
              <a:gd name="connsiteY59" fmla="*/ 800100 h 1262063"/>
              <a:gd name="connsiteX60" fmla="*/ 1300163 w 1679575"/>
              <a:gd name="connsiteY60" fmla="*/ 849312 h 1262063"/>
              <a:gd name="connsiteX61" fmla="*/ 1300163 w 1679575"/>
              <a:gd name="connsiteY61" fmla="*/ 1076325 h 1262063"/>
              <a:gd name="connsiteX62" fmla="*/ 1489075 w 1679575"/>
              <a:gd name="connsiteY62" fmla="*/ 1076325 h 1262063"/>
              <a:gd name="connsiteX63" fmla="*/ 1489075 w 1679575"/>
              <a:gd name="connsiteY63" fmla="*/ 777875 h 1262063"/>
              <a:gd name="connsiteX64" fmla="*/ 1516062 w 1679575"/>
              <a:gd name="connsiteY64" fmla="*/ 777875 h 1262063"/>
              <a:gd name="connsiteX65" fmla="*/ 1516062 w 1679575"/>
              <a:gd name="connsiteY65" fmla="*/ 690562 h 1262063"/>
              <a:gd name="connsiteX66" fmla="*/ 1543050 w 1679575"/>
              <a:gd name="connsiteY66" fmla="*/ 690562 h 1262063"/>
              <a:gd name="connsiteX67" fmla="*/ 1543050 w 1679575"/>
              <a:gd name="connsiteY67" fmla="*/ 652462 h 1262063"/>
              <a:gd name="connsiteX68" fmla="*/ 1543050 w 1679575"/>
              <a:gd name="connsiteY68" fmla="*/ 636587 h 1262063"/>
              <a:gd name="connsiteX69" fmla="*/ 1549995 w 1679575"/>
              <a:gd name="connsiteY69" fmla="*/ 636587 h 1262063"/>
              <a:gd name="connsiteX70" fmla="*/ 1576388 w 1679575"/>
              <a:gd name="connsiteY70" fmla="*/ 576262 h 1262063"/>
              <a:gd name="connsiteX71" fmla="*/ 1587500 w 1679575"/>
              <a:gd name="connsiteY71" fmla="*/ 576262 h 1262063"/>
              <a:gd name="connsiteX72" fmla="*/ 1612635 w 1679575"/>
              <a:gd name="connsiteY72" fmla="*/ 636587 h 1262063"/>
              <a:gd name="connsiteX73" fmla="*/ 1619250 w 1679575"/>
              <a:gd name="connsiteY73" fmla="*/ 636587 h 1262063"/>
              <a:gd name="connsiteX74" fmla="*/ 1619250 w 1679575"/>
              <a:gd name="connsiteY74" fmla="*/ 652462 h 1262063"/>
              <a:gd name="connsiteX75" fmla="*/ 1619250 w 1679575"/>
              <a:gd name="connsiteY75" fmla="*/ 690562 h 1262063"/>
              <a:gd name="connsiteX76" fmla="*/ 1646237 w 1679575"/>
              <a:gd name="connsiteY76" fmla="*/ 690562 h 1262063"/>
              <a:gd name="connsiteX77" fmla="*/ 1646237 w 1679575"/>
              <a:gd name="connsiteY77" fmla="*/ 777875 h 1262063"/>
              <a:gd name="connsiteX78" fmla="*/ 1679575 w 1679575"/>
              <a:gd name="connsiteY78" fmla="*/ 777875 h 1262063"/>
              <a:gd name="connsiteX79" fmla="*/ 1679575 w 1679575"/>
              <a:gd name="connsiteY79" fmla="*/ 1262063 h 1262063"/>
              <a:gd name="connsiteX80" fmla="*/ 1516062 w 1679575"/>
              <a:gd name="connsiteY80" fmla="*/ 1262063 h 1262063"/>
              <a:gd name="connsiteX81" fmla="*/ 1489075 w 1679575"/>
              <a:gd name="connsiteY81" fmla="*/ 1262063 h 1262063"/>
              <a:gd name="connsiteX82" fmla="*/ 1300163 w 1679575"/>
              <a:gd name="connsiteY82" fmla="*/ 1262063 h 1262063"/>
              <a:gd name="connsiteX83" fmla="*/ 374650 w 1679575"/>
              <a:gd name="connsiteY83" fmla="*/ 1262063 h 1262063"/>
              <a:gd name="connsiteX84" fmla="*/ 184150 w 1679575"/>
              <a:gd name="connsiteY84" fmla="*/ 1262063 h 1262063"/>
              <a:gd name="connsiteX85" fmla="*/ 173037 w 1679575"/>
              <a:gd name="connsiteY85" fmla="*/ 1262063 h 1262063"/>
              <a:gd name="connsiteX86" fmla="*/ 0 w 1679575"/>
              <a:gd name="connsiteY86" fmla="*/ 1262063 h 1262063"/>
              <a:gd name="connsiteX87" fmla="*/ 0 w 1679575"/>
              <a:gd name="connsiteY87" fmla="*/ 777875 h 1262063"/>
              <a:gd name="connsiteX88" fmla="*/ 26987 w 1679575"/>
              <a:gd name="connsiteY88" fmla="*/ 777875 h 1262063"/>
              <a:gd name="connsiteX89" fmla="*/ 26987 w 1679575"/>
              <a:gd name="connsiteY89" fmla="*/ 690562 h 1262063"/>
              <a:gd name="connsiteX90" fmla="*/ 53975 w 1679575"/>
              <a:gd name="connsiteY90" fmla="*/ 690562 h 1262063"/>
              <a:gd name="connsiteX91" fmla="*/ 53975 w 1679575"/>
              <a:gd name="connsiteY91" fmla="*/ 652462 h 1262063"/>
              <a:gd name="connsiteX92" fmla="*/ 53975 w 1679575"/>
              <a:gd name="connsiteY92" fmla="*/ 636587 h 1262063"/>
              <a:gd name="connsiteX93" fmla="*/ 60920 w 1679575"/>
              <a:gd name="connsiteY93" fmla="*/ 636587 h 1262063"/>
              <a:gd name="connsiteX94" fmla="*/ 87313 w 1679575"/>
              <a:gd name="connsiteY94" fmla="*/ 576262 h 1262063"/>
              <a:gd name="connsiteX95" fmla="*/ 835025 w 1679575"/>
              <a:gd name="connsiteY95" fmla="*/ 0 h 1262063"/>
              <a:gd name="connsiteX96" fmla="*/ 839788 w 1679575"/>
              <a:gd name="connsiteY96" fmla="*/ 0 h 1262063"/>
              <a:gd name="connsiteX97" fmla="*/ 839788 w 1679575"/>
              <a:gd name="connsiteY97" fmla="*/ 98425 h 1262063"/>
              <a:gd name="connsiteX98" fmla="*/ 855662 w 1679575"/>
              <a:gd name="connsiteY98" fmla="*/ 98425 h 1262063"/>
              <a:gd name="connsiteX99" fmla="*/ 855662 w 1679575"/>
              <a:gd name="connsiteY99" fmla="*/ 133122 h 1262063"/>
              <a:gd name="connsiteX100" fmla="*/ 866032 w 1679575"/>
              <a:gd name="connsiteY100" fmla="*/ 137501 h 1262063"/>
              <a:gd name="connsiteX101" fmla="*/ 877889 w 1679575"/>
              <a:gd name="connsiteY101" fmla="*/ 166687 h 1262063"/>
              <a:gd name="connsiteX102" fmla="*/ 876599 w 1679575"/>
              <a:gd name="connsiteY102" fmla="*/ 169862 h 1262063"/>
              <a:gd name="connsiteX103" fmla="*/ 898525 w 1679575"/>
              <a:gd name="connsiteY103" fmla="*/ 169862 h 1262063"/>
              <a:gd name="connsiteX104" fmla="*/ 898525 w 1679575"/>
              <a:gd name="connsiteY104" fmla="*/ 310731 h 1262063"/>
              <a:gd name="connsiteX105" fmla="*/ 908400 w 1679575"/>
              <a:gd name="connsiteY105" fmla="*/ 311721 h 1262063"/>
              <a:gd name="connsiteX106" fmla="*/ 1185862 w 1679575"/>
              <a:gd name="connsiteY106" fmla="*/ 647700 h 1262063"/>
              <a:gd name="connsiteX107" fmla="*/ 471487 w 1679575"/>
              <a:gd name="connsiteY107" fmla="*/ 648184 h 1262063"/>
              <a:gd name="connsiteX108" fmla="*/ 487362 w 1679575"/>
              <a:gd name="connsiteY108" fmla="*/ 647700 h 1262063"/>
              <a:gd name="connsiteX109" fmla="*/ 768452 w 1679575"/>
              <a:gd name="connsiteY109" fmla="*/ 311721 h 1262063"/>
              <a:gd name="connsiteX110" fmla="*/ 774700 w 1679575"/>
              <a:gd name="connsiteY110" fmla="*/ 311111 h 1262063"/>
              <a:gd name="connsiteX111" fmla="*/ 774700 w 1679575"/>
              <a:gd name="connsiteY111" fmla="*/ 169862 h 1262063"/>
              <a:gd name="connsiteX112" fmla="*/ 798215 w 1679575"/>
              <a:gd name="connsiteY112" fmla="*/ 169862 h 1262063"/>
              <a:gd name="connsiteX113" fmla="*/ 796925 w 1679575"/>
              <a:gd name="connsiteY113" fmla="*/ 166687 h 1262063"/>
              <a:gd name="connsiteX114" fmla="*/ 808782 w 1679575"/>
              <a:gd name="connsiteY114" fmla="*/ 137501 h 1262063"/>
              <a:gd name="connsiteX115" fmla="*/ 817562 w 1679575"/>
              <a:gd name="connsiteY115" fmla="*/ 133793 h 1262063"/>
              <a:gd name="connsiteX116" fmla="*/ 817562 w 1679575"/>
              <a:gd name="connsiteY116" fmla="*/ 98425 h 1262063"/>
              <a:gd name="connsiteX117" fmla="*/ 835025 w 1679575"/>
              <a:gd name="connsiteY117" fmla="*/ 98425 h 1262063"/>
              <a:gd name="connsiteX118" fmla="*/ 835025 w 1679575"/>
              <a:gd name="connsiteY118" fmla="*/ 0 h 1262063"/>
              <a:gd name="connsiteX0" fmla="*/ 1116013 w 1679575"/>
              <a:gd name="connsiteY0" fmla="*/ 750887 h 1262063"/>
              <a:gd name="connsiteX1" fmla="*/ 1089025 w 1679575"/>
              <a:gd name="connsiteY1" fmla="*/ 778007 h 1262063"/>
              <a:gd name="connsiteX2" fmla="*/ 1089025 w 1679575"/>
              <a:gd name="connsiteY2" fmla="*/ 1076325 h 1262063"/>
              <a:gd name="connsiteX3" fmla="*/ 1143000 w 1679575"/>
              <a:gd name="connsiteY3" fmla="*/ 1076325 h 1262063"/>
              <a:gd name="connsiteX4" fmla="*/ 1143000 w 1679575"/>
              <a:gd name="connsiteY4" fmla="*/ 778007 h 1262063"/>
              <a:gd name="connsiteX5" fmla="*/ 1116013 w 1679575"/>
              <a:gd name="connsiteY5" fmla="*/ 750887 h 1262063"/>
              <a:gd name="connsiteX6" fmla="*/ 1023938 w 1679575"/>
              <a:gd name="connsiteY6" fmla="*/ 750887 h 1262063"/>
              <a:gd name="connsiteX7" fmla="*/ 996950 w 1679575"/>
              <a:gd name="connsiteY7" fmla="*/ 778007 h 1262063"/>
              <a:gd name="connsiteX8" fmla="*/ 996950 w 1679575"/>
              <a:gd name="connsiteY8" fmla="*/ 1076325 h 1262063"/>
              <a:gd name="connsiteX9" fmla="*/ 1050925 w 1679575"/>
              <a:gd name="connsiteY9" fmla="*/ 1076325 h 1262063"/>
              <a:gd name="connsiteX10" fmla="*/ 1050925 w 1679575"/>
              <a:gd name="connsiteY10" fmla="*/ 778007 h 1262063"/>
              <a:gd name="connsiteX11" fmla="*/ 1023938 w 1679575"/>
              <a:gd name="connsiteY11" fmla="*/ 750887 h 1262063"/>
              <a:gd name="connsiteX12" fmla="*/ 926748 w 1679575"/>
              <a:gd name="connsiteY12" fmla="*/ 750887 h 1262063"/>
              <a:gd name="connsiteX13" fmla="*/ 904875 w 1679575"/>
              <a:gd name="connsiteY13" fmla="*/ 778007 h 1262063"/>
              <a:gd name="connsiteX14" fmla="*/ 904875 w 1679575"/>
              <a:gd name="connsiteY14" fmla="*/ 1076325 h 1262063"/>
              <a:gd name="connsiteX15" fmla="*/ 954088 w 1679575"/>
              <a:gd name="connsiteY15" fmla="*/ 1076325 h 1262063"/>
              <a:gd name="connsiteX16" fmla="*/ 954088 w 1679575"/>
              <a:gd name="connsiteY16" fmla="*/ 778007 h 1262063"/>
              <a:gd name="connsiteX17" fmla="*/ 926748 w 1679575"/>
              <a:gd name="connsiteY17" fmla="*/ 750887 h 1262063"/>
              <a:gd name="connsiteX18" fmla="*/ 834232 w 1679575"/>
              <a:gd name="connsiteY18" fmla="*/ 750887 h 1262063"/>
              <a:gd name="connsiteX19" fmla="*/ 806450 w 1679575"/>
              <a:gd name="connsiteY19" fmla="*/ 778007 h 1262063"/>
              <a:gd name="connsiteX20" fmla="*/ 806450 w 1679575"/>
              <a:gd name="connsiteY20" fmla="*/ 1076325 h 1262063"/>
              <a:gd name="connsiteX21" fmla="*/ 862013 w 1679575"/>
              <a:gd name="connsiteY21" fmla="*/ 1076325 h 1262063"/>
              <a:gd name="connsiteX22" fmla="*/ 862013 w 1679575"/>
              <a:gd name="connsiteY22" fmla="*/ 778007 h 1262063"/>
              <a:gd name="connsiteX23" fmla="*/ 834232 w 1679575"/>
              <a:gd name="connsiteY23" fmla="*/ 750887 h 1262063"/>
              <a:gd name="connsiteX24" fmla="*/ 742950 w 1679575"/>
              <a:gd name="connsiteY24" fmla="*/ 750887 h 1262063"/>
              <a:gd name="connsiteX25" fmla="*/ 715962 w 1679575"/>
              <a:gd name="connsiteY25" fmla="*/ 778007 h 1262063"/>
              <a:gd name="connsiteX26" fmla="*/ 715962 w 1679575"/>
              <a:gd name="connsiteY26" fmla="*/ 1076325 h 1262063"/>
              <a:gd name="connsiteX27" fmla="*/ 769937 w 1679575"/>
              <a:gd name="connsiteY27" fmla="*/ 1076325 h 1262063"/>
              <a:gd name="connsiteX28" fmla="*/ 769937 w 1679575"/>
              <a:gd name="connsiteY28" fmla="*/ 778007 h 1262063"/>
              <a:gd name="connsiteX29" fmla="*/ 742950 w 1679575"/>
              <a:gd name="connsiteY29" fmla="*/ 750887 h 1262063"/>
              <a:gd name="connsiteX30" fmla="*/ 650875 w 1679575"/>
              <a:gd name="connsiteY30" fmla="*/ 750887 h 1262063"/>
              <a:gd name="connsiteX31" fmla="*/ 623887 w 1679575"/>
              <a:gd name="connsiteY31" fmla="*/ 778007 h 1262063"/>
              <a:gd name="connsiteX32" fmla="*/ 623887 w 1679575"/>
              <a:gd name="connsiteY32" fmla="*/ 1076325 h 1262063"/>
              <a:gd name="connsiteX33" fmla="*/ 677862 w 1679575"/>
              <a:gd name="connsiteY33" fmla="*/ 1076325 h 1262063"/>
              <a:gd name="connsiteX34" fmla="*/ 677862 w 1679575"/>
              <a:gd name="connsiteY34" fmla="*/ 778007 h 1262063"/>
              <a:gd name="connsiteX35" fmla="*/ 650875 w 1679575"/>
              <a:gd name="connsiteY35" fmla="*/ 750887 h 1262063"/>
              <a:gd name="connsiteX36" fmla="*/ 558270 w 1679575"/>
              <a:gd name="connsiteY36" fmla="*/ 750887 h 1262063"/>
              <a:gd name="connsiteX37" fmla="*/ 531812 w 1679575"/>
              <a:gd name="connsiteY37" fmla="*/ 778007 h 1262063"/>
              <a:gd name="connsiteX38" fmla="*/ 531812 w 1679575"/>
              <a:gd name="connsiteY38" fmla="*/ 1076325 h 1262063"/>
              <a:gd name="connsiteX39" fmla="*/ 579437 w 1679575"/>
              <a:gd name="connsiteY39" fmla="*/ 1076325 h 1262063"/>
              <a:gd name="connsiteX40" fmla="*/ 579437 w 1679575"/>
              <a:gd name="connsiteY40" fmla="*/ 778007 h 1262063"/>
              <a:gd name="connsiteX41" fmla="*/ 558270 w 1679575"/>
              <a:gd name="connsiteY41" fmla="*/ 750887 h 1262063"/>
              <a:gd name="connsiteX42" fmla="*/ 87313 w 1679575"/>
              <a:gd name="connsiteY42" fmla="*/ 576262 h 1262063"/>
              <a:gd name="connsiteX43" fmla="*/ 98425 w 1679575"/>
              <a:gd name="connsiteY43" fmla="*/ 576262 h 1262063"/>
              <a:gd name="connsiteX44" fmla="*/ 123560 w 1679575"/>
              <a:gd name="connsiteY44" fmla="*/ 636587 h 1262063"/>
              <a:gd name="connsiteX45" fmla="*/ 130175 w 1679575"/>
              <a:gd name="connsiteY45" fmla="*/ 636587 h 1262063"/>
              <a:gd name="connsiteX46" fmla="*/ 130175 w 1679575"/>
              <a:gd name="connsiteY46" fmla="*/ 652462 h 1262063"/>
              <a:gd name="connsiteX47" fmla="*/ 130175 w 1679575"/>
              <a:gd name="connsiteY47" fmla="*/ 690562 h 1262063"/>
              <a:gd name="connsiteX48" fmla="*/ 157162 w 1679575"/>
              <a:gd name="connsiteY48" fmla="*/ 690562 h 1262063"/>
              <a:gd name="connsiteX49" fmla="*/ 157162 w 1679575"/>
              <a:gd name="connsiteY49" fmla="*/ 777875 h 1262063"/>
              <a:gd name="connsiteX50" fmla="*/ 184150 w 1679575"/>
              <a:gd name="connsiteY50" fmla="*/ 777875 h 1262063"/>
              <a:gd name="connsiteX51" fmla="*/ 184150 w 1679575"/>
              <a:gd name="connsiteY51" fmla="*/ 1076325 h 1262063"/>
              <a:gd name="connsiteX52" fmla="*/ 374650 w 1679575"/>
              <a:gd name="connsiteY52" fmla="*/ 1076325 h 1262063"/>
              <a:gd name="connsiteX53" fmla="*/ 374650 w 1679575"/>
              <a:gd name="connsiteY53" fmla="*/ 849312 h 1262063"/>
              <a:gd name="connsiteX54" fmla="*/ 374650 w 1679575"/>
              <a:gd name="connsiteY54" fmla="*/ 800100 h 1262063"/>
              <a:gd name="connsiteX55" fmla="*/ 471487 w 1679575"/>
              <a:gd name="connsiteY55" fmla="*/ 800100 h 1262063"/>
              <a:gd name="connsiteX56" fmla="*/ 471487 w 1679575"/>
              <a:gd name="connsiteY56" fmla="*/ 666472 h 1262063"/>
              <a:gd name="connsiteX57" fmla="*/ 1201737 w 1679575"/>
              <a:gd name="connsiteY57" fmla="*/ 666472 h 1262063"/>
              <a:gd name="connsiteX58" fmla="*/ 1201737 w 1679575"/>
              <a:gd name="connsiteY58" fmla="*/ 800100 h 1262063"/>
              <a:gd name="connsiteX59" fmla="*/ 1300163 w 1679575"/>
              <a:gd name="connsiteY59" fmla="*/ 800100 h 1262063"/>
              <a:gd name="connsiteX60" fmla="*/ 1300163 w 1679575"/>
              <a:gd name="connsiteY60" fmla="*/ 849312 h 1262063"/>
              <a:gd name="connsiteX61" fmla="*/ 1300163 w 1679575"/>
              <a:gd name="connsiteY61" fmla="*/ 1076325 h 1262063"/>
              <a:gd name="connsiteX62" fmla="*/ 1489075 w 1679575"/>
              <a:gd name="connsiteY62" fmla="*/ 1076325 h 1262063"/>
              <a:gd name="connsiteX63" fmla="*/ 1489075 w 1679575"/>
              <a:gd name="connsiteY63" fmla="*/ 777875 h 1262063"/>
              <a:gd name="connsiteX64" fmla="*/ 1516062 w 1679575"/>
              <a:gd name="connsiteY64" fmla="*/ 777875 h 1262063"/>
              <a:gd name="connsiteX65" fmla="*/ 1516062 w 1679575"/>
              <a:gd name="connsiteY65" fmla="*/ 690562 h 1262063"/>
              <a:gd name="connsiteX66" fmla="*/ 1543050 w 1679575"/>
              <a:gd name="connsiteY66" fmla="*/ 690562 h 1262063"/>
              <a:gd name="connsiteX67" fmla="*/ 1543050 w 1679575"/>
              <a:gd name="connsiteY67" fmla="*/ 652462 h 1262063"/>
              <a:gd name="connsiteX68" fmla="*/ 1543050 w 1679575"/>
              <a:gd name="connsiteY68" fmla="*/ 636587 h 1262063"/>
              <a:gd name="connsiteX69" fmla="*/ 1549995 w 1679575"/>
              <a:gd name="connsiteY69" fmla="*/ 636587 h 1262063"/>
              <a:gd name="connsiteX70" fmla="*/ 1576388 w 1679575"/>
              <a:gd name="connsiteY70" fmla="*/ 576262 h 1262063"/>
              <a:gd name="connsiteX71" fmla="*/ 1587500 w 1679575"/>
              <a:gd name="connsiteY71" fmla="*/ 576262 h 1262063"/>
              <a:gd name="connsiteX72" fmla="*/ 1612635 w 1679575"/>
              <a:gd name="connsiteY72" fmla="*/ 636587 h 1262063"/>
              <a:gd name="connsiteX73" fmla="*/ 1619250 w 1679575"/>
              <a:gd name="connsiteY73" fmla="*/ 636587 h 1262063"/>
              <a:gd name="connsiteX74" fmla="*/ 1619250 w 1679575"/>
              <a:gd name="connsiteY74" fmla="*/ 652462 h 1262063"/>
              <a:gd name="connsiteX75" fmla="*/ 1619250 w 1679575"/>
              <a:gd name="connsiteY75" fmla="*/ 690562 h 1262063"/>
              <a:gd name="connsiteX76" fmla="*/ 1646237 w 1679575"/>
              <a:gd name="connsiteY76" fmla="*/ 690562 h 1262063"/>
              <a:gd name="connsiteX77" fmla="*/ 1646237 w 1679575"/>
              <a:gd name="connsiteY77" fmla="*/ 777875 h 1262063"/>
              <a:gd name="connsiteX78" fmla="*/ 1679575 w 1679575"/>
              <a:gd name="connsiteY78" fmla="*/ 777875 h 1262063"/>
              <a:gd name="connsiteX79" fmla="*/ 1679575 w 1679575"/>
              <a:gd name="connsiteY79" fmla="*/ 1262063 h 1262063"/>
              <a:gd name="connsiteX80" fmla="*/ 1516062 w 1679575"/>
              <a:gd name="connsiteY80" fmla="*/ 1262063 h 1262063"/>
              <a:gd name="connsiteX81" fmla="*/ 1489075 w 1679575"/>
              <a:gd name="connsiteY81" fmla="*/ 1262063 h 1262063"/>
              <a:gd name="connsiteX82" fmla="*/ 1300163 w 1679575"/>
              <a:gd name="connsiteY82" fmla="*/ 1262063 h 1262063"/>
              <a:gd name="connsiteX83" fmla="*/ 374650 w 1679575"/>
              <a:gd name="connsiteY83" fmla="*/ 1262063 h 1262063"/>
              <a:gd name="connsiteX84" fmla="*/ 184150 w 1679575"/>
              <a:gd name="connsiteY84" fmla="*/ 1262063 h 1262063"/>
              <a:gd name="connsiteX85" fmla="*/ 173037 w 1679575"/>
              <a:gd name="connsiteY85" fmla="*/ 1262063 h 1262063"/>
              <a:gd name="connsiteX86" fmla="*/ 0 w 1679575"/>
              <a:gd name="connsiteY86" fmla="*/ 1262063 h 1262063"/>
              <a:gd name="connsiteX87" fmla="*/ 0 w 1679575"/>
              <a:gd name="connsiteY87" fmla="*/ 777875 h 1262063"/>
              <a:gd name="connsiteX88" fmla="*/ 26987 w 1679575"/>
              <a:gd name="connsiteY88" fmla="*/ 777875 h 1262063"/>
              <a:gd name="connsiteX89" fmla="*/ 26987 w 1679575"/>
              <a:gd name="connsiteY89" fmla="*/ 690562 h 1262063"/>
              <a:gd name="connsiteX90" fmla="*/ 53975 w 1679575"/>
              <a:gd name="connsiteY90" fmla="*/ 690562 h 1262063"/>
              <a:gd name="connsiteX91" fmla="*/ 53975 w 1679575"/>
              <a:gd name="connsiteY91" fmla="*/ 652462 h 1262063"/>
              <a:gd name="connsiteX92" fmla="*/ 53975 w 1679575"/>
              <a:gd name="connsiteY92" fmla="*/ 636587 h 1262063"/>
              <a:gd name="connsiteX93" fmla="*/ 60920 w 1679575"/>
              <a:gd name="connsiteY93" fmla="*/ 636587 h 1262063"/>
              <a:gd name="connsiteX94" fmla="*/ 87313 w 1679575"/>
              <a:gd name="connsiteY94" fmla="*/ 576262 h 1262063"/>
              <a:gd name="connsiteX95" fmla="*/ 835025 w 1679575"/>
              <a:gd name="connsiteY95" fmla="*/ 0 h 1262063"/>
              <a:gd name="connsiteX96" fmla="*/ 839788 w 1679575"/>
              <a:gd name="connsiteY96" fmla="*/ 0 h 1262063"/>
              <a:gd name="connsiteX97" fmla="*/ 839788 w 1679575"/>
              <a:gd name="connsiteY97" fmla="*/ 98425 h 1262063"/>
              <a:gd name="connsiteX98" fmla="*/ 855662 w 1679575"/>
              <a:gd name="connsiteY98" fmla="*/ 98425 h 1262063"/>
              <a:gd name="connsiteX99" fmla="*/ 855662 w 1679575"/>
              <a:gd name="connsiteY99" fmla="*/ 133122 h 1262063"/>
              <a:gd name="connsiteX100" fmla="*/ 866032 w 1679575"/>
              <a:gd name="connsiteY100" fmla="*/ 137501 h 1262063"/>
              <a:gd name="connsiteX101" fmla="*/ 877889 w 1679575"/>
              <a:gd name="connsiteY101" fmla="*/ 166687 h 1262063"/>
              <a:gd name="connsiteX102" fmla="*/ 876599 w 1679575"/>
              <a:gd name="connsiteY102" fmla="*/ 169862 h 1262063"/>
              <a:gd name="connsiteX103" fmla="*/ 898525 w 1679575"/>
              <a:gd name="connsiteY103" fmla="*/ 169862 h 1262063"/>
              <a:gd name="connsiteX104" fmla="*/ 898525 w 1679575"/>
              <a:gd name="connsiteY104" fmla="*/ 310731 h 1262063"/>
              <a:gd name="connsiteX105" fmla="*/ 908400 w 1679575"/>
              <a:gd name="connsiteY105" fmla="*/ 311721 h 1262063"/>
              <a:gd name="connsiteX106" fmla="*/ 1185862 w 1679575"/>
              <a:gd name="connsiteY106" fmla="*/ 647700 h 1262063"/>
              <a:gd name="connsiteX107" fmla="*/ 487362 w 1679575"/>
              <a:gd name="connsiteY107" fmla="*/ 647700 h 1262063"/>
              <a:gd name="connsiteX108" fmla="*/ 768452 w 1679575"/>
              <a:gd name="connsiteY108" fmla="*/ 311721 h 1262063"/>
              <a:gd name="connsiteX109" fmla="*/ 774700 w 1679575"/>
              <a:gd name="connsiteY109" fmla="*/ 311111 h 1262063"/>
              <a:gd name="connsiteX110" fmla="*/ 774700 w 1679575"/>
              <a:gd name="connsiteY110" fmla="*/ 169862 h 1262063"/>
              <a:gd name="connsiteX111" fmla="*/ 798215 w 1679575"/>
              <a:gd name="connsiteY111" fmla="*/ 169862 h 1262063"/>
              <a:gd name="connsiteX112" fmla="*/ 796925 w 1679575"/>
              <a:gd name="connsiteY112" fmla="*/ 166687 h 1262063"/>
              <a:gd name="connsiteX113" fmla="*/ 808782 w 1679575"/>
              <a:gd name="connsiteY113" fmla="*/ 137501 h 1262063"/>
              <a:gd name="connsiteX114" fmla="*/ 817562 w 1679575"/>
              <a:gd name="connsiteY114" fmla="*/ 133793 h 1262063"/>
              <a:gd name="connsiteX115" fmla="*/ 817562 w 1679575"/>
              <a:gd name="connsiteY115" fmla="*/ 98425 h 1262063"/>
              <a:gd name="connsiteX116" fmla="*/ 835025 w 1679575"/>
              <a:gd name="connsiteY116" fmla="*/ 98425 h 1262063"/>
              <a:gd name="connsiteX117" fmla="*/ 835025 w 1679575"/>
              <a:gd name="connsiteY117" fmla="*/ 0 h 1262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1679575" h="1262063">
                <a:moveTo>
                  <a:pt x="1116013" y="750887"/>
                </a:moveTo>
                <a:cubicBezTo>
                  <a:pt x="1099820" y="750887"/>
                  <a:pt x="1089025" y="761735"/>
                  <a:pt x="1089025" y="778007"/>
                </a:cubicBezTo>
                <a:lnTo>
                  <a:pt x="1089025" y="1076325"/>
                </a:lnTo>
                <a:lnTo>
                  <a:pt x="1143000" y="1076325"/>
                </a:lnTo>
                <a:lnTo>
                  <a:pt x="1143000" y="778007"/>
                </a:lnTo>
                <a:cubicBezTo>
                  <a:pt x="1143000" y="761735"/>
                  <a:pt x="1132205" y="750887"/>
                  <a:pt x="1116013" y="750887"/>
                </a:cubicBezTo>
                <a:close/>
                <a:moveTo>
                  <a:pt x="1023938" y="750887"/>
                </a:moveTo>
                <a:cubicBezTo>
                  <a:pt x="1007745" y="750887"/>
                  <a:pt x="996950" y="761735"/>
                  <a:pt x="996950" y="778007"/>
                </a:cubicBezTo>
                <a:lnTo>
                  <a:pt x="996950" y="1076325"/>
                </a:lnTo>
                <a:lnTo>
                  <a:pt x="1050925" y="1076325"/>
                </a:lnTo>
                <a:lnTo>
                  <a:pt x="1050925" y="778007"/>
                </a:lnTo>
                <a:cubicBezTo>
                  <a:pt x="1050925" y="761735"/>
                  <a:pt x="1034733" y="750887"/>
                  <a:pt x="1023938" y="750887"/>
                </a:cubicBezTo>
                <a:close/>
                <a:moveTo>
                  <a:pt x="926748" y="750887"/>
                </a:moveTo>
                <a:cubicBezTo>
                  <a:pt x="915811" y="750887"/>
                  <a:pt x="904875" y="761735"/>
                  <a:pt x="904875" y="778007"/>
                </a:cubicBezTo>
                <a:lnTo>
                  <a:pt x="904875" y="1076325"/>
                </a:lnTo>
                <a:lnTo>
                  <a:pt x="954088" y="1076325"/>
                </a:lnTo>
                <a:lnTo>
                  <a:pt x="954088" y="778007"/>
                </a:lnTo>
                <a:cubicBezTo>
                  <a:pt x="954088" y="761735"/>
                  <a:pt x="943152" y="750887"/>
                  <a:pt x="926748" y="750887"/>
                </a:cubicBezTo>
                <a:close/>
                <a:moveTo>
                  <a:pt x="834232" y="750887"/>
                </a:moveTo>
                <a:cubicBezTo>
                  <a:pt x="823119" y="750887"/>
                  <a:pt x="806450" y="761735"/>
                  <a:pt x="806450" y="778007"/>
                </a:cubicBezTo>
                <a:lnTo>
                  <a:pt x="806450" y="1076325"/>
                </a:lnTo>
                <a:lnTo>
                  <a:pt x="862013" y="1076325"/>
                </a:lnTo>
                <a:lnTo>
                  <a:pt x="862013" y="778007"/>
                </a:lnTo>
                <a:cubicBezTo>
                  <a:pt x="862013" y="761735"/>
                  <a:pt x="850900" y="750887"/>
                  <a:pt x="834232" y="750887"/>
                </a:cubicBezTo>
                <a:close/>
                <a:moveTo>
                  <a:pt x="742950" y="750887"/>
                </a:moveTo>
                <a:cubicBezTo>
                  <a:pt x="726757" y="750887"/>
                  <a:pt x="715962" y="761735"/>
                  <a:pt x="715962" y="778007"/>
                </a:cubicBezTo>
                <a:lnTo>
                  <a:pt x="715962" y="1076325"/>
                </a:lnTo>
                <a:lnTo>
                  <a:pt x="769937" y="1076325"/>
                </a:lnTo>
                <a:lnTo>
                  <a:pt x="769937" y="778007"/>
                </a:lnTo>
                <a:cubicBezTo>
                  <a:pt x="769937" y="761735"/>
                  <a:pt x="759142" y="750887"/>
                  <a:pt x="742950" y="750887"/>
                </a:cubicBezTo>
                <a:close/>
                <a:moveTo>
                  <a:pt x="650875" y="750887"/>
                </a:moveTo>
                <a:cubicBezTo>
                  <a:pt x="634682" y="750887"/>
                  <a:pt x="623887" y="761735"/>
                  <a:pt x="623887" y="778007"/>
                </a:cubicBezTo>
                <a:lnTo>
                  <a:pt x="623887" y="1076325"/>
                </a:lnTo>
                <a:lnTo>
                  <a:pt x="677862" y="1076325"/>
                </a:lnTo>
                <a:lnTo>
                  <a:pt x="677862" y="778007"/>
                </a:lnTo>
                <a:cubicBezTo>
                  <a:pt x="677862" y="761735"/>
                  <a:pt x="661670" y="750887"/>
                  <a:pt x="650875" y="750887"/>
                </a:cubicBezTo>
                <a:close/>
                <a:moveTo>
                  <a:pt x="558270" y="750887"/>
                </a:moveTo>
                <a:cubicBezTo>
                  <a:pt x="542395" y="750887"/>
                  <a:pt x="531812" y="761735"/>
                  <a:pt x="531812" y="778007"/>
                </a:cubicBezTo>
                <a:lnTo>
                  <a:pt x="531812" y="1076325"/>
                </a:lnTo>
                <a:lnTo>
                  <a:pt x="579437" y="1076325"/>
                </a:lnTo>
                <a:lnTo>
                  <a:pt x="579437" y="778007"/>
                </a:lnTo>
                <a:cubicBezTo>
                  <a:pt x="579437" y="761735"/>
                  <a:pt x="568854" y="750887"/>
                  <a:pt x="558270" y="750887"/>
                </a:cubicBezTo>
                <a:close/>
                <a:moveTo>
                  <a:pt x="87313" y="576262"/>
                </a:moveTo>
                <a:lnTo>
                  <a:pt x="98425" y="576262"/>
                </a:lnTo>
                <a:lnTo>
                  <a:pt x="123560" y="636587"/>
                </a:lnTo>
                <a:lnTo>
                  <a:pt x="130175" y="636587"/>
                </a:lnTo>
                <a:lnTo>
                  <a:pt x="130175" y="652462"/>
                </a:lnTo>
                <a:lnTo>
                  <a:pt x="130175" y="690562"/>
                </a:lnTo>
                <a:lnTo>
                  <a:pt x="157162" y="690562"/>
                </a:lnTo>
                <a:lnTo>
                  <a:pt x="157162" y="777875"/>
                </a:lnTo>
                <a:lnTo>
                  <a:pt x="184150" y="777875"/>
                </a:lnTo>
                <a:lnTo>
                  <a:pt x="184150" y="1076325"/>
                </a:lnTo>
                <a:lnTo>
                  <a:pt x="374650" y="1076325"/>
                </a:lnTo>
                <a:lnTo>
                  <a:pt x="374650" y="849312"/>
                </a:lnTo>
                <a:lnTo>
                  <a:pt x="374650" y="800100"/>
                </a:lnTo>
                <a:lnTo>
                  <a:pt x="471487" y="800100"/>
                </a:lnTo>
                <a:lnTo>
                  <a:pt x="471487" y="666472"/>
                </a:lnTo>
                <a:lnTo>
                  <a:pt x="1201737" y="666472"/>
                </a:lnTo>
                <a:lnTo>
                  <a:pt x="1201737" y="800100"/>
                </a:lnTo>
                <a:lnTo>
                  <a:pt x="1300163" y="800100"/>
                </a:lnTo>
                <a:lnTo>
                  <a:pt x="1300163" y="849312"/>
                </a:lnTo>
                <a:lnTo>
                  <a:pt x="1300163" y="1076325"/>
                </a:lnTo>
                <a:lnTo>
                  <a:pt x="1489075" y="1076325"/>
                </a:lnTo>
                <a:lnTo>
                  <a:pt x="1489075" y="777875"/>
                </a:lnTo>
                <a:lnTo>
                  <a:pt x="1516062" y="777875"/>
                </a:lnTo>
                <a:lnTo>
                  <a:pt x="1516062" y="690562"/>
                </a:lnTo>
                <a:lnTo>
                  <a:pt x="1543050" y="690562"/>
                </a:lnTo>
                <a:lnTo>
                  <a:pt x="1543050" y="652462"/>
                </a:lnTo>
                <a:lnTo>
                  <a:pt x="1543050" y="636587"/>
                </a:lnTo>
                <a:lnTo>
                  <a:pt x="1549995" y="636587"/>
                </a:lnTo>
                <a:lnTo>
                  <a:pt x="1576388" y="576262"/>
                </a:lnTo>
                <a:lnTo>
                  <a:pt x="1587500" y="576262"/>
                </a:lnTo>
                <a:lnTo>
                  <a:pt x="1612635" y="636587"/>
                </a:lnTo>
                <a:lnTo>
                  <a:pt x="1619250" y="636587"/>
                </a:lnTo>
                <a:lnTo>
                  <a:pt x="1619250" y="652462"/>
                </a:lnTo>
                <a:lnTo>
                  <a:pt x="1619250" y="690562"/>
                </a:lnTo>
                <a:lnTo>
                  <a:pt x="1646237" y="690562"/>
                </a:lnTo>
                <a:lnTo>
                  <a:pt x="1646237" y="777875"/>
                </a:lnTo>
                <a:lnTo>
                  <a:pt x="1679575" y="777875"/>
                </a:lnTo>
                <a:lnTo>
                  <a:pt x="1679575" y="1262063"/>
                </a:lnTo>
                <a:lnTo>
                  <a:pt x="1516062" y="1262063"/>
                </a:lnTo>
                <a:lnTo>
                  <a:pt x="1489075" y="1262063"/>
                </a:lnTo>
                <a:lnTo>
                  <a:pt x="1300163" y="1262063"/>
                </a:lnTo>
                <a:lnTo>
                  <a:pt x="374650" y="1262063"/>
                </a:lnTo>
                <a:lnTo>
                  <a:pt x="184150" y="1262063"/>
                </a:lnTo>
                <a:lnTo>
                  <a:pt x="173037" y="1262063"/>
                </a:lnTo>
                <a:lnTo>
                  <a:pt x="0" y="1262063"/>
                </a:lnTo>
                <a:lnTo>
                  <a:pt x="0" y="777875"/>
                </a:lnTo>
                <a:lnTo>
                  <a:pt x="26987" y="777875"/>
                </a:lnTo>
                <a:lnTo>
                  <a:pt x="26987" y="690562"/>
                </a:lnTo>
                <a:lnTo>
                  <a:pt x="53975" y="690562"/>
                </a:lnTo>
                <a:lnTo>
                  <a:pt x="53975" y="652462"/>
                </a:lnTo>
                <a:lnTo>
                  <a:pt x="53975" y="636587"/>
                </a:lnTo>
                <a:lnTo>
                  <a:pt x="60920" y="636587"/>
                </a:lnTo>
                <a:lnTo>
                  <a:pt x="87313" y="576262"/>
                </a:lnTo>
                <a:close/>
                <a:moveTo>
                  <a:pt x="835025" y="0"/>
                </a:moveTo>
                <a:lnTo>
                  <a:pt x="839788" y="0"/>
                </a:lnTo>
                <a:lnTo>
                  <a:pt x="839788" y="98425"/>
                </a:lnTo>
                <a:lnTo>
                  <a:pt x="855662" y="98425"/>
                </a:lnTo>
                <a:lnTo>
                  <a:pt x="855662" y="133122"/>
                </a:lnTo>
                <a:lnTo>
                  <a:pt x="866032" y="137501"/>
                </a:lnTo>
                <a:cubicBezTo>
                  <a:pt x="873358" y="144970"/>
                  <a:pt x="877889" y="155289"/>
                  <a:pt x="877889" y="166687"/>
                </a:cubicBezTo>
                <a:lnTo>
                  <a:pt x="876599" y="169862"/>
                </a:lnTo>
                <a:lnTo>
                  <a:pt x="898525" y="169862"/>
                </a:lnTo>
                <a:lnTo>
                  <a:pt x="898525" y="310731"/>
                </a:lnTo>
                <a:lnTo>
                  <a:pt x="908400" y="311721"/>
                </a:lnTo>
                <a:cubicBezTo>
                  <a:pt x="1064454" y="343495"/>
                  <a:pt x="1181124" y="481013"/>
                  <a:pt x="1185862" y="647700"/>
                </a:cubicBezTo>
                <a:lnTo>
                  <a:pt x="487362" y="647700"/>
                </a:lnTo>
                <a:cubicBezTo>
                  <a:pt x="492100" y="481013"/>
                  <a:pt x="608770" y="343495"/>
                  <a:pt x="768452" y="311721"/>
                </a:cubicBezTo>
                <a:lnTo>
                  <a:pt x="774700" y="311111"/>
                </a:lnTo>
                <a:lnTo>
                  <a:pt x="774700" y="169862"/>
                </a:lnTo>
                <a:lnTo>
                  <a:pt x="798215" y="169862"/>
                </a:lnTo>
                <a:lnTo>
                  <a:pt x="796925" y="166687"/>
                </a:lnTo>
                <a:cubicBezTo>
                  <a:pt x="796925" y="155289"/>
                  <a:pt x="801456" y="144970"/>
                  <a:pt x="808782" y="137501"/>
                </a:cubicBezTo>
                <a:lnTo>
                  <a:pt x="817562" y="133793"/>
                </a:lnTo>
                <a:lnTo>
                  <a:pt x="817562" y="98425"/>
                </a:lnTo>
                <a:lnTo>
                  <a:pt x="835025" y="98425"/>
                </a:lnTo>
                <a:lnTo>
                  <a:pt x="835025" y="0"/>
                </a:lnTo>
                <a:close/>
              </a:path>
            </a:pathLst>
          </a:custGeom>
          <a:solidFill>
            <a:schemeClr val="accent2"/>
          </a:solidFill>
          <a:ln>
            <a:noFill/>
          </a:ln>
        </p:spPr>
        <p:txBody>
          <a:bodyPr vert="horz" wrap="square" lIns="91415" tIns="45707" rIns="91415" bIns="45707"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26" name="Group 25"/>
          <p:cNvGrpSpPr/>
          <p:nvPr userDrawn="1"/>
        </p:nvGrpSpPr>
        <p:grpSpPr>
          <a:xfrm flipH="1">
            <a:off x="8227734" y="6690240"/>
            <a:ext cx="141356" cy="273469"/>
            <a:chOff x="6812419" y="6555317"/>
            <a:chExt cx="203193" cy="393100"/>
          </a:xfrm>
        </p:grpSpPr>
        <p:sp>
          <p:nvSpPr>
            <p:cNvPr id="31" name="Rectangle 35"/>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 name="Oval 36"/>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 name="Oval 37"/>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76" name="Freeform 44"/>
          <p:cNvSpPr>
            <a:spLocks/>
          </p:cNvSpPr>
          <p:nvPr userDrawn="1"/>
        </p:nvSpPr>
        <p:spPr bwMode="auto">
          <a:xfrm flipH="1">
            <a:off x="4515837" y="6227815"/>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7" name="Freeform 45"/>
          <p:cNvSpPr>
            <a:spLocks/>
          </p:cNvSpPr>
          <p:nvPr userDrawn="1"/>
        </p:nvSpPr>
        <p:spPr bwMode="auto">
          <a:xfrm flipH="1">
            <a:off x="6954143" y="6179297"/>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8" name="Freeform 46"/>
          <p:cNvSpPr>
            <a:spLocks/>
          </p:cNvSpPr>
          <p:nvPr userDrawn="1"/>
        </p:nvSpPr>
        <p:spPr bwMode="auto">
          <a:xfrm flipH="1">
            <a:off x="6243901" y="5832877"/>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1" name="Group 10"/>
          <p:cNvGrpSpPr/>
          <p:nvPr userDrawn="1"/>
        </p:nvGrpSpPr>
        <p:grpSpPr>
          <a:xfrm flipH="1">
            <a:off x="7961339" y="6560580"/>
            <a:ext cx="204756" cy="393100"/>
            <a:chOff x="7078133" y="6555317"/>
            <a:chExt cx="204756" cy="393100"/>
          </a:xfrm>
        </p:grpSpPr>
        <p:sp>
          <p:nvSpPr>
            <p:cNvPr id="65" name="Rectangle 38"/>
            <p:cNvSpPr>
              <a:spLocks noChangeArrowheads="1"/>
            </p:cNvSpPr>
            <p:nvPr/>
          </p:nvSpPr>
          <p:spPr bwMode="auto">
            <a:xfrm>
              <a:off x="7161754" y="6795241"/>
              <a:ext cx="39857"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6" name="Oval 39"/>
            <p:cNvSpPr>
              <a:spLocks noChangeArrowheads="1"/>
            </p:cNvSpPr>
            <p:nvPr/>
          </p:nvSpPr>
          <p:spPr bwMode="auto">
            <a:xfrm>
              <a:off x="7078133" y="6660039"/>
              <a:ext cx="204756"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7" name="Oval 40"/>
            <p:cNvSpPr>
              <a:spLocks noChangeArrowheads="1"/>
            </p:cNvSpPr>
            <p:nvPr/>
          </p:nvSpPr>
          <p:spPr bwMode="auto">
            <a:xfrm>
              <a:off x="7106267" y="6555317"/>
              <a:ext cx="149269"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75240197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6_36pt Title/26pt Bullet Text">
    <p:spTree>
      <p:nvGrpSpPr>
        <p:cNvPr id="1" name=""/>
        <p:cNvGrpSpPr/>
        <p:nvPr/>
      </p:nvGrpSpPr>
      <p:grpSpPr>
        <a:xfrm>
          <a:off x="0" y="0"/>
          <a:ext cx="0" cy="0"/>
          <a:chOff x="0" y="0"/>
          <a:chExt cx="0" cy="0"/>
        </a:xfrm>
      </p:grpSpPr>
      <p:grpSp>
        <p:nvGrpSpPr>
          <p:cNvPr id="6" name="Group 5"/>
          <p:cNvGrpSpPr/>
          <p:nvPr userDrawn="1"/>
        </p:nvGrpSpPr>
        <p:grpSpPr>
          <a:xfrm>
            <a:off x="3" y="5009408"/>
            <a:ext cx="12436475" cy="1993503"/>
            <a:chOff x="2" y="5009406"/>
            <a:chExt cx="12436475" cy="1993503"/>
          </a:xfrm>
        </p:grpSpPr>
        <p:grpSp>
          <p:nvGrpSpPr>
            <p:cNvPr id="9" name="Group 8"/>
            <p:cNvGrpSpPr/>
            <p:nvPr/>
          </p:nvGrpSpPr>
          <p:grpSpPr>
            <a:xfrm>
              <a:off x="2" y="6113677"/>
              <a:ext cx="5378058" cy="889232"/>
              <a:chOff x="-104693" y="5602741"/>
              <a:chExt cx="8468154" cy="1400162"/>
            </a:xfrm>
          </p:grpSpPr>
          <p:sp>
            <p:nvSpPr>
              <p:cNvPr id="173" name="Rectangle 5"/>
              <p:cNvSpPr>
                <a:spLocks noChangeArrowheads="1"/>
              </p:cNvSpPr>
              <p:nvPr/>
            </p:nvSpPr>
            <p:spPr bwMode="auto">
              <a:xfrm flipH="1">
                <a:off x="3418306" y="5868865"/>
                <a:ext cx="550363" cy="53060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4" name="Rectangle 6"/>
              <p:cNvSpPr>
                <a:spLocks noChangeArrowheads="1"/>
              </p:cNvSpPr>
              <p:nvPr/>
            </p:nvSpPr>
            <p:spPr bwMode="auto">
              <a:xfrm flipH="1">
                <a:off x="3506923" y="5706386"/>
                <a:ext cx="238802" cy="603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5" name="Rectangle 7"/>
              <p:cNvSpPr>
                <a:spLocks noChangeArrowheads="1"/>
              </p:cNvSpPr>
              <p:nvPr/>
            </p:nvSpPr>
            <p:spPr bwMode="auto">
              <a:xfrm flipH="1">
                <a:off x="5208386" y="6427624"/>
                <a:ext cx="352605" cy="283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6" name="Rectangle 8"/>
              <p:cNvSpPr>
                <a:spLocks noChangeArrowheads="1"/>
              </p:cNvSpPr>
              <p:nvPr/>
            </p:nvSpPr>
            <p:spPr bwMode="auto">
              <a:xfrm flipH="1">
                <a:off x="5067531" y="6297029"/>
                <a:ext cx="349807" cy="4141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7" name="Rectangle 9"/>
              <p:cNvSpPr>
                <a:spLocks noChangeArrowheads="1"/>
              </p:cNvSpPr>
              <p:nvPr/>
            </p:nvSpPr>
            <p:spPr bwMode="auto">
              <a:xfrm flipH="1">
                <a:off x="1592780" y="6089908"/>
                <a:ext cx="546632" cy="70311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8" name="Rectangle 10"/>
              <p:cNvSpPr>
                <a:spLocks noChangeArrowheads="1"/>
              </p:cNvSpPr>
              <p:nvPr/>
            </p:nvSpPr>
            <p:spPr bwMode="auto">
              <a:xfrm flipH="1">
                <a:off x="1370769" y="5665510"/>
                <a:ext cx="546632" cy="1127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9" name="Freeform 11"/>
              <p:cNvSpPr>
                <a:spLocks/>
              </p:cNvSpPr>
              <p:nvPr/>
            </p:nvSpPr>
            <p:spPr bwMode="auto">
              <a:xfrm flipH="1">
                <a:off x="4392841" y="6489852"/>
                <a:ext cx="3970620" cy="51025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0" name="Freeform 18"/>
              <p:cNvSpPr>
                <a:spLocks/>
              </p:cNvSpPr>
              <p:nvPr/>
            </p:nvSpPr>
            <p:spPr bwMode="auto">
              <a:xfrm flipH="1">
                <a:off x="984" y="6027174"/>
                <a:ext cx="6091253" cy="97293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1" name="Freeform 29"/>
              <p:cNvSpPr>
                <a:spLocks/>
              </p:cNvSpPr>
              <p:nvPr/>
            </p:nvSpPr>
            <p:spPr bwMode="auto">
              <a:xfrm flipH="1">
                <a:off x="432647" y="6571940"/>
                <a:ext cx="3340253"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2" name="AutoShape 3"/>
              <p:cNvSpPr>
                <a:spLocks noChangeAspect="1" noChangeArrowheads="1" noTextEdit="1"/>
              </p:cNvSpPr>
              <p:nvPr/>
            </p:nvSpPr>
            <p:spPr bwMode="auto">
              <a:xfrm flipH="1">
                <a:off x="984" y="5602741"/>
                <a:ext cx="4298430"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83" name="Group 182"/>
              <p:cNvGrpSpPr/>
              <p:nvPr/>
            </p:nvGrpSpPr>
            <p:grpSpPr>
              <a:xfrm flipH="1">
                <a:off x="4803495" y="6266909"/>
                <a:ext cx="188333" cy="365034"/>
                <a:chOff x="6229350" y="5232400"/>
                <a:chExt cx="539750" cy="1046162"/>
              </a:xfrm>
            </p:grpSpPr>
            <p:sp>
              <p:nvSpPr>
                <p:cNvPr id="19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84" name="Freeform 17"/>
              <p:cNvSpPr>
                <a:spLocks/>
              </p:cNvSpPr>
              <p:nvPr/>
            </p:nvSpPr>
            <p:spPr bwMode="auto">
              <a:xfrm flipH="1">
                <a:off x="-104693" y="6414293"/>
                <a:ext cx="1545276" cy="58581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5" name="Freeform 55"/>
              <p:cNvSpPr>
                <a:spLocks/>
              </p:cNvSpPr>
              <p:nvPr/>
            </p:nvSpPr>
            <p:spPr bwMode="auto">
              <a:xfrm flipH="1">
                <a:off x="3919230" y="6815407"/>
                <a:ext cx="549431" cy="118468"/>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86" name="Group 185"/>
              <p:cNvGrpSpPr/>
              <p:nvPr/>
            </p:nvGrpSpPr>
            <p:grpSpPr>
              <a:xfrm flipH="1">
                <a:off x="4579666" y="6201145"/>
                <a:ext cx="188333" cy="365034"/>
                <a:chOff x="6229350" y="5232400"/>
                <a:chExt cx="539750" cy="1046162"/>
              </a:xfrm>
            </p:grpSpPr>
            <p:sp>
              <p:nvSpPr>
                <p:cNvPr id="187"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8"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9"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10" name="Group 9"/>
            <p:cNvGrpSpPr/>
            <p:nvPr/>
          </p:nvGrpSpPr>
          <p:grpSpPr>
            <a:xfrm>
              <a:off x="5464018" y="5915044"/>
              <a:ext cx="1197530" cy="618591"/>
              <a:chOff x="5464016" y="5710906"/>
              <a:chExt cx="1197530" cy="618591"/>
            </a:xfrm>
          </p:grpSpPr>
          <p:sp>
            <p:nvSpPr>
              <p:cNvPr id="166" name="Freeform 12"/>
              <p:cNvSpPr>
                <a:spLocks/>
              </p:cNvSpPr>
              <p:nvPr/>
            </p:nvSpPr>
            <p:spPr bwMode="auto">
              <a:xfrm>
                <a:off x="6020748" y="5991651"/>
                <a:ext cx="137994" cy="131650"/>
              </a:xfrm>
              <a:custGeom>
                <a:avLst/>
                <a:gdLst>
                  <a:gd name="T0" fmla="*/ 23 w 87"/>
                  <a:gd name="T1" fmla="*/ 83 h 83"/>
                  <a:gd name="T2" fmla="*/ 87 w 87"/>
                  <a:gd name="T3" fmla="*/ 25 h 83"/>
                  <a:gd name="T4" fmla="*/ 64 w 87"/>
                  <a:gd name="T5" fmla="*/ 0 h 83"/>
                  <a:gd name="T6" fmla="*/ 0 w 87"/>
                  <a:gd name="T7" fmla="*/ 58 h 83"/>
                  <a:gd name="T8" fmla="*/ 23 w 87"/>
                  <a:gd name="T9" fmla="*/ 83 h 83"/>
                </a:gdLst>
                <a:ahLst/>
                <a:cxnLst>
                  <a:cxn ang="0">
                    <a:pos x="T0" y="T1"/>
                  </a:cxn>
                  <a:cxn ang="0">
                    <a:pos x="T2" y="T3"/>
                  </a:cxn>
                  <a:cxn ang="0">
                    <a:pos x="T4" y="T5"/>
                  </a:cxn>
                  <a:cxn ang="0">
                    <a:pos x="T6" y="T7"/>
                  </a:cxn>
                  <a:cxn ang="0">
                    <a:pos x="T8" y="T9"/>
                  </a:cxn>
                </a:cxnLst>
                <a:rect l="0" t="0" r="r" b="b"/>
                <a:pathLst>
                  <a:path w="87" h="83">
                    <a:moveTo>
                      <a:pt x="23" y="83"/>
                    </a:moveTo>
                    <a:lnTo>
                      <a:pt x="87" y="25"/>
                    </a:lnTo>
                    <a:lnTo>
                      <a:pt x="64" y="0"/>
                    </a:lnTo>
                    <a:lnTo>
                      <a:pt x="0" y="58"/>
                    </a:lnTo>
                    <a:lnTo>
                      <a:pt x="2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7" name="Rectangle 16"/>
              <p:cNvSpPr>
                <a:spLocks noChangeArrowheads="1"/>
              </p:cNvSpPr>
              <p:nvPr/>
            </p:nvSpPr>
            <p:spPr bwMode="auto">
              <a:xfrm>
                <a:off x="5597251"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8" name="Rectangle 18"/>
              <p:cNvSpPr>
                <a:spLocks noChangeArrowheads="1"/>
              </p:cNvSpPr>
              <p:nvPr/>
            </p:nvSpPr>
            <p:spPr bwMode="auto">
              <a:xfrm>
                <a:off x="5464016"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9" name="Rectangle 24"/>
              <p:cNvSpPr>
                <a:spLocks noChangeArrowheads="1"/>
              </p:cNvSpPr>
              <p:nvPr/>
            </p:nvSpPr>
            <p:spPr bwMode="auto">
              <a:xfrm>
                <a:off x="6434729"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0" name="Rectangle 32"/>
              <p:cNvSpPr>
                <a:spLocks noChangeArrowheads="1"/>
              </p:cNvSpPr>
              <p:nvPr/>
            </p:nvSpPr>
            <p:spPr bwMode="auto">
              <a:xfrm>
                <a:off x="6150811" y="5710906"/>
                <a:ext cx="483771" cy="32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1" name="Freeform 34"/>
              <p:cNvSpPr>
                <a:spLocks/>
              </p:cNvSpPr>
              <p:nvPr/>
            </p:nvSpPr>
            <p:spPr bwMode="auto">
              <a:xfrm>
                <a:off x="6634581" y="6061441"/>
                <a:ext cx="26965" cy="53929"/>
              </a:xfrm>
              <a:custGeom>
                <a:avLst/>
                <a:gdLst>
                  <a:gd name="T0" fmla="*/ 36 w 36"/>
                  <a:gd name="T1" fmla="*/ 0 h 72"/>
                  <a:gd name="T2" fmla="*/ 36 w 36"/>
                  <a:gd name="T3" fmla="*/ 36 h 72"/>
                  <a:gd name="T4" fmla="*/ 0 w 36"/>
                  <a:gd name="T5" fmla="*/ 72 h 72"/>
                  <a:gd name="T6" fmla="*/ 0 w 36"/>
                  <a:gd name="T7" fmla="*/ 72 h 72"/>
                  <a:gd name="T8" fmla="*/ 36 w 36"/>
                  <a:gd name="T9" fmla="*/ 36 h 72"/>
                  <a:gd name="T10" fmla="*/ 36 w 36"/>
                  <a:gd name="T11" fmla="*/ 0 h 72"/>
                  <a:gd name="T12" fmla="*/ 36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0"/>
                    </a:moveTo>
                    <a:cubicBezTo>
                      <a:pt x="36" y="36"/>
                      <a:pt x="36" y="36"/>
                      <a:pt x="36" y="36"/>
                    </a:cubicBezTo>
                    <a:cubicBezTo>
                      <a:pt x="36" y="72"/>
                      <a:pt x="0" y="72"/>
                      <a:pt x="0" y="72"/>
                    </a:cubicBezTo>
                    <a:cubicBezTo>
                      <a:pt x="0" y="72"/>
                      <a:pt x="0" y="72"/>
                      <a:pt x="0" y="72"/>
                    </a:cubicBezTo>
                    <a:cubicBezTo>
                      <a:pt x="0" y="72"/>
                      <a:pt x="36" y="72"/>
                      <a:pt x="36" y="36"/>
                    </a:cubicBezTo>
                    <a:cubicBezTo>
                      <a:pt x="36" y="0"/>
                      <a:pt x="36" y="0"/>
                      <a:pt x="36" y="0"/>
                    </a:cubicBezTo>
                    <a:cubicBezTo>
                      <a:pt x="36" y="0"/>
                      <a:pt x="36" y="0"/>
                      <a:pt x="36"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2" name="Freeform 37"/>
              <p:cNvSpPr>
                <a:spLocks/>
              </p:cNvSpPr>
              <p:nvPr/>
            </p:nvSpPr>
            <p:spPr bwMode="auto">
              <a:xfrm>
                <a:off x="6150811" y="5753731"/>
                <a:ext cx="466323" cy="280746"/>
              </a:xfrm>
              <a:custGeom>
                <a:avLst/>
                <a:gdLst>
                  <a:gd name="T0" fmla="*/ 0 w 294"/>
                  <a:gd name="T1" fmla="*/ 0 h 177"/>
                  <a:gd name="T2" fmla="*/ 0 w 294"/>
                  <a:gd name="T3" fmla="*/ 177 h 177"/>
                  <a:gd name="T4" fmla="*/ 294 w 294"/>
                  <a:gd name="T5" fmla="*/ 177 h 177"/>
                  <a:gd name="T6" fmla="*/ 0 w 294"/>
                  <a:gd name="T7" fmla="*/ 0 h 177"/>
                </a:gdLst>
                <a:ahLst/>
                <a:cxnLst>
                  <a:cxn ang="0">
                    <a:pos x="T0" y="T1"/>
                  </a:cxn>
                  <a:cxn ang="0">
                    <a:pos x="T2" y="T3"/>
                  </a:cxn>
                  <a:cxn ang="0">
                    <a:pos x="T4" y="T5"/>
                  </a:cxn>
                  <a:cxn ang="0">
                    <a:pos x="T6" y="T7"/>
                  </a:cxn>
                </a:cxnLst>
                <a:rect l="0" t="0" r="r" b="b"/>
                <a:pathLst>
                  <a:path w="294" h="177">
                    <a:moveTo>
                      <a:pt x="0" y="0"/>
                    </a:moveTo>
                    <a:lnTo>
                      <a:pt x="0" y="177"/>
                    </a:lnTo>
                    <a:lnTo>
                      <a:pt x="294"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1" name="Group 256"/>
            <p:cNvGrpSpPr>
              <a:grpSpLocks noChangeAspect="1"/>
            </p:cNvGrpSpPr>
            <p:nvPr/>
          </p:nvGrpSpPr>
          <p:grpSpPr bwMode="auto">
            <a:xfrm>
              <a:off x="12038882" y="5009406"/>
              <a:ext cx="397594" cy="1555750"/>
              <a:chOff x="6440" y="2795"/>
              <a:chExt cx="333" cy="1303"/>
            </a:xfrm>
          </p:grpSpPr>
          <p:sp>
            <p:nvSpPr>
              <p:cNvPr id="115" name="AutoShape 255"/>
              <p:cNvSpPr>
                <a:spLocks noChangeAspect="1" noChangeArrowheads="1" noTextEdit="1"/>
              </p:cNvSpPr>
              <p:nvPr/>
            </p:nvSpPr>
            <p:spPr bwMode="auto">
              <a:xfrm>
                <a:off x="6440" y="2795"/>
                <a:ext cx="333" cy="1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6" name="Rectangle 257"/>
              <p:cNvSpPr>
                <a:spLocks noChangeArrowheads="1"/>
              </p:cNvSpPr>
              <p:nvPr/>
            </p:nvSpPr>
            <p:spPr bwMode="auto">
              <a:xfrm>
                <a:off x="6438" y="3493"/>
                <a:ext cx="137" cy="60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7" name="Rectangle 258"/>
              <p:cNvSpPr>
                <a:spLocks noChangeArrowheads="1"/>
              </p:cNvSpPr>
              <p:nvPr/>
            </p:nvSpPr>
            <p:spPr bwMode="auto">
              <a:xfrm>
                <a:off x="6505" y="3144"/>
                <a:ext cx="270" cy="95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8" name="Freeform 259"/>
              <p:cNvSpPr>
                <a:spLocks/>
              </p:cNvSpPr>
              <p:nvPr/>
            </p:nvSpPr>
            <p:spPr bwMode="auto">
              <a:xfrm>
                <a:off x="6505" y="2843"/>
                <a:ext cx="270" cy="275"/>
              </a:xfrm>
              <a:custGeom>
                <a:avLst/>
                <a:gdLst>
                  <a:gd name="T0" fmla="*/ 150 w 270"/>
                  <a:gd name="T1" fmla="*/ 0 h 275"/>
                  <a:gd name="T2" fmla="*/ 121 w 270"/>
                  <a:gd name="T3" fmla="*/ 0 h 275"/>
                  <a:gd name="T4" fmla="*/ 0 w 270"/>
                  <a:gd name="T5" fmla="*/ 275 h 275"/>
                  <a:gd name="T6" fmla="*/ 270 w 270"/>
                  <a:gd name="T7" fmla="*/ 275 h 275"/>
                  <a:gd name="T8" fmla="*/ 150 w 270"/>
                  <a:gd name="T9" fmla="*/ 0 h 275"/>
                </a:gdLst>
                <a:ahLst/>
                <a:cxnLst>
                  <a:cxn ang="0">
                    <a:pos x="T0" y="T1"/>
                  </a:cxn>
                  <a:cxn ang="0">
                    <a:pos x="T2" y="T3"/>
                  </a:cxn>
                  <a:cxn ang="0">
                    <a:pos x="T4" y="T5"/>
                  </a:cxn>
                  <a:cxn ang="0">
                    <a:pos x="T6" y="T7"/>
                  </a:cxn>
                  <a:cxn ang="0">
                    <a:pos x="T8" y="T9"/>
                  </a:cxn>
                </a:cxnLst>
                <a:rect l="0" t="0" r="r" b="b"/>
                <a:pathLst>
                  <a:path w="270" h="275">
                    <a:moveTo>
                      <a:pt x="150" y="0"/>
                    </a:moveTo>
                    <a:lnTo>
                      <a:pt x="121" y="0"/>
                    </a:lnTo>
                    <a:lnTo>
                      <a:pt x="0" y="275"/>
                    </a:lnTo>
                    <a:lnTo>
                      <a:pt x="270" y="275"/>
                    </a:lnTo>
                    <a:lnTo>
                      <a:pt x="15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9" name="Oval 260"/>
              <p:cNvSpPr>
                <a:spLocks noChangeArrowheads="1"/>
              </p:cNvSpPr>
              <p:nvPr/>
            </p:nvSpPr>
            <p:spPr bwMode="auto">
              <a:xfrm>
                <a:off x="6621" y="2795"/>
                <a:ext cx="36" cy="36"/>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0" name="Rectangle 261"/>
              <p:cNvSpPr>
                <a:spLocks noChangeArrowheads="1"/>
              </p:cNvSpPr>
              <p:nvPr/>
            </p:nvSpPr>
            <p:spPr bwMode="auto">
              <a:xfrm>
                <a:off x="6541" y="3177"/>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1" name="Rectangle 262"/>
              <p:cNvSpPr>
                <a:spLocks noChangeArrowheads="1"/>
              </p:cNvSpPr>
              <p:nvPr/>
            </p:nvSpPr>
            <p:spPr bwMode="auto">
              <a:xfrm>
                <a:off x="6597" y="3177"/>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2" name="Rectangle 263"/>
              <p:cNvSpPr>
                <a:spLocks noChangeArrowheads="1"/>
              </p:cNvSpPr>
              <p:nvPr/>
            </p:nvSpPr>
            <p:spPr bwMode="auto">
              <a:xfrm>
                <a:off x="6655" y="3177"/>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3" name="Rectangle 264"/>
              <p:cNvSpPr>
                <a:spLocks noChangeArrowheads="1"/>
              </p:cNvSpPr>
              <p:nvPr/>
            </p:nvSpPr>
            <p:spPr bwMode="auto">
              <a:xfrm>
                <a:off x="6713" y="3177"/>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4" name="Rectangle 265"/>
              <p:cNvSpPr>
                <a:spLocks noChangeArrowheads="1"/>
              </p:cNvSpPr>
              <p:nvPr/>
            </p:nvSpPr>
            <p:spPr bwMode="auto">
              <a:xfrm>
                <a:off x="6541" y="3265"/>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5" name="Rectangle 266"/>
              <p:cNvSpPr>
                <a:spLocks noChangeArrowheads="1"/>
              </p:cNvSpPr>
              <p:nvPr/>
            </p:nvSpPr>
            <p:spPr bwMode="auto">
              <a:xfrm>
                <a:off x="6597" y="3265"/>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6" name="Rectangle 267"/>
              <p:cNvSpPr>
                <a:spLocks noChangeArrowheads="1"/>
              </p:cNvSpPr>
              <p:nvPr/>
            </p:nvSpPr>
            <p:spPr bwMode="auto">
              <a:xfrm>
                <a:off x="6655" y="3265"/>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7" name="Rectangle 268"/>
              <p:cNvSpPr>
                <a:spLocks noChangeArrowheads="1"/>
              </p:cNvSpPr>
              <p:nvPr/>
            </p:nvSpPr>
            <p:spPr bwMode="auto">
              <a:xfrm>
                <a:off x="6713" y="3265"/>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8" name="Rectangle 269"/>
              <p:cNvSpPr>
                <a:spLocks noChangeArrowheads="1"/>
              </p:cNvSpPr>
              <p:nvPr/>
            </p:nvSpPr>
            <p:spPr bwMode="auto">
              <a:xfrm>
                <a:off x="6541" y="3355"/>
                <a:ext cx="27"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9" name="Rectangle 270"/>
              <p:cNvSpPr>
                <a:spLocks noChangeArrowheads="1"/>
              </p:cNvSpPr>
              <p:nvPr/>
            </p:nvSpPr>
            <p:spPr bwMode="auto">
              <a:xfrm>
                <a:off x="6597" y="3355"/>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0" name="Rectangle 271"/>
              <p:cNvSpPr>
                <a:spLocks noChangeArrowheads="1"/>
              </p:cNvSpPr>
              <p:nvPr/>
            </p:nvSpPr>
            <p:spPr bwMode="auto">
              <a:xfrm>
                <a:off x="6655" y="3355"/>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1" name="Rectangle 272"/>
              <p:cNvSpPr>
                <a:spLocks noChangeArrowheads="1"/>
              </p:cNvSpPr>
              <p:nvPr/>
            </p:nvSpPr>
            <p:spPr bwMode="auto">
              <a:xfrm>
                <a:off x="6713" y="3355"/>
                <a:ext cx="26"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2" name="Rectangle 273"/>
              <p:cNvSpPr>
                <a:spLocks noChangeArrowheads="1"/>
              </p:cNvSpPr>
              <p:nvPr/>
            </p:nvSpPr>
            <p:spPr bwMode="auto">
              <a:xfrm>
                <a:off x="6541" y="3445"/>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3" name="Rectangle 274"/>
              <p:cNvSpPr>
                <a:spLocks noChangeArrowheads="1"/>
              </p:cNvSpPr>
              <p:nvPr/>
            </p:nvSpPr>
            <p:spPr bwMode="auto">
              <a:xfrm>
                <a:off x="6597" y="3445"/>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4" name="Rectangle 275"/>
              <p:cNvSpPr>
                <a:spLocks noChangeArrowheads="1"/>
              </p:cNvSpPr>
              <p:nvPr/>
            </p:nvSpPr>
            <p:spPr bwMode="auto">
              <a:xfrm>
                <a:off x="6655" y="3445"/>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5" name="Rectangle 276"/>
              <p:cNvSpPr>
                <a:spLocks noChangeArrowheads="1"/>
              </p:cNvSpPr>
              <p:nvPr/>
            </p:nvSpPr>
            <p:spPr bwMode="auto">
              <a:xfrm>
                <a:off x="6713" y="3445"/>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6" name="Rectangle 277"/>
              <p:cNvSpPr>
                <a:spLocks noChangeArrowheads="1"/>
              </p:cNvSpPr>
              <p:nvPr/>
            </p:nvSpPr>
            <p:spPr bwMode="auto">
              <a:xfrm>
                <a:off x="6541" y="3533"/>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7" name="Rectangle 278"/>
              <p:cNvSpPr>
                <a:spLocks noChangeArrowheads="1"/>
              </p:cNvSpPr>
              <p:nvPr/>
            </p:nvSpPr>
            <p:spPr bwMode="auto">
              <a:xfrm>
                <a:off x="6597" y="3533"/>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8" name="Rectangle 279"/>
              <p:cNvSpPr>
                <a:spLocks noChangeArrowheads="1"/>
              </p:cNvSpPr>
              <p:nvPr/>
            </p:nvSpPr>
            <p:spPr bwMode="auto">
              <a:xfrm>
                <a:off x="6655" y="3533"/>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9" name="Rectangle 280"/>
              <p:cNvSpPr>
                <a:spLocks noChangeArrowheads="1"/>
              </p:cNvSpPr>
              <p:nvPr/>
            </p:nvSpPr>
            <p:spPr bwMode="auto">
              <a:xfrm>
                <a:off x="6713" y="3533"/>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0" name="Rectangle 281"/>
              <p:cNvSpPr>
                <a:spLocks noChangeArrowheads="1"/>
              </p:cNvSpPr>
              <p:nvPr/>
            </p:nvSpPr>
            <p:spPr bwMode="auto">
              <a:xfrm>
                <a:off x="6541" y="3623"/>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1" name="Rectangle 282"/>
              <p:cNvSpPr>
                <a:spLocks noChangeArrowheads="1"/>
              </p:cNvSpPr>
              <p:nvPr/>
            </p:nvSpPr>
            <p:spPr bwMode="auto">
              <a:xfrm>
                <a:off x="6597" y="3623"/>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2" name="Rectangle 283"/>
              <p:cNvSpPr>
                <a:spLocks noChangeArrowheads="1"/>
              </p:cNvSpPr>
              <p:nvPr/>
            </p:nvSpPr>
            <p:spPr bwMode="auto">
              <a:xfrm>
                <a:off x="6655" y="3623"/>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3" name="Rectangle 284"/>
              <p:cNvSpPr>
                <a:spLocks noChangeArrowheads="1"/>
              </p:cNvSpPr>
              <p:nvPr/>
            </p:nvSpPr>
            <p:spPr bwMode="auto">
              <a:xfrm>
                <a:off x="6713" y="3623"/>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4" name="Rectangle 285"/>
              <p:cNvSpPr>
                <a:spLocks noChangeArrowheads="1"/>
              </p:cNvSpPr>
              <p:nvPr/>
            </p:nvSpPr>
            <p:spPr bwMode="auto">
              <a:xfrm>
                <a:off x="6541" y="3714"/>
                <a:ext cx="27"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5" name="Rectangle 286"/>
              <p:cNvSpPr>
                <a:spLocks noChangeArrowheads="1"/>
              </p:cNvSpPr>
              <p:nvPr/>
            </p:nvSpPr>
            <p:spPr bwMode="auto">
              <a:xfrm>
                <a:off x="6597" y="3714"/>
                <a:ext cx="29"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6" name="Rectangle 287"/>
              <p:cNvSpPr>
                <a:spLocks noChangeArrowheads="1"/>
              </p:cNvSpPr>
              <p:nvPr/>
            </p:nvSpPr>
            <p:spPr bwMode="auto">
              <a:xfrm>
                <a:off x="6655" y="3714"/>
                <a:ext cx="29"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7" name="Rectangle 288"/>
              <p:cNvSpPr>
                <a:spLocks noChangeArrowheads="1"/>
              </p:cNvSpPr>
              <p:nvPr/>
            </p:nvSpPr>
            <p:spPr bwMode="auto">
              <a:xfrm>
                <a:off x="6713" y="3714"/>
                <a:ext cx="26"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8" name="Rectangle 289"/>
              <p:cNvSpPr>
                <a:spLocks noChangeArrowheads="1"/>
              </p:cNvSpPr>
              <p:nvPr/>
            </p:nvSpPr>
            <p:spPr bwMode="auto">
              <a:xfrm>
                <a:off x="6541" y="3801"/>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9" name="Rectangle 290"/>
              <p:cNvSpPr>
                <a:spLocks noChangeArrowheads="1"/>
              </p:cNvSpPr>
              <p:nvPr/>
            </p:nvSpPr>
            <p:spPr bwMode="auto">
              <a:xfrm>
                <a:off x="6597" y="3801"/>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0" name="Rectangle 291"/>
              <p:cNvSpPr>
                <a:spLocks noChangeArrowheads="1"/>
              </p:cNvSpPr>
              <p:nvPr/>
            </p:nvSpPr>
            <p:spPr bwMode="auto">
              <a:xfrm>
                <a:off x="6655" y="3801"/>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1" name="Rectangle 292"/>
              <p:cNvSpPr>
                <a:spLocks noChangeArrowheads="1"/>
              </p:cNvSpPr>
              <p:nvPr/>
            </p:nvSpPr>
            <p:spPr bwMode="auto">
              <a:xfrm>
                <a:off x="6713" y="3801"/>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2" name="Rectangle 293"/>
              <p:cNvSpPr>
                <a:spLocks noChangeArrowheads="1"/>
              </p:cNvSpPr>
              <p:nvPr/>
            </p:nvSpPr>
            <p:spPr bwMode="auto">
              <a:xfrm>
                <a:off x="6541" y="3892"/>
                <a:ext cx="27"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3" name="Rectangle 294"/>
              <p:cNvSpPr>
                <a:spLocks noChangeArrowheads="1"/>
              </p:cNvSpPr>
              <p:nvPr/>
            </p:nvSpPr>
            <p:spPr bwMode="auto">
              <a:xfrm>
                <a:off x="6597" y="3892"/>
                <a:ext cx="29"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4" name="Rectangle 295"/>
              <p:cNvSpPr>
                <a:spLocks noChangeArrowheads="1"/>
              </p:cNvSpPr>
              <p:nvPr/>
            </p:nvSpPr>
            <p:spPr bwMode="auto">
              <a:xfrm>
                <a:off x="6655" y="3892"/>
                <a:ext cx="29"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5" name="Rectangle 296"/>
              <p:cNvSpPr>
                <a:spLocks noChangeArrowheads="1"/>
              </p:cNvSpPr>
              <p:nvPr/>
            </p:nvSpPr>
            <p:spPr bwMode="auto">
              <a:xfrm>
                <a:off x="6713" y="3892"/>
                <a:ext cx="26"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6" name="Rectangle 297"/>
              <p:cNvSpPr>
                <a:spLocks noChangeArrowheads="1"/>
              </p:cNvSpPr>
              <p:nvPr/>
            </p:nvSpPr>
            <p:spPr bwMode="auto">
              <a:xfrm>
                <a:off x="6541" y="3979"/>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7" name="Rectangle 298"/>
              <p:cNvSpPr>
                <a:spLocks noChangeArrowheads="1"/>
              </p:cNvSpPr>
              <p:nvPr/>
            </p:nvSpPr>
            <p:spPr bwMode="auto">
              <a:xfrm>
                <a:off x="6597" y="3979"/>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8" name="Rectangle 299"/>
              <p:cNvSpPr>
                <a:spLocks noChangeArrowheads="1"/>
              </p:cNvSpPr>
              <p:nvPr/>
            </p:nvSpPr>
            <p:spPr bwMode="auto">
              <a:xfrm>
                <a:off x="6655" y="3979"/>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9" name="Rectangle 300"/>
              <p:cNvSpPr>
                <a:spLocks noChangeArrowheads="1"/>
              </p:cNvSpPr>
              <p:nvPr/>
            </p:nvSpPr>
            <p:spPr bwMode="auto">
              <a:xfrm>
                <a:off x="6713" y="3979"/>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0" name="Freeform 301"/>
              <p:cNvSpPr>
                <a:spLocks/>
              </p:cNvSpPr>
              <p:nvPr/>
            </p:nvSpPr>
            <p:spPr bwMode="auto">
              <a:xfrm>
                <a:off x="6631" y="3040"/>
                <a:ext cx="17" cy="37"/>
              </a:xfrm>
              <a:custGeom>
                <a:avLst/>
                <a:gdLst>
                  <a:gd name="T0" fmla="*/ 7 w 7"/>
                  <a:gd name="T1" fmla="*/ 16 h 16"/>
                  <a:gd name="T2" fmla="*/ 7 w 7"/>
                  <a:gd name="T3" fmla="*/ 4 h 16"/>
                  <a:gd name="T4" fmla="*/ 4 w 7"/>
                  <a:gd name="T5" fmla="*/ 0 h 16"/>
                  <a:gd name="T6" fmla="*/ 0 w 7"/>
                  <a:gd name="T7" fmla="*/ 4 h 16"/>
                  <a:gd name="T8" fmla="*/ 0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cubicBezTo>
                      <a:pt x="7" y="4"/>
                      <a:pt x="7" y="4"/>
                      <a:pt x="7" y="4"/>
                    </a:cubicBezTo>
                    <a:cubicBezTo>
                      <a:pt x="7" y="2"/>
                      <a:pt x="6" y="0"/>
                      <a:pt x="4" y="0"/>
                    </a:cubicBezTo>
                    <a:cubicBezTo>
                      <a:pt x="1" y="0"/>
                      <a:pt x="0" y="2"/>
                      <a:pt x="0" y="4"/>
                    </a:cubicBezTo>
                    <a:cubicBezTo>
                      <a:pt x="0" y="16"/>
                      <a:pt x="0" y="16"/>
                      <a:pt x="0" y="16"/>
                    </a:cubicBezTo>
                    <a:lnTo>
                      <a:pt x="7" y="1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1" name="Freeform 302"/>
              <p:cNvSpPr>
                <a:spLocks/>
              </p:cNvSpPr>
              <p:nvPr/>
            </p:nvSpPr>
            <p:spPr bwMode="auto">
              <a:xfrm>
                <a:off x="6631" y="2909"/>
                <a:ext cx="17" cy="38"/>
              </a:xfrm>
              <a:custGeom>
                <a:avLst/>
                <a:gdLst>
                  <a:gd name="T0" fmla="*/ 7 w 7"/>
                  <a:gd name="T1" fmla="*/ 16 h 16"/>
                  <a:gd name="T2" fmla="*/ 7 w 7"/>
                  <a:gd name="T3" fmla="*/ 4 h 16"/>
                  <a:gd name="T4" fmla="*/ 4 w 7"/>
                  <a:gd name="T5" fmla="*/ 0 h 16"/>
                  <a:gd name="T6" fmla="*/ 0 w 7"/>
                  <a:gd name="T7" fmla="*/ 4 h 16"/>
                  <a:gd name="T8" fmla="*/ 0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cubicBezTo>
                      <a:pt x="7" y="4"/>
                      <a:pt x="7" y="4"/>
                      <a:pt x="7" y="4"/>
                    </a:cubicBezTo>
                    <a:cubicBezTo>
                      <a:pt x="7" y="1"/>
                      <a:pt x="6" y="0"/>
                      <a:pt x="4" y="0"/>
                    </a:cubicBezTo>
                    <a:cubicBezTo>
                      <a:pt x="1" y="0"/>
                      <a:pt x="0" y="1"/>
                      <a:pt x="0" y="4"/>
                    </a:cubicBezTo>
                    <a:cubicBezTo>
                      <a:pt x="0" y="16"/>
                      <a:pt x="0" y="16"/>
                      <a:pt x="0" y="16"/>
                    </a:cubicBezTo>
                    <a:lnTo>
                      <a:pt x="7" y="1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2" name="Freeform 303"/>
              <p:cNvSpPr>
                <a:spLocks/>
              </p:cNvSpPr>
              <p:nvPr/>
            </p:nvSpPr>
            <p:spPr bwMode="auto">
              <a:xfrm>
                <a:off x="6573" y="3040"/>
                <a:ext cx="19" cy="37"/>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3" name="Freeform 304"/>
              <p:cNvSpPr>
                <a:spLocks/>
              </p:cNvSpPr>
              <p:nvPr/>
            </p:nvSpPr>
            <p:spPr bwMode="auto">
              <a:xfrm>
                <a:off x="6686" y="3040"/>
                <a:ext cx="19" cy="37"/>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4" name="Freeform 305"/>
              <p:cNvSpPr>
                <a:spLocks/>
              </p:cNvSpPr>
              <p:nvPr/>
            </p:nvSpPr>
            <p:spPr bwMode="auto">
              <a:xfrm>
                <a:off x="6660" y="2975"/>
                <a:ext cx="19" cy="38"/>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5" name="Freeform 306"/>
              <p:cNvSpPr>
                <a:spLocks/>
              </p:cNvSpPr>
              <p:nvPr/>
            </p:nvSpPr>
            <p:spPr bwMode="auto">
              <a:xfrm>
                <a:off x="6602" y="2975"/>
                <a:ext cx="19" cy="38"/>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61" name="AutoShape 199"/>
            <p:cNvSpPr>
              <a:spLocks noChangeAspect="1" noChangeArrowheads="1" noTextEdit="1"/>
            </p:cNvSpPr>
            <p:nvPr/>
          </p:nvSpPr>
          <p:spPr bwMode="auto">
            <a:xfrm>
              <a:off x="11556427" y="5317381"/>
              <a:ext cx="415925"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2" name="Rectangle 201"/>
            <p:cNvSpPr>
              <a:spLocks noChangeArrowheads="1"/>
            </p:cNvSpPr>
            <p:nvPr/>
          </p:nvSpPr>
          <p:spPr bwMode="auto">
            <a:xfrm>
              <a:off x="11556427" y="5317381"/>
              <a:ext cx="420688" cy="12509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3" name="Rectangle 202"/>
            <p:cNvSpPr>
              <a:spLocks noChangeArrowheads="1"/>
            </p:cNvSpPr>
            <p:nvPr/>
          </p:nvSpPr>
          <p:spPr bwMode="auto">
            <a:xfrm>
              <a:off x="11883452" y="537770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4" name="Rectangle 203"/>
            <p:cNvSpPr>
              <a:spLocks noChangeArrowheads="1"/>
            </p:cNvSpPr>
            <p:nvPr/>
          </p:nvSpPr>
          <p:spPr bwMode="auto">
            <a:xfrm>
              <a:off x="11796140" y="5377706"/>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5" name="Rectangle 204"/>
            <p:cNvSpPr>
              <a:spLocks noChangeArrowheads="1"/>
            </p:cNvSpPr>
            <p:nvPr/>
          </p:nvSpPr>
          <p:spPr bwMode="auto">
            <a:xfrm>
              <a:off x="11702477" y="537770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6" name="Rectangle 205"/>
            <p:cNvSpPr>
              <a:spLocks noChangeArrowheads="1"/>
            </p:cNvSpPr>
            <p:nvPr/>
          </p:nvSpPr>
          <p:spPr bwMode="auto">
            <a:xfrm>
              <a:off x="11610402" y="537770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7" name="Rectangle 206"/>
            <p:cNvSpPr>
              <a:spLocks noChangeArrowheads="1"/>
            </p:cNvSpPr>
            <p:nvPr/>
          </p:nvSpPr>
          <p:spPr bwMode="auto">
            <a:xfrm>
              <a:off x="11883452" y="546501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8" name="Rectangle 207"/>
            <p:cNvSpPr>
              <a:spLocks noChangeArrowheads="1"/>
            </p:cNvSpPr>
            <p:nvPr/>
          </p:nvSpPr>
          <p:spPr bwMode="auto">
            <a:xfrm>
              <a:off x="11796140" y="5465019"/>
              <a:ext cx="33338"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9" name="Rectangle 208"/>
            <p:cNvSpPr>
              <a:spLocks noChangeArrowheads="1"/>
            </p:cNvSpPr>
            <p:nvPr/>
          </p:nvSpPr>
          <p:spPr bwMode="auto">
            <a:xfrm>
              <a:off x="11702477" y="5465019"/>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0" name="Rectangle 209"/>
            <p:cNvSpPr>
              <a:spLocks noChangeArrowheads="1"/>
            </p:cNvSpPr>
            <p:nvPr/>
          </p:nvSpPr>
          <p:spPr bwMode="auto">
            <a:xfrm>
              <a:off x="11610402" y="5465019"/>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1" name="Rectangle 210"/>
            <p:cNvSpPr>
              <a:spLocks noChangeArrowheads="1"/>
            </p:cNvSpPr>
            <p:nvPr/>
          </p:nvSpPr>
          <p:spPr bwMode="auto">
            <a:xfrm>
              <a:off x="11883452" y="555550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2" name="Rectangle 211"/>
            <p:cNvSpPr>
              <a:spLocks noChangeArrowheads="1"/>
            </p:cNvSpPr>
            <p:nvPr/>
          </p:nvSpPr>
          <p:spPr bwMode="auto">
            <a:xfrm>
              <a:off x="11796140" y="5555506"/>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3" name="Rectangle 212"/>
            <p:cNvSpPr>
              <a:spLocks noChangeArrowheads="1"/>
            </p:cNvSpPr>
            <p:nvPr/>
          </p:nvSpPr>
          <p:spPr bwMode="auto">
            <a:xfrm>
              <a:off x="11702477" y="555550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4" name="Rectangle 213"/>
            <p:cNvSpPr>
              <a:spLocks noChangeArrowheads="1"/>
            </p:cNvSpPr>
            <p:nvPr/>
          </p:nvSpPr>
          <p:spPr bwMode="auto">
            <a:xfrm>
              <a:off x="11610402" y="555550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5" name="Rectangle 214"/>
            <p:cNvSpPr>
              <a:spLocks noChangeArrowheads="1"/>
            </p:cNvSpPr>
            <p:nvPr/>
          </p:nvSpPr>
          <p:spPr bwMode="auto">
            <a:xfrm>
              <a:off x="11883452" y="5645994"/>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6" name="Rectangle 215"/>
            <p:cNvSpPr>
              <a:spLocks noChangeArrowheads="1"/>
            </p:cNvSpPr>
            <p:nvPr/>
          </p:nvSpPr>
          <p:spPr bwMode="auto">
            <a:xfrm>
              <a:off x="11796140" y="5645994"/>
              <a:ext cx="33338"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7" name="Rectangle 216"/>
            <p:cNvSpPr>
              <a:spLocks noChangeArrowheads="1"/>
            </p:cNvSpPr>
            <p:nvPr/>
          </p:nvSpPr>
          <p:spPr bwMode="auto">
            <a:xfrm>
              <a:off x="11702477" y="5645994"/>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8" name="Rectangle 217"/>
            <p:cNvSpPr>
              <a:spLocks noChangeArrowheads="1"/>
            </p:cNvSpPr>
            <p:nvPr/>
          </p:nvSpPr>
          <p:spPr bwMode="auto">
            <a:xfrm>
              <a:off x="11610402" y="5645994"/>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9" name="Rectangle 218"/>
            <p:cNvSpPr>
              <a:spLocks noChangeArrowheads="1"/>
            </p:cNvSpPr>
            <p:nvPr/>
          </p:nvSpPr>
          <p:spPr bwMode="auto">
            <a:xfrm>
              <a:off x="11883452" y="5736481"/>
              <a:ext cx="34925" cy="61913"/>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0" name="Rectangle 219"/>
            <p:cNvSpPr>
              <a:spLocks noChangeArrowheads="1"/>
            </p:cNvSpPr>
            <p:nvPr/>
          </p:nvSpPr>
          <p:spPr bwMode="auto">
            <a:xfrm>
              <a:off x="11796140" y="5736481"/>
              <a:ext cx="33338"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1" name="Rectangle 220"/>
            <p:cNvSpPr>
              <a:spLocks noChangeArrowheads="1"/>
            </p:cNvSpPr>
            <p:nvPr/>
          </p:nvSpPr>
          <p:spPr bwMode="auto">
            <a:xfrm>
              <a:off x="11702477" y="5736481"/>
              <a:ext cx="34925"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2" name="Rectangle 221"/>
            <p:cNvSpPr>
              <a:spLocks noChangeArrowheads="1"/>
            </p:cNvSpPr>
            <p:nvPr/>
          </p:nvSpPr>
          <p:spPr bwMode="auto">
            <a:xfrm>
              <a:off x="11610402" y="5736481"/>
              <a:ext cx="34925" cy="61913"/>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3" name="Rectangle 222"/>
            <p:cNvSpPr>
              <a:spLocks noChangeArrowheads="1"/>
            </p:cNvSpPr>
            <p:nvPr/>
          </p:nvSpPr>
          <p:spPr bwMode="auto">
            <a:xfrm>
              <a:off x="11883452" y="5823794"/>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4" name="Rectangle 223"/>
            <p:cNvSpPr>
              <a:spLocks noChangeArrowheads="1"/>
            </p:cNvSpPr>
            <p:nvPr/>
          </p:nvSpPr>
          <p:spPr bwMode="auto">
            <a:xfrm>
              <a:off x="11796140" y="5823794"/>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Rectangle 224"/>
            <p:cNvSpPr>
              <a:spLocks noChangeArrowheads="1"/>
            </p:cNvSpPr>
            <p:nvPr/>
          </p:nvSpPr>
          <p:spPr bwMode="auto">
            <a:xfrm>
              <a:off x="11702477" y="5823794"/>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 name="Rectangle 225"/>
            <p:cNvSpPr>
              <a:spLocks noChangeArrowheads="1"/>
            </p:cNvSpPr>
            <p:nvPr/>
          </p:nvSpPr>
          <p:spPr bwMode="auto">
            <a:xfrm>
              <a:off x="11610402" y="5823794"/>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7" name="Rectangle 226"/>
            <p:cNvSpPr>
              <a:spLocks noChangeArrowheads="1"/>
            </p:cNvSpPr>
            <p:nvPr/>
          </p:nvSpPr>
          <p:spPr bwMode="auto">
            <a:xfrm>
              <a:off x="11883452" y="5914281"/>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8" name="Rectangle 227"/>
            <p:cNvSpPr>
              <a:spLocks noChangeArrowheads="1"/>
            </p:cNvSpPr>
            <p:nvPr/>
          </p:nvSpPr>
          <p:spPr bwMode="auto">
            <a:xfrm>
              <a:off x="11796140" y="5914281"/>
              <a:ext cx="33338"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9" name="Rectangle 228"/>
            <p:cNvSpPr>
              <a:spLocks noChangeArrowheads="1"/>
            </p:cNvSpPr>
            <p:nvPr/>
          </p:nvSpPr>
          <p:spPr bwMode="auto">
            <a:xfrm>
              <a:off x="11702477" y="5914281"/>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0" name="Rectangle 229"/>
            <p:cNvSpPr>
              <a:spLocks noChangeArrowheads="1"/>
            </p:cNvSpPr>
            <p:nvPr/>
          </p:nvSpPr>
          <p:spPr bwMode="auto">
            <a:xfrm>
              <a:off x="11610402" y="5914281"/>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1" name="Rectangle 230"/>
            <p:cNvSpPr>
              <a:spLocks noChangeArrowheads="1"/>
            </p:cNvSpPr>
            <p:nvPr/>
          </p:nvSpPr>
          <p:spPr bwMode="auto">
            <a:xfrm>
              <a:off x="11883452" y="60063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2" name="Rectangle 231"/>
            <p:cNvSpPr>
              <a:spLocks noChangeArrowheads="1"/>
            </p:cNvSpPr>
            <p:nvPr/>
          </p:nvSpPr>
          <p:spPr bwMode="auto">
            <a:xfrm>
              <a:off x="11796140" y="6006356"/>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3" name="Rectangle 232"/>
            <p:cNvSpPr>
              <a:spLocks noChangeArrowheads="1"/>
            </p:cNvSpPr>
            <p:nvPr/>
          </p:nvSpPr>
          <p:spPr bwMode="auto">
            <a:xfrm>
              <a:off x="11702477" y="600635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4" name="Rectangle 233"/>
            <p:cNvSpPr>
              <a:spLocks noChangeArrowheads="1"/>
            </p:cNvSpPr>
            <p:nvPr/>
          </p:nvSpPr>
          <p:spPr bwMode="auto">
            <a:xfrm>
              <a:off x="11610402" y="600635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5" name="Rectangle 234"/>
            <p:cNvSpPr>
              <a:spLocks noChangeArrowheads="1"/>
            </p:cNvSpPr>
            <p:nvPr/>
          </p:nvSpPr>
          <p:spPr bwMode="auto">
            <a:xfrm>
              <a:off x="11883452" y="6103194"/>
              <a:ext cx="34925"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6" name="Rectangle 235"/>
            <p:cNvSpPr>
              <a:spLocks noChangeArrowheads="1"/>
            </p:cNvSpPr>
            <p:nvPr/>
          </p:nvSpPr>
          <p:spPr bwMode="auto">
            <a:xfrm>
              <a:off x="11796140" y="6103194"/>
              <a:ext cx="33338"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7" name="Rectangle 236"/>
            <p:cNvSpPr>
              <a:spLocks noChangeArrowheads="1"/>
            </p:cNvSpPr>
            <p:nvPr/>
          </p:nvSpPr>
          <p:spPr bwMode="auto">
            <a:xfrm>
              <a:off x="11702477" y="6103194"/>
              <a:ext cx="34925"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8" name="Rectangle 237"/>
            <p:cNvSpPr>
              <a:spLocks noChangeArrowheads="1"/>
            </p:cNvSpPr>
            <p:nvPr/>
          </p:nvSpPr>
          <p:spPr bwMode="auto">
            <a:xfrm>
              <a:off x="11610402" y="6103194"/>
              <a:ext cx="34925" cy="61913"/>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9" name="Rectangle 238"/>
            <p:cNvSpPr>
              <a:spLocks noChangeArrowheads="1"/>
            </p:cNvSpPr>
            <p:nvPr/>
          </p:nvSpPr>
          <p:spPr bwMode="auto">
            <a:xfrm>
              <a:off x="11883452" y="619526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0" name="Rectangle 239"/>
            <p:cNvSpPr>
              <a:spLocks noChangeArrowheads="1"/>
            </p:cNvSpPr>
            <p:nvPr/>
          </p:nvSpPr>
          <p:spPr bwMode="auto">
            <a:xfrm>
              <a:off x="11796140" y="6195269"/>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1" name="Rectangle 240"/>
            <p:cNvSpPr>
              <a:spLocks noChangeArrowheads="1"/>
            </p:cNvSpPr>
            <p:nvPr/>
          </p:nvSpPr>
          <p:spPr bwMode="auto">
            <a:xfrm>
              <a:off x="11702477" y="6195269"/>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2" name="Rectangle 241"/>
            <p:cNvSpPr>
              <a:spLocks noChangeArrowheads="1"/>
            </p:cNvSpPr>
            <p:nvPr/>
          </p:nvSpPr>
          <p:spPr bwMode="auto">
            <a:xfrm>
              <a:off x="11610402" y="619526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3" name="Rectangle 242"/>
            <p:cNvSpPr>
              <a:spLocks noChangeArrowheads="1"/>
            </p:cNvSpPr>
            <p:nvPr/>
          </p:nvSpPr>
          <p:spPr bwMode="auto">
            <a:xfrm>
              <a:off x="11883452" y="62857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4" name="Rectangle 243"/>
            <p:cNvSpPr>
              <a:spLocks noChangeArrowheads="1"/>
            </p:cNvSpPr>
            <p:nvPr/>
          </p:nvSpPr>
          <p:spPr bwMode="auto">
            <a:xfrm>
              <a:off x="11796140" y="6285756"/>
              <a:ext cx="33338"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5" name="Rectangle 244"/>
            <p:cNvSpPr>
              <a:spLocks noChangeArrowheads="1"/>
            </p:cNvSpPr>
            <p:nvPr/>
          </p:nvSpPr>
          <p:spPr bwMode="auto">
            <a:xfrm>
              <a:off x="11702477" y="62857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6" name="Rectangle 245"/>
            <p:cNvSpPr>
              <a:spLocks noChangeArrowheads="1"/>
            </p:cNvSpPr>
            <p:nvPr/>
          </p:nvSpPr>
          <p:spPr bwMode="auto">
            <a:xfrm>
              <a:off x="11610402" y="628575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7" name="Rectangle 246"/>
            <p:cNvSpPr>
              <a:spLocks noChangeArrowheads="1"/>
            </p:cNvSpPr>
            <p:nvPr/>
          </p:nvSpPr>
          <p:spPr bwMode="auto">
            <a:xfrm>
              <a:off x="11883452" y="637306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8" name="Rectangle 247"/>
            <p:cNvSpPr>
              <a:spLocks noChangeArrowheads="1"/>
            </p:cNvSpPr>
            <p:nvPr/>
          </p:nvSpPr>
          <p:spPr bwMode="auto">
            <a:xfrm>
              <a:off x="11796140" y="6373069"/>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9" name="Rectangle 248"/>
            <p:cNvSpPr>
              <a:spLocks noChangeArrowheads="1"/>
            </p:cNvSpPr>
            <p:nvPr/>
          </p:nvSpPr>
          <p:spPr bwMode="auto">
            <a:xfrm>
              <a:off x="11702477" y="6373069"/>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0" name="Rectangle 249"/>
            <p:cNvSpPr>
              <a:spLocks noChangeArrowheads="1"/>
            </p:cNvSpPr>
            <p:nvPr/>
          </p:nvSpPr>
          <p:spPr bwMode="auto">
            <a:xfrm>
              <a:off x="11610402" y="637306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1" name="Rectangle 250"/>
            <p:cNvSpPr>
              <a:spLocks noChangeArrowheads="1"/>
            </p:cNvSpPr>
            <p:nvPr/>
          </p:nvSpPr>
          <p:spPr bwMode="auto">
            <a:xfrm>
              <a:off x="11883452" y="646355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2" name="Rectangle 251"/>
            <p:cNvSpPr>
              <a:spLocks noChangeArrowheads="1"/>
            </p:cNvSpPr>
            <p:nvPr/>
          </p:nvSpPr>
          <p:spPr bwMode="auto">
            <a:xfrm>
              <a:off x="11796140" y="6463556"/>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3" name="Rectangle 252"/>
            <p:cNvSpPr>
              <a:spLocks noChangeArrowheads="1"/>
            </p:cNvSpPr>
            <p:nvPr/>
          </p:nvSpPr>
          <p:spPr bwMode="auto">
            <a:xfrm>
              <a:off x="11702477" y="64635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Rectangle 253"/>
            <p:cNvSpPr>
              <a:spLocks noChangeArrowheads="1"/>
            </p:cNvSpPr>
            <p:nvPr/>
          </p:nvSpPr>
          <p:spPr bwMode="auto">
            <a:xfrm>
              <a:off x="11610402" y="64635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AutoShape 172"/>
            <p:cNvSpPr>
              <a:spLocks noChangeAspect="1" noChangeArrowheads="1" noTextEdit="1"/>
            </p:cNvSpPr>
            <p:nvPr/>
          </p:nvSpPr>
          <p:spPr bwMode="auto">
            <a:xfrm>
              <a:off x="11073725" y="5091309"/>
              <a:ext cx="416172" cy="1473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Rectangle 174"/>
            <p:cNvSpPr>
              <a:spLocks noChangeArrowheads="1"/>
            </p:cNvSpPr>
            <p:nvPr/>
          </p:nvSpPr>
          <p:spPr bwMode="auto">
            <a:xfrm>
              <a:off x="11073725" y="5202825"/>
              <a:ext cx="419621" cy="1364631"/>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Line 175"/>
            <p:cNvSpPr>
              <a:spLocks noChangeShapeType="1"/>
            </p:cNvSpPr>
            <p:nvPr/>
          </p:nvSpPr>
          <p:spPr bwMode="auto">
            <a:xfrm>
              <a:off x="11073725" y="5260307"/>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Line 176"/>
            <p:cNvSpPr>
              <a:spLocks noChangeShapeType="1"/>
            </p:cNvSpPr>
            <p:nvPr/>
          </p:nvSpPr>
          <p:spPr bwMode="auto">
            <a:xfrm>
              <a:off x="11073725" y="5323538"/>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Line 177"/>
            <p:cNvSpPr>
              <a:spLocks noChangeShapeType="1"/>
            </p:cNvSpPr>
            <p:nvPr/>
          </p:nvSpPr>
          <p:spPr bwMode="auto">
            <a:xfrm>
              <a:off x="11073725" y="5383319"/>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Line 178"/>
            <p:cNvSpPr>
              <a:spLocks noChangeShapeType="1"/>
            </p:cNvSpPr>
            <p:nvPr/>
          </p:nvSpPr>
          <p:spPr bwMode="auto">
            <a:xfrm>
              <a:off x="11073725" y="5446550"/>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 name="Line 179"/>
            <p:cNvSpPr>
              <a:spLocks noChangeShapeType="1"/>
            </p:cNvSpPr>
            <p:nvPr/>
          </p:nvSpPr>
          <p:spPr bwMode="auto">
            <a:xfrm>
              <a:off x="11073725" y="5506331"/>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 name="Line 180"/>
            <p:cNvSpPr>
              <a:spLocks noChangeShapeType="1"/>
            </p:cNvSpPr>
            <p:nvPr/>
          </p:nvSpPr>
          <p:spPr bwMode="auto">
            <a:xfrm>
              <a:off x="11073725" y="5568412"/>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 name="Line 181"/>
            <p:cNvSpPr>
              <a:spLocks noChangeShapeType="1"/>
            </p:cNvSpPr>
            <p:nvPr/>
          </p:nvSpPr>
          <p:spPr bwMode="auto">
            <a:xfrm>
              <a:off x="11073725" y="5629344"/>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 name="Line 182"/>
            <p:cNvSpPr>
              <a:spLocks noChangeShapeType="1"/>
            </p:cNvSpPr>
            <p:nvPr/>
          </p:nvSpPr>
          <p:spPr bwMode="auto">
            <a:xfrm>
              <a:off x="11073725" y="5691425"/>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 name="Line 183"/>
            <p:cNvSpPr>
              <a:spLocks noChangeShapeType="1"/>
            </p:cNvSpPr>
            <p:nvPr/>
          </p:nvSpPr>
          <p:spPr bwMode="auto">
            <a:xfrm>
              <a:off x="11073725" y="5752356"/>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Line 184"/>
            <p:cNvSpPr>
              <a:spLocks noChangeShapeType="1"/>
            </p:cNvSpPr>
            <p:nvPr/>
          </p:nvSpPr>
          <p:spPr bwMode="auto">
            <a:xfrm>
              <a:off x="11073725" y="5812137"/>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Line 185"/>
            <p:cNvSpPr>
              <a:spLocks noChangeShapeType="1"/>
            </p:cNvSpPr>
            <p:nvPr/>
          </p:nvSpPr>
          <p:spPr bwMode="auto">
            <a:xfrm>
              <a:off x="11073725" y="5874218"/>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Line 186"/>
            <p:cNvSpPr>
              <a:spLocks noChangeShapeType="1"/>
            </p:cNvSpPr>
            <p:nvPr/>
          </p:nvSpPr>
          <p:spPr bwMode="auto">
            <a:xfrm>
              <a:off x="11073725" y="5935150"/>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Line 187"/>
            <p:cNvSpPr>
              <a:spLocks noChangeShapeType="1"/>
            </p:cNvSpPr>
            <p:nvPr/>
          </p:nvSpPr>
          <p:spPr bwMode="auto">
            <a:xfrm>
              <a:off x="11073725" y="5997231"/>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1" name="Line 188"/>
            <p:cNvSpPr>
              <a:spLocks noChangeShapeType="1"/>
            </p:cNvSpPr>
            <p:nvPr/>
          </p:nvSpPr>
          <p:spPr bwMode="auto">
            <a:xfrm>
              <a:off x="11073725" y="6057012"/>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Line 189"/>
            <p:cNvSpPr>
              <a:spLocks noChangeShapeType="1"/>
            </p:cNvSpPr>
            <p:nvPr/>
          </p:nvSpPr>
          <p:spPr bwMode="auto">
            <a:xfrm>
              <a:off x="11073725" y="6117943"/>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3" name="Line 190"/>
            <p:cNvSpPr>
              <a:spLocks noChangeShapeType="1"/>
            </p:cNvSpPr>
            <p:nvPr/>
          </p:nvSpPr>
          <p:spPr bwMode="auto">
            <a:xfrm>
              <a:off x="11073725" y="6180024"/>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4" name="Line 191"/>
            <p:cNvSpPr>
              <a:spLocks noChangeShapeType="1"/>
            </p:cNvSpPr>
            <p:nvPr/>
          </p:nvSpPr>
          <p:spPr bwMode="auto">
            <a:xfrm>
              <a:off x="11073725" y="6239806"/>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5" name="Line 192"/>
            <p:cNvSpPr>
              <a:spLocks noChangeShapeType="1"/>
            </p:cNvSpPr>
            <p:nvPr/>
          </p:nvSpPr>
          <p:spPr bwMode="auto">
            <a:xfrm>
              <a:off x="11073725" y="6303037"/>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6" name="Line 193"/>
            <p:cNvSpPr>
              <a:spLocks noChangeShapeType="1"/>
            </p:cNvSpPr>
            <p:nvPr/>
          </p:nvSpPr>
          <p:spPr bwMode="auto">
            <a:xfrm>
              <a:off x="11073725" y="6362818"/>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7" name="Line 194"/>
            <p:cNvSpPr>
              <a:spLocks noChangeShapeType="1"/>
            </p:cNvSpPr>
            <p:nvPr/>
          </p:nvSpPr>
          <p:spPr bwMode="auto">
            <a:xfrm>
              <a:off x="11073725" y="6426049"/>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8" name="Line 195"/>
            <p:cNvSpPr>
              <a:spLocks noChangeShapeType="1"/>
            </p:cNvSpPr>
            <p:nvPr/>
          </p:nvSpPr>
          <p:spPr bwMode="auto">
            <a:xfrm>
              <a:off x="11073725" y="6485830"/>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9" name="Line 196"/>
            <p:cNvSpPr>
              <a:spLocks noChangeShapeType="1"/>
            </p:cNvSpPr>
            <p:nvPr/>
          </p:nvSpPr>
          <p:spPr bwMode="auto">
            <a:xfrm>
              <a:off x="11073725" y="6549061"/>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0" name="Freeform 197"/>
            <p:cNvSpPr>
              <a:spLocks/>
            </p:cNvSpPr>
            <p:nvPr/>
          </p:nvSpPr>
          <p:spPr bwMode="auto">
            <a:xfrm>
              <a:off x="11120861" y="5089010"/>
              <a:ext cx="316153" cy="113815"/>
            </a:xfrm>
            <a:custGeom>
              <a:avLst/>
              <a:gdLst>
                <a:gd name="T0" fmla="*/ 275 w 275"/>
                <a:gd name="T1" fmla="*/ 0 h 99"/>
                <a:gd name="T2" fmla="*/ 0 w 275"/>
                <a:gd name="T3" fmla="*/ 38 h 99"/>
                <a:gd name="T4" fmla="*/ 0 w 275"/>
                <a:gd name="T5" fmla="*/ 99 h 99"/>
                <a:gd name="T6" fmla="*/ 275 w 275"/>
                <a:gd name="T7" fmla="*/ 99 h 99"/>
                <a:gd name="T8" fmla="*/ 275 w 275"/>
                <a:gd name="T9" fmla="*/ 0 h 99"/>
              </a:gdLst>
              <a:ahLst/>
              <a:cxnLst>
                <a:cxn ang="0">
                  <a:pos x="T0" y="T1"/>
                </a:cxn>
                <a:cxn ang="0">
                  <a:pos x="T2" y="T3"/>
                </a:cxn>
                <a:cxn ang="0">
                  <a:pos x="T4" y="T5"/>
                </a:cxn>
                <a:cxn ang="0">
                  <a:pos x="T6" y="T7"/>
                </a:cxn>
                <a:cxn ang="0">
                  <a:pos x="T8" y="T9"/>
                </a:cxn>
              </a:cxnLst>
              <a:rect l="0" t="0" r="r" b="b"/>
              <a:pathLst>
                <a:path w="275" h="99">
                  <a:moveTo>
                    <a:pt x="275" y="0"/>
                  </a:moveTo>
                  <a:lnTo>
                    <a:pt x="0" y="38"/>
                  </a:lnTo>
                  <a:lnTo>
                    <a:pt x="0" y="99"/>
                  </a:lnTo>
                  <a:lnTo>
                    <a:pt x="275" y="99"/>
                  </a:lnTo>
                  <a:lnTo>
                    <a:pt x="275"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4" name="Group 13"/>
            <p:cNvGrpSpPr/>
            <p:nvPr/>
          </p:nvGrpSpPr>
          <p:grpSpPr>
            <a:xfrm flipH="1">
              <a:off x="4067728" y="5602747"/>
              <a:ext cx="8368749" cy="1400162"/>
              <a:chOff x="-5288" y="5602741"/>
              <a:chExt cx="8368749" cy="1400162"/>
            </a:xfrm>
          </p:grpSpPr>
          <p:sp>
            <p:nvSpPr>
              <p:cNvPr id="15" name="Rectangle 5"/>
              <p:cNvSpPr>
                <a:spLocks noChangeArrowheads="1"/>
              </p:cNvSpPr>
              <p:nvPr/>
            </p:nvSpPr>
            <p:spPr bwMode="auto">
              <a:xfrm flipH="1">
                <a:off x="3418306" y="5868865"/>
                <a:ext cx="550363" cy="53060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 name="Rectangle 6"/>
              <p:cNvSpPr>
                <a:spLocks noChangeArrowheads="1"/>
              </p:cNvSpPr>
              <p:nvPr/>
            </p:nvSpPr>
            <p:spPr bwMode="auto">
              <a:xfrm flipH="1">
                <a:off x="3506925" y="5752350"/>
                <a:ext cx="238802" cy="5577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 name="Rectangle 7"/>
              <p:cNvSpPr>
                <a:spLocks noChangeArrowheads="1"/>
              </p:cNvSpPr>
              <p:nvPr/>
            </p:nvSpPr>
            <p:spPr bwMode="auto">
              <a:xfrm flipH="1">
                <a:off x="5208386" y="6427624"/>
                <a:ext cx="352605" cy="283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 name="Rectangle 8"/>
              <p:cNvSpPr>
                <a:spLocks noChangeArrowheads="1"/>
              </p:cNvSpPr>
              <p:nvPr/>
            </p:nvSpPr>
            <p:spPr bwMode="auto">
              <a:xfrm flipH="1">
                <a:off x="5067531" y="6297029"/>
                <a:ext cx="349807" cy="4141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Freeform 11"/>
              <p:cNvSpPr>
                <a:spLocks/>
              </p:cNvSpPr>
              <p:nvPr/>
            </p:nvSpPr>
            <p:spPr bwMode="auto">
              <a:xfrm flipH="1">
                <a:off x="4392841" y="6489852"/>
                <a:ext cx="3970620" cy="51025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Freeform 18"/>
              <p:cNvSpPr>
                <a:spLocks/>
              </p:cNvSpPr>
              <p:nvPr/>
            </p:nvSpPr>
            <p:spPr bwMode="auto">
              <a:xfrm flipH="1">
                <a:off x="984" y="6027174"/>
                <a:ext cx="6091253" cy="97293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Freeform 29"/>
              <p:cNvSpPr>
                <a:spLocks/>
              </p:cNvSpPr>
              <p:nvPr/>
            </p:nvSpPr>
            <p:spPr bwMode="auto">
              <a:xfrm flipH="1">
                <a:off x="432647" y="6571940"/>
                <a:ext cx="3340253"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AutoShape 3"/>
              <p:cNvSpPr>
                <a:spLocks noChangeAspect="1" noChangeArrowheads="1" noTextEdit="1"/>
              </p:cNvSpPr>
              <p:nvPr/>
            </p:nvSpPr>
            <p:spPr bwMode="auto">
              <a:xfrm flipH="1">
                <a:off x="984" y="5602741"/>
                <a:ext cx="4298430"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23" name="Group 22"/>
              <p:cNvGrpSpPr/>
              <p:nvPr/>
            </p:nvGrpSpPr>
            <p:grpSpPr>
              <a:xfrm flipH="1">
                <a:off x="2682360" y="5937785"/>
                <a:ext cx="188333" cy="365032"/>
                <a:chOff x="6229350" y="5232402"/>
                <a:chExt cx="539750" cy="1046158"/>
              </a:xfrm>
            </p:grpSpPr>
            <p:sp>
              <p:nvSpPr>
                <p:cNvPr id="33" name="Freeform 14"/>
                <p:cNvSpPr>
                  <a:spLocks/>
                </p:cNvSpPr>
                <p:nvPr/>
              </p:nvSpPr>
              <p:spPr bwMode="auto">
                <a:xfrm>
                  <a:off x="6446849" y="5870574"/>
                  <a:ext cx="111124" cy="407986"/>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 name="Freeform 15"/>
                <p:cNvSpPr>
                  <a:spLocks/>
                </p:cNvSpPr>
                <p:nvPr/>
              </p:nvSpPr>
              <p:spPr bwMode="auto">
                <a:xfrm>
                  <a:off x="6229350" y="5511808"/>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 name="Freeform 16"/>
                <p:cNvSpPr>
                  <a:spLocks/>
                </p:cNvSpPr>
                <p:nvPr/>
              </p:nvSpPr>
              <p:spPr bwMode="auto">
                <a:xfrm>
                  <a:off x="6300795" y="5232402"/>
                  <a:ext cx="395287" cy="396874"/>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4" name="Group 23"/>
              <p:cNvGrpSpPr/>
              <p:nvPr/>
            </p:nvGrpSpPr>
            <p:grpSpPr>
              <a:xfrm flipH="1">
                <a:off x="4803496" y="6266910"/>
                <a:ext cx="188333" cy="365034"/>
                <a:chOff x="6229349" y="5232404"/>
                <a:chExt cx="539750" cy="1046162"/>
              </a:xfrm>
            </p:grpSpPr>
            <p:sp>
              <p:nvSpPr>
                <p:cNvPr id="30" name="Freeform 14"/>
                <p:cNvSpPr>
                  <a:spLocks/>
                </p:cNvSpPr>
                <p:nvPr/>
              </p:nvSpPr>
              <p:spPr bwMode="auto">
                <a:xfrm>
                  <a:off x="6446839" y="5870578"/>
                  <a:ext cx="111124" cy="407988"/>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p:nvSpPr>
              <p:spPr bwMode="auto">
                <a:xfrm>
                  <a:off x="6229349" y="5511803"/>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 name="Freeform 16"/>
                <p:cNvSpPr>
                  <a:spLocks/>
                </p:cNvSpPr>
                <p:nvPr/>
              </p:nvSpPr>
              <p:spPr bwMode="auto">
                <a:xfrm>
                  <a:off x="6300788" y="5232404"/>
                  <a:ext cx="395287" cy="396874"/>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5" name="Freeform 17"/>
              <p:cNvSpPr>
                <a:spLocks/>
              </p:cNvSpPr>
              <p:nvPr/>
            </p:nvSpPr>
            <p:spPr bwMode="auto">
              <a:xfrm flipH="1">
                <a:off x="-5288" y="6414294"/>
                <a:ext cx="1445870" cy="58581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26" name="Group 25"/>
              <p:cNvGrpSpPr/>
              <p:nvPr/>
            </p:nvGrpSpPr>
            <p:grpSpPr>
              <a:xfrm flipH="1">
                <a:off x="4579666" y="6201145"/>
                <a:ext cx="188333" cy="365034"/>
                <a:chOff x="6229350" y="5232400"/>
                <a:chExt cx="539750" cy="1046162"/>
              </a:xfrm>
            </p:grpSpPr>
            <p:sp>
              <p:nvSpPr>
                <p:cNvPr id="27" name="Freeform 14"/>
                <p:cNvSpPr>
                  <a:spLocks/>
                </p:cNvSpPr>
                <p:nvPr/>
              </p:nvSpPr>
              <p:spPr bwMode="auto">
                <a:xfrm>
                  <a:off x="6446837" y="5870574"/>
                  <a:ext cx="111124" cy="407988"/>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Freeform 16"/>
                <p:cNvSpPr>
                  <a:spLocks/>
                </p:cNvSpPr>
                <p:nvPr/>
              </p:nvSpPr>
              <p:spPr bwMode="auto">
                <a:xfrm>
                  <a:off x="6300789" y="5232400"/>
                  <a:ext cx="395287" cy="396874"/>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graphicFrame>
        <p:nvGraphicFramePr>
          <p:cNvPr id="5" name="Object 4" hidden="1"/>
          <p:cNvGraphicFramePr>
            <a:graphicFrameLocks noChangeAspect="1"/>
          </p:cNvGraphicFramePr>
          <p:nvPr>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891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a:t>Lorem ipsum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pPr>
              <a:defRPr/>
            </a:pPr>
            <a:r>
              <a:rPr lang="en-US">
                <a:solidFill>
                  <a:srgbClr val="FFFFFF"/>
                </a:solidFill>
              </a:rPr>
              <a:t>Microsoft confidential 2015</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39">
              <a:defRPr/>
            </a:pPr>
            <a:fld id="{27258FFF-F925-446B-8502-81C933981705}" type="slidenum">
              <a:rPr lang="en-US" smtClean="0">
                <a:solidFill>
                  <a:srgbClr val="FFFFFF"/>
                </a:solidFill>
              </a:rPr>
              <a:pPr defTabSz="932539">
                <a:defRPr/>
              </a:pPr>
              <a:t>‹#›</a:t>
            </a:fld>
            <a:endParaRPr lang="en-US" dirty="0">
              <a:solidFill>
                <a:srgbClr val="FFFFFF"/>
              </a:solidFill>
            </a:endParaRPr>
          </a:p>
        </p:txBody>
      </p:sp>
      <p:sp>
        <p:nvSpPr>
          <p:cNvPr id="8" name="Text Placeholder 7"/>
          <p:cNvSpPr>
            <a:spLocks noGrp="1"/>
          </p:cNvSpPr>
          <p:nvPr>
            <p:ph type="body" sz="quarter" idx="13" hasCustomPrompt="1"/>
          </p:nvPr>
        </p:nvSpPr>
        <p:spPr>
          <a:xfrm>
            <a:off x="603505" y="1545465"/>
            <a:ext cx="11226196" cy="4663068"/>
          </a:xfrm>
        </p:spPr>
        <p:txBody>
          <a:bodyPr lIns="0" tIns="0"/>
          <a:lstStyle>
            <a:lvl1pPr marL="233268" indent="-233268">
              <a:spcBef>
                <a:spcPts val="1198"/>
              </a:spcBef>
              <a:defRPr sz="2600">
                <a:latin typeface="+mn-lt"/>
              </a:defRPr>
            </a:lvl1pPr>
            <a:lvl2pPr marL="690281" indent="-233268">
              <a:spcBef>
                <a:spcPts val="1198"/>
              </a:spcBef>
              <a:buSzPct val="100000"/>
              <a:buFont typeface="Segoe UI" pitchFamily="34" charset="0"/>
              <a:buChar char="‐"/>
              <a:defRPr/>
            </a:lvl2pPr>
            <a:lvl3pPr marL="1147294" indent="-233268">
              <a:spcBef>
                <a:spcPts val="1198"/>
              </a:spcBef>
              <a:buFont typeface="Wingdings" pitchFamily="2" charset="2"/>
              <a:buChar char="§"/>
              <a:defRPr/>
            </a:lvl3pPr>
            <a:lvl4pPr marL="1599545" indent="-342760">
              <a:spcBef>
                <a:spcPts val="1198"/>
              </a:spcBef>
              <a:buFont typeface="+mj-lt"/>
              <a:buAutoNum type="arabicPeriod"/>
              <a:defRPr/>
            </a:lvl4pPr>
            <a:lvl5pPr marL="1945479" indent="-342760">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9164902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0_36pt Title/26pt Bullet Text">
    <p:spTree>
      <p:nvGrpSpPr>
        <p:cNvPr id="1" name=""/>
        <p:cNvGrpSpPr/>
        <p:nvPr/>
      </p:nvGrpSpPr>
      <p:grpSpPr>
        <a:xfrm>
          <a:off x="0" y="0"/>
          <a:ext cx="0" cy="0"/>
          <a:chOff x="0" y="0"/>
          <a:chExt cx="0" cy="0"/>
        </a:xfrm>
      </p:grpSpPr>
      <p:grpSp>
        <p:nvGrpSpPr>
          <p:cNvPr id="196" name="Group 195"/>
          <p:cNvGrpSpPr/>
          <p:nvPr userDrawn="1"/>
        </p:nvGrpSpPr>
        <p:grpSpPr>
          <a:xfrm>
            <a:off x="10997295" y="6236635"/>
            <a:ext cx="219659" cy="370337"/>
            <a:chOff x="10976474" y="6236633"/>
            <a:chExt cx="219659" cy="370337"/>
          </a:xfrm>
        </p:grpSpPr>
        <p:sp>
          <p:nvSpPr>
            <p:cNvPr id="194" name="Rectangle 5"/>
            <p:cNvSpPr>
              <a:spLocks noChangeArrowheads="1"/>
            </p:cNvSpPr>
            <p:nvPr userDrawn="1"/>
          </p:nvSpPr>
          <p:spPr bwMode="auto">
            <a:xfrm>
              <a:off x="10976474" y="6303312"/>
              <a:ext cx="219659" cy="30365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5" name="Rectangle 6"/>
            <p:cNvSpPr>
              <a:spLocks noChangeArrowheads="1"/>
            </p:cNvSpPr>
            <p:nvPr userDrawn="1"/>
          </p:nvSpPr>
          <p:spPr bwMode="auto">
            <a:xfrm>
              <a:off x="11065454" y="6236633"/>
              <a:ext cx="95310" cy="31918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7" name="Group 6"/>
          <p:cNvGrpSpPr/>
          <p:nvPr userDrawn="1"/>
        </p:nvGrpSpPr>
        <p:grpSpPr>
          <a:xfrm>
            <a:off x="1" y="6791715"/>
            <a:ext cx="1409700" cy="161965"/>
            <a:chOff x="0" y="6580781"/>
            <a:chExt cx="3663560" cy="420917"/>
          </a:xfrm>
        </p:grpSpPr>
        <p:sp>
          <p:nvSpPr>
            <p:cNvPr id="179" name="Freeform 11"/>
            <p:cNvSpPr>
              <a:spLocks/>
            </p:cNvSpPr>
            <p:nvPr/>
          </p:nvSpPr>
          <p:spPr bwMode="auto">
            <a:xfrm flipH="1">
              <a:off x="1945759" y="6780948"/>
              <a:ext cx="1717801" cy="220749"/>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0" name="Freeform 18"/>
            <p:cNvSpPr>
              <a:spLocks/>
            </p:cNvSpPr>
            <p:nvPr/>
          </p:nvSpPr>
          <p:spPr bwMode="auto">
            <a:xfrm flipH="1">
              <a:off x="45719" y="6580781"/>
              <a:ext cx="2635246" cy="420917"/>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1" name="Freeform 29"/>
            <p:cNvSpPr>
              <a:spLocks/>
            </p:cNvSpPr>
            <p:nvPr/>
          </p:nvSpPr>
          <p:spPr bwMode="auto">
            <a:xfrm flipH="1">
              <a:off x="232468" y="6816461"/>
              <a:ext cx="1445087" cy="185236"/>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4" name="Freeform 17"/>
            <p:cNvSpPr>
              <a:spLocks/>
            </p:cNvSpPr>
            <p:nvPr/>
          </p:nvSpPr>
          <p:spPr bwMode="auto">
            <a:xfrm flipH="1">
              <a:off x="0" y="6748259"/>
              <a:ext cx="668530" cy="253438"/>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2" name="Group 11"/>
          <p:cNvGrpSpPr/>
          <p:nvPr userDrawn="1"/>
        </p:nvGrpSpPr>
        <p:grpSpPr>
          <a:xfrm>
            <a:off x="11176314" y="5400210"/>
            <a:ext cx="1174880" cy="1344010"/>
            <a:chOff x="11073725" y="5009406"/>
            <a:chExt cx="1362751" cy="1558925"/>
          </a:xfrm>
        </p:grpSpPr>
        <p:grpSp>
          <p:nvGrpSpPr>
            <p:cNvPr id="11" name="Group 256"/>
            <p:cNvGrpSpPr>
              <a:grpSpLocks noChangeAspect="1"/>
            </p:cNvGrpSpPr>
            <p:nvPr/>
          </p:nvGrpSpPr>
          <p:grpSpPr bwMode="auto">
            <a:xfrm>
              <a:off x="12038882" y="5009406"/>
              <a:ext cx="397594" cy="1555750"/>
              <a:chOff x="6440" y="2795"/>
              <a:chExt cx="333" cy="1303"/>
            </a:xfrm>
          </p:grpSpPr>
          <p:sp>
            <p:nvSpPr>
              <p:cNvPr id="115" name="AutoShape 255"/>
              <p:cNvSpPr>
                <a:spLocks noChangeAspect="1" noChangeArrowheads="1" noTextEdit="1"/>
              </p:cNvSpPr>
              <p:nvPr/>
            </p:nvSpPr>
            <p:spPr bwMode="auto">
              <a:xfrm>
                <a:off x="6440" y="2795"/>
                <a:ext cx="333" cy="1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6" name="Rectangle 257"/>
              <p:cNvSpPr>
                <a:spLocks noChangeArrowheads="1"/>
              </p:cNvSpPr>
              <p:nvPr/>
            </p:nvSpPr>
            <p:spPr bwMode="auto">
              <a:xfrm>
                <a:off x="6438" y="3493"/>
                <a:ext cx="137" cy="60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7" name="Rectangle 258"/>
              <p:cNvSpPr>
                <a:spLocks noChangeArrowheads="1"/>
              </p:cNvSpPr>
              <p:nvPr/>
            </p:nvSpPr>
            <p:spPr bwMode="auto">
              <a:xfrm>
                <a:off x="6505" y="3144"/>
                <a:ext cx="270" cy="95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8" name="Freeform 259"/>
              <p:cNvSpPr>
                <a:spLocks/>
              </p:cNvSpPr>
              <p:nvPr/>
            </p:nvSpPr>
            <p:spPr bwMode="auto">
              <a:xfrm>
                <a:off x="6505" y="2843"/>
                <a:ext cx="270" cy="275"/>
              </a:xfrm>
              <a:custGeom>
                <a:avLst/>
                <a:gdLst>
                  <a:gd name="T0" fmla="*/ 150 w 270"/>
                  <a:gd name="T1" fmla="*/ 0 h 275"/>
                  <a:gd name="T2" fmla="*/ 121 w 270"/>
                  <a:gd name="T3" fmla="*/ 0 h 275"/>
                  <a:gd name="T4" fmla="*/ 0 w 270"/>
                  <a:gd name="T5" fmla="*/ 275 h 275"/>
                  <a:gd name="T6" fmla="*/ 270 w 270"/>
                  <a:gd name="T7" fmla="*/ 275 h 275"/>
                  <a:gd name="T8" fmla="*/ 150 w 270"/>
                  <a:gd name="T9" fmla="*/ 0 h 275"/>
                </a:gdLst>
                <a:ahLst/>
                <a:cxnLst>
                  <a:cxn ang="0">
                    <a:pos x="T0" y="T1"/>
                  </a:cxn>
                  <a:cxn ang="0">
                    <a:pos x="T2" y="T3"/>
                  </a:cxn>
                  <a:cxn ang="0">
                    <a:pos x="T4" y="T5"/>
                  </a:cxn>
                  <a:cxn ang="0">
                    <a:pos x="T6" y="T7"/>
                  </a:cxn>
                  <a:cxn ang="0">
                    <a:pos x="T8" y="T9"/>
                  </a:cxn>
                </a:cxnLst>
                <a:rect l="0" t="0" r="r" b="b"/>
                <a:pathLst>
                  <a:path w="270" h="275">
                    <a:moveTo>
                      <a:pt x="150" y="0"/>
                    </a:moveTo>
                    <a:lnTo>
                      <a:pt x="121" y="0"/>
                    </a:lnTo>
                    <a:lnTo>
                      <a:pt x="0" y="275"/>
                    </a:lnTo>
                    <a:lnTo>
                      <a:pt x="270" y="275"/>
                    </a:lnTo>
                    <a:lnTo>
                      <a:pt x="15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9" name="Oval 260"/>
              <p:cNvSpPr>
                <a:spLocks noChangeArrowheads="1"/>
              </p:cNvSpPr>
              <p:nvPr/>
            </p:nvSpPr>
            <p:spPr bwMode="auto">
              <a:xfrm>
                <a:off x="6621" y="2795"/>
                <a:ext cx="36" cy="36"/>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0" name="Rectangle 261"/>
              <p:cNvSpPr>
                <a:spLocks noChangeArrowheads="1"/>
              </p:cNvSpPr>
              <p:nvPr/>
            </p:nvSpPr>
            <p:spPr bwMode="auto">
              <a:xfrm>
                <a:off x="6541" y="3177"/>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1" name="Rectangle 262"/>
              <p:cNvSpPr>
                <a:spLocks noChangeArrowheads="1"/>
              </p:cNvSpPr>
              <p:nvPr/>
            </p:nvSpPr>
            <p:spPr bwMode="auto">
              <a:xfrm>
                <a:off x="6597" y="3177"/>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2" name="Rectangle 263"/>
              <p:cNvSpPr>
                <a:spLocks noChangeArrowheads="1"/>
              </p:cNvSpPr>
              <p:nvPr/>
            </p:nvSpPr>
            <p:spPr bwMode="auto">
              <a:xfrm>
                <a:off x="6655" y="3177"/>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3" name="Rectangle 264"/>
              <p:cNvSpPr>
                <a:spLocks noChangeArrowheads="1"/>
              </p:cNvSpPr>
              <p:nvPr/>
            </p:nvSpPr>
            <p:spPr bwMode="auto">
              <a:xfrm>
                <a:off x="6713" y="3177"/>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4" name="Rectangle 265"/>
              <p:cNvSpPr>
                <a:spLocks noChangeArrowheads="1"/>
              </p:cNvSpPr>
              <p:nvPr/>
            </p:nvSpPr>
            <p:spPr bwMode="auto">
              <a:xfrm>
                <a:off x="6541" y="3265"/>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5" name="Rectangle 266"/>
              <p:cNvSpPr>
                <a:spLocks noChangeArrowheads="1"/>
              </p:cNvSpPr>
              <p:nvPr/>
            </p:nvSpPr>
            <p:spPr bwMode="auto">
              <a:xfrm>
                <a:off x="6597" y="3265"/>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6" name="Rectangle 267"/>
              <p:cNvSpPr>
                <a:spLocks noChangeArrowheads="1"/>
              </p:cNvSpPr>
              <p:nvPr/>
            </p:nvSpPr>
            <p:spPr bwMode="auto">
              <a:xfrm>
                <a:off x="6655" y="3265"/>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7" name="Rectangle 268"/>
              <p:cNvSpPr>
                <a:spLocks noChangeArrowheads="1"/>
              </p:cNvSpPr>
              <p:nvPr/>
            </p:nvSpPr>
            <p:spPr bwMode="auto">
              <a:xfrm>
                <a:off x="6713" y="3265"/>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8" name="Rectangle 269"/>
              <p:cNvSpPr>
                <a:spLocks noChangeArrowheads="1"/>
              </p:cNvSpPr>
              <p:nvPr/>
            </p:nvSpPr>
            <p:spPr bwMode="auto">
              <a:xfrm>
                <a:off x="6541" y="3355"/>
                <a:ext cx="27"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9" name="Rectangle 270"/>
              <p:cNvSpPr>
                <a:spLocks noChangeArrowheads="1"/>
              </p:cNvSpPr>
              <p:nvPr/>
            </p:nvSpPr>
            <p:spPr bwMode="auto">
              <a:xfrm>
                <a:off x="6597" y="3355"/>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0" name="Rectangle 271"/>
              <p:cNvSpPr>
                <a:spLocks noChangeArrowheads="1"/>
              </p:cNvSpPr>
              <p:nvPr/>
            </p:nvSpPr>
            <p:spPr bwMode="auto">
              <a:xfrm>
                <a:off x="6655" y="3355"/>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1" name="Rectangle 272"/>
              <p:cNvSpPr>
                <a:spLocks noChangeArrowheads="1"/>
              </p:cNvSpPr>
              <p:nvPr/>
            </p:nvSpPr>
            <p:spPr bwMode="auto">
              <a:xfrm>
                <a:off x="6713" y="3355"/>
                <a:ext cx="26"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2" name="Rectangle 273"/>
              <p:cNvSpPr>
                <a:spLocks noChangeArrowheads="1"/>
              </p:cNvSpPr>
              <p:nvPr/>
            </p:nvSpPr>
            <p:spPr bwMode="auto">
              <a:xfrm>
                <a:off x="6541" y="3445"/>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3" name="Rectangle 274"/>
              <p:cNvSpPr>
                <a:spLocks noChangeArrowheads="1"/>
              </p:cNvSpPr>
              <p:nvPr/>
            </p:nvSpPr>
            <p:spPr bwMode="auto">
              <a:xfrm>
                <a:off x="6597" y="3445"/>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4" name="Rectangle 275"/>
              <p:cNvSpPr>
                <a:spLocks noChangeArrowheads="1"/>
              </p:cNvSpPr>
              <p:nvPr/>
            </p:nvSpPr>
            <p:spPr bwMode="auto">
              <a:xfrm>
                <a:off x="6655" y="3445"/>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5" name="Rectangle 276"/>
              <p:cNvSpPr>
                <a:spLocks noChangeArrowheads="1"/>
              </p:cNvSpPr>
              <p:nvPr/>
            </p:nvSpPr>
            <p:spPr bwMode="auto">
              <a:xfrm>
                <a:off x="6713" y="3445"/>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6" name="Rectangle 277"/>
              <p:cNvSpPr>
                <a:spLocks noChangeArrowheads="1"/>
              </p:cNvSpPr>
              <p:nvPr/>
            </p:nvSpPr>
            <p:spPr bwMode="auto">
              <a:xfrm>
                <a:off x="6541" y="3533"/>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7" name="Rectangle 278"/>
              <p:cNvSpPr>
                <a:spLocks noChangeArrowheads="1"/>
              </p:cNvSpPr>
              <p:nvPr/>
            </p:nvSpPr>
            <p:spPr bwMode="auto">
              <a:xfrm>
                <a:off x="6597" y="3533"/>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8" name="Rectangle 279"/>
              <p:cNvSpPr>
                <a:spLocks noChangeArrowheads="1"/>
              </p:cNvSpPr>
              <p:nvPr/>
            </p:nvSpPr>
            <p:spPr bwMode="auto">
              <a:xfrm>
                <a:off x="6655" y="3533"/>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9" name="Rectangle 280"/>
              <p:cNvSpPr>
                <a:spLocks noChangeArrowheads="1"/>
              </p:cNvSpPr>
              <p:nvPr/>
            </p:nvSpPr>
            <p:spPr bwMode="auto">
              <a:xfrm>
                <a:off x="6713" y="3533"/>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0" name="Rectangle 281"/>
              <p:cNvSpPr>
                <a:spLocks noChangeArrowheads="1"/>
              </p:cNvSpPr>
              <p:nvPr/>
            </p:nvSpPr>
            <p:spPr bwMode="auto">
              <a:xfrm>
                <a:off x="6541" y="3623"/>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1" name="Rectangle 282"/>
              <p:cNvSpPr>
                <a:spLocks noChangeArrowheads="1"/>
              </p:cNvSpPr>
              <p:nvPr/>
            </p:nvSpPr>
            <p:spPr bwMode="auto">
              <a:xfrm>
                <a:off x="6597" y="3623"/>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2" name="Rectangle 283"/>
              <p:cNvSpPr>
                <a:spLocks noChangeArrowheads="1"/>
              </p:cNvSpPr>
              <p:nvPr/>
            </p:nvSpPr>
            <p:spPr bwMode="auto">
              <a:xfrm>
                <a:off x="6655" y="3623"/>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3" name="Rectangle 284"/>
              <p:cNvSpPr>
                <a:spLocks noChangeArrowheads="1"/>
              </p:cNvSpPr>
              <p:nvPr/>
            </p:nvSpPr>
            <p:spPr bwMode="auto">
              <a:xfrm>
                <a:off x="6713" y="3623"/>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4" name="Rectangle 285"/>
              <p:cNvSpPr>
                <a:spLocks noChangeArrowheads="1"/>
              </p:cNvSpPr>
              <p:nvPr/>
            </p:nvSpPr>
            <p:spPr bwMode="auto">
              <a:xfrm>
                <a:off x="6541" y="3714"/>
                <a:ext cx="27"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5" name="Rectangle 286"/>
              <p:cNvSpPr>
                <a:spLocks noChangeArrowheads="1"/>
              </p:cNvSpPr>
              <p:nvPr/>
            </p:nvSpPr>
            <p:spPr bwMode="auto">
              <a:xfrm>
                <a:off x="6597" y="3714"/>
                <a:ext cx="29"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6" name="Rectangle 287"/>
              <p:cNvSpPr>
                <a:spLocks noChangeArrowheads="1"/>
              </p:cNvSpPr>
              <p:nvPr/>
            </p:nvSpPr>
            <p:spPr bwMode="auto">
              <a:xfrm>
                <a:off x="6655" y="3714"/>
                <a:ext cx="29"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7" name="Rectangle 288"/>
              <p:cNvSpPr>
                <a:spLocks noChangeArrowheads="1"/>
              </p:cNvSpPr>
              <p:nvPr/>
            </p:nvSpPr>
            <p:spPr bwMode="auto">
              <a:xfrm>
                <a:off x="6713" y="3714"/>
                <a:ext cx="26"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8" name="Rectangle 289"/>
              <p:cNvSpPr>
                <a:spLocks noChangeArrowheads="1"/>
              </p:cNvSpPr>
              <p:nvPr/>
            </p:nvSpPr>
            <p:spPr bwMode="auto">
              <a:xfrm>
                <a:off x="6541" y="3801"/>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9" name="Rectangle 290"/>
              <p:cNvSpPr>
                <a:spLocks noChangeArrowheads="1"/>
              </p:cNvSpPr>
              <p:nvPr/>
            </p:nvSpPr>
            <p:spPr bwMode="auto">
              <a:xfrm>
                <a:off x="6597" y="3801"/>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0" name="Rectangle 291"/>
              <p:cNvSpPr>
                <a:spLocks noChangeArrowheads="1"/>
              </p:cNvSpPr>
              <p:nvPr/>
            </p:nvSpPr>
            <p:spPr bwMode="auto">
              <a:xfrm>
                <a:off x="6655" y="3801"/>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1" name="Rectangle 292"/>
              <p:cNvSpPr>
                <a:spLocks noChangeArrowheads="1"/>
              </p:cNvSpPr>
              <p:nvPr/>
            </p:nvSpPr>
            <p:spPr bwMode="auto">
              <a:xfrm>
                <a:off x="6713" y="3801"/>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2" name="Rectangle 293"/>
              <p:cNvSpPr>
                <a:spLocks noChangeArrowheads="1"/>
              </p:cNvSpPr>
              <p:nvPr/>
            </p:nvSpPr>
            <p:spPr bwMode="auto">
              <a:xfrm>
                <a:off x="6541" y="3892"/>
                <a:ext cx="27"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3" name="Rectangle 294"/>
              <p:cNvSpPr>
                <a:spLocks noChangeArrowheads="1"/>
              </p:cNvSpPr>
              <p:nvPr/>
            </p:nvSpPr>
            <p:spPr bwMode="auto">
              <a:xfrm>
                <a:off x="6597" y="3892"/>
                <a:ext cx="29"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4" name="Rectangle 295"/>
              <p:cNvSpPr>
                <a:spLocks noChangeArrowheads="1"/>
              </p:cNvSpPr>
              <p:nvPr/>
            </p:nvSpPr>
            <p:spPr bwMode="auto">
              <a:xfrm>
                <a:off x="6655" y="3892"/>
                <a:ext cx="29"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5" name="Rectangle 296"/>
              <p:cNvSpPr>
                <a:spLocks noChangeArrowheads="1"/>
              </p:cNvSpPr>
              <p:nvPr/>
            </p:nvSpPr>
            <p:spPr bwMode="auto">
              <a:xfrm>
                <a:off x="6713" y="3892"/>
                <a:ext cx="26"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6" name="Rectangle 297"/>
              <p:cNvSpPr>
                <a:spLocks noChangeArrowheads="1"/>
              </p:cNvSpPr>
              <p:nvPr/>
            </p:nvSpPr>
            <p:spPr bwMode="auto">
              <a:xfrm>
                <a:off x="6541" y="3979"/>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7" name="Rectangle 298"/>
              <p:cNvSpPr>
                <a:spLocks noChangeArrowheads="1"/>
              </p:cNvSpPr>
              <p:nvPr/>
            </p:nvSpPr>
            <p:spPr bwMode="auto">
              <a:xfrm>
                <a:off x="6597" y="3979"/>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8" name="Rectangle 299"/>
              <p:cNvSpPr>
                <a:spLocks noChangeArrowheads="1"/>
              </p:cNvSpPr>
              <p:nvPr/>
            </p:nvSpPr>
            <p:spPr bwMode="auto">
              <a:xfrm>
                <a:off x="6655" y="3979"/>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9" name="Rectangle 300"/>
              <p:cNvSpPr>
                <a:spLocks noChangeArrowheads="1"/>
              </p:cNvSpPr>
              <p:nvPr/>
            </p:nvSpPr>
            <p:spPr bwMode="auto">
              <a:xfrm>
                <a:off x="6713" y="3979"/>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0" name="Freeform 301"/>
              <p:cNvSpPr>
                <a:spLocks/>
              </p:cNvSpPr>
              <p:nvPr/>
            </p:nvSpPr>
            <p:spPr bwMode="auto">
              <a:xfrm>
                <a:off x="6631" y="3040"/>
                <a:ext cx="17" cy="37"/>
              </a:xfrm>
              <a:custGeom>
                <a:avLst/>
                <a:gdLst>
                  <a:gd name="T0" fmla="*/ 7 w 7"/>
                  <a:gd name="T1" fmla="*/ 16 h 16"/>
                  <a:gd name="T2" fmla="*/ 7 w 7"/>
                  <a:gd name="T3" fmla="*/ 4 h 16"/>
                  <a:gd name="T4" fmla="*/ 4 w 7"/>
                  <a:gd name="T5" fmla="*/ 0 h 16"/>
                  <a:gd name="T6" fmla="*/ 0 w 7"/>
                  <a:gd name="T7" fmla="*/ 4 h 16"/>
                  <a:gd name="T8" fmla="*/ 0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cubicBezTo>
                      <a:pt x="7" y="4"/>
                      <a:pt x="7" y="4"/>
                      <a:pt x="7" y="4"/>
                    </a:cubicBezTo>
                    <a:cubicBezTo>
                      <a:pt x="7" y="2"/>
                      <a:pt x="6" y="0"/>
                      <a:pt x="4" y="0"/>
                    </a:cubicBezTo>
                    <a:cubicBezTo>
                      <a:pt x="1" y="0"/>
                      <a:pt x="0" y="2"/>
                      <a:pt x="0" y="4"/>
                    </a:cubicBezTo>
                    <a:cubicBezTo>
                      <a:pt x="0" y="16"/>
                      <a:pt x="0" y="16"/>
                      <a:pt x="0" y="16"/>
                    </a:cubicBezTo>
                    <a:lnTo>
                      <a:pt x="7" y="1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1" name="Freeform 302"/>
              <p:cNvSpPr>
                <a:spLocks/>
              </p:cNvSpPr>
              <p:nvPr/>
            </p:nvSpPr>
            <p:spPr bwMode="auto">
              <a:xfrm>
                <a:off x="6631" y="2909"/>
                <a:ext cx="17" cy="38"/>
              </a:xfrm>
              <a:custGeom>
                <a:avLst/>
                <a:gdLst>
                  <a:gd name="T0" fmla="*/ 7 w 7"/>
                  <a:gd name="T1" fmla="*/ 16 h 16"/>
                  <a:gd name="T2" fmla="*/ 7 w 7"/>
                  <a:gd name="T3" fmla="*/ 4 h 16"/>
                  <a:gd name="T4" fmla="*/ 4 w 7"/>
                  <a:gd name="T5" fmla="*/ 0 h 16"/>
                  <a:gd name="T6" fmla="*/ 0 w 7"/>
                  <a:gd name="T7" fmla="*/ 4 h 16"/>
                  <a:gd name="T8" fmla="*/ 0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cubicBezTo>
                      <a:pt x="7" y="4"/>
                      <a:pt x="7" y="4"/>
                      <a:pt x="7" y="4"/>
                    </a:cubicBezTo>
                    <a:cubicBezTo>
                      <a:pt x="7" y="1"/>
                      <a:pt x="6" y="0"/>
                      <a:pt x="4" y="0"/>
                    </a:cubicBezTo>
                    <a:cubicBezTo>
                      <a:pt x="1" y="0"/>
                      <a:pt x="0" y="1"/>
                      <a:pt x="0" y="4"/>
                    </a:cubicBezTo>
                    <a:cubicBezTo>
                      <a:pt x="0" y="16"/>
                      <a:pt x="0" y="16"/>
                      <a:pt x="0" y="16"/>
                    </a:cubicBezTo>
                    <a:lnTo>
                      <a:pt x="7" y="1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2" name="Freeform 303"/>
              <p:cNvSpPr>
                <a:spLocks/>
              </p:cNvSpPr>
              <p:nvPr/>
            </p:nvSpPr>
            <p:spPr bwMode="auto">
              <a:xfrm>
                <a:off x="6573" y="3040"/>
                <a:ext cx="19" cy="37"/>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3" name="Freeform 304"/>
              <p:cNvSpPr>
                <a:spLocks/>
              </p:cNvSpPr>
              <p:nvPr/>
            </p:nvSpPr>
            <p:spPr bwMode="auto">
              <a:xfrm>
                <a:off x="6686" y="3040"/>
                <a:ext cx="19" cy="37"/>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4" name="Freeform 305"/>
              <p:cNvSpPr>
                <a:spLocks/>
              </p:cNvSpPr>
              <p:nvPr/>
            </p:nvSpPr>
            <p:spPr bwMode="auto">
              <a:xfrm>
                <a:off x="6660" y="2975"/>
                <a:ext cx="19" cy="38"/>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5" name="Freeform 306"/>
              <p:cNvSpPr>
                <a:spLocks/>
              </p:cNvSpPr>
              <p:nvPr/>
            </p:nvSpPr>
            <p:spPr bwMode="auto">
              <a:xfrm>
                <a:off x="6602" y="2975"/>
                <a:ext cx="19" cy="38"/>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61" name="AutoShape 199"/>
            <p:cNvSpPr>
              <a:spLocks noChangeAspect="1" noChangeArrowheads="1" noTextEdit="1"/>
            </p:cNvSpPr>
            <p:nvPr/>
          </p:nvSpPr>
          <p:spPr bwMode="auto">
            <a:xfrm>
              <a:off x="11556427" y="5317381"/>
              <a:ext cx="415925"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2" name="Rectangle 201"/>
            <p:cNvSpPr>
              <a:spLocks noChangeArrowheads="1"/>
            </p:cNvSpPr>
            <p:nvPr/>
          </p:nvSpPr>
          <p:spPr bwMode="auto">
            <a:xfrm>
              <a:off x="11556427" y="5317381"/>
              <a:ext cx="420688" cy="12509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3" name="Rectangle 202"/>
            <p:cNvSpPr>
              <a:spLocks noChangeArrowheads="1"/>
            </p:cNvSpPr>
            <p:nvPr/>
          </p:nvSpPr>
          <p:spPr bwMode="auto">
            <a:xfrm>
              <a:off x="11883452" y="537770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4" name="Rectangle 203"/>
            <p:cNvSpPr>
              <a:spLocks noChangeArrowheads="1"/>
            </p:cNvSpPr>
            <p:nvPr/>
          </p:nvSpPr>
          <p:spPr bwMode="auto">
            <a:xfrm>
              <a:off x="11796140" y="5377706"/>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5" name="Rectangle 204"/>
            <p:cNvSpPr>
              <a:spLocks noChangeArrowheads="1"/>
            </p:cNvSpPr>
            <p:nvPr/>
          </p:nvSpPr>
          <p:spPr bwMode="auto">
            <a:xfrm>
              <a:off x="11702477" y="537770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6" name="Rectangle 205"/>
            <p:cNvSpPr>
              <a:spLocks noChangeArrowheads="1"/>
            </p:cNvSpPr>
            <p:nvPr/>
          </p:nvSpPr>
          <p:spPr bwMode="auto">
            <a:xfrm>
              <a:off x="11610402" y="537770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7" name="Rectangle 206"/>
            <p:cNvSpPr>
              <a:spLocks noChangeArrowheads="1"/>
            </p:cNvSpPr>
            <p:nvPr/>
          </p:nvSpPr>
          <p:spPr bwMode="auto">
            <a:xfrm>
              <a:off x="11883452" y="546501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8" name="Rectangle 207"/>
            <p:cNvSpPr>
              <a:spLocks noChangeArrowheads="1"/>
            </p:cNvSpPr>
            <p:nvPr/>
          </p:nvSpPr>
          <p:spPr bwMode="auto">
            <a:xfrm>
              <a:off x="11796140" y="5465019"/>
              <a:ext cx="33338"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9" name="Rectangle 208"/>
            <p:cNvSpPr>
              <a:spLocks noChangeArrowheads="1"/>
            </p:cNvSpPr>
            <p:nvPr/>
          </p:nvSpPr>
          <p:spPr bwMode="auto">
            <a:xfrm>
              <a:off x="11702477" y="5465019"/>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0" name="Rectangle 209"/>
            <p:cNvSpPr>
              <a:spLocks noChangeArrowheads="1"/>
            </p:cNvSpPr>
            <p:nvPr/>
          </p:nvSpPr>
          <p:spPr bwMode="auto">
            <a:xfrm>
              <a:off x="11610402" y="5465019"/>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1" name="Rectangle 210"/>
            <p:cNvSpPr>
              <a:spLocks noChangeArrowheads="1"/>
            </p:cNvSpPr>
            <p:nvPr/>
          </p:nvSpPr>
          <p:spPr bwMode="auto">
            <a:xfrm>
              <a:off x="11883452" y="555550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2" name="Rectangle 211"/>
            <p:cNvSpPr>
              <a:spLocks noChangeArrowheads="1"/>
            </p:cNvSpPr>
            <p:nvPr/>
          </p:nvSpPr>
          <p:spPr bwMode="auto">
            <a:xfrm>
              <a:off x="11796140" y="5555506"/>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3" name="Rectangle 212"/>
            <p:cNvSpPr>
              <a:spLocks noChangeArrowheads="1"/>
            </p:cNvSpPr>
            <p:nvPr/>
          </p:nvSpPr>
          <p:spPr bwMode="auto">
            <a:xfrm>
              <a:off x="11702477" y="555550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4" name="Rectangle 213"/>
            <p:cNvSpPr>
              <a:spLocks noChangeArrowheads="1"/>
            </p:cNvSpPr>
            <p:nvPr/>
          </p:nvSpPr>
          <p:spPr bwMode="auto">
            <a:xfrm>
              <a:off x="11610402" y="555550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5" name="Rectangle 214"/>
            <p:cNvSpPr>
              <a:spLocks noChangeArrowheads="1"/>
            </p:cNvSpPr>
            <p:nvPr/>
          </p:nvSpPr>
          <p:spPr bwMode="auto">
            <a:xfrm>
              <a:off x="11883452" y="5645994"/>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6" name="Rectangle 215"/>
            <p:cNvSpPr>
              <a:spLocks noChangeArrowheads="1"/>
            </p:cNvSpPr>
            <p:nvPr/>
          </p:nvSpPr>
          <p:spPr bwMode="auto">
            <a:xfrm>
              <a:off x="11796140" y="5645994"/>
              <a:ext cx="33338"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7" name="Rectangle 216"/>
            <p:cNvSpPr>
              <a:spLocks noChangeArrowheads="1"/>
            </p:cNvSpPr>
            <p:nvPr/>
          </p:nvSpPr>
          <p:spPr bwMode="auto">
            <a:xfrm>
              <a:off x="11702477" y="5645994"/>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8" name="Rectangle 217"/>
            <p:cNvSpPr>
              <a:spLocks noChangeArrowheads="1"/>
            </p:cNvSpPr>
            <p:nvPr/>
          </p:nvSpPr>
          <p:spPr bwMode="auto">
            <a:xfrm>
              <a:off x="11610402" y="5645994"/>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9" name="Rectangle 218"/>
            <p:cNvSpPr>
              <a:spLocks noChangeArrowheads="1"/>
            </p:cNvSpPr>
            <p:nvPr/>
          </p:nvSpPr>
          <p:spPr bwMode="auto">
            <a:xfrm>
              <a:off x="11883452" y="5736481"/>
              <a:ext cx="34925" cy="61913"/>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0" name="Rectangle 219"/>
            <p:cNvSpPr>
              <a:spLocks noChangeArrowheads="1"/>
            </p:cNvSpPr>
            <p:nvPr/>
          </p:nvSpPr>
          <p:spPr bwMode="auto">
            <a:xfrm>
              <a:off x="11796140" y="5736481"/>
              <a:ext cx="33338"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1" name="Rectangle 220"/>
            <p:cNvSpPr>
              <a:spLocks noChangeArrowheads="1"/>
            </p:cNvSpPr>
            <p:nvPr/>
          </p:nvSpPr>
          <p:spPr bwMode="auto">
            <a:xfrm>
              <a:off x="11702477" y="5736481"/>
              <a:ext cx="34925"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2" name="Rectangle 221"/>
            <p:cNvSpPr>
              <a:spLocks noChangeArrowheads="1"/>
            </p:cNvSpPr>
            <p:nvPr/>
          </p:nvSpPr>
          <p:spPr bwMode="auto">
            <a:xfrm>
              <a:off x="11610402" y="5736481"/>
              <a:ext cx="34925" cy="61913"/>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3" name="Rectangle 222"/>
            <p:cNvSpPr>
              <a:spLocks noChangeArrowheads="1"/>
            </p:cNvSpPr>
            <p:nvPr/>
          </p:nvSpPr>
          <p:spPr bwMode="auto">
            <a:xfrm>
              <a:off x="11883452" y="5823794"/>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4" name="Rectangle 223"/>
            <p:cNvSpPr>
              <a:spLocks noChangeArrowheads="1"/>
            </p:cNvSpPr>
            <p:nvPr/>
          </p:nvSpPr>
          <p:spPr bwMode="auto">
            <a:xfrm>
              <a:off x="11796140" y="5823794"/>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Rectangle 224"/>
            <p:cNvSpPr>
              <a:spLocks noChangeArrowheads="1"/>
            </p:cNvSpPr>
            <p:nvPr/>
          </p:nvSpPr>
          <p:spPr bwMode="auto">
            <a:xfrm>
              <a:off x="11702477" y="5823794"/>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 name="Rectangle 225"/>
            <p:cNvSpPr>
              <a:spLocks noChangeArrowheads="1"/>
            </p:cNvSpPr>
            <p:nvPr/>
          </p:nvSpPr>
          <p:spPr bwMode="auto">
            <a:xfrm>
              <a:off x="11610402" y="5823794"/>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7" name="Rectangle 226"/>
            <p:cNvSpPr>
              <a:spLocks noChangeArrowheads="1"/>
            </p:cNvSpPr>
            <p:nvPr/>
          </p:nvSpPr>
          <p:spPr bwMode="auto">
            <a:xfrm>
              <a:off x="11883452" y="5914281"/>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8" name="Rectangle 227"/>
            <p:cNvSpPr>
              <a:spLocks noChangeArrowheads="1"/>
            </p:cNvSpPr>
            <p:nvPr/>
          </p:nvSpPr>
          <p:spPr bwMode="auto">
            <a:xfrm>
              <a:off x="11796140" y="5914281"/>
              <a:ext cx="33338"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9" name="Rectangle 228"/>
            <p:cNvSpPr>
              <a:spLocks noChangeArrowheads="1"/>
            </p:cNvSpPr>
            <p:nvPr/>
          </p:nvSpPr>
          <p:spPr bwMode="auto">
            <a:xfrm>
              <a:off x="11702477" y="5914281"/>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0" name="Rectangle 229"/>
            <p:cNvSpPr>
              <a:spLocks noChangeArrowheads="1"/>
            </p:cNvSpPr>
            <p:nvPr/>
          </p:nvSpPr>
          <p:spPr bwMode="auto">
            <a:xfrm>
              <a:off x="11610402" y="5914281"/>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1" name="Rectangle 230"/>
            <p:cNvSpPr>
              <a:spLocks noChangeArrowheads="1"/>
            </p:cNvSpPr>
            <p:nvPr/>
          </p:nvSpPr>
          <p:spPr bwMode="auto">
            <a:xfrm>
              <a:off x="11883452" y="60063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2" name="Rectangle 231"/>
            <p:cNvSpPr>
              <a:spLocks noChangeArrowheads="1"/>
            </p:cNvSpPr>
            <p:nvPr/>
          </p:nvSpPr>
          <p:spPr bwMode="auto">
            <a:xfrm>
              <a:off x="11796140" y="6006356"/>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3" name="Rectangle 232"/>
            <p:cNvSpPr>
              <a:spLocks noChangeArrowheads="1"/>
            </p:cNvSpPr>
            <p:nvPr/>
          </p:nvSpPr>
          <p:spPr bwMode="auto">
            <a:xfrm>
              <a:off x="11702477" y="600635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4" name="Rectangle 233"/>
            <p:cNvSpPr>
              <a:spLocks noChangeArrowheads="1"/>
            </p:cNvSpPr>
            <p:nvPr/>
          </p:nvSpPr>
          <p:spPr bwMode="auto">
            <a:xfrm>
              <a:off x="11610402" y="600635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5" name="Rectangle 234"/>
            <p:cNvSpPr>
              <a:spLocks noChangeArrowheads="1"/>
            </p:cNvSpPr>
            <p:nvPr/>
          </p:nvSpPr>
          <p:spPr bwMode="auto">
            <a:xfrm>
              <a:off x="11883452" y="6103194"/>
              <a:ext cx="34925"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6" name="Rectangle 235"/>
            <p:cNvSpPr>
              <a:spLocks noChangeArrowheads="1"/>
            </p:cNvSpPr>
            <p:nvPr/>
          </p:nvSpPr>
          <p:spPr bwMode="auto">
            <a:xfrm>
              <a:off x="11796140" y="6103194"/>
              <a:ext cx="33338"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7" name="Rectangle 236"/>
            <p:cNvSpPr>
              <a:spLocks noChangeArrowheads="1"/>
            </p:cNvSpPr>
            <p:nvPr/>
          </p:nvSpPr>
          <p:spPr bwMode="auto">
            <a:xfrm>
              <a:off x="11702477" y="6103194"/>
              <a:ext cx="34925"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8" name="Rectangle 237"/>
            <p:cNvSpPr>
              <a:spLocks noChangeArrowheads="1"/>
            </p:cNvSpPr>
            <p:nvPr/>
          </p:nvSpPr>
          <p:spPr bwMode="auto">
            <a:xfrm>
              <a:off x="11610402" y="6103194"/>
              <a:ext cx="34925" cy="61913"/>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9" name="Rectangle 238"/>
            <p:cNvSpPr>
              <a:spLocks noChangeArrowheads="1"/>
            </p:cNvSpPr>
            <p:nvPr/>
          </p:nvSpPr>
          <p:spPr bwMode="auto">
            <a:xfrm>
              <a:off x="11883452" y="619526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0" name="Rectangle 239"/>
            <p:cNvSpPr>
              <a:spLocks noChangeArrowheads="1"/>
            </p:cNvSpPr>
            <p:nvPr/>
          </p:nvSpPr>
          <p:spPr bwMode="auto">
            <a:xfrm>
              <a:off x="11796140" y="6195269"/>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1" name="Rectangle 240"/>
            <p:cNvSpPr>
              <a:spLocks noChangeArrowheads="1"/>
            </p:cNvSpPr>
            <p:nvPr/>
          </p:nvSpPr>
          <p:spPr bwMode="auto">
            <a:xfrm>
              <a:off x="11702477" y="6195269"/>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2" name="Rectangle 241"/>
            <p:cNvSpPr>
              <a:spLocks noChangeArrowheads="1"/>
            </p:cNvSpPr>
            <p:nvPr/>
          </p:nvSpPr>
          <p:spPr bwMode="auto">
            <a:xfrm>
              <a:off x="11610402" y="619526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3" name="Rectangle 242"/>
            <p:cNvSpPr>
              <a:spLocks noChangeArrowheads="1"/>
            </p:cNvSpPr>
            <p:nvPr/>
          </p:nvSpPr>
          <p:spPr bwMode="auto">
            <a:xfrm>
              <a:off x="11883452" y="62857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4" name="Rectangle 243"/>
            <p:cNvSpPr>
              <a:spLocks noChangeArrowheads="1"/>
            </p:cNvSpPr>
            <p:nvPr/>
          </p:nvSpPr>
          <p:spPr bwMode="auto">
            <a:xfrm>
              <a:off x="11796140" y="6285756"/>
              <a:ext cx="33338"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5" name="Rectangle 244"/>
            <p:cNvSpPr>
              <a:spLocks noChangeArrowheads="1"/>
            </p:cNvSpPr>
            <p:nvPr/>
          </p:nvSpPr>
          <p:spPr bwMode="auto">
            <a:xfrm>
              <a:off x="11702477" y="62857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6" name="Rectangle 245"/>
            <p:cNvSpPr>
              <a:spLocks noChangeArrowheads="1"/>
            </p:cNvSpPr>
            <p:nvPr/>
          </p:nvSpPr>
          <p:spPr bwMode="auto">
            <a:xfrm>
              <a:off x="11610402" y="628575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7" name="Rectangle 246"/>
            <p:cNvSpPr>
              <a:spLocks noChangeArrowheads="1"/>
            </p:cNvSpPr>
            <p:nvPr/>
          </p:nvSpPr>
          <p:spPr bwMode="auto">
            <a:xfrm>
              <a:off x="11883452" y="637306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8" name="Rectangle 247"/>
            <p:cNvSpPr>
              <a:spLocks noChangeArrowheads="1"/>
            </p:cNvSpPr>
            <p:nvPr/>
          </p:nvSpPr>
          <p:spPr bwMode="auto">
            <a:xfrm>
              <a:off x="11796140" y="6373069"/>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9" name="Rectangle 248"/>
            <p:cNvSpPr>
              <a:spLocks noChangeArrowheads="1"/>
            </p:cNvSpPr>
            <p:nvPr/>
          </p:nvSpPr>
          <p:spPr bwMode="auto">
            <a:xfrm>
              <a:off x="11702477" y="6373069"/>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0" name="Rectangle 249"/>
            <p:cNvSpPr>
              <a:spLocks noChangeArrowheads="1"/>
            </p:cNvSpPr>
            <p:nvPr/>
          </p:nvSpPr>
          <p:spPr bwMode="auto">
            <a:xfrm>
              <a:off x="11610402" y="637306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1" name="Rectangle 250"/>
            <p:cNvSpPr>
              <a:spLocks noChangeArrowheads="1"/>
            </p:cNvSpPr>
            <p:nvPr/>
          </p:nvSpPr>
          <p:spPr bwMode="auto">
            <a:xfrm>
              <a:off x="11883452" y="646355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2" name="Rectangle 251"/>
            <p:cNvSpPr>
              <a:spLocks noChangeArrowheads="1"/>
            </p:cNvSpPr>
            <p:nvPr/>
          </p:nvSpPr>
          <p:spPr bwMode="auto">
            <a:xfrm>
              <a:off x="11796140" y="6463556"/>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3" name="Rectangle 252"/>
            <p:cNvSpPr>
              <a:spLocks noChangeArrowheads="1"/>
            </p:cNvSpPr>
            <p:nvPr/>
          </p:nvSpPr>
          <p:spPr bwMode="auto">
            <a:xfrm>
              <a:off x="11702477" y="64635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Rectangle 253"/>
            <p:cNvSpPr>
              <a:spLocks noChangeArrowheads="1"/>
            </p:cNvSpPr>
            <p:nvPr/>
          </p:nvSpPr>
          <p:spPr bwMode="auto">
            <a:xfrm>
              <a:off x="11610402" y="64635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AutoShape 172"/>
            <p:cNvSpPr>
              <a:spLocks noChangeAspect="1" noChangeArrowheads="1" noTextEdit="1"/>
            </p:cNvSpPr>
            <p:nvPr/>
          </p:nvSpPr>
          <p:spPr bwMode="auto">
            <a:xfrm>
              <a:off x="11073725" y="5091309"/>
              <a:ext cx="416172" cy="1473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Rectangle 174"/>
            <p:cNvSpPr>
              <a:spLocks noChangeArrowheads="1"/>
            </p:cNvSpPr>
            <p:nvPr/>
          </p:nvSpPr>
          <p:spPr bwMode="auto">
            <a:xfrm>
              <a:off x="11073725" y="5202825"/>
              <a:ext cx="419621" cy="1364631"/>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Line 175"/>
            <p:cNvSpPr>
              <a:spLocks noChangeShapeType="1"/>
            </p:cNvSpPr>
            <p:nvPr/>
          </p:nvSpPr>
          <p:spPr bwMode="auto">
            <a:xfrm>
              <a:off x="11073725" y="5260307"/>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Line 176"/>
            <p:cNvSpPr>
              <a:spLocks noChangeShapeType="1"/>
            </p:cNvSpPr>
            <p:nvPr/>
          </p:nvSpPr>
          <p:spPr bwMode="auto">
            <a:xfrm>
              <a:off x="11073725" y="5323538"/>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Line 177"/>
            <p:cNvSpPr>
              <a:spLocks noChangeShapeType="1"/>
            </p:cNvSpPr>
            <p:nvPr/>
          </p:nvSpPr>
          <p:spPr bwMode="auto">
            <a:xfrm>
              <a:off x="11073725" y="5383319"/>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Line 178"/>
            <p:cNvSpPr>
              <a:spLocks noChangeShapeType="1"/>
            </p:cNvSpPr>
            <p:nvPr/>
          </p:nvSpPr>
          <p:spPr bwMode="auto">
            <a:xfrm>
              <a:off x="11073725" y="5446550"/>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 name="Line 179"/>
            <p:cNvSpPr>
              <a:spLocks noChangeShapeType="1"/>
            </p:cNvSpPr>
            <p:nvPr/>
          </p:nvSpPr>
          <p:spPr bwMode="auto">
            <a:xfrm>
              <a:off x="11073725" y="5506331"/>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 name="Line 180"/>
            <p:cNvSpPr>
              <a:spLocks noChangeShapeType="1"/>
            </p:cNvSpPr>
            <p:nvPr/>
          </p:nvSpPr>
          <p:spPr bwMode="auto">
            <a:xfrm>
              <a:off x="11073725" y="5568412"/>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 name="Line 181"/>
            <p:cNvSpPr>
              <a:spLocks noChangeShapeType="1"/>
            </p:cNvSpPr>
            <p:nvPr/>
          </p:nvSpPr>
          <p:spPr bwMode="auto">
            <a:xfrm>
              <a:off x="11073725" y="5629344"/>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 name="Line 182"/>
            <p:cNvSpPr>
              <a:spLocks noChangeShapeType="1"/>
            </p:cNvSpPr>
            <p:nvPr/>
          </p:nvSpPr>
          <p:spPr bwMode="auto">
            <a:xfrm>
              <a:off x="11073725" y="5691425"/>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 name="Line 183"/>
            <p:cNvSpPr>
              <a:spLocks noChangeShapeType="1"/>
            </p:cNvSpPr>
            <p:nvPr/>
          </p:nvSpPr>
          <p:spPr bwMode="auto">
            <a:xfrm>
              <a:off x="11073725" y="5752356"/>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Line 184"/>
            <p:cNvSpPr>
              <a:spLocks noChangeShapeType="1"/>
            </p:cNvSpPr>
            <p:nvPr/>
          </p:nvSpPr>
          <p:spPr bwMode="auto">
            <a:xfrm>
              <a:off x="11073725" y="5812137"/>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Line 185"/>
            <p:cNvSpPr>
              <a:spLocks noChangeShapeType="1"/>
            </p:cNvSpPr>
            <p:nvPr/>
          </p:nvSpPr>
          <p:spPr bwMode="auto">
            <a:xfrm>
              <a:off x="11073725" y="5874218"/>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Line 186"/>
            <p:cNvSpPr>
              <a:spLocks noChangeShapeType="1"/>
            </p:cNvSpPr>
            <p:nvPr/>
          </p:nvSpPr>
          <p:spPr bwMode="auto">
            <a:xfrm>
              <a:off x="11073725" y="5935150"/>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Line 187"/>
            <p:cNvSpPr>
              <a:spLocks noChangeShapeType="1"/>
            </p:cNvSpPr>
            <p:nvPr/>
          </p:nvSpPr>
          <p:spPr bwMode="auto">
            <a:xfrm>
              <a:off x="11073725" y="5997231"/>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1" name="Line 188"/>
            <p:cNvSpPr>
              <a:spLocks noChangeShapeType="1"/>
            </p:cNvSpPr>
            <p:nvPr/>
          </p:nvSpPr>
          <p:spPr bwMode="auto">
            <a:xfrm>
              <a:off x="11073725" y="6057012"/>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Line 189"/>
            <p:cNvSpPr>
              <a:spLocks noChangeShapeType="1"/>
            </p:cNvSpPr>
            <p:nvPr/>
          </p:nvSpPr>
          <p:spPr bwMode="auto">
            <a:xfrm>
              <a:off x="11073725" y="6117943"/>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3" name="Line 190"/>
            <p:cNvSpPr>
              <a:spLocks noChangeShapeType="1"/>
            </p:cNvSpPr>
            <p:nvPr/>
          </p:nvSpPr>
          <p:spPr bwMode="auto">
            <a:xfrm>
              <a:off x="11073725" y="6180024"/>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4" name="Line 191"/>
            <p:cNvSpPr>
              <a:spLocks noChangeShapeType="1"/>
            </p:cNvSpPr>
            <p:nvPr/>
          </p:nvSpPr>
          <p:spPr bwMode="auto">
            <a:xfrm>
              <a:off x="11073725" y="6239806"/>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5" name="Line 192"/>
            <p:cNvSpPr>
              <a:spLocks noChangeShapeType="1"/>
            </p:cNvSpPr>
            <p:nvPr/>
          </p:nvSpPr>
          <p:spPr bwMode="auto">
            <a:xfrm>
              <a:off x="11073725" y="6303037"/>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6" name="Line 193"/>
            <p:cNvSpPr>
              <a:spLocks noChangeShapeType="1"/>
            </p:cNvSpPr>
            <p:nvPr/>
          </p:nvSpPr>
          <p:spPr bwMode="auto">
            <a:xfrm>
              <a:off x="11073725" y="6362818"/>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7" name="Line 194"/>
            <p:cNvSpPr>
              <a:spLocks noChangeShapeType="1"/>
            </p:cNvSpPr>
            <p:nvPr/>
          </p:nvSpPr>
          <p:spPr bwMode="auto">
            <a:xfrm>
              <a:off x="11073725" y="6426049"/>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8" name="Line 195"/>
            <p:cNvSpPr>
              <a:spLocks noChangeShapeType="1"/>
            </p:cNvSpPr>
            <p:nvPr/>
          </p:nvSpPr>
          <p:spPr bwMode="auto">
            <a:xfrm>
              <a:off x="11073725" y="6485830"/>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9" name="Line 196"/>
            <p:cNvSpPr>
              <a:spLocks noChangeShapeType="1"/>
            </p:cNvSpPr>
            <p:nvPr/>
          </p:nvSpPr>
          <p:spPr bwMode="auto">
            <a:xfrm>
              <a:off x="11073725" y="6549061"/>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0" name="Freeform 197"/>
            <p:cNvSpPr>
              <a:spLocks/>
            </p:cNvSpPr>
            <p:nvPr/>
          </p:nvSpPr>
          <p:spPr bwMode="auto">
            <a:xfrm>
              <a:off x="11120861" y="5089010"/>
              <a:ext cx="316153" cy="113815"/>
            </a:xfrm>
            <a:custGeom>
              <a:avLst/>
              <a:gdLst>
                <a:gd name="T0" fmla="*/ 275 w 275"/>
                <a:gd name="T1" fmla="*/ 0 h 99"/>
                <a:gd name="T2" fmla="*/ 0 w 275"/>
                <a:gd name="T3" fmla="*/ 38 h 99"/>
                <a:gd name="T4" fmla="*/ 0 w 275"/>
                <a:gd name="T5" fmla="*/ 99 h 99"/>
                <a:gd name="T6" fmla="*/ 275 w 275"/>
                <a:gd name="T7" fmla="*/ 99 h 99"/>
                <a:gd name="T8" fmla="*/ 275 w 275"/>
                <a:gd name="T9" fmla="*/ 0 h 99"/>
              </a:gdLst>
              <a:ahLst/>
              <a:cxnLst>
                <a:cxn ang="0">
                  <a:pos x="T0" y="T1"/>
                </a:cxn>
                <a:cxn ang="0">
                  <a:pos x="T2" y="T3"/>
                </a:cxn>
                <a:cxn ang="0">
                  <a:pos x="T4" y="T5"/>
                </a:cxn>
                <a:cxn ang="0">
                  <a:pos x="T6" y="T7"/>
                </a:cxn>
                <a:cxn ang="0">
                  <a:pos x="T8" y="T9"/>
                </a:cxn>
              </a:cxnLst>
              <a:rect l="0" t="0" r="r" b="b"/>
              <a:pathLst>
                <a:path w="275" h="99">
                  <a:moveTo>
                    <a:pt x="275" y="0"/>
                  </a:moveTo>
                  <a:lnTo>
                    <a:pt x="0" y="38"/>
                  </a:lnTo>
                  <a:lnTo>
                    <a:pt x="0" y="99"/>
                  </a:lnTo>
                  <a:lnTo>
                    <a:pt x="275" y="99"/>
                  </a:lnTo>
                  <a:lnTo>
                    <a:pt x="275"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4" name="Group 13"/>
          <p:cNvGrpSpPr/>
          <p:nvPr/>
        </p:nvGrpSpPr>
        <p:grpSpPr>
          <a:xfrm flipH="1">
            <a:off x="9096376" y="6201621"/>
            <a:ext cx="3340100" cy="801288"/>
            <a:chOff x="-5288" y="5602741"/>
            <a:chExt cx="8368749" cy="1400162"/>
          </a:xfrm>
        </p:grpSpPr>
        <p:sp>
          <p:nvSpPr>
            <p:cNvPr id="17" name="Rectangle 7"/>
            <p:cNvSpPr>
              <a:spLocks noChangeArrowheads="1"/>
            </p:cNvSpPr>
            <p:nvPr/>
          </p:nvSpPr>
          <p:spPr bwMode="auto">
            <a:xfrm flipH="1">
              <a:off x="5208386" y="6427624"/>
              <a:ext cx="352605" cy="283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 name="Rectangle 8"/>
            <p:cNvSpPr>
              <a:spLocks noChangeArrowheads="1"/>
            </p:cNvSpPr>
            <p:nvPr/>
          </p:nvSpPr>
          <p:spPr bwMode="auto">
            <a:xfrm flipH="1">
              <a:off x="5067531" y="6297029"/>
              <a:ext cx="349807" cy="4141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Freeform 11"/>
            <p:cNvSpPr>
              <a:spLocks/>
            </p:cNvSpPr>
            <p:nvPr/>
          </p:nvSpPr>
          <p:spPr bwMode="auto">
            <a:xfrm flipH="1">
              <a:off x="4392841" y="6489852"/>
              <a:ext cx="3970620" cy="51025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Freeform 18"/>
            <p:cNvSpPr>
              <a:spLocks/>
            </p:cNvSpPr>
            <p:nvPr/>
          </p:nvSpPr>
          <p:spPr bwMode="auto">
            <a:xfrm flipH="1">
              <a:off x="984" y="6027174"/>
              <a:ext cx="6091253" cy="97293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Freeform 29"/>
            <p:cNvSpPr>
              <a:spLocks/>
            </p:cNvSpPr>
            <p:nvPr/>
          </p:nvSpPr>
          <p:spPr bwMode="auto">
            <a:xfrm flipH="1">
              <a:off x="432647" y="6571940"/>
              <a:ext cx="3340253"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AutoShape 3"/>
            <p:cNvSpPr>
              <a:spLocks noChangeAspect="1" noChangeArrowheads="1" noTextEdit="1"/>
            </p:cNvSpPr>
            <p:nvPr/>
          </p:nvSpPr>
          <p:spPr bwMode="auto">
            <a:xfrm flipH="1">
              <a:off x="984" y="5602741"/>
              <a:ext cx="4298430"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Freeform 17"/>
            <p:cNvSpPr>
              <a:spLocks/>
            </p:cNvSpPr>
            <p:nvPr/>
          </p:nvSpPr>
          <p:spPr bwMode="auto">
            <a:xfrm flipH="1">
              <a:off x="-5288" y="6414294"/>
              <a:ext cx="1445870" cy="58581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99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a:t>Lorem ipsum dolor sit.</a:t>
            </a:r>
          </a:p>
        </p:txBody>
      </p:sp>
      <p:sp>
        <p:nvSpPr>
          <p:cNvPr id="3" name="Footer Placeholder 2"/>
          <p:cNvSpPr>
            <a:spLocks noGrp="1"/>
          </p:cNvSpPr>
          <p:nvPr>
            <p:ph type="ftr" sz="quarter" idx="10"/>
          </p:nvPr>
        </p:nvSpPr>
        <p:spPr/>
        <p:txBody>
          <a:bodyPr/>
          <a:lstStyle>
            <a:lvl1pPr>
              <a:defRPr>
                <a:solidFill>
                  <a:schemeClr val="tx2"/>
                </a:solidFill>
              </a:defRPr>
            </a:lvl1pPr>
          </a:lstStyle>
          <a:p>
            <a:pPr>
              <a:defRPr/>
            </a:pPr>
            <a:r>
              <a:rPr lang="en-IN">
                <a:solidFill>
                  <a:srgbClr val="505050"/>
                </a:solidFill>
              </a:rPr>
              <a:t>Microsoft confidential 2015</a:t>
            </a:r>
            <a:endParaRPr lang="en-IN"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39">
              <a:defRPr/>
            </a:pPr>
            <a:fld id="{27258FFF-F925-446B-8502-81C933981705}" type="slidenum">
              <a:rPr lang="en-US" smtClean="0">
                <a:solidFill>
                  <a:srgbClr val="FFFFFF"/>
                </a:solidFill>
              </a:rPr>
              <a:pPr defTabSz="932539">
                <a:defRPr/>
              </a:pPr>
              <a:t>‹#›</a:t>
            </a:fld>
            <a:endParaRPr lang="en-US" dirty="0">
              <a:solidFill>
                <a:srgbClr val="FFFFFF"/>
              </a:solidFill>
            </a:endParaRPr>
          </a:p>
        </p:txBody>
      </p:sp>
      <p:sp>
        <p:nvSpPr>
          <p:cNvPr id="8" name="Text Placeholder 7"/>
          <p:cNvSpPr>
            <a:spLocks noGrp="1"/>
          </p:cNvSpPr>
          <p:nvPr>
            <p:ph type="body" sz="quarter" idx="13" hasCustomPrompt="1"/>
          </p:nvPr>
        </p:nvSpPr>
        <p:spPr>
          <a:xfrm>
            <a:off x="603505" y="1545465"/>
            <a:ext cx="11226196" cy="4663068"/>
          </a:xfrm>
        </p:spPr>
        <p:txBody>
          <a:bodyPr lIns="0" tIns="0"/>
          <a:lstStyle>
            <a:lvl1pPr marL="233268" indent="-233268">
              <a:spcBef>
                <a:spcPts val="1198"/>
              </a:spcBef>
              <a:defRPr sz="2600">
                <a:latin typeface="+mn-lt"/>
              </a:defRPr>
            </a:lvl1pPr>
            <a:lvl2pPr marL="690281" indent="-233268">
              <a:spcBef>
                <a:spcPts val="1198"/>
              </a:spcBef>
              <a:buSzPct val="100000"/>
              <a:buFont typeface="Segoe UI" pitchFamily="34" charset="0"/>
              <a:buChar char="‐"/>
              <a:defRPr/>
            </a:lvl2pPr>
            <a:lvl3pPr marL="1147294" indent="-233268">
              <a:spcBef>
                <a:spcPts val="1198"/>
              </a:spcBef>
              <a:buFont typeface="Wingdings" pitchFamily="2" charset="2"/>
              <a:buChar char="§"/>
              <a:defRPr/>
            </a:lvl3pPr>
            <a:lvl4pPr marL="1599545" indent="-342760">
              <a:spcBef>
                <a:spcPts val="1198"/>
              </a:spcBef>
              <a:buFont typeface="+mj-lt"/>
              <a:buAutoNum type="arabicPeriod"/>
              <a:defRPr/>
            </a:lvl4pPr>
            <a:lvl5pPr marL="1945479" indent="-342760">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3" name="Rectangle 34"/>
          <p:cNvSpPr>
            <a:spLocks noChangeArrowheads="1"/>
          </p:cNvSpPr>
          <p:nvPr userDrawn="1"/>
        </p:nvSpPr>
        <p:spPr bwMode="auto">
          <a:xfrm flipH="1">
            <a:off x="0" y="6953680"/>
            <a:ext cx="12436475" cy="5033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83" name="Group 182"/>
          <p:cNvGrpSpPr/>
          <p:nvPr/>
        </p:nvGrpSpPr>
        <p:grpSpPr>
          <a:xfrm flipH="1">
            <a:off x="9948661" y="6606673"/>
            <a:ext cx="176869" cy="342815"/>
            <a:chOff x="6229350" y="5232400"/>
            <a:chExt cx="539750" cy="1046162"/>
          </a:xfrm>
        </p:grpSpPr>
        <p:sp>
          <p:nvSpPr>
            <p:cNvPr id="19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86" name="Group 185"/>
          <p:cNvGrpSpPr/>
          <p:nvPr/>
        </p:nvGrpSpPr>
        <p:grpSpPr>
          <a:xfrm flipH="1">
            <a:off x="12230611" y="6610864"/>
            <a:ext cx="176869" cy="342815"/>
            <a:chOff x="6229350" y="5232400"/>
            <a:chExt cx="539750" cy="1046162"/>
          </a:xfrm>
        </p:grpSpPr>
        <p:sp>
          <p:nvSpPr>
            <p:cNvPr id="187"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8"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9"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97" name="Group 196"/>
          <p:cNvGrpSpPr/>
          <p:nvPr userDrawn="1"/>
        </p:nvGrpSpPr>
        <p:grpSpPr>
          <a:xfrm flipH="1">
            <a:off x="21106" y="6615727"/>
            <a:ext cx="137588" cy="266678"/>
            <a:chOff x="6229350" y="5232400"/>
            <a:chExt cx="539750" cy="1046162"/>
          </a:xfrm>
        </p:grpSpPr>
        <p:sp>
          <p:nvSpPr>
            <p:cNvPr id="198"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9"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0"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03" name="Group 202"/>
          <p:cNvGrpSpPr/>
          <p:nvPr userDrawn="1"/>
        </p:nvGrpSpPr>
        <p:grpSpPr>
          <a:xfrm>
            <a:off x="9410630" y="6242015"/>
            <a:ext cx="497407" cy="708146"/>
            <a:chOff x="9520438" y="6390582"/>
            <a:chExt cx="400217" cy="569779"/>
          </a:xfrm>
        </p:grpSpPr>
        <p:sp>
          <p:nvSpPr>
            <p:cNvPr id="202" name="Rectangle 201"/>
            <p:cNvSpPr/>
            <p:nvPr userDrawn="1"/>
          </p:nvSpPr>
          <p:spPr bwMode="auto">
            <a:xfrm>
              <a:off x="9520438" y="6742389"/>
              <a:ext cx="400217" cy="2179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1" name="Freeform 200"/>
            <p:cNvSpPr>
              <a:spLocks/>
            </p:cNvSpPr>
            <p:nvPr userDrawn="1"/>
          </p:nvSpPr>
          <p:spPr bwMode="auto">
            <a:xfrm>
              <a:off x="9520438" y="6390582"/>
              <a:ext cx="400217" cy="569779"/>
            </a:xfrm>
            <a:custGeom>
              <a:avLst/>
              <a:gdLst>
                <a:gd name="connsiteX0" fmla="*/ 523359 w 750094"/>
                <a:gd name="connsiteY0" fmla="*/ 706057 h 935038"/>
                <a:gd name="connsiteX1" fmla="*/ 749300 w 750094"/>
                <a:gd name="connsiteY1" fmla="*/ 706057 h 935038"/>
                <a:gd name="connsiteX2" fmla="*/ 749300 w 750094"/>
                <a:gd name="connsiteY2" fmla="*/ 935038 h 935038"/>
                <a:gd name="connsiteX3" fmla="*/ 523359 w 750094"/>
                <a:gd name="connsiteY3" fmla="*/ 935038 h 935038"/>
                <a:gd name="connsiteX4" fmla="*/ 242698 w 750094"/>
                <a:gd name="connsiteY4" fmla="*/ 706057 h 935038"/>
                <a:gd name="connsiteX5" fmla="*/ 514215 w 750094"/>
                <a:gd name="connsiteY5" fmla="*/ 706057 h 935038"/>
                <a:gd name="connsiteX6" fmla="*/ 514215 w 750094"/>
                <a:gd name="connsiteY6" fmla="*/ 935038 h 935038"/>
                <a:gd name="connsiteX7" fmla="*/ 242698 w 750094"/>
                <a:gd name="connsiteY7" fmla="*/ 935038 h 935038"/>
                <a:gd name="connsiteX8" fmla="*/ 0 w 750094"/>
                <a:gd name="connsiteY8" fmla="*/ 706057 h 935038"/>
                <a:gd name="connsiteX9" fmla="*/ 233554 w 750094"/>
                <a:gd name="connsiteY9" fmla="*/ 706057 h 935038"/>
                <a:gd name="connsiteX10" fmla="*/ 233554 w 750094"/>
                <a:gd name="connsiteY10" fmla="*/ 935038 h 935038"/>
                <a:gd name="connsiteX11" fmla="*/ 0 w 750094"/>
                <a:gd name="connsiteY11" fmla="*/ 935038 h 935038"/>
                <a:gd name="connsiteX12" fmla="*/ 674370 w 750094"/>
                <a:gd name="connsiteY12" fmla="*/ 522288 h 935038"/>
                <a:gd name="connsiteX13" fmla="*/ 666750 w 750094"/>
                <a:gd name="connsiteY13" fmla="*/ 529859 h 935038"/>
                <a:gd name="connsiteX14" fmla="*/ 666750 w 750094"/>
                <a:gd name="connsiteY14" fmla="*/ 669926 h 935038"/>
                <a:gd name="connsiteX15" fmla="*/ 685800 w 750094"/>
                <a:gd name="connsiteY15" fmla="*/ 669926 h 935038"/>
                <a:gd name="connsiteX16" fmla="*/ 685800 w 750094"/>
                <a:gd name="connsiteY16" fmla="*/ 529859 h 935038"/>
                <a:gd name="connsiteX17" fmla="*/ 674370 w 750094"/>
                <a:gd name="connsiteY17" fmla="*/ 522288 h 935038"/>
                <a:gd name="connsiteX18" fmla="*/ 636588 w 750094"/>
                <a:gd name="connsiteY18" fmla="*/ 522288 h 935038"/>
                <a:gd name="connsiteX19" fmla="*/ 625475 w 750094"/>
                <a:gd name="connsiteY19" fmla="*/ 529859 h 935038"/>
                <a:gd name="connsiteX20" fmla="*/ 625475 w 750094"/>
                <a:gd name="connsiteY20" fmla="*/ 669926 h 935038"/>
                <a:gd name="connsiteX21" fmla="*/ 647700 w 750094"/>
                <a:gd name="connsiteY21" fmla="*/ 669926 h 935038"/>
                <a:gd name="connsiteX22" fmla="*/ 647700 w 750094"/>
                <a:gd name="connsiteY22" fmla="*/ 529859 h 935038"/>
                <a:gd name="connsiteX23" fmla="*/ 636588 w 750094"/>
                <a:gd name="connsiteY23" fmla="*/ 522288 h 935038"/>
                <a:gd name="connsiteX24" fmla="*/ 598805 w 750094"/>
                <a:gd name="connsiteY24" fmla="*/ 522288 h 935038"/>
                <a:gd name="connsiteX25" fmla="*/ 587375 w 750094"/>
                <a:gd name="connsiteY25" fmla="*/ 529859 h 935038"/>
                <a:gd name="connsiteX26" fmla="*/ 587375 w 750094"/>
                <a:gd name="connsiteY26" fmla="*/ 669926 h 935038"/>
                <a:gd name="connsiteX27" fmla="*/ 606425 w 750094"/>
                <a:gd name="connsiteY27" fmla="*/ 669926 h 935038"/>
                <a:gd name="connsiteX28" fmla="*/ 606425 w 750094"/>
                <a:gd name="connsiteY28" fmla="*/ 529859 h 935038"/>
                <a:gd name="connsiteX29" fmla="*/ 598805 w 750094"/>
                <a:gd name="connsiteY29" fmla="*/ 522288 h 935038"/>
                <a:gd name="connsiteX30" fmla="*/ 151130 w 750094"/>
                <a:gd name="connsiteY30" fmla="*/ 522288 h 935038"/>
                <a:gd name="connsiteX31" fmla="*/ 139700 w 750094"/>
                <a:gd name="connsiteY31" fmla="*/ 529859 h 935038"/>
                <a:gd name="connsiteX32" fmla="*/ 139700 w 750094"/>
                <a:gd name="connsiteY32" fmla="*/ 669926 h 935038"/>
                <a:gd name="connsiteX33" fmla="*/ 158750 w 750094"/>
                <a:gd name="connsiteY33" fmla="*/ 669926 h 935038"/>
                <a:gd name="connsiteX34" fmla="*/ 158750 w 750094"/>
                <a:gd name="connsiteY34" fmla="*/ 529859 h 935038"/>
                <a:gd name="connsiteX35" fmla="*/ 151130 w 750094"/>
                <a:gd name="connsiteY35" fmla="*/ 522288 h 935038"/>
                <a:gd name="connsiteX36" fmla="*/ 109220 w 750094"/>
                <a:gd name="connsiteY36" fmla="*/ 522288 h 935038"/>
                <a:gd name="connsiteX37" fmla="*/ 101600 w 750094"/>
                <a:gd name="connsiteY37" fmla="*/ 529859 h 935038"/>
                <a:gd name="connsiteX38" fmla="*/ 101600 w 750094"/>
                <a:gd name="connsiteY38" fmla="*/ 669926 h 935038"/>
                <a:gd name="connsiteX39" fmla="*/ 120650 w 750094"/>
                <a:gd name="connsiteY39" fmla="*/ 669926 h 935038"/>
                <a:gd name="connsiteX40" fmla="*/ 120650 w 750094"/>
                <a:gd name="connsiteY40" fmla="*/ 529859 h 935038"/>
                <a:gd name="connsiteX41" fmla="*/ 109220 w 750094"/>
                <a:gd name="connsiteY41" fmla="*/ 522288 h 935038"/>
                <a:gd name="connsiteX42" fmla="*/ 71755 w 750094"/>
                <a:gd name="connsiteY42" fmla="*/ 522288 h 935038"/>
                <a:gd name="connsiteX43" fmla="*/ 60325 w 750094"/>
                <a:gd name="connsiteY43" fmla="*/ 529859 h 935038"/>
                <a:gd name="connsiteX44" fmla="*/ 60325 w 750094"/>
                <a:gd name="connsiteY44" fmla="*/ 669926 h 935038"/>
                <a:gd name="connsiteX45" fmla="*/ 79375 w 750094"/>
                <a:gd name="connsiteY45" fmla="*/ 669926 h 935038"/>
                <a:gd name="connsiteX46" fmla="*/ 79375 w 750094"/>
                <a:gd name="connsiteY46" fmla="*/ 529859 h 935038"/>
                <a:gd name="connsiteX47" fmla="*/ 71755 w 750094"/>
                <a:gd name="connsiteY47" fmla="*/ 522288 h 935038"/>
                <a:gd name="connsiteX48" fmla="*/ 0 w 750094"/>
                <a:gd name="connsiteY48" fmla="*/ 461963 h 935038"/>
                <a:gd name="connsiteX49" fmla="*/ 749300 w 750094"/>
                <a:gd name="connsiteY49" fmla="*/ 461963 h 935038"/>
                <a:gd name="connsiteX50" fmla="*/ 749300 w 750094"/>
                <a:gd name="connsiteY50" fmla="*/ 462567 h 935038"/>
                <a:gd name="connsiteX51" fmla="*/ 749300 w 750094"/>
                <a:gd name="connsiteY51" fmla="*/ 696913 h 935038"/>
                <a:gd name="connsiteX52" fmla="*/ 523359 w 750094"/>
                <a:gd name="connsiteY52" fmla="*/ 696913 h 935038"/>
                <a:gd name="connsiteX53" fmla="*/ 523359 w 750094"/>
                <a:gd name="connsiteY53" fmla="*/ 462567 h 935038"/>
                <a:gd name="connsiteX54" fmla="*/ 523359 w 750094"/>
                <a:gd name="connsiteY54" fmla="*/ 462344 h 935038"/>
                <a:gd name="connsiteX55" fmla="*/ 514215 w 750094"/>
                <a:gd name="connsiteY55" fmla="*/ 462344 h 935038"/>
                <a:gd name="connsiteX56" fmla="*/ 514215 w 750094"/>
                <a:gd name="connsiteY56" fmla="*/ 696913 h 935038"/>
                <a:gd name="connsiteX57" fmla="*/ 242698 w 750094"/>
                <a:gd name="connsiteY57" fmla="*/ 696913 h 935038"/>
                <a:gd name="connsiteX58" fmla="*/ 242698 w 750094"/>
                <a:gd name="connsiteY58" fmla="*/ 462344 h 935038"/>
                <a:gd name="connsiteX59" fmla="*/ 233554 w 750094"/>
                <a:gd name="connsiteY59" fmla="*/ 462344 h 935038"/>
                <a:gd name="connsiteX60" fmla="*/ 233554 w 750094"/>
                <a:gd name="connsiteY60" fmla="*/ 696913 h 935038"/>
                <a:gd name="connsiteX61" fmla="*/ 0 w 750094"/>
                <a:gd name="connsiteY61" fmla="*/ 696913 h 935038"/>
                <a:gd name="connsiteX62" fmla="*/ 0 w 750094"/>
                <a:gd name="connsiteY62" fmla="*/ 462567 h 935038"/>
                <a:gd name="connsiteX63" fmla="*/ 519113 w 750094"/>
                <a:gd name="connsiteY63" fmla="*/ 421894 h 935038"/>
                <a:gd name="connsiteX64" fmla="*/ 749301 w 750094"/>
                <a:gd name="connsiteY64" fmla="*/ 421894 h 935038"/>
                <a:gd name="connsiteX65" fmla="*/ 749301 w 750094"/>
                <a:gd name="connsiteY65" fmla="*/ 453423 h 935038"/>
                <a:gd name="connsiteX66" fmla="*/ 519113 w 750094"/>
                <a:gd name="connsiteY66" fmla="*/ 453423 h 935038"/>
                <a:gd name="connsiteX67" fmla="*/ 0 w 750094"/>
                <a:gd name="connsiteY67" fmla="*/ 421894 h 935038"/>
                <a:gd name="connsiteX68" fmla="*/ 233363 w 750094"/>
                <a:gd name="connsiteY68" fmla="*/ 421894 h 935038"/>
                <a:gd name="connsiteX69" fmla="*/ 233363 w 750094"/>
                <a:gd name="connsiteY69" fmla="*/ 453423 h 935038"/>
                <a:gd name="connsiteX70" fmla="*/ 0 w 750094"/>
                <a:gd name="connsiteY70" fmla="*/ 453423 h 935038"/>
                <a:gd name="connsiteX71" fmla="*/ 636588 w 750094"/>
                <a:gd name="connsiteY71" fmla="*/ 292100 h 935038"/>
                <a:gd name="connsiteX72" fmla="*/ 598488 w 750094"/>
                <a:gd name="connsiteY72" fmla="*/ 329803 h 935038"/>
                <a:gd name="connsiteX73" fmla="*/ 598488 w 750094"/>
                <a:gd name="connsiteY73" fmla="*/ 382588 h 935038"/>
                <a:gd name="connsiteX74" fmla="*/ 674688 w 750094"/>
                <a:gd name="connsiteY74" fmla="*/ 382588 h 935038"/>
                <a:gd name="connsiteX75" fmla="*/ 674688 w 750094"/>
                <a:gd name="connsiteY75" fmla="*/ 329803 h 935038"/>
                <a:gd name="connsiteX76" fmla="*/ 636588 w 750094"/>
                <a:gd name="connsiteY76" fmla="*/ 292100 h 935038"/>
                <a:gd name="connsiteX77" fmla="*/ 116682 w 750094"/>
                <a:gd name="connsiteY77" fmla="*/ 292100 h 935038"/>
                <a:gd name="connsiteX78" fmla="*/ 79375 w 750094"/>
                <a:gd name="connsiteY78" fmla="*/ 329803 h 935038"/>
                <a:gd name="connsiteX79" fmla="*/ 79375 w 750094"/>
                <a:gd name="connsiteY79" fmla="*/ 382588 h 935038"/>
                <a:gd name="connsiteX80" fmla="*/ 153988 w 750094"/>
                <a:gd name="connsiteY80" fmla="*/ 382588 h 935038"/>
                <a:gd name="connsiteX81" fmla="*/ 153988 w 750094"/>
                <a:gd name="connsiteY81" fmla="*/ 329803 h 935038"/>
                <a:gd name="connsiteX82" fmla="*/ 116682 w 750094"/>
                <a:gd name="connsiteY82" fmla="*/ 292100 h 935038"/>
                <a:gd name="connsiteX83" fmla="*/ 519113 w 750094"/>
                <a:gd name="connsiteY83" fmla="*/ 269685 h 935038"/>
                <a:gd name="connsiteX84" fmla="*/ 749301 w 750094"/>
                <a:gd name="connsiteY84" fmla="*/ 269685 h 935038"/>
                <a:gd name="connsiteX85" fmla="*/ 749301 w 750094"/>
                <a:gd name="connsiteY85" fmla="*/ 412750 h 935038"/>
                <a:gd name="connsiteX86" fmla="*/ 519113 w 750094"/>
                <a:gd name="connsiteY86" fmla="*/ 412750 h 935038"/>
                <a:gd name="connsiteX87" fmla="*/ 0 w 750094"/>
                <a:gd name="connsiteY87" fmla="*/ 269685 h 935038"/>
                <a:gd name="connsiteX88" fmla="*/ 233363 w 750094"/>
                <a:gd name="connsiteY88" fmla="*/ 269685 h 935038"/>
                <a:gd name="connsiteX89" fmla="*/ 233363 w 750094"/>
                <a:gd name="connsiteY89" fmla="*/ 412750 h 935038"/>
                <a:gd name="connsiteX90" fmla="*/ 0 w 750094"/>
                <a:gd name="connsiteY90" fmla="*/ 412750 h 935038"/>
                <a:gd name="connsiteX91" fmla="*/ 625475 w 750094"/>
                <a:gd name="connsiteY91" fmla="*/ 155575 h 935038"/>
                <a:gd name="connsiteX92" fmla="*/ 625475 w 750094"/>
                <a:gd name="connsiteY92" fmla="*/ 207963 h 935038"/>
                <a:gd name="connsiteX93" fmla="*/ 647700 w 750094"/>
                <a:gd name="connsiteY93" fmla="*/ 207963 h 935038"/>
                <a:gd name="connsiteX94" fmla="*/ 647700 w 750094"/>
                <a:gd name="connsiteY94" fmla="*/ 155575 h 935038"/>
                <a:gd name="connsiteX95" fmla="*/ 104775 w 750094"/>
                <a:gd name="connsiteY95" fmla="*/ 155575 h 935038"/>
                <a:gd name="connsiteX96" fmla="*/ 104775 w 750094"/>
                <a:gd name="connsiteY96" fmla="*/ 207963 h 935038"/>
                <a:gd name="connsiteX97" fmla="*/ 128588 w 750094"/>
                <a:gd name="connsiteY97" fmla="*/ 207963 h 935038"/>
                <a:gd name="connsiteX98" fmla="*/ 128588 w 750094"/>
                <a:gd name="connsiteY98" fmla="*/ 155575 h 935038"/>
                <a:gd name="connsiteX99" fmla="*/ 519113 w 750094"/>
                <a:gd name="connsiteY99" fmla="*/ 52388 h 935038"/>
                <a:gd name="connsiteX100" fmla="*/ 557213 w 750094"/>
                <a:gd name="connsiteY100" fmla="*/ 52388 h 935038"/>
                <a:gd name="connsiteX101" fmla="*/ 557213 w 750094"/>
                <a:gd name="connsiteY101" fmla="*/ 207963 h 935038"/>
                <a:gd name="connsiteX102" fmla="*/ 595313 w 750094"/>
                <a:gd name="connsiteY102" fmla="*/ 98425 h 935038"/>
                <a:gd name="connsiteX103" fmla="*/ 674688 w 750094"/>
                <a:gd name="connsiteY103" fmla="*/ 98425 h 935038"/>
                <a:gd name="connsiteX104" fmla="*/ 708819 w 750094"/>
                <a:gd name="connsiteY104" fmla="*/ 200817 h 935038"/>
                <a:gd name="connsiteX105" fmla="*/ 708819 w 750094"/>
                <a:gd name="connsiteY105" fmla="*/ 52388 h 935038"/>
                <a:gd name="connsiteX106" fmla="*/ 750094 w 750094"/>
                <a:gd name="connsiteY106" fmla="*/ 52388 h 935038"/>
                <a:gd name="connsiteX107" fmla="*/ 750094 w 750094"/>
                <a:gd name="connsiteY107" fmla="*/ 219076 h 935038"/>
                <a:gd name="connsiteX108" fmla="*/ 749301 w 750094"/>
                <a:gd name="connsiteY108" fmla="*/ 219076 h 935038"/>
                <a:gd name="connsiteX109" fmla="*/ 749301 w 750094"/>
                <a:gd name="connsiteY109" fmla="*/ 260541 h 935038"/>
                <a:gd name="connsiteX110" fmla="*/ 519113 w 750094"/>
                <a:gd name="connsiteY110" fmla="*/ 260541 h 935038"/>
                <a:gd name="connsiteX111" fmla="*/ 519113 w 750094"/>
                <a:gd name="connsiteY111" fmla="*/ 219076 h 935038"/>
                <a:gd name="connsiteX112" fmla="*/ 519113 w 750094"/>
                <a:gd name="connsiteY112" fmla="*/ 207963 h 935038"/>
                <a:gd name="connsiteX113" fmla="*/ 0 w 750094"/>
                <a:gd name="connsiteY113" fmla="*/ 52388 h 935038"/>
                <a:gd name="connsiteX114" fmla="*/ 38100 w 750094"/>
                <a:gd name="connsiteY114" fmla="*/ 52388 h 935038"/>
                <a:gd name="connsiteX115" fmla="*/ 38100 w 750094"/>
                <a:gd name="connsiteY115" fmla="*/ 207963 h 935038"/>
                <a:gd name="connsiteX116" fmla="*/ 79375 w 750094"/>
                <a:gd name="connsiteY116" fmla="*/ 98425 h 935038"/>
                <a:gd name="connsiteX117" fmla="*/ 153988 w 750094"/>
                <a:gd name="connsiteY117" fmla="*/ 98425 h 935038"/>
                <a:gd name="connsiteX118" fmla="*/ 192088 w 750094"/>
                <a:gd name="connsiteY118" fmla="*/ 207963 h 935038"/>
                <a:gd name="connsiteX119" fmla="*/ 192088 w 750094"/>
                <a:gd name="connsiteY119" fmla="*/ 52388 h 935038"/>
                <a:gd name="connsiteX120" fmla="*/ 233363 w 750094"/>
                <a:gd name="connsiteY120" fmla="*/ 52388 h 935038"/>
                <a:gd name="connsiteX121" fmla="*/ 233363 w 750094"/>
                <a:gd name="connsiteY121" fmla="*/ 207963 h 935038"/>
                <a:gd name="connsiteX122" fmla="*/ 233363 w 750094"/>
                <a:gd name="connsiteY122" fmla="*/ 219076 h 935038"/>
                <a:gd name="connsiteX123" fmla="*/ 233363 w 750094"/>
                <a:gd name="connsiteY123" fmla="*/ 260541 h 935038"/>
                <a:gd name="connsiteX124" fmla="*/ 0 w 750094"/>
                <a:gd name="connsiteY124" fmla="*/ 260541 h 935038"/>
                <a:gd name="connsiteX125" fmla="*/ 0 w 750094"/>
                <a:gd name="connsiteY125" fmla="*/ 219076 h 935038"/>
                <a:gd name="connsiteX126" fmla="*/ 0 w 750094"/>
                <a:gd name="connsiteY126" fmla="*/ 207963 h 935038"/>
                <a:gd name="connsiteX127" fmla="*/ 729457 w 750094"/>
                <a:gd name="connsiteY127" fmla="*/ 0 h 935038"/>
                <a:gd name="connsiteX128" fmla="*/ 750094 w 750094"/>
                <a:gd name="connsiteY128" fmla="*/ 46038 h 935038"/>
                <a:gd name="connsiteX129" fmla="*/ 708819 w 750094"/>
                <a:gd name="connsiteY129" fmla="*/ 46038 h 935038"/>
                <a:gd name="connsiteX130" fmla="*/ 538163 w 750094"/>
                <a:gd name="connsiteY130" fmla="*/ 0 h 935038"/>
                <a:gd name="connsiteX131" fmla="*/ 557213 w 750094"/>
                <a:gd name="connsiteY131" fmla="*/ 46038 h 935038"/>
                <a:gd name="connsiteX132" fmla="*/ 519113 w 750094"/>
                <a:gd name="connsiteY132" fmla="*/ 46038 h 935038"/>
                <a:gd name="connsiteX133" fmla="*/ 212726 w 750094"/>
                <a:gd name="connsiteY133" fmla="*/ 0 h 935038"/>
                <a:gd name="connsiteX134" fmla="*/ 233363 w 750094"/>
                <a:gd name="connsiteY134" fmla="*/ 46038 h 935038"/>
                <a:gd name="connsiteX135" fmla="*/ 192088 w 750094"/>
                <a:gd name="connsiteY135" fmla="*/ 46038 h 935038"/>
                <a:gd name="connsiteX136" fmla="*/ 19050 w 750094"/>
                <a:gd name="connsiteY136" fmla="*/ 0 h 935038"/>
                <a:gd name="connsiteX137" fmla="*/ 38100 w 750094"/>
                <a:gd name="connsiteY137" fmla="*/ 46038 h 935038"/>
                <a:gd name="connsiteX138" fmla="*/ 0 w 750094"/>
                <a:gd name="connsiteY138" fmla="*/ 46038 h 93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750094" h="935038">
                  <a:moveTo>
                    <a:pt x="523359" y="706057"/>
                  </a:moveTo>
                  <a:lnTo>
                    <a:pt x="749300" y="706057"/>
                  </a:lnTo>
                  <a:lnTo>
                    <a:pt x="749300" y="935038"/>
                  </a:lnTo>
                  <a:lnTo>
                    <a:pt x="523359" y="935038"/>
                  </a:lnTo>
                  <a:close/>
                  <a:moveTo>
                    <a:pt x="242698" y="706057"/>
                  </a:moveTo>
                  <a:lnTo>
                    <a:pt x="514215" y="706057"/>
                  </a:lnTo>
                  <a:lnTo>
                    <a:pt x="514215" y="935038"/>
                  </a:lnTo>
                  <a:lnTo>
                    <a:pt x="242698" y="935038"/>
                  </a:lnTo>
                  <a:close/>
                  <a:moveTo>
                    <a:pt x="0" y="706057"/>
                  </a:moveTo>
                  <a:lnTo>
                    <a:pt x="233554" y="706057"/>
                  </a:lnTo>
                  <a:lnTo>
                    <a:pt x="233554" y="935038"/>
                  </a:lnTo>
                  <a:lnTo>
                    <a:pt x="0" y="935038"/>
                  </a:lnTo>
                  <a:close/>
                  <a:moveTo>
                    <a:pt x="674370" y="522288"/>
                  </a:moveTo>
                  <a:cubicBezTo>
                    <a:pt x="670560" y="522288"/>
                    <a:pt x="666750" y="526074"/>
                    <a:pt x="666750" y="529859"/>
                  </a:cubicBezTo>
                  <a:cubicBezTo>
                    <a:pt x="666750" y="669926"/>
                    <a:pt x="666750" y="669926"/>
                    <a:pt x="666750" y="669926"/>
                  </a:cubicBezTo>
                  <a:lnTo>
                    <a:pt x="685800" y="669926"/>
                  </a:lnTo>
                  <a:cubicBezTo>
                    <a:pt x="685800" y="529859"/>
                    <a:pt x="685800" y="529859"/>
                    <a:pt x="685800" y="529859"/>
                  </a:cubicBezTo>
                  <a:cubicBezTo>
                    <a:pt x="685800" y="526074"/>
                    <a:pt x="681990" y="522288"/>
                    <a:pt x="674370" y="522288"/>
                  </a:cubicBezTo>
                  <a:close/>
                  <a:moveTo>
                    <a:pt x="636588" y="522288"/>
                  </a:moveTo>
                  <a:cubicBezTo>
                    <a:pt x="632883" y="522288"/>
                    <a:pt x="625475" y="526074"/>
                    <a:pt x="625475" y="529859"/>
                  </a:cubicBezTo>
                  <a:cubicBezTo>
                    <a:pt x="625475" y="669926"/>
                    <a:pt x="625475" y="669926"/>
                    <a:pt x="625475" y="669926"/>
                  </a:cubicBezTo>
                  <a:lnTo>
                    <a:pt x="647700" y="669926"/>
                  </a:lnTo>
                  <a:cubicBezTo>
                    <a:pt x="647700" y="529859"/>
                    <a:pt x="647700" y="529859"/>
                    <a:pt x="647700" y="529859"/>
                  </a:cubicBezTo>
                  <a:cubicBezTo>
                    <a:pt x="647700" y="526074"/>
                    <a:pt x="640292" y="522288"/>
                    <a:pt x="636588" y="522288"/>
                  </a:cubicBezTo>
                  <a:close/>
                  <a:moveTo>
                    <a:pt x="598805" y="522288"/>
                  </a:moveTo>
                  <a:cubicBezTo>
                    <a:pt x="591185" y="522288"/>
                    <a:pt x="587375" y="526074"/>
                    <a:pt x="587375" y="529859"/>
                  </a:cubicBezTo>
                  <a:cubicBezTo>
                    <a:pt x="587375" y="669926"/>
                    <a:pt x="587375" y="669926"/>
                    <a:pt x="587375" y="669926"/>
                  </a:cubicBezTo>
                  <a:lnTo>
                    <a:pt x="606425" y="669926"/>
                  </a:lnTo>
                  <a:cubicBezTo>
                    <a:pt x="606425" y="529859"/>
                    <a:pt x="606425" y="529859"/>
                    <a:pt x="606425" y="529859"/>
                  </a:cubicBezTo>
                  <a:cubicBezTo>
                    <a:pt x="606425" y="526074"/>
                    <a:pt x="602615" y="522288"/>
                    <a:pt x="598805" y="522288"/>
                  </a:cubicBezTo>
                  <a:close/>
                  <a:moveTo>
                    <a:pt x="151130" y="522288"/>
                  </a:moveTo>
                  <a:cubicBezTo>
                    <a:pt x="143510" y="522288"/>
                    <a:pt x="139700" y="526074"/>
                    <a:pt x="139700" y="529859"/>
                  </a:cubicBezTo>
                  <a:cubicBezTo>
                    <a:pt x="139700" y="669926"/>
                    <a:pt x="139700" y="669926"/>
                    <a:pt x="139700" y="669926"/>
                  </a:cubicBezTo>
                  <a:lnTo>
                    <a:pt x="158750" y="669926"/>
                  </a:lnTo>
                  <a:cubicBezTo>
                    <a:pt x="158750" y="529859"/>
                    <a:pt x="158750" y="529859"/>
                    <a:pt x="158750" y="529859"/>
                  </a:cubicBezTo>
                  <a:cubicBezTo>
                    <a:pt x="158750" y="526074"/>
                    <a:pt x="154940" y="522288"/>
                    <a:pt x="151130" y="522288"/>
                  </a:cubicBezTo>
                  <a:close/>
                  <a:moveTo>
                    <a:pt x="109220" y="522288"/>
                  </a:moveTo>
                  <a:cubicBezTo>
                    <a:pt x="105410" y="522288"/>
                    <a:pt x="101600" y="526074"/>
                    <a:pt x="101600" y="529859"/>
                  </a:cubicBezTo>
                  <a:cubicBezTo>
                    <a:pt x="101600" y="669926"/>
                    <a:pt x="101600" y="669926"/>
                    <a:pt x="101600" y="669926"/>
                  </a:cubicBezTo>
                  <a:lnTo>
                    <a:pt x="120650" y="669926"/>
                  </a:lnTo>
                  <a:cubicBezTo>
                    <a:pt x="120650" y="529859"/>
                    <a:pt x="120650" y="529859"/>
                    <a:pt x="120650" y="529859"/>
                  </a:cubicBezTo>
                  <a:cubicBezTo>
                    <a:pt x="120650" y="526074"/>
                    <a:pt x="116840" y="522288"/>
                    <a:pt x="109220" y="522288"/>
                  </a:cubicBezTo>
                  <a:close/>
                  <a:moveTo>
                    <a:pt x="71755" y="522288"/>
                  </a:moveTo>
                  <a:cubicBezTo>
                    <a:pt x="64135" y="522288"/>
                    <a:pt x="60325" y="526074"/>
                    <a:pt x="60325" y="529859"/>
                  </a:cubicBezTo>
                  <a:cubicBezTo>
                    <a:pt x="60325" y="669926"/>
                    <a:pt x="60325" y="669926"/>
                    <a:pt x="60325" y="669926"/>
                  </a:cubicBezTo>
                  <a:lnTo>
                    <a:pt x="79375" y="669926"/>
                  </a:lnTo>
                  <a:cubicBezTo>
                    <a:pt x="79375" y="529859"/>
                    <a:pt x="79375" y="529859"/>
                    <a:pt x="79375" y="529859"/>
                  </a:cubicBezTo>
                  <a:cubicBezTo>
                    <a:pt x="79375" y="526074"/>
                    <a:pt x="75565" y="522288"/>
                    <a:pt x="71755" y="522288"/>
                  </a:cubicBezTo>
                  <a:close/>
                  <a:moveTo>
                    <a:pt x="0" y="461963"/>
                  </a:moveTo>
                  <a:lnTo>
                    <a:pt x="749300" y="461963"/>
                  </a:lnTo>
                  <a:lnTo>
                    <a:pt x="749300" y="462567"/>
                  </a:lnTo>
                  <a:lnTo>
                    <a:pt x="749300" y="696913"/>
                  </a:lnTo>
                  <a:lnTo>
                    <a:pt x="523359" y="696913"/>
                  </a:lnTo>
                  <a:lnTo>
                    <a:pt x="523359" y="462567"/>
                  </a:lnTo>
                  <a:lnTo>
                    <a:pt x="523359" y="462344"/>
                  </a:lnTo>
                  <a:lnTo>
                    <a:pt x="514215" y="462344"/>
                  </a:lnTo>
                  <a:lnTo>
                    <a:pt x="514215" y="696913"/>
                  </a:lnTo>
                  <a:lnTo>
                    <a:pt x="242698" y="696913"/>
                  </a:lnTo>
                  <a:lnTo>
                    <a:pt x="242698" y="462344"/>
                  </a:lnTo>
                  <a:lnTo>
                    <a:pt x="233554" y="462344"/>
                  </a:lnTo>
                  <a:lnTo>
                    <a:pt x="233554" y="696913"/>
                  </a:lnTo>
                  <a:lnTo>
                    <a:pt x="0" y="696913"/>
                  </a:lnTo>
                  <a:lnTo>
                    <a:pt x="0" y="462567"/>
                  </a:lnTo>
                  <a:close/>
                  <a:moveTo>
                    <a:pt x="519113" y="421894"/>
                  </a:moveTo>
                  <a:lnTo>
                    <a:pt x="749301" y="421894"/>
                  </a:lnTo>
                  <a:lnTo>
                    <a:pt x="749301" y="453423"/>
                  </a:lnTo>
                  <a:lnTo>
                    <a:pt x="519113" y="453423"/>
                  </a:lnTo>
                  <a:close/>
                  <a:moveTo>
                    <a:pt x="0" y="421894"/>
                  </a:moveTo>
                  <a:lnTo>
                    <a:pt x="233363" y="421894"/>
                  </a:lnTo>
                  <a:lnTo>
                    <a:pt x="233363" y="453423"/>
                  </a:lnTo>
                  <a:lnTo>
                    <a:pt x="0" y="453423"/>
                  </a:lnTo>
                  <a:close/>
                  <a:moveTo>
                    <a:pt x="636588" y="292100"/>
                  </a:moveTo>
                  <a:cubicBezTo>
                    <a:pt x="613728" y="292100"/>
                    <a:pt x="598488" y="307181"/>
                    <a:pt x="598488" y="329803"/>
                  </a:cubicBezTo>
                  <a:lnTo>
                    <a:pt x="598488" y="382588"/>
                  </a:lnTo>
                  <a:lnTo>
                    <a:pt x="674688" y="382588"/>
                  </a:lnTo>
                  <a:lnTo>
                    <a:pt x="674688" y="329803"/>
                  </a:lnTo>
                  <a:cubicBezTo>
                    <a:pt x="674688" y="307181"/>
                    <a:pt x="655638" y="292100"/>
                    <a:pt x="636588" y="292100"/>
                  </a:cubicBezTo>
                  <a:close/>
                  <a:moveTo>
                    <a:pt x="116682" y="292100"/>
                  </a:moveTo>
                  <a:cubicBezTo>
                    <a:pt x="94298" y="292100"/>
                    <a:pt x="79375" y="307181"/>
                    <a:pt x="79375" y="329803"/>
                  </a:cubicBezTo>
                  <a:lnTo>
                    <a:pt x="79375" y="382588"/>
                  </a:lnTo>
                  <a:lnTo>
                    <a:pt x="153988" y="382588"/>
                  </a:lnTo>
                  <a:lnTo>
                    <a:pt x="153988" y="329803"/>
                  </a:lnTo>
                  <a:cubicBezTo>
                    <a:pt x="153988" y="307181"/>
                    <a:pt x="135335" y="292100"/>
                    <a:pt x="116682" y="292100"/>
                  </a:cubicBezTo>
                  <a:close/>
                  <a:moveTo>
                    <a:pt x="519113" y="269685"/>
                  </a:moveTo>
                  <a:lnTo>
                    <a:pt x="749301" y="269685"/>
                  </a:lnTo>
                  <a:lnTo>
                    <a:pt x="749301" y="412750"/>
                  </a:lnTo>
                  <a:lnTo>
                    <a:pt x="519113" y="412750"/>
                  </a:lnTo>
                  <a:close/>
                  <a:moveTo>
                    <a:pt x="0" y="269685"/>
                  </a:moveTo>
                  <a:lnTo>
                    <a:pt x="233363" y="269685"/>
                  </a:lnTo>
                  <a:lnTo>
                    <a:pt x="233363" y="412750"/>
                  </a:lnTo>
                  <a:lnTo>
                    <a:pt x="0" y="412750"/>
                  </a:lnTo>
                  <a:close/>
                  <a:moveTo>
                    <a:pt x="625475" y="155575"/>
                  </a:moveTo>
                  <a:lnTo>
                    <a:pt x="625475" y="207963"/>
                  </a:lnTo>
                  <a:lnTo>
                    <a:pt x="647700" y="207963"/>
                  </a:lnTo>
                  <a:lnTo>
                    <a:pt x="647700" y="155575"/>
                  </a:lnTo>
                  <a:close/>
                  <a:moveTo>
                    <a:pt x="104775" y="155575"/>
                  </a:moveTo>
                  <a:lnTo>
                    <a:pt x="104775" y="207963"/>
                  </a:lnTo>
                  <a:lnTo>
                    <a:pt x="128588" y="207963"/>
                  </a:lnTo>
                  <a:lnTo>
                    <a:pt x="128588" y="155575"/>
                  </a:lnTo>
                  <a:close/>
                  <a:moveTo>
                    <a:pt x="519113" y="52388"/>
                  </a:moveTo>
                  <a:lnTo>
                    <a:pt x="557213" y="52388"/>
                  </a:lnTo>
                  <a:lnTo>
                    <a:pt x="557213" y="207963"/>
                  </a:lnTo>
                  <a:lnTo>
                    <a:pt x="595313" y="98425"/>
                  </a:lnTo>
                  <a:lnTo>
                    <a:pt x="674688" y="98425"/>
                  </a:lnTo>
                  <a:lnTo>
                    <a:pt x="708819" y="200817"/>
                  </a:lnTo>
                  <a:lnTo>
                    <a:pt x="708819" y="52388"/>
                  </a:lnTo>
                  <a:lnTo>
                    <a:pt x="750094" y="52388"/>
                  </a:lnTo>
                  <a:lnTo>
                    <a:pt x="750094" y="219076"/>
                  </a:lnTo>
                  <a:lnTo>
                    <a:pt x="749301" y="219076"/>
                  </a:lnTo>
                  <a:lnTo>
                    <a:pt x="749301" y="260541"/>
                  </a:lnTo>
                  <a:lnTo>
                    <a:pt x="519113" y="260541"/>
                  </a:lnTo>
                  <a:lnTo>
                    <a:pt x="519113" y="219076"/>
                  </a:lnTo>
                  <a:lnTo>
                    <a:pt x="519113" y="207963"/>
                  </a:lnTo>
                  <a:close/>
                  <a:moveTo>
                    <a:pt x="0" y="52388"/>
                  </a:moveTo>
                  <a:lnTo>
                    <a:pt x="38100" y="52388"/>
                  </a:lnTo>
                  <a:lnTo>
                    <a:pt x="38100" y="207963"/>
                  </a:lnTo>
                  <a:lnTo>
                    <a:pt x="79375" y="98425"/>
                  </a:lnTo>
                  <a:lnTo>
                    <a:pt x="153988" y="98425"/>
                  </a:lnTo>
                  <a:lnTo>
                    <a:pt x="192088" y="207963"/>
                  </a:lnTo>
                  <a:lnTo>
                    <a:pt x="192088" y="52388"/>
                  </a:lnTo>
                  <a:lnTo>
                    <a:pt x="233363" y="52388"/>
                  </a:lnTo>
                  <a:lnTo>
                    <a:pt x="233363" y="207963"/>
                  </a:lnTo>
                  <a:lnTo>
                    <a:pt x="233363" y="219076"/>
                  </a:lnTo>
                  <a:lnTo>
                    <a:pt x="233363" y="260541"/>
                  </a:lnTo>
                  <a:lnTo>
                    <a:pt x="0" y="260541"/>
                  </a:lnTo>
                  <a:lnTo>
                    <a:pt x="0" y="219076"/>
                  </a:lnTo>
                  <a:lnTo>
                    <a:pt x="0" y="207963"/>
                  </a:lnTo>
                  <a:close/>
                  <a:moveTo>
                    <a:pt x="729457" y="0"/>
                  </a:moveTo>
                  <a:lnTo>
                    <a:pt x="750094" y="46038"/>
                  </a:lnTo>
                  <a:lnTo>
                    <a:pt x="708819" y="46038"/>
                  </a:lnTo>
                  <a:close/>
                  <a:moveTo>
                    <a:pt x="538163" y="0"/>
                  </a:moveTo>
                  <a:lnTo>
                    <a:pt x="557213" y="46038"/>
                  </a:lnTo>
                  <a:lnTo>
                    <a:pt x="519113" y="46038"/>
                  </a:lnTo>
                  <a:close/>
                  <a:moveTo>
                    <a:pt x="212726" y="0"/>
                  </a:moveTo>
                  <a:lnTo>
                    <a:pt x="233363" y="46038"/>
                  </a:lnTo>
                  <a:lnTo>
                    <a:pt x="192088" y="46038"/>
                  </a:lnTo>
                  <a:close/>
                  <a:moveTo>
                    <a:pt x="19050" y="0"/>
                  </a:moveTo>
                  <a:lnTo>
                    <a:pt x="38100" y="46038"/>
                  </a:lnTo>
                  <a:lnTo>
                    <a:pt x="0" y="46038"/>
                  </a:ln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04" name="Group 203"/>
          <p:cNvGrpSpPr/>
          <p:nvPr userDrawn="1"/>
        </p:nvGrpSpPr>
        <p:grpSpPr>
          <a:xfrm flipH="1">
            <a:off x="5723407" y="6791714"/>
            <a:ext cx="84465" cy="163713"/>
            <a:chOff x="6229350" y="5232400"/>
            <a:chExt cx="539750" cy="1046162"/>
          </a:xfrm>
        </p:grpSpPr>
        <p:sp>
          <p:nvSpPr>
            <p:cNvPr id="20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08" name="Freeform 5"/>
          <p:cNvSpPr>
            <a:spLocks/>
          </p:cNvSpPr>
          <p:nvPr userDrawn="1"/>
        </p:nvSpPr>
        <p:spPr bwMode="auto">
          <a:xfrm flipH="1">
            <a:off x="10710449" y="5879439"/>
            <a:ext cx="298225" cy="217539"/>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chemeClr val="bg1">
              <a:lumMod val="65000"/>
            </a:schemeClr>
          </a:solidFill>
          <a:ln>
            <a:noFill/>
          </a:ln>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9" name="Freeform 8"/>
          <p:cNvSpPr>
            <a:spLocks/>
          </p:cNvSpPr>
          <p:nvPr userDrawn="1"/>
        </p:nvSpPr>
        <p:spPr bwMode="auto">
          <a:xfrm flipH="1">
            <a:off x="11689455" y="4821572"/>
            <a:ext cx="559462" cy="412309"/>
          </a:xfrm>
          <a:custGeom>
            <a:avLst/>
            <a:gdLst>
              <a:gd name="T0" fmla="*/ 117 w 139"/>
              <a:gd name="T1" fmla="*/ 40 h 91"/>
              <a:gd name="T2" fmla="*/ 117 w 139"/>
              <a:gd name="T3" fmla="*/ 38 h 91"/>
              <a:gd name="T4" fmla="*/ 79 w 139"/>
              <a:gd name="T5" fmla="*/ 0 h 91"/>
              <a:gd name="T6" fmla="*/ 47 w 139"/>
              <a:gd name="T7" fmla="*/ 17 h 91"/>
              <a:gd name="T8" fmla="*/ 36 w 139"/>
              <a:gd name="T9" fmla="*/ 14 h 91"/>
              <a:gd name="T10" fmla="*/ 24 w 139"/>
              <a:gd name="T11" fmla="*/ 18 h 91"/>
              <a:gd name="T12" fmla="*/ 14 w 139"/>
              <a:gd name="T13" fmla="*/ 36 h 91"/>
              <a:gd name="T14" fmla="*/ 0 w 139"/>
              <a:gd name="T15" fmla="*/ 61 h 91"/>
              <a:gd name="T16" fmla="*/ 27 w 139"/>
              <a:gd name="T17" fmla="*/ 91 h 91"/>
              <a:gd name="T18" fmla="*/ 30 w 139"/>
              <a:gd name="T19" fmla="*/ 91 h 91"/>
              <a:gd name="T20" fmla="*/ 33 w 139"/>
              <a:gd name="T21" fmla="*/ 91 h 91"/>
              <a:gd name="T22" fmla="*/ 96 w 139"/>
              <a:gd name="T23" fmla="*/ 91 h 91"/>
              <a:gd name="T24" fmla="*/ 97 w 139"/>
              <a:gd name="T25" fmla="*/ 91 h 91"/>
              <a:gd name="T26" fmla="*/ 99 w 139"/>
              <a:gd name="T27" fmla="*/ 91 h 91"/>
              <a:gd name="T28" fmla="*/ 103 w 139"/>
              <a:gd name="T29" fmla="*/ 91 h 91"/>
              <a:gd name="T30" fmla="*/ 113 w 139"/>
              <a:gd name="T31" fmla="*/ 91 h 91"/>
              <a:gd name="T32" fmla="*/ 139 w 139"/>
              <a:gd name="T33" fmla="*/ 66 h 91"/>
              <a:gd name="T34" fmla="*/ 117 w 139"/>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91">
                <a:moveTo>
                  <a:pt x="117" y="40"/>
                </a:moveTo>
                <a:cubicBezTo>
                  <a:pt x="117" y="39"/>
                  <a:pt x="117" y="39"/>
                  <a:pt x="117" y="38"/>
                </a:cubicBezTo>
                <a:cubicBezTo>
                  <a:pt x="117" y="17"/>
                  <a:pt x="100" y="0"/>
                  <a:pt x="79" y="0"/>
                </a:cubicBezTo>
                <a:cubicBezTo>
                  <a:pt x="65" y="0"/>
                  <a:pt x="53" y="7"/>
                  <a:pt x="47" y="17"/>
                </a:cubicBezTo>
                <a:cubicBezTo>
                  <a:pt x="43" y="15"/>
                  <a:pt x="40" y="14"/>
                  <a:pt x="36" y="14"/>
                </a:cubicBezTo>
                <a:cubicBezTo>
                  <a:pt x="31" y="14"/>
                  <a:pt x="27" y="15"/>
                  <a:pt x="24" y="18"/>
                </a:cubicBezTo>
                <a:cubicBezTo>
                  <a:pt x="18" y="22"/>
                  <a:pt x="14" y="28"/>
                  <a:pt x="14" y="36"/>
                </a:cubicBezTo>
                <a:cubicBezTo>
                  <a:pt x="6" y="41"/>
                  <a:pt x="0" y="51"/>
                  <a:pt x="0" y="61"/>
                </a:cubicBezTo>
                <a:cubicBezTo>
                  <a:pt x="0" y="77"/>
                  <a:pt x="12" y="90"/>
                  <a:pt x="27" y="91"/>
                </a:cubicBezTo>
                <a:cubicBezTo>
                  <a:pt x="28" y="91"/>
                  <a:pt x="29" y="91"/>
                  <a:pt x="30" y="91"/>
                </a:cubicBezTo>
                <a:cubicBezTo>
                  <a:pt x="31" y="91"/>
                  <a:pt x="32" y="91"/>
                  <a:pt x="33" y="91"/>
                </a:cubicBezTo>
                <a:cubicBezTo>
                  <a:pt x="47" y="91"/>
                  <a:pt x="80" y="91"/>
                  <a:pt x="96" y="91"/>
                </a:cubicBezTo>
                <a:cubicBezTo>
                  <a:pt x="97" y="91"/>
                  <a:pt x="97" y="91"/>
                  <a:pt x="97" y="91"/>
                </a:cubicBezTo>
                <a:cubicBezTo>
                  <a:pt x="99" y="91"/>
                  <a:pt x="99" y="91"/>
                  <a:pt x="99" y="91"/>
                </a:cubicBezTo>
                <a:cubicBezTo>
                  <a:pt x="100" y="91"/>
                  <a:pt x="102" y="91"/>
                  <a:pt x="103" y="91"/>
                </a:cubicBezTo>
                <a:cubicBezTo>
                  <a:pt x="113" y="91"/>
                  <a:pt x="113" y="91"/>
                  <a:pt x="113" y="91"/>
                </a:cubicBezTo>
                <a:cubicBezTo>
                  <a:pt x="128" y="91"/>
                  <a:pt x="139" y="80"/>
                  <a:pt x="139" y="66"/>
                </a:cubicBezTo>
                <a:cubicBezTo>
                  <a:pt x="139" y="53"/>
                  <a:pt x="130" y="42"/>
                  <a:pt x="117"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0" name="Freeform 5"/>
          <p:cNvSpPr>
            <a:spLocks/>
          </p:cNvSpPr>
          <p:nvPr userDrawn="1"/>
        </p:nvSpPr>
        <p:spPr bwMode="auto">
          <a:xfrm flipH="1">
            <a:off x="257243" y="6316750"/>
            <a:ext cx="298225" cy="217539"/>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chemeClr val="bg1">
              <a:lumMod val="65000"/>
            </a:schemeClr>
          </a:solidFill>
          <a:ln>
            <a:noFill/>
          </a:ln>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4002189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36pt Title/26pt Bullet Text">
    <p:spTree>
      <p:nvGrpSpPr>
        <p:cNvPr id="1" name=""/>
        <p:cNvGrpSpPr/>
        <p:nvPr/>
      </p:nvGrpSpPr>
      <p:grpSpPr>
        <a:xfrm>
          <a:off x="0" y="0"/>
          <a:ext cx="0" cy="0"/>
          <a:chOff x="0" y="0"/>
          <a:chExt cx="0" cy="0"/>
        </a:xfrm>
      </p:grpSpPr>
      <p:grpSp>
        <p:nvGrpSpPr>
          <p:cNvPr id="7" name="Group 6"/>
          <p:cNvGrpSpPr/>
          <p:nvPr userDrawn="1"/>
        </p:nvGrpSpPr>
        <p:grpSpPr>
          <a:xfrm flipH="1">
            <a:off x="-1" y="4609999"/>
            <a:ext cx="12436476" cy="2394053"/>
            <a:chOff x="-1" y="4621674"/>
            <a:chExt cx="12436476" cy="2394053"/>
          </a:xfrm>
        </p:grpSpPr>
        <p:grpSp>
          <p:nvGrpSpPr>
            <p:cNvPr id="9" name="Group 8"/>
            <p:cNvGrpSpPr/>
            <p:nvPr/>
          </p:nvGrpSpPr>
          <p:grpSpPr>
            <a:xfrm>
              <a:off x="1309765" y="4621674"/>
              <a:ext cx="11126710" cy="2394053"/>
              <a:chOff x="1274682" y="4608850"/>
              <a:chExt cx="11163197" cy="2394053"/>
            </a:xfrm>
          </p:grpSpPr>
          <p:sp>
            <p:nvSpPr>
              <p:cNvPr id="24" name="Rectangle 21"/>
              <p:cNvSpPr/>
              <p:nvPr/>
            </p:nvSpPr>
            <p:spPr>
              <a:xfrm>
                <a:off x="10489449" y="4683761"/>
                <a:ext cx="703850" cy="995749"/>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361" rtl="0" eaLnBrk="1" fontAlgn="auto" latinLnBrk="0" hangingPunct="1">
                  <a:lnSpc>
                    <a:spcPct val="100000"/>
                  </a:lnSpc>
                  <a:spcBef>
                    <a:spcPts val="0"/>
                  </a:spcBef>
                  <a:spcAft>
                    <a:spcPts val="0"/>
                  </a:spcAft>
                  <a:buClrTx/>
                  <a:buSzTx/>
                  <a:buFontTx/>
                  <a:buNone/>
                  <a:tabLst/>
                  <a:defRPr/>
                </a:pPr>
                <a:endParaRPr kumimoji="0" lang="en-US" sz="1198"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Freeform 24"/>
              <p:cNvSpPr>
                <a:spLocks/>
              </p:cNvSpPr>
              <p:nvPr/>
            </p:nvSpPr>
            <p:spPr bwMode="auto">
              <a:xfrm>
                <a:off x="8990096" y="4608850"/>
                <a:ext cx="924969" cy="609039"/>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accent1">
                  <a:alpha val="6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6" name="Rectangle 5"/>
              <p:cNvSpPr>
                <a:spLocks noChangeArrowheads="1"/>
              </p:cNvSpPr>
              <p:nvPr/>
            </p:nvSpPr>
            <p:spPr bwMode="auto">
              <a:xfrm>
                <a:off x="9726424" y="4873660"/>
                <a:ext cx="927102" cy="1074743"/>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Rectangle 6"/>
              <p:cNvSpPr>
                <a:spLocks noChangeArrowheads="1"/>
              </p:cNvSpPr>
              <p:nvPr/>
            </p:nvSpPr>
            <p:spPr bwMode="auto">
              <a:xfrm>
                <a:off x="9726424" y="4873660"/>
                <a:ext cx="927102" cy="1074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Rectangle 7"/>
              <p:cNvSpPr>
                <a:spLocks noChangeArrowheads="1"/>
              </p:cNvSpPr>
              <p:nvPr/>
            </p:nvSpPr>
            <p:spPr bwMode="auto">
              <a:xfrm>
                <a:off x="9864536" y="4722847"/>
                <a:ext cx="649289" cy="752479"/>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 name="Rectangle 14"/>
              <p:cNvSpPr>
                <a:spLocks noChangeArrowheads="1"/>
              </p:cNvSpPr>
              <p:nvPr/>
            </p:nvSpPr>
            <p:spPr bwMode="auto">
              <a:xfrm>
                <a:off x="11201214" y="5181636"/>
                <a:ext cx="744539" cy="698504"/>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Rectangle 15"/>
              <p:cNvSpPr>
                <a:spLocks noChangeArrowheads="1"/>
              </p:cNvSpPr>
              <p:nvPr/>
            </p:nvSpPr>
            <p:spPr bwMode="auto">
              <a:xfrm>
                <a:off x="11693340" y="5376900"/>
                <a:ext cx="744539" cy="563565"/>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 name="Rectangle 22"/>
              <p:cNvSpPr>
                <a:spLocks noChangeArrowheads="1"/>
              </p:cNvSpPr>
              <p:nvPr/>
            </p:nvSpPr>
            <p:spPr bwMode="auto">
              <a:xfrm>
                <a:off x="11112314" y="4772059"/>
                <a:ext cx="179388" cy="1014418"/>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 name="Freeform 25"/>
              <p:cNvSpPr>
                <a:spLocks/>
              </p:cNvSpPr>
              <p:nvPr/>
            </p:nvSpPr>
            <p:spPr bwMode="auto">
              <a:xfrm>
                <a:off x="11715565" y="4873660"/>
                <a:ext cx="304801" cy="904880"/>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 name="Freeform 26"/>
              <p:cNvSpPr>
                <a:spLocks/>
              </p:cNvSpPr>
              <p:nvPr/>
            </p:nvSpPr>
            <p:spPr bwMode="auto">
              <a:xfrm>
                <a:off x="11967978" y="5083211"/>
                <a:ext cx="236538" cy="695329"/>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 name="Rectangle 142"/>
              <p:cNvSpPr>
                <a:spLocks noChangeArrowheads="1"/>
              </p:cNvSpPr>
              <p:nvPr/>
            </p:nvSpPr>
            <p:spPr bwMode="auto">
              <a:xfrm>
                <a:off x="11572690" y="5060986"/>
                <a:ext cx="95250" cy="134938"/>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Rectangle 144"/>
              <p:cNvSpPr>
                <a:spLocks noChangeArrowheads="1"/>
              </p:cNvSpPr>
              <p:nvPr/>
            </p:nvSpPr>
            <p:spPr bwMode="auto">
              <a:xfrm>
                <a:off x="10070912" y="4629184"/>
                <a:ext cx="93663" cy="134938"/>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Rectangle 145"/>
              <p:cNvSpPr>
                <a:spLocks noChangeArrowheads="1"/>
              </p:cNvSpPr>
              <p:nvPr/>
            </p:nvSpPr>
            <p:spPr bwMode="auto">
              <a:xfrm>
                <a:off x="10199500" y="4695859"/>
                <a:ext cx="187325" cy="68263"/>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p:nvSpPr>
            <p:spPr bwMode="auto">
              <a:xfrm>
                <a:off x="8249852" y="5470540"/>
                <a:ext cx="4188027" cy="1512485"/>
              </a:xfrm>
              <a:custGeom>
                <a:avLst/>
                <a:gdLst>
                  <a:gd name="connsiteX0" fmla="*/ 3323489 w 4188027"/>
                  <a:gd name="connsiteY0" fmla="*/ 0 h 1512485"/>
                  <a:gd name="connsiteX1" fmla="*/ 3545807 w 4188027"/>
                  <a:gd name="connsiteY1" fmla="*/ 8238 h 1512485"/>
                  <a:gd name="connsiteX2" fmla="*/ 3941809 w 4188027"/>
                  <a:gd name="connsiteY2" fmla="*/ 41187 h 1512485"/>
                  <a:gd name="connsiteX3" fmla="*/ 4136337 w 4188027"/>
                  <a:gd name="connsiteY3" fmla="*/ 65899 h 1512485"/>
                  <a:gd name="connsiteX4" fmla="*/ 4178022 w 4188027"/>
                  <a:gd name="connsiteY4" fmla="*/ 77225 h 1512485"/>
                  <a:gd name="connsiteX5" fmla="*/ 4188027 w 4188027"/>
                  <a:gd name="connsiteY5" fmla="*/ 78461 h 1512485"/>
                  <a:gd name="connsiteX6" fmla="*/ 4188027 w 4188027"/>
                  <a:gd name="connsiteY6" fmla="*/ 1512485 h 1512485"/>
                  <a:gd name="connsiteX7" fmla="*/ 0 w 4188027"/>
                  <a:gd name="connsiteY7" fmla="*/ 1512485 h 1512485"/>
                  <a:gd name="connsiteX8" fmla="*/ 149782 w 4188027"/>
                  <a:gd name="connsiteY8" fmla="*/ 1359770 h 1512485"/>
                  <a:gd name="connsiteX9" fmla="*/ 3323489 w 4188027"/>
                  <a:gd name="connsiteY9" fmla="*/ 0 h 1512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88027" h="1512485">
                    <a:moveTo>
                      <a:pt x="3323489" y="0"/>
                    </a:moveTo>
                    <a:cubicBezTo>
                      <a:pt x="3399911" y="0"/>
                      <a:pt x="3469385" y="0"/>
                      <a:pt x="3545807" y="8238"/>
                    </a:cubicBezTo>
                    <a:cubicBezTo>
                      <a:pt x="3677807" y="8238"/>
                      <a:pt x="3809809" y="16475"/>
                      <a:pt x="3941809" y="41187"/>
                    </a:cubicBezTo>
                    <a:cubicBezTo>
                      <a:pt x="4011283" y="49424"/>
                      <a:pt x="4073811" y="57661"/>
                      <a:pt x="4136337" y="65899"/>
                    </a:cubicBezTo>
                    <a:cubicBezTo>
                      <a:pt x="4150232" y="70018"/>
                      <a:pt x="4164127" y="74136"/>
                      <a:pt x="4178022" y="77225"/>
                    </a:cubicBezTo>
                    <a:lnTo>
                      <a:pt x="4188027" y="78461"/>
                    </a:lnTo>
                    <a:lnTo>
                      <a:pt x="4188027" y="1512485"/>
                    </a:lnTo>
                    <a:lnTo>
                      <a:pt x="0" y="1512485"/>
                    </a:lnTo>
                    <a:lnTo>
                      <a:pt x="149782" y="1359770"/>
                    </a:lnTo>
                    <a:cubicBezTo>
                      <a:pt x="1074263" y="463993"/>
                      <a:pt x="2198876" y="14415"/>
                      <a:pt x="3323489" y="0"/>
                    </a:cubicBezTo>
                    <a:close/>
                  </a:path>
                </a:pathLst>
              </a:custGeom>
              <a:solidFill>
                <a:srgbClr val="77AC00"/>
              </a:solidFill>
              <a:ln>
                <a:noFill/>
              </a:ln>
              <a:extLst/>
            </p:spPr>
            <p:txBody>
              <a:bodyPr vert="horz" wrap="square" lIns="91427" tIns="45713" rIns="91427" bIns="45713" numCol="1" anchor="t" anchorCtr="0" compatLnSpc="1">
                <a:prstTxWarp prst="textNoShape">
                  <a:avLst/>
                </a:prstTxWarp>
                <a:noAutofit/>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39" name="Freeform 154"/>
              <p:cNvSpPr>
                <a:spLocks/>
              </p:cNvSpPr>
              <p:nvPr/>
            </p:nvSpPr>
            <p:spPr bwMode="auto">
              <a:xfrm>
                <a:off x="7743336" y="4793486"/>
                <a:ext cx="412691" cy="1233312"/>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40" name="Freeform 155"/>
              <p:cNvSpPr>
                <a:spLocks/>
              </p:cNvSpPr>
              <p:nvPr/>
            </p:nvSpPr>
            <p:spPr bwMode="auto">
              <a:xfrm>
                <a:off x="8084601" y="5080782"/>
                <a:ext cx="319042" cy="94601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41" name="Freeform 157"/>
              <p:cNvSpPr>
                <a:spLocks/>
              </p:cNvSpPr>
              <p:nvPr/>
            </p:nvSpPr>
            <p:spPr bwMode="auto">
              <a:xfrm>
                <a:off x="5559637" y="5735427"/>
                <a:ext cx="5988788" cy="1247598"/>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42" name="Group 41"/>
              <p:cNvGrpSpPr/>
              <p:nvPr/>
            </p:nvGrpSpPr>
            <p:grpSpPr>
              <a:xfrm>
                <a:off x="6692954" y="5741776"/>
                <a:ext cx="3049155" cy="1249573"/>
                <a:chOff x="6823075" y="5763825"/>
                <a:chExt cx="3049588" cy="1249750"/>
              </a:xfrm>
            </p:grpSpPr>
            <p:sp>
              <p:nvSpPr>
                <p:cNvPr id="70" name="Freeform 158"/>
                <p:cNvSpPr>
                  <a:spLocks/>
                </p:cNvSpPr>
                <p:nvPr/>
              </p:nvSpPr>
              <p:spPr bwMode="auto">
                <a:xfrm>
                  <a:off x="6823075" y="5768975"/>
                  <a:ext cx="2136775" cy="1244600"/>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71" name="Freeform 159"/>
                <p:cNvSpPr>
                  <a:spLocks/>
                </p:cNvSpPr>
                <p:nvPr/>
              </p:nvSpPr>
              <p:spPr bwMode="auto">
                <a:xfrm>
                  <a:off x="9169400" y="5908675"/>
                  <a:ext cx="703263" cy="1104900"/>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72" name="Freeform 160"/>
                <p:cNvSpPr>
                  <a:spLocks/>
                </p:cNvSpPr>
                <p:nvPr/>
              </p:nvSpPr>
              <p:spPr bwMode="auto">
                <a:xfrm>
                  <a:off x="7221538" y="5763825"/>
                  <a:ext cx="2580333" cy="1241425"/>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12 w 10012"/>
                    <a:gd name="connsiteY0" fmla="*/ 1120 h 10000"/>
                    <a:gd name="connsiteX1" fmla="*/ 6749 w 10012"/>
                    <a:gd name="connsiteY1" fmla="*/ 0 h 10000"/>
                    <a:gd name="connsiteX2" fmla="*/ 0 w 10012"/>
                    <a:gd name="connsiteY2" fmla="*/ 10000 h 10000"/>
                    <a:gd name="connsiteX3" fmla="*/ 7915 w 10012"/>
                    <a:gd name="connsiteY3" fmla="*/ 10000 h 10000"/>
                    <a:gd name="connsiteX4" fmla="*/ 10012 w 10012"/>
                    <a:gd name="connsiteY4" fmla="*/ 1120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1" h="10000">
                      <a:moveTo>
                        <a:pt x="10021" y="1158"/>
                      </a:moveTo>
                      <a:cubicBezTo>
                        <a:pt x="8957" y="581"/>
                        <a:pt x="7843" y="152"/>
                        <a:pt x="6749" y="0"/>
                      </a:cubicBezTo>
                      <a:cubicBezTo>
                        <a:pt x="3047" y="2249"/>
                        <a:pt x="0" y="10000"/>
                        <a:pt x="0" y="10000"/>
                      </a:cubicBezTo>
                      <a:lnTo>
                        <a:pt x="7915" y="10000"/>
                      </a:lnTo>
                      <a:cubicBezTo>
                        <a:pt x="7622" y="5041"/>
                        <a:pt x="9904" y="1371"/>
                        <a:pt x="10021" y="115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pSp>
          <p:grpSp>
            <p:nvGrpSpPr>
              <p:cNvPr id="43" name="Group 42"/>
              <p:cNvGrpSpPr/>
              <p:nvPr/>
            </p:nvGrpSpPr>
            <p:grpSpPr>
              <a:xfrm>
                <a:off x="7384892" y="6621116"/>
                <a:ext cx="84298" cy="226035"/>
                <a:chOff x="8512196" y="6496912"/>
                <a:chExt cx="112332" cy="301206"/>
              </a:xfrm>
            </p:grpSpPr>
            <p:sp>
              <p:nvSpPr>
                <p:cNvPr id="64" name="Freeform 30"/>
                <p:cNvSpPr>
                  <a:spLocks/>
                </p:cNvSpPr>
                <p:nvPr/>
              </p:nvSpPr>
              <p:spPr bwMode="auto">
                <a:xfrm>
                  <a:off x="8512196" y="6694733"/>
                  <a:ext cx="65610" cy="103385"/>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5" name="Freeform 31"/>
                <p:cNvSpPr>
                  <a:spLocks/>
                </p:cNvSpPr>
                <p:nvPr/>
              </p:nvSpPr>
              <p:spPr bwMode="auto">
                <a:xfrm>
                  <a:off x="8535061" y="6595325"/>
                  <a:ext cx="65610" cy="106366"/>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6" name="Freeform 32"/>
                <p:cNvSpPr>
                  <a:spLocks/>
                </p:cNvSpPr>
                <p:nvPr/>
              </p:nvSpPr>
              <p:spPr bwMode="auto">
                <a:xfrm>
                  <a:off x="8558918" y="6496912"/>
                  <a:ext cx="65610" cy="106366"/>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44" name="Group 43"/>
              <p:cNvGrpSpPr/>
              <p:nvPr/>
            </p:nvGrpSpPr>
            <p:grpSpPr>
              <a:xfrm>
                <a:off x="1274682" y="5602741"/>
                <a:ext cx="7088779" cy="1400162"/>
                <a:chOff x="1274682" y="5602741"/>
                <a:chExt cx="7088779" cy="1400162"/>
              </a:xfrm>
            </p:grpSpPr>
            <p:sp>
              <p:nvSpPr>
                <p:cNvPr id="45" name="Freeform 11"/>
                <p:cNvSpPr>
                  <a:spLocks/>
                </p:cNvSpPr>
                <p:nvPr/>
              </p:nvSpPr>
              <p:spPr bwMode="auto">
                <a:xfrm flipH="1">
                  <a:off x="4392841" y="6472773"/>
                  <a:ext cx="3970620" cy="51025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46" name="Group 45"/>
                <p:cNvGrpSpPr/>
                <p:nvPr/>
              </p:nvGrpSpPr>
              <p:grpSpPr>
                <a:xfrm>
                  <a:off x="1274682" y="5602741"/>
                  <a:ext cx="5941204" cy="1400162"/>
                  <a:chOff x="1274682" y="5602741"/>
                  <a:chExt cx="5941204" cy="1400162"/>
                </a:xfrm>
              </p:grpSpPr>
              <p:sp>
                <p:nvSpPr>
                  <p:cNvPr id="47" name="Rectangle 5"/>
                  <p:cNvSpPr>
                    <a:spLocks noChangeArrowheads="1"/>
                  </p:cNvSpPr>
                  <p:nvPr/>
                </p:nvSpPr>
                <p:spPr bwMode="auto">
                  <a:xfrm flipH="1">
                    <a:off x="5098522" y="5935949"/>
                    <a:ext cx="550363" cy="53060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Rectangle 6"/>
                  <p:cNvSpPr>
                    <a:spLocks noChangeArrowheads="1"/>
                  </p:cNvSpPr>
                  <p:nvPr/>
                </p:nvSpPr>
                <p:spPr bwMode="auto">
                  <a:xfrm flipH="1">
                    <a:off x="5187141" y="5732594"/>
                    <a:ext cx="238802" cy="644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Rectangle 9"/>
                  <p:cNvSpPr>
                    <a:spLocks noChangeArrowheads="1"/>
                  </p:cNvSpPr>
                  <p:nvPr/>
                </p:nvSpPr>
                <p:spPr bwMode="auto">
                  <a:xfrm flipH="1">
                    <a:off x="3272996" y="6171761"/>
                    <a:ext cx="546632" cy="62125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Rectangle 10"/>
                  <p:cNvSpPr>
                    <a:spLocks noChangeArrowheads="1"/>
                  </p:cNvSpPr>
                  <p:nvPr/>
                </p:nvSpPr>
                <p:spPr bwMode="auto">
                  <a:xfrm flipH="1">
                    <a:off x="3050985" y="5878855"/>
                    <a:ext cx="546632" cy="914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1" name="Freeform 18"/>
                  <p:cNvSpPr>
                    <a:spLocks/>
                  </p:cNvSpPr>
                  <p:nvPr/>
                </p:nvSpPr>
                <p:spPr bwMode="auto">
                  <a:xfrm flipH="1">
                    <a:off x="1274682" y="6099916"/>
                    <a:ext cx="5941204" cy="88310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Freeform 29"/>
                  <p:cNvSpPr>
                    <a:spLocks/>
                  </p:cNvSpPr>
                  <p:nvPr/>
                </p:nvSpPr>
                <p:spPr bwMode="auto">
                  <a:xfrm flipH="1">
                    <a:off x="2112864" y="6554861"/>
                    <a:ext cx="3340253"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3" name="AutoShape 3"/>
                  <p:cNvSpPr>
                    <a:spLocks noChangeAspect="1" noChangeArrowheads="1" noTextEdit="1"/>
                  </p:cNvSpPr>
                  <p:nvPr/>
                </p:nvSpPr>
                <p:spPr bwMode="auto">
                  <a:xfrm flipH="1">
                    <a:off x="1681200" y="5602741"/>
                    <a:ext cx="4298430"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54" name="Group 53"/>
                  <p:cNvGrpSpPr/>
                  <p:nvPr/>
                </p:nvGrpSpPr>
                <p:grpSpPr>
                  <a:xfrm flipH="1">
                    <a:off x="4362576" y="5966035"/>
                    <a:ext cx="188333" cy="365035"/>
                    <a:chOff x="6229350" y="5313360"/>
                    <a:chExt cx="539750" cy="1046165"/>
                  </a:xfrm>
                </p:grpSpPr>
                <p:sp>
                  <p:nvSpPr>
                    <p:cNvPr id="61" name="Freeform 14"/>
                    <p:cNvSpPr>
                      <a:spLocks/>
                    </p:cNvSpPr>
                    <p:nvPr/>
                  </p:nvSpPr>
                  <p:spPr bwMode="auto">
                    <a:xfrm>
                      <a:off x="6446840" y="5951537"/>
                      <a:ext cx="111124" cy="407988"/>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2" name="Freeform 15"/>
                    <p:cNvSpPr>
                      <a:spLocks/>
                    </p:cNvSpPr>
                    <p:nvPr/>
                  </p:nvSpPr>
                  <p:spPr bwMode="auto">
                    <a:xfrm>
                      <a:off x="6229350" y="5592762"/>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3" name="Freeform 16"/>
                    <p:cNvSpPr>
                      <a:spLocks/>
                    </p:cNvSpPr>
                    <p:nvPr/>
                  </p:nvSpPr>
                  <p:spPr bwMode="auto">
                    <a:xfrm>
                      <a:off x="6300789" y="5313360"/>
                      <a:ext cx="395287" cy="396874"/>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60" name="Freeform 16"/>
                  <p:cNvSpPr>
                    <a:spLocks/>
                  </p:cNvSpPr>
                  <p:nvPr/>
                </p:nvSpPr>
                <p:spPr bwMode="auto">
                  <a:xfrm flipH="1">
                    <a:off x="6509198" y="6266904"/>
                    <a:ext cx="137926" cy="138480"/>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56" name="Group 55"/>
                  <p:cNvGrpSpPr/>
                  <p:nvPr/>
                </p:nvGrpSpPr>
                <p:grpSpPr>
                  <a:xfrm flipH="1">
                    <a:off x="6259882" y="6201143"/>
                    <a:ext cx="188333" cy="286931"/>
                    <a:chOff x="6229350" y="5232400"/>
                    <a:chExt cx="539750" cy="822325"/>
                  </a:xfrm>
                </p:grpSpPr>
                <p:sp>
                  <p:nvSpPr>
                    <p:cNvPr id="5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grpSp>
        <p:grpSp>
          <p:nvGrpSpPr>
            <p:cNvPr id="10" name="Group 9"/>
            <p:cNvGrpSpPr/>
            <p:nvPr/>
          </p:nvGrpSpPr>
          <p:grpSpPr>
            <a:xfrm>
              <a:off x="-1" y="5946374"/>
              <a:ext cx="1738984" cy="1049475"/>
              <a:chOff x="65126" y="5946374"/>
              <a:chExt cx="2385592" cy="1049475"/>
            </a:xfrm>
          </p:grpSpPr>
          <p:sp>
            <p:nvSpPr>
              <p:cNvPr id="11" name="Rectangle 10"/>
              <p:cNvSpPr/>
              <p:nvPr/>
            </p:nvSpPr>
            <p:spPr bwMode="auto">
              <a:xfrm>
                <a:off x="1436308" y="6438791"/>
                <a:ext cx="1014410" cy="55705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p:cNvSpPr/>
              <p:nvPr/>
            </p:nvSpPr>
            <p:spPr bwMode="auto">
              <a:xfrm>
                <a:off x="708253" y="5946374"/>
                <a:ext cx="1011238" cy="1049475"/>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p:cNvGrpSpPr/>
              <p:nvPr/>
            </p:nvGrpSpPr>
            <p:grpSpPr>
              <a:xfrm>
                <a:off x="65126" y="5985566"/>
                <a:ext cx="1215988" cy="1008283"/>
                <a:chOff x="10096311" y="5303965"/>
                <a:chExt cx="1215988" cy="1672317"/>
              </a:xfrm>
            </p:grpSpPr>
            <p:sp>
              <p:nvSpPr>
                <p:cNvPr id="14" name="Rectangle 13"/>
                <p:cNvSpPr>
                  <a:spLocks noChangeArrowheads="1"/>
                </p:cNvSpPr>
                <p:nvPr/>
              </p:nvSpPr>
              <p:spPr bwMode="auto">
                <a:xfrm flipH="1">
                  <a:off x="10096311" y="5528711"/>
                  <a:ext cx="1155661" cy="1447571"/>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Rectangle 14"/>
                <p:cNvSpPr>
                  <a:spLocks noChangeArrowheads="1"/>
                </p:cNvSpPr>
                <p:nvPr/>
              </p:nvSpPr>
              <p:spPr bwMode="auto">
                <a:xfrm flipH="1">
                  <a:off x="10096312" y="5484938"/>
                  <a:ext cx="1215987" cy="75829"/>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 name="Rectangle 15"/>
                <p:cNvSpPr>
                  <a:spLocks noChangeArrowheads="1"/>
                </p:cNvSpPr>
                <p:nvPr/>
              </p:nvSpPr>
              <p:spPr bwMode="auto">
                <a:xfrm flipH="1">
                  <a:off x="10459811" y="6681007"/>
                  <a:ext cx="152400" cy="295275"/>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 name="Rectangle 16"/>
                <p:cNvSpPr>
                  <a:spLocks noChangeArrowheads="1"/>
                </p:cNvSpPr>
                <p:nvPr/>
              </p:nvSpPr>
              <p:spPr bwMode="auto">
                <a:xfrm flipH="1">
                  <a:off x="10724923" y="6681007"/>
                  <a:ext cx="152400" cy="295275"/>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 name="Rectangle 17"/>
                <p:cNvSpPr>
                  <a:spLocks noChangeArrowheads="1"/>
                </p:cNvSpPr>
                <p:nvPr/>
              </p:nvSpPr>
              <p:spPr bwMode="auto">
                <a:xfrm flipH="1">
                  <a:off x="10196285" y="5653895"/>
                  <a:ext cx="941388" cy="152400"/>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Rectangle 18"/>
                <p:cNvSpPr>
                  <a:spLocks noChangeArrowheads="1"/>
                </p:cNvSpPr>
                <p:nvPr/>
              </p:nvSpPr>
              <p:spPr bwMode="auto">
                <a:xfrm flipH="1">
                  <a:off x="10196285" y="5912657"/>
                  <a:ext cx="941388" cy="152400"/>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Rectangle 19"/>
                <p:cNvSpPr>
                  <a:spLocks noChangeArrowheads="1"/>
                </p:cNvSpPr>
                <p:nvPr/>
              </p:nvSpPr>
              <p:spPr bwMode="auto">
                <a:xfrm flipH="1">
                  <a:off x="10196285" y="6176182"/>
                  <a:ext cx="941388" cy="149225"/>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Rectangle 20"/>
                <p:cNvSpPr>
                  <a:spLocks noChangeArrowheads="1"/>
                </p:cNvSpPr>
                <p:nvPr/>
              </p:nvSpPr>
              <p:spPr bwMode="auto">
                <a:xfrm flipH="1">
                  <a:off x="10196285" y="6436532"/>
                  <a:ext cx="941388" cy="152400"/>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Rectangle 22"/>
                <p:cNvSpPr>
                  <a:spLocks noChangeArrowheads="1"/>
                </p:cNvSpPr>
                <p:nvPr/>
              </p:nvSpPr>
              <p:spPr bwMode="auto">
                <a:xfrm flipH="1">
                  <a:off x="10278836" y="5303965"/>
                  <a:ext cx="139700" cy="180975"/>
                </a:xfrm>
                <a:prstGeom prst="rect">
                  <a:avLst/>
                </a:prstGeom>
                <a:solidFill>
                  <a:schemeClr val="tx2">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Rectangle 23"/>
                <p:cNvSpPr>
                  <a:spLocks noChangeArrowheads="1"/>
                </p:cNvSpPr>
                <p:nvPr/>
              </p:nvSpPr>
              <p:spPr bwMode="auto">
                <a:xfrm flipH="1">
                  <a:off x="10466161" y="5303965"/>
                  <a:ext cx="139700" cy="180975"/>
                </a:xfrm>
                <a:prstGeom prst="rect">
                  <a:avLst/>
                </a:prstGeom>
                <a:solidFill>
                  <a:schemeClr val="tx2">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096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pPr>
              <a:defRPr/>
            </a:pPr>
            <a:r>
              <a:rPr lang="en-US">
                <a:solidFill>
                  <a:srgbClr val="FFFFFF"/>
                </a:solidFill>
              </a:rPr>
              <a:t>Microsoft confidential 2015</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39">
              <a:defRPr/>
            </a:pPr>
            <a:fld id="{27258FFF-F925-446B-8502-81C933981705}" type="slidenum">
              <a:rPr lang="en-US" smtClean="0">
                <a:solidFill>
                  <a:srgbClr val="FFFFFF"/>
                </a:solidFill>
              </a:rPr>
              <a:pPr defTabSz="932539">
                <a:defRPr/>
              </a:pPr>
              <a:t>‹#›</a:t>
            </a:fld>
            <a:endParaRPr lang="en-US" dirty="0">
              <a:solidFill>
                <a:srgbClr val="FFFFFF"/>
              </a:solidFill>
            </a:endParaRPr>
          </a:p>
        </p:txBody>
      </p:sp>
      <p:sp>
        <p:nvSpPr>
          <p:cNvPr id="8" name="Text Placeholder 7"/>
          <p:cNvSpPr>
            <a:spLocks noGrp="1"/>
          </p:cNvSpPr>
          <p:nvPr>
            <p:ph type="body" sz="quarter" idx="13" hasCustomPrompt="1"/>
          </p:nvPr>
        </p:nvSpPr>
        <p:spPr>
          <a:xfrm>
            <a:off x="603505" y="1545465"/>
            <a:ext cx="11226196" cy="4663068"/>
          </a:xfrm>
        </p:spPr>
        <p:txBody>
          <a:bodyPr lIns="0" tIns="0"/>
          <a:lstStyle>
            <a:lvl1pPr marL="233268" indent="-233268">
              <a:spcBef>
                <a:spcPts val="1198"/>
              </a:spcBef>
              <a:defRPr sz="2600">
                <a:latin typeface="+mn-lt"/>
              </a:defRPr>
            </a:lvl1pPr>
            <a:lvl2pPr marL="690281" indent="-233268">
              <a:spcBef>
                <a:spcPts val="1198"/>
              </a:spcBef>
              <a:buSzPct val="100000"/>
              <a:buFont typeface="Segoe UI" pitchFamily="34" charset="0"/>
              <a:buChar char="‐"/>
              <a:defRPr/>
            </a:lvl2pPr>
            <a:lvl3pPr marL="1147294" indent="-233268">
              <a:spcBef>
                <a:spcPts val="1198"/>
              </a:spcBef>
              <a:buFont typeface="Wingdings" pitchFamily="2" charset="2"/>
              <a:buChar char="§"/>
              <a:defRPr/>
            </a:lvl3pPr>
            <a:lvl4pPr marL="1599545" indent="-342760">
              <a:spcBef>
                <a:spcPts val="1198"/>
              </a:spcBef>
              <a:buFont typeface="+mj-lt"/>
              <a:buAutoNum type="arabicPeriod"/>
              <a:defRPr/>
            </a:lvl4pPr>
            <a:lvl5pPr marL="1945479" indent="-342760">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549769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1_36pt Title/26pt Bullet Text">
    <p:spTree>
      <p:nvGrpSpPr>
        <p:cNvPr id="1" name=""/>
        <p:cNvGrpSpPr/>
        <p:nvPr/>
      </p:nvGrpSpPr>
      <p:grpSpPr>
        <a:xfrm>
          <a:off x="0" y="0"/>
          <a:ext cx="0" cy="0"/>
          <a:chOff x="0" y="0"/>
          <a:chExt cx="0" cy="0"/>
        </a:xfrm>
      </p:grpSpPr>
      <p:grpSp>
        <p:nvGrpSpPr>
          <p:cNvPr id="165" name="Group 164"/>
          <p:cNvGrpSpPr/>
          <p:nvPr userDrawn="1"/>
        </p:nvGrpSpPr>
        <p:grpSpPr>
          <a:xfrm>
            <a:off x="-261333" y="3619500"/>
            <a:ext cx="12697807" cy="3394903"/>
            <a:chOff x="-261332" y="3619500"/>
            <a:chExt cx="12697806" cy="3394903"/>
          </a:xfrm>
        </p:grpSpPr>
        <p:grpSp>
          <p:nvGrpSpPr>
            <p:cNvPr id="10" name="Group 9"/>
            <p:cNvGrpSpPr/>
            <p:nvPr/>
          </p:nvGrpSpPr>
          <p:grpSpPr>
            <a:xfrm flipH="1">
              <a:off x="11463959" y="6440278"/>
              <a:ext cx="933646" cy="563453"/>
              <a:chOff x="65126" y="5946374"/>
              <a:chExt cx="2385598" cy="1049475"/>
            </a:xfrm>
          </p:grpSpPr>
          <p:sp>
            <p:nvSpPr>
              <p:cNvPr id="11" name="Rectangle 10"/>
              <p:cNvSpPr/>
              <p:nvPr/>
            </p:nvSpPr>
            <p:spPr bwMode="auto">
              <a:xfrm>
                <a:off x="1436315" y="6352563"/>
                <a:ext cx="1014409" cy="643286"/>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p:cNvSpPr/>
              <p:nvPr/>
            </p:nvSpPr>
            <p:spPr bwMode="auto">
              <a:xfrm>
                <a:off x="708253" y="5946374"/>
                <a:ext cx="1011238" cy="1049475"/>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p:cNvGrpSpPr/>
              <p:nvPr/>
            </p:nvGrpSpPr>
            <p:grpSpPr>
              <a:xfrm>
                <a:off x="65126" y="5985566"/>
                <a:ext cx="1215988" cy="1008283"/>
                <a:chOff x="10096311" y="5303965"/>
                <a:chExt cx="1215988" cy="1672317"/>
              </a:xfrm>
            </p:grpSpPr>
            <p:sp>
              <p:nvSpPr>
                <p:cNvPr id="14" name="Rectangle 13"/>
                <p:cNvSpPr>
                  <a:spLocks noChangeArrowheads="1"/>
                </p:cNvSpPr>
                <p:nvPr/>
              </p:nvSpPr>
              <p:spPr bwMode="auto">
                <a:xfrm flipH="1">
                  <a:off x="10096311" y="5528711"/>
                  <a:ext cx="1155661" cy="1447571"/>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Rectangle 14"/>
                <p:cNvSpPr>
                  <a:spLocks noChangeArrowheads="1"/>
                </p:cNvSpPr>
                <p:nvPr/>
              </p:nvSpPr>
              <p:spPr bwMode="auto">
                <a:xfrm flipH="1">
                  <a:off x="10096312" y="5484938"/>
                  <a:ext cx="1215987" cy="75829"/>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 name="Rectangle 15"/>
                <p:cNvSpPr>
                  <a:spLocks noChangeArrowheads="1"/>
                </p:cNvSpPr>
                <p:nvPr/>
              </p:nvSpPr>
              <p:spPr bwMode="auto">
                <a:xfrm flipH="1">
                  <a:off x="10459811" y="6681007"/>
                  <a:ext cx="152400" cy="295275"/>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 name="Rectangle 16"/>
                <p:cNvSpPr>
                  <a:spLocks noChangeArrowheads="1"/>
                </p:cNvSpPr>
                <p:nvPr/>
              </p:nvSpPr>
              <p:spPr bwMode="auto">
                <a:xfrm flipH="1">
                  <a:off x="10724923" y="6681007"/>
                  <a:ext cx="152400" cy="295275"/>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 name="Rectangle 17"/>
                <p:cNvSpPr>
                  <a:spLocks noChangeArrowheads="1"/>
                </p:cNvSpPr>
                <p:nvPr/>
              </p:nvSpPr>
              <p:spPr bwMode="auto">
                <a:xfrm flipH="1">
                  <a:off x="10196285" y="5653895"/>
                  <a:ext cx="941388" cy="152400"/>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Rectangle 18"/>
                <p:cNvSpPr>
                  <a:spLocks noChangeArrowheads="1"/>
                </p:cNvSpPr>
                <p:nvPr/>
              </p:nvSpPr>
              <p:spPr bwMode="auto">
                <a:xfrm flipH="1">
                  <a:off x="10196285" y="5912657"/>
                  <a:ext cx="941388" cy="152400"/>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Rectangle 19"/>
                <p:cNvSpPr>
                  <a:spLocks noChangeArrowheads="1"/>
                </p:cNvSpPr>
                <p:nvPr/>
              </p:nvSpPr>
              <p:spPr bwMode="auto">
                <a:xfrm flipH="1">
                  <a:off x="10196285" y="6176182"/>
                  <a:ext cx="941388" cy="149225"/>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Rectangle 20"/>
                <p:cNvSpPr>
                  <a:spLocks noChangeArrowheads="1"/>
                </p:cNvSpPr>
                <p:nvPr/>
              </p:nvSpPr>
              <p:spPr bwMode="auto">
                <a:xfrm flipH="1">
                  <a:off x="10196285" y="6436532"/>
                  <a:ext cx="941388" cy="152400"/>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Rectangle 22"/>
                <p:cNvSpPr>
                  <a:spLocks noChangeArrowheads="1"/>
                </p:cNvSpPr>
                <p:nvPr/>
              </p:nvSpPr>
              <p:spPr bwMode="auto">
                <a:xfrm flipH="1">
                  <a:off x="10278836" y="5303965"/>
                  <a:ext cx="139700" cy="180975"/>
                </a:xfrm>
                <a:prstGeom prst="rect">
                  <a:avLst/>
                </a:prstGeom>
                <a:solidFill>
                  <a:schemeClr val="tx2">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Rectangle 23"/>
                <p:cNvSpPr>
                  <a:spLocks noChangeArrowheads="1"/>
                </p:cNvSpPr>
                <p:nvPr/>
              </p:nvSpPr>
              <p:spPr bwMode="auto">
                <a:xfrm flipH="1">
                  <a:off x="10466161" y="5303965"/>
                  <a:ext cx="139700" cy="180975"/>
                </a:xfrm>
                <a:prstGeom prst="rect">
                  <a:avLst/>
                </a:prstGeom>
                <a:solidFill>
                  <a:schemeClr val="tx2">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67" name="Rectangle 34"/>
            <p:cNvSpPr>
              <a:spLocks noChangeArrowheads="1"/>
            </p:cNvSpPr>
            <p:nvPr/>
          </p:nvSpPr>
          <p:spPr bwMode="auto">
            <a:xfrm flipH="1">
              <a:off x="-1" y="6953678"/>
              <a:ext cx="12436475" cy="5033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51" name="Group 150"/>
            <p:cNvGrpSpPr/>
            <p:nvPr userDrawn="1"/>
          </p:nvGrpSpPr>
          <p:grpSpPr>
            <a:xfrm flipH="1">
              <a:off x="11349333" y="6661155"/>
              <a:ext cx="149108" cy="288466"/>
              <a:chOff x="6812419" y="6555317"/>
              <a:chExt cx="203193" cy="393100"/>
            </a:xfrm>
          </p:grpSpPr>
          <p:sp>
            <p:nvSpPr>
              <p:cNvPr id="152" name="Rectangle 151"/>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3" name="Oval 152"/>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4" name="Oval 153"/>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64" name="Group 163"/>
            <p:cNvGrpSpPr/>
            <p:nvPr userDrawn="1"/>
          </p:nvGrpSpPr>
          <p:grpSpPr>
            <a:xfrm>
              <a:off x="-261332" y="3619500"/>
              <a:ext cx="10682203" cy="3394903"/>
              <a:chOff x="-153857" y="5017054"/>
              <a:chExt cx="6284741" cy="1997349"/>
            </a:xfrm>
          </p:grpSpPr>
          <p:grpSp>
            <p:nvGrpSpPr>
              <p:cNvPr id="160" name="Group 159"/>
              <p:cNvGrpSpPr/>
              <p:nvPr userDrawn="1"/>
            </p:nvGrpSpPr>
            <p:grpSpPr>
              <a:xfrm>
                <a:off x="3625060" y="6245860"/>
                <a:ext cx="301751" cy="558147"/>
                <a:chOff x="2050888" y="6531159"/>
                <a:chExt cx="229412" cy="424342"/>
              </a:xfrm>
            </p:grpSpPr>
            <p:sp>
              <p:nvSpPr>
                <p:cNvPr id="161" name="Rectangle 10"/>
                <p:cNvSpPr>
                  <a:spLocks noChangeArrowheads="1"/>
                </p:cNvSpPr>
                <p:nvPr userDrawn="1"/>
              </p:nvSpPr>
              <p:spPr bwMode="auto">
                <a:xfrm flipH="1">
                  <a:off x="2050888" y="6571843"/>
                  <a:ext cx="229412" cy="383658"/>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2" name="Rectangle 10"/>
                <p:cNvSpPr>
                  <a:spLocks noChangeArrowheads="1"/>
                </p:cNvSpPr>
                <p:nvPr userDrawn="1"/>
              </p:nvSpPr>
              <p:spPr bwMode="auto">
                <a:xfrm flipH="1">
                  <a:off x="2079062" y="6531159"/>
                  <a:ext cx="114535" cy="6992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3" name="Rectangle 10"/>
                <p:cNvSpPr>
                  <a:spLocks noChangeArrowheads="1"/>
                </p:cNvSpPr>
                <p:nvPr userDrawn="1"/>
              </p:nvSpPr>
              <p:spPr bwMode="auto">
                <a:xfrm flipH="1">
                  <a:off x="2071643" y="6531159"/>
                  <a:ext cx="129373" cy="1067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9" name="Rectangle 9"/>
              <p:cNvSpPr>
                <a:spLocks noChangeArrowheads="1"/>
              </p:cNvSpPr>
              <p:nvPr userDrawn="1"/>
            </p:nvSpPr>
            <p:spPr bwMode="auto">
              <a:xfrm>
                <a:off x="2690629" y="6251954"/>
                <a:ext cx="292522" cy="3335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Rectangle 10"/>
              <p:cNvSpPr>
                <a:spLocks noChangeArrowheads="1"/>
              </p:cNvSpPr>
              <p:nvPr userDrawn="1"/>
            </p:nvSpPr>
            <p:spPr bwMode="auto">
              <a:xfrm>
                <a:off x="2809435" y="6094696"/>
                <a:ext cx="292522" cy="67915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46" name="Group 145"/>
              <p:cNvGrpSpPr/>
              <p:nvPr userDrawn="1"/>
            </p:nvGrpSpPr>
            <p:grpSpPr>
              <a:xfrm>
                <a:off x="3032589" y="6134182"/>
                <a:ext cx="634144" cy="668147"/>
                <a:chOff x="8352953" y="4659278"/>
                <a:chExt cx="634144" cy="668147"/>
              </a:xfrm>
            </p:grpSpPr>
            <p:sp>
              <p:nvSpPr>
                <p:cNvPr id="84" name="Freeform 20"/>
                <p:cNvSpPr>
                  <a:spLocks/>
                </p:cNvSpPr>
                <p:nvPr/>
              </p:nvSpPr>
              <p:spPr bwMode="auto">
                <a:xfrm>
                  <a:off x="8352953" y="4659278"/>
                  <a:ext cx="634144" cy="668147"/>
                </a:xfrm>
                <a:custGeom>
                  <a:avLst/>
                  <a:gdLst>
                    <a:gd name="T0" fmla="*/ 295 w 539"/>
                    <a:gd name="T1" fmla="*/ 77 h 711"/>
                    <a:gd name="T2" fmla="*/ 295 w 539"/>
                    <a:gd name="T3" fmla="*/ 0 h 711"/>
                    <a:gd name="T4" fmla="*/ 105 w 539"/>
                    <a:gd name="T5" fmla="*/ 0 h 711"/>
                    <a:gd name="T6" fmla="*/ 105 w 539"/>
                    <a:gd name="T7" fmla="*/ 77 h 711"/>
                    <a:gd name="T8" fmla="*/ 0 w 539"/>
                    <a:gd name="T9" fmla="*/ 77 h 711"/>
                    <a:gd name="T10" fmla="*/ 0 w 539"/>
                    <a:gd name="T11" fmla="*/ 95 h 711"/>
                    <a:gd name="T12" fmla="*/ 23 w 539"/>
                    <a:gd name="T13" fmla="*/ 95 h 711"/>
                    <a:gd name="T14" fmla="*/ 23 w 539"/>
                    <a:gd name="T15" fmla="*/ 711 h 711"/>
                    <a:gd name="T16" fmla="*/ 515 w 539"/>
                    <a:gd name="T17" fmla="*/ 711 h 711"/>
                    <a:gd name="T18" fmla="*/ 515 w 539"/>
                    <a:gd name="T19" fmla="*/ 95 h 711"/>
                    <a:gd name="T20" fmla="*/ 539 w 539"/>
                    <a:gd name="T21" fmla="*/ 95 h 711"/>
                    <a:gd name="T22" fmla="*/ 539 w 539"/>
                    <a:gd name="T23" fmla="*/ 77 h 711"/>
                    <a:gd name="T24" fmla="*/ 295 w 539"/>
                    <a:gd name="T25" fmla="*/ 77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9" h="711">
                      <a:moveTo>
                        <a:pt x="295" y="77"/>
                      </a:moveTo>
                      <a:lnTo>
                        <a:pt x="295" y="0"/>
                      </a:lnTo>
                      <a:lnTo>
                        <a:pt x="105" y="0"/>
                      </a:lnTo>
                      <a:lnTo>
                        <a:pt x="105" y="77"/>
                      </a:lnTo>
                      <a:lnTo>
                        <a:pt x="0" y="77"/>
                      </a:lnTo>
                      <a:lnTo>
                        <a:pt x="0" y="95"/>
                      </a:lnTo>
                      <a:lnTo>
                        <a:pt x="23" y="95"/>
                      </a:lnTo>
                      <a:lnTo>
                        <a:pt x="23" y="711"/>
                      </a:lnTo>
                      <a:lnTo>
                        <a:pt x="515" y="711"/>
                      </a:lnTo>
                      <a:lnTo>
                        <a:pt x="515" y="95"/>
                      </a:lnTo>
                      <a:lnTo>
                        <a:pt x="539" y="95"/>
                      </a:lnTo>
                      <a:lnTo>
                        <a:pt x="539" y="77"/>
                      </a:lnTo>
                      <a:lnTo>
                        <a:pt x="295" y="77"/>
                      </a:ln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3" name="Rectangle 21"/>
                <p:cNvSpPr>
                  <a:spLocks noChangeArrowheads="1"/>
                </p:cNvSpPr>
                <p:nvPr/>
              </p:nvSpPr>
              <p:spPr bwMode="auto">
                <a:xfrm>
                  <a:off x="8700027" y="5207084"/>
                  <a:ext cx="74121" cy="115837"/>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4" name="Rectangle 22"/>
                <p:cNvSpPr>
                  <a:spLocks noChangeArrowheads="1"/>
                </p:cNvSpPr>
                <p:nvPr/>
              </p:nvSpPr>
              <p:spPr bwMode="auto">
                <a:xfrm>
                  <a:off x="8569433" y="5207084"/>
                  <a:ext cx="74121" cy="115837"/>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5" name="Rectangle 23"/>
                <p:cNvSpPr>
                  <a:spLocks noChangeArrowheads="1"/>
                </p:cNvSpPr>
                <p:nvPr/>
              </p:nvSpPr>
              <p:spPr bwMode="auto">
                <a:xfrm>
                  <a:off x="8438839" y="4799209"/>
                  <a:ext cx="465902" cy="58382"/>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6" name="Rectangle 24"/>
                <p:cNvSpPr>
                  <a:spLocks noChangeArrowheads="1"/>
                </p:cNvSpPr>
                <p:nvPr/>
              </p:nvSpPr>
              <p:spPr bwMode="auto">
                <a:xfrm>
                  <a:off x="8438839" y="4902073"/>
                  <a:ext cx="465902" cy="59309"/>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7" name="Rectangle 25"/>
                <p:cNvSpPr>
                  <a:spLocks noChangeArrowheads="1"/>
                </p:cNvSpPr>
                <p:nvPr/>
              </p:nvSpPr>
              <p:spPr bwMode="auto">
                <a:xfrm>
                  <a:off x="8438839" y="5003082"/>
                  <a:ext cx="465902" cy="61162"/>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8" name="Rectangle 26"/>
                <p:cNvSpPr>
                  <a:spLocks noChangeArrowheads="1"/>
                </p:cNvSpPr>
                <p:nvPr/>
              </p:nvSpPr>
              <p:spPr bwMode="auto">
                <a:xfrm>
                  <a:off x="8438839" y="5106872"/>
                  <a:ext cx="465902" cy="58382"/>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76" name="Freeform 75"/>
              <p:cNvSpPr>
                <a:spLocks/>
              </p:cNvSpPr>
              <p:nvPr userDrawn="1"/>
            </p:nvSpPr>
            <p:spPr bwMode="auto">
              <a:xfrm>
                <a:off x="0" y="6288336"/>
                <a:ext cx="3558500" cy="706189"/>
              </a:xfrm>
              <a:custGeom>
                <a:avLst/>
                <a:gdLst>
                  <a:gd name="connsiteX0" fmla="*/ 416956 w 3558500"/>
                  <a:gd name="connsiteY0" fmla="*/ 37 h 706189"/>
                  <a:gd name="connsiteX1" fmla="*/ 1183187 w 3558500"/>
                  <a:gd name="connsiteY1" fmla="*/ 35130 h 706189"/>
                  <a:gd name="connsiteX2" fmla="*/ 3558500 w 3558500"/>
                  <a:gd name="connsiteY2" fmla="*/ 706189 h 706189"/>
                  <a:gd name="connsiteX3" fmla="*/ 255246 w 3558500"/>
                  <a:gd name="connsiteY3" fmla="*/ 706189 h 706189"/>
                  <a:gd name="connsiteX4" fmla="*/ 0 w 3558500"/>
                  <a:gd name="connsiteY4" fmla="*/ 706189 h 706189"/>
                  <a:gd name="connsiteX5" fmla="*/ 0 w 3558500"/>
                  <a:gd name="connsiteY5" fmla="*/ 13292 h 706189"/>
                  <a:gd name="connsiteX6" fmla="*/ 160858 w 3558500"/>
                  <a:gd name="connsiteY6" fmla="*/ 4965 h 706189"/>
                  <a:gd name="connsiteX7" fmla="*/ 416956 w 3558500"/>
                  <a:gd name="connsiteY7" fmla="*/ 37 h 706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8500" h="706189">
                    <a:moveTo>
                      <a:pt x="416956" y="37"/>
                    </a:moveTo>
                    <a:cubicBezTo>
                      <a:pt x="673233" y="-742"/>
                      <a:pt x="929695" y="10933"/>
                      <a:pt x="1183187" y="35130"/>
                    </a:cubicBezTo>
                    <a:cubicBezTo>
                      <a:pt x="2056326" y="112560"/>
                      <a:pt x="2882522" y="339688"/>
                      <a:pt x="3558500" y="706189"/>
                    </a:cubicBezTo>
                    <a:cubicBezTo>
                      <a:pt x="3558500" y="706189"/>
                      <a:pt x="3558500" y="706189"/>
                      <a:pt x="255246" y="706189"/>
                    </a:cubicBezTo>
                    <a:lnTo>
                      <a:pt x="0" y="706189"/>
                    </a:lnTo>
                    <a:lnTo>
                      <a:pt x="0" y="13292"/>
                    </a:lnTo>
                    <a:lnTo>
                      <a:pt x="160858" y="4965"/>
                    </a:lnTo>
                    <a:cubicBezTo>
                      <a:pt x="246125" y="1940"/>
                      <a:pt x="331530" y="297"/>
                      <a:pt x="416956" y="3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Freeform 24"/>
              <p:cNvSpPr>
                <a:spLocks/>
              </p:cNvSpPr>
              <p:nvPr/>
            </p:nvSpPr>
            <p:spPr bwMode="auto">
              <a:xfrm flipH="1">
                <a:off x="107798" y="5017054"/>
                <a:ext cx="494984" cy="326987"/>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accent1">
                  <a:alpha val="6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nvGrpSpPr>
              <p:cNvPr id="82" name="Group 81"/>
              <p:cNvGrpSpPr/>
              <p:nvPr userDrawn="1"/>
            </p:nvGrpSpPr>
            <p:grpSpPr>
              <a:xfrm>
                <a:off x="947148" y="5959136"/>
                <a:ext cx="195150" cy="362340"/>
                <a:chOff x="2947734" y="4893996"/>
                <a:chExt cx="261655" cy="485821"/>
              </a:xfrm>
            </p:grpSpPr>
            <p:sp>
              <p:nvSpPr>
                <p:cNvPr id="33"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9" name="Group 28"/>
              <p:cNvGrpSpPr/>
              <p:nvPr userDrawn="1"/>
            </p:nvGrpSpPr>
            <p:grpSpPr>
              <a:xfrm>
                <a:off x="-153857" y="5595521"/>
                <a:ext cx="496125" cy="708276"/>
                <a:chOff x="954870" y="5739976"/>
                <a:chExt cx="496125" cy="708276"/>
              </a:xfrm>
            </p:grpSpPr>
            <p:sp>
              <p:nvSpPr>
                <p:cNvPr id="26" name="Rectangle 5"/>
                <p:cNvSpPr>
                  <a:spLocks noChangeArrowheads="1"/>
                </p:cNvSpPr>
                <p:nvPr/>
              </p:nvSpPr>
              <p:spPr bwMode="auto">
                <a:xfrm flipH="1">
                  <a:off x="1107507" y="5871233"/>
                  <a:ext cx="343487" cy="577019"/>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Rectangle 6"/>
                <p:cNvSpPr>
                  <a:spLocks noChangeArrowheads="1"/>
                </p:cNvSpPr>
                <p:nvPr/>
              </p:nvSpPr>
              <p:spPr bwMode="auto">
                <a:xfrm flipH="1">
                  <a:off x="954870" y="5871233"/>
                  <a:ext cx="496125" cy="577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Rectangle 7"/>
                <p:cNvSpPr>
                  <a:spLocks noChangeArrowheads="1"/>
                </p:cNvSpPr>
                <p:nvPr/>
              </p:nvSpPr>
              <p:spPr bwMode="auto">
                <a:xfrm flipH="1">
                  <a:off x="1107507" y="5790263"/>
                  <a:ext cx="269579" cy="403999"/>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Rectangle 144"/>
                <p:cNvSpPr>
                  <a:spLocks noChangeArrowheads="1"/>
                </p:cNvSpPr>
                <p:nvPr/>
              </p:nvSpPr>
              <p:spPr bwMode="auto">
                <a:xfrm flipH="1">
                  <a:off x="1216525" y="5739976"/>
                  <a:ext cx="50122" cy="7244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Rectangle 145"/>
                <p:cNvSpPr>
                  <a:spLocks noChangeArrowheads="1"/>
                </p:cNvSpPr>
                <p:nvPr/>
              </p:nvSpPr>
              <p:spPr bwMode="auto">
                <a:xfrm flipH="1">
                  <a:off x="1106724" y="5775773"/>
                  <a:ext cx="100244" cy="36650"/>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78" name="Group 77"/>
              <p:cNvGrpSpPr/>
              <p:nvPr userDrawn="1"/>
            </p:nvGrpSpPr>
            <p:grpSpPr>
              <a:xfrm flipH="1">
                <a:off x="303870" y="6283180"/>
                <a:ext cx="938882" cy="658865"/>
                <a:chOff x="6598653" y="5847872"/>
                <a:chExt cx="3274010" cy="2325628"/>
              </a:xfrm>
            </p:grpSpPr>
            <p:sp>
              <p:nvSpPr>
                <p:cNvPr id="80" name="Freeform 159"/>
                <p:cNvSpPr>
                  <a:spLocks/>
                </p:cNvSpPr>
                <p:nvPr/>
              </p:nvSpPr>
              <p:spPr bwMode="auto">
                <a:xfrm>
                  <a:off x="6735276" y="5891881"/>
                  <a:ext cx="3137387" cy="2281619"/>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 name="connsiteX0" fmla="*/ 19267 w 19267"/>
                    <a:gd name="connsiteY0" fmla="*/ 357 h 10152"/>
                    <a:gd name="connsiteX1" fmla="*/ 13 w 19267"/>
                    <a:gd name="connsiteY1" fmla="*/ 0 h 10152"/>
                    <a:gd name="connsiteX2" fmla="*/ 10550 w 19267"/>
                    <a:gd name="connsiteY2" fmla="*/ 10152 h 10152"/>
                    <a:gd name="connsiteX3" fmla="*/ 12850 w 19267"/>
                    <a:gd name="connsiteY3" fmla="*/ 10152 h 10152"/>
                    <a:gd name="connsiteX4" fmla="*/ 19267 w 19267"/>
                    <a:gd name="connsiteY4" fmla="*/ 357 h 10152"/>
                    <a:gd name="connsiteX0" fmla="*/ 41828 w 41828"/>
                    <a:gd name="connsiteY0" fmla="*/ 357 h 14488"/>
                    <a:gd name="connsiteX1" fmla="*/ 22574 w 41828"/>
                    <a:gd name="connsiteY1" fmla="*/ 0 h 14488"/>
                    <a:gd name="connsiteX2" fmla="*/ 50 w 41828"/>
                    <a:gd name="connsiteY2" fmla="*/ 14488 h 14488"/>
                    <a:gd name="connsiteX3" fmla="*/ 35411 w 41828"/>
                    <a:gd name="connsiteY3" fmla="*/ 10152 h 14488"/>
                    <a:gd name="connsiteX4" fmla="*/ 41828 w 41828"/>
                    <a:gd name="connsiteY4" fmla="*/ 357 h 14488"/>
                    <a:gd name="connsiteX0" fmla="*/ 41828 w 41828"/>
                    <a:gd name="connsiteY0" fmla="*/ 357 h 20346"/>
                    <a:gd name="connsiteX1" fmla="*/ 22574 w 41828"/>
                    <a:gd name="connsiteY1" fmla="*/ 0 h 20346"/>
                    <a:gd name="connsiteX2" fmla="*/ 50 w 41828"/>
                    <a:gd name="connsiteY2" fmla="*/ 14488 h 20346"/>
                    <a:gd name="connsiteX3" fmla="*/ 27028 w 41828"/>
                    <a:gd name="connsiteY3" fmla="*/ 20346 h 20346"/>
                    <a:gd name="connsiteX4" fmla="*/ 41828 w 41828"/>
                    <a:gd name="connsiteY4" fmla="*/ 357 h 20346"/>
                    <a:gd name="connsiteX0" fmla="*/ 41828 w 41828"/>
                    <a:gd name="connsiteY0" fmla="*/ 357 h 20650"/>
                    <a:gd name="connsiteX1" fmla="*/ 22574 w 41828"/>
                    <a:gd name="connsiteY1" fmla="*/ 0 h 20650"/>
                    <a:gd name="connsiteX2" fmla="*/ 50 w 41828"/>
                    <a:gd name="connsiteY2" fmla="*/ 14488 h 20650"/>
                    <a:gd name="connsiteX3" fmla="*/ 28327 w 41828"/>
                    <a:gd name="connsiteY3" fmla="*/ 20650 h 20650"/>
                    <a:gd name="connsiteX4" fmla="*/ 41828 w 41828"/>
                    <a:gd name="connsiteY4" fmla="*/ 357 h 20650"/>
                    <a:gd name="connsiteX0" fmla="*/ 41828 w 41828"/>
                    <a:gd name="connsiteY0" fmla="*/ 357 h 20650"/>
                    <a:gd name="connsiteX1" fmla="*/ 22574 w 41828"/>
                    <a:gd name="connsiteY1" fmla="*/ 0 h 20650"/>
                    <a:gd name="connsiteX2" fmla="*/ 50 w 41828"/>
                    <a:gd name="connsiteY2" fmla="*/ 14488 h 20650"/>
                    <a:gd name="connsiteX3" fmla="*/ 28327 w 41828"/>
                    <a:gd name="connsiteY3" fmla="*/ 20650 h 20650"/>
                    <a:gd name="connsiteX4" fmla="*/ 41828 w 41828"/>
                    <a:gd name="connsiteY4" fmla="*/ 357 h 20650"/>
                    <a:gd name="connsiteX0" fmla="*/ 41838 w 41838"/>
                    <a:gd name="connsiteY0" fmla="*/ 357 h 20650"/>
                    <a:gd name="connsiteX1" fmla="*/ 22584 w 41838"/>
                    <a:gd name="connsiteY1" fmla="*/ 0 h 20650"/>
                    <a:gd name="connsiteX2" fmla="*/ 60 w 41838"/>
                    <a:gd name="connsiteY2" fmla="*/ 14488 h 20650"/>
                    <a:gd name="connsiteX3" fmla="*/ 28337 w 41838"/>
                    <a:gd name="connsiteY3" fmla="*/ 20650 h 20650"/>
                    <a:gd name="connsiteX4" fmla="*/ 41838 w 41838"/>
                    <a:gd name="connsiteY4" fmla="*/ 357 h 20650"/>
                    <a:gd name="connsiteX0" fmla="*/ 41778 w 41778"/>
                    <a:gd name="connsiteY0" fmla="*/ 357 h 20650"/>
                    <a:gd name="connsiteX1" fmla="*/ 22524 w 41778"/>
                    <a:gd name="connsiteY1" fmla="*/ 0 h 20650"/>
                    <a:gd name="connsiteX2" fmla="*/ 0 w 41778"/>
                    <a:gd name="connsiteY2" fmla="*/ 14488 h 20650"/>
                    <a:gd name="connsiteX3" fmla="*/ 28277 w 41778"/>
                    <a:gd name="connsiteY3" fmla="*/ 20650 h 20650"/>
                    <a:gd name="connsiteX4" fmla="*/ 41778 w 41778"/>
                    <a:gd name="connsiteY4" fmla="*/ 357 h 20650"/>
                    <a:gd name="connsiteX0" fmla="*/ 44612 w 44612"/>
                    <a:gd name="connsiteY0" fmla="*/ 357 h 20650"/>
                    <a:gd name="connsiteX1" fmla="*/ 25358 w 44612"/>
                    <a:gd name="connsiteY1" fmla="*/ 0 h 20650"/>
                    <a:gd name="connsiteX2" fmla="*/ 0 w 44612"/>
                    <a:gd name="connsiteY2" fmla="*/ 14792 h 20650"/>
                    <a:gd name="connsiteX3" fmla="*/ 31111 w 44612"/>
                    <a:gd name="connsiteY3" fmla="*/ 20650 h 20650"/>
                    <a:gd name="connsiteX4" fmla="*/ 44612 w 44612"/>
                    <a:gd name="connsiteY4" fmla="*/ 357 h 20650"/>
                    <a:gd name="connsiteX0" fmla="*/ 44612 w 44612"/>
                    <a:gd name="connsiteY0" fmla="*/ 357 h 20650"/>
                    <a:gd name="connsiteX1" fmla="*/ 25358 w 44612"/>
                    <a:gd name="connsiteY1" fmla="*/ 0 h 20650"/>
                    <a:gd name="connsiteX2" fmla="*/ 0 w 44612"/>
                    <a:gd name="connsiteY2" fmla="*/ 14792 h 20650"/>
                    <a:gd name="connsiteX3" fmla="*/ 31111 w 44612"/>
                    <a:gd name="connsiteY3" fmla="*/ 20650 h 20650"/>
                    <a:gd name="connsiteX4" fmla="*/ 44612 w 44612"/>
                    <a:gd name="connsiteY4" fmla="*/ 357 h 2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12" h="20650">
                      <a:moveTo>
                        <a:pt x="44612" y="357"/>
                      </a:moveTo>
                      <a:cubicBezTo>
                        <a:pt x="44291" y="289"/>
                        <a:pt x="25733" y="68"/>
                        <a:pt x="25358" y="0"/>
                      </a:cubicBezTo>
                      <a:cubicBezTo>
                        <a:pt x="20916" y="543"/>
                        <a:pt x="6982" y="6289"/>
                        <a:pt x="0" y="14792"/>
                      </a:cubicBezTo>
                      <a:lnTo>
                        <a:pt x="31111" y="20650"/>
                      </a:lnTo>
                      <a:cubicBezTo>
                        <a:pt x="30227" y="9272"/>
                        <a:pt x="44612" y="357"/>
                        <a:pt x="44612" y="357"/>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81" name="Freeform 160"/>
                <p:cNvSpPr>
                  <a:spLocks/>
                </p:cNvSpPr>
                <p:nvPr/>
              </p:nvSpPr>
              <p:spPr bwMode="auto">
                <a:xfrm>
                  <a:off x="6598653" y="5847872"/>
                  <a:ext cx="3203214" cy="2275283"/>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12 w 10012"/>
                    <a:gd name="connsiteY0" fmla="*/ 1120 h 10000"/>
                    <a:gd name="connsiteX1" fmla="*/ 6749 w 10012"/>
                    <a:gd name="connsiteY1" fmla="*/ 0 h 10000"/>
                    <a:gd name="connsiteX2" fmla="*/ 0 w 10012"/>
                    <a:gd name="connsiteY2" fmla="*/ 10000 h 10000"/>
                    <a:gd name="connsiteX3" fmla="*/ 7915 w 10012"/>
                    <a:gd name="connsiteY3" fmla="*/ 10000 h 10000"/>
                    <a:gd name="connsiteX4" fmla="*/ 10012 w 10012"/>
                    <a:gd name="connsiteY4" fmla="*/ 1120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 name="connsiteX0" fmla="*/ 14375 w 14375"/>
                    <a:gd name="connsiteY0" fmla="*/ 1158 h 19005"/>
                    <a:gd name="connsiteX1" fmla="*/ 11103 w 14375"/>
                    <a:gd name="connsiteY1" fmla="*/ 0 h 19005"/>
                    <a:gd name="connsiteX2" fmla="*/ 0 w 14375"/>
                    <a:gd name="connsiteY2" fmla="*/ 19005 h 19005"/>
                    <a:gd name="connsiteX3" fmla="*/ 12269 w 14375"/>
                    <a:gd name="connsiteY3" fmla="*/ 10000 h 19005"/>
                    <a:gd name="connsiteX4" fmla="*/ 14375 w 14375"/>
                    <a:gd name="connsiteY4" fmla="*/ 1158 h 19005"/>
                    <a:gd name="connsiteX0" fmla="*/ 14375 w 14375"/>
                    <a:gd name="connsiteY0" fmla="*/ 1158 h 19005"/>
                    <a:gd name="connsiteX1" fmla="*/ 11103 w 14375"/>
                    <a:gd name="connsiteY1" fmla="*/ 0 h 19005"/>
                    <a:gd name="connsiteX2" fmla="*/ 0 w 14375"/>
                    <a:gd name="connsiteY2" fmla="*/ 19005 h 19005"/>
                    <a:gd name="connsiteX3" fmla="*/ 10302 w 14375"/>
                    <a:gd name="connsiteY3" fmla="*/ 19005 h 19005"/>
                    <a:gd name="connsiteX4" fmla="*/ 14375 w 14375"/>
                    <a:gd name="connsiteY4" fmla="*/ 1158 h 19005"/>
                    <a:gd name="connsiteX0" fmla="*/ 14375 w 14375"/>
                    <a:gd name="connsiteY0" fmla="*/ 243 h 18090"/>
                    <a:gd name="connsiteX1" fmla="*/ 10103 w 14375"/>
                    <a:gd name="connsiteY1" fmla="*/ 168 h 18090"/>
                    <a:gd name="connsiteX2" fmla="*/ 0 w 14375"/>
                    <a:gd name="connsiteY2" fmla="*/ 18090 h 18090"/>
                    <a:gd name="connsiteX3" fmla="*/ 10302 w 14375"/>
                    <a:gd name="connsiteY3" fmla="*/ 18090 h 18090"/>
                    <a:gd name="connsiteX4" fmla="*/ 14375 w 14375"/>
                    <a:gd name="connsiteY4" fmla="*/ 243 h 18090"/>
                    <a:gd name="connsiteX0" fmla="*/ 14375 w 14375"/>
                    <a:gd name="connsiteY0" fmla="*/ 243 h 18090"/>
                    <a:gd name="connsiteX1" fmla="*/ 10103 w 14375"/>
                    <a:gd name="connsiteY1" fmla="*/ 168 h 18090"/>
                    <a:gd name="connsiteX2" fmla="*/ 0 w 14375"/>
                    <a:gd name="connsiteY2" fmla="*/ 18090 h 18090"/>
                    <a:gd name="connsiteX3" fmla="*/ 10302 w 14375"/>
                    <a:gd name="connsiteY3" fmla="*/ 18090 h 18090"/>
                    <a:gd name="connsiteX4" fmla="*/ 14375 w 14375"/>
                    <a:gd name="connsiteY4" fmla="*/ 243 h 18090"/>
                    <a:gd name="connsiteX0" fmla="*/ 12279 w 12279"/>
                    <a:gd name="connsiteY0" fmla="*/ 243 h 18090"/>
                    <a:gd name="connsiteX1" fmla="*/ 8007 w 12279"/>
                    <a:gd name="connsiteY1" fmla="*/ 168 h 18090"/>
                    <a:gd name="connsiteX2" fmla="*/ 0 w 12279"/>
                    <a:gd name="connsiteY2" fmla="*/ 17684 h 18090"/>
                    <a:gd name="connsiteX3" fmla="*/ 8206 w 12279"/>
                    <a:gd name="connsiteY3" fmla="*/ 18090 h 18090"/>
                    <a:gd name="connsiteX4" fmla="*/ 12279 w 12279"/>
                    <a:gd name="connsiteY4" fmla="*/ 243 h 18090"/>
                    <a:gd name="connsiteX0" fmla="*/ 12279 w 12279"/>
                    <a:gd name="connsiteY0" fmla="*/ 243 h 18090"/>
                    <a:gd name="connsiteX1" fmla="*/ 8007 w 12279"/>
                    <a:gd name="connsiteY1" fmla="*/ 168 h 18090"/>
                    <a:gd name="connsiteX2" fmla="*/ 0 w 12279"/>
                    <a:gd name="connsiteY2" fmla="*/ 17684 h 18090"/>
                    <a:gd name="connsiteX3" fmla="*/ 8206 w 12279"/>
                    <a:gd name="connsiteY3" fmla="*/ 18090 h 18090"/>
                    <a:gd name="connsiteX4" fmla="*/ 12279 w 12279"/>
                    <a:gd name="connsiteY4" fmla="*/ 243 h 18090"/>
                    <a:gd name="connsiteX0" fmla="*/ 11150 w 11150"/>
                    <a:gd name="connsiteY0" fmla="*/ 243 h 18090"/>
                    <a:gd name="connsiteX1" fmla="*/ 6878 w 11150"/>
                    <a:gd name="connsiteY1" fmla="*/ 168 h 18090"/>
                    <a:gd name="connsiteX2" fmla="*/ 0 w 11150"/>
                    <a:gd name="connsiteY2" fmla="*/ 17684 h 18090"/>
                    <a:gd name="connsiteX3" fmla="*/ 7077 w 11150"/>
                    <a:gd name="connsiteY3" fmla="*/ 18090 h 18090"/>
                    <a:gd name="connsiteX4" fmla="*/ 11150 w 11150"/>
                    <a:gd name="connsiteY4" fmla="*/ 243 h 18090"/>
                    <a:gd name="connsiteX0" fmla="*/ 11150 w 11150"/>
                    <a:gd name="connsiteY0" fmla="*/ 243 h 18090"/>
                    <a:gd name="connsiteX1" fmla="*/ 6878 w 11150"/>
                    <a:gd name="connsiteY1" fmla="*/ 168 h 18090"/>
                    <a:gd name="connsiteX2" fmla="*/ 0 w 11150"/>
                    <a:gd name="connsiteY2" fmla="*/ 17684 h 18090"/>
                    <a:gd name="connsiteX3" fmla="*/ 7077 w 11150"/>
                    <a:gd name="connsiteY3" fmla="*/ 18090 h 18090"/>
                    <a:gd name="connsiteX4" fmla="*/ 11150 w 11150"/>
                    <a:gd name="connsiteY4" fmla="*/ 243 h 18090"/>
                    <a:gd name="connsiteX0" fmla="*/ 11150 w 11150"/>
                    <a:gd name="connsiteY0" fmla="*/ 243 h 18158"/>
                    <a:gd name="connsiteX1" fmla="*/ 6878 w 11150"/>
                    <a:gd name="connsiteY1" fmla="*/ 168 h 18158"/>
                    <a:gd name="connsiteX2" fmla="*/ 0 w 11150"/>
                    <a:gd name="connsiteY2" fmla="*/ 17684 h 18158"/>
                    <a:gd name="connsiteX3" fmla="*/ 6464 w 11150"/>
                    <a:gd name="connsiteY3" fmla="*/ 18158 h 18158"/>
                    <a:gd name="connsiteX4" fmla="*/ 11150 w 11150"/>
                    <a:gd name="connsiteY4" fmla="*/ 243 h 18158"/>
                    <a:gd name="connsiteX0" fmla="*/ 11150 w 11150"/>
                    <a:gd name="connsiteY0" fmla="*/ 243 h 18090"/>
                    <a:gd name="connsiteX1" fmla="*/ 6878 w 11150"/>
                    <a:gd name="connsiteY1" fmla="*/ 168 h 18090"/>
                    <a:gd name="connsiteX2" fmla="*/ 0 w 11150"/>
                    <a:gd name="connsiteY2" fmla="*/ 17684 h 18090"/>
                    <a:gd name="connsiteX3" fmla="*/ 6754 w 11150"/>
                    <a:gd name="connsiteY3" fmla="*/ 18090 h 18090"/>
                    <a:gd name="connsiteX4" fmla="*/ 11150 w 11150"/>
                    <a:gd name="connsiteY4" fmla="*/ 243 h 18090"/>
                    <a:gd name="connsiteX0" fmla="*/ 11150 w 11150"/>
                    <a:gd name="connsiteY0" fmla="*/ 481 h 18328"/>
                    <a:gd name="connsiteX1" fmla="*/ 7104 w 11150"/>
                    <a:gd name="connsiteY1" fmla="*/ 0 h 18328"/>
                    <a:gd name="connsiteX2" fmla="*/ 0 w 11150"/>
                    <a:gd name="connsiteY2" fmla="*/ 17922 h 18328"/>
                    <a:gd name="connsiteX3" fmla="*/ 6754 w 11150"/>
                    <a:gd name="connsiteY3" fmla="*/ 18328 h 18328"/>
                    <a:gd name="connsiteX4" fmla="*/ 11150 w 11150"/>
                    <a:gd name="connsiteY4" fmla="*/ 481 h 18328"/>
                    <a:gd name="connsiteX0" fmla="*/ 11150 w 11150"/>
                    <a:gd name="connsiteY0" fmla="*/ 481 h 18328"/>
                    <a:gd name="connsiteX1" fmla="*/ 7104 w 11150"/>
                    <a:gd name="connsiteY1" fmla="*/ 0 h 18328"/>
                    <a:gd name="connsiteX2" fmla="*/ 0 w 11150"/>
                    <a:gd name="connsiteY2" fmla="*/ 17922 h 18328"/>
                    <a:gd name="connsiteX3" fmla="*/ 6754 w 11150"/>
                    <a:gd name="connsiteY3" fmla="*/ 18328 h 18328"/>
                    <a:gd name="connsiteX4" fmla="*/ 11150 w 11150"/>
                    <a:gd name="connsiteY4" fmla="*/ 481 h 18328"/>
                    <a:gd name="connsiteX0" fmla="*/ 11150 w 11150"/>
                    <a:gd name="connsiteY0" fmla="*/ 481 h 18328"/>
                    <a:gd name="connsiteX1" fmla="*/ 7104 w 11150"/>
                    <a:gd name="connsiteY1" fmla="*/ 0 h 18328"/>
                    <a:gd name="connsiteX2" fmla="*/ 0 w 11150"/>
                    <a:gd name="connsiteY2" fmla="*/ 17922 h 18328"/>
                    <a:gd name="connsiteX3" fmla="*/ 6754 w 11150"/>
                    <a:gd name="connsiteY3" fmla="*/ 18328 h 18328"/>
                    <a:gd name="connsiteX4" fmla="*/ 11150 w 11150"/>
                    <a:gd name="connsiteY4" fmla="*/ 481 h 18328"/>
                    <a:gd name="connsiteX0" fmla="*/ 11150 w 11150"/>
                    <a:gd name="connsiteY0" fmla="*/ 481 h 18328"/>
                    <a:gd name="connsiteX1" fmla="*/ 7104 w 11150"/>
                    <a:gd name="connsiteY1" fmla="*/ 0 h 18328"/>
                    <a:gd name="connsiteX2" fmla="*/ 0 w 11150"/>
                    <a:gd name="connsiteY2" fmla="*/ 17922 h 18328"/>
                    <a:gd name="connsiteX3" fmla="*/ 6754 w 11150"/>
                    <a:gd name="connsiteY3" fmla="*/ 18328 h 18328"/>
                    <a:gd name="connsiteX4" fmla="*/ 11150 w 11150"/>
                    <a:gd name="connsiteY4" fmla="*/ 481 h 18328"/>
                    <a:gd name="connsiteX0" fmla="*/ 12440 w 12440"/>
                    <a:gd name="connsiteY0" fmla="*/ 481 h 18328"/>
                    <a:gd name="connsiteX1" fmla="*/ 8394 w 12440"/>
                    <a:gd name="connsiteY1" fmla="*/ 0 h 18328"/>
                    <a:gd name="connsiteX2" fmla="*/ 0 w 12440"/>
                    <a:gd name="connsiteY2" fmla="*/ 17922 h 18328"/>
                    <a:gd name="connsiteX3" fmla="*/ 8044 w 12440"/>
                    <a:gd name="connsiteY3" fmla="*/ 18328 h 18328"/>
                    <a:gd name="connsiteX4" fmla="*/ 12440 w 12440"/>
                    <a:gd name="connsiteY4" fmla="*/ 481 h 18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0" h="18328">
                      <a:moveTo>
                        <a:pt x="12440" y="481"/>
                      </a:moveTo>
                      <a:cubicBezTo>
                        <a:pt x="11279" y="513"/>
                        <a:pt x="9520" y="964"/>
                        <a:pt x="8394" y="0"/>
                      </a:cubicBezTo>
                      <a:cubicBezTo>
                        <a:pt x="3982" y="3332"/>
                        <a:pt x="0" y="17922"/>
                        <a:pt x="0" y="17922"/>
                      </a:cubicBezTo>
                      <a:lnTo>
                        <a:pt x="8044" y="18328"/>
                      </a:lnTo>
                      <a:cubicBezTo>
                        <a:pt x="7751" y="13369"/>
                        <a:pt x="10549" y="1913"/>
                        <a:pt x="12440" y="48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pSp>
          <p:grpSp>
            <p:nvGrpSpPr>
              <p:cNvPr id="59" name="Group 58"/>
              <p:cNvGrpSpPr/>
              <p:nvPr userDrawn="1"/>
            </p:nvGrpSpPr>
            <p:grpSpPr>
              <a:xfrm>
                <a:off x="2018110" y="5942385"/>
                <a:ext cx="248468" cy="503062"/>
                <a:chOff x="2018110" y="5757554"/>
                <a:chExt cx="353354" cy="715420"/>
              </a:xfrm>
            </p:grpSpPr>
            <p:sp>
              <p:nvSpPr>
                <p:cNvPr id="39" name="Freeform 154"/>
                <p:cNvSpPr>
                  <a:spLocks/>
                </p:cNvSpPr>
                <p:nvPr/>
              </p:nvSpPr>
              <p:spPr bwMode="auto">
                <a:xfrm flipH="1">
                  <a:off x="2150618" y="5757554"/>
                  <a:ext cx="220846" cy="662153"/>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40" name="Freeform 155"/>
                <p:cNvSpPr>
                  <a:spLocks/>
                </p:cNvSpPr>
                <p:nvPr/>
              </p:nvSpPr>
              <p:spPr bwMode="auto">
                <a:xfrm flipH="1">
                  <a:off x="2018110" y="5965067"/>
                  <a:ext cx="170731" cy="507907"/>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pSp>
          <p:sp>
            <p:nvSpPr>
              <p:cNvPr id="41" name="Freeform 157"/>
              <p:cNvSpPr>
                <a:spLocks/>
              </p:cNvSpPr>
              <p:nvPr/>
            </p:nvSpPr>
            <p:spPr bwMode="auto">
              <a:xfrm flipH="1">
                <a:off x="176238" y="6333907"/>
                <a:ext cx="3204814" cy="669823"/>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42" name="Group 41"/>
              <p:cNvGrpSpPr/>
              <p:nvPr/>
            </p:nvGrpSpPr>
            <p:grpSpPr>
              <a:xfrm flipH="1">
                <a:off x="1484017" y="6331216"/>
                <a:ext cx="1672203" cy="663309"/>
                <a:chOff x="6823075" y="5758734"/>
                <a:chExt cx="3125263" cy="1254841"/>
              </a:xfrm>
            </p:grpSpPr>
            <p:sp>
              <p:nvSpPr>
                <p:cNvPr id="70" name="Freeform 158"/>
                <p:cNvSpPr>
                  <a:spLocks/>
                </p:cNvSpPr>
                <p:nvPr/>
              </p:nvSpPr>
              <p:spPr bwMode="auto">
                <a:xfrm>
                  <a:off x="6823075" y="5768975"/>
                  <a:ext cx="2136775" cy="1244600"/>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71" name="Freeform 159"/>
                <p:cNvSpPr>
                  <a:spLocks/>
                </p:cNvSpPr>
                <p:nvPr/>
              </p:nvSpPr>
              <p:spPr bwMode="auto">
                <a:xfrm>
                  <a:off x="9250837" y="5791517"/>
                  <a:ext cx="697501" cy="1222056"/>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 name="connsiteX0" fmla="*/ 9925 w 9925"/>
                    <a:gd name="connsiteY0" fmla="*/ 3 h 10940"/>
                    <a:gd name="connsiteX1" fmla="*/ 7779 w 9925"/>
                    <a:gd name="connsiteY1" fmla="*/ 940 h 10940"/>
                    <a:gd name="connsiteX2" fmla="*/ 132 w 9925"/>
                    <a:gd name="connsiteY2" fmla="*/ 10940 h 10940"/>
                    <a:gd name="connsiteX3" fmla="*/ 2432 w 9925"/>
                    <a:gd name="connsiteY3" fmla="*/ 10940 h 10940"/>
                    <a:gd name="connsiteX4" fmla="*/ 9925 w 9925"/>
                    <a:gd name="connsiteY4" fmla="*/ 3 h 10940"/>
                    <a:gd name="connsiteX0" fmla="*/ 9993 w 9993"/>
                    <a:gd name="connsiteY0" fmla="*/ 113 h 10110"/>
                    <a:gd name="connsiteX1" fmla="*/ 8341 w 9993"/>
                    <a:gd name="connsiteY1" fmla="*/ 0 h 10110"/>
                    <a:gd name="connsiteX2" fmla="*/ 126 w 9993"/>
                    <a:gd name="connsiteY2" fmla="*/ 10110 h 10110"/>
                    <a:gd name="connsiteX3" fmla="*/ 2443 w 9993"/>
                    <a:gd name="connsiteY3" fmla="*/ 10110 h 10110"/>
                    <a:gd name="connsiteX4" fmla="*/ 9993 w 9993"/>
                    <a:gd name="connsiteY4" fmla="*/ 113 h 10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93" h="10110">
                      <a:moveTo>
                        <a:pt x="9993" y="113"/>
                      </a:moveTo>
                      <a:cubicBezTo>
                        <a:pt x="9670" y="51"/>
                        <a:pt x="8719" y="62"/>
                        <a:pt x="8341" y="0"/>
                      </a:cubicBezTo>
                      <a:cubicBezTo>
                        <a:pt x="7911" y="219"/>
                        <a:pt x="-1167" y="5118"/>
                        <a:pt x="126" y="10110"/>
                      </a:cubicBezTo>
                      <a:lnTo>
                        <a:pt x="2443" y="10110"/>
                      </a:lnTo>
                      <a:cubicBezTo>
                        <a:pt x="719" y="4994"/>
                        <a:pt x="9993" y="113"/>
                        <a:pt x="9993" y="113"/>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72" name="Freeform 160"/>
                <p:cNvSpPr>
                  <a:spLocks/>
                </p:cNvSpPr>
                <p:nvPr/>
              </p:nvSpPr>
              <p:spPr bwMode="auto">
                <a:xfrm>
                  <a:off x="7221537" y="5758734"/>
                  <a:ext cx="2657581" cy="1246516"/>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12 w 10012"/>
                    <a:gd name="connsiteY0" fmla="*/ 1120 h 10000"/>
                    <a:gd name="connsiteX1" fmla="*/ 6749 w 10012"/>
                    <a:gd name="connsiteY1" fmla="*/ 0 h 10000"/>
                    <a:gd name="connsiteX2" fmla="*/ 0 w 10012"/>
                    <a:gd name="connsiteY2" fmla="*/ 10000 h 10000"/>
                    <a:gd name="connsiteX3" fmla="*/ 7915 w 10012"/>
                    <a:gd name="connsiteY3" fmla="*/ 10000 h 10000"/>
                    <a:gd name="connsiteX4" fmla="*/ 10012 w 10012"/>
                    <a:gd name="connsiteY4" fmla="*/ 1120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 name="connsiteX0" fmla="*/ 10321 w 10321"/>
                    <a:gd name="connsiteY0" fmla="*/ 289 h 10050"/>
                    <a:gd name="connsiteX1" fmla="*/ 6749 w 10321"/>
                    <a:gd name="connsiteY1" fmla="*/ 50 h 10050"/>
                    <a:gd name="connsiteX2" fmla="*/ 0 w 10321"/>
                    <a:gd name="connsiteY2" fmla="*/ 10050 h 10050"/>
                    <a:gd name="connsiteX3" fmla="*/ 7915 w 10321"/>
                    <a:gd name="connsiteY3" fmla="*/ 10050 h 10050"/>
                    <a:gd name="connsiteX4" fmla="*/ 10321 w 10321"/>
                    <a:gd name="connsiteY4" fmla="*/ 289 h 10050"/>
                    <a:gd name="connsiteX0" fmla="*/ 10321 w 10321"/>
                    <a:gd name="connsiteY0" fmla="*/ 239 h 10000"/>
                    <a:gd name="connsiteX1" fmla="*/ 6749 w 10321"/>
                    <a:gd name="connsiteY1" fmla="*/ 0 h 10000"/>
                    <a:gd name="connsiteX2" fmla="*/ 0 w 10321"/>
                    <a:gd name="connsiteY2" fmla="*/ 10000 h 10000"/>
                    <a:gd name="connsiteX3" fmla="*/ 7915 w 10321"/>
                    <a:gd name="connsiteY3" fmla="*/ 10000 h 10000"/>
                    <a:gd name="connsiteX4" fmla="*/ 10321 w 10321"/>
                    <a:gd name="connsiteY4" fmla="*/ 239 h 10000"/>
                    <a:gd name="connsiteX0" fmla="*/ 10321 w 10321"/>
                    <a:gd name="connsiteY0" fmla="*/ 253 h 10014"/>
                    <a:gd name="connsiteX1" fmla="*/ 6749 w 10321"/>
                    <a:gd name="connsiteY1" fmla="*/ 14 h 10014"/>
                    <a:gd name="connsiteX2" fmla="*/ 0 w 10321"/>
                    <a:gd name="connsiteY2" fmla="*/ 10014 h 10014"/>
                    <a:gd name="connsiteX3" fmla="*/ 7915 w 10321"/>
                    <a:gd name="connsiteY3" fmla="*/ 10014 h 10014"/>
                    <a:gd name="connsiteX4" fmla="*/ 10321 w 10321"/>
                    <a:gd name="connsiteY4" fmla="*/ 253 h 10014"/>
                    <a:gd name="connsiteX0" fmla="*/ 10321 w 10321"/>
                    <a:gd name="connsiteY0" fmla="*/ 264 h 10025"/>
                    <a:gd name="connsiteX1" fmla="*/ 6749 w 10321"/>
                    <a:gd name="connsiteY1" fmla="*/ 25 h 10025"/>
                    <a:gd name="connsiteX2" fmla="*/ 0 w 10321"/>
                    <a:gd name="connsiteY2" fmla="*/ 10025 h 10025"/>
                    <a:gd name="connsiteX3" fmla="*/ 7915 w 10321"/>
                    <a:gd name="connsiteY3" fmla="*/ 10025 h 10025"/>
                    <a:gd name="connsiteX4" fmla="*/ 10321 w 10321"/>
                    <a:gd name="connsiteY4" fmla="*/ 264 h 10025"/>
                    <a:gd name="connsiteX0" fmla="*/ 10321 w 10321"/>
                    <a:gd name="connsiteY0" fmla="*/ 280 h 10041"/>
                    <a:gd name="connsiteX1" fmla="*/ 6749 w 10321"/>
                    <a:gd name="connsiteY1" fmla="*/ 41 h 10041"/>
                    <a:gd name="connsiteX2" fmla="*/ 0 w 10321"/>
                    <a:gd name="connsiteY2" fmla="*/ 10041 h 10041"/>
                    <a:gd name="connsiteX3" fmla="*/ 7915 w 10321"/>
                    <a:gd name="connsiteY3" fmla="*/ 10041 h 10041"/>
                    <a:gd name="connsiteX4" fmla="*/ 10321 w 10321"/>
                    <a:gd name="connsiteY4" fmla="*/ 280 h 1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 h="10041">
                      <a:moveTo>
                        <a:pt x="10321" y="280"/>
                      </a:moveTo>
                      <a:cubicBezTo>
                        <a:pt x="8830" y="-31"/>
                        <a:pt x="7843" y="-37"/>
                        <a:pt x="6749" y="41"/>
                      </a:cubicBezTo>
                      <a:cubicBezTo>
                        <a:pt x="3047" y="2290"/>
                        <a:pt x="0" y="10041"/>
                        <a:pt x="0" y="10041"/>
                      </a:cubicBezTo>
                      <a:lnTo>
                        <a:pt x="7915" y="10041"/>
                      </a:lnTo>
                      <a:cubicBezTo>
                        <a:pt x="7622" y="5082"/>
                        <a:pt x="10204" y="493"/>
                        <a:pt x="10321" y="28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pSp>
          <p:grpSp>
            <p:nvGrpSpPr>
              <p:cNvPr id="43" name="Group 42"/>
              <p:cNvGrpSpPr/>
              <p:nvPr/>
            </p:nvGrpSpPr>
            <p:grpSpPr>
              <a:xfrm flipH="1">
                <a:off x="2658922" y="6809425"/>
                <a:ext cx="45111" cy="121356"/>
                <a:chOff x="8512196" y="6496912"/>
                <a:chExt cx="112332" cy="301206"/>
              </a:xfrm>
            </p:grpSpPr>
            <p:sp>
              <p:nvSpPr>
                <p:cNvPr id="64" name="Freeform 30"/>
                <p:cNvSpPr>
                  <a:spLocks/>
                </p:cNvSpPr>
                <p:nvPr/>
              </p:nvSpPr>
              <p:spPr bwMode="auto">
                <a:xfrm>
                  <a:off x="8512196" y="6694733"/>
                  <a:ext cx="65610" cy="103385"/>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5" name="Freeform 31"/>
                <p:cNvSpPr>
                  <a:spLocks/>
                </p:cNvSpPr>
                <p:nvPr/>
              </p:nvSpPr>
              <p:spPr bwMode="auto">
                <a:xfrm>
                  <a:off x="8535061" y="6595325"/>
                  <a:ext cx="65610" cy="106366"/>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6" name="Freeform 32"/>
                <p:cNvSpPr>
                  <a:spLocks/>
                </p:cNvSpPr>
                <p:nvPr/>
              </p:nvSpPr>
              <p:spPr bwMode="auto">
                <a:xfrm>
                  <a:off x="8558918" y="6496912"/>
                  <a:ext cx="65610" cy="106366"/>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5" name="Freeform 11"/>
              <p:cNvSpPr>
                <a:spLocks/>
              </p:cNvSpPr>
              <p:nvPr/>
            </p:nvSpPr>
            <p:spPr bwMode="auto">
              <a:xfrm>
                <a:off x="2180365" y="6729781"/>
                <a:ext cx="2124821" cy="273949"/>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1" name="Freeform 18"/>
              <p:cNvSpPr>
                <a:spLocks/>
              </p:cNvSpPr>
              <p:nvPr/>
            </p:nvSpPr>
            <p:spPr bwMode="auto">
              <a:xfrm>
                <a:off x="2794473" y="6683596"/>
                <a:ext cx="3336411" cy="320134"/>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 name="connsiteX0" fmla="*/ 0 w 10494"/>
                  <a:gd name="connsiteY0" fmla="*/ 6752 h 6752"/>
                  <a:gd name="connsiteX1" fmla="*/ 0 w 10494"/>
                  <a:gd name="connsiteY1" fmla="*/ 6752 h 6752"/>
                  <a:gd name="connsiteX2" fmla="*/ 10000 w 10494"/>
                  <a:gd name="connsiteY2" fmla="*/ 6752 h 6752"/>
                  <a:gd name="connsiteX3" fmla="*/ 10494 w 10494"/>
                  <a:gd name="connsiteY3" fmla="*/ 6300 h 6752"/>
                  <a:gd name="connsiteX4" fmla="*/ 0 w 10494"/>
                  <a:gd name="connsiteY4" fmla="*/ 6752 h 6752"/>
                  <a:gd name="connsiteX0" fmla="*/ 0 w 10000"/>
                  <a:gd name="connsiteY0" fmla="*/ 10000 h 10000"/>
                  <a:gd name="connsiteX1" fmla="*/ 0 w 10000"/>
                  <a:gd name="connsiteY1" fmla="*/ 10000 h 10000"/>
                  <a:gd name="connsiteX2" fmla="*/ 9529 w 10000"/>
                  <a:gd name="connsiteY2" fmla="*/ 10000 h 10000"/>
                  <a:gd name="connsiteX3" fmla="*/ 10000 w 10000"/>
                  <a:gd name="connsiteY3" fmla="*/ 9331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0" y="10000"/>
                    </a:lnTo>
                    <a:lnTo>
                      <a:pt x="9529" y="10000"/>
                    </a:lnTo>
                    <a:cubicBezTo>
                      <a:pt x="9757" y="9479"/>
                      <a:pt x="10000" y="9331"/>
                      <a:pt x="10000" y="9331"/>
                    </a:cubicBezTo>
                    <a:cubicBezTo>
                      <a:pt x="7180" y="-2578"/>
                      <a:pt x="2603" y="-3860"/>
                      <a:pt x="0" y="100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Freeform 29"/>
              <p:cNvSpPr>
                <a:spLocks/>
              </p:cNvSpPr>
              <p:nvPr/>
            </p:nvSpPr>
            <p:spPr bwMode="auto">
              <a:xfrm>
                <a:off x="3737794" y="6773854"/>
                <a:ext cx="1787489" cy="229877"/>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3" name="AutoShape 3"/>
              <p:cNvSpPr>
                <a:spLocks noChangeAspect="1" noChangeArrowheads="1" noTextEdit="1"/>
              </p:cNvSpPr>
              <p:nvPr/>
            </p:nvSpPr>
            <p:spPr bwMode="auto">
              <a:xfrm>
                <a:off x="3456038" y="6262670"/>
                <a:ext cx="2300244" cy="751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54" name="Group 53"/>
              <p:cNvGrpSpPr/>
              <p:nvPr/>
            </p:nvGrpSpPr>
            <p:grpSpPr>
              <a:xfrm>
                <a:off x="4220598" y="6496450"/>
                <a:ext cx="100784" cy="195988"/>
                <a:chOff x="6229350" y="5520108"/>
                <a:chExt cx="539750" cy="1046186"/>
              </a:xfrm>
            </p:grpSpPr>
            <p:sp>
              <p:nvSpPr>
                <p:cNvPr id="61" name="Freeform 14"/>
                <p:cNvSpPr>
                  <a:spLocks/>
                </p:cNvSpPr>
                <p:nvPr/>
              </p:nvSpPr>
              <p:spPr bwMode="auto">
                <a:xfrm>
                  <a:off x="6443668" y="6158302"/>
                  <a:ext cx="111121" cy="407992"/>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2" name="Freeform 15"/>
                <p:cNvSpPr>
                  <a:spLocks/>
                </p:cNvSpPr>
                <p:nvPr/>
              </p:nvSpPr>
              <p:spPr bwMode="auto">
                <a:xfrm>
                  <a:off x="6229350" y="5799520"/>
                  <a:ext cx="539750" cy="542922"/>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3" name="Freeform 16"/>
                <p:cNvSpPr>
                  <a:spLocks/>
                </p:cNvSpPr>
                <p:nvPr/>
              </p:nvSpPr>
              <p:spPr bwMode="auto">
                <a:xfrm>
                  <a:off x="6301586" y="5520108"/>
                  <a:ext cx="395287" cy="39687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55" name="Rectangle 54"/>
              <p:cNvSpPr/>
              <p:nvPr/>
            </p:nvSpPr>
            <p:spPr bwMode="auto">
              <a:xfrm>
                <a:off x="71438" y="5838542"/>
                <a:ext cx="809624" cy="4609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Rectangle 76"/>
              <p:cNvSpPr/>
              <p:nvPr/>
            </p:nvSpPr>
            <p:spPr bwMode="auto">
              <a:xfrm>
                <a:off x="52797" y="6258471"/>
                <a:ext cx="809624" cy="457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 name="Group 67"/>
              <p:cNvGrpSpPr/>
              <p:nvPr/>
            </p:nvGrpSpPr>
            <p:grpSpPr>
              <a:xfrm>
                <a:off x="31132" y="5564173"/>
                <a:ext cx="892604" cy="742856"/>
                <a:chOff x="2516036" y="750886"/>
                <a:chExt cx="6270776" cy="4954187"/>
              </a:xfrm>
              <a:solidFill>
                <a:schemeClr val="accent1"/>
              </a:solidFill>
            </p:grpSpPr>
            <p:sp>
              <p:nvSpPr>
                <p:cNvPr id="69" name="Freeform 68"/>
                <p:cNvSpPr/>
                <p:nvPr/>
              </p:nvSpPr>
              <p:spPr>
                <a:xfrm>
                  <a:off x="2516036" y="1858960"/>
                  <a:ext cx="6270776" cy="3846113"/>
                </a:xfrm>
                <a:custGeom>
                  <a:avLst/>
                  <a:gdLst>
                    <a:gd name="connsiteX0" fmla="*/ 0 w 6270776"/>
                    <a:gd name="connsiteY0" fmla="*/ 3689346 h 3846113"/>
                    <a:gd name="connsiteX1" fmla="*/ 6270776 w 6270776"/>
                    <a:gd name="connsiteY1" fmla="*/ 3689346 h 3846113"/>
                    <a:gd name="connsiteX2" fmla="*/ 6270776 w 6270776"/>
                    <a:gd name="connsiteY2" fmla="*/ 3846113 h 3846113"/>
                    <a:gd name="connsiteX3" fmla="*/ 0 w 6270776"/>
                    <a:gd name="connsiteY3" fmla="*/ 3846113 h 3846113"/>
                    <a:gd name="connsiteX4" fmla="*/ 157163 w 6270776"/>
                    <a:gd name="connsiteY4" fmla="*/ 3518784 h 3846113"/>
                    <a:gd name="connsiteX5" fmla="*/ 6113613 w 6270776"/>
                    <a:gd name="connsiteY5" fmla="*/ 3518784 h 3846113"/>
                    <a:gd name="connsiteX6" fmla="*/ 6113613 w 6270776"/>
                    <a:gd name="connsiteY6" fmla="*/ 3656013 h 3846113"/>
                    <a:gd name="connsiteX7" fmla="*/ 157163 w 6270776"/>
                    <a:gd name="connsiteY7" fmla="*/ 3656013 h 3846113"/>
                    <a:gd name="connsiteX8" fmla="*/ 5037213 w 6270776"/>
                    <a:gd name="connsiteY8" fmla="*/ 1690690 h 3846113"/>
                    <a:gd name="connsiteX9" fmla="*/ 5037213 w 6270776"/>
                    <a:gd name="connsiteY9" fmla="*/ 2382840 h 3846113"/>
                    <a:gd name="connsiteX10" fmla="*/ 5615063 w 6270776"/>
                    <a:gd name="connsiteY10" fmla="*/ 2382840 h 3846113"/>
                    <a:gd name="connsiteX11" fmla="*/ 5615063 w 6270776"/>
                    <a:gd name="connsiteY11" fmla="*/ 1690690 h 3846113"/>
                    <a:gd name="connsiteX12" fmla="*/ 4351413 w 6270776"/>
                    <a:gd name="connsiteY12" fmla="*/ 1690690 h 3846113"/>
                    <a:gd name="connsiteX13" fmla="*/ 4351413 w 6270776"/>
                    <a:gd name="connsiteY13" fmla="*/ 2382840 h 3846113"/>
                    <a:gd name="connsiteX14" fmla="*/ 4929263 w 6270776"/>
                    <a:gd name="connsiteY14" fmla="*/ 2382840 h 3846113"/>
                    <a:gd name="connsiteX15" fmla="*/ 4929263 w 6270776"/>
                    <a:gd name="connsiteY15" fmla="*/ 1690690 h 3846113"/>
                    <a:gd name="connsiteX16" fmla="*/ 1341513 w 6270776"/>
                    <a:gd name="connsiteY16" fmla="*/ 1690690 h 3846113"/>
                    <a:gd name="connsiteX17" fmla="*/ 1341513 w 6270776"/>
                    <a:gd name="connsiteY17" fmla="*/ 2382840 h 3846113"/>
                    <a:gd name="connsiteX18" fmla="*/ 1919363 w 6270776"/>
                    <a:gd name="connsiteY18" fmla="*/ 2382840 h 3846113"/>
                    <a:gd name="connsiteX19" fmla="*/ 1919363 w 6270776"/>
                    <a:gd name="connsiteY19" fmla="*/ 1690690 h 3846113"/>
                    <a:gd name="connsiteX20" fmla="*/ 655713 w 6270776"/>
                    <a:gd name="connsiteY20" fmla="*/ 1690690 h 3846113"/>
                    <a:gd name="connsiteX21" fmla="*/ 655713 w 6270776"/>
                    <a:gd name="connsiteY21" fmla="*/ 2382840 h 3846113"/>
                    <a:gd name="connsiteX22" fmla="*/ 1233563 w 6270776"/>
                    <a:gd name="connsiteY22" fmla="*/ 2382840 h 3846113"/>
                    <a:gd name="connsiteX23" fmla="*/ 1233563 w 6270776"/>
                    <a:gd name="connsiteY23" fmla="*/ 1690690 h 3846113"/>
                    <a:gd name="connsiteX24" fmla="*/ 3464960 w 6270776"/>
                    <a:gd name="connsiteY24" fmla="*/ 1522415 h 3846113"/>
                    <a:gd name="connsiteX25" fmla="*/ 3464960 w 6270776"/>
                    <a:gd name="connsiteY25" fmla="*/ 2074865 h 3846113"/>
                    <a:gd name="connsiteX26" fmla="*/ 4005338 w 6270776"/>
                    <a:gd name="connsiteY26" fmla="*/ 2074865 h 3846113"/>
                    <a:gd name="connsiteX27" fmla="*/ 4005338 w 6270776"/>
                    <a:gd name="connsiteY27" fmla="*/ 1522415 h 3846113"/>
                    <a:gd name="connsiteX28" fmla="*/ 2865199 w 6270776"/>
                    <a:gd name="connsiteY28" fmla="*/ 1522415 h 3846113"/>
                    <a:gd name="connsiteX29" fmla="*/ 2865199 w 6270776"/>
                    <a:gd name="connsiteY29" fmla="*/ 2074865 h 3846113"/>
                    <a:gd name="connsiteX30" fmla="*/ 3405577 w 6270776"/>
                    <a:gd name="connsiteY30" fmla="*/ 2074865 h 3846113"/>
                    <a:gd name="connsiteX31" fmla="*/ 3405577 w 6270776"/>
                    <a:gd name="connsiteY31" fmla="*/ 1522415 h 3846113"/>
                    <a:gd name="connsiteX32" fmla="*/ 2265438 w 6270776"/>
                    <a:gd name="connsiteY32" fmla="*/ 1522415 h 3846113"/>
                    <a:gd name="connsiteX33" fmla="*/ 2265438 w 6270776"/>
                    <a:gd name="connsiteY33" fmla="*/ 2074865 h 3846113"/>
                    <a:gd name="connsiteX34" fmla="*/ 2805816 w 6270776"/>
                    <a:gd name="connsiteY34" fmla="*/ 2074865 h 3846113"/>
                    <a:gd name="connsiteX35" fmla="*/ 2805816 w 6270776"/>
                    <a:gd name="connsiteY35" fmla="*/ 1522415 h 3846113"/>
                    <a:gd name="connsiteX36" fmla="*/ 5037213 w 6270776"/>
                    <a:gd name="connsiteY36" fmla="*/ 909640 h 3846113"/>
                    <a:gd name="connsiteX37" fmla="*/ 5037213 w 6270776"/>
                    <a:gd name="connsiteY37" fmla="*/ 1601790 h 3846113"/>
                    <a:gd name="connsiteX38" fmla="*/ 5615063 w 6270776"/>
                    <a:gd name="connsiteY38" fmla="*/ 1601790 h 3846113"/>
                    <a:gd name="connsiteX39" fmla="*/ 5615063 w 6270776"/>
                    <a:gd name="connsiteY39" fmla="*/ 909640 h 3846113"/>
                    <a:gd name="connsiteX40" fmla="*/ 4351413 w 6270776"/>
                    <a:gd name="connsiteY40" fmla="*/ 909640 h 3846113"/>
                    <a:gd name="connsiteX41" fmla="*/ 4351413 w 6270776"/>
                    <a:gd name="connsiteY41" fmla="*/ 1601790 h 3846113"/>
                    <a:gd name="connsiteX42" fmla="*/ 4929263 w 6270776"/>
                    <a:gd name="connsiteY42" fmla="*/ 1601790 h 3846113"/>
                    <a:gd name="connsiteX43" fmla="*/ 4929263 w 6270776"/>
                    <a:gd name="connsiteY43" fmla="*/ 909640 h 3846113"/>
                    <a:gd name="connsiteX44" fmla="*/ 3464960 w 6270776"/>
                    <a:gd name="connsiteY44" fmla="*/ 909640 h 3846113"/>
                    <a:gd name="connsiteX45" fmla="*/ 3464960 w 6270776"/>
                    <a:gd name="connsiteY45" fmla="*/ 1462090 h 3846113"/>
                    <a:gd name="connsiteX46" fmla="*/ 4005338 w 6270776"/>
                    <a:gd name="connsiteY46" fmla="*/ 1462090 h 3846113"/>
                    <a:gd name="connsiteX47" fmla="*/ 4005338 w 6270776"/>
                    <a:gd name="connsiteY47" fmla="*/ 909640 h 3846113"/>
                    <a:gd name="connsiteX48" fmla="*/ 2865199 w 6270776"/>
                    <a:gd name="connsiteY48" fmla="*/ 909640 h 3846113"/>
                    <a:gd name="connsiteX49" fmla="*/ 2865199 w 6270776"/>
                    <a:gd name="connsiteY49" fmla="*/ 1462090 h 3846113"/>
                    <a:gd name="connsiteX50" fmla="*/ 3405577 w 6270776"/>
                    <a:gd name="connsiteY50" fmla="*/ 1462090 h 3846113"/>
                    <a:gd name="connsiteX51" fmla="*/ 3405577 w 6270776"/>
                    <a:gd name="connsiteY51" fmla="*/ 909640 h 3846113"/>
                    <a:gd name="connsiteX52" fmla="*/ 2265438 w 6270776"/>
                    <a:gd name="connsiteY52" fmla="*/ 909640 h 3846113"/>
                    <a:gd name="connsiteX53" fmla="*/ 2265438 w 6270776"/>
                    <a:gd name="connsiteY53" fmla="*/ 1462090 h 3846113"/>
                    <a:gd name="connsiteX54" fmla="*/ 2805816 w 6270776"/>
                    <a:gd name="connsiteY54" fmla="*/ 1462090 h 3846113"/>
                    <a:gd name="connsiteX55" fmla="*/ 2805816 w 6270776"/>
                    <a:gd name="connsiteY55" fmla="*/ 909640 h 3846113"/>
                    <a:gd name="connsiteX56" fmla="*/ 1341513 w 6270776"/>
                    <a:gd name="connsiteY56" fmla="*/ 909640 h 3846113"/>
                    <a:gd name="connsiteX57" fmla="*/ 1341513 w 6270776"/>
                    <a:gd name="connsiteY57" fmla="*/ 1601790 h 3846113"/>
                    <a:gd name="connsiteX58" fmla="*/ 1919363 w 6270776"/>
                    <a:gd name="connsiteY58" fmla="*/ 1601790 h 3846113"/>
                    <a:gd name="connsiteX59" fmla="*/ 1919363 w 6270776"/>
                    <a:gd name="connsiteY59" fmla="*/ 909640 h 3846113"/>
                    <a:gd name="connsiteX60" fmla="*/ 655713 w 6270776"/>
                    <a:gd name="connsiteY60" fmla="*/ 909640 h 3846113"/>
                    <a:gd name="connsiteX61" fmla="*/ 655713 w 6270776"/>
                    <a:gd name="connsiteY61" fmla="*/ 1601790 h 3846113"/>
                    <a:gd name="connsiteX62" fmla="*/ 1233563 w 6270776"/>
                    <a:gd name="connsiteY62" fmla="*/ 1601790 h 3846113"/>
                    <a:gd name="connsiteX63" fmla="*/ 1233563 w 6270776"/>
                    <a:gd name="connsiteY63" fmla="*/ 909640 h 3846113"/>
                    <a:gd name="connsiteX64" fmla="*/ 3724123 w 6270776"/>
                    <a:gd name="connsiteY64" fmla="*/ 281783 h 3846113"/>
                    <a:gd name="connsiteX65" fmla="*/ 3724123 w 6270776"/>
                    <a:gd name="connsiteY65" fmla="*/ 584202 h 3846113"/>
                    <a:gd name="connsiteX66" fmla="*/ 3937015 w 6270776"/>
                    <a:gd name="connsiteY66" fmla="*/ 584202 h 3846113"/>
                    <a:gd name="connsiteX67" fmla="*/ 3937015 w 6270776"/>
                    <a:gd name="connsiteY67" fmla="*/ 281783 h 3846113"/>
                    <a:gd name="connsiteX68" fmla="*/ 3446527 w 6270776"/>
                    <a:gd name="connsiteY68" fmla="*/ 281783 h 3846113"/>
                    <a:gd name="connsiteX69" fmla="*/ 3446527 w 6270776"/>
                    <a:gd name="connsiteY69" fmla="*/ 584202 h 3846113"/>
                    <a:gd name="connsiteX70" fmla="*/ 3659419 w 6270776"/>
                    <a:gd name="connsiteY70" fmla="*/ 584202 h 3846113"/>
                    <a:gd name="connsiteX71" fmla="*/ 3659419 w 6270776"/>
                    <a:gd name="connsiteY71" fmla="*/ 281783 h 3846113"/>
                    <a:gd name="connsiteX72" fmla="*/ 3168933 w 6270776"/>
                    <a:gd name="connsiteY72" fmla="*/ 281783 h 3846113"/>
                    <a:gd name="connsiteX73" fmla="*/ 3168933 w 6270776"/>
                    <a:gd name="connsiteY73" fmla="*/ 584202 h 3846113"/>
                    <a:gd name="connsiteX74" fmla="*/ 3381825 w 6270776"/>
                    <a:gd name="connsiteY74" fmla="*/ 584202 h 3846113"/>
                    <a:gd name="connsiteX75" fmla="*/ 3381825 w 6270776"/>
                    <a:gd name="connsiteY75" fmla="*/ 281783 h 3846113"/>
                    <a:gd name="connsiteX76" fmla="*/ 2891339 w 6270776"/>
                    <a:gd name="connsiteY76" fmla="*/ 281783 h 3846113"/>
                    <a:gd name="connsiteX77" fmla="*/ 2891339 w 6270776"/>
                    <a:gd name="connsiteY77" fmla="*/ 584202 h 3846113"/>
                    <a:gd name="connsiteX78" fmla="*/ 3104231 w 6270776"/>
                    <a:gd name="connsiteY78" fmla="*/ 584202 h 3846113"/>
                    <a:gd name="connsiteX79" fmla="*/ 3104231 w 6270776"/>
                    <a:gd name="connsiteY79" fmla="*/ 281783 h 3846113"/>
                    <a:gd name="connsiteX80" fmla="*/ 2613745 w 6270776"/>
                    <a:gd name="connsiteY80" fmla="*/ 281783 h 3846113"/>
                    <a:gd name="connsiteX81" fmla="*/ 2613745 w 6270776"/>
                    <a:gd name="connsiteY81" fmla="*/ 584202 h 3846113"/>
                    <a:gd name="connsiteX82" fmla="*/ 2826637 w 6270776"/>
                    <a:gd name="connsiteY82" fmla="*/ 584202 h 3846113"/>
                    <a:gd name="connsiteX83" fmla="*/ 2826637 w 6270776"/>
                    <a:gd name="connsiteY83" fmla="*/ 281783 h 3846113"/>
                    <a:gd name="connsiteX84" fmla="*/ 2336151 w 6270776"/>
                    <a:gd name="connsiteY84" fmla="*/ 281783 h 3846113"/>
                    <a:gd name="connsiteX85" fmla="*/ 2336151 w 6270776"/>
                    <a:gd name="connsiteY85" fmla="*/ 584202 h 3846113"/>
                    <a:gd name="connsiteX86" fmla="*/ 2549043 w 6270776"/>
                    <a:gd name="connsiteY86" fmla="*/ 584202 h 3846113"/>
                    <a:gd name="connsiteX87" fmla="*/ 2549043 w 6270776"/>
                    <a:gd name="connsiteY87" fmla="*/ 281783 h 3846113"/>
                    <a:gd name="connsiteX88" fmla="*/ 1977697 w 6270776"/>
                    <a:gd name="connsiteY88" fmla="*/ 0 h 3846113"/>
                    <a:gd name="connsiteX89" fmla="*/ 2050103 w 6270776"/>
                    <a:gd name="connsiteY89" fmla="*/ 47994 h 3846113"/>
                    <a:gd name="connsiteX90" fmla="*/ 2054837 w 6270776"/>
                    <a:gd name="connsiteY90" fmla="*/ 71440 h 3846113"/>
                    <a:gd name="connsiteX91" fmla="*/ 4215940 w 6270776"/>
                    <a:gd name="connsiteY91" fmla="*/ 71440 h 3846113"/>
                    <a:gd name="connsiteX92" fmla="*/ 4220674 w 6270776"/>
                    <a:gd name="connsiteY92" fmla="*/ 47994 h 3846113"/>
                    <a:gd name="connsiteX93" fmla="*/ 4293079 w 6270776"/>
                    <a:gd name="connsiteY93" fmla="*/ 0 h 3846113"/>
                    <a:gd name="connsiteX94" fmla="*/ 4371660 w 6270776"/>
                    <a:gd name="connsiteY94" fmla="*/ 78581 h 3846113"/>
                    <a:gd name="connsiteX95" fmla="*/ 4371660 w 6270776"/>
                    <a:gd name="connsiteY95" fmla="*/ 686597 h 3846113"/>
                    <a:gd name="connsiteX96" fmla="*/ 4371500 w 6270776"/>
                    <a:gd name="connsiteY96" fmla="*/ 687390 h 3846113"/>
                    <a:gd name="connsiteX97" fmla="*/ 5812477 w 6270776"/>
                    <a:gd name="connsiteY97" fmla="*/ 687390 h 3846113"/>
                    <a:gd name="connsiteX98" fmla="*/ 5812477 w 6270776"/>
                    <a:gd name="connsiteY98" fmla="*/ 516016 h 3846113"/>
                    <a:gd name="connsiteX99" fmla="*/ 5895501 w 6270776"/>
                    <a:gd name="connsiteY99" fmla="*/ 432992 h 3846113"/>
                    <a:gd name="connsiteX100" fmla="*/ 5978525 w 6270776"/>
                    <a:gd name="connsiteY100" fmla="*/ 516016 h 3846113"/>
                    <a:gd name="connsiteX101" fmla="*/ 5978524 w 6270776"/>
                    <a:gd name="connsiteY101" fmla="*/ 3475040 h 3846113"/>
                    <a:gd name="connsiteX102" fmla="*/ 5821438 w 6270776"/>
                    <a:gd name="connsiteY102" fmla="*/ 3475040 h 3846113"/>
                    <a:gd name="connsiteX103" fmla="*/ 5812477 w 6270776"/>
                    <a:gd name="connsiteY103" fmla="*/ 3475040 h 3846113"/>
                    <a:gd name="connsiteX104" fmla="*/ 4088169 w 6270776"/>
                    <a:gd name="connsiteY104" fmla="*/ 3475040 h 3846113"/>
                    <a:gd name="connsiteX105" fmla="*/ 4088169 w 6270776"/>
                    <a:gd name="connsiteY105" fmla="*/ 2265365 h 3846113"/>
                    <a:gd name="connsiteX106" fmla="*/ 2182608 w 6270776"/>
                    <a:gd name="connsiteY106" fmla="*/ 2265365 h 3846113"/>
                    <a:gd name="connsiteX107" fmla="*/ 2182608 w 6270776"/>
                    <a:gd name="connsiteY107" fmla="*/ 3475040 h 3846113"/>
                    <a:gd name="connsiteX108" fmla="*/ 458299 w 6270776"/>
                    <a:gd name="connsiteY108" fmla="*/ 3475040 h 3846113"/>
                    <a:gd name="connsiteX109" fmla="*/ 449338 w 6270776"/>
                    <a:gd name="connsiteY109" fmla="*/ 3475040 h 3846113"/>
                    <a:gd name="connsiteX110" fmla="*/ 292252 w 6270776"/>
                    <a:gd name="connsiteY110" fmla="*/ 3475040 h 3846113"/>
                    <a:gd name="connsiteX111" fmla="*/ 292252 w 6270776"/>
                    <a:gd name="connsiteY111" fmla="*/ 516016 h 3846113"/>
                    <a:gd name="connsiteX112" fmla="*/ 375276 w 6270776"/>
                    <a:gd name="connsiteY112" fmla="*/ 432992 h 3846113"/>
                    <a:gd name="connsiteX113" fmla="*/ 458300 w 6270776"/>
                    <a:gd name="connsiteY113" fmla="*/ 516016 h 3846113"/>
                    <a:gd name="connsiteX114" fmla="*/ 458300 w 6270776"/>
                    <a:gd name="connsiteY114" fmla="*/ 687390 h 3846113"/>
                    <a:gd name="connsiteX115" fmla="*/ 1899276 w 6270776"/>
                    <a:gd name="connsiteY115" fmla="*/ 687390 h 3846113"/>
                    <a:gd name="connsiteX116" fmla="*/ 1899116 w 6270776"/>
                    <a:gd name="connsiteY116" fmla="*/ 686597 h 3846113"/>
                    <a:gd name="connsiteX117" fmla="*/ 1899116 w 6270776"/>
                    <a:gd name="connsiteY117" fmla="*/ 78581 h 3846113"/>
                    <a:gd name="connsiteX118" fmla="*/ 1977697 w 6270776"/>
                    <a:gd name="connsiteY118" fmla="*/ 0 h 384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6270776" h="3846113">
                      <a:moveTo>
                        <a:pt x="0" y="3689346"/>
                      </a:moveTo>
                      <a:lnTo>
                        <a:pt x="6270776" y="3689346"/>
                      </a:lnTo>
                      <a:lnTo>
                        <a:pt x="6270776" y="3846113"/>
                      </a:lnTo>
                      <a:lnTo>
                        <a:pt x="0" y="3846113"/>
                      </a:lnTo>
                      <a:close/>
                      <a:moveTo>
                        <a:pt x="157163" y="3518784"/>
                      </a:moveTo>
                      <a:lnTo>
                        <a:pt x="6113613" y="3518784"/>
                      </a:lnTo>
                      <a:lnTo>
                        <a:pt x="6113613" y="3656013"/>
                      </a:lnTo>
                      <a:lnTo>
                        <a:pt x="157163" y="3656013"/>
                      </a:lnTo>
                      <a:close/>
                      <a:moveTo>
                        <a:pt x="5037213" y="1690690"/>
                      </a:moveTo>
                      <a:lnTo>
                        <a:pt x="5037213" y="2382840"/>
                      </a:lnTo>
                      <a:lnTo>
                        <a:pt x="5615063" y="2382840"/>
                      </a:lnTo>
                      <a:lnTo>
                        <a:pt x="5615063" y="1690690"/>
                      </a:lnTo>
                      <a:close/>
                      <a:moveTo>
                        <a:pt x="4351413" y="1690690"/>
                      </a:moveTo>
                      <a:lnTo>
                        <a:pt x="4351413" y="2382840"/>
                      </a:lnTo>
                      <a:lnTo>
                        <a:pt x="4929263" y="2382840"/>
                      </a:lnTo>
                      <a:lnTo>
                        <a:pt x="4929263" y="1690690"/>
                      </a:lnTo>
                      <a:close/>
                      <a:moveTo>
                        <a:pt x="1341513" y="1690690"/>
                      </a:moveTo>
                      <a:lnTo>
                        <a:pt x="1341513" y="2382840"/>
                      </a:lnTo>
                      <a:lnTo>
                        <a:pt x="1919363" y="2382840"/>
                      </a:lnTo>
                      <a:lnTo>
                        <a:pt x="1919363" y="1690690"/>
                      </a:lnTo>
                      <a:close/>
                      <a:moveTo>
                        <a:pt x="655713" y="1690690"/>
                      </a:moveTo>
                      <a:lnTo>
                        <a:pt x="655713" y="2382840"/>
                      </a:lnTo>
                      <a:lnTo>
                        <a:pt x="1233563" y="2382840"/>
                      </a:lnTo>
                      <a:lnTo>
                        <a:pt x="1233563" y="1690690"/>
                      </a:lnTo>
                      <a:close/>
                      <a:moveTo>
                        <a:pt x="3464960" y="1522415"/>
                      </a:moveTo>
                      <a:lnTo>
                        <a:pt x="3464960" y="2074865"/>
                      </a:lnTo>
                      <a:lnTo>
                        <a:pt x="4005338" y="2074865"/>
                      </a:lnTo>
                      <a:lnTo>
                        <a:pt x="4005338" y="1522415"/>
                      </a:lnTo>
                      <a:close/>
                      <a:moveTo>
                        <a:pt x="2865199" y="1522415"/>
                      </a:moveTo>
                      <a:lnTo>
                        <a:pt x="2865199" y="2074865"/>
                      </a:lnTo>
                      <a:lnTo>
                        <a:pt x="3405577" y="2074865"/>
                      </a:lnTo>
                      <a:lnTo>
                        <a:pt x="3405577" y="1522415"/>
                      </a:lnTo>
                      <a:close/>
                      <a:moveTo>
                        <a:pt x="2265438" y="1522415"/>
                      </a:moveTo>
                      <a:lnTo>
                        <a:pt x="2265438" y="2074865"/>
                      </a:lnTo>
                      <a:lnTo>
                        <a:pt x="2805816" y="2074865"/>
                      </a:lnTo>
                      <a:lnTo>
                        <a:pt x="2805816" y="1522415"/>
                      </a:lnTo>
                      <a:close/>
                      <a:moveTo>
                        <a:pt x="5037213" y="909640"/>
                      </a:moveTo>
                      <a:lnTo>
                        <a:pt x="5037213" y="1601790"/>
                      </a:lnTo>
                      <a:lnTo>
                        <a:pt x="5615063" y="1601790"/>
                      </a:lnTo>
                      <a:lnTo>
                        <a:pt x="5615063" y="909640"/>
                      </a:lnTo>
                      <a:close/>
                      <a:moveTo>
                        <a:pt x="4351413" y="909640"/>
                      </a:moveTo>
                      <a:lnTo>
                        <a:pt x="4351413" y="1601790"/>
                      </a:lnTo>
                      <a:lnTo>
                        <a:pt x="4929263" y="1601790"/>
                      </a:lnTo>
                      <a:lnTo>
                        <a:pt x="4929263" y="909640"/>
                      </a:lnTo>
                      <a:close/>
                      <a:moveTo>
                        <a:pt x="3464960" y="909640"/>
                      </a:moveTo>
                      <a:lnTo>
                        <a:pt x="3464960" y="1462090"/>
                      </a:lnTo>
                      <a:lnTo>
                        <a:pt x="4005338" y="1462090"/>
                      </a:lnTo>
                      <a:lnTo>
                        <a:pt x="4005338" y="909640"/>
                      </a:lnTo>
                      <a:close/>
                      <a:moveTo>
                        <a:pt x="2865199" y="909640"/>
                      </a:moveTo>
                      <a:lnTo>
                        <a:pt x="2865199" y="1462090"/>
                      </a:lnTo>
                      <a:lnTo>
                        <a:pt x="3405577" y="1462090"/>
                      </a:lnTo>
                      <a:lnTo>
                        <a:pt x="3405577" y="909640"/>
                      </a:lnTo>
                      <a:close/>
                      <a:moveTo>
                        <a:pt x="2265438" y="909640"/>
                      </a:moveTo>
                      <a:lnTo>
                        <a:pt x="2265438" y="1462090"/>
                      </a:lnTo>
                      <a:lnTo>
                        <a:pt x="2805816" y="1462090"/>
                      </a:lnTo>
                      <a:lnTo>
                        <a:pt x="2805816" y="909640"/>
                      </a:lnTo>
                      <a:close/>
                      <a:moveTo>
                        <a:pt x="1341513" y="909640"/>
                      </a:moveTo>
                      <a:lnTo>
                        <a:pt x="1341513" y="1601790"/>
                      </a:lnTo>
                      <a:lnTo>
                        <a:pt x="1919363" y="1601790"/>
                      </a:lnTo>
                      <a:lnTo>
                        <a:pt x="1919363" y="909640"/>
                      </a:lnTo>
                      <a:close/>
                      <a:moveTo>
                        <a:pt x="655713" y="909640"/>
                      </a:moveTo>
                      <a:lnTo>
                        <a:pt x="655713" y="1601790"/>
                      </a:lnTo>
                      <a:lnTo>
                        <a:pt x="1233563" y="1601790"/>
                      </a:lnTo>
                      <a:lnTo>
                        <a:pt x="1233563" y="909640"/>
                      </a:lnTo>
                      <a:close/>
                      <a:moveTo>
                        <a:pt x="3724123" y="281783"/>
                      </a:moveTo>
                      <a:lnTo>
                        <a:pt x="3724123" y="584202"/>
                      </a:lnTo>
                      <a:lnTo>
                        <a:pt x="3937015" y="584202"/>
                      </a:lnTo>
                      <a:lnTo>
                        <a:pt x="3937015" y="281783"/>
                      </a:lnTo>
                      <a:close/>
                      <a:moveTo>
                        <a:pt x="3446527" y="281783"/>
                      </a:moveTo>
                      <a:lnTo>
                        <a:pt x="3446527" y="584202"/>
                      </a:lnTo>
                      <a:lnTo>
                        <a:pt x="3659419" y="584202"/>
                      </a:lnTo>
                      <a:lnTo>
                        <a:pt x="3659419" y="281783"/>
                      </a:lnTo>
                      <a:close/>
                      <a:moveTo>
                        <a:pt x="3168933" y="281783"/>
                      </a:moveTo>
                      <a:lnTo>
                        <a:pt x="3168933" y="584202"/>
                      </a:lnTo>
                      <a:lnTo>
                        <a:pt x="3381825" y="584202"/>
                      </a:lnTo>
                      <a:lnTo>
                        <a:pt x="3381825" y="281783"/>
                      </a:lnTo>
                      <a:close/>
                      <a:moveTo>
                        <a:pt x="2891339" y="281783"/>
                      </a:moveTo>
                      <a:lnTo>
                        <a:pt x="2891339" y="584202"/>
                      </a:lnTo>
                      <a:lnTo>
                        <a:pt x="3104231" y="584202"/>
                      </a:lnTo>
                      <a:lnTo>
                        <a:pt x="3104231" y="281783"/>
                      </a:lnTo>
                      <a:close/>
                      <a:moveTo>
                        <a:pt x="2613745" y="281783"/>
                      </a:moveTo>
                      <a:lnTo>
                        <a:pt x="2613745" y="584202"/>
                      </a:lnTo>
                      <a:lnTo>
                        <a:pt x="2826637" y="584202"/>
                      </a:lnTo>
                      <a:lnTo>
                        <a:pt x="2826637" y="281783"/>
                      </a:lnTo>
                      <a:close/>
                      <a:moveTo>
                        <a:pt x="2336151" y="281783"/>
                      </a:moveTo>
                      <a:lnTo>
                        <a:pt x="2336151" y="584202"/>
                      </a:lnTo>
                      <a:lnTo>
                        <a:pt x="2549043" y="584202"/>
                      </a:lnTo>
                      <a:lnTo>
                        <a:pt x="2549043" y="281783"/>
                      </a:lnTo>
                      <a:close/>
                      <a:moveTo>
                        <a:pt x="1977697" y="0"/>
                      </a:moveTo>
                      <a:cubicBezTo>
                        <a:pt x="2010247" y="0"/>
                        <a:pt x="2038174" y="19790"/>
                        <a:pt x="2050103" y="47994"/>
                      </a:cubicBezTo>
                      <a:lnTo>
                        <a:pt x="2054837" y="71440"/>
                      </a:lnTo>
                      <a:lnTo>
                        <a:pt x="4215940" y="71440"/>
                      </a:lnTo>
                      <a:lnTo>
                        <a:pt x="4220674" y="47994"/>
                      </a:lnTo>
                      <a:cubicBezTo>
                        <a:pt x="4232603" y="19790"/>
                        <a:pt x="4260530" y="0"/>
                        <a:pt x="4293079" y="0"/>
                      </a:cubicBezTo>
                      <a:cubicBezTo>
                        <a:pt x="4336478" y="0"/>
                        <a:pt x="4371660" y="35182"/>
                        <a:pt x="4371660" y="78581"/>
                      </a:cubicBezTo>
                      <a:lnTo>
                        <a:pt x="4371660" y="686597"/>
                      </a:lnTo>
                      <a:lnTo>
                        <a:pt x="4371500" y="687390"/>
                      </a:lnTo>
                      <a:lnTo>
                        <a:pt x="5812477" y="687390"/>
                      </a:lnTo>
                      <a:lnTo>
                        <a:pt x="5812477" y="516016"/>
                      </a:lnTo>
                      <a:cubicBezTo>
                        <a:pt x="5812477" y="470163"/>
                        <a:pt x="5849648" y="432992"/>
                        <a:pt x="5895501" y="432992"/>
                      </a:cubicBezTo>
                      <a:cubicBezTo>
                        <a:pt x="5941354" y="432992"/>
                        <a:pt x="5978525" y="470163"/>
                        <a:pt x="5978525" y="516016"/>
                      </a:cubicBezTo>
                      <a:lnTo>
                        <a:pt x="5978524" y="3475040"/>
                      </a:lnTo>
                      <a:lnTo>
                        <a:pt x="5821438" y="3475040"/>
                      </a:lnTo>
                      <a:lnTo>
                        <a:pt x="5812477" y="3475040"/>
                      </a:lnTo>
                      <a:lnTo>
                        <a:pt x="4088169" y="3475040"/>
                      </a:lnTo>
                      <a:lnTo>
                        <a:pt x="4088169" y="2265365"/>
                      </a:lnTo>
                      <a:lnTo>
                        <a:pt x="2182608" y="2265365"/>
                      </a:lnTo>
                      <a:lnTo>
                        <a:pt x="2182608" y="3475040"/>
                      </a:lnTo>
                      <a:lnTo>
                        <a:pt x="458299" y="3475040"/>
                      </a:lnTo>
                      <a:lnTo>
                        <a:pt x="449338" y="3475040"/>
                      </a:lnTo>
                      <a:lnTo>
                        <a:pt x="292252" y="3475040"/>
                      </a:lnTo>
                      <a:lnTo>
                        <a:pt x="292252" y="516016"/>
                      </a:lnTo>
                      <a:cubicBezTo>
                        <a:pt x="292252" y="470163"/>
                        <a:pt x="329424" y="432992"/>
                        <a:pt x="375276" y="432992"/>
                      </a:cubicBezTo>
                      <a:cubicBezTo>
                        <a:pt x="421129" y="432992"/>
                        <a:pt x="458300" y="470163"/>
                        <a:pt x="458300" y="516016"/>
                      </a:cubicBezTo>
                      <a:lnTo>
                        <a:pt x="458300" y="687390"/>
                      </a:lnTo>
                      <a:lnTo>
                        <a:pt x="1899276" y="687390"/>
                      </a:lnTo>
                      <a:lnTo>
                        <a:pt x="1899116" y="686597"/>
                      </a:lnTo>
                      <a:lnTo>
                        <a:pt x="1899116" y="78581"/>
                      </a:lnTo>
                      <a:cubicBezTo>
                        <a:pt x="1899116" y="35182"/>
                        <a:pt x="1934298" y="0"/>
                        <a:pt x="197769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3" name="Freeform 72"/>
                <p:cNvSpPr/>
                <p:nvPr/>
              </p:nvSpPr>
              <p:spPr>
                <a:xfrm>
                  <a:off x="4671452" y="750886"/>
                  <a:ext cx="1962339" cy="1147765"/>
                </a:xfrm>
                <a:custGeom>
                  <a:avLst/>
                  <a:gdLst>
                    <a:gd name="connsiteX0" fmla="*/ 911400 w 1962339"/>
                    <a:gd name="connsiteY0" fmla="*/ 0 h 1147765"/>
                    <a:gd name="connsiteX1" fmla="*/ 957355 w 1962339"/>
                    <a:gd name="connsiteY1" fmla="*/ 45955 h 1147765"/>
                    <a:gd name="connsiteX2" fmla="*/ 957355 w 1962339"/>
                    <a:gd name="connsiteY2" fmla="*/ 68618 h 1147765"/>
                    <a:gd name="connsiteX3" fmla="*/ 1039073 w 1962339"/>
                    <a:gd name="connsiteY3" fmla="*/ 73831 h 1147765"/>
                    <a:gd name="connsiteX4" fmla="*/ 1630456 w 1962339"/>
                    <a:gd name="connsiteY4" fmla="*/ 68264 h 1147765"/>
                    <a:gd name="connsiteX5" fmla="*/ 1630456 w 1962339"/>
                    <a:gd name="connsiteY5" fmla="*/ 465140 h 1147765"/>
                    <a:gd name="connsiteX6" fmla="*/ 1033506 w 1962339"/>
                    <a:gd name="connsiteY6" fmla="*/ 440528 h 1147765"/>
                    <a:gd name="connsiteX7" fmla="*/ 957355 w 1962339"/>
                    <a:gd name="connsiteY7" fmla="*/ 463466 h 1147765"/>
                    <a:gd name="connsiteX8" fmla="*/ 957355 w 1962339"/>
                    <a:gd name="connsiteY8" fmla="*/ 688593 h 1147765"/>
                    <a:gd name="connsiteX9" fmla="*/ 981169 w 1962339"/>
                    <a:gd name="connsiteY9" fmla="*/ 687390 h 1147765"/>
                    <a:gd name="connsiteX10" fmla="*/ 1883685 w 1962339"/>
                    <a:gd name="connsiteY10" fmla="*/ 1061224 h 1147765"/>
                    <a:gd name="connsiteX11" fmla="*/ 1962339 w 1962339"/>
                    <a:gd name="connsiteY11" fmla="*/ 1147765 h 1147765"/>
                    <a:gd name="connsiteX12" fmla="*/ 0 w 1962339"/>
                    <a:gd name="connsiteY12" fmla="*/ 1147765 h 1147765"/>
                    <a:gd name="connsiteX13" fmla="*/ 78653 w 1962339"/>
                    <a:gd name="connsiteY13" fmla="*/ 1061224 h 1147765"/>
                    <a:gd name="connsiteX14" fmla="*/ 850670 w 1962339"/>
                    <a:gd name="connsiteY14" fmla="*/ 693980 h 1147765"/>
                    <a:gd name="connsiteX15" fmla="*/ 865445 w 1962339"/>
                    <a:gd name="connsiteY15" fmla="*/ 693234 h 1147765"/>
                    <a:gd name="connsiteX16" fmla="*/ 865445 w 1962339"/>
                    <a:gd name="connsiteY16" fmla="*/ 45955 h 1147765"/>
                    <a:gd name="connsiteX17" fmla="*/ 911400 w 1962339"/>
                    <a:gd name="connsiteY17" fmla="*/ 0 h 1147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2339" h="1147765">
                      <a:moveTo>
                        <a:pt x="911400" y="0"/>
                      </a:moveTo>
                      <a:cubicBezTo>
                        <a:pt x="936780" y="0"/>
                        <a:pt x="957355" y="20575"/>
                        <a:pt x="957355" y="45955"/>
                      </a:cubicBezTo>
                      <a:lnTo>
                        <a:pt x="957355" y="68618"/>
                      </a:lnTo>
                      <a:lnTo>
                        <a:pt x="1039073" y="73831"/>
                      </a:lnTo>
                      <a:cubicBezTo>
                        <a:pt x="1247595" y="97955"/>
                        <a:pt x="1484604" y="187030"/>
                        <a:pt x="1630456" y="68264"/>
                      </a:cubicBezTo>
                      <a:lnTo>
                        <a:pt x="1630456" y="465140"/>
                      </a:lnTo>
                      <a:cubicBezTo>
                        <a:pt x="1438766" y="538066"/>
                        <a:pt x="1227020" y="408623"/>
                        <a:pt x="1033506" y="440528"/>
                      </a:cubicBezTo>
                      <a:lnTo>
                        <a:pt x="957355" y="463466"/>
                      </a:lnTo>
                      <a:lnTo>
                        <a:pt x="957355" y="688593"/>
                      </a:lnTo>
                      <a:lnTo>
                        <a:pt x="981169" y="687390"/>
                      </a:lnTo>
                      <a:cubicBezTo>
                        <a:pt x="1333624" y="687390"/>
                        <a:pt x="1652711" y="830250"/>
                        <a:pt x="1883685" y="1061224"/>
                      </a:cubicBezTo>
                      <a:lnTo>
                        <a:pt x="1962339" y="1147765"/>
                      </a:lnTo>
                      <a:lnTo>
                        <a:pt x="0" y="1147765"/>
                      </a:lnTo>
                      <a:lnTo>
                        <a:pt x="78653" y="1061224"/>
                      </a:lnTo>
                      <a:cubicBezTo>
                        <a:pt x="280756" y="859122"/>
                        <a:pt x="550320" y="724482"/>
                        <a:pt x="850670" y="693980"/>
                      </a:cubicBezTo>
                      <a:lnTo>
                        <a:pt x="865445" y="693234"/>
                      </a:lnTo>
                      <a:lnTo>
                        <a:pt x="865445" y="45955"/>
                      </a:lnTo>
                      <a:cubicBezTo>
                        <a:pt x="865445" y="20575"/>
                        <a:pt x="886020" y="0"/>
                        <a:pt x="9114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47" name="Group 146"/>
              <p:cNvGrpSpPr/>
              <p:nvPr userDrawn="1"/>
            </p:nvGrpSpPr>
            <p:grpSpPr>
              <a:xfrm>
                <a:off x="2351959" y="6793064"/>
                <a:ext cx="100784" cy="195984"/>
                <a:chOff x="8695662" y="5375908"/>
                <a:chExt cx="539748" cy="1046165"/>
              </a:xfrm>
            </p:grpSpPr>
            <p:sp>
              <p:nvSpPr>
                <p:cNvPr id="148" name="Freeform 14"/>
                <p:cNvSpPr>
                  <a:spLocks/>
                </p:cNvSpPr>
                <p:nvPr/>
              </p:nvSpPr>
              <p:spPr bwMode="auto">
                <a:xfrm>
                  <a:off x="8913142" y="6014086"/>
                  <a:ext cx="111124"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9" name="Freeform 15"/>
                <p:cNvSpPr>
                  <a:spLocks/>
                </p:cNvSpPr>
                <p:nvPr/>
              </p:nvSpPr>
              <p:spPr bwMode="auto">
                <a:xfrm>
                  <a:off x="8695662" y="5655310"/>
                  <a:ext cx="539748"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0" name="Freeform 16"/>
                <p:cNvSpPr>
                  <a:spLocks/>
                </p:cNvSpPr>
                <p:nvPr/>
              </p:nvSpPr>
              <p:spPr bwMode="auto">
                <a:xfrm>
                  <a:off x="8767100" y="5375908"/>
                  <a:ext cx="395287" cy="396874"/>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55" name="Group 154"/>
              <p:cNvGrpSpPr/>
              <p:nvPr userDrawn="1"/>
            </p:nvGrpSpPr>
            <p:grpSpPr>
              <a:xfrm flipH="1">
                <a:off x="1329290" y="5927952"/>
                <a:ext cx="232809" cy="450395"/>
                <a:chOff x="6812419" y="6555317"/>
                <a:chExt cx="203193" cy="393100"/>
              </a:xfrm>
            </p:grpSpPr>
            <p:sp>
              <p:nvSpPr>
                <p:cNvPr id="156" name="Rectangle 155"/>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7" name="Oval 156"/>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8" name="Oval 157"/>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159" name="Freeform 8"/>
            <p:cNvSpPr>
              <a:spLocks/>
            </p:cNvSpPr>
            <p:nvPr userDrawn="1"/>
          </p:nvSpPr>
          <p:spPr bwMode="auto">
            <a:xfrm flipH="1">
              <a:off x="12145906" y="6023905"/>
              <a:ext cx="257844" cy="190024"/>
            </a:xfrm>
            <a:custGeom>
              <a:avLst/>
              <a:gdLst>
                <a:gd name="T0" fmla="*/ 117 w 139"/>
                <a:gd name="T1" fmla="*/ 40 h 91"/>
                <a:gd name="T2" fmla="*/ 117 w 139"/>
                <a:gd name="T3" fmla="*/ 38 h 91"/>
                <a:gd name="T4" fmla="*/ 79 w 139"/>
                <a:gd name="T5" fmla="*/ 0 h 91"/>
                <a:gd name="T6" fmla="*/ 47 w 139"/>
                <a:gd name="T7" fmla="*/ 17 h 91"/>
                <a:gd name="T8" fmla="*/ 36 w 139"/>
                <a:gd name="T9" fmla="*/ 14 h 91"/>
                <a:gd name="T10" fmla="*/ 24 w 139"/>
                <a:gd name="T11" fmla="*/ 18 h 91"/>
                <a:gd name="T12" fmla="*/ 14 w 139"/>
                <a:gd name="T13" fmla="*/ 36 h 91"/>
                <a:gd name="T14" fmla="*/ 0 w 139"/>
                <a:gd name="T15" fmla="*/ 61 h 91"/>
                <a:gd name="T16" fmla="*/ 27 w 139"/>
                <a:gd name="T17" fmla="*/ 91 h 91"/>
                <a:gd name="T18" fmla="*/ 30 w 139"/>
                <a:gd name="T19" fmla="*/ 91 h 91"/>
                <a:gd name="T20" fmla="*/ 33 w 139"/>
                <a:gd name="T21" fmla="*/ 91 h 91"/>
                <a:gd name="T22" fmla="*/ 96 w 139"/>
                <a:gd name="T23" fmla="*/ 91 h 91"/>
                <a:gd name="T24" fmla="*/ 97 w 139"/>
                <a:gd name="T25" fmla="*/ 91 h 91"/>
                <a:gd name="T26" fmla="*/ 99 w 139"/>
                <a:gd name="T27" fmla="*/ 91 h 91"/>
                <a:gd name="T28" fmla="*/ 103 w 139"/>
                <a:gd name="T29" fmla="*/ 91 h 91"/>
                <a:gd name="T30" fmla="*/ 113 w 139"/>
                <a:gd name="T31" fmla="*/ 91 h 91"/>
                <a:gd name="T32" fmla="*/ 139 w 139"/>
                <a:gd name="T33" fmla="*/ 66 h 91"/>
                <a:gd name="T34" fmla="*/ 117 w 139"/>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91">
                  <a:moveTo>
                    <a:pt x="117" y="40"/>
                  </a:moveTo>
                  <a:cubicBezTo>
                    <a:pt x="117" y="39"/>
                    <a:pt x="117" y="39"/>
                    <a:pt x="117" y="38"/>
                  </a:cubicBezTo>
                  <a:cubicBezTo>
                    <a:pt x="117" y="17"/>
                    <a:pt x="100" y="0"/>
                    <a:pt x="79" y="0"/>
                  </a:cubicBezTo>
                  <a:cubicBezTo>
                    <a:pt x="65" y="0"/>
                    <a:pt x="53" y="7"/>
                    <a:pt x="47" y="17"/>
                  </a:cubicBezTo>
                  <a:cubicBezTo>
                    <a:pt x="43" y="15"/>
                    <a:pt x="40" y="14"/>
                    <a:pt x="36" y="14"/>
                  </a:cubicBezTo>
                  <a:cubicBezTo>
                    <a:pt x="31" y="14"/>
                    <a:pt x="27" y="15"/>
                    <a:pt x="24" y="18"/>
                  </a:cubicBezTo>
                  <a:cubicBezTo>
                    <a:pt x="18" y="22"/>
                    <a:pt x="14" y="28"/>
                    <a:pt x="14" y="36"/>
                  </a:cubicBezTo>
                  <a:cubicBezTo>
                    <a:pt x="6" y="41"/>
                    <a:pt x="0" y="51"/>
                    <a:pt x="0" y="61"/>
                  </a:cubicBezTo>
                  <a:cubicBezTo>
                    <a:pt x="0" y="77"/>
                    <a:pt x="12" y="90"/>
                    <a:pt x="27" y="91"/>
                  </a:cubicBezTo>
                  <a:cubicBezTo>
                    <a:pt x="28" y="91"/>
                    <a:pt x="29" y="91"/>
                    <a:pt x="30" y="91"/>
                  </a:cubicBezTo>
                  <a:cubicBezTo>
                    <a:pt x="31" y="91"/>
                    <a:pt x="32" y="91"/>
                    <a:pt x="33" y="91"/>
                  </a:cubicBezTo>
                  <a:cubicBezTo>
                    <a:pt x="47" y="91"/>
                    <a:pt x="80" y="91"/>
                    <a:pt x="96" y="91"/>
                  </a:cubicBezTo>
                  <a:cubicBezTo>
                    <a:pt x="97" y="91"/>
                    <a:pt x="97" y="91"/>
                    <a:pt x="97" y="91"/>
                  </a:cubicBezTo>
                  <a:cubicBezTo>
                    <a:pt x="99" y="91"/>
                    <a:pt x="99" y="91"/>
                    <a:pt x="99" y="91"/>
                  </a:cubicBezTo>
                  <a:cubicBezTo>
                    <a:pt x="100" y="91"/>
                    <a:pt x="102" y="91"/>
                    <a:pt x="103" y="91"/>
                  </a:cubicBezTo>
                  <a:cubicBezTo>
                    <a:pt x="113" y="91"/>
                    <a:pt x="113" y="91"/>
                    <a:pt x="113" y="91"/>
                  </a:cubicBezTo>
                  <a:cubicBezTo>
                    <a:pt x="128" y="91"/>
                    <a:pt x="139" y="80"/>
                    <a:pt x="139" y="66"/>
                  </a:cubicBezTo>
                  <a:cubicBezTo>
                    <a:pt x="139" y="53"/>
                    <a:pt x="130" y="42"/>
                    <a:pt x="117"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198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39">
              <a:defRPr/>
            </a:pPr>
            <a:fld id="{27258FFF-F925-446B-8502-81C933981705}" type="slidenum">
              <a:rPr lang="en-IN" smtClean="0">
                <a:solidFill>
                  <a:srgbClr val="FFFFFF"/>
                </a:solidFill>
              </a:rPr>
              <a:pPr defTabSz="932539">
                <a:defRPr/>
              </a:pPr>
              <a:t>‹#›</a:t>
            </a:fld>
            <a:endParaRPr lang="en-IN" dirty="0">
              <a:solidFill>
                <a:srgbClr val="FFFFFF"/>
              </a:solidFill>
            </a:endParaRPr>
          </a:p>
        </p:txBody>
      </p:sp>
      <p:sp>
        <p:nvSpPr>
          <p:cNvPr id="8" name="Text Placeholder 7"/>
          <p:cNvSpPr>
            <a:spLocks noGrp="1"/>
          </p:cNvSpPr>
          <p:nvPr>
            <p:ph type="body" sz="quarter" idx="13" hasCustomPrompt="1"/>
          </p:nvPr>
        </p:nvSpPr>
        <p:spPr>
          <a:xfrm>
            <a:off x="603505" y="1545465"/>
            <a:ext cx="11226196" cy="4663068"/>
          </a:xfrm>
        </p:spPr>
        <p:txBody>
          <a:bodyPr lIns="0" tIns="0"/>
          <a:lstStyle>
            <a:lvl1pPr marL="233268" indent="-233268">
              <a:spcBef>
                <a:spcPts val="1198"/>
              </a:spcBef>
              <a:defRPr sz="2600">
                <a:latin typeface="+mn-lt"/>
              </a:defRPr>
            </a:lvl1pPr>
            <a:lvl2pPr marL="690281" indent="-233268">
              <a:spcBef>
                <a:spcPts val="1198"/>
              </a:spcBef>
              <a:buSzPct val="100000"/>
              <a:buFont typeface="Segoe UI" pitchFamily="34" charset="0"/>
              <a:buChar char="‐"/>
              <a:defRPr/>
            </a:lvl2pPr>
            <a:lvl3pPr marL="1147294" indent="-233268">
              <a:spcBef>
                <a:spcPts val="1198"/>
              </a:spcBef>
              <a:buFont typeface="Wingdings" pitchFamily="2" charset="2"/>
              <a:buChar char="§"/>
              <a:defRPr/>
            </a:lvl3pPr>
            <a:lvl4pPr marL="1599545" indent="-342760">
              <a:spcBef>
                <a:spcPts val="1198"/>
              </a:spcBef>
              <a:buFont typeface="+mj-lt"/>
              <a:buAutoNum type="arabicPeriod"/>
              <a:defRPr/>
            </a:lvl4pPr>
            <a:lvl5pPr marL="1945479" indent="-342760">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0"/>
          </p:nvPr>
        </p:nvSpPr>
        <p:spPr/>
        <p:txBody>
          <a:bodyPr/>
          <a:lstStyle>
            <a:lvl1pPr>
              <a:defRPr>
                <a:solidFill>
                  <a:schemeClr val="bg1"/>
                </a:solidFill>
              </a:defRPr>
            </a:lvl1pPr>
          </a:lstStyle>
          <a:p>
            <a:pPr>
              <a:defRPr/>
            </a:pPr>
            <a:r>
              <a:rPr lang="en-US">
                <a:solidFill>
                  <a:srgbClr val="FFFFFF"/>
                </a:solidFill>
              </a:rPr>
              <a:t>Microsoft confidential 2015</a:t>
            </a:r>
            <a:endParaRPr lang="en-US" dirty="0">
              <a:solidFill>
                <a:srgbClr val="FFFFFF"/>
              </a:solidFill>
            </a:endParaRPr>
          </a:p>
        </p:txBody>
      </p:sp>
    </p:spTree>
    <p:extLst>
      <p:ext uri="{BB962C8B-B14F-4D97-AF65-F5344CB8AC3E}">
        <p14:creationId xmlns:p14="http://schemas.microsoft.com/office/powerpoint/2010/main" val="346254889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_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301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pPr>
              <a:defRPr/>
            </a:pPr>
            <a:r>
              <a:rPr lang="en-US">
                <a:solidFill>
                  <a:srgbClr val="FFFFFF"/>
                </a:solidFill>
              </a:rPr>
              <a:t>Microsoft confidential 2015</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39">
              <a:defRPr/>
            </a:pPr>
            <a:fld id="{27258FFF-F925-446B-8502-81C933981705}" type="slidenum">
              <a:rPr lang="en-US" smtClean="0">
                <a:solidFill>
                  <a:srgbClr val="FFFFFF"/>
                </a:solidFill>
              </a:rPr>
              <a:pPr defTabSz="932539">
                <a:defRPr/>
              </a:pPr>
              <a:t>‹#›</a:t>
            </a:fld>
            <a:endParaRPr lang="en-US" dirty="0">
              <a:solidFill>
                <a:srgbClr val="FFFFFF"/>
              </a:solidFill>
            </a:endParaRPr>
          </a:p>
        </p:txBody>
      </p:sp>
      <p:sp>
        <p:nvSpPr>
          <p:cNvPr id="8" name="Text Placeholder 7"/>
          <p:cNvSpPr>
            <a:spLocks noGrp="1"/>
          </p:cNvSpPr>
          <p:nvPr>
            <p:ph type="body" sz="quarter" idx="13" hasCustomPrompt="1"/>
          </p:nvPr>
        </p:nvSpPr>
        <p:spPr>
          <a:xfrm>
            <a:off x="603505" y="1545465"/>
            <a:ext cx="11226196" cy="4663068"/>
          </a:xfrm>
        </p:spPr>
        <p:txBody>
          <a:bodyPr lIns="0" tIns="0"/>
          <a:lstStyle>
            <a:lvl1pPr marL="233268" indent="-233268">
              <a:spcBef>
                <a:spcPts val="1198"/>
              </a:spcBef>
              <a:defRPr sz="2600">
                <a:latin typeface="+mn-lt"/>
              </a:defRPr>
            </a:lvl1pPr>
            <a:lvl2pPr marL="690281" indent="-233268">
              <a:spcBef>
                <a:spcPts val="1198"/>
              </a:spcBef>
              <a:buSzPct val="100000"/>
              <a:buFont typeface="Segoe UI" pitchFamily="34" charset="0"/>
              <a:buChar char="‐"/>
              <a:defRPr/>
            </a:lvl2pPr>
            <a:lvl3pPr marL="1147294" indent="-233268">
              <a:spcBef>
                <a:spcPts val="1198"/>
              </a:spcBef>
              <a:buFont typeface="Wingdings" pitchFamily="2" charset="2"/>
              <a:buChar char="§"/>
              <a:defRPr/>
            </a:lvl3pPr>
            <a:lvl4pPr marL="1599545" indent="-342760">
              <a:spcBef>
                <a:spcPts val="1198"/>
              </a:spcBef>
              <a:buFont typeface="+mj-lt"/>
              <a:buAutoNum type="arabicPeriod"/>
              <a:defRPr/>
            </a:lvl4pPr>
            <a:lvl5pPr marL="1945479" indent="-342760">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01" name="Group 100"/>
          <p:cNvGrpSpPr/>
          <p:nvPr userDrawn="1"/>
        </p:nvGrpSpPr>
        <p:grpSpPr>
          <a:xfrm>
            <a:off x="-5286" y="4499087"/>
            <a:ext cx="12476743" cy="2505296"/>
            <a:chOff x="-5288" y="4499087"/>
            <a:chExt cx="12476743" cy="2505296"/>
          </a:xfrm>
        </p:grpSpPr>
        <p:grpSp>
          <p:nvGrpSpPr>
            <p:cNvPr id="7" name="Group 6"/>
            <p:cNvGrpSpPr/>
            <p:nvPr userDrawn="1"/>
          </p:nvGrpSpPr>
          <p:grpSpPr>
            <a:xfrm>
              <a:off x="-5288" y="4499087"/>
              <a:ext cx="12476743" cy="2505296"/>
              <a:chOff x="-5288" y="4499087"/>
              <a:chExt cx="12476743" cy="2505296"/>
            </a:xfrm>
          </p:grpSpPr>
          <p:sp>
            <p:nvSpPr>
              <p:cNvPr id="9" name="Rectangle 8"/>
              <p:cNvSpPr/>
              <p:nvPr/>
            </p:nvSpPr>
            <p:spPr bwMode="auto">
              <a:xfrm>
                <a:off x="9518469" y="4546711"/>
                <a:ext cx="722811" cy="7770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Freeform 9"/>
              <p:cNvSpPr>
                <a:spLocks/>
              </p:cNvSpPr>
              <p:nvPr/>
            </p:nvSpPr>
            <p:spPr bwMode="auto">
              <a:xfrm>
                <a:off x="5349875" y="6106794"/>
                <a:ext cx="3834363" cy="897589"/>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12" name="Freeform 9"/>
              <p:cNvSpPr>
                <a:spLocks/>
              </p:cNvSpPr>
              <p:nvPr/>
            </p:nvSpPr>
            <p:spPr bwMode="auto">
              <a:xfrm>
                <a:off x="7104968" y="5672813"/>
                <a:ext cx="5331507" cy="1331570"/>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13" name="Freeform 15"/>
              <p:cNvSpPr>
                <a:spLocks/>
              </p:cNvSpPr>
              <p:nvPr/>
            </p:nvSpPr>
            <p:spPr bwMode="auto">
              <a:xfrm>
                <a:off x="9327154" y="6315941"/>
                <a:ext cx="3144301" cy="688442"/>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14" name="Group 13"/>
              <p:cNvGrpSpPr/>
              <p:nvPr/>
            </p:nvGrpSpPr>
            <p:grpSpPr>
              <a:xfrm>
                <a:off x="-5288" y="5602741"/>
                <a:ext cx="8368749" cy="1400162"/>
                <a:chOff x="-5288" y="5602741"/>
                <a:chExt cx="8368749" cy="1400162"/>
              </a:xfrm>
            </p:grpSpPr>
            <p:sp>
              <p:nvSpPr>
                <p:cNvPr id="16" name="Rectangle 5"/>
                <p:cNvSpPr>
                  <a:spLocks noChangeArrowheads="1"/>
                </p:cNvSpPr>
                <p:nvPr/>
              </p:nvSpPr>
              <p:spPr bwMode="auto">
                <a:xfrm flipH="1">
                  <a:off x="3418306" y="5868865"/>
                  <a:ext cx="550363" cy="53060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 name="Rectangle 6"/>
                <p:cNvSpPr>
                  <a:spLocks noChangeArrowheads="1"/>
                </p:cNvSpPr>
                <p:nvPr/>
              </p:nvSpPr>
              <p:spPr bwMode="auto">
                <a:xfrm flipH="1">
                  <a:off x="3506925" y="5665510"/>
                  <a:ext cx="238802" cy="644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 name="Rectangle 7"/>
                <p:cNvSpPr>
                  <a:spLocks noChangeArrowheads="1"/>
                </p:cNvSpPr>
                <p:nvPr/>
              </p:nvSpPr>
              <p:spPr bwMode="auto">
                <a:xfrm flipH="1">
                  <a:off x="5208386" y="6427624"/>
                  <a:ext cx="352605" cy="283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Rectangle 8"/>
                <p:cNvSpPr>
                  <a:spLocks noChangeArrowheads="1"/>
                </p:cNvSpPr>
                <p:nvPr/>
              </p:nvSpPr>
              <p:spPr bwMode="auto">
                <a:xfrm flipH="1">
                  <a:off x="5067531" y="6297029"/>
                  <a:ext cx="349807" cy="4141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Rectangle 9"/>
                <p:cNvSpPr>
                  <a:spLocks noChangeArrowheads="1"/>
                </p:cNvSpPr>
                <p:nvPr/>
              </p:nvSpPr>
              <p:spPr bwMode="auto">
                <a:xfrm flipH="1">
                  <a:off x="1592780" y="6171761"/>
                  <a:ext cx="546632" cy="62125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Rectangle 10"/>
                <p:cNvSpPr>
                  <a:spLocks noChangeArrowheads="1"/>
                </p:cNvSpPr>
                <p:nvPr/>
              </p:nvSpPr>
              <p:spPr bwMode="auto">
                <a:xfrm flipH="1">
                  <a:off x="1370769" y="5878855"/>
                  <a:ext cx="546632" cy="914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11"/>
                <p:cNvSpPr>
                  <a:spLocks/>
                </p:cNvSpPr>
                <p:nvPr/>
              </p:nvSpPr>
              <p:spPr bwMode="auto">
                <a:xfrm flipH="1">
                  <a:off x="4392841" y="6489852"/>
                  <a:ext cx="3970620" cy="51025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Freeform 18"/>
                <p:cNvSpPr>
                  <a:spLocks/>
                </p:cNvSpPr>
                <p:nvPr/>
              </p:nvSpPr>
              <p:spPr bwMode="auto">
                <a:xfrm flipH="1">
                  <a:off x="984" y="6027174"/>
                  <a:ext cx="6091253" cy="97293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29"/>
                <p:cNvSpPr>
                  <a:spLocks/>
                </p:cNvSpPr>
                <p:nvPr/>
              </p:nvSpPr>
              <p:spPr bwMode="auto">
                <a:xfrm flipH="1">
                  <a:off x="432647" y="6571940"/>
                  <a:ext cx="3340253"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AutoShape 3"/>
                <p:cNvSpPr>
                  <a:spLocks noChangeAspect="1" noChangeArrowheads="1" noTextEdit="1"/>
                </p:cNvSpPr>
                <p:nvPr/>
              </p:nvSpPr>
              <p:spPr bwMode="auto">
                <a:xfrm flipH="1">
                  <a:off x="984" y="5602741"/>
                  <a:ext cx="4298430"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26" name="Group 25"/>
                <p:cNvGrpSpPr/>
                <p:nvPr/>
              </p:nvGrpSpPr>
              <p:grpSpPr>
                <a:xfrm flipH="1">
                  <a:off x="2682360" y="5937788"/>
                  <a:ext cx="188333" cy="365034"/>
                  <a:chOff x="6229350" y="5232400"/>
                  <a:chExt cx="539750" cy="1046162"/>
                </a:xfrm>
              </p:grpSpPr>
              <p:sp>
                <p:nvSpPr>
                  <p:cNvPr id="3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7" name="Group 26"/>
                <p:cNvGrpSpPr/>
                <p:nvPr/>
              </p:nvGrpSpPr>
              <p:grpSpPr>
                <a:xfrm flipH="1">
                  <a:off x="4803495" y="6266909"/>
                  <a:ext cx="188333" cy="365034"/>
                  <a:chOff x="6229350" y="5232400"/>
                  <a:chExt cx="539750" cy="1046162"/>
                </a:xfrm>
              </p:grpSpPr>
              <p:sp>
                <p:nvSpPr>
                  <p:cNvPr id="33"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8" name="Freeform 17"/>
                <p:cNvSpPr>
                  <a:spLocks/>
                </p:cNvSpPr>
                <p:nvPr/>
              </p:nvSpPr>
              <p:spPr bwMode="auto">
                <a:xfrm flipH="1">
                  <a:off x="-5288" y="6414294"/>
                  <a:ext cx="1445870" cy="58581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29" name="Group 28"/>
                <p:cNvGrpSpPr/>
                <p:nvPr/>
              </p:nvGrpSpPr>
              <p:grpSpPr>
                <a:xfrm flipH="1">
                  <a:off x="4579666" y="6201145"/>
                  <a:ext cx="188333" cy="365034"/>
                  <a:chOff x="6229350" y="5232400"/>
                  <a:chExt cx="539750" cy="1046162"/>
                </a:xfrm>
              </p:grpSpPr>
              <p:sp>
                <p:nvSpPr>
                  <p:cNvPr id="3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15" name="Rectangle 21"/>
              <p:cNvSpPr/>
              <p:nvPr/>
            </p:nvSpPr>
            <p:spPr>
              <a:xfrm>
                <a:off x="9349854" y="4499087"/>
                <a:ext cx="1111477" cy="1299545"/>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361" rtl="0" eaLnBrk="1" fontAlgn="auto" latinLnBrk="0" hangingPunct="1">
                  <a:lnSpc>
                    <a:spcPct val="100000"/>
                  </a:lnSpc>
                  <a:spcBef>
                    <a:spcPts val="0"/>
                  </a:spcBef>
                  <a:spcAft>
                    <a:spcPts val="0"/>
                  </a:spcAft>
                  <a:buClrTx/>
                  <a:buSzTx/>
                  <a:buFontTx/>
                  <a:buNone/>
                  <a:tabLst/>
                  <a:defRPr/>
                </a:pPr>
                <a:endParaRPr kumimoji="0" lang="en-US" sz="1198"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50" name="Group 70"/>
            <p:cNvGrpSpPr>
              <a:grpSpLocks noChangeAspect="1"/>
            </p:cNvGrpSpPr>
            <p:nvPr userDrawn="1"/>
          </p:nvGrpSpPr>
          <p:grpSpPr bwMode="auto">
            <a:xfrm>
              <a:off x="6879728" y="5493095"/>
              <a:ext cx="824896" cy="793371"/>
              <a:chOff x="2974" y="1298"/>
              <a:chExt cx="1884" cy="1812"/>
            </a:xfrm>
          </p:grpSpPr>
          <p:sp>
            <p:nvSpPr>
              <p:cNvPr id="51" name="Freeform 71"/>
              <p:cNvSpPr>
                <a:spLocks/>
              </p:cNvSpPr>
              <p:nvPr userDrawn="1"/>
            </p:nvSpPr>
            <p:spPr bwMode="auto">
              <a:xfrm>
                <a:off x="2974" y="2996"/>
                <a:ext cx="1884" cy="114"/>
              </a:xfrm>
              <a:custGeom>
                <a:avLst/>
                <a:gdLst>
                  <a:gd name="T0" fmla="*/ 0 w 1884"/>
                  <a:gd name="T1" fmla="*/ 0 h 114"/>
                  <a:gd name="T2" fmla="*/ 1884 w 1884"/>
                  <a:gd name="T3" fmla="*/ 0 h 114"/>
                  <a:gd name="T4" fmla="*/ 1884 w 1884"/>
                  <a:gd name="T5" fmla="*/ 114 h 114"/>
                  <a:gd name="T6" fmla="*/ 0 w 1884"/>
                  <a:gd name="T7" fmla="*/ 114 h 114"/>
                  <a:gd name="T8" fmla="*/ 0 w 1884"/>
                  <a:gd name="T9" fmla="*/ 0 h 114"/>
                  <a:gd name="T10" fmla="*/ 0 w 1884"/>
                  <a:gd name="T11" fmla="*/ 0 h 114"/>
                </a:gdLst>
                <a:ahLst/>
                <a:cxnLst>
                  <a:cxn ang="0">
                    <a:pos x="T0" y="T1"/>
                  </a:cxn>
                  <a:cxn ang="0">
                    <a:pos x="T2" y="T3"/>
                  </a:cxn>
                  <a:cxn ang="0">
                    <a:pos x="T4" y="T5"/>
                  </a:cxn>
                  <a:cxn ang="0">
                    <a:pos x="T6" y="T7"/>
                  </a:cxn>
                  <a:cxn ang="0">
                    <a:pos x="T8" y="T9"/>
                  </a:cxn>
                  <a:cxn ang="0">
                    <a:pos x="T10" y="T11"/>
                  </a:cxn>
                </a:cxnLst>
                <a:rect l="0" t="0" r="r" b="b"/>
                <a:pathLst>
                  <a:path w="1884" h="114">
                    <a:moveTo>
                      <a:pt x="0" y="0"/>
                    </a:moveTo>
                    <a:lnTo>
                      <a:pt x="1884" y="0"/>
                    </a:lnTo>
                    <a:lnTo>
                      <a:pt x="1884" y="114"/>
                    </a:lnTo>
                    <a:lnTo>
                      <a:pt x="0" y="114"/>
                    </a:lnTo>
                    <a:lnTo>
                      <a:pt x="0" y="0"/>
                    </a:lnTo>
                    <a:lnTo>
                      <a:pt x="0" y="0"/>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Freeform 72"/>
              <p:cNvSpPr>
                <a:spLocks/>
              </p:cNvSpPr>
              <p:nvPr userDrawn="1"/>
            </p:nvSpPr>
            <p:spPr bwMode="auto">
              <a:xfrm>
                <a:off x="3067" y="2892"/>
                <a:ext cx="1696" cy="114"/>
              </a:xfrm>
              <a:custGeom>
                <a:avLst/>
                <a:gdLst>
                  <a:gd name="T0" fmla="*/ 0 w 1696"/>
                  <a:gd name="T1" fmla="*/ 0 h 114"/>
                  <a:gd name="T2" fmla="*/ 1696 w 1696"/>
                  <a:gd name="T3" fmla="*/ 0 h 114"/>
                  <a:gd name="T4" fmla="*/ 1696 w 1696"/>
                  <a:gd name="T5" fmla="*/ 114 h 114"/>
                  <a:gd name="T6" fmla="*/ 0 w 1696"/>
                  <a:gd name="T7" fmla="*/ 114 h 114"/>
                  <a:gd name="T8" fmla="*/ 0 w 1696"/>
                  <a:gd name="T9" fmla="*/ 0 h 114"/>
                  <a:gd name="T10" fmla="*/ 0 w 1696"/>
                  <a:gd name="T11" fmla="*/ 0 h 114"/>
                </a:gdLst>
                <a:ahLst/>
                <a:cxnLst>
                  <a:cxn ang="0">
                    <a:pos x="T0" y="T1"/>
                  </a:cxn>
                  <a:cxn ang="0">
                    <a:pos x="T2" y="T3"/>
                  </a:cxn>
                  <a:cxn ang="0">
                    <a:pos x="T4" y="T5"/>
                  </a:cxn>
                  <a:cxn ang="0">
                    <a:pos x="T6" y="T7"/>
                  </a:cxn>
                  <a:cxn ang="0">
                    <a:pos x="T8" y="T9"/>
                  </a:cxn>
                  <a:cxn ang="0">
                    <a:pos x="T10" y="T11"/>
                  </a:cxn>
                </a:cxnLst>
                <a:rect l="0" t="0" r="r" b="b"/>
                <a:pathLst>
                  <a:path w="1696" h="114">
                    <a:moveTo>
                      <a:pt x="0" y="0"/>
                    </a:moveTo>
                    <a:lnTo>
                      <a:pt x="1696" y="0"/>
                    </a:lnTo>
                    <a:lnTo>
                      <a:pt x="1696" y="114"/>
                    </a:lnTo>
                    <a:lnTo>
                      <a:pt x="0" y="114"/>
                    </a:lnTo>
                    <a:lnTo>
                      <a:pt x="0" y="0"/>
                    </a:lnTo>
                    <a:lnTo>
                      <a:pt x="0" y="0"/>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3" name="Freeform 73"/>
              <p:cNvSpPr>
                <a:spLocks/>
              </p:cNvSpPr>
              <p:nvPr userDrawn="1"/>
            </p:nvSpPr>
            <p:spPr bwMode="auto">
              <a:xfrm>
                <a:off x="3157" y="2785"/>
                <a:ext cx="1518" cy="112"/>
              </a:xfrm>
              <a:custGeom>
                <a:avLst/>
                <a:gdLst>
                  <a:gd name="T0" fmla="*/ 0 w 1518"/>
                  <a:gd name="T1" fmla="*/ 0 h 112"/>
                  <a:gd name="T2" fmla="*/ 1518 w 1518"/>
                  <a:gd name="T3" fmla="*/ 0 h 112"/>
                  <a:gd name="T4" fmla="*/ 1518 w 1518"/>
                  <a:gd name="T5" fmla="*/ 112 h 112"/>
                  <a:gd name="T6" fmla="*/ 0 w 1518"/>
                  <a:gd name="T7" fmla="*/ 112 h 112"/>
                  <a:gd name="T8" fmla="*/ 0 w 1518"/>
                  <a:gd name="T9" fmla="*/ 0 h 112"/>
                  <a:gd name="T10" fmla="*/ 0 w 1518"/>
                  <a:gd name="T11" fmla="*/ 0 h 112"/>
                </a:gdLst>
                <a:ahLst/>
                <a:cxnLst>
                  <a:cxn ang="0">
                    <a:pos x="T0" y="T1"/>
                  </a:cxn>
                  <a:cxn ang="0">
                    <a:pos x="T2" y="T3"/>
                  </a:cxn>
                  <a:cxn ang="0">
                    <a:pos x="T4" y="T5"/>
                  </a:cxn>
                  <a:cxn ang="0">
                    <a:pos x="T6" y="T7"/>
                  </a:cxn>
                  <a:cxn ang="0">
                    <a:pos x="T8" y="T9"/>
                  </a:cxn>
                  <a:cxn ang="0">
                    <a:pos x="T10" y="T11"/>
                  </a:cxn>
                </a:cxnLst>
                <a:rect l="0" t="0" r="r" b="b"/>
                <a:pathLst>
                  <a:path w="1518" h="112">
                    <a:moveTo>
                      <a:pt x="0" y="0"/>
                    </a:moveTo>
                    <a:lnTo>
                      <a:pt x="1518" y="0"/>
                    </a:lnTo>
                    <a:lnTo>
                      <a:pt x="1518" y="112"/>
                    </a:lnTo>
                    <a:lnTo>
                      <a:pt x="0" y="112"/>
                    </a:lnTo>
                    <a:lnTo>
                      <a:pt x="0" y="0"/>
                    </a:lnTo>
                    <a:lnTo>
                      <a:pt x="0" y="0"/>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4" name="Freeform 74"/>
              <p:cNvSpPr>
                <a:spLocks/>
              </p:cNvSpPr>
              <p:nvPr userDrawn="1"/>
            </p:nvSpPr>
            <p:spPr bwMode="auto">
              <a:xfrm>
                <a:off x="3242" y="1792"/>
                <a:ext cx="1347" cy="113"/>
              </a:xfrm>
              <a:custGeom>
                <a:avLst/>
                <a:gdLst>
                  <a:gd name="T0" fmla="*/ 0 w 1347"/>
                  <a:gd name="T1" fmla="*/ 0 h 113"/>
                  <a:gd name="T2" fmla="*/ 1347 w 1347"/>
                  <a:gd name="T3" fmla="*/ 0 h 113"/>
                  <a:gd name="T4" fmla="*/ 1347 w 1347"/>
                  <a:gd name="T5" fmla="*/ 113 h 113"/>
                  <a:gd name="T6" fmla="*/ 0 w 1347"/>
                  <a:gd name="T7" fmla="*/ 113 h 113"/>
                  <a:gd name="T8" fmla="*/ 0 w 1347"/>
                  <a:gd name="T9" fmla="*/ 0 h 113"/>
                  <a:gd name="T10" fmla="*/ 0 w 1347"/>
                  <a:gd name="T11" fmla="*/ 0 h 113"/>
                </a:gdLst>
                <a:ahLst/>
                <a:cxnLst>
                  <a:cxn ang="0">
                    <a:pos x="T0" y="T1"/>
                  </a:cxn>
                  <a:cxn ang="0">
                    <a:pos x="T2" y="T3"/>
                  </a:cxn>
                  <a:cxn ang="0">
                    <a:pos x="T4" y="T5"/>
                  </a:cxn>
                  <a:cxn ang="0">
                    <a:pos x="T6" y="T7"/>
                  </a:cxn>
                  <a:cxn ang="0">
                    <a:pos x="T8" y="T9"/>
                  </a:cxn>
                  <a:cxn ang="0">
                    <a:pos x="T10" y="T11"/>
                  </a:cxn>
                </a:cxnLst>
                <a:rect l="0" t="0" r="r" b="b"/>
                <a:pathLst>
                  <a:path w="1347" h="113">
                    <a:moveTo>
                      <a:pt x="0" y="0"/>
                    </a:moveTo>
                    <a:lnTo>
                      <a:pt x="1347" y="0"/>
                    </a:lnTo>
                    <a:lnTo>
                      <a:pt x="1347" y="113"/>
                    </a:lnTo>
                    <a:lnTo>
                      <a:pt x="0" y="113"/>
                    </a:lnTo>
                    <a:lnTo>
                      <a:pt x="0" y="0"/>
                    </a:lnTo>
                    <a:lnTo>
                      <a:pt x="0" y="0"/>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5" name="Freeform 75"/>
              <p:cNvSpPr>
                <a:spLocks/>
              </p:cNvSpPr>
              <p:nvPr userDrawn="1"/>
            </p:nvSpPr>
            <p:spPr bwMode="auto">
              <a:xfrm>
                <a:off x="3282" y="1936"/>
                <a:ext cx="183" cy="814"/>
              </a:xfrm>
              <a:custGeom>
                <a:avLst/>
                <a:gdLst>
                  <a:gd name="T0" fmla="*/ 0 w 183"/>
                  <a:gd name="T1" fmla="*/ 814 h 814"/>
                  <a:gd name="T2" fmla="*/ 17 w 183"/>
                  <a:gd name="T3" fmla="*/ 0 h 814"/>
                  <a:gd name="T4" fmla="*/ 167 w 183"/>
                  <a:gd name="T5" fmla="*/ 0 h 814"/>
                  <a:gd name="T6" fmla="*/ 183 w 183"/>
                  <a:gd name="T7" fmla="*/ 814 h 814"/>
                  <a:gd name="T8" fmla="*/ 0 w 183"/>
                  <a:gd name="T9" fmla="*/ 814 h 814"/>
                  <a:gd name="T10" fmla="*/ 0 w 183"/>
                  <a:gd name="T11" fmla="*/ 814 h 814"/>
                </a:gdLst>
                <a:ahLst/>
                <a:cxnLst>
                  <a:cxn ang="0">
                    <a:pos x="T0" y="T1"/>
                  </a:cxn>
                  <a:cxn ang="0">
                    <a:pos x="T2" y="T3"/>
                  </a:cxn>
                  <a:cxn ang="0">
                    <a:pos x="T4" y="T5"/>
                  </a:cxn>
                  <a:cxn ang="0">
                    <a:pos x="T6" y="T7"/>
                  </a:cxn>
                  <a:cxn ang="0">
                    <a:pos x="T8" y="T9"/>
                  </a:cxn>
                  <a:cxn ang="0">
                    <a:pos x="T10" y="T11"/>
                  </a:cxn>
                </a:cxnLst>
                <a:rect l="0" t="0" r="r" b="b"/>
                <a:pathLst>
                  <a:path w="183" h="814">
                    <a:moveTo>
                      <a:pt x="0" y="814"/>
                    </a:moveTo>
                    <a:lnTo>
                      <a:pt x="17" y="0"/>
                    </a:lnTo>
                    <a:lnTo>
                      <a:pt x="167" y="0"/>
                    </a:lnTo>
                    <a:lnTo>
                      <a:pt x="183" y="814"/>
                    </a:lnTo>
                    <a:lnTo>
                      <a:pt x="0" y="814"/>
                    </a:lnTo>
                    <a:lnTo>
                      <a:pt x="0" y="814"/>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6" name="Freeform 76"/>
              <p:cNvSpPr>
                <a:spLocks/>
              </p:cNvSpPr>
              <p:nvPr userDrawn="1"/>
            </p:nvSpPr>
            <p:spPr bwMode="auto">
              <a:xfrm>
                <a:off x="3643" y="1936"/>
                <a:ext cx="183" cy="814"/>
              </a:xfrm>
              <a:custGeom>
                <a:avLst/>
                <a:gdLst>
                  <a:gd name="T0" fmla="*/ 0 w 183"/>
                  <a:gd name="T1" fmla="*/ 814 h 814"/>
                  <a:gd name="T2" fmla="*/ 17 w 183"/>
                  <a:gd name="T3" fmla="*/ 0 h 814"/>
                  <a:gd name="T4" fmla="*/ 166 w 183"/>
                  <a:gd name="T5" fmla="*/ 0 h 814"/>
                  <a:gd name="T6" fmla="*/ 183 w 183"/>
                  <a:gd name="T7" fmla="*/ 814 h 814"/>
                  <a:gd name="T8" fmla="*/ 0 w 183"/>
                  <a:gd name="T9" fmla="*/ 814 h 814"/>
                  <a:gd name="T10" fmla="*/ 0 w 183"/>
                  <a:gd name="T11" fmla="*/ 814 h 814"/>
                </a:gdLst>
                <a:ahLst/>
                <a:cxnLst>
                  <a:cxn ang="0">
                    <a:pos x="T0" y="T1"/>
                  </a:cxn>
                  <a:cxn ang="0">
                    <a:pos x="T2" y="T3"/>
                  </a:cxn>
                  <a:cxn ang="0">
                    <a:pos x="T4" y="T5"/>
                  </a:cxn>
                  <a:cxn ang="0">
                    <a:pos x="T6" y="T7"/>
                  </a:cxn>
                  <a:cxn ang="0">
                    <a:pos x="T8" y="T9"/>
                  </a:cxn>
                  <a:cxn ang="0">
                    <a:pos x="T10" y="T11"/>
                  </a:cxn>
                </a:cxnLst>
                <a:rect l="0" t="0" r="r" b="b"/>
                <a:pathLst>
                  <a:path w="183" h="814">
                    <a:moveTo>
                      <a:pt x="0" y="814"/>
                    </a:moveTo>
                    <a:lnTo>
                      <a:pt x="17" y="0"/>
                    </a:lnTo>
                    <a:lnTo>
                      <a:pt x="166" y="0"/>
                    </a:lnTo>
                    <a:lnTo>
                      <a:pt x="183" y="814"/>
                    </a:lnTo>
                    <a:lnTo>
                      <a:pt x="0" y="814"/>
                    </a:lnTo>
                    <a:lnTo>
                      <a:pt x="0" y="814"/>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7" name="Freeform 77"/>
              <p:cNvSpPr>
                <a:spLocks/>
              </p:cNvSpPr>
              <p:nvPr userDrawn="1"/>
            </p:nvSpPr>
            <p:spPr bwMode="auto">
              <a:xfrm>
                <a:off x="4004" y="1936"/>
                <a:ext cx="182" cy="814"/>
              </a:xfrm>
              <a:custGeom>
                <a:avLst/>
                <a:gdLst>
                  <a:gd name="T0" fmla="*/ 0 w 182"/>
                  <a:gd name="T1" fmla="*/ 814 h 814"/>
                  <a:gd name="T2" fmla="*/ 16 w 182"/>
                  <a:gd name="T3" fmla="*/ 0 h 814"/>
                  <a:gd name="T4" fmla="*/ 166 w 182"/>
                  <a:gd name="T5" fmla="*/ 0 h 814"/>
                  <a:gd name="T6" fmla="*/ 182 w 182"/>
                  <a:gd name="T7" fmla="*/ 814 h 814"/>
                  <a:gd name="T8" fmla="*/ 0 w 182"/>
                  <a:gd name="T9" fmla="*/ 814 h 814"/>
                  <a:gd name="T10" fmla="*/ 0 w 182"/>
                  <a:gd name="T11" fmla="*/ 814 h 814"/>
                </a:gdLst>
                <a:ahLst/>
                <a:cxnLst>
                  <a:cxn ang="0">
                    <a:pos x="T0" y="T1"/>
                  </a:cxn>
                  <a:cxn ang="0">
                    <a:pos x="T2" y="T3"/>
                  </a:cxn>
                  <a:cxn ang="0">
                    <a:pos x="T4" y="T5"/>
                  </a:cxn>
                  <a:cxn ang="0">
                    <a:pos x="T6" y="T7"/>
                  </a:cxn>
                  <a:cxn ang="0">
                    <a:pos x="T8" y="T9"/>
                  </a:cxn>
                  <a:cxn ang="0">
                    <a:pos x="T10" y="T11"/>
                  </a:cxn>
                </a:cxnLst>
                <a:rect l="0" t="0" r="r" b="b"/>
                <a:pathLst>
                  <a:path w="182" h="814">
                    <a:moveTo>
                      <a:pt x="0" y="814"/>
                    </a:moveTo>
                    <a:lnTo>
                      <a:pt x="16" y="0"/>
                    </a:lnTo>
                    <a:lnTo>
                      <a:pt x="166" y="0"/>
                    </a:lnTo>
                    <a:lnTo>
                      <a:pt x="182" y="814"/>
                    </a:lnTo>
                    <a:lnTo>
                      <a:pt x="0" y="814"/>
                    </a:lnTo>
                    <a:lnTo>
                      <a:pt x="0" y="814"/>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8" name="Freeform 78"/>
              <p:cNvSpPr>
                <a:spLocks/>
              </p:cNvSpPr>
              <p:nvPr userDrawn="1"/>
            </p:nvSpPr>
            <p:spPr bwMode="auto">
              <a:xfrm>
                <a:off x="4366" y="1936"/>
                <a:ext cx="181" cy="814"/>
              </a:xfrm>
              <a:custGeom>
                <a:avLst/>
                <a:gdLst>
                  <a:gd name="T0" fmla="*/ 0 w 181"/>
                  <a:gd name="T1" fmla="*/ 814 h 814"/>
                  <a:gd name="T2" fmla="*/ 17 w 181"/>
                  <a:gd name="T3" fmla="*/ 0 h 814"/>
                  <a:gd name="T4" fmla="*/ 164 w 181"/>
                  <a:gd name="T5" fmla="*/ 0 h 814"/>
                  <a:gd name="T6" fmla="*/ 181 w 181"/>
                  <a:gd name="T7" fmla="*/ 814 h 814"/>
                  <a:gd name="T8" fmla="*/ 0 w 181"/>
                  <a:gd name="T9" fmla="*/ 814 h 814"/>
                  <a:gd name="T10" fmla="*/ 0 w 181"/>
                  <a:gd name="T11" fmla="*/ 814 h 814"/>
                </a:gdLst>
                <a:ahLst/>
                <a:cxnLst>
                  <a:cxn ang="0">
                    <a:pos x="T0" y="T1"/>
                  </a:cxn>
                  <a:cxn ang="0">
                    <a:pos x="T2" y="T3"/>
                  </a:cxn>
                  <a:cxn ang="0">
                    <a:pos x="T4" y="T5"/>
                  </a:cxn>
                  <a:cxn ang="0">
                    <a:pos x="T6" y="T7"/>
                  </a:cxn>
                  <a:cxn ang="0">
                    <a:pos x="T8" y="T9"/>
                  </a:cxn>
                  <a:cxn ang="0">
                    <a:pos x="T10" y="T11"/>
                  </a:cxn>
                </a:cxnLst>
                <a:rect l="0" t="0" r="r" b="b"/>
                <a:pathLst>
                  <a:path w="181" h="814">
                    <a:moveTo>
                      <a:pt x="0" y="814"/>
                    </a:moveTo>
                    <a:lnTo>
                      <a:pt x="17" y="0"/>
                    </a:lnTo>
                    <a:lnTo>
                      <a:pt x="164" y="0"/>
                    </a:lnTo>
                    <a:lnTo>
                      <a:pt x="181" y="814"/>
                    </a:lnTo>
                    <a:lnTo>
                      <a:pt x="0" y="814"/>
                    </a:lnTo>
                    <a:lnTo>
                      <a:pt x="0" y="814"/>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9" name="Freeform 79"/>
              <p:cNvSpPr>
                <a:spLocks/>
              </p:cNvSpPr>
              <p:nvPr userDrawn="1"/>
            </p:nvSpPr>
            <p:spPr bwMode="auto">
              <a:xfrm>
                <a:off x="3076" y="1298"/>
                <a:ext cx="1675" cy="465"/>
              </a:xfrm>
              <a:custGeom>
                <a:avLst/>
                <a:gdLst>
                  <a:gd name="T0" fmla="*/ 0 w 1675"/>
                  <a:gd name="T1" fmla="*/ 460 h 465"/>
                  <a:gd name="T2" fmla="*/ 0 w 1675"/>
                  <a:gd name="T3" fmla="*/ 394 h 465"/>
                  <a:gd name="T4" fmla="*/ 840 w 1675"/>
                  <a:gd name="T5" fmla="*/ 0 h 465"/>
                  <a:gd name="T6" fmla="*/ 1675 w 1675"/>
                  <a:gd name="T7" fmla="*/ 401 h 465"/>
                  <a:gd name="T8" fmla="*/ 1675 w 1675"/>
                  <a:gd name="T9" fmla="*/ 465 h 465"/>
                  <a:gd name="T10" fmla="*/ 0 w 1675"/>
                  <a:gd name="T11" fmla="*/ 460 h 465"/>
                  <a:gd name="T12" fmla="*/ 0 w 1675"/>
                  <a:gd name="T13" fmla="*/ 460 h 465"/>
                  <a:gd name="T14" fmla="*/ 0 w 1675"/>
                  <a:gd name="T15" fmla="*/ 460 h 4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5" h="465">
                    <a:moveTo>
                      <a:pt x="0" y="460"/>
                    </a:moveTo>
                    <a:lnTo>
                      <a:pt x="0" y="394"/>
                    </a:lnTo>
                    <a:lnTo>
                      <a:pt x="840" y="0"/>
                    </a:lnTo>
                    <a:lnTo>
                      <a:pt x="1675" y="401"/>
                    </a:lnTo>
                    <a:lnTo>
                      <a:pt x="1675" y="465"/>
                    </a:lnTo>
                    <a:lnTo>
                      <a:pt x="0" y="460"/>
                    </a:lnTo>
                    <a:lnTo>
                      <a:pt x="0" y="460"/>
                    </a:lnTo>
                    <a:lnTo>
                      <a:pt x="0" y="460"/>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285297476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2_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40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tx2"/>
                </a:solidFill>
              </a:defRPr>
            </a:lvl1pPr>
          </a:lstStyle>
          <a:p>
            <a:pPr>
              <a:defRPr/>
            </a:pPr>
            <a:r>
              <a:rPr lang="en-IN">
                <a:solidFill>
                  <a:srgbClr val="505050"/>
                </a:solidFill>
              </a:rPr>
              <a:t>Microsoft confidential 2015</a:t>
            </a:r>
            <a:endParaRPr lang="en-IN" dirty="0">
              <a:solidFill>
                <a:srgbClr val="505050"/>
              </a:solidFill>
            </a:endParaRPr>
          </a:p>
        </p:txBody>
      </p:sp>
      <p:sp>
        <p:nvSpPr>
          <p:cNvPr id="8" name="Text Placeholder 7"/>
          <p:cNvSpPr>
            <a:spLocks noGrp="1"/>
          </p:cNvSpPr>
          <p:nvPr>
            <p:ph type="body" sz="quarter" idx="13" hasCustomPrompt="1"/>
          </p:nvPr>
        </p:nvSpPr>
        <p:spPr>
          <a:xfrm>
            <a:off x="603505" y="1545465"/>
            <a:ext cx="11226196" cy="4663068"/>
          </a:xfrm>
        </p:spPr>
        <p:txBody>
          <a:bodyPr lIns="0" tIns="0"/>
          <a:lstStyle>
            <a:lvl1pPr marL="233268" indent="-233268">
              <a:spcBef>
                <a:spcPts val="1198"/>
              </a:spcBef>
              <a:defRPr sz="2600">
                <a:latin typeface="+mn-lt"/>
              </a:defRPr>
            </a:lvl1pPr>
            <a:lvl2pPr marL="690281" indent="-233268">
              <a:spcBef>
                <a:spcPts val="1198"/>
              </a:spcBef>
              <a:buSzPct val="100000"/>
              <a:buFont typeface="Segoe UI" pitchFamily="34" charset="0"/>
              <a:buChar char="‐"/>
              <a:defRPr/>
            </a:lvl2pPr>
            <a:lvl3pPr marL="1147294" indent="-233268">
              <a:spcBef>
                <a:spcPts val="1198"/>
              </a:spcBef>
              <a:buFont typeface="Wingdings" pitchFamily="2" charset="2"/>
              <a:buChar char="§"/>
              <a:defRPr/>
            </a:lvl3pPr>
            <a:lvl4pPr marL="1599545" indent="-342760">
              <a:spcBef>
                <a:spcPts val="1198"/>
              </a:spcBef>
              <a:buFont typeface="+mj-lt"/>
              <a:buAutoNum type="arabicPeriod"/>
              <a:defRPr/>
            </a:lvl4pPr>
            <a:lvl5pPr marL="1945479" indent="-342760">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p:nvSpPr>
        <p:spPr bwMode="auto">
          <a:xfrm>
            <a:off x="9518470" y="4546711"/>
            <a:ext cx="722812" cy="7770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p:cNvGrpSpPr/>
          <p:nvPr userDrawn="1"/>
        </p:nvGrpSpPr>
        <p:grpSpPr>
          <a:xfrm flipH="1">
            <a:off x="-4773" y="6861892"/>
            <a:ext cx="1047585" cy="91789"/>
            <a:chOff x="5349875" y="5672813"/>
            <a:chExt cx="7121580" cy="1331570"/>
          </a:xfrm>
        </p:grpSpPr>
        <p:sp>
          <p:nvSpPr>
            <p:cNvPr id="10" name="Freeform 9"/>
            <p:cNvSpPr>
              <a:spLocks/>
            </p:cNvSpPr>
            <p:nvPr/>
          </p:nvSpPr>
          <p:spPr bwMode="auto">
            <a:xfrm>
              <a:off x="5349875" y="6106794"/>
              <a:ext cx="3834363" cy="897589"/>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12" name="Freeform 9"/>
            <p:cNvSpPr>
              <a:spLocks/>
            </p:cNvSpPr>
            <p:nvPr/>
          </p:nvSpPr>
          <p:spPr bwMode="auto">
            <a:xfrm>
              <a:off x="7104968" y="5672813"/>
              <a:ext cx="5331507" cy="1331570"/>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13" name="Freeform 15"/>
            <p:cNvSpPr>
              <a:spLocks/>
            </p:cNvSpPr>
            <p:nvPr/>
          </p:nvSpPr>
          <p:spPr bwMode="auto">
            <a:xfrm>
              <a:off x="9327154" y="6315941"/>
              <a:ext cx="3144301" cy="688442"/>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grpSp>
      <p:grpSp>
        <p:nvGrpSpPr>
          <p:cNvPr id="43" name="Group 42"/>
          <p:cNvGrpSpPr/>
          <p:nvPr userDrawn="1"/>
        </p:nvGrpSpPr>
        <p:grpSpPr>
          <a:xfrm>
            <a:off x="4840295" y="6444328"/>
            <a:ext cx="352037" cy="377317"/>
            <a:chOff x="155510" y="6425359"/>
            <a:chExt cx="352037" cy="377317"/>
          </a:xfrm>
        </p:grpSpPr>
        <p:grpSp>
          <p:nvGrpSpPr>
            <p:cNvPr id="11" name="Group 10"/>
            <p:cNvGrpSpPr/>
            <p:nvPr userDrawn="1"/>
          </p:nvGrpSpPr>
          <p:grpSpPr>
            <a:xfrm>
              <a:off x="155510" y="6536274"/>
              <a:ext cx="141804" cy="266402"/>
              <a:chOff x="2050888" y="6524513"/>
              <a:chExt cx="229412" cy="430988"/>
            </a:xfrm>
          </p:grpSpPr>
          <p:sp>
            <p:nvSpPr>
              <p:cNvPr id="75" name="Rectangle 10"/>
              <p:cNvSpPr>
                <a:spLocks noChangeArrowheads="1"/>
              </p:cNvSpPr>
              <p:nvPr userDrawn="1"/>
            </p:nvSpPr>
            <p:spPr bwMode="auto">
              <a:xfrm flipH="1">
                <a:off x="2050888" y="6571843"/>
                <a:ext cx="229412" cy="383658"/>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7" name="Rectangle 10"/>
              <p:cNvSpPr>
                <a:spLocks noChangeArrowheads="1"/>
              </p:cNvSpPr>
              <p:nvPr userDrawn="1"/>
            </p:nvSpPr>
            <p:spPr bwMode="auto">
              <a:xfrm flipH="1">
                <a:off x="2079065" y="6531159"/>
                <a:ext cx="114535" cy="6992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8" name="Rectangle 10"/>
              <p:cNvSpPr>
                <a:spLocks noChangeArrowheads="1"/>
              </p:cNvSpPr>
              <p:nvPr userDrawn="1"/>
            </p:nvSpPr>
            <p:spPr bwMode="auto">
              <a:xfrm flipH="1">
                <a:off x="2071644" y="6524513"/>
                <a:ext cx="129373" cy="2645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79" name="Group 78"/>
            <p:cNvGrpSpPr/>
            <p:nvPr userDrawn="1"/>
          </p:nvGrpSpPr>
          <p:grpSpPr>
            <a:xfrm flipH="1">
              <a:off x="241126" y="6425359"/>
              <a:ext cx="266421" cy="351666"/>
              <a:chOff x="10027859" y="5966057"/>
              <a:chExt cx="779166" cy="1028469"/>
            </a:xfrm>
          </p:grpSpPr>
          <p:sp>
            <p:nvSpPr>
              <p:cNvPr id="80" name="Rectangle 10"/>
              <p:cNvSpPr>
                <a:spLocks noChangeArrowheads="1"/>
              </p:cNvSpPr>
              <p:nvPr/>
            </p:nvSpPr>
            <p:spPr bwMode="auto">
              <a:xfrm>
                <a:off x="10063027" y="6104385"/>
                <a:ext cx="708830" cy="89014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1" name="Rectangle 11"/>
              <p:cNvSpPr>
                <a:spLocks noChangeArrowheads="1"/>
              </p:cNvSpPr>
              <p:nvPr/>
            </p:nvSpPr>
            <p:spPr bwMode="auto">
              <a:xfrm>
                <a:off x="10027859" y="6077032"/>
                <a:ext cx="779166" cy="27353"/>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2" name="Rectangle 12"/>
              <p:cNvSpPr>
                <a:spLocks noChangeArrowheads="1"/>
              </p:cNvSpPr>
              <p:nvPr/>
            </p:nvSpPr>
            <p:spPr bwMode="auto">
              <a:xfrm>
                <a:off x="10129455" y="6185662"/>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3" name="Rectangle 13"/>
              <p:cNvSpPr>
                <a:spLocks noChangeArrowheads="1"/>
              </p:cNvSpPr>
              <p:nvPr/>
            </p:nvSpPr>
            <p:spPr bwMode="auto">
              <a:xfrm>
                <a:off x="10129455" y="6185662"/>
                <a:ext cx="92218" cy="46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4" name="Rectangle 14"/>
              <p:cNvSpPr>
                <a:spLocks noChangeArrowheads="1"/>
              </p:cNvSpPr>
              <p:nvPr/>
            </p:nvSpPr>
            <p:spPr bwMode="auto">
              <a:xfrm>
                <a:off x="10289665" y="6185662"/>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Rectangle 15"/>
              <p:cNvSpPr>
                <a:spLocks noChangeArrowheads="1"/>
              </p:cNvSpPr>
              <p:nvPr/>
            </p:nvSpPr>
            <p:spPr bwMode="auto">
              <a:xfrm>
                <a:off x="10448311" y="6185662"/>
                <a:ext cx="93000"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 name="Rectangle 16"/>
              <p:cNvSpPr>
                <a:spLocks noChangeArrowheads="1"/>
              </p:cNvSpPr>
              <p:nvPr/>
            </p:nvSpPr>
            <p:spPr bwMode="auto">
              <a:xfrm>
                <a:off x="10289665" y="6813997"/>
                <a:ext cx="92218" cy="18052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7" name="Rectangle 17"/>
              <p:cNvSpPr>
                <a:spLocks noChangeArrowheads="1"/>
              </p:cNvSpPr>
              <p:nvPr/>
            </p:nvSpPr>
            <p:spPr bwMode="auto">
              <a:xfrm>
                <a:off x="10448311" y="6813997"/>
                <a:ext cx="93000" cy="18052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8" name="Rectangle 18"/>
              <p:cNvSpPr>
                <a:spLocks noChangeArrowheads="1"/>
              </p:cNvSpPr>
              <p:nvPr/>
            </p:nvSpPr>
            <p:spPr bwMode="auto">
              <a:xfrm>
                <a:off x="10609302" y="6185662"/>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9" name="Rectangle 19"/>
              <p:cNvSpPr>
                <a:spLocks noChangeArrowheads="1"/>
              </p:cNvSpPr>
              <p:nvPr/>
            </p:nvSpPr>
            <p:spPr bwMode="auto">
              <a:xfrm>
                <a:off x="10129455" y="6344309"/>
                <a:ext cx="92218" cy="930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0" name="Rectangle 20"/>
              <p:cNvSpPr>
                <a:spLocks noChangeArrowheads="1"/>
              </p:cNvSpPr>
              <p:nvPr/>
            </p:nvSpPr>
            <p:spPr bwMode="auto">
              <a:xfrm>
                <a:off x="10289665" y="6344309"/>
                <a:ext cx="92218" cy="9300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1" name="Rectangle 21"/>
              <p:cNvSpPr>
                <a:spLocks noChangeArrowheads="1"/>
              </p:cNvSpPr>
              <p:nvPr/>
            </p:nvSpPr>
            <p:spPr bwMode="auto">
              <a:xfrm>
                <a:off x="10448311" y="6344309"/>
                <a:ext cx="93000" cy="9300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2" name="Rectangle 22"/>
              <p:cNvSpPr>
                <a:spLocks noChangeArrowheads="1"/>
              </p:cNvSpPr>
              <p:nvPr/>
            </p:nvSpPr>
            <p:spPr bwMode="auto">
              <a:xfrm>
                <a:off x="10609302" y="6344309"/>
                <a:ext cx="92218" cy="930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3" name="Rectangle 23"/>
              <p:cNvSpPr>
                <a:spLocks noChangeArrowheads="1"/>
              </p:cNvSpPr>
              <p:nvPr/>
            </p:nvSpPr>
            <p:spPr bwMode="auto">
              <a:xfrm>
                <a:off x="10129455" y="6505300"/>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4" name="Rectangle 24"/>
              <p:cNvSpPr>
                <a:spLocks noChangeArrowheads="1"/>
              </p:cNvSpPr>
              <p:nvPr/>
            </p:nvSpPr>
            <p:spPr bwMode="auto">
              <a:xfrm>
                <a:off x="10289665" y="6505300"/>
                <a:ext cx="92218"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5" name="Rectangle 25"/>
              <p:cNvSpPr>
                <a:spLocks noChangeArrowheads="1"/>
              </p:cNvSpPr>
              <p:nvPr/>
            </p:nvSpPr>
            <p:spPr bwMode="auto">
              <a:xfrm>
                <a:off x="10448311" y="6505300"/>
                <a:ext cx="93000"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6" name="Rectangle 26"/>
              <p:cNvSpPr>
                <a:spLocks noChangeArrowheads="1"/>
              </p:cNvSpPr>
              <p:nvPr/>
            </p:nvSpPr>
            <p:spPr bwMode="auto">
              <a:xfrm>
                <a:off x="10609302" y="6505300"/>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7" name="Rectangle 27"/>
              <p:cNvSpPr>
                <a:spLocks noChangeArrowheads="1"/>
              </p:cNvSpPr>
              <p:nvPr/>
            </p:nvSpPr>
            <p:spPr bwMode="auto">
              <a:xfrm>
                <a:off x="10129455" y="6663947"/>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8" name="Rectangle 28"/>
              <p:cNvSpPr>
                <a:spLocks noChangeArrowheads="1"/>
              </p:cNvSpPr>
              <p:nvPr/>
            </p:nvSpPr>
            <p:spPr bwMode="auto">
              <a:xfrm>
                <a:off x="10289665" y="6663947"/>
                <a:ext cx="92218"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9" name="Rectangle 29"/>
              <p:cNvSpPr>
                <a:spLocks noChangeArrowheads="1"/>
              </p:cNvSpPr>
              <p:nvPr/>
            </p:nvSpPr>
            <p:spPr bwMode="auto">
              <a:xfrm>
                <a:off x="10448311" y="6663947"/>
                <a:ext cx="93000"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0" name="Rectangle 30"/>
              <p:cNvSpPr>
                <a:spLocks noChangeArrowheads="1"/>
              </p:cNvSpPr>
              <p:nvPr/>
            </p:nvSpPr>
            <p:spPr bwMode="auto">
              <a:xfrm>
                <a:off x="10609302" y="6663947"/>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2" name="Rectangle 31"/>
              <p:cNvSpPr>
                <a:spLocks noChangeArrowheads="1"/>
              </p:cNvSpPr>
              <p:nvPr/>
            </p:nvSpPr>
            <p:spPr bwMode="auto">
              <a:xfrm>
                <a:off x="10129455" y="6505300"/>
                <a:ext cx="92218" cy="46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3" name="Rectangle 32"/>
              <p:cNvSpPr>
                <a:spLocks noChangeArrowheads="1"/>
              </p:cNvSpPr>
              <p:nvPr/>
            </p:nvSpPr>
            <p:spPr bwMode="auto">
              <a:xfrm>
                <a:off x="10609302" y="6505300"/>
                <a:ext cx="92218" cy="46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4" name="Rectangle 33"/>
              <p:cNvSpPr>
                <a:spLocks noChangeArrowheads="1"/>
              </p:cNvSpPr>
              <p:nvPr/>
            </p:nvSpPr>
            <p:spPr bwMode="auto">
              <a:xfrm>
                <a:off x="10609302" y="6344309"/>
                <a:ext cx="92218" cy="46891"/>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5" name="Rectangle 41"/>
              <p:cNvSpPr>
                <a:spLocks noChangeArrowheads="1"/>
              </p:cNvSpPr>
              <p:nvPr/>
            </p:nvSpPr>
            <p:spPr bwMode="auto">
              <a:xfrm>
                <a:off x="10381881" y="5966057"/>
                <a:ext cx="273529" cy="11097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6" name="Group 25"/>
            <p:cNvGrpSpPr/>
            <p:nvPr/>
          </p:nvGrpSpPr>
          <p:grpSpPr>
            <a:xfrm flipH="1">
              <a:off x="319603" y="6675058"/>
              <a:ext cx="45719" cy="88614"/>
              <a:chOff x="6229350" y="5232400"/>
              <a:chExt cx="539750" cy="1046162"/>
            </a:xfrm>
          </p:grpSpPr>
          <p:sp>
            <p:nvSpPr>
              <p:cNvPr id="3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69" name="Group 68"/>
          <p:cNvGrpSpPr/>
          <p:nvPr userDrawn="1"/>
        </p:nvGrpSpPr>
        <p:grpSpPr>
          <a:xfrm flipH="1">
            <a:off x="280695" y="6714493"/>
            <a:ext cx="79410" cy="153915"/>
            <a:chOff x="6229350" y="5232400"/>
            <a:chExt cx="539750" cy="1046162"/>
          </a:xfrm>
        </p:grpSpPr>
        <p:sp>
          <p:nvSpPr>
            <p:cNvPr id="7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8" name="Rectangle 7"/>
          <p:cNvSpPr>
            <a:spLocks noChangeArrowheads="1"/>
          </p:cNvSpPr>
          <p:nvPr/>
        </p:nvSpPr>
        <p:spPr bwMode="auto">
          <a:xfrm flipH="1">
            <a:off x="6907200" y="6761468"/>
            <a:ext cx="147982" cy="1190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Rectangle 8"/>
          <p:cNvSpPr>
            <a:spLocks noChangeArrowheads="1"/>
          </p:cNvSpPr>
          <p:nvPr/>
        </p:nvSpPr>
        <p:spPr bwMode="auto">
          <a:xfrm flipH="1">
            <a:off x="6848083" y="6706659"/>
            <a:ext cx="146809" cy="1738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Rectangle 9"/>
          <p:cNvSpPr>
            <a:spLocks noChangeArrowheads="1"/>
          </p:cNvSpPr>
          <p:nvPr/>
        </p:nvSpPr>
        <p:spPr bwMode="auto">
          <a:xfrm flipH="1">
            <a:off x="5389793" y="6654087"/>
            <a:ext cx="229413" cy="26073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Rectangle 10"/>
          <p:cNvSpPr>
            <a:spLocks noChangeArrowheads="1"/>
          </p:cNvSpPr>
          <p:nvPr/>
        </p:nvSpPr>
        <p:spPr bwMode="auto">
          <a:xfrm flipH="1">
            <a:off x="5296619" y="6531163"/>
            <a:ext cx="229413" cy="38365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Freeform 11"/>
          <p:cNvSpPr>
            <a:spLocks/>
          </p:cNvSpPr>
          <p:nvPr userDrawn="1"/>
        </p:nvSpPr>
        <p:spPr bwMode="auto">
          <a:xfrm flipH="1">
            <a:off x="5002393" y="6159555"/>
            <a:ext cx="4367825" cy="812171"/>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11"/>
          <p:cNvSpPr>
            <a:spLocks/>
          </p:cNvSpPr>
          <p:nvPr/>
        </p:nvSpPr>
        <p:spPr bwMode="auto">
          <a:xfrm flipH="1">
            <a:off x="4046110" y="6749356"/>
            <a:ext cx="2404472" cy="222370"/>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8" name="Freeform 117"/>
          <p:cNvSpPr>
            <a:spLocks/>
          </p:cNvSpPr>
          <p:nvPr/>
        </p:nvSpPr>
        <p:spPr bwMode="auto">
          <a:xfrm flipH="1">
            <a:off x="6909026" y="5583618"/>
            <a:ext cx="5527453" cy="1394106"/>
          </a:xfrm>
          <a:custGeom>
            <a:avLst/>
            <a:gdLst>
              <a:gd name="connsiteX0" fmla="*/ 1770085 w 5517928"/>
              <a:gd name="connsiteY0" fmla="*/ 663 h 1199124"/>
              <a:gd name="connsiteX1" fmla="*/ 178747 w 5517928"/>
              <a:gd name="connsiteY1" fmla="*/ 265146 h 1199124"/>
              <a:gd name="connsiteX2" fmla="*/ 0 w 5517928"/>
              <a:gd name="connsiteY2" fmla="*/ 330262 h 1199124"/>
              <a:gd name="connsiteX3" fmla="*/ 0 w 5517928"/>
              <a:gd name="connsiteY3" fmla="*/ 1195581 h 1199124"/>
              <a:gd name="connsiteX4" fmla="*/ 5517928 w 5517928"/>
              <a:gd name="connsiteY4" fmla="*/ 1199124 h 1199124"/>
              <a:gd name="connsiteX5" fmla="*/ 1770085 w 5517928"/>
              <a:gd name="connsiteY5" fmla="*/ 663 h 1199124"/>
              <a:gd name="connsiteX0" fmla="*/ 1770085 w 5517928"/>
              <a:gd name="connsiteY0" fmla="*/ 40473 h 1238934"/>
              <a:gd name="connsiteX1" fmla="*/ 0 w 5517928"/>
              <a:gd name="connsiteY1" fmla="*/ 370072 h 1238934"/>
              <a:gd name="connsiteX2" fmla="*/ 0 w 5517928"/>
              <a:gd name="connsiteY2" fmla="*/ 1235391 h 1238934"/>
              <a:gd name="connsiteX3" fmla="*/ 5517928 w 5517928"/>
              <a:gd name="connsiteY3" fmla="*/ 1238934 h 1238934"/>
              <a:gd name="connsiteX4" fmla="*/ 1770085 w 5517928"/>
              <a:gd name="connsiteY4" fmla="*/ 40473 h 1238934"/>
              <a:gd name="connsiteX0" fmla="*/ 1779610 w 5527453"/>
              <a:gd name="connsiteY0" fmla="*/ 252952 h 1451413"/>
              <a:gd name="connsiteX1" fmla="*/ 0 w 5527453"/>
              <a:gd name="connsiteY1" fmla="*/ 77726 h 1451413"/>
              <a:gd name="connsiteX2" fmla="*/ 9525 w 5527453"/>
              <a:gd name="connsiteY2" fmla="*/ 1447870 h 1451413"/>
              <a:gd name="connsiteX3" fmla="*/ 5527453 w 5527453"/>
              <a:gd name="connsiteY3" fmla="*/ 1451413 h 1451413"/>
              <a:gd name="connsiteX4" fmla="*/ 1779610 w 5527453"/>
              <a:gd name="connsiteY4" fmla="*/ 252952 h 1451413"/>
              <a:gd name="connsiteX0" fmla="*/ 5527453 w 5527453"/>
              <a:gd name="connsiteY0" fmla="*/ 1373687 h 1373687"/>
              <a:gd name="connsiteX1" fmla="*/ 0 w 5527453"/>
              <a:gd name="connsiteY1" fmla="*/ 0 h 1373687"/>
              <a:gd name="connsiteX2" fmla="*/ 9525 w 5527453"/>
              <a:gd name="connsiteY2" fmla="*/ 1370144 h 1373687"/>
              <a:gd name="connsiteX3" fmla="*/ 5527453 w 5527453"/>
              <a:gd name="connsiteY3" fmla="*/ 1373687 h 1373687"/>
              <a:gd name="connsiteX0" fmla="*/ 5527453 w 5527453"/>
              <a:gd name="connsiteY0" fmla="*/ 1373687 h 1373687"/>
              <a:gd name="connsiteX1" fmla="*/ 0 w 5527453"/>
              <a:gd name="connsiteY1" fmla="*/ 0 h 1373687"/>
              <a:gd name="connsiteX2" fmla="*/ 9525 w 5527453"/>
              <a:gd name="connsiteY2" fmla="*/ 1370144 h 1373687"/>
              <a:gd name="connsiteX3" fmla="*/ 5527453 w 5527453"/>
              <a:gd name="connsiteY3" fmla="*/ 1373687 h 1373687"/>
              <a:gd name="connsiteX0" fmla="*/ 5527453 w 5527453"/>
              <a:gd name="connsiteY0" fmla="*/ 1386005 h 1386005"/>
              <a:gd name="connsiteX1" fmla="*/ 0 w 5527453"/>
              <a:gd name="connsiteY1" fmla="*/ 12318 h 1386005"/>
              <a:gd name="connsiteX2" fmla="*/ 9525 w 5527453"/>
              <a:gd name="connsiteY2" fmla="*/ 1382462 h 1386005"/>
              <a:gd name="connsiteX3" fmla="*/ 5527453 w 5527453"/>
              <a:gd name="connsiteY3" fmla="*/ 1386005 h 1386005"/>
              <a:gd name="connsiteX0" fmla="*/ 5527453 w 5527453"/>
              <a:gd name="connsiteY0" fmla="*/ 1386879 h 1386879"/>
              <a:gd name="connsiteX1" fmla="*/ 0 w 5527453"/>
              <a:gd name="connsiteY1" fmla="*/ 13192 h 1386879"/>
              <a:gd name="connsiteX2" fmla="*/ 9525 w 5527453"/>
              <a:gd name="connsiteY2" fmla="*/ 1383336 h 1386879"/>
              <a:gd name="connsiteX3" fmla="*/ 5527453 w 5527453"/>
              <a:gd name="connsiteY3" fmla="*/ 1386879 h 1386879"/>
              <a:gd name="connsiteX0" fmla="*/ 5527453 w 5527453"/>
              <a:gd name="connsiteY0" fmla="*/ 1387412 h 1387412"/>
              <a:gd name="connsiteX1" fmla="*/ 0 w 5527453"/>
              <a:gd name="connsiteY1" fmla="*/ 13725 h 1387412"/>
              <a:gd name="connsiteX2" fmla="*/ 9525 w 5527453"/>
              <a:gd name="connsiteY2" fmla="*/ 1383869 h 1387412"/>
              <a:gd name="connsiteX3" fmla="*/ 5527453 w 5527453"/>
              <a:gd name="connsiteY3" fmla="*/ 1387412 h 1387412"/>
              <a:gd name="connsiteX0" fmla="*/ 5527453 w 5527453"/>
              <a:gd name="connsiteY0" fmla="*/ 1394106 h 1394106"/>
              <a:gd name="connsiteX1" fmla="*/ 0 w 5527453"/>
              <a:gd name="connsiteY1" fmla="*/ 20419 h 1394106"/>
              <a:gd name="connsiteX2" fmla="*/ 9525 w 5527453"/>
              <a:gd name="connsiteY2" fmla="*/ 1390563 h 1394106"/>
              <a:gd name="connsiteX3" fmla="*/ 5527453 w 5527453"/>
              <a:gd name="connsiteY3" fmla="*/ 1394106 h 1394106"/>
            </a:gdLst>
            <a:ahLst/>
            <a:cxnLst>
              <a:cxn ang="0">
                <a:pos x="connsiteX0" y="connsiteY0"/>
              </a:cxn>
              <a:cxn ang="0">
                <a:pos x="connsiteX1" y="connsiteY1"/>
              </a:cxn>
              <a:cxn ang="0">
                <a:pos x="connsiteX2" y="connsiteY2"/>
              </a:cxn>
              <a:cxn ang="0">
                <a:pos x="connsiteX3" y="connsiteY3"/>
              </a:cxn>
            </a:cxnLst>
            <a:rect l="l" t="t" r="r" b="b"/>
            <a:pathLst>
              <a:path w="5527453" h="1394106">
                <a:moveTo>
                  <a:pt x="5527453" y="1394106"/>
                </a:moveTo>
                <a:cubicBezTo>
                  <a:pt x="5135341" y="1018112"/>
                  <a:pt x="4053380" y="-169491"/>
                  <a:pt x="0" y="20419"/>
                </a:cubicBezTo>
                <a:lnTo>
                  <a:pt x="9525" y="1390563"/>
                </a:lnTo>
                <a:lnTo>
                  <a:pt x="5527453" y="1394106"/>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0" name="Freeform 119"/>
          <p:cNvSpPr>
            <a:spLocks/>
          </p:cNvSpPr>
          <p:nvPr/>
        </p:nvSpPr>
        <p:spPr bwMode="auto">
          <a:xfrm flipH="1">
            <a:off x="9243963" y="5863342"/>
            <a:ext cx="3192515" cy="1108384"/>
          </a:xfrm>
          <a:custGeom>
            <a:avLst/>
            <a:gdLst>
              <a:gd name="connsiteX0" fmla="*/ 420368 w 3192515"/>
              <a:gd name="connsiteY0" fmla="*/ 59 h 1108384"/>
              <a:gd name="connsiteX1" fmla="*/ 193603 w 3192515"/>
              <a:gd name="connsiteY1" fmla="*/ 7811 h 1108384"/>
              <a:gd name="connsiteX2" fmla="*/ 0 w 3192515"/>
              <a:gd name="connsiteY2" fmla="*/ 25595 h 1108384"/>
              <a:gd name="connsiteX3" fmla="*/ 0 w 3192515"/>
              <a:gd name="connsiteY3" fmla="*/ 1108384 h 1108384"/>
              <a:gd name="connsiteX4" fmla="*/ 270371 w 3192515"/>
              <a:gd name="connsiteY4" fmla="*/ 1108384 h 1108384"/>
              <a:gd name="connsiteX5" fmla="*/ 3192515 w 3192515"/>
              <a:gd name="connsiteY5" fmla="*/ 1108384 h 1108384"/>
              <a:gd name="connsiteX6" fmla="*/ 1098262 w 3192515"/>
              <a:gd name="connsiteY6" fmla="*/ 55215 h 1108384"/>
              <a:gd name="connsiteX7" fmla="*/ 420368 w 3192515"/>
              <a:gd name="connsiteY7" fmla="*/ 59 h 1108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2515" h="1108384">
                <a:moveTo>
                  <a:pt x="420368" y="59"/>
                </a:moveTo>
                <a:cubicBezTo>
                  <a:pt x="344742" y="470"/>
                  <a:pt x="269119" y="3055"/>
                  <a:pt x="193603" y="7811"/>
                </a:cubicBezTo>
                <a:lnTo>
                  <a:pt x="0" y="25595"/>
                </a:lnTo>
                <a:lnTo>
                  <a:pt x="0" y="1108384"/>
                </a:lnTo>
                <a:lnTo>
                  <a:pt x="270371" y="1108384"/>
                </a:lnTo>
                <a:cubicBezTo>
                  <a:pt x="3192515" y="1108384"/>
                  <a:pt x="3192515" y="1108384"/>
                  <a:pt x="3192515" y="1108384"/>
                </a:cubicBezTo>
                <a:cubicBezTo>
                  <a:pt x="2599802" y="528658"/>
                  <a:pt x="1868789" y="180823"/>
                  <a:pt x="1098262" y="55215"/>
                </a:cubicBezTo>
                <a:cubicBezTo>
                  <a:pt x="874142" y="17171"/>
                  <a:pt x="647244" y="-1172"/>
                  <a:pt x="420368" y="59"/>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AutoShape 3"/>
          <p:cNvSpPr>
            <a:spLocks noChangeAspect="1" noChangeArrowheads="1" noTextEdit="1"/>
          </p:cNvSpPr>
          <p:nvPr userDrawn="1"/>
        </p:nvSpPr>
        <p:spPr bwMode="auto">
          <a:xfrm flipH="1">
            <a:off x="4721744" y="6415283"/>
            <a:ext cx="1803974" cy="587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27" name="Group 26"/>
          <p:cNvGrpSpPr/>
          <p:nvPr userDrawn="1"/>
        </p:nvGrpSpPr>
        <p:grpSpPr>
          <a:xfrm flipH="1">
            <a:off x="6851207" y="6820974"/>
            <a:ext cx="79041" cy="153198"/>
            <a:chOff x="6229350" y="5232400"/>
            <a:chExt cx="539750" cy="1046162"/>
          </a:xfrm>
        </p:grpSpPr>
        <p:sp>
          <p:nvSpPr>
            <p:cNvPr id="33"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9" name="Group 28"/>
          <p:cNvGrpSpPr/>
          <p:nvPr userDrawn="1"/>
        </p:nvGrpSpPr>
        <p:grpSpPr>
          <a:xfrm flipH="1">
            <a:off x="6757268" y="6793374"/>
            <a:ext cx="79041" cy="153198"/>
            <a:chOff x="6229350" y="5232400"/>
            <a:chExt cx="539750" cy="1046162"/>
          </a:xfrm>
        </p:grpSpPr>
        <p:sp>
          <p:nvSpPr>
            <p:cNvPr id="3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50" name="Group 70"/>
          <p:cNvGrpSpPr>
            <a:grpSpLocks noChangeAspect="1"/>
          </p:cNvGrpSpPr>
          <p:nvPr userDrawn="1"/>
        </p:nvGrpSpPr>
        <p:grpSpPr bwMode="auto">
          <a:xfrm>
            <a:off x="6104469" y="6314995"/>
            <a:ext cx="663724" cy="638358"/>
            <a:chOff x="2974" y="1298"/>
            <a:chExt cx="1884" cy="1812"/>
          </a:xfrm>
        </p:grpSpPr>
        <p:sp>
          <p:nvSpPr>
            <p:cNvPr id="51" name="Freeform 71"/>
            <p:cNvSpPr>
              <a:spLocks/>
            </p:cNvSpPr>
            <p:nvPr userDrawn="1"/>
          </p:nvSpPr>
          <p:spPr bwMode="auto">
            <a:xfrm>
              <a:off x="2974" y="2996"/>
              <a:ext cx="1884" cy="114"/>
            </a:xfrm>
            <a:custGeom>
              <a:avLst/>
              <a:gdLst>
                <a:gd name="T0" fmla="*/ 0 w 1884"/>
                <a:gd name="T1" fmla="*/ 0 h 114"/>
                <a:gd name="T2" fmla="*/ 1884 w 1884"/>
                <a:gd name="T3" fmla="*/ 0 h 114"/>
                <a:gd name="T4" fmla="*/ 1884 w 1884"/>
                <a:gd name="T5" fmla="*/ 114 h 114"/>
                <a:gd name="T6" fmla="*/ 0 w 1884"/>
                <a:gd name="T7" fmla="*/ 114 h 114"/>
                <a:gd name="T8" fmla="*/ 0 w 1884"/>
                <a:gd name="T9" fmla="*/ 0 h 114"/>
                <a:gd name="T10" fmla="*/ 0 w 1884"/>
                <a:gd name="T11" fmla="*/ 0 h 114"/>
              </a:gdLst>
              <a:ahLst/>
              <a:cxnLst>
                <a:cxn ang="0">
                  <a:pos x="T0" y="T1"/>
                </a:cxn>
                <a:cxn ang="0">
                  <a:pos x="T2" y="T3"/>
                </a:cxn>
                <a:cxn ang="0">
                  <a:pos x="T4" y="T5"/>
                </a:cxn>
                <a:cxn ang="0">
                  <a:pos x="T6" y="T7"/>
                </a:cxn>
                <a:cxn ang="0">
                  <a:pos x="T8" y="T9"/>
                </a:cxn>
                <a:cxn ang="0">
                  <a:pos x="T10" y="T11"/>
                </a:cxn>
              </a:cxnLst>
              <a:rect l="0" t="0" r="r" b="b"/>
              <a:pathLst>
                <a:path w="1884" h="114">
                  <a:moveTo>
                    <a:pt x="0" y="0"/>
                  </a:moveTo>
                  <a:lnTo>
                    <a:pt x="1884" y="0"/>
                  </a:lnTo>
                  <a:lnTo>
                    <a:pt x="1884" y="114"/>
                  </a:lnTo>
                  <a:lnTo>
                    <a:pt x="0" y="114"/>
                  </a:lnTo>
                  <a:lnTo>
                    <a:pt x="0" y="0"/>
                  </a:lnTo>
                  <a:lnTo>
                    <a:pt x="0" y="0"/>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Freeform 72"/>
            <p:cNvSpPr>
              <a:spLocks/>
            </p:cNvSpPr>
            <p:nvPr userDrawn="1"/>
          </p:nvSpPr>
          <p:spPr bwMode="auto">
            <a:xfrm>
              <a:off x="3067" y="2892"/>
              <a:ext cx="1696" cy="114"/>
            </a:xfrm>
            <a:custGeom>
              <a:avLst/>
              <a:gdLst>
                <a:gd name="T0" fmla="*/ 0 w 1696"/>
                <a:gd name="T1" fmla="*/ 0 h 114"/>
                <a:gd name="T2" fmla="*/ 1696 w 1696"/>
                <a:gd name="T3" fmla="*/ 0 h 114"/>
                <a:gd name="T4" fmla="*/ 1696 w 1696"/>
                <a:gd name="T5" fmla="*/ 114 h 114"/>
                <a:gd name="T6" fmla="*/ 0 w 1696"/>
                <a:gd name="T7" fmla="*/ 114 h 114"/>
                <a:gd name="T8" fmla="*/ 0 w 1696"/>
                <a:gd name="T9" fmla="*/ 0 h 114"/>
                <a:gd name="T10" fmla="*/ 0 w 1696"/>
                <a:gd name="T11" fmla="*/ 0 h 114"/>
              </a:gdLst>
              <a:ahLst/>
              <a:cxnLst>
                <a:cxn ang="0">
                  <a:pos x="T0" y="T1"/>
                </a:cxn>
                <a:cxn ang="0">
                  <a:pos x="T2" y="T3"/>
                </a:cxn>
                <a:cxn ang="0">
                  <a:pos x="T4" y="T5"/>
                </a:cxn>
                <a:cxn ang="0">
                  <a:pos x="T6" y="T7"/>
                </a:cxn>
                <a:cxn ang="0">
                  <a:pos x="T8" y="T9"/>
                </a:cxn>
                <a:cxn ang="0">
                  <a:pos x="T10" y="T11"/>
                </a:cxn>
              </a:cxnLst>
              <a:rect l="0" t="0" r="r" b="b"/>
              <a:pathLst>
                <a:path w="1696" h="114">
                  <a:moveTo>
                    <a:pt x="0" y="0"/>
                  </a:moveTo>
                  <a:lnTo>
                    <a:pt x="1696" y="0"/>
                  </a:lnTo>
                  <a:lnTo>
                    <a:pt x="1696" y="114"/>
                  </a:lnTo>
                  <a:lnTo>
                    <a:pt x="0" y="114"/>
                  </a:lnTo>
                  <a:lnTo>
                    <a:pt x="0" y="0"/>
                  </a:lnTo>
                  <a:lnTo>
                    <a:pt x="0" y="0"/>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3" name="Freeform 73"/>
            <p:cNvSpPr>
              <a:spLocks/>
            </p:cNvSpPr>
            <p:nvPr userDrawn="1"/>
          </p:nvSpPr>
          <p:spPr bwMode="auto">
            <a:xfrm>
              <a:off x="3157" y="2785"/>
              <a:ext cx="1518" cy="112"/>
            </a:xfrm>
            <a:custGeom>
              <a:avLst/>
              <a:gdLst>
                <a:gd name="T0" fmla="*/ 0 w 1518"/>
                <a:gd name="T1" fmla="*/ 0 h 112"/>
                <a:gd name="T2" fmla="*/ 1518 w 1518"/>
                <a:gd name="T3" fmla="*/ 0 h 112"/>
                <a:gd name="T4" fmla="*/ 1518 w 1518"/>
                <a:gd name="T5" fmla="*/ 112 h 112"/>
                <a:gd name="T6" fmla="*/ 0 w 1518"/>
                <a:gd name="T7" fmla="*/ 112 h 112"/>
                <a:gd name="T8" fmla="*/ 0 w 1518"/>
                <a:gd name="T9" fmla="*/ 0 h 112"/>
                <a:gd name="T10" fmla="*/ 0 w 1518"/>
                <a:gd name="T11" fmla="*/ 0 h 112"/>
              </a:gdLst>
              <a:ahLst/>
              <a:cxnLst>
                <a:cxn ang="0">
                  <a:pos x="T0" y="T1"/>
                </a:cxn>
                <a:cxn ang="0">
                  <a:pos x="T2" y="T3"/>
                </a:cxn>
                <a:cxn ang="0">
                  <a:pos x="T4" y="T5"/>
                </a:cxn>
                <a:cxn ang="0">
                  <a:pos x="T6" y="T7"/>
                </a:cxn>
                <a:cxn ang="0">
                  <a:pos x="T8" y="T9"/>
                </a:cxn>
                <a:cxn ang="0">
                  <a:pos x="T10" y="T11"/>
                </a:cxn>
              </a:cxnLst>
              <a:rect l="0" t="0" r="r" b="b"/>
              <a:pathLst>
                <a:path w="1518" h="112">
                  <a:moveTo>
                    <a:pt x="0" y="0"/>
                  </a:moveTo>
                  <a:lnTo>
                    <a:pt x="1518" y="0"/>
                  </a:lnTo>
                  <a:lnTo>
                    <a:pt x="1518" y="112"/>
                  </a:lnTo>
                  <a:lnTo>
                    <a:pt x="0" y="112"/>
                  </a:lnTo>
                  <a:lnTo>
                    <a:pt x="0" y="0"/>
                  </a:lnTo>
                  <a:lnTo>
                    <a:pt x="0" y="0"/>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4" name="Freeform 74"/>
            <p:cNvSpPr>
              <a:spLocks/>
            </p:cNvSpPr>
            <p:nvPr userDrawn="1"/>
          </p:nvSpPr>
          <p:spPr bwMode="auto">
            <a:xfrm>
              <a:off x="3242" y="1792"/>
              <a:ext cx="1347" cy="113"/>
            </a:xfrm>
            <a:custGeom>
              <a:avLst/>
              <a:gdLst>
                <a:gd name="T0" fmla="*/ 0 w 1347"/>
                <a:gd name="T1" fmla="*/ 0 h 113"/>
                <a:gd name="T2" fmla="*/ 1347 w 1347"/>
                <a:gd name="T3" fmla="*/ 0 h 113"/>
                <a:gd name="T4" fmla="*/ 1347 w 1347"/>
                <a:gd name="T5" fmla="*/ 113 h 113"/>
                <a:gd name="T6" fmla="*/ 0 w 1347"/>
                <a:gd name="T7" fmla="*/ 113 h 113"/>
                <a:gd name="T8" fmla="*/ 0 w 1347"/>
                <a:gd name="T9" fmla="*/ 0 h 113"/>
                <a:gd name="T10" fmla="*/ 0 w 1347"/>
                <a:gd name="T11" fmla="*/ 0 h 113"/>
              </a:gdLst>
              <a:ahLst/>
              <a:cxnLst>
                <a:cxn ang="0">
                  <a:pos x="T0" y="T1"/>
                </a:cxn>
                <a:cxn ang="0">
                  <a:pos x="T2" y="T3"/>
                </a:cxn>
                <a:cxn ang="0">
                  <a:pos x="T4" y="T5"/>
                </a:cxn>
                <a:cxn ang="0">
                  <a:pos x="T6" y="T7"/>
                </a:cxn>
                <a:cxn ang="0">
                  <a:pos x="T8" y="T9"/>
                </a:cxn>
                <a:cxn ang="0">
                  <a:pos x="T10" y="T11"/>
                </a:cxn>
              </a:cxnLst>
              <a:rect l="0" t="0" r="r" b="b"/>
              <a:pathLst>
                <a:path w="1347" h="113">
                  <a:moveTo>
                    <a:pt x="0" y="0"/>
                  </a:moveTo>
                  <a:lnTo>
                    <a:pt x="1347" y="0"/>
                  </a:lnTo>
                  <a:lnTo>
                    <a:pt x="1347" y="113"/>
                  </a:lnTo>
                  <a:lnTo>
                    <a:pt x="0" y="113"/>
                  </a:lnTo>
                  <a:lnTo>
                    <a:pt x="0" y="0"/>
                  </a:lnTo>
                  <a:lnTo>
                    <a:pt x="0" y="0"/>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5" name="Freeform 75"/>
            <p:cNvSpPr>
              <a:spLocks/>
            </p:cNvSpPr>
            <p:nvPr userDrawn="1"/>
          </p:nvSpPr>
          <p:spPr bwMode="auto">
            <a:xfrm>
              <a:off x="3282" y="1936"/>
              <a:ext cx="183" cy="814"/>
            </a:xfrm>
            <a:custGeom>
              <a:avLst/>
              <a:gdLst>
                <a:gd name="T0" fmla="*/ 0 w 183"/>
                <a:gd name="T1" fmla="*/ 814 h 814"/>
                <a:gd name="T2" fmla="*/ 17 w 183"/>
                <a:gd name="T3" fmla="*/ 0 h 814"/>
                <a:gd name="T4" fmla="*/ 167 w 183"/>
                <a:gd name="T5" fmla="*/ 0 h 814"/>
                <a:gd name="T6" fmla="*/ 183 w 183"/>
                <a:gd name="T7" fmla="*/ 814 h 814"/>
                <a:gd name="T8" fmla="*/ 0 w 183"/>
                <a:gd name="T9" fmla="*/ 814 h 814"/>
                <a:gd name="T10" fmla="*/ 0 w 183"/>
                <a:gd name="T11" fmla="*/ 814 h 814"/>
              </a:gdLst>
              <a:ahLst/>
              <a:cxnLst>
                <a:cxn ang="0">
                  <a:pos x="T0" y="T1"/>
                </a:cxn>
                <a:cxn ang="0">
                  <a:pos x="T2" y="T3"/>
                </a:cxn>
                <a:cxn ang="0">
                  <a:pos x="T4" y="T5"/>
                </a:cxn>
                <a:cxn ang="0">
                  <a:pos x="T6" y="T7"/>
                </a:cxn>
                <a:cxn ang="0">
                  <a:pos x="T8" y="T9"/>
                </a:cxn>
                <a:cxn ang="0">
                  <a:pos x="T10" y="T11"/>
                </a:cxn>
              </a:cxnLst>
              <a:rect l="0" t="0" r="r" b="b"/>
              <a:pathLst>
                <a:path w="183" h="814">
                  <a:moveTo>
                    <a:pt x="0" y="814"/>
                  </a:moveTo>
                  <a:lnTo>
                    <a:pt x="17" y="0"/>
                  </a:lnTo>
                  <a:lnTo>
                    <a:pt x="167" y="0"/>
                  </a:lnTo>
                  <a:lnTo>
                    <a:pt x="183" y="814"/>
                  </a:lnTo>
                  <a:lnTo>
                    <a:pt x="0" y="814"/>
                  </a:lnTo>
                  <a:lnTo>
                    <a:pt x="0" y="814"/>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6" name="Freeform 76"/>
            <p:cNvSpPr>
              <a:spLocks/>
            </p:cNvSpPr>
            <p:nvPr userDrawn="1"/>
          </p:nvSpPr>
          <p:spPr bwMode="auto">
            <a:xfrm>
              <a:off x="3643" y="1936"/>
              <a:ext cx="183" cy="814"/>
            </a:xfrm>
            <a:custGeom>
              <a:avLst/>
              <a:gdLst>
                <a:gd name="T0" fmla="*/ 0 w 183"/>
                <a:gd name="T1" fmla="*/ 814 h 814"/>
                <a:gd name="T2" fmla="*/ 17 w 183"/>
                <a:gd name="T3" fmla="*/ 0 h 814"/>
                <a:gd name="T4" fmla="*/ 166 w 183"/>
                <a:gd name="T5" fmla="*/ 0 h 814"/>
                <a:gd name="T6" fmla="*/ 183 w 183"/>
                <a:gd name="T7" fmla="*/ 814 h 814"/>
                <a:gd name="T8" fmla="*/ 0 w 183"/>
                <a:gd name="T9" fmla="*/ 814 h 814"/>
                <a:gd name="T10" fmla="*/ 0 w 183"/>
                <a:gd name="T11" fmla="*/ 814 h 814"/>
              </a:gdLst>
              <a:ahLst/>
              <a:cxnLst>
                <a:cxn ang="0">
                  <a:pos x="T0" y="T1"/>
                </a:cxn>
                <a:cxn ang="0">
                  <a:pos x="T2" y="T3"/>
                </a:cxn>
                <a:cxn ang="0">
                  <a:pos x="T4" y="T5"/>
                </a:cxn>
                <a:cxn ang="0">
                  <a:pos x="T6" y="T7"/>
                </a:cxn>
                <a:cxn ang="0">
                  <a:pos x="T8" y="T9"/>
                </a:cxn>
                <a:cxn ang="0">
                  <a:pos x="T10" y="T11"/>
                </a:cxn>
              </a:cxnLst>
              <a:rect l="0" t="0" r="r" b="b"/>
              <a:pathLst>
                <a:path w="183" h="814">
                  <a:moveTo>
                    <a:pt x="0" y="814"/>
                  </a:moveTo>
                  <a:lnTo>
                    <a:pt x="17" y="0"/>
                  </a:lnTo>
                  <a:lnTo>
                    <a:pt x="166" y="0"/>
                  </a:lnTo>
                  <a:lnTo>
                    <a:pt x="183" y="814"/>
                  </a:lnTo>
                  <a:lnTo>
                    <a:pt x="0" y="814"/>
                  </a:lnTo>
                  <a:lnTo>
                    <a:pt x="0" y="814"/>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7" name="Freeform 77"/>
            <p:cNvSpPr>
              <a:spLocks/>
            </p:cNvSpPr>
            <p:nvPr userDrawn="1"/>
          </p:nvSpPr>
          <p:spPr bwMode="auto">
            <a:xfrm>
              <a:off x="4004" y="1936"/>
              <a:ext cx="182" cy="814"/>
            </a:xfrm>
            <a:custGeom>
              <a:avLst/>
              <a:gdLst>
                <a:gd name="T0" fmla="*/ 0 w 182"/>
                <a:gd name="T1" fmla="*/ 814 h 814"/>
                <a:gd name="T2" fmla="*/ 16 w 182"/>
                <a:gd name="T3" fmla="*/ 0 h 814"/>
                <a:gd name="T4" fmla="*/ 166 w 182"/>
                <a:gd name="T5" fmla="*/ 0 h 814"/>
                <a:gd name="T6" fmla="*/ 182 w 182"/>
                <a:gd name="T7" fmla="*/ 814 h 814"/>
                <a:gd name="T8" fmla="*/ 0 w 182"/>
                <a:gd name="T9" fmla="*/ 814 h 814"/>
                <a:gd name="T10" fmla="*/ 0 w 182"/>
                <a:gd name="T11" fmla="*/ 814 h 814"/>
              </a:gdLst>
              <a:ahLst/>
              <a:cxnLst>
                <a:cxn ang="0">
                  <a:pos x="T0" y="T1"/>
                </a:cxn>
                <a:cxn ang="0">
                  <a:pos x="T2" y="T3"/>
                </a:cxn>
                <a:cxn ang="0">
                  <a:pos x="T4" y="T5"/>
                </a:cxn>
                <a:cxn ang="0">
                  <a:pos x="T6" y="T7"/>
                </a:cxn>
                <a:cxn ang="0">
                  <a:pos x="T8" y="T9"/>
                </a:cxn>
                <a:cxn ang="0">
                  <a:pos x="T10" y="T11"/>
                </a:cxn>
              </a:cxnLst>
              <a:rect l="0" t="0" r="r" b="b"/>
              <a:pathLst>
                <a:path w="182" h="814">
                  <a:moveTo>
                    <a:pt x="0" y="814"/>
                  </a:moveTo>
                  <a:lnTo>
                    <a:pt x="16" y="0"/>
                  </a:lnTo>
                  <a:lnTo>
                    <a:pt x="166" y="0"/>
                  </a:lnTo>
                  <a:lnTo>
                    <a:pt x="182" y="814"/>
                  </a:lnTo>
                  <a:lnTo>
                    <a:pt x="0" y="814"/>
                  </a:lnTo>
                  <a:lnTo>
                    <a:pt x="0" y="814"/>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8" name="Freeform 78"/>
            <p:cNvSpPr>
              <a:spLocks/>
            </p:cNvSpPr>
            <p:nvPr userDrawn="1"/>
          </p:nvSpPr>
          <p:spPr bwMode="auto">
            <a:xfrm>
              <a:off x="4366" y="1936"/>
              <a:ext cx="181" cy="814"/>
            </a:xfrm>
            <a:custGeom>
              <a:avLst/>
              <a:gdLst>
                <a:gd name="T0" fmla="*/ 0 w 181"/>
                <a:gd name="T1" fmla="*/ 814 h 814"/>
                <a:gd name="T2" fmla="*/ 17 w 181"/>
                <a:gd name="T3" fmla="*/ 0 h 814"/>
                <a:gd name="T4" fmla="*/ 164 w 181"/>
                <a:gd name="T5" fmla="*/ 0 h 814"/>
                <a:gd name="T6" fmla="*/ 181 w 181"/>
                <a:gd name="T7" fmla="*/ 814 h 814"/>
                <a:gd name="T8" fmla="*/ 0 w 181"/>
                <a:gd name="T9" fmla="*/ 814 h 814"/>
                <a:gd name="T10" fmla="*/ 0 w 181"/>
                <a:gd name="T11" fmla="*/ 814 h 814"/>
              </a:gdLst>
              <a:ahLst/>
              <a:cxnLst>
                <a:cxn ang="0">
                  <a:pos x="T0" y="T1"/>
                </a:cxn>
                <a:cxn ang="0">
                  <a:pos x="T2" y="T3"/>
                </a:cxn>
                <a:cxn ang="0">
                  <a:pos x="T4" y="T5"/>
                </a:cxn>
                <a:cxn ang="0">
                  <a:pos x="T6" y="T7"/>
                </a:cxn>
                <a:cxn ang="0">
                  <a:pos x="T8" y="T9"/>
                </a:cxn>
                <a:cxn ang="0">
                  <a:pos x="T10" y="T11"/>
                </a:cxn>
              </a:cxnLst>
              <a:rect l="0" t="0" r="r" b="b"/>
              <a:pathLst>
                <a:path w="181" h="814">
                  <a:moveTo>
                    <a:pt x="0" y="814"/>
                  </a:moveTo>
                  <a:lnTo>
                    <a:pt x="17" y="0"/>
                  </a:lnTo>
                  <a:lnTo>
                    <a:pt x="164" y="0"/>
                  </a:lnTo>
                  <a:lnTo>
                    <a:pt x="181" y="814"/>
                  </a:lnTo>
                  <a:lnTo>
                    <a:pt x="0" y="814"/>
                  </a:lnTo>
                  <a:lnTo>
                    <a:pt x="0" y="814"/>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9" name="Freeform 79"/>
            <p:cNvSpPr>
              <a:spLocks/>
            </p:cNvSpPr>
            <p:nvPr userDrawn="1"/>
          </p:nvSpPr>
          <p:spPr bwMode="auto">
            <a:xfrm>
              <a:off x="3076" y="1298"/>
              <a:ext cx="1675" cy="465"/>
            </a:xfrm>
            <a:custGeom>
              <a:avLst/>
              <a:gdLst>
                <a:gd name="T0" fmla="*/ 0 w 1675"/>
                <a:gd name="T1" fmla="*/ 460 h 465"/>
                <a:gd name="T2" fmla="*/ 0 w 1675"/>
                <a:gd name="T3" fmla="*/ 394 h 465"/>
                <a:gd name="T4" fmla="*/ 840 w 1675"/>
                <a:gd name="T5" fmla="*/ 0 h 465"/>
                <a:gd name="T6" fmla="*/ 1675 w 1675"/>
                <a:gd name="T7" fmla="*/ 401 h 465"/>
                <a:gd name="T8" fmla="*/ 1675 w 1675"/>
                <a:gd name="T9" fmla="*/ 465 h 465"/>
                <a:gd name="T10" fmla="*/ 0 w 1675"/>
                <a:gd name="T11" fmla="*/ 460 h 465"/>
                <a:gd name="T12" fmla="*/ 0 w 1675"/>
                <a:gd name="T13" fmla="*/ 460 h 465"/>
                <a:gd name="T14" fmla="*/ 0 w 1675"/>
                <a:gd name="T15" fmla="*/ 460 h 4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5" h="465">
                  <a:moveTo>
                    <a:pt x="0" y="460"/>
                  </a:moveTo>
                  <a:lnTo>
                    <a:pt x="0" y="394"/>
                  </a:lnTo>
                  <a:lnTo>
                    <a:pt x="840" y="0"/>
                  </a:lnTo>
                  <a:lnTo>
                    <a:pt x="1675" y="401"/>
                  </a:lnTo>
                  <a:lnTo>
                    <a:pt x="1675" y="465"/>
                  </a:lnTo>
                  <a:lnTo>
                    <a:pt x="0" y="460"/>
                  </a:lnTo>
                  <a:lnTo>
                    <a:pt x="0" y="460"/>
                  </a:lnTo>
                  <a:lnTo>
                    <a:pt x="0" y="460"/>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76" name="Rectangle 9"/>
          <p:cNvSpPr>
            <a:spLocks noChangeArrowheads="1"/>
          </p:cNvSpPr>
          <p:nvPr userDrawn="1"/>
        </p:nvSpPr>
        <p:spPr bwMode="auto">
          <a:xfrm flipH="1">
            <a:off x="9931022" y="5325434"/>
            <a:ext cx="348360" cy="39591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4" name="Rectangle 9"/>
          <p:cNvSpPr>
            <a:spLocks noChangeArrowheads="1"/>
          </p:cNvSpPr>
          <p:nvPr userDrawn="1"/>
        </p:nvSpPr>
        <p:spPr bwMode="auto">
          <a:xfrm flipH="1">
            <a:off x="10143255" y="5322519"/>
            <a:ext cx="1090161" cy="398829"/>
          </a:xfrm>
          <a:prstGeom prst="rect">
            <a:avLst/>
          </a:prstGeom>
          <a:solidFill>
            <a:schemeClr val="bg1"/>
          </a:solidFill>
          <a:ln>
            <a:noFill/>
          </a:ln>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 name="Rectangle 5"/>
          <p:cNvSpPr>
            <a:spLocks noChangeArrowheads="1"/>
          </p:cNvSpPr>
          <p:nvPr/>
        </p:nvSpPr>
        <p:spPr bwMode="auto">
          <a:xfrm flipH="1">
            <a:off x="11249413" y="5305344"/>
            <a:ext cx="350736" cy="33814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 name="Rectangle 6"/>
          <p:cNvSpPr>
            <a:spLocks noChangeArrowheads="1"/>
          </p:cNvSpPr>
          <p:nvPr/>
        </p:nvSpPr>
        <p:spPr bwMode="auto">
          <a:xfrm flipH="1">
            <a:off x="11305887" y="5175754"/>
            <a:ext cx="152184" cy="41077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Rectangle 21"/>
          <p:cNvSpPr/>
          <p:nvPr/>
        </p:nvSpPr>
        <p:spPr>
          <a:xfrm>
            <a:off x="11411792" y="4647896"/>
            <a:ext cx="878727" cy="1027413"/>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5" tIns="91415" rIns="91415" bIns="91415" numCol="1" spcCol="0" rtlCol="0" fromWordArt="0" anchor="b" anchorCtr="0" forceAA="0" compatLnSpc="1">
            <a:prstTxWarp prst="textNoShape">
              <a:avLst/>
            </a:prstTxWarp>
            <a:noAutofit/>
          </a:bodyPr>
          <a:lstStyle/>
          <a:p>
            <a:pPr marL="0" marR="0" lvl="0" indent="0" algn="r" defTabSz="932361" rtl="0" eaLnBrk="1" fontAlgn="auto" latinLnBrk="0" hangingPunct="1">
              <a:lnSpc>
                <a:spcPct val="100000"/>
              </a:lnSpc>
              <a:spcBef>
                <a:spcPts val="0"/>
              </a:spcBef>
              <a:spcAft>
                <a:spcPts val="0"/>
              </a:spcAft>
              <a:buClrTx/>
              <a:buSzTx/>
              <a:buFontTx/>
              <a:buNone/>
              <a:tabLst/>
              <a:defRPr/>
            </a:pPr>
            <a:endParaRPr kumimoji="0" lang="en-US" sz="1198"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65" name="Group 64"/>
          <p:cNvGrpSpPr/>
          <p:nvPr userDrawn="1"/>
        </p:nvGrpSpPr>
        <p:grpSpPr>
          <a:xfrm flipH="1">
            <a:off x="9537277" y="5493102"/>
            <a:ext cx="128260" cy="248596"/>
            <a:chOff x="6229350" y="5232400"/>
            <a:chExt cx="539750" cy="1046162"/>
          </a:xfrm>
        </p:grpSpPr>
        <p:sp>
          <p:nvSpPr>
            <p:cNvPr id="66" name="Freeform 14"/>
            <p:cNvSpPr>
              <a:spLocks/>
            </p:cNvSpPr>
            <p:nvPr/>
          </p:nvSpPr>
          <p:spPr bwMode="auto">
            <a:xfrm>
              <a:off x="6443665" y="5870573"/>
              <a:ext cx="111124" cy="407989"/>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7" name="Freeform 15"/>
            <p:cNvSpPr>
              <a:spLocks/>
            </p:cNvSpPr>
            <p:nvPr/>
          </p:nvSpPr>
          <p:spPr bwMode="auto">
            <a:xfrm>
              <a:off x="6229350" y="5511800"/>
              <a:ext cx="539750" cy="54292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8" name="Freeform 16"/>
            <p:cNvSpPr>
              <a:spLocks/>
            </p:cNvSpPr>
            <p:nvPr/>
          </p:nvSpPr>
          <p:spPr bwMode="auto">
            <a:xfrm>
              <a:off x="6301581"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73" name="Freeform 72"/>
          <p:cNvSpPr/>
          <p:nvPr userDrawn="1"/>
        </p:nvSpPr>
        <p:spPr>
          <a:xfrm>
            <a:off x="10124631" y="4825226"/>
            <a:ext cx="1128621" cy="896121"/>
          </a:xfrm>
          <a:custGeom>
            <a:avLst/>
            <a:gdLst>
              <a:gd name="connsiteX0" fmla="*/ 38101 w 5422110"/>
              <a:gd name="connsiteY0" fmla="*/ 3721179 h 3848179"/>
              <a:gd name="connsiteX1" fmla="*/ 5384010 w 5422110"/>
              <a:gd name="connsiteY1" fmla="*/ 3721179 h 3848179"/>
              <a:gd name="connsiteX2" fmla="*/ 5384010 w 5422110"/>
              <a:gd name="connsiteY2" fmla="*/ 3848179 h 3848179"/>
              <a:gd name="connsiteX3" fmla="*/ 38101 w 5422110"/>
              <a:gd name="connsiteY3" fmla="*/ 3848179 h 3848179"/>
              <a:gd name="connsiteX4" fmla="*/ 5097962 w 5422110"/>
              <a:gd name="connsiteY4" fmla="*/ 3121898 h 3848179"/>
              <a:gd name="connsiteX5" fmla="*/ 5097962 w 5422110"/>
              <a:gd name="connsiteY5" fmla="*/ 3448129 h 3848179"/>
              <a:gd name="connsiteX6" fmla="*/ 5231312 w 5422110"/>
              <a:gd name="connsiteY6" fmla="*/ 3448129 h 3848179"/>
              <a:gd name="connsiteX7" fmla="*/ 5231312 w 5422110"/>
              <a:gd name="connsiteY7" fmla="*/ 3121898 h 3848179"/>
              <a:gd name="connsiteX8" fmla="*/ 4868529 w 5422110"/>
              <a:gd name="connsiteY8" fmla="*/ 3121898 h 3848179"/>
              <a:gd name="connsiteX9" fmla="*/ 4868529 w 5422110"/>
              <a:gd name="connsiteY9" fmla="*/ 3448129 h 3848179"/>
              <a:gd name="connsiteX10" fmla="*/ 5001879 w 5422110"/>
              <a:gd name="connsiteY10" fmla="*/ 3448129 h 3848179"/>
              <a:gd name="connsiteX11" fmla="*/ 5001879 w 5422110"/>
              <a:gd name="connsiteY11" fmla="*/ 3121898 h 3848179"/>
              <a:gd name="connsiteX12" fmla="*/ 4639096 w 5422110"/>
              <a:gd name="connsiteY12" fmla="*/ 3121898 h 3848179"/>
              <a:gd name="connsiteX13" fmla="*/ 4639096 w 5422110"/>
              <a:gd name="connsiteY13" fmla="*/ 3448129 h 3848179"/>
              <a:gd name="connsiteX14" fmla="*/ 4772446 w 5422110"/>
              <a:gd name="connsiteY14" fmla="*/ 3448129 h 3848179"/>
              <a:gd name="connsiteX15" fmla="*/ 4772446 w 5422110"/>
              <a:gd name="connsiteY15" fmla="*/ 3121898 h 3848179"/>
              <a:gd name="connsiteX16" fmla="*/ 4409663 w 5422110"/>
              <a:gd name="connsiteY16" fmla="*/ 3121898 h 3848179"/>
              <a:gd name="connsiteX17" fmla="*/ 4409663 w 5422110"/>
              <a:gd name="connsiteY17" fmla="*/ 3448129 h 3848179"/>
              <a:gd name="connsiteX18" fmla="*/ 4543013 w 5422110"/>
              <a:gd name="connsiteY18" fmla="*/ 3448129 h 3848179"/>
              <a:gd name="connsiteX19" fmla="*/ 4543013 w 5422110"/>
              <a:gd name="connsiteY19" fmla="*/ 3121898 h 3848179"/>
              <a:gd name="connsiteX20" fmla="*/ 4180230 w 5422110"/>
              <a:gd name="connsiteY20" fmla="*/ 3121898 h 3848179"/>
              <a:gd name="connsiteX21" fmla="*/ 4180230 w 5422110"/>
              <a:gd name="connsiteY21" fmla="*/ 3448129 h 3848179"/>
              <a:gd name="connsiteX22" fmla="*/ 4313580 w 5422110"/>
              <a:gd name="connsiteY22" fmla="*/ 3448129 h 3848179"/>
              <a:gd name="connsiteX23" fmla="*/ 4313580 w 5422110"/>
              <a:gd name="connsiteY23" fmla="*/ 3121898 h 3848179"/>
              <a:gd name="connsiteX24" fmla="*/ 3950795 w 5422110"/>
              <a:gd name="connsiteY24" fmla="*/ 3121898 h 3848179"/>
              <a:gd name="connsiteX25" fmla="*/ 3950795 w 5422110"/>
              <a:gd name="connsiteY25" fmla="*/ 3448129 h 3848179"/>
              <a:gd name="connsiteX26" fmla="*/ 4084145 w 5422110"/>
              <a:gd name="connsiteY26" fmla="*/ 3448129 h 3848179"/>
              <a:gd name="connsiteX27" fmla="*/ 4084145 w 5422110"/>
              <a:gd name="connsiteY27" fmla="*/ 3121898 h 3848179"/>
              <a:gd name="connsiteX28" fmla="*/ 1337965 w 5422110"/>
              <a:gd name="connsiteY28" fmla="*/ 3121898 h 3848179"/>
              <a:gd name="connsiteX29" fmla="*/ 1337965 w 5422110"/>
              <a:gd name="connsiteY29" fmla="*/ 3448129 h 3848179"/>
              <a:gd name="connsiteX30" fmla="*/ 1471315 w 5422110"/>
              <a:gd name="connsiteY30" fmla="*/ 3448129 h 3848179"/>
              <a:gd name="connsiteX31" fmla="*/ 1471315 w 5422110"/>
              <a:gd name="connsiteY31" fmla="*/ 3121898 h 3848179"/>
              <a:gd name="connsiteX32" fmla="*/ 1108530 w 5422110"/>
              <a:gd name="connsiteY32" fmla="*/ 3121898 h 3848179"/>
              <a:gd name="connsiteX33" fmla="*/ 1108530 w 5422110"/>
              <a:gd name="connsiteY33" fmla="*/ 3448129 h 3848179"/>
              <a:gd name="connsiteX34" fmla="*/ 1241880 w 5422110"/>
              <a:gd name="connsiteY34" fmla="*/ 3448129 h 3848179"/>
              <a:gd name="connsiteX35" fmla="*/ 1241880 w 5422110"/>
              <a:gd name="connsiteY35" fmla="*/ 3121898 h 3848179"/>
              <a:gd name="connsiteX36" fmla="*/ 879097 w 5422110"/>
              <a:gd name="connsiteY36" fmla="*/ 3121898 h 3848179"/>
              <a:gd name="connsiteX37" fmla="*/ 879097 w 5422110"/>
              <a:gd name="connsiteY37" fmla="*/ 3448129 h 3848179"/>
              <a:gd name="connsiteX38" fmla="*/ 1012447 w 5422110"/>
              <a:gd name="connsiteY38" fmla="*/ 3448129 h 3848179"/>
              <a:gd name="connsiteX39" fmla="*/ 1012447 w 5422110"/>
              <a:gd name="connsiteY39" fmla="*/ 3121898 h 3848179"/>
              <a:gd name="connsiteX40" fmla="*/ 649664 w 5422110"/>
              <a:gd name="connsiteY40" fmla="*/ 3121898 h 3848179"/>
              <a:gd name="connsiteX41" fmla="*/ 649664 w 5422110"/>
              <a:gd name="connsiteY41" fmla="*/ 3448129 h 3848179"/>
              <a:gd name="connsiteX42" fmla="*/ 783014 w 5422110"/>
              <a:gd name="connsiteY42" fmla="*/ 3448129 h 3848179"/>
              <a:gd name="connsiteX43" fmla="*/ 783014 w 5422110"/>
              <a:gd name="connsiteY43" fmla="*/ 3121898 h 3848179"/>
              <a:gd name="connsiteX44" fmla="*/ 420231 w 5422110"/>
              <a:gd name="connsiteY44" fmla="*/ 3121898 h 3848179"/>
              <a:gd name="connsiteX45" fmla="*/ 420231 w 5422110"/>
              <a:gd name="connsiteY45" fmla="*/ 3448129 h 3848179"/>
              <a:gd name="connsiteX46" fmla="*/ 553581 w 5422110"/>
              <a:gd name="connsiteY46" fmla="*/ 3448129 h 3848179"/>
              <a:gd name="connsiteX47" fmla="*/ 553581 w 5422110"/>
              <a:gd name="connsiteY47" fmla="*/ 3121898 h 3848179"/>
              <a:gd name="connsiteX48" fmla="*/ 190798 w 5422110"/>
              <a:gd name="connsiteY48" fmla="*/ 3121898 h 3848179"/>
              <a:gd name="connsiteX49" fmla="*/ 190798 w 5422110"/>
              <a:gd name="connsiteY49" fmla="*/ 3448129 h 3848179"/>
              <a:gd name="connsiteX50" fmla="*/ 324148 w 5422110"/>
              <a:gd name="connsiteY50" fmla="*/ 3448129 h 3848179"/>
              <a:gd name="connsiteX51" fmla="*/ 324148 w 5422110"/>
              <a:gd name="connsiteY51" fmla="*/ 3121898 h 3848179"/>
              <a:gd name="connsiteX52" fmla="*/ 1633539 w 5422110"/>
              <a:gd name="connsiteY52" fmla="*/ 2900441 h 3848179"/>
              <a:gd name="connsiteX53" fmla="*/ 3788571 w 5422110"/>
              <a:gd name="connsiteY53" fmla="*/ 2900441 h 3848179"/>
              <a:gd name="connsiteX54" fmla="*/ 3788571 w 5422110"/>
              <a:gd name="connsiteY54" fmla="*/ 3671966 h 3848179"/>
              <a:gd name="connsiteX55" fmla="*/ 3658098 w 5422110"/>
              <a:gd name="connsiteY55" fmla="*/ 3671966 h 3848179"/>
              <a:gd name="connsiteX56" fmla="*/ 3576638 w 5422110"/>
              <a:gd name="connsiteY56" fmla="*/ 3671966 h 3848179"/>
              <a:gd name="connsiteX57" fmla="*/ 3518398 w 5422110"/>
              <a:gd name="connsiteY57" fmla="*/ 3671966 h 3848179"/>
              <a:gd name="connsiteX58" fmla="*/ 3518398 w 5422110"/>
              <a:gd name="connsiteY58" fmla="*/ 2992358 h 3848179"/>
              <a:gd name="connsiteX59" fmla="*/ 3530740 w 5422110"/>
              <a:gd name="connsiteY59" fmla="*/ 2962564 h 3848179"/>
              <a:gd name="connsiteX60" fmla="*/ 3060961 w 5422110"/>
              <a:gd name="connsiteY60" fmla="*/ 2962564 h 3848179"/>
              <a:gd name="connsiteX61" fmla="*/ 3073302 w 5422110"/>
              <a:gd name="connsiteY61" fmla="*/ 2992358 h 3848179"/>
              <a:gd name="connsiteX62" fmla="*/ 3073302 w 5422110"/>
              <a:gd name="connsiteY62" fmla="*/ 3671966 h 3848179"/>
              <a:gd name="connsiteX63" fmla="*/ 2933602 w 5422110"/>
              <a:gd name="connsiteY63" fmla="*/ 3671966 h 3848179"/>
              <a:gd name="connsiteX64" fmla="*/ 2933602 w 5422110"/>
              <a:gd name="connsiteY64" fmla="*/ 2992358 h 3848179"/>
              <a:gd name="connsiteX65" fmla="*/ 2945944 w 5422110"/>
              <a:gd name="connsiteY65" fmla="*/ 2962564 h 3848179"/>
              <a:gd name="connsiteX66" fmla="*/ 2476166 w 5422110"/>
              <a:gd name="connsiteY66" fmla="*/ 2962564 h 3848179"/>
              <a:gd name="connsiteX67" fmla="*/ 2488507 w 5422110"/>
              <a:gd name="connsiteY67" fmla="*/ 2992358 h 3848179"/>
              <a:gd name="connsiteX68" fmla="*/ 2488507 w 5422110"/>
              <a:gd name="connsiteY68" fmla="*/ 3671966 h 3848179"/>
              <a:gd name="connsiteX69" fmla="*/ 2348807 w 5422110"/>
              <a:gd name="connsiteY69" fmla="*/ 3671966 h 3848179"/>
              <a:gd name="connsiteX70" fmla="*/ 2348807 w 5422110"/>
              <a:gd name="connsiteY70" fmla="*/ 2992358 h 3848179"/>
              <a:gd name="connsiteX71" fmla="*/ 2361149 w 5422110"/>
              <a:gd name="connsiteY71" fmla="*/ 2962564 h 3848179"/>
              <a:gd name="connsiteX72" fmla="*/ 1891371 w 5422110"/>
              <a:gd name="connsiteY72" fmla="*/ 2962564 h 3848179"/>
              <a:gd name="connsiteX73" fmla="*/ 1903712 w 5422110"/>
              <a:gd name="connsiteY73" fmla="*/ 2992358 h 3848179"/>
              <a:gd name="connsiteX74" fmla="*/ 1903712 w 5422110"/>
              <a:gd name="connsiteY74" fmla="*/ 3671966 h 3848179"/>
              <a:gd name="connsiteX75" fmla="*/ 1845472 w 5422110"/>
              <a:gd name="connsiteY75" fmla="*/ 3671966 h 3848179"/>
              <a:gd name="connsiteX76" fmla="*/ 1764012 w 5422110"/>
              <a:gd name="connsiteY76" fmla="*/ 3671966 h 3848179"/>
              <a:gd name="connsiteX77" fmla="*/ 1633539 w 5422110"/>
              <a:gd name="connsiteY77" fmla="*/ 3671966 h 3848179"/>
              <a:gd name="connsiteX78" fmla="*/ 5097962 w 5422110"/>
              <a:gd name="connsiteY78" fmla="*/ 2674223 h 3848179"/>
              <a:gd name="connsiteX79" fmla="*/ 5097962 w 5422110"/>
              <a:gd name="connsiteY79" fmla="*/ 3000454 h 3848179"/>
              <a:gd name="connsiteX80" fmla="*/ 5231312 w 5422110"/>
              <a:gd name="connsiteY80" fmla="*/ 3000454 h 3848179"/>
              <a:gd name="connsiteX81" fmla="*/ 5231312 w 5422110"/>
              <a:gd name="connsiteY81" fmla="*/ 2674223 h 3848179"/>
              <a:gd name="connsiteX82" fmla="*/ 4868529 w 5422110"/>
              <a:gd name="connsiteY82" fmla="*/ 2674223 h 3848179"/>
              <a:gd name="connsiteX83" fmla="*/ 4868529 w 5422110"/>
              <a:gd name="connsiteY83" fmla="*/ 3000454 h 3848179"/>
              <a:gd name="connsiteX84" fmla="*/ 5001879 w 5422110"/>
              <a:gd name="connsiteY84" fmla="*/ 3000454 h 3848179"/>
              <a:gd name="connsiteX85" fmla="*/ 5001879 w 5422110"/>
              <a:gd name="connsiteY85" fmla="*/ 2674223 h 3848179"/>
              <a:gd name="connsiteX86" fmla="*/ 4639096 w 5422110"/>
              <a:gd name="connsiteY86" fmla="*/ 2674223 h 3848179"/>
              <a:gd name="connsiteX87" fmla="*/ 4639096 w 5422110"/>
              <a:gd name="connsiteY87" fmla="*/ 3000454 h 3848179"/>
              <a:gd name="connsiteX88" fmla="*/ 4772446 w 5422110"/>
              <a:gd name="connsiteY88" fmla="*/ 3000454 h 3848179"/>
              <a:gd name="connsiteX89" fmla="*/ 4772446 w 5422110"/>
              <a:gd name="connsiteY89" fmla="*/ 2674223 h 3848179"/>
              <a:gd name="connsiteX90" fmla="*/ 4409663 w 5422110"/>
              <a:gd name="connsiteY90" fmla="*/ 2674223 h 3848179"/>
              <a:gd name="connsiteX91" fmla="*/ 4409663 w 5422110"/>
              <a:gd name="connsiteY91" fmla="*/ 3000454 h 3848179"/>
              <a:gd name="connsiteX92" fmla="*/ 4543013 w 5422110"/>
              <a:gd name="connsiteY92" fmla="*/ 3000454 h 3848179"/>
              <a:gd name="connsiteX93" fmla="*/ 4543013 w 5422110"/>
              <a:gd name="connsiteY93" fmla="*/ 2674223 h 3848179"/>
              <a:gd name="connsiteX94" fmla="*/ 4180230 w 5422110"/>
              <a:gd name="connsiteY94" fmla="*/ 2674223 h 3848179"/>
              <a:gd name="connsiteX95" fmla="*/ 4180230 w 5422110"/>
              <a:gd name="connsiteY95" fmla="*/ 3000454 h 3848179"/>
              <a:gd name="connsiteX96" fmla="*/ 4313580 w 5422110"/>
              <a:gd name="connsiteY96" fmla="*/ 3000454 h 3848179"/>
              <a:gd name="connsiteX97" fmla="*/ 4313580 w 5422110"/>
              <a:gd name="connsiteY97" fmla="*/ 2674223 h 3848179"/>
              <a:gd name="connsiteX98" fmla="*/ 3950795 w 5422110"/>
              <a:gd name="connsiteY98" fmla="*/ 2674223 h 3848179"/>
              <a:gd name="connsiteX99" fmla="*/ 3950795 w 5422110"/>
              <a:gd name="connsiteY99" fmla="*/ 3000454 h 3848179"/>
              <a:gd name="connsiteX100" fmla="*/ 4084145 w 5422110"/>
              <a:gd name="connsiteY100" fmla="*/ 3000454 h 3848179"/>
              <a:gd name="connsiteX101" fmla="*/ 4084145 w 5422110"/>
              <a:gd name="connsiteY101" fmla="*/ 2674223 h 3848179"/>
              <a:gd name="connsiteX102" fmla="*/ 1337965 w 5422110"/>
              <a:gd name="connsiteY102" fmla="*/ 2674223 h 3848179"/>
              <a:gd name="connsiteX103" fmla="*/ 1337965 w 5422110"/>
              <a:gd name="connsiteY103" fmla="*/ 3000454 h 3848179"/>
              <a:gd name="connsiteX104" fmla="*/ 1471315 w 5422110"/>
              <a:gd name="connsiteY104" fmla="*/ 3000454 h 3848179"/>
              <a:gd name="connsiteX105" fmla="*/ 1471315 w 5422110"/>
              <a:gd name="connsiteY105" fmla="*/ 2674223 h 3848179"/>
              <a:gd name="connsiteX106" fmla="*/ 1108530 w 5422110"/>
              <a:gd name="connsiteY106" fmla="*/ 2674223 h 3848179"/>
              <a:gd name="connsiteX107" fmla="*/ 1108530 w 5422110"/>
              <a:gd name="connsiteY107" fmla="*/ 3000454 h 3848179"/>
              <a:gd name="connsiteX108" fmla="*/ 1241880 w 5422110"/>
              <a:gd name="connsiteY108" fmla="*/ 3000454 h 3848179"/>
              <a:gd name="connsiteX109" fmla="*/ 1241880 w 5422110"/>
              <a:gd name="connsiteY109" fmla="*/ 2674223 h 3848179"/>
              <a:gd name="connsiteX110" fmla="*/ 879097 w 5422110"/>
              <a:gd name="connsiteY110" fmla="*/ 2674223 h 3848179"/>
              <a:gd name="connsiteX111" fmla="*/ 879097 w 5422110"/>
              <a:gd name="connsiteY111" fmla="*/ 3000454 h 3848179"/>
              <a:gd name="connsiteX112" fmla="*/ 1012447 w 5422110"/>
              <a:gd name="connsiteY112" fmla="*/ 3000454 h 3848179"/>
              <a:gd name="connsiteX113" fmla="*/ 1012447 w 5422110"/>
              <a:gd name="connsiteY113" fmla="*/ 2674223 h 3848179"/>
              <a:gd name="connsiteX114" fmla="*/ 649664 w 5422110"/>
              <a:gd name="connsiteY114" fmla="*/ 2674223 h 3848179"/>
              <a:gd name="connsiteX115" fmla="*/ 649664 w 5422110"/>
              <a:gd name="connsiteY115" fmla="*/ 3000454 h 3848179"/>
              <a:gd name="connsiteX116" fmla="*/ 783014 w 5422110"/>
              <a:gd name="connsiteY116" fmla="*/ 3000454 h 3848179"/>
              <a:gd name="connsiteX117" fmla="*/ 783014 w 5422110"/>
              <a:gd name="connsiteY117" fmla="*/ 2674223 h 3848179"/>
              <a:gd name="connsiteX118" fmla="*/ 420231 w 5422110"/>
              <a:gd name="connsiteY118" fmla="*/ 2674223 h 3848179"/>
              <a:gd name="connsiteX119" fmla="*/ 420231 w 5422110"/>
              <a:gd name="connsiteY119" fmla="*/ 3000454 h 3848179"/>
              <a:gd name="connsiteX120" fmla="*/ 553581 w 5422110"/>
              <a:gd name="connsiteY120" fmla="*/ 3000454 h 3848179"/>
              <a:gd name="connsiteX121" fmla="*/ 553581 w 5422110"/>
              <a:gd name="connsiteY121" fmla="*/ 2674223 h 3848179"/>
              <a:gd name="connsiteX122" fmla="*/ 190798 w 5422110"/>
              <a:gd name="connsiteY122" fmla="*/ 2674223 h 3848179"/>
              <a:gd name="connsiteX123" fmla="*/ 190798 w 5422110"/>
              <a:gd name="connsiteY123" fmla="*/ 3000454 h 3848179"/>
              <a:gd name="connsiteX124" fmla="*/ 324148 w 5422110"/>
              <a:gd name="connsiteY124" fmla="*/ 3000454 h 3848179"/>
              <a:gd name="connsiteX125" fmla="*/ 324148 w 5422110"/>
              <a:gd name="connsiteY125" fmla="*/ 2674223 h 3848179"/>
              <a:gd name="connsiteX126" fmla="*/ 5097962 w 5422110"/>
              <a:gd name="connsiteY126" fmla="*/ 2226548 h 3848179"/>
              <a:gd name="connsiteX127" fmla="*/ 5097962 w 5422110"/>
              <a:gd name="connsiteY127" fmla="*/ 2552779 h 3848179"/>
              <a:gd name="connsiteX128" fmla="*/ 5231312 w 5422110"/>
              <a:gd name="connsiteY128" fmla="*/ 2552779 h 3848179"/>
              <a:gd name="connsiteX129" fmla="*/ 5231312 w 5422110"/>
              <a:gd name="connsiteY129" fmla="*/ 2255852 h 3848179"/>
              <a:gd name="connsiteX130" fmla="*/ 5231312 w 5422110"/>
              <a:gd name="connsiteY130" fmla="*/ 2226548 h 3848179"/>
              <a:gd name="connsiteX131" fmla="*/ 4868529 w 5422110"/>
              <a:gd name="connsiteY131" fmla="*/ 2226548 h 3848179"/>
              <a:gd name="connsiteX132" fmla="*/ 4868529 w 5422110"/>
              <a:gd name="connsiteY132" fmla="*/ 2552779 h 3848179"/>
              <a:gd name="connsiteX133" fmla="*/ 5001879 w 5422110"/>
              <a:gd name="connsiteY133" fmla="*/ 2552779 h 3848179"/>
              <a:gd name="connsiteX134" fmla="*/ 5001879 w 5422110"/>
              <a:gd name="connsiteY134" fmla="*/ 2226548 h 3848179"/>
              <a:gd name="connsiteX135" fmla="*/ 4639096 w 5422110"/>
              <a:gd name="connsiteY135" fmla="*/ 2226548 h 3848179"/>
              <a:gd name="connsiteX136" fmla="*/ 4639096 w 5422110"/>
              <a:gd name="connsiteY136" fmla="*/ 2552779 h 3848179"/>
              <a:gd name="connsiteX137" fmla="*/ 4772446 w 5422110"/>
              <a:gd name="connsiteY137" fmla="*/ 2552779 h 3848179"/>
              <a:gd name="connsiteX138" fmla="*/ 4772446 w 5422110"/>
              <a:gd name="connsiteY138" fmla="*/ 2226548 h 3848179"/>
              <a:gd name="connsiteX139" fmla="*/ 4409663 w 5422110"/>
              <a:gd name="connsiteY139" fmla="*/ 2226548 h 3848179"/>
              <a:gd name="connsiteX140" fmla="*/ 4409663 w 5422110"/>
              <a:gd name="connsiteY140" fmla="*/ 2552779 h 3848179"/>
              <a:gd name="connsiteX141" fmla="*/ 4543013 w 5422110"/>
              <a:gd name="connsiteY141" fmla="*/ 2552779 h 3848179"/>
              <a:gd name="connsiteX142" fmla="*/ 4543013 w 5422110"/>
              <a:gd name="connsiteY142" fmla="*/ 2226548 h 3848179"/>
              <a:gd name="connsiteX143" fmla="*/ 4180230 w 5422110"/>
              <a:gd name="connsiteY143" fmla="*/ 2226548 h 3848179"/>
              <a:gd name="connsiteX144" fmla="*/ 4180230 w 5422110"/>
              <a:gd name="connsiteY144" fmla="*/ 2552779 h 3848179"/>
              <a:gd name="connsiteX145" fmla="*/ 4313580 w 5422110"/>
              <a:gd name="connsiteY145" fmla="*/ 2552779 h 3848179"/>
              <a:gd name="connsiteX146" fmla="*/ 4313580 w 5422110"/>
              <a:gd name="connsiteY146" fmla="*/ 2226548 h 3848179"/>
              <a:gd name="connsiteX147" fmla="*/ 3950795 w 5422110"/>
              <a:gd name="connsiteY147" fmla="*/ 2226548 h 3848179"/>
              <a:gd name="connsiteX148" fmla="*/ 3950795 w 5422110"/>
              <a:gd name="connsiteY148" fmla="*/ 2552779 h 3848179"/>
              <a:gd name="connsiteX149" fmla="*/ 4084145 w 5422110"/>
              <a:gd name="connsiteY149" fmla="*/ 2552779 h 3848179"/>
              <a:gd name="connsiteX150" fmla="*/ 4084145 w 5422110"/>
              <a:gd name="connsiteY150" fmla="*/ 2226548 h 3848179"/>
              <a:gd name="connsiteX151" fmla="*/ 1337965 w 5422110"/>
              <a:gd name="connsiteY151" fmla="*/ 2226548 h 3848179"/>
              <a:gd name="connsiteX152" fmla="*/ 1337965 w 5422110"/>
              <a:gd name="connsiteY152" fmla="*/ 2552779 h 3848179"/>
              <a:gd name="connsiteX153" fmla="*/ 1471315 w 5422110"/>
              <a:gd name="connsiteY153" fmla="*/ 2552779 h 3848179"/>
              <a:gd name="connsiteX154" fmla="*/ 1471315 w 5422110"/>
              <a:gd name="connsiteY154" fmla="*/ 2226548 h 3848179"/>
              <a:gd name="connsiteX155" fmla="*/ 1108530 w 5422110"/>
              <a:gd name="connsiteY155" fmla="*/ 2226548 h 3848179"/>
              <a:gd name="connsiteX156" fmla="*/ 1108530 w 5422110"/>
              <a:gd name="connsiteY156" fmla="*/ 2552779 h 3848179"/>
              <a:gd name="connsiteX157" fmla="*/ 1241880 w 5422110"/>
              <a:gd name="connsiteY157" fmla="*/ 2552779 h 3848179"/>
              <a:gd name="connsiteX158" fmla="*/ 1241880 w 5422110"/>
              <a:gd name="connsiteY158" fmla="*/ 2226548 h 3848179"/>
              <a:gd name="connsiteX159" fmla="*/ 879097 w 5422110"/>
              <a:gd name="connsiteY159" fmla="*/ 2226548 h 3848179"/>
              <a:gd name="connsiteX160" fmla="*/ 879097 w 5422110"/>
              <a:gd name="connsiteY160" fmla="*/ 2552779 h 3848179"/>
              <a:gd name="connsiteX161" fmla="*/ 1012447 w 5422110"/>
              <a:gd name="connsiteY161" fmla="*/ 2552779 h 3848179"/>
              <a:gd name="connsiteX162" fmla="*/ 1012447 w 5422110"/>
              <a:gd name="connsiteY162" fmla="*/ 2226548 h 3848179"/>
              <a:gd name="connsiteX163" fmla="*/ 649664 w 5422110"/>
              <a:gd name="connsiteY163" fmla="*/ 2226548 h 3848179"/>
              <a:gd name="connsiteX164" fmla="*/ 649664 w 5422110"/>
              <a:gd name="connsiteY164" fmla="*/ 2552779 h 3848179"/>
              <a:gd name="connsiteX165" fmla="*/ 783014 w 5422110"/>
              <a:gd name="connsiteY165" fmla="*/ 2552779 h 3848179"/>
              <a:gd name="connsiteX166" fmla="*/ 783014 w 5422110"/>
              <a:gd name="connsiteY166" fmla="*/ 2226548 h 3848179"/>
              <a:gd name="connsiteX167" fmla="*/ 420231 w 5422110"/>
              <a:gd name="connsiteY167" fmla="*/ 2226548 h 3848179"/>
              <a:gd name="connsiteX168" fmla="*/ 420231 w 5422110"/>
              <a:gd name="connsiteY168" fmla="*/ 2552779 h 3848179"/>
              <a:gd name="connsiteX169" fmla="*/ 553581 w 5422110"/>
              <a:gd name="connsiteY169" fmla="*/ 2552779 h 3848179"/>
              <a:gd name="connsiteX170" fmla="*/ 553581 w 5422110"/>
              <a:gd name="connsiteY170" fmla="*/ 2226548 h 3848179"/>
              <a:gd name="connsiteX171" fmla="*/ 190798 w 5422110"/>
              <a:gd name="connsiteY171" fmla="*/ 2226548 h 3848179"/>
              <a:gd name="connsiteX172" fmla="*/ 190798 w 5422110"/>
              <a:gd name="connsiteY172" fmla="*/ 2255852 h 3848179"/>
              <a:gd name="connsiteX173" fmla="*/ 190798 w 5422110"/>
              <a:gd name="connsiteY173" fmla="*/ 2552779 h 3848179"/>
              <a:gd name="connsiteX174" fmla="*/ 324148 w 5422110"/>
              <a:gd name="connsiteY174" fmla="*/ 2552779 h 3848179"/>
              <a:gd name="connsiteX175" fmla="*/ 324148 w 5422110"/>
              <a:gd name="connsiteY175" fmla="*/ 2226548 h 3848179"/>
              <a:gd name="connsiteX176" fmla="*/ 3840960 w 5422110"/>
              <a:gd name="connsiteY176" fmla="*/ 2128917 h 3848179"/>
              <a:gd name="connsiteX177" fmla="*/ 5231312 w 5422110"/>
              <a:gd name="connsiteY177" fmla="*/ 2128917 h 3848179"/>
              <a:gd name="connsiteX178" fmla="*/ 5341147 w 5422110"/>
              <a:gd name="connsiteY178" fmla="*/ 2128917 h 3848179"/>
              <a:gd name="connsiteX179" fmla="*/ 5422110 w 5422110"/>
              <a:gd name="connsiteY179" fmla="*/ 2128917 h 3848179"/>
              <a:gd name="connsiteX180" fmla="*/ 5342784 w 5422110"/>
              <a:gd name="connsiteY180" fmla="*/ 2245963 h 3848179"/>
              <a:gd name="connsiteX181" fmla="*/ 5341147 w 5422110"/>
              <a:gd name="connsiteY181" fmla="*/ 2246203 h 3848179"/>
              <a:gd name="connsiteX182" fmla="*/ 5341147 w 5422110"/>
              <a:gd name="connsiteY182" fmla="*/ 3671967 h 3848179"/>
              <a:gd name="connsiteX183" fmla="*/ 3840960 w 5422110"/>
              <a:gd name="connsiteY183" fmla="*/ 3671967 h 3848179"/>
              <a:gd name="connsiteX184" fmla="*/ 0 w 5422110"/>
              <a:gd name="connsiteY184" fmla="*/ 2128917 h 3848179"/>
              <a:gd name="connsiteX185" fmla="*/ 80963 w 5422110"/>
              <a:gd name="connsiteY185" fmla="*/ 2128917 h 3848179"/>
              <a:gd name="connsiteX186" fmla="*/ 190798 w 5422110"/>
              <a:gd name="connsiteY186" fmla="*/ 2128917 h 3848179"/>
              <a:gd name="connsiteX187" fmla="*/ 1581150 w 5422110"/>
              <a:gd name="connsiteY187" fmla="*/ 2128917 h 3848179"/>
              <a:gd name="connsiteX188" fmla="*/ 1581150 w 5422110"/>
              <a:gd name="connsiteY188" fmla="*/ 3671967 h 3848179"/>
              <a:gd name="connsiteX189" fmla="*/ 80963 w 5422110"/>
              <a:gd name="connsiteY189" fmla="*/ 3671967 h 3848179"/>
              <a:gd name="connsiteX190" fmla="*/ 80963 w 5422110"/>
              <a:gd name="connsiteY190" fmla="*/ 2246203 h 3848179"/>
              <a:gd name="connsiteX191" fmla="*/ 79326 w 5422110"/>
              <a:gd name="connsiteY191" fmla="*/ 2245963 h 3848179"/>
              <a:gd name="connsiteX192" fmla="*/ 0 w 5422110"/>
              <a:gd name="connsiteY192" fmla="*/ 2128917 h 3848179"/>
              <a:gd name="connsiteX193" fmla="*/ 3579904 w 5422110"/>
              <a:gd name="connsiteY193" fmla="*/ 2088434 h 3848179"/>
              <a:gd name="connsiteX194" fmla="*/ 3579904 w 5422110"/>
              <a:gd name="connsiteY194" fmla="*/ 2513571 h 3848179"/>
              <a:gd name="connsiteX195" fmla="*/ 3658097 w 5422110"/>
              <a:gd name="connsiteY195" fmla="*/ 2513571 h 3848179"/>
              <a:gd name="connsiteX196" fmla="*/ 3658097 w 5422110"/>
              <a:gd name="connsiteY196" fmla="*/ 2088434 h 3848179"/>
              <a:gd name="connsiteX197" fmla="*/ 3428580 w 5422110"/>
              <a:gd name="connsiteY197" fmla="*/ 2088434 h 3848179"/>
              <a:gd name="connsiteX198" fmla="*/ 3428580 w 5422110"/>
              <a:gd name="connsiteY198" fmla="*/ 2513571 h 3848179"/>
              <a:gd name="connsiteX199" fmla="*/ 3506773 w 5422110"/>
              <a:gd name="connsiteY199" fmla="*/ 2513571 h 3848179"/>
              <a:gd name="connsiteX200" fmla="*/ 3506773 w 5422110"/>
              <a:gd name="connsiteY200" fmla="*/ 2088434 h 3848179"/>
              <a:gd name="connsiteX201" fmla="*/ 3277255 w 5422110"/>
              <a:gd name="connsiteY201" fmla="*/ 2088434 h 3848179"/>
              <a:gd name="connsiteX202" fmla="*/ 3277255 w 5422110"/>
              <a:gd name="connsiteY202" fmla="*/ 2513571 h 3848179"/>
              <a:gd name="connsiteX203" fmla="*/ 3355448 w 5422110"/>
              <a:gd name="connsiteY203" fmla="*/ 2513571 h 3848179"/>
              <a:gd name="connsiteX204" fmla="*/ 3355448 w 5422110"/>
              <a:gd name="connsiteY204" fmla="*/ 2088434 h 3848179"/>
              <a:gd name="connsiteX205" fmla="*/ 3125931 w 5422110"/>
              <a:gd name="connsiteY205" fmla="*/ 2088434 h 3848179"/>
              <a:gd name="connsiteX206" fmla="*/ 3125931 w 5422110"/>
              <a:gd name="connsiteY206" fmla="*/ 2513571 h 3848179"/>
              <a:gd name="connsiteX207" fmla="*/ 3204124 w 5422110"/>
              <a:gd name="connsiteY207" fmla="*/ 2513571 h 3848179"/>
              <a:gd name="connsiteX208" fmla="*/ 3204124 w 5422110"/>
              <a:gd name="connsiteY208" fmla="*/ 2088434 h 3848179"/>
              <a:gd name="connsiteX209" fmla="*/ 2974606 w 5422110"/>
              <a:gd name="connsiteY209" fmla="*/ 2088434 h 3848179"/>
              <a:gd name="connsiteX210" fmla="*/ 2974606 w 5422110"/>
              <a:gd name="connsiteY210" fmla="*/ 2513571 h 3848179"/>
              <a:gd name="connsiteX211" fmla="*/ 3052799 w 5422110"/>
              <a:gd name="connsiteY211" fmla="*/ 2513571 h 3848179"/>
              <a:gd name="connsiteX212" fmla="*/ 3052799 w 5422110"/>
              <a:gd name="connsiteY212" fmla="*/ 2088434 h 3848179"/>
              <a:gd name="connsiteX213" fmla="*/ 2823282 w 5422110"/>
              <a:gd name="connsiteY213" fmla="*/ 2088434 h 3848179"/>
              <a:gd name="connsiteX214" fmla="*/ 2823282 w 5422110"/>
              <a:gd name="connsiteY214" fmla="*/ 2513571 h 3848179"/>
              <a:gd name="connsiteX215" fmla="*/ 2901475 w 5422110"/>
              <a:gd name="connsiteY215" fmla="*/ 2513571 h 3848179"/>
              <a:gd name="connsiteX216" fmla="*/ 2901475 w 5422110"/>
              <a:gd name="connsiteY216" fmla="*/ 2088434 h 3848179"/>
              <a:gd name="connsiteX217" fmla="*/ 2671958 w 5422110"/>
              <a:gd name="connsiteY217" fmla="*/ 2088434 h 3848179"/>
              <a:gd name="connsiteX218" fmla="*/ 2671958 w 5422110"/>
              <a:gd name="connsiteY218" fmla="*/ 2513571 h 3848179"/>
              <a:gd name="connsiteX219" fmla="*/ 2750151 w 5422110"/>
              <a:gd name="connsiteY219" fmla="*/ 2513571 h 3848179"/>
              <a:gd name="connsiteX220" fmla="*/ 2750151 w 5422110"/>
              <a:gd name="connsiteY220" fmla="*/ 2088434 h 3848179"/>
              <a:gd name="connsiteX221" fmla="*/ 2520633 w 5422110"/>
              <a:gd name="connsiteY221" fmla="*/ 2088434 h 3848179"/>
              <a:gd name="connsiteX222" fmla="*/ 2520633 w 5422110"/>
              <a:gd name="connsiteY222" fmla="*/ 2513571 h 3848179"/>
              <a:gd name="connsiteX223" fmla="*/ 2598826 w 5422110"/>
              <a:gd name="connsiteY223" fmla="*/ 2513571 h 3848179"/>
              <a:gd name="connsiteX224" fmla="*/ 2598826 w 5422110"/>
              <a:gd name="connsiteY224" fmla="*/ 2088434 h 3848179"/>
              <a:gd name="connsiteX225" fmla="*/ 2369309 w 5422110"/>
              <a:gd name="connsiteY225" fmla="*/ 2088434 h 3848179"/>
              <a:gd name="connsiteX226" fmla="*/ 2369309 w 5422110"/>
              <a:gd name="connsiteY226" fmla="*/ 2513571 h 3848179"/>
              <a:gd name="connsiteX227" fmla="*/ 2447502 w 5422110"/>
              <a:gd name="connsiteY227" fmla="*/ 2513571 h 3848179"/>
              <a:gd name="connsiteX228" fmla="*/ 2447502 w 5422110"/>
              <a:gd name="connsiteY228" fmla="*/ 2088434 h 3848179"/>
              <a:gd name="connsiteX229" fmla="*/ 2217984 w 5422110"/>
              <a:gd name="connsiteY229" fmla="*/ 2088434 h 3848179"/>
              <a:gd name="connsiteX230" fmla="*/ 2217984 w 5422110"/>
              <a:gd name="connsiteY230" fmla="*/ 2513571 h 3848179"/>
              <a:gd name="connsiteX231" fmla="*/ 2296177 w 5422110"/>
              <a:gd name="connsiteY231" fmla="*/ 2513571 h 3848179"/>
              <a:gd name="connsiteX232" fmla="*/ 2296177 w 5422110"/>
              <a:gd name="connsiteY232" fmla="*/ 2088434 h 3848179"/>
              <a:gd name="connsiteX233" fmla="*/ 2066660 w 5422110"/>
              <a:gd name="connsiteY233" fmla="*/ 2088434 h 3848179"/>
              <a:gd name="connsiteX234" fmla="*/ 2066660 w 5422110"/>
              <a:gd name="connsiteY234" fmla="*/ 2513571 h 3848179"/>
              <a:gd name="connsiteX235" fmla="*/ 2144853 w 5422110"/>
              <a:gd name="connsiteY235" fmla="*/ 2513571 h 3848179"/>
              <a:gd name="connsiteX236" fmla="*/ 2144853 w 5422110"/>
              <a:gd name="connsiteY236" fmla="*/ 2088434 h 3848179"/>
              <a:gd name="connsiteX237" fmla="*/ 1915335 w 5422110"/>
              <a:gd name="connsiteY237" fmla="*/ 2088434 h 3848179"/>
              <a:gd name="connsiteX238" fmla="*/ 1915335 w 5422110"/>
              <a:gd name="connsiteY238" fmla="*/ 2513571 h 3848179"/>
              <a:gd name="connsiteX239" fmla="*/ 1993528 w 5422110"/>
              <a:gd name="connsiteY239" fmla="*/ 2513571 h 3848179"/>
              <a:gd name="connsiteX240" fmla="*/ 1993528 w 5422110"/>
              <a:gd name="connsiteY240" fmla="*/ 2088434 h 3848179"/>
              <a:gd name="connsiteX241" fmla="*/ 1764011 w 5422110"/>
              <a:gd name="connsiteY241" fmla="*/ 2088434 h 3848179"/>
              <a:gd name="connsiteX242" fmla="*/ 1764011 w 5422110"/>
              <a:gd name="connsiteY242" fmla="*/ 2513571 h 3848179"/>
              <a:gd name="connsiteX243" fmla="*/ 1842204 w 5422110"/>
              <a:gd name="connsiteY243" fmla="*/ 2513571 h 3848179"/>
              <a:gd name="connsiteX244" fmla="*/ 1842204 w 5422110"/>
              <a:gd name="connsiteY244" fmla="*/ 2088434 h 3848179"/>
              <a:gd name="connsiteX245" fmla="*/ 1682543 w 5422110"/>
              <a:gd name="connsiteY245" fmla="*/ 2018271 h 3848179"/>
              <a:gd name="connsiteX246" fmla="*/ 3739567 w 5422110"/>
              <a:gd name="connsiteY246" fmla="*/ 2018271 h 3848179"/>
              <a:gd name="connsiteX247" fmla="*/ 3788571 w 5422110"/>
              <a:gd name="connsiteY247" fmla="*/ 2067275 h 3848179"/>
              <a:gd name="connsiteX248" fmla="*/ 3788571 w 5422110"/>
              <a:gd name="connsiteY248" fmla="*/ 2869484 h 3848179"/>
              <a:gd name="connsiteX249" fmla="*/ 1633539 w 5422110"/>
              <a:gd name="connsiteY249" fmla="*/ 2869484 h 3848179"/>
              <a:gd name="connsiteX250" fmla="*/ 1633539 w 5422110"/>
              <a:gd name="connsiteY250" fmla="*/ 2067275 h 3848179"/>
              <a:gd name="connsiteX251" fmla="*/ 1682543 w 5422110"/>
              <a:gd name="connsiteY251" fmla="*/ 2018271 h 3848179"/>
              <a:gd name="connsiteX252" fmla="*/ 2721770 w 5422110"/>
              <a:gd name="connsiteY252" fmla="*/ 0 h 3848179"/>
              <a:gd name="connsiteX253" fmla="*/ 2753918 w 5422110"/>
              <a:gd name="connsiteY253" fmla="*/ 525709 h 3848179"/>
              <a:gd name="connsiteX254" fmla="*/ 2770600 w 5422110"/>
              <a:gd name="connsiteY254" fmla="*/ 536957 h 3848179"/>
              <a:gd name="connsiteX255" fmla="*/ 2790826 w 5422110"/>
              <a:gd name="connsiteY255" fmla="*/ 585787 h 3848179"/>
              <a:gd name="connsiteX256" fmla="*/ 2790826 w 5422110"/>
              <a:gd name="connsiteY256" fmla="*/ 927846 h 3848179"/>
              <a:gd name="connsiteX257" fmla="*/ 2794174 w 5422110"/>
              <a:gd name="connsiteY257" fmla="*/ 930103 h 3848179"/>
              <a:gd name="connsiteX258" fmla="*/ 2824164 w 5422110"/>
              <a:gd name="connsiteY258" fmla="*/ 1002507 h 3848179"/>
              <a:gd name="connsiteX259" fmla="*/ 2824164 w 5422110"/>
              <a:gd name="connsiteY259" fmla="*/ 1181100 h 3848179"/>
              <a:gd name="connsiteX260" fmla="*/ 2952499 w 5422110"/>
              <a:gd name="connsiteY260" fmla="*/ 1181100 h 3848179"/>
              <a:gd name="connsiteX261" fmla="*/ 3044885 w 5422110"/>
              <a:gd name="connsiteY261" fmla="*/ 1242337 h 3848179"/>
              <a:gd name="connsiteX262" fmla="*/ 3051426 w 5422110"/>
              <a:gd name="connsiteY262" fmla="*/ 1274737 h 3848179"/>
              <a:gd name="connsiteX263" fmla="*/ 3136549 w 5422110"/>
              <a:gd name="connsiteY263" fmla="*/ 1305586 h 3848179"/>
              <a:gd name="connsiteX264" fmla="*/ 3676212 w 5422110"/>
              <a:gd name="connsiteY264" fmla="*/ 1851848 h 3848179"/>
              <a:gd name="connsiteX265" fmla="*/ 3710451 w 5422110"/>
              <a:gd name="connsiteY265" fmla="*/ 1962150 h 3848179"/>
              <a:gd name="connsiteX266" fmla="*/ 1733089 w 5422110"/>
              <a:gd name="connsiteY266" fmla="*/ 1962150 h 3848179"/>
              <a:gd name="connsiteX267" fmla="*/ 1767329 w 5422110"/>
              <a:gd name="connsiteY267" fmla="*/ 1851848 h 3848179"/>
              <a:gd name="connsiteX268" fmla="*/ 2306992 w 5422110"/>
              <a:gd name="connsiteY268" fmla="*/ 1305586 h 3848179"/>
              <a:gd name="connsiteX269" fmla="*/ 2392114 w 5422110"/>
              <a:gd name="connsiteY269" fmla="*/ 1274737 h 3848179"/>
              <a:gd name="connsiteX270" fmla="*/ 2398656 w 5422110"/>
              <a:gd name="connsiteY270" fmla="*/ 1242337 h 3848179"/>
              <a:gd name="connsiteX271" fmla="*/ 2491041 w 5422110"/>
              <a:gd name="connsiteY271" fmla="*/ 1181100 h 3848179"/>
              <a:gd name="connsiteX272" fmla="*/ 2619376 w 5422110"/>
              <a:gd name="connsiteY272" fmla="*/ 1181100 h 3848179"/>
              <a:gd name="connsiteX273" fmla="*/ 2619376 w 5422110"/>
              <a:gd name="connsiteY273" fmla="*/ 1002507 h 3848179"/>
              <a:gd name="connsiteX274" fmla="*/ 2649367 w 5422110"/>
              <a:gd name="connsiteY274" fmla="*/ 930103 h 3848179"/>
              <a:gd name="connsiteX275" fmla="*/ 2652714 w 5422110"/>
              <a:gd name="connsiteY275" fmla="*/ 927846 h 3848179"/>
              <a:gd name="connsiteX276" fmla="*/ 2652714 w 5422110"/>
              <a:gd name="connsiteY276" fmla="*/ 585787 h 3848179"/>
              <a:gd name="connsiteX277" fmla="*/ 2672940 w 5422110"/>
              <a:gd name="connsiteY277" fmla="*/ 536957 h 3848179"/>
              <a:gd name="connsiteX278" fmla="*/ 2689623 w 5422110"/>
              <a:gd name="connsiteY278" fmla="*/ 525709 h 3848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5422110" h="3848179">
                <a:moveTo>
                  <a:pt x="38101" y="3721179"/>
                </a:moveTo>
                <a:lnTo>
                  <a:pt x="5384010" y="3721179"/>
                </a:lnTo>
                <a:lnTo>
                  <a:pt x="5384010" y="3848179"/>
                </a:lnTo>
                <a:lnTo>
                  <a:pt x="38101" y="3848179"/>
                </a:lnTo>
                <a:close/>
                <a:moveTo>
                  <a:pt x="5097962" y="3121898"/>
                </a:moveTo>
                <a:lnTo>
                  <a:pt x="5097962" y="3448129"/>
                </a:lnTo>
                <a:lnTo>
                  <a:pt x="5231312" y="3448129"/>
                </a:lnTo>
                <a:lnTo>
                  <a:pt x="5231312" y="3121898"/>
                </a:lnTo>
                <a:close/>
                <a:moveTo>
                  <a:pt x="4868529" y="3121898"/>
                </a:moveTo>
                <a:lnTo>
                  <a:pt x="4868529" y="3448129"/>
                </a:lnTo>
                <a:lnTo>
                  <a:pt x="5001879" y="3448129"/>
                </a:lnTo>
                <a:lnTo>
                  <a:pt x="5001879" y="3121898"/>
                </a:lnTo>
                <a:close/>
                <a:moveTo>
                  <a:pt x="4639096" y="3121898"/>
                </a:moveTo>
                <a:lnTo>
                  <a:pt x="4639096" y="3448129"/>
                </a:lnTo>
                <a:lnTo>
                  <a:pt x="4772446" y="3448129"/>
                </a:lnTo>
                <a:lnTo>
                  <a:pt x="4772446" y="3121898"/>
                </a:lnTo>
                <a:close/>
                <a:moveTo>
                  <a:pt x="4409663" y="3121898"/>
                </a:moveTo>
                <a:lnTo>
                  <a:pt x="4409663" y="3448129"/>
                </a:lnTo>
                <a:lnTo>
                  <a:pt x="4543013" y="3448129"/>
                </a:lnTo>
                <a:lnTo>
                  <a:pt x="4543013" y="3121898"/>
                </a:lnTo>
                <a:close/>
                <a:moveTo>
                  <a:pt x="4180230" y="3121898"/>
                </a:moveTo>
                <a:lnTo>
                  <a:pt x="4180230" y="3448129"/>
                </a:lnTo>
                <a:lnTo>
                  <a:pt x="4313580" y="3448129"/>
                </a:lnTo>
                <a:lnTo>
                  <a:pt x="4313580" y="3121898"/>
                </a:lnTo>
                <a:close/>
                <a:moveTo>
                  <a:pt x="3950795" y="3121898"/>
                </a:moveTo>
                <a:lnTo>
                  <a:pt x="3950795" y="3448129"/>
                </a:lnTo>
                <a:lnTo>
                  <a:pt x="4084145" y="3448129"/>
                </a:lnTo>
                <a:lnTo>
                  <a:pt x="4084145" y="3121898"/>
                </a:lnTo>
                <a:close/>
                <a:moveTo>
                  <a:pt x="1337965" y="3121898"/>
                </a:moveTo>
                <a:lnTo>
                  <a:pt x="1337965" y="3448129"/>
                </a:lnTo>
                <a:lnTo>
                  <a:pt x="1471315" y="3448129"/>
                </a:lnTo>
                <a:lnTo>
                  <a:pt x="1471315" y="3121898"/>
                </a:lnTo>
                <a:close/>
                <a:moveTo>
                  <a:pt x="1108530" y="3121898"/>
                </a:moveTo>
                <a:lnTo>
                  <a:pt x="1108530" y="3448129"/>
                </a:lnTo>
                <a:lnTo>
                  <a:pt x="1241880" y="3448129"/>
                </a:lnTo>
                <a:lnTo>
                  <a:pt x="1241880" y="3121898"/>
                </a:lnTo>
                <a:close/>
                <a:moveTo>
                  <a:pt x="879097" y="3121898"/>
                </a:moveTo>
                <a:lnTo>
                  <a:pt x="879097" y="3448129"/>
                </a:lnTo>
                <a:lnTo>
                  <a:pt x="1012447" y="3448129"/>
                </a:lnTo>
                <a:lnTo>
                  <a:pt x="1012447" y="3121898"/>
                </a:lnTo>
                <a:close/>
                <a:moveTo>
                  <a:pt x="649664" y="3121898"/>
                </a:moveTo>
                <a:lnTo>
                  <a:pt x="649664" y="3448129"/>
                </a:lnTo>
                <a:lnTo>
                  <a:pt x="783014" y="3448129"/>
                </a:lnTo>
                <a:lnTo>
                  <a:pt x="783014" y="3121898"/>
                </a:lnTo>
                <a:close/>
                <a:moveTo>
                  <a:pt x="420231" y="3121898"/>
                </a:moveTo>
                <a:lnTo>
                  <a:pt x="420231" y="3448129"/>
                </a:lnTo>
                <a:lnTo>
                  <a:pt x="553581" y="3448129"/>
                </a:lnTo>
                <a:lnTo>
                  <a:pt x="553581" y="3121898"/>
                </a:lnTo>
                <a:close/>
                <a:moveTo>
                  <a:pt x="190798" y="3121898"/>
                </a:moveTo>
                <a:lnTo>
                  <a:pt x="190798" y="3448129"/>
                </a:lnTo>
                <a:lnTo>
                  <a:pt x="324148" y="3448129"/>
                </a:lnTo>
                <a:lnTo>
                  <a:pt x="324148" y="3121898"/>
                </a:lnTo>
                <a:close/>
                <a:moveTo>
                  <a:pt x="1633539" y="2900441"/>
                </a:moveTo>
                <a:lnTo>
                  <a:pt x="3788571" y="2900441"/>
                </a:lnTo>
                <a:lnTo>
                  <a:pt x="3788571" y="3671966"/>
                </a:lnTo>
                <a:lnTo>
                  <a:pt x="3658098" y="3671966"/>
                </a:lnTo>
                <a:lnTo>
                  <a:pt x="3576638" y="3671966"/>
                </a:lnTo>
                <a:lnTo>
                  <a:pt x="3518398" y="3671966"/>
                </a:lnTo>
                <a:lnTo>
                  <a:pt x="3518398" y="2992358"/>
                </a:lnTo>
                <a:lnTo>
                  <a:pt x="3530740" y="2962564"/>
                </a:lnTo>
                <a:lnTo>
                  <a:pt x="3060961" y="2962564"/>
                </a:lnTo>
                <a:lnTo>
                  <a:pt x="3073302" y="2992358"/>
                </a:lnTo>
                <a:lnTo>
                  <a:pt x="3073302" y="3671966"/>
                </a:lnTo>
                <a:lnTo>
                  <a:pt x="2933602" y="3671966"/>
                </a:lnTo>
                <a:lnTo>
                  <a:pt x="2933602" y="2992358"/>
                </a:lnTo>
                <a:lnTo>
                  <a:pt x="2945944" y="2962564"/>
                </a:lnTo>
                <a:lnTo>
                  <a:pt x="2476166" y="2962564"/>
                </a:lnTo>
                <a:lnTo>
                  <a:pt x="2488507" y="2992358"/>
                </a:lnTo>
                <a:lnTo>
                  <a:pt x="2488507" y="3671966"/>
                </a:lnTo>
                <a:lnTo>
                  <a:pt x="2348807" y="3671966"/>
                </a:lnTo>
                <a:lnTo>
                  <a:pt x="2348807" y="2992358"/>
                </a:lnTo>
                <a:lnTo>
                  <a:pt x="2361149" y="2962564"/>
                </a:lnTo>
                <a:lnTo>
                  <a:pt x="1891371" y="2962564"/>
                </a:lnTo>
                <a:lnTo>
                  <a:pt x="1903712" y="2992358"/>
                </a:lnTo>
                <a:lnTo>
                  <a:pt x="1903712" y="3671966"/>
                </a:lnTo>
                <a:lnTo>
                  <a:pt x="1845472" y="3671966"/>
                </a:lnTo>
                <a:lnTo>
                  <a:pt x="1764012" y="3671966"/>
                </a:lnTo>
                <a:lnTo>
                  <a:pt x="1633539" y="3671966"/>
                </a:lnTo>
                <a:close/>
                <a:moveTo>
                  <a:pt x="5097962" y="2674223"/>
                </a:moveTo>
                <a:lnTo>
                  <a:pt x="5097962" y="3000454"/>
                </a:lnTo>
                <a:lnTo>
                  <a:pt x="5231312" y="3000454"/>
                </a:lnTo>
                <a:lnTo>
                  <a:pt x="5231312" y="2674223"/>
                </a:lnTo>
                <a:close/>
                <a:moveTo>
                  <a:pt x="4868529" y="2674223"/>
                </a:moveTo>
                <a:lnTo>
                  <a:pt x="4868529" y="3000454"/>
                </a:lnTo>
                <a:lnTo>
                  <a:pt x="5001879" y="3000454"/>
                </a:lnTo>
                <a:lnTo>
                  <a:pt x="5001879" y="2674223"/>
                </a:lnTo>
                <a:close/>
                <a:moveTo>
                  <a:pt x="4639096" y="2674223"/>
                </a:moveTo>
                <a:lnTo>
                  <a:pt x="4639096" y="3000454"/>
                </a:lnTo>
                <a:lnTo>
                  <a:pt x="4772446" y="3000454"/>
                </a:lnTo>
                <a:lnTo>
                  <a:pt x="4772446" y="2674223"/>
                </a:lnTo>
                <a:close/>
                <a:moveTo>
                  <a:pt x="4409663" y="2674223"/>
                </a:moveTo>
                <a:lnTo>
                  <a:pt x="4409663" y="3000454"/>
                </a:lnTo>
                <a:lnTo>
                  <a:pt x="4543013" y="3000454"/>
                </a:lnTo>
                <a:lnTo>
                  <a:pt x="4543013" y="2674223"/>
                </a:lnTo>
                <a:close/>
                <a:moveTo>
                  <a:pt x="4180230" y="2674223"/>
                </a:moveTo>
                <a:lnTo>
                  <a:pt x="4180230" y="3000454"/>
                </a:lnTo>
                <a:lnTo>
                  <a:pt x="4313580" y="3000454"/>
                </a:lnTo>
                <a:lnTo>
                  <a:pt x="4313580" y="2674223"/>
                </a:lnTo>
                <a:close/>
                <a:moveTo>
                  <a:pt x="3950795" y="2674223"/>
                </a:moveTo>
                <a:lnTo>
                  <a:pt x="3950795" y="3000454"/>
                </a:lnTo>
                <a:lnTo>
                  <a:pt x="4084145" y="3000454"/>
                </a:lnTo>
                <a:lnTo>
                  <a:pt x="4084145" y="2674223"/>
                </a:lnTo>
                <a:close/>
                <a:moveTo>
                  <a:pt x="1337965" y="2674223"/>
                </a:moveTo>
                <a:lnTo>
                  <a:pt x="1337965" y="3000454"/>
                </a:lnTo>
                <a:lnTo>
                  <a:pt x="1471315" y="3000454"/>
                </a:lnTo>
                <a:lnTo>
                  <a:pt x="1471315" y="2674223"/>
                </a:lnTo>
                <a:close/>
                <a:moveTo>
                  <a:pt x="1108530" y="2674223"/>
                </a:moveTo>
                <a:lnTo>
                  <a:pt x="1108530" y="3000454"/>
                </a:lnTo>
                <a:lnTo>
                  <a:pt x="1241880" y="3000454"/>
                </a:lnTo>
                <a:lnTo>
                  <a:pt x="1241880" y="2674223"/>
                </a:lnTo>
                <a:close/>
                <a:moveTo>
                  <a:pt x="879097" y="2674223"/>
                </a:moveTo>
                <a:lnTo>
                  <a:pt x="879097" y="3000454"/>
                </a:lnTo>
                <a:lnTo>
                  <a:pt x="1012447" y="3000454"/>
                </a:lnTo>
                <a:lnTo>
                  <a:pt x="1012447" y="2674223"/>
                </a:lnTo>
                <a:close/>
                <a:moveTo>
                  <a:pt x="649664" y="2674223"/>
                </a:moveTo>
                <a:lnTo>
                  <a:pt x="649664" y="3000454"/>
                </a:lnTo>
                <a:lnTo>
                  <a:pt x="783014" y="3000454"/>
                </a:lnTo>
                <a:lnTo>
                  <a:pt x="783014" y="2674223"/>
                </a:lnTo>
                <a:close/>
                <a:moveTo>
                  <a:pt x="420231" y="2674223"/>
                </a:moveTo>
                <a:lnTo>
                  <a:pt x="420231" y="3000454"/>
                </a:lnTo>
                <a:lnTo>
                  <a:pt x="553581" y="3000454"/>
                </a:lnTo>
                <a:lnTo>
                  <a:pt x="553581" y="2674223"/>
                </a:lnTo>
                <a:close/>
                <a:moveTo>
                  <a:pt x="190798" y="2674223"/>
                </a:moveTo>
                <a:lnTo>
                  <a:pt x="190798" y="3000454"/>
                </a:lnTo>
                <a:lnTo>
                  <a:pt x="324148" y="3000454"/>
                </a:lnTo>
                <a:lnTo>
                  <a:pt x="324148" y="2674223"/>
                </a:lnTo>
                <a:close/>
                <a:moveTo>
                  <a:pt x="5097962" y="2226548"/>
                </a:moveTo>
                <a:lnTo>
                  <a:pt x="5097962" y="2552779"/>
                </a:lnTo>
                <a:lnTo>
                  <a:pt x="5231312" y="2552779"/>
                </a:lnTo>
                <a:lnTo>
                  <a:pt x="5231312" y="2255852"/>
                </a:lnTo>
                <a:lnTo>
                  <a:pt x="5231312" y="2226548"/>
                </a:lnTo>
                <a:close/>
                <a:moveTo>
                  <a:pt x="4868529" y="2226548"/>
                </a:moveTo>
                <a:lnTo>
                  <a:pt x="4868529" y="2552779"/>
                </a:lnTo>
                <a:lnTo>
                  <a:pt x="5001879" y="2552779"/>
                </a:lnTo>
                <a:lnTo>
                  <a:pt x="5001879" y="2226548"/>
                </a:lnTo>
                <a:close/>
                <a:moveTo>
                  <a:pt x="4639096" y="2226548"/>
                </a:moveTo>
                <a:lnTo>
                  <a:pt x="4639096" y="2552779"/>
                </a:lnTo>
                <a:lnTo>
                  <a:pt x="4772446" y="2552779"/>
                </a:lnTo>
                <a:lnTo>
                  <a:pt x="4772446" y="2226548"/>
                </a:lnTo>
                <a:close/>
                <a:moveTo>
                  <a:pt x="4409663" y="2226548"/>
                </a:moveTo>
                <a:lnTo>
                  <a:pt x="4409663" y="2552779"/>
                </a:lnTo>
                <a:lnTo>
                  <a:pt x="4543013" y="2552779"/>
                </a:lnTo>
                <a:lnTo>
                  <a:pt x="4543013" y="2226548"/>
                </a:lnTo>
                <a:close/>
                <a:moveTo>
                  <a:pt x="4180230" y="2226548"/>
                </a:moveTo>
                <a:lnTo>
                  <a:pt x="4180230" y="2552779"/>
                </a:lnTo>
                <a:lnTo>
                  <a:pt x="4313580" y="2552779"/>
                </a:lnTo>
                <a:lnTo>
                  <a:pt x="4313580" y="2226548"/>
                </a:lnTo>
                <a:close/>
                <a:moveTo>
                  <a:pt x="3950795" y="2226548"/>
                </a:moveTo>
                <a:lnTo>
                  <a:pt x="3950795" y="2552779"/>
                </a:lnTo>
                <a:lnTo>
                  <a:pt x="4084145" y="2552779"/>
                </a:lnTo>
                <a:lnTo>
                  <a:pt x="4084145" y="2226548"/>
                </a:lnTo>
                <a:close/>
                <a:moveTo>
                  <a:pt x="1337965" y="2226548"/>
                </a:moveTo>
                <a:lnTo>
                  <a:pt x="1337965" y="2552779"/>
                </a:lnTo>
                <a:lnTo>
                  <a:pt x="1471315" y="2552779"/>
                </a:lnTo>
                <a:lnTo>
                  <a:pt x="1471315" y="2226548"/>
                </a:lnTo>
                <a:close/>
                <a:moveTo>
                  <a:pt x="1108530" y="2226548"/>
                </a:moveTo>
                <a:lnTo>
                  <a:pt x="1108530" y="2552779"/>
                </a:lnTo>
                <a:lnTo>
                  <a:pt x="1241880" y="2552779"/>
                </a:lnTo>
                <a:lnTo>
                  <a:pt x="1241880" y="2226548"/>
                </a:lnTo>
                <a:close/>
                <a:moveTo>
                  <a:pt x="879097" y="2226548"/>
                </a:moveTo>
                <a:lnTo>
                  <a:pt x="879097" y="2552779"/>
                </a:lnTo>
                <a:lnTo>
                  <a:pt x="1012447" y="2552779"/>
                </a:lnTo>
                <a:lnTo>
                  <a:pt x="1012447" y="2226548"/>
                </a:lnTo>
                <a:close/>
                <a:moveTo>
                  <a:pt x="649664" y="2226548"/>
                </a:moveTo>
                <a:lnTo>
                  <a:pt x="649664" y="2552779"/>
                </a:lnTo>
                <a:lnTo>
                  <a:pt x="783014" y="2552779"/>
                </a:lnTo>
                <a:lnTo>
                  <a:pt x="783014" y="2226548"/>
                </a:lnTo>
                <a:close/>
                <a:moveTo>
                  <a:pt x="420231" y="2226548"/>
                </a:moveTo>
                <a:lnTo>
                  <a:pt x="420231" y="2552779"/>
                </a:lnTo>
                <a:lnTo>
                  <a:pt x="553581" y="2552779"/>
                </a:lnTo>
                <a:lnTo>
                  <a:pt x="553581" y="2226548"/>
                </a:lnTo>
                <a:close/>
                <a:moveTo>
                  <a:pt x="190798" y="2226548"/>
                </a:moveTo>
                <a:lnTo>
                  <a:pt x="190798" y="2255852"/>
                </a:lnTo>
                <a:lnTo>
                  <a:pt x="190798" y="2552779"/>
                </a:lnTo>
                <a:lnTo>
                  <a:pt x="324148" y="2552779"/>
                </a:lnTo>
                <a:lnTo>
                  <a:pt x="324148" y="2226548"/>
                </a:lnTo>
                <a:close/>
                <a:moveTo>
                  <a:pt x="3840960" y="2128917"/>
                </a:moveTo>
                <a:lnTo>
                  <a:pt x="5231312" y="2128917"/>
                </a:lnTo>
                <a:lnTo>
                  <a:pt x="5341147" y="2128917"/>
                </a:lnTo>
                <a:lnTo>
                  <a:pt x="5422110" y="2128917"/>
                </a:lnTo>
                <a:cubicBezTo>
                  <a:pt x="5417695" y="2202461"/>
                  <a:pt x="5382918" y="2233141"/>
                  <a:pt x="5342784" y="2245963"/>
                </a:cubicBezTo>
                <a:lnTo>
                  <a:pt x="5341147" y="2246203"/>
                </a:lnTo>
                <a:lnTo>
                  <a:pt x="5341147" y="3671967"/>
                </a:lnTo>
                <a:lnTo>
                  <a:pt x="3840960" y="3671967"/>
                </a:lnTo>
                <a:close/>
                <a:moveTo>
                  <a:pt x="0" y="2128917"/>
                </a:moveTo>
                <a:lnTo>
                  <a:pt x="80963" y="2128917"/>
                </a:lnTo>
                <a:lnTo>
                  <a:pt x="190798" y="2128917"/>
                </a:lnTo>
                <a:lnTo>
                  <a:pt x="1581150" y="2128917"/>
                </a:lnTo>
                <a:lnTo>
                  <a:pt x="1581150" y="3671967"/>
                </a:lnTo>
                <a:lnTo>
                  <a:pt x="80963" y="3671967"/>
                </a:lnTo>
                <a:lnTo>
                  <a:pt x="80963" y="2246203"/>
                </a:lnTo>
                <a:lnTo>
                  <a:pt x="79326" y="2245963"/>
                </a:lnTo>
                <a:cubicBezTo>
                  <a:pt x="39192" y="2233141"/>
                  <a:pt x="4415" y="2202461"/>
                  <a:pt x="0" y="2128917"/>
                </a:cubicBezTo>
                <a:close/>
                <a:moveTo>
                  <a:pt x="3579904" y="2088434"/>
                </a:moveTo>
                <a:lnTo>
                  <a:pt x="3579904" y="2513571"/>
                </a:lnTo>
                <a:lnTo>
                  <a:pt x="3658097" y="2513571"/>
                </a:lnTo>
                <a:lnTo>
                  <a:pt x="3658097" y="2088434"/>
                </a:lnTo>
                <a:close/>
                <a:moveTo>
                  <a:pt x="3428580" y="2088434"/>
                </a:moveTo>
                <a:lnTo>
                  <a:pt x="3428580" y="2513571"/>
                </a:lnTo>
                <a:lnTo>
                  <a:pt x="3506773" y="2513571"/>
                </a:lnTo>
                <a:lnTo>
                  <a:pt x="3506773" y="2088434"/>
                </a:lnTo>
                <a:close/>
                <a:moveTo>
                  <a:pt x="3277255" y="2088434"/>
                </a:moveTo>
                <a:lnTo>
                  <a:pt x="3277255" y="2513571"/>
                </a:lnTo>
                <a:lnTo>
                  <a:pt x="3355448" y="2513571"/>
                </a:lnTo>
                <a:lnTo>
                  <a:pt x="3355448" y="2088434"/>
                </a:lnTo>
                <a:close/>
                <a:moveTo>
                  <a:pt x="3125931" y="2088434"/>
                </a:moveTo>
                <a:lnTo>
                  <a:pt x="3125931" y="2513571"/>
                </a:lnTo>
                <a:lnTo>
                  <a:pt x="3204124" y="2513571"/>
                </a:lnTo>
                <a:lnTo>
                  <a:pt x="3204124" y="2088434"/>
                </a:lnTo>
                <a:close/>
                <a:moveTo>
                  <a:pt x="2974606" y="2088434"/>
                </a:moveTo>
                <a:lnTo>
                  <a:pt x="2974606" y="2513571"/>
                </a:lnTo>
                <a:lnTo>
                  <a:pt x="3052799" y="2513571"/>
                </a:lnTo>
                <a:lnTo>
                  <a:pt x="3052799" y="2088434"/>
                </a:lnTo>
                <a:close/>
                <a:moveTo>
                  <a:pt x="2823282" y="2088434"/>
                </a:moveTo>
                <a:lnTo>
                  <a:pt x="2823282" y="2513571"/>
                </a:lnTo>
                <a:lnTo>
                  <a:pt x="2901475" y="2513571"/>
                </a:lnTo>
                <a:lnTo>
                  <a:pt x="2901475" y="2088434"/>
                </a:lnTo>
                <a:close/>
                <a:moveTo>
                  <a:pt x="2671958" y="2088434"/>
                </a:moveTo>
                <a:lnTo>
                  <a:pt x="2671958" y="2513571"/>
                </a:lnTo>
                <a:lnTo>
                  <a:pt x="2750151" y="2513571"/>
                </a:lnTo>
                <a:lnTo>
                  <a:pt x="2750151" y="2088434"/>
                </a:lnTo>
                <a:close/>
                <a:moveTo>
                  <a:pt x="2520633" y="2088434"/>
                </a:moveTo>
                <a:lnTo>
                  <a:pt x="2520633" y="2513571"/>
                </a:lnTo>
                <a:lnTo>
                  <a:pt x="2598826" y="2513571"/>
                </a:lnTo>
                <a:lnTo>
                  <a:pt x="2598826" y="2088434"/>
                </a:lnTo>
                <a:close/>
                <a:moveTo>
                  <a:pt x="2369309" y="2088434"/>
                </a:moveTo>
                <a:lnTo>
                  <a:pt x="2369309" y="2513571"/>
                </a:lnTo>
                <a:lnTo>
                  <a:pt x="2447502" y="2513571"/>
                </a:lnTo>
                <a:lnTo>
                  <a:pt x="2447502" y="2088434"/>
                </a:lnTo>
                <a:close/>
                <a:moveTo>
                  <a:pt x="2217984" y="2088434"/>
                </a:moveTo>
                <a:lnTo>
                  <a:pt x="2217984" y="2513571"/>
                </a:lnTo>
                <a:lnTo>
                  <a:pt x="2296177" y="2513571"/>
                </a:lnTo>
                <a:lnTo>
                  <a:pt x="2296177" y="2088434"/>
                </a:lnTo>
                <a:close/>
                <a:moveTo>
                  <a:pt x="2066660" y="2088434"/>
                </a:moveTo>
                <a:lnTo>
                  <a:pt x="2066660" y="2513571"/>
                </a:lnTo>
                <a:lnTo>
                  <a:pt x="2144853" y="2513571"/>
                </a:lnTo>
                <a:lnTo>
                  <a:pt x="2144853" y="2088434"/>
                </a:lnTo>
                <a:close/>
                <a:moveTo>
                  <a:pt x="1915335" y="2088434"/>
                </a:moveTo>
                <a:lnTo>
                  <a:pt x="1915335" y="2513571"/>
                </a:lnTo>
                <a:lnTo>
                  <a:pt x="1993528" y="2513571"/>
                </a:lnTo>
                <a:lnTo>
                  <a:pt x="1993528" y="2088434"/>
                </a:lnTo>
                <a:close/>
                <a:moveTo>
                  <a:pt x="1764011" y="2088434"/>
                </a:moveTo>
                <a:lnTo>
                  <a:pt x="1764011" y="2513571"/>
                </a:lnTo>
                <a:lnTo>
                  <a:pt x="1842204" y="2513571"/>
                </a:lnTo>
                <a:lnTo>
                  <a:pt x="1842204" y="2088434"/>
                </a:lnTo>
                <a:close/>
                <a:moveTo>
                  <a:pt x="1682543" y="2018271"/>
                </a:moveTo>
                <a:lnTo>
                  <a:pt x="3739567" y="2018271"/>
                </a:lnTo>
                <a:cubicBezTo>
                  <a:pt x="3766631" y="2018271"/>
                  <a:pt x="3788571" y="2040211"/>
                  <a:pt x="3788571" y="2067275"/>
                </a:cubicBezTo>
                <a:lnTo>
                  <a:pt x="3788571" y="2869484"/>
                </a:lnTo>
                <a:lnTo>
                  <a:pt x="1633539" y="2869484"/>
                </a:lnTo>
                <a:lnTo>
                  <a:pt x="1633539" y="2067275"/>
                </a:lnTo>
                <a:cubicBezTo>
                  <a:pt x="1633539" y="2040211"/>
                  <a:pt x="1655479" y="2018271"/>
                  <a:pt x="1682543" y="2018271"/>
                </a:cubicBezTo>
                <a:close/>
                <a:moveTo>
                  <a:pt x="2721770" y="0"/>
                </a:moveTo>
                <a:lnTo>
                  <a:pt x="2753918" y="525709"/>
                </a:lnTo>
                <a:lnTo>
                  <a:pt x="2770600" y="536957"/>
                </a:lnTo>
                <a:cubicBezTo>
                  <a:pt x="2783097" y="549453"/>
                  <a:pt x="2790826" y="566717"/>
                  <a:pt x="2790826" y="585787"/>
                </a:cubicBezTo>
                <a:lnTo>
                  <a:pt x="2790826" y="927846"/>
                </a:lnTo>
                <a:lnTo>
                  <a:pt x="2794174" y="930103"/>
                </a:lnTo>
                <a:cubicBezTo>
                  <a:pt x="2812703" y="948633"/>
                  <a:pt x="2824164" y="974231"/>
                  <a:pt x="2824164" y="1002507"/>
                </a:cubicBezTo>
                <a:lnTo>
                  <a:pt x="2824164" y="1181100"/>
                </a:lnTo>
                <a:lnTo>
                  <a:pt x="2952499" y="1181100"/>
                </a:lnTo>
                <a:cubicBezTo>
                  <a:pt x="2994031" y="1181100"/>
                  <a:pt x="3029664" y="1206351"/>
                  <a:pt x="3044885" y="1242337"/>
                </a:cubicBezTo>
                <a:lnTo>
                  <a:pt x="3051426" y="1274737"/>
                </a:lnTo>
                <a:lnTo>
                  <a:pt x="3136549" y="1305586"/>
                </a:lnTo>
                <a:cubicBezTo>
                  <a:pt x="3379002" y="1411654"/>
                  <a:pt x="3573017" y="1607868"/>
                  <a:pt x="3676212" y="1851848"/>
                </a:cubicBezTo>
                <a:lnTo>
                  <a:pt x="3710451" y="1962150"/>
                </a:lnTo>
                <a:lnTo>
                  <a:pt x="1733089" y="1962150"/>
                </a:lnTo>
                <a:lnTo>
                  <a:pt x="1767329" y="1851848"/>
                </a:lnTo>
                <a:cubicBezTo>
                  <a:pt x="1870525" y="1607868"/>
                  <a:pt x="2064539" y="1411654"/>
                  <a:pt x="2306992" y="1305586"/>
                </a:cubicBezTo>
                <a:lnTo>
                  <a:pt x="2392114" y="1274737"/>
                </a:lnTo>
                <a:lnTo>
                  <a:pt x="2398656" y="1242337"/>
                </a:lnTo>
                <a:cubicBezTo>
                  <a:pt x="2413877" y="1206351"/>
                  <a:pt x="2449510" y="1181100"/>
                  <a:pt x="2491041" y="1181100"/>
                </a:cubicBezTo>
                <a:lnTo>
                  <a:pt x="2619376" y="1181100"/>
                </a:lnTo>
                <a:lnTo>
                  <a:pt x="2619376" y="1002507"/>
                </a:lnTo>
                <a:cubicBezTo>
                  <a:pt x="2619376" y="974231"/>
                  <a:pt x="2630837" y="948633"/>
                  <a:pt x="2649367" y="930103"/>
                </a:cubicBezTo>
                <a:lnTo>
                  <a:pt x="2652714" y="927846"/>
                </a:lnTo>
                <a:lnTo>
                  <a:pt x="2652714" y="585787"/>
                </a:lnTo>
                <a:cubicBezTo>
                  <a:pt x="2652714" y="566717"/>
                  <a:pt x="2660444" y="549453"/>
                  <a:pt x="2672940" y="536957"/>
                </a:cubicBezTo>
                <a:lnTo>
                  <a:pt x="2689623" y="525709"/>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06" name="Group 105"/>
          <p:cNvGrpSpPr/>
          <p:nvPr userDrawn="1"/>
        </p:nvGrpSpPr>
        <p:grpSpPr>
          <a:xfrm>
            <a:off x="9674844" y="5378678"/>
            <a:ext cx="329260" cy="346916"/>
            <a:chOff x="8352953" y="6290150"/>
            <a:chExt cx="634144" cy="668147"/>
          </a:xfrm>
        </p:grpSpPr>
        <p:sp>
          <p:nvSpPr>
            <p:cNvPr id="107" name="Freeform 20"/>
            <p:cNvSpPr>
              <a:spLocks/>
            </p:cNvSpPr>
            <p:nvPr/>
          </p:nvSpPr>
          <p:spPr bwMode="auto">
            <a:xfrm>
              <a:off x="8352953" y="6290150"/>
              <a:ext cx="634144" cy="668147"/>
            </a:xfrm>
            <a:custGeom>
              <a:avLst/>
              <a:gdLst>
                <a:gd name="T0" fmla="*/ 295 w 539"/>
                <a:gd name="T1" fmla="*/ 77 h 711"/>
                <a:gd name="T2" fmla="*/ 295 w 539"/>
                <a:gd name="T3" fmla="*/ 0 h 711"/>
                <a:gd name="T4" fmla="*/ 105 w 539"/>
                <a:gd name="T5" fmla="*/ 0 h 711"/>
                <a:gd name="T6" fmla="*/ 105 w 539"/>
                <a:gd name="T7" fmla="*/ 77 h 711"/>
                <a:gd name="T8" fmla="*/ 0 w 539"/>
                <a:gd name="T9" fmla="*/ 77 h 711"/>
                <a:gd name="T10" fmla="*/ 0 w 539"/>
                <a:gd name="T11" fmla="*/ 95 h 711"/>
                <a:gd name="T12" fmla="*/ 23 w 539"/>
                <a:gd name="T13" fmla="*/ 95 h 711"/>
                <a:gd name="T14" fmla="*/ 23 w 539"/>
                <a:gd name="T15" fmla="*/ 711 h 711"/>
                <a:gd name="T16" fmla="*/ 515 w 539"/>
                <a:gd name="T17" fmla="*/ 711 h 711"/>
                <a:gd name="T18" fmla="*/ 515 w 539"/>
                <a:gd name="T19" fmla="*/ 95 h 711"/>
                <a:gd name="T20" fmla="*/ 539 w 539"/>
                <a:gd name="T21" fmla="*/ 95 h 711"/>
                <a:gd name="T22" fmla="*/ 539 w 539"/>
                <a:gd name="T23" fmla="*/ 77 h 711"/>
                <a:gd name="T24" fmla="*/ 295 w 539"/>
                <a:gd name="T25" fmla="*/ 77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9" h="711">
                  <a:moveTo>
                    <a:pt x="295" y="77"/>
                  </a:moveTo>
                  <a:lnTo>
                    <a:pt x="295" y="0"/>
                  </a:lnTo>
                  <a:lnTo>
                    <a:pt x="105" y="0"/>
                  </a:lnTo>
                  <a:lnTo>
                    <a:pt x="105" y="77"/>
                  </a:lnTo>
                  <a:lnTo>
                    <a:pt x="0" y="77"/>
                  </a:lnTo>
                  <a:lnTo>
                    <a:pt x="0" y="95"/>
                  </a:lnTo>
                  <a:lnTo>
                    <a:pt x="23" y="95"/>
                  </a:lnTo>
                  <a:lnTo>
                    <a:pt x="23" y="711"/>
                  </a:lnTo>
                  <a:lnTo>
                    <a:pt x="515" y="711"/>
                  </a:lnTo>
                  <a:lnTo>
                    <a:pt x="515" y="95"/>
                  </a:lnTo>
                  <a:lnTo>
                    <a:pt x="539" y="95"/>
                  </a:lnTo>
                  <a:lnTo>
                    <a:pt x="539" y="77"/>
                  </a:lnTo>
                  <a:lnTo>
                    <a:pt x="295" y="77"/>
                  </a:ln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8" name="Rectangle 21"/>
            <p:cNvSpPr>
              <a:spLocks noChangeArrowheads="1"/>
            </p:cNvSpPr>
            <p:nvPr/>
          </p:nvSpPr>
          <p:spPr bwMode="auto">
            <a:xfrm>
              <a:off x="8700027" y="6837956"/>
              <a:ext cx="74121" cy="115837"/>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9" name="Rectangle 22"/>
            <p:cNvSpPr>
              <a:spLocks noChangeArrowheads="1"/>
            </p:cNvSpPr>
            <p:nvPr/>
          </p:nvSpPr>
          <p:spPr bwMode="auto">
            <a:xfrm>
              <a:off x="8569433" y="6837956"/>
              <a:ext cx="74121" cy="115837"/>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0" name="Rectangle 23"/>
            <p:cNvSpPr>
              <a:spLocks noChangeArrowheads="1"/>
            </p:cNvSpPr>
            <p:nvPr/>
          </p:nvSpPr>
          <p:spPr bwMode="auto">
            <a:xfrm>
              <a:off x="8438839" y="6430081"/>
              <a:ext cx="465902" cy="58382"/>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1" name="Rectangle 24"/>
            <p:cNvSpPr>
              <a:spLocks noChangeArrowheads="1"/>
            </p:cNvSpPr>
            <p:nvPr/>
          </p:nvSpPr>
          <p:spPr bwMode="auto">
            <a:xfrm>
              <a:off x="8438839" y="6532945"/>
              <a:ext cx="465902" cy="59309"/>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2" name="Rectangle 25"/>
            <p:cNvSpPr>
              <a:spLocks noChangeArrowheads="1"/>
            </p:cNvSpPr>
            <p:nvPr/>
          </p:nvSpPr>
          <p:spPr bwMode="auto">
            <a:xfrm>
              <a:off x="8438839" y="6633954"/>
              <a:ext cx="465902" cy="61162"/>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3" name="Rectangle 26"/>
            <p:cNvSpPr>
              <a:spLocks noChangeArrowheads="1"/>
            </p:cNvSpPr>
            <p:nvPr/>
          </p:nvSpPr>
          <p:spPr bwMode="auto">
            <a:xfrm>
              <a:off x="8438839" y="6737744"/>
              <a:ext cx="465902" cy="58382"/>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14" name="Group 113"/>
          <p:cNvGrpSpPr/>
          <p:nvPr userDrawn="1"/>
        </p:nvGrpSpPr>
        <p:grpSpPr>
          <a:xfrm flipH="1">
            <a:off x="5722070" y="6518406"/>
            <a:ext cx="156105" cy="302568"/>
            <a:chOff x="6229350" y="5232400"/>
            <a:chExt cx="539750" cy="1046162"/>
          </a:xfrm>
        </p:grpSpPr>
        <p:sp>
          <p:nvSpPr>
            <p:cNvPr id="11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60" name="Rectangle 34"/>
          <p:cNvSpPr>
            <a:spLocks noChangeArrowheads="1"/>
          </p:cNvSpPr>
          <p:nvPr userDrawn="1"/>
        </p:nvSpPr>
        <p:spPr bwMode="auto">
          <a:xfrm flipH="1">
            <a:off x="0" y="6953680"/>
            <a:ext cx="12436475" cy="5033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21" name="Group 120"/>
          <p:cNvGrpSpPr/>
          <p:nvPr userDrawn="1"/>
        </p:nvGrpSpPr>
        <p:grpSpPr>
          <a:xfrm flipH="1">
            <a:off x="12141356" y="5214960"/>
            <a:ext cx="275185" cy="533371"/>
            <a:chOff x="6229350" y="5232400"/>
            <a:chExt cx="539750" cy="1046162"/>
          </a:xfrm>
        </p:grpSpPr>
        <p:sp>
          <p:nvSpPr>
            <p:cNvPr id="12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 name="Slide Number Placeholder 3"/>
          <p:cNvSpPr>
            <a:spLocks noGrp="1"/>
          </p:cNvSpPr>
          <p:nvPr>
            <p:ph type="sldNum" sz="quarter" idx="11"/>
          </p:nvPr>
        </p:nvSpPr>
        <p:spPr/>
        <p:txBody>
          <a:bodyPr/>
          <a:lstStyle>
            <a:lvl1pPr>
              <a:defRPr>
                <a:solidFill>
                  <a:schemeClr val="tx2"/>
                </a:solidFill>
              </a:defRPr>
            </a:lvl1pPr>
          </a:lstStyle>
          <a:p>
            <a:pPr defTabSz="932539">
              <a:defRPr/>
            </a:pPr>
            <a:fld id="{27258FFF-F925-446B-8502-81C933981705}" type="slidenum">
              <a:rPr lang="en-IN" smtClean="0">
                <a:solidFill>
                  <a:srgbClr val="505050"/>
                </a:solidFill>
              </a:rPr>
              <a:pPr defTabSz="932539">
                <a:defRPr/>
              </a:pPr>
              <a:t>‹#›</a:t>
            </a:fld>
            <a:endParaRPr lang="en-IN" dirty="0">
              <a:solidFill>
                <a:srgbClr val="505050"/>
              </a:solidFill>
            </a:endParaRPr>
          </a:p>
        </p:txBody>
      </p:sp>
      <p:grpSp>
        <p:nvGrpSpPr>
          <p:cNvPr id="61" name="Group 60"/>
          <p:cNvGrpSpPr/>
          <p:nvPr/>
        </p:nvGrpSpPr>
        <p:grpSpPr>
          <a:xfrm flipH="1">
            <a:off x="3944936" y="6693190"/>
            <a:ext cx="136169" cy="263927"/>
            <a:chOff x="6229350" y="5232400"/>
            <a:chExt cx="539750" cy="1046162"/>
          </a:xfrm>
        </p:grpSpPr>
        <p:sp>
          <p:nvSpPr>
            <p:cNvPr id="6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32889888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505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39">
              <a:defRPr/>
            </a:pPr>
            <a:fld id="{27258FFF-F925-446B-8502-81C933981705}" type="slidenum">
              <a:rPr lang="en-US" smtClean="0">
                <a:solidFill>
                  <a:srgbClr val="505050"/>
                </a:solidFill>
              </a:rPr>
              <a:pPr defTabSz="932539">
                <a:defRPr/>
              </a:pPr>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756583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1_36pt Title Only">
    <p:spTree>
      <p:nvGrpSpPr>
        <p:cNvPr id="1" name=""/>
        <p:cNvGrpSpPr/>
        <p:nvPr/>
      </p:nvGrpSpPr>
      <p:grpSpPr>
        <a:xfrm>
          <a:off x="0" y="0"/>
          <a:ext cx="0" cy="0"/>
          <a:chOff x="0" y="0"/>
          <a:chExt cx="0" cy="0"/>
        </a:xfrm>
      </p:grpSpPr>
      <p:grpSp>
        <p:nvGrpSpPr>
          <p:cNvPr id="100" name="Group 99"/>
          <p:cNvGrpSpPr/>
          <p:nvPr userDrawn="1"/>
        </p:nvGrpSpPr>
        <p:grpSpPr>
          <a:xfrm>
            <a:off x="3" y="5907351"/>
            <a:ext cx="12433852" cy="1096703"/>
            <a:chOff x="0" y="5910383"/>
            <a:chExt cx="12433852" cy="1096703"/>
          </a:xfrm>
        </p:grpSpPr>
        <p:sp>
          <p:nvSpPr>
            <p:cNvPr id="101" name="Rectangle 33"/>
            <p:cNvSpPr>
              <a:spLocks noChangeArrowheads="1"/>
            </p:cNvSpPr>
            <p:nvPr/>
          </p:nvSpPr>
          <p:spPr bwMode="auto">
            <a:xfrm>
              <a:off x="0" y="6945847"/>
              <a:ext cx="9978167"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2" name="Freeform 19"/>
            <p:cNvSpPr>
              <a:spLocks/>
            </p:cNvSpPr>
            <p:nvPr/>
          </p:nvSpPr>
          <p:spPr bwMode="auto">
            <a:xfrm>
              <a:off x="9689136" y="6552307"/>
              <a:ext cx="1379347" cy="454779"/>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3" name="Freeform 19"/>
            <p:cNvSpPr>
              <a:spLocks/>
            </p:cNvSpPr>
            <p:nvPr/>
          </p:nvSpPr>
          <p:spPr bwMode="auto">
            <a:xfrm>
              <a:off x="10664396" y="6423685"/>
              <a:ext cx="1769456" cy="583401"/>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4" name="Freeform 30"/>
            <p:cNvSpPr>
              <a:spLocks/>
            </p:cNvSpPr>
            <p:nvPr/>
          </p:nvSpPr>
          <p:spPr bwMode="auto">
            <a:xfrm>
              <a:off x="11338712" y="6747862"/>
              <a:ext cx="969018" cy="257259"/>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5" name="Freeform 6"/>
            <p:cNvSpPr>
              <a:spLocks/>
            </p:cNvSpPr>
            <p:nvPr/>
          </p:nvSpPr>
          <p:spPr bwMode="auto">
            <a:xfrm>
              <a:off x="8546614" y="6504095"/>
              <a:ext cx="475067" cy="450977"/>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6" name="Freeform 7"/>
            <p:cNvSpPr>
              <a:spLocks/>
            </p:cNvSpPr>
            <p:nvPr/>
          </p:nvSpPr>
          <p:spPr bwMode="auto">
            <a:xfrm>
              <a:off x="8796987" y="6504095"/>
              <a:ext cx="473785" cy="450977"/>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7" name="Freeform 8"/>
            <p:cNvSpPr>
              <a:spLocks/>
            </p:cNvSpPr>
            <p:nvPr/>
          </p:nvSpPr>
          <p:spPr bwMode="auto">
            <a:xfrm flipH="1">
              <a:off x="9943982" y="5930685"/>
              <a:ext cx="316320" cy="233119"/>
            </a:xfrm>
            <a:custGeom>
              <a:avLst/>
              <a:gdLst>
                <a:gd name="T0" fmla="*/ 117 w 139"/>
                <a:gd name="T1" fmla="*/ 40 h 91"/>
                <a:gd name="T2" fmla="*/ 117 w 139"/>
                <a:gd name="T3" fmla="*/ 38 h 91"/>
                <a:gd name="T4" fmla="*/ 79 w 139"/>
                <a:gd name="T5" fmla="*/ 0 h 91"/>
                <a:gd name="T6" fmla="*/ 47 w 139"/>
                <a:gd name="T7" fmla="*/ 17 h 91"/>
                <a:gd name="T8" fmla="*/ 36 w 139"/>
                <a:gd name="T9" fmla="*/ 14 h 91"/>
                <a:gd name="T10" fmla="*/ 24 w 139"/>
                <a:gd name="T11" fmla="*/ 18 h 91"/>
                <a:gd name="T12" fmla="*/ 14 w 139"/>
                <a:gd name="T13" fmla="*/ 36 h 91"/>
                <a:gd name="T14" fmla="*/ 0 w 139"/>
                <a:gd name="T15" fmla="*/ 61 h 91"/>
                <a:gd name="T16" fmla="*/ 27 w 139"/>
                <a:gd name="T17" fmla="*/ 91 h 91"/>
                <a:gd name="T18" fmla="*/ 30 w 139"/>
                <a:gd name="T19" fmla="*/ 91 h 91"/>
                <a:gd name="T20" fmla="*/ 33 w 139"/>
                <a:gd name="T21" fmla="*/ 91 h 91"/>
                <a:gd name="T22" fmla="*/ 96 w 139"/>
                <a:gd name="T23" fmla="*/ 91 h 91"/>
                <a:gd name="T24" fmla="*/ 97 w 139"/>
                <a:gd name="T25" fmla="*/ 91 h 91"/>
                <a:gd name="T26" fmla="*/ 99 w 139"/>
                <a:gd name="T27" fmla="*/ 91 h 91"/>
                <a:gd name="T28" fmla="*/ 103 w 139"/>
                <a:gd name="T29" fmla="*/ 91 h 91"/>
                <a:gd name="T30" fmla="*/ 113 w 139"/>
                <a:gd name="T31" fmla="*/ 91 h 91"/>
                <a:gd name="T32" fmla="*/ 139 w 139"/>
                <a:gd name="T33" fmla="*/ 66 h 91"/>
                <a:gd name="T34" fmla="*/ 117 w 139"/>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91">
                  <a:moveTo>
                    <a:pt x="117" y="40"/>
                  </a:moveTo>
                  <a:cubicBezTo>
                    <a:pt x="117" y="39"/>
                    <a:pt x="117" y="39"/>
                    <a:pt x="117" y="38"/>
                  </a:cubicBezTo>
                  <a:cubicBezTo>
                    <a:pt x="117" y="17"/>
                    <a:pt x="100" y="0"/>
                    <a:pt x="79" y="0"/>
                  </a:cubicBezTo>
                  <a:cubicBezTo>
                    <a:pt x="65" y="0"/>
                    <a:pt x="53" y="7"/>
                    <a:pt x="47" y="17"/>
                  </a:cubicBezTo>
                  <a:cubicBezTo>
                    <a:pt x="43" y="15"/>
                    <a:pt x="40" y="14"/>
                    <a:pt x="36" y="14"/>
                  </a:cubicBezTo>
                  <a:cubicBezTo>
                    <a:pt x="31" y="14"/>
                    <a:pt x="27" y="15"/>
                    <a:pt x="24" y="18"/>
                  </a:cubicBezTo>
                  <a:cubicBezTo>
                    <a:pt x="18" y="22"/>
                    <a:pt x="14" y="28"/>
                    <a:pt x="14" y="36"/>
                  </a:cubicBezTo>
                  <a:cubicBezTo>
                    <a:pt x="6" y="41"/>
                    <a:pt x="0" y="51"/>
                    <a:pt x="0" y="61"/>
                  </a:cubicBezTo>
                  <a:cubicBezTo>
                    <a:pt x="0" y="77"/>
                    <a:pt x="12" y="90"/>
                    <a:pt x="27" y="91"/>
                  </a:cubicBezTo>
                  <a:cubicBezTo>
                    <a:pt x="28" y="91"/>
                    <a:pt x="29" y="91"/>
                    <a:pt x="30" y="91"/>
                  </a:cubicBezTo>
                  <a:cubicBezTo>
                    <a:pt x="31" y="91"/>
                    <a:pt x="32" y="91"/>
                    <a:pt x="33" y="91"/>
                  </a:cubicBezTo>
                  <a:cubicBezTo>
                    <a:pt x="47" y="91"/>
                    <a:pt x="80" y="91"/>
                    <a:pt x="96" y="91"/>
                  </a:cubicBezTo>
                  <a:cubicBezTo>
                    <a:pt x="97" y="91"/>
                    <a:pt x="97" y="91"/>
                    <a:pt x="97" y="91"/>
                  </a:cubicBezTo>
                  <a:cubicBezTo>
                    <a:pt x="99" y="91"/>
                    <a:pt x="99" y="91"/>
                    <a:pt x="99" y="91"/>
                  </a:cubicBezTo>
                  <a:cubicBezTo>
                    <a:pt x="100" y="91"/>
                    <a:pt x="102" y="91"/>
                    <a:pt x="103" y="91"/>
                  </a:cubicBezTo>
                  <a:cubicBezTo>
                    <a:pt x="113" y="91"/>
                    <a:pt x="113" y="91"/>
                    <a:pt x="113" y="91"/>
                  </a:cubicBezTo>
                  <a:cubicBezTo>
                    <a:pt x="128" y="91"/>
                    <a:pt x="139" y="80"/>
                    <a:pt x="139" y="66"/>
                  </a:cubicBezTo>
                  <a:cubicBezTo>
                    <a:pt x="139" y="53"/>
                    <a:pt x="130" y="42"/>
                    <a:pt x="117"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8" name="Rectangle 9"/>
            <p:cNvSpPr>
              <a:spLocks noChangeArrowheads="1"/>
            </p:cNvSpPr>
            <p:nvPr/>
          </p:nvSpPr>
          <p:spPr bwMode="auto">
            <a:xfrm>
              <a:off x="8244881" y="6345096"/>
              <a:ext cx="430129" cy="609976"/>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9" name="Rectangle 10"/>
            <p:cNvSpPr>
              <a:spLocks noChangeArrowheads="1"/>
            </p:cNvSpPr>
            <p:nvPr/>
          </p:nvSpPr>
          <p:spPr bwMode="auto">
            <a:xfrm>
              <a:off x="8224338" y="6327750"/>
              <a:ext cx="472500" cy="173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0" name="Rectangle 11"/>
            <p:cNvSpPr>
              <a:spLocks noChangeArrowheads="1"/>
            </p:cNvSpPr>
            <p:nvPr/>
          </p:nvSpPr>
          <p:spPr bwMode="auto">
            <a:xfrm>
              <a:off x="8284685" y="6400022"/>
              <a:ext cx="55211" cy="650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1" name="Rectangle 12"/>
            <p:cNvSpPr>
              <a:spLocks noChangeArrowheads="1"/>
            </p:cNvSpPr>
            <p:nvPr/>
          </p:nvSpPr>
          <p:spPr bwMode="auto">
            <a:xfrm>
              <a:off x="8284685" y="6400022"/>
              <a:ext cx="55211" cy="33247"/>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2" name="Rectangle 13"/>
            <p:cNvSpPr>
              <a:spLocks noChangeArrowheads="1"/>
            </p:cNvSpPr>
            <p:nvPr/>
          </p:nvSpPr>
          <p:spPr bwMode="auto">
            <a:xfrm>
              <a:off x="8382266" y="6400022"/>
              <a:ext cx="55211" cy="65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3" name="Rectangle 14"/>
            <p:cNvSpPr>
              <a:spLocks noChangeArrowheads="1"/>
            </p:cNvSpPr>
            <p:nvPr/>
          </p:nvSpPr>
          <p:spPr bwMode="auto">
            <a:xfrm>
              <a:off x="8478564" y="6400022"/>
              <a:ext cx="57779" cy="6504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Rectangle 15"/>
            <p:cNvSpPr>
              <a:spLocks noChangeArrowheads="1"/>
            </p:cNvSpPr>
            <p:nvPr/>
          </p:nvSpPr>
          <p:spPr bwMode="auto">
            <a:xfrm>
              <a:off x="8382266" y="6830764"/>
              <a:ext cx="55211" cy="12430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5" name="Rectangle 16"/>
            <p:cNvSpPr>
              <a:spLocks noChangeArrowheads="1"/>
            </p:cNvSpPr>
            <p:nvPr/>
          </p:nvSpPr>
          <p:spPr bwMode="auto">
            <a:xfrm>
              <a:off x="8478564" y="6830764"/>
              <a:ext cx="57779" cy="12430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6" name="Rectangle 17"/>
            <p:cNvSpPr>
              <a:spLocks noChangeArrowheads="1"/>
            </p:cNvSpPr>
            <p:nvPr/>
          </p:nvSpPr>
          <p:spPr bwMode="auto">
            <a:xfrm>
              <a:off x="8577429" y="6400022"/>
              <a:ext cx="56494" cy="65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7" name="Rectangle 18"/>
            <p:cNvSpPr>
              <a:spLocks noChangeArrowheads="1"/>
            </p:cNvSpPr>
            <p:nvPr/>
          </p:nvSpPr>
          <p:spPr bwMode="auto">
            <a:xfrm>
              <a:off x="8284685" y="6509876"/>
              <a:ext cx="55211" cy="6504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8" name="Rectangle 19"/>
            <p:cNvSpPr>
              <a:spLocks noChangeArrowheads="1"/>
            </p:cNvSpPr>
            <p:nvPr/>
          </p:nvSpPr>
          <p:spPr bwMode="auto">
            <a:xfrm>
              <a:off x="8382266" y="6509876"/>
              <a:ext cx="55211" cy="65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9" name="Rectangle 20"/>
            <p:cNvSpPr>
              <a:spLocks noChangeArrowheads="1"/>
            </p:cNvSpPr>
            <p:nvPr/>
          </p:nvSpPr>
          <p:spPr bwMode="auto">
            <a:xfrm>
              <a:off x="8478564" y="6509876"/>
              <a:ext cx="57779" cy="65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0" name="Rectangle 21"/>
            <p:cNvSpPr>
              <a:spLocks noChangeArrowheads="1"/>
            </p:cNvSpPr>
            <p:nvPr/>
          </p:nvSpPr>
          <p:spPr bwMode="auto">
            <a:xfrm>
              <a:off x="8577429" y="6509876"/>
              <a:ext cx="56494" cy="650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1" name="Rectangle 22"/>
            <p:cNvSpPr>
              <a:spLocks noChangeArrowheads="1"/>
            </p:cNvSpPr>
            <p:nvPr/>
          </p:nvSpPr>
          <p:spPr bwMode="auto">
            <a:xfrm>
              <a:off x="8284685" y="6621175"/>
              <a:ext cx="55211" cy="6215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2" name="Rectangle 23"/>
            <p:cNvSpPr>
              <a:spLocks noChangeArrowheads="1"/>
            </p:cNvSpPr>
            <p:nvPr/>
          </p:nvSpPr>
          <p:spPr bwMode="auto">
            <a:xfrm>
              <a:off x="8382266" y="6621175"/>
              <a:ext cx="55211" cy="621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3" name="Rectangle 24"/>
            <p:cNvSpPr>
              <a:spLocks noChangeArrowheads="1"/>
            </p:cNvSpPr>
            <p:nvPr/>
          </p:nvSpPr>
          <p:spPr bwMode="auto">
            <a:xfrm>
              <a:off x="8478564" y="6621175"/>
              <a:ext cx="57779" cy="6215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4" name="Rectangle 25"/>
            <p:cNvSpPr>
              <a:spLocks noChangeArrowheads="1"/>
            </p:cNvSpPr>
            <p:nvPr/>
          </p:nvSpPr>
          <p:spPr bwMode="auto">
            <a:xfrm>
              <a:off x="8577429" y="6621175"/>
              <a:ext cx="56494" cy="6215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5" name="Rectangle 26"/>
            <p:cNvSpPr>
              <a:spLocks noChangeArrowheads="1"/>
            </p:cNvSpPr>
            <p:nvPr/>
          </p:nvSpPr>
          <p:spPr bwMode="auto">
            <a:xfrm>
              <a:off x="8284685" y="6729583"/>
              <a:ext cx="55211" cy="6359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6" name="Rectangle 27"/>
            <p:cNvSpPr>
              <a:spLocks noChangeArrowheads="1"/>
            </p:cNvSpPr>
            <p:nvPr/>
          </p:nvSpPr>
          <p:spPr bwMode="auto">
            <a:xfrm>
              <a:off x="8382266" y="6729583"/>
              <a:ext cx="55211" cy="635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7" name="Rectangle 28"/>
            <p:cNvSpPr>
              <a:spLocks noChangeArrowheads="1"/>
            </p:cNvSpPr>
            <p:nvPr/>
          </p:nvSpPr>
          <p:spPr bwMode="auto">
            <a:xfrm>
              <a:off x="8478564" y="6729583"/>
              <a:ext cx="57779" cy="635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8" name="Rectangle 29"/>
            <p:cNvSpPr>
              <a:spLocks noChangeArrowheads="1"/>
            </p:cNvSpPr>
            <p:nvPr/>
          </p:nvSpPr>
          <p:spPr bwMode="auto">
            <a:xfrm>
              <a:off x="8577429" y="6729583"/>
              <a:ext cx="56494" cy="6359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9" name="Rectangle 30"/>
            <p:cNvSpPr>
              <a:spLocks noChangeArrowheads="1"/>
            </p:cNvSpPr>
            <p:nvPr/>
          </p:nvSpPr>
          <p:spPr bwMode="auto">
            <a:xfrm>
              <a:off x="8284685" y="6621175"/>
              <a:ext cx="55211" cy="3035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0" name="Rectangle 31"/>
            <p:cNvSpPr>
              <a:spLocks noChangeArrowheads="1"/>
            </p:cNvSpPr>
            <p:nvPr/>
          </p:nvSpPr>
          <p:spPr bwMode="auto">
            <a:xfrm>
              <a:off x="8577429" y="6621175"/>
              <a:ext cx="56494" cy="3035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1" name="Rectangle 32"/>
            <p:cNvSpPr>
              <a:spLocks noChangeArrowheads="1"/>
            </p:cNvSpPr>
            <p:nvPr/>
          </p:nvSpPr>
          <p:spPr bwMode="auto">
            <a:xfrm>
              <a:off x="8577429" y="6509876"/>
              <a:ext cx="56494" cy="3180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2" name="Rectangle 34"/>
            <p:cNvSpPr>
              <a:spLocks noChangeArrowheads="1"/>
            </p:cNvSpPr>
            <p:nvPr/>
          </p:nvSpPr>
          <p:spPr bwMode="auto">
            <a:xfrm>
              <a:off x="7966261" y="6851378"/>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3" name="Oval 35"/>
            <p:cNvSpPr>
              <a:spLocks noChangeArrowheads="1"/>
            </p:cNvSpPr>
            <p:nvPr/>
          </p:nvSpPr>
          <p:spPr bwMode="auto">
            <a:xfrm>
              <a:off x="7916186" y="6758868"/>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4" name="Oval 36"/>
            <p:cNvSpPr>
              <a:spLocks noChangeArrowheads="1"/>
            </p:cNvSpPr>
            <p:nvPr/>
          </p:nvSpPr>
          <p:spPr bwMode="auto">
            <a:xfrm>
              <a:off x="7932878" y="6688043"/>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5" name="Rectangle 37"/>
            <p:cNvSpPr>
              <a:spLocks noChangeArrowheads="1"/>
            </p:cNvSpPr>
            <p:nvPr/>
          </p:nvSpPr>
          <p:spPr bwMode="auto">
            <a:xfrm>
              <a:off x="8128041" y="6851378"/>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6" name="Oval 38"/>
            <p:cNvSpPr>
              <a:spLocks noChangeArrowheads="1"/>
            </p:cNvSpPr>
            <p:nvPr/>
          </p:nvSpPr>
          <p:spPr bwMode="auto">
            <a:xfrm>
              <a:off x="8077966" y="6758868"/>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7" name="Oval 39"/>
            <p:cNvSpPr>
              <a:spLocks noChangeArrowheads="1"/>
            </p:cNvSpPr>
            <p:nvPr/>
          </p:nvSpPr>
          <p:spPr bwMode="auto">
            <a:xfrm>
              <a:off x="8094658" y="6688043"/>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8" name="Rectangle 40"/>
            <p:cNvSpPr>
              <a:spLocks noChangeArrowheads="1"/>
            </p:cNvSpPr>
            <p:nvPr/>
          </p:nvSpPr>
          <p:spPr bwMode="auto">
            <a:xfrm>
              <a:off x="8437476" y="6251143"/>
              <a:ext cx="166916" cy="76609"/>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9" name="Rectangle 41"/>
            <p:cNvSpPr>
              <a:spLocks noChangeArrowheads="1"/>
            </p:cNvSpPr>
            <p:nvPr/>
          </p:nvSpPr>
          <p:spPr bwMode="auto">
            <a:xfrm>
              <a:off x="9297734" y="6567695"/>
              <a:ext cx="423500" cy="38737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0" name="Rectangle 42"/>
            <p:cNvSpPr>
              <a:spLocks noChangeArrowheads="1"/>
            </p:cNvSpPr>
            <p:nvPr/>
          </p:nvSpPr>
          <p:spPr bwMode="auto">
            <a:xfrm>
              <a:off x="9277189" y="6550349"/>
              <a:ext cx="457200" cy="17345"/>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1" name="Rectangle 43"/>
            <p:cNvSpPr>
              <a:spLocks noChangeArrowheads="1"/>
            </p:cNvSpPr>
            <p:nvPr/>
          </p:nvSpPr>
          <p:spPr bwMode="auto">
            <a:xfrm>
              <a:off x="9435118" y="6830764"/>
              <a:ext cx="56494" cy="124308"/>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2" name="Rectangle 44"/>
            <p:cNvSpPr>
              <a:spLocks noChangeArrowheads="1"/>
            </p:cNvSpPr>
            <p:nvPr/>
          </p:nvSpPr>
          <p:spPr bwMode="auto">
            <a:xfrm>
              <a:off x="9531414" y="6830764"/>
              <a:ext cx="57779" cy="124308"/>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3" name="Rectangle 45"/>
            <p:cNvSpPr>
              <a:spLocks noChangeArrowheads="1"/>
            </p:cNvSpPr>
            <p:nvPr/>
          </p:nvSpPr>
          <p:spPr bwMode="auto">
            <a:xfrm>
              <a:off x="9337536" y="6621175"/>
              <a:ext cx="55211" cy="6215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4" name="Rectangle 46"/>
            <p:cNvSpPr>
              <a:spLocks noChangeArrowheads="1"/>
            </p:cNvSpPr>
            <p:nvPr/>
          </p:nvSpPr>
          <p:spPr bwMode="auto">
            <a:xfrm>
              <a:off x="9435118" y="6621175"/>
              <a:ext cx="56494" cy="621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5" name="Rectangle 47"/>
            <p:cNvSpPr>
              <a:spLocks noChangeArrowheads="1"/>
            </p:cNvSpPr>
            <p:nvPr/>
          </p:nvSpPr>
          <p:spPr bwMode="auto">
            <a:xfrm>
              <a:off x="9531414" y="6621175"/>
              <a:ext cx="57779" cy="62154"/>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6" name="Rectangle 48"/>
            <p:cNvSpPr>
              <a:spLocks noChangeArrowheads="1"/>
            </p:cNvSpPr>
            <p:nvPr/>
          </p:nvSpPr>
          <p:spPr bwMode="auto">
            <a:xfrm>
              <a:off x="9630280" y="6621175"/>
              <a:ext cx="56494" cy="6215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7" name="Rectangle 49"/>
            <p:cNvSpPr>
              <a:spLocks noChangeArrowheads="1"/>
            </p:cNvSpPr>
            <p:nvPr/>
          </p:nvSpPr>
          <p:spPr bwMode="auto">
            <a:xfrm>
              <a:off x="9337536" y="6729583"/>
              <a:ext cx="55211" cy="63599"/>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8" name="Rectangle 50"/>
            <p:cNvSpPr>
              <a:spLocks noChangeArrowheads="1"/>
            </p:cNvSpPr>
            <p:nvPr/>
          </p:nvSpPr>
          <p:spPr bwMode="auto">
            <a:xfrm>
              <a:off x="9435118" y="6729583"/>
              <a:ext cx="56494" cy="635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9" name="Rectangle 51"/>
            <p:cNvSpPr>
              <a:spLocks noChangeArrowheads="1"/>
            </p:cNvSpPr>
            <p:nvPr/>
          </p:nvSpPr>
          <p:spPr bwMode="auto">
            <a:xfrm>
              <a:off x="9531414" y="6729583"/>
              <a:ext cx="57779" cy="635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0" name="Rectangle 52"/>
            <p:cNvSpPr>
              <a:spLocks noChangeArrowheads="1"/>
            </p:cNvSpPr>
            <p:nvPr/>
          </p:nvSpPr>
          <p:spPr bwMode="auto">
            <a:xfrm>
              <a:off x="9630280" y="6729583"/>
              <a:ext cx="56494" cy="63599"/>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1" name="Rectangle 53"/>
            <p:cNvSpPr>
              <a:spLocks noChangeArrowheads="1"/>
            </p:cNvSpPr>
            <p:nvPr/>
          </p:nvSpPr>
          <p:spPr bwMode="auto">
            <a:xfrm>
              <a:off x="9337536" y="6621175"/>
              <a:ext cx="55211" cy="30355"/>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2" name="Rectangle 54"/>
            <p:cNvSpPr>
              <a:spLocks noChangeArrowheads="1"/>
            </p:cNvSpPr>
            <p:nvPr/>
          </p:nvSpPr>
          <p:spPr bwMode="auto">
            <a:xfrm>
              <a:off x="9630280" y="6621175"/>
              <a:ext cx="56494" cy="30355"/>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3" name="Rectangle 55"/>
            <p:cNvSpPr>
              <a:spLocks noChangeArrowheads="1"/>
            </p:cNvSpPr>
            <p:nvPr/>
          </p:nvSpPr>
          <p:spPr bwMode="auto">
            <a:xfrm>
              <a:off x="9491612" y="6473740"/>
              <a:ext cx="165633" cy="76609"/>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4" name="Rectangle 56"/>
            <p:cNvSpPr>
              <a:spLocks noChangeArrowheads="1"/>
            </p:cNvSpPr>
            <p:nvPr/>
          </p:nvSpPr>
          <p:spPr bwMode="auto">
            <a:xfrm>
              <a:off x="8771308" y="6129726"/>
              <a:ext cx="430129" cy="82534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5" name="Rectangle 57"/>
            <p:cNvSpPr>
              <a:spLocks noChangeArrowheads="1"/>
            </p:cNvSpPr>
            <p:nvPr/>
          </p:nvSpPr>
          <p:spPr bwMode="auto">
            <a:xfrm>
              <a:off x="8750764" y="6109489"/>
              <a:ext cx="472500" cy="20237"/>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6" name="Rectangle 58"/>
            <p:cNvSpPr>
              <a:spLocks noChangeArrowheads="1"/>
            </p:cNvSpPr>
            <p:nvPr/>
          </p:nvSpPr>
          <p:spPr bwMode="auto">
            <a:xfrm>
              <a:off x="8811110" y="6400022"/>
              <a:ext cx="55211" cy="65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7" name="Rectangle 59"/>
            <p:cNvSpPr>
              <a:spLocks noChangeArrowheads="1"/>
            </p:cNvSpPr>
            <p:nvPr/>
          </p:nvSpPr>
          <p:spPr bwMode="auto">
            <a:xfrm>
              <a:off x="8811110" y="6400022"/>
              <a:ext cx="55211" cy="33247"/>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8" name="Rectangle 60"/>
            <p:cNvSpPr>
              <a:spLocks noChangeArrowheads="1"/>
            </p:cNvSpPr>
            <p:nvPr/>
          </p:nvSpPr>
          <p:spPr bwMode="auto">
            <a:xfrm>
              <a:off x="8908691" y="6400022"/>
              <a:ext cx="55211" cy="6504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9" name="Rectangle 61"/>
            <p:cNvSpPr>
              <a:spLocks noChangeArrowheads="1"/>
            </p:cNvSpPr>
            <p:nvPr/>
          </p:nvSpPr>
          <p:spPr bwMode="auto">
            <a:xfrm>
              <a:off x="9004990" y="6400022"/>
              <a:ext cx="57779" cy="65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0" name="Rectangle 62"/>
            <p:cNvSpPr>
              <a:spLocks noChangeArrowheads="1"/>
            </p:cNvSpPr>
            <p:nvPr/>
          </p:nvSpPr>
          <p:spPr bwMode="auto">
            <a:xfrm>
              <a:off x="8908691" y="6830764"/>
              <a:ext cx="55211" cy="12430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1" name="Rectangle 63"/>
            <p:cNvSpPr>
              <a:spLocks noChangeArrowheads="1"/>
            </p:cNvSpPr>
            <p:nvPr/>
          </p:nvSpPr>
          <p:spPr bwMode="auto">
            <a:xfrm>
              <a:off x="9004990" y="6830764"/>
              <a:ext cx="57779" cy="12430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2" name="Rectangle 64"/>
            <p:cNvSpPr>
              <a:spLocks noChangeArrowheads="1"/>
            </p:cNvSpPr>
            <p:nvPr/>
          </p:nvSpPr>
          <p:spPr bwMode="auto">
            <a:xfrm>
              <a:off x="9103855" y="6400022"/>
              <a:ext cx="56494" cy="6504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3" name="Rectangle 65"/>
            <p:cNvSpPr>
              <a:spLocks noChangeArrowheads="1"/>
            </p:cNvSpPr>
            <p:nvPr/>
          </p:nvSpPr>
          <p:spPr bwMode="auto">
            <a:xfrm>
              <a:off x="8811110" y="6509876"/>
              <a:ext cx="55211" cy="65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4" name="Rectangle 66"/>
            <p:cNvSpPr>
              <a:spLocks noChangeArrowheads="1"/>
            </p:cNvSpPr>
            <p:nvPr/>
          </p:nvSpPr>
          <p:spPr bwMode="auto">
            <a:xfrm>
              <a:off x="8908691" y="6509876"/>
              <a:ext cx="55211" cy="6504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5" name="Rectangle 67"/>
            <p:cNvSpPr>
              <a:spLocks noChangeArrowheads="1"/>
            </p:cNvSpPr>
            <p:nvPr/>
          </p:nvSpPr>
          <p:spPr bwMode="auto">
            <a:xfrm>
              <a:off x="9004990" y="6509876"/>
              <a:ext cx="57779" cy="6504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6" name="Rectangle 68"/>
            <p:cNvSpPr>
              <a:spLocks noChangeArrowheads="1"/>
            </p:cNvSpPr>
            <p:nvPr/>
          </p:nvSpPr>
          <p:spPr bwMode="auto">
            <a:xfrm>
              <a:off x="9103855" y="6509876"/>
              <a:ext cx="56494" cy="65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7" name="Rectangle 69"/>
            <p:cNvSpPr>
              <a:spLocks noChangeArrowheads="1"/>
            </p:cNvSpPr>
            <p:nvPr/>
          </p:nvSpPr>
          <p:spPr bwMode="auto">
            <a:xfrm>
              <a:off x="8811110" y="6621175"/>
              <a:ext cx="55211" cy="62154"/>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8" name="Rectangle 70"/>
            <p:cNvSpPr>
              <a:spLocks noChangeArrowheads="1"/>
            </p:cNvSpPr>
            <p:nvPr/>
          </p:nvSpPr>
          <p:spPr bwMode="auto">
            <a:xfrm>
              <a:off x="8908691" y="6621175"/>
              <a:ext cx="55211" cy="62154"/>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9" name="Rectangle 71"/>
            <p:cNvSpPr>
              <a:spLocks noChangeArrowheads="1"/>
            </p:cNvSpPr>
            <p:nvPr/>
          </p:nvSpPr>
          <p:spPr bwMode="auto">
            <a:xfrm>
              <a:off x="9004990" y="6621175"/>
              <a:ext cx="57779" cy="6215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0" name="Rectangle 72"/>
            <p:cNvSpPr>
              <a:spLocks noChangeArrowheads="1"/>
            </p:cNvSpPr>
            <p:nvPr/>
          </p:nvSpPr>
          <p:spPr bwMode="auto">
            <a:xfrm>
              <a:off x="9103855" y="6621175"/>
              <a:ext cx="56494" cy="62154"/>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1" name="Rectangle 73"/>
            <p:cNvSpPr>
              <a:spLocks noChangeArrowheads="1"/>
            </p:cNvSpPr>
            <p:nvPr/>
          </p:nvSpPr>
          <p:spPr bwMode="auto">
            <a:xfrm>
              <a:off x="8811110" y="6729583"/>
              <a:ext cx="55211" cy="63599"/>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2" name="Rectangle 74"/>
            <p:cNvSpPr>
              <a:spLocks noChangeArrowheads="1"/>
            </p:cNvSpPr>
            <p:nvPr/>
          </p:nvSpPr>
          <p:spPr bwMode="auto">
            <a:xfrm>
              <a:off x="8908691" y="6729583"/>
              <a:ext cx="55211" cy="63599"/>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3" name="Rectangle 75"/>
            <p:cNvSpPr>
              <a:spLocks noChangeArrowheads="1"/>
            </p:cNvSpPr>
            <p:nvPr/>
          </p:nvSpPr>
          <p:spPr bwMode="auto">
            <a:xfrm>
              <a:off x="9004990" y="6729583"/>
              <a:ext cx="57779" cy="63599"/>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4" name="Rectangle 76"/>
            <p:cNvSpPr>
              <a:spLocks noChangeArrowheads="1"/>
            </p:cNvSpPr>
            <p:nvPr/>
          </p:nvSpPr>
          <p:spPr bwMode="auto">
            <a:xfrm>
              <a:off x="9103855" y="6729583"/>
              <a:ext cx="56494" cy="63599"/>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5" name="Rectangle 77"/>
            <p:cNvSpPr>
              <a:spLocks noChangeArrowheads="1"/>
            </p:cNvSpPr>
            <p:nvPr/>
          </p:nvSpPr>
          <p:spPr bwMode="auto">
            <a:xfrm>
              <a:off x="8811110" y="6621175"/>
              <a:ext cx="55211" cy="3035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6" name="Rectangle 78"/>
            <p:cNvSpPr>
              <a:spLocks noChangeArrowheads="1"/>
            </p:cNvSpPr>
            <p:nvPr/>
          </p:nvSpPr>
          <p:spPr bwMode="auto">
            <a:xfrm>
              <a:off x="9103855" y="6621175"/>
              <a:ext cx="56494" cy="3035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7" name="Rectangle 79"/>
            <p:cNvSpPr>
              <a:spLocks noChangeArrowheads="1"/>
            </p:cNvSpPr>
            <p:nvPr/>
          </p:nvSpPr>
          <p:spPr bwMode="auto">
            <a:xfrm>
              <a:off x="9103855" y="6509876"/>
              <a:ext cx="56494" cy="31800"/>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8" name="Rectangle 80"/>
            <p:cNvSpPr>
              <a:spLocks noChangeArrowheads="1"/>
            </p:cNvSpPr>
            <p:nvPr/>
          </p:nvSpPr>
          <p:spPr bwMode="auto">
            <a:xfrm>
              <a:off x="8811110" y="6181762"/>
              <a:ext cx="55211" cy="62154"/>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9" name="Rectangle 81"/>
            <p:cNvSpPr>
              <a:spLocks noChangeArrowheads="1"/>
            </p:cNvSpPr>
            <p:nvPr/>
          </p:nvSpPr>
          <p:spPr bwMode="auto">
            <a:xfrm>
              <a:off x="8811110" y="6181762"/>
              <a:ext cx="55211" cy="31800"/>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0" name="Rectangle 82"/>
            <p:cNvSpPr>
              <a:spLocks noChangeArrowheads="1"/>
            </p:cNvSpPr>
            <p:nvPr/>
          </p:nvSpPr>
          <p:spPr bwMode="auto">
            <a:xfrm>
              <a:off x="8908691" y="6181762"/>
              <a:ext cx="55211" cy="6215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1" name="Rectangle 83"/>
            <p:cNvSpPr>
              <a:spLocks noChangeArrowheads="1"/>
            </p:cNvSpPr>
            <p:nvPr/>
          </p:nvSpPr>
          <p:spPr bwMode="auto">
            <a:xfrm>
              <a:off x="9004990" y="6181762"/>
              <a:ext cx="57779" cy="62154"/>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2" name="Rectangle 84"/>
            <p:cNvSpPr>
              <a:spLocks noChangeArrowheads="1"/>
            </p:cNvSpPr>
            <p:nvPr/>
          </p:nvSpPr>
          <p:spPr bwMode="auto">
            <a:xfrm>
              <a:off x="9103855" y="6181762"/>
              <a:ext cx="56494" cy="6215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3" name="Rectangle 85"/>
            <p:cNvSpPr>
              <a:spLocks noChangeArrowheads="1"/>
            </p:cNvSpPr>
            <p:nvPr/>
          </p:nvSpPr>
          <p:spPr bwMode="auto">
            <a:xfrm>
              <a:off x="8811110" y="6291614"/>
              <a:ext cx="55211" cy="62154"/>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4" name="Rectangle 86"/>
            <p:cNvSpPr>
              <a:spLocks noChangeArrowheads="1"/>
            </p:cNvSpPr>
            <p:nvPr/>
          </p:nvSpPr>
          <p:spPr bwMode="auto">
            <a:xfrm>
              <a:off x="8908691" y="6291614"/>
              <a:ext cx="55211" cy="6215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5" name="Rectangle 87"/>
            <p:cNvSpPr>
              <a:spLocks noChangeArrowheads="1"/>
            </p:cNvSpPr>
            <p:nvPr/>
          </p:nvSpPr>
          <p:spPr bwMode="auto">
            <a:xfrm>
              <a:off x="9004990" y="6291614"/>
              <a:ext cx="57779" cy="6215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6" name="Rectangle 88"/>
            <p:cNvSpPr>
              <a:spLocks noChangeArrowheads="1"/>
            </p:cNvSpPr>
            <p:nvPr/>
          </p:nvSpPr>
          <p:spPr bwMode="auto">
            <a:xfrm>
              <a:off x="9103855" y="6291614"/>
              <a:ext cx="56494" cy="62154"/>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7" name="Rectangle 89"/>
            <p:cNvSpPr>
              <a:spLocks noChangeArrowheads="1"/>
            </p:cNvSpPr>
            <p:nvPr/>
          </p:nvSpPr>
          <p:spPr bwMode="auto">
            <a:xfrm>
              <a:off x="9103855" y="6291614"/>
              <a:ext cx="56494" cy="31800"/>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8" name="Rectangle 90"/>
            <p:cNvSpPr>
              <a:spLocks noChangeArrowheads="1"/>
            </p:cNvSpPr>
            <p:nvPr/>
          </p:nvSpPr>
          <p:spPr bwMode="auto">
            <a:xfrm>
              <a:off x="8841926" y="6034327"/>
              <a:ext cx="51358" cy="75162"/>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9" name="Rectangle 91"/>
            <p:cNvSpPr>
              <a:spLocks noChangeArrowheads="1"/>
            </p:cNvSpPr>
            <p:nvPr/>
          </p:nvSpPr>
          <p:spPr bwMode="auto">
            <a:xfrm>
              <a:off x="8911259" y="6034327"/>
              <a:ext cx="51358" cy="75162"/>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0" name="Freeform 5"/>
            <p:cNvSpPr>
              <a:spLocks/>
            </p:cNvSpPr>
            <p:nvPr/>
          </p:nvSpPr>
          <p:spPr bwMode="auto">
            <a:xfrm flipH="1">
              <a:off x="11367681" y="6220501"/>
              <a:ext cx="298224" cy="217539"/>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1" name="Freeform 8"/>
            <p:cNvSpPr>
              <a:spLocks/>
            </p:cNvSpPr>
            <p:nvPr/>
          </p:nvSpPr>
          <p:spPr bwMode="auto">
            <a:xfrm flipH="1">
              <a:off x="10808219" y="5910383"/>
              <a:ext cx="559462" cy="412309"/>
            </a:xfrm>
            <a:custGeom>
              <a:avLst/>
              <a:gdLst>
                <a:gd name="T0" fmla="*/ 117 w 139"/>
                <a:gd name="T1" fmla="*/ 40 h 91"/>
                <a:gd name="T2" fmla="*/ 117 w 139"/>
                <a:gd name="T3" fmla="*/ 38 h 91"/>
                <a:gd name="T4" fmla="*/ 79 w 139"/>
                <a:gd name="T5" fmla="*/ 0 h 91"/>
                <a:gd name="T6" fmla="*/ 47 w 139"/>
                <a:gd name="T7" fmla="*/ 17 h 91"/>
                <a:gd name="T8" fmla="*/ 36 w 139"/>
                <a:gd name="T9" fmla="*/ 14 h 91"/>
                <a:gd name="T10" fmla="*/ 24 w 139"/>
                <a:gd name="T11" fmla="*/ 18 h 91"/>
                <a:gd name="T12" fmla="*/ 14 w 139"/>
                <a:gd name="T13" fmla="*/ 36 h 91"/>
                <a:gd name="T14" fmla="*/ 0 w 139"/>
                <a:gd name="T15" fmla="*/ 61 h 91"/>
                <a:gd name="T16" fmla="*/ 27 w 139"/>
                <a:gd name="T17" fmla="*/ 91 h 91"/>
                <a:gd name="T18" fmla="*/ 30 w 139"/>
                <a:gd name="T19" fmla="*/ 91 h 91"/>
                <a:gd name="T20" fmla="*/ 33 w 139"/>
                <a:gd name="T21" fmla="*/ 91 h 91"/>
                <a:gd name="T22" fmla="*/ 96 w 139"/>
                <a:gd name="T23" fmla="*/ 91 h 91"/>
                <a:gd name="T24" fmla="*/ 97 w 139"/>
                <a:gd name="T25" fmla="*/ 91 h 91"/>
                <a:gd name="T26" fmla="*/ 99 w 139"/>
                <a:gd name="T27" fmla="*/ 91 h 91"/>
                <a:gd name="T28" fmla="*/ 103 w 139"/>
                <a:gd name="T29" fmla="*/ 91 h 91"/>
                <a:gd name="T30" fmla="*/ 113 w 139"/>
                <a:gd name="T31" fmla="*/ 91 h 91"/>
                <a:gd name="T32" fmla="*/ 139 w 139"/>
                <a:gd name="T33" fmla="*/ 66 h 91"/>
                <a:gd name="T34" fmla="*/ 117 w 139"/>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91">
                  <a:moveTo>
                    <a:pt x="117" y="40"/>
                  </a:moveTo>
                  <a:cubicBezTo>
                    <a:pt x="117" y="39"/>
                    <a:pt x="117" y="39"/>
                    <a:pt x="117" y="38"/>
                  </a:cubicBezTo>
                  <a:cubicBezTo>
                    <a:pt x="117" y="17"/>
                    <a:pt x="100" y="0"/>
                    <a:pt x="79" y="0"/>
                  </a:cubicBezTo>
                  <a:cubicBezTo>
                    <a:pt x="65" y="0"/>
                    <a:pt x="53" y="7"/>
                    <a:pt x="47" y="17"/>
                  </a:cubicBezTo>
                  <a:cubicBezTo>
                    <a:pt x="43" y="15"/>
                    <a:pt x="40" y="14"/>
                    <a:pt x="36" y="14"/>
                  </a:cubicBezTo>
                  <a:cubicBezTo>
                    <a:pt x="31" y="14"/>
                    <a:pt x="27" y="15"/>
                    <a:pt x="24" y="18"/>
                  </a:cubicBezTo>
                  <a:cubicBezTo>
                    <a:pt x="18" y="22"/>
                    <a:pt x="14" y="28"/>
                    <a:pt x="14" y="36"/>
                  </a:cubicBezTo>
                  <a:cubicBezTo>
                    <a:pt x="6" y="41"/>
                    <a:pt x="0" y="51"/>
                    <a:pt x="0" y="61"/>
                  </a:cubicBezTo>
                  <a:cubicBezTo>
                    <a:pt x="0" y="77"/>
                    <a:pt x="12" y="90"/>
                    <a:pt x="27" y="91"/>
                  </a:cubicBezTo>
                  <a:cubicBezTo>
                    <a:pt x="28" y="91"/>
                    <a:pt x="29" y="91"/>
                    <a:pt x="30" y="91"/>
                  </a:cubicBezTo>
                  <a:cubicBezTo>
                    <a:pt x="31" y="91"/>
                    <a:pt x="32" y="91"/>
                    <a:pt x="33" y="91"/>
                  </a:cubicBezTo>
                  <a:cubicBezTo>
                    <a:pt x="47" y="91"/>
                    <a:pt x="80" y="91"/>
                    <a:pt x="96" y="91"/>
                  </a:cubicBezTo>
                  <a:cubicBezTo>
                    <a:pt x="97" y="91"/>
                    <a:pt x="97" y="91"/>
                    <a:pt x="97" y="91"/>
                  </a:cubicBezTo>
                  <a:cubicBezTo>
                    <a:pt x="99" y="91"/>
                    <a:pt x="99" y="91"/>
                    <a:pt x="99" y="91"/>
                  </a:cubicBezTo>
                  <a:cubicBezTo>
                    <a:pt x="100" y="91"/>
                    <a:pt x="102" y="91"/>
                    <a:pt x="103" y="91"/>
                  </a:cubicBezTo>
                  <a:cubicBezTo>
                    <a:pt x="113" y="91"/>
                    <a:pt x="113" y="91"/>
                    <a:pt x="113" y="91"/>
                  </a:cubicBezTo>
                  <a:cubicBezTo>
                    <a:pt x="128" y="91"/>
                    <a:pt x="139" y="80"/>
                    <a:pt x="139" y="66"/>
                  </a:cubicBezTo>
                  <a:cubicBezTo>
                    <a:pt x="139" y="53"/>
                    <a:pt x="130" y="42"/>
                    <a:pt x="117"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2" name="Freeform 5"/>
            <p:cNvSpPr>
              <a:spLocks/>
            </p:cNvSpPr>
            <p:nvPr/>
          </p:nvSpPr>
          <p:spPr bwMode="auto">
            <a:xfrm flipH="1">
              <a:off x="9589010" y="6027095"/>
              <a:ext cx="593792" cy="372934"/>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60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39">
              <a:defRPr/>
            </a:pPr>
            <a:fld id="{27258FFF-F925-446B-8502-81C933981705}" type="slidenum">
              <a:rPr lang="en-US" smtClean="0">
                <a:solidFill>
                  <a:srgbClr val="FFFFFF"/>
                </a:solidFill>
              </a:rPr>
              <a:pPr defTabSz="932539">
                <a:defRPr/>
              </a:pPr>
              <a:t>‹#›</a:t>
            </a:fld>
            <a:endParaRPr lang="en-US" dirty="0">
              <a:solidFill>
                <a:srgbClr val="FFFFFF"/>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28274695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2_36pt Title Only">
    <p:spTree>
      <p:nvGrpSpPr>
        <p:cNvPr id="1" name=""/>
        <p:cNvGrpSpPr/>
        <p:nvPr/>
      </p:nvGrpSpPr>
      <p:grpSpPr>
        <a:xfrm>
          <a:off x="0" y="0"/>
          <a:ext cx="0" cy="0"/>
          <a:chOff x="0" y="0"/>
          <a:chExt cx="0" cy="0"/>
        </a:xfrm>
      </p:grpSpPr>
      <p:grpSp>
        <p:nvGrpSpPr>
          <p:cNvPr id="211" name="Group 210"/>
          <p:cNvGrpSpPr/>
          <p:nvPr userDrawn="1"/>
        </p:nvGrpSpPr>
        <p:grpSpPr>
          <a:xfrm>
            <a:off x="6092660" y="6450977"/>
            <a:ext cx="264796" cy="497463"/>
            <a:chOff x="2050888" y="6524513"/>
            <a:chExt cx="229412" cy="430988"/>
          </a:xfrm>
        </p:grpSpPr>
        <p:sp>
          <p:nvSpPr>
            <p:cNvPr id="212" name="Rectangle 10"/>
            <p:cNvSpPr>
              <a:spLocks noChangeArrowheads="1"/>
            </p:cNvSpPr>
            <p:nvPr userDrawn="1"/>
          </p:nvSpPr>
          <p:spPr bwMode="auto">
            <a:xfrm flipH="1">
              <a:off x="2050888" y="6571843"/>
              <a:ext cx="229412" cy="383658"/>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3" name="Rectangle 10"/>
            <p:cNvSpPr>
              <a:spLocks noChangeArrowheads="1"/>
            </p:cNvSpPr>
            <p:nvPr userDrawn="1"/>
          </p:nvSpPr>
          <p:spPr bwMode="auto">
            <a:xfrm flipH="1">
              <a:off x="2079065" y="6531159"/>
              <a:ext cx="114535" cy="6992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4" name="Rectangle 10"/>
            <p:cNvSpPr>
              <a:spLocks noChangeArrowheads="1"/>
            </p:cNvSpPr>
            <p:nvPr userDrawn="1"/>
          </p:nvSpPr>
          <p:spPr bwMode="auto">
            <a:xfrm flipH="1">
              <a:off x="2071644" y="6524513"/>
              <a:ext cx="129373" cy="2645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07" name="Freeform 19"/>
          <p:cNvSpPr>
            <a:spLocks/>
          </p:cNvSpPr>
          <p:nvPr/>
        </p:nvSpPr>
        <p:spPr bwMode="auto">
          <a:xfrm>
            <a:off x="6277206" y="6770427"/>
            <a:ext cx="816956" cy="175445"/>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92D050"/>
          </a:solidFill>
          <a:ln>
            <a:noFill/>
          </a:ln>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99" name="Group 98"/>
          <p:cNvGrpSpPr/>
          <p:nvPr userDrawn="1"/>
        </p:nvGrpSpPr>
        <p:grpSpPr>
          <a:xfrm>
            <a:off x="11392424" y="5881789"/>
            <a:ext cx="519193" cy="975389"/>
            <a:chOff x="2050888" y="6524513"/>
            <a:chExt cx="229412" cy="430988"/>
          </a:xfrm>
        </p:grpSpPr>
        <p:sp>
          <p:nvSpPr>
            <p:cNvPr id="193" name="Rectangle 10"/>
            <p:cNvSpPr>
              <a:spLocks noChangeArrowheads="1"/>
            </p:cNvSpPr>
            <p:nvPr userDrawn="1"/>
          </p:nvSpPr>
          <p:spPr bwMode="auto">
            <a:xfrm flipH="1">
              <a:off x="2050888" y="6571843"/>
              <a:ext cx="229412" cy="383658"/>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4" name="Rectangle 10"/>
            <p:cNvSpPr>
              <a:spLocks noChangeArrowheads="1"/>
            </p:cNvSpPr>
            <p:nvPr userDrawn="1"/>
          </p:nvSpPr>
          <p:spPr bwMode="auto">
            <a:xfrm flipH="1">
              <a:off x="2079065" y="6531159"/>
              <a:ext cx="114535" cy="6992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5" name="Rectangle 10"/>
            <p:cNvSpPr>
              <a:spLocks noChangeArrowheads="1"/>
            </p:cNvSpPr>
            <p:nvPr userDrawn="1"/>
          </p:nvSpPr>
          <p:spPr bwMode="auto">
            <a:xfrm flipH="1">
              <a:off x="2071644" y="6524513"/>
              <a:ext cx="129373" cy="2645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 name="Group 1"/>
          <p:cNvGrpSpPr/>
          <p:nvPr userDrawn="1"/>
        </p:nvGrpSpPr>
        <p:grpSpPr>
          <a:xfrm>
            <a:off x="10810843" y="6558901"/>
            <a:ext cx="1625633" cy="397865"/>
            <a:chOff x="9722942" y="6139649"/>
            <a:chExt cx="2744716" cy="583401"/>
          </a:xfrm>
        </p:grpSpPr>
        <p:sp>
          <p:nvSpPr>
            <p:cNvPr id="102" name="Freeform 19"/>
            <p:cNvSpPr>
              <a:spLocks/>
            </p:cNvSpPr>
            <p:nvPr/>
          </p:nvSpPr>
          <p:spPr bwMode="auto">
            <a:xfrm>
              <a:off x="9722942" y="6268271"/>
              <a:ext cx="1379347" cy="454779"/>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3" name="Freeform 19"/>
            <p:cNvSpPr>
              <a:spLocks/>
            </p:cNvSpPr>
            <p:nvPr/>
          </p:nvSpPr>
          <p:spPr bwMode="auto">
            <a:xfrm>
              <a:off x="10698202" y="6139649"/>
              <a:ext cx="1769456" cy="583401"/>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4" name="Freeform 30"/>
            <p:cNvSpPr>
              <a:spLocks/>
            </p:cNvSpPr>
            <p:nvPr/>
          </p:nvSpPr>
          <p:spPr bwMode="auto">
            <a:xfrm>
              <a:off x="11372518" y="6465791"/>
              <a:ext cx="969018" cy="257259"/>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01" name="Rectangle 33"/>
          <p:cNvSpPr>
            <a:spLocks noChangeArrowheads="1"/>
          </p:cNvSpPr>
          <p:nvPr/>
        </p:nvSpPr>
        <p:spPr bwMode="auto">
          <a:xfrm>
            <a:off x="0" y="6942989"/>
            <a:ext cx="12436475" cy="5153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7" name="Freeform 8"/>
          <p:cNvSpPr>
            <a:spLocks/>
          </p:cNvSpPr>
          <p:nvPr/>
        </p:nvSpPr>
        <p:spPr bwMode="auto">
          <a:xfrm flipH="1">
            <a:off x="5003334" y="6360645"/>
            <a:ext cx="316321" cy="233119"/>
          </a:xfrm>
          <a:custGeom>
            <a:avLst/>
            <a:gdLst>
              <a:gd name="T0" fmla="*/ 117 w 139"/>
              <a:gd name="T1" fmla="*/ 40 h 91"/>
              <a:gd name="T2" fmla="*/ 117 w 139"/>
              <a:gd name="T3" fmla="*/ 38 h 91"/>
              <a:gd name="T4" fmla="*/ 79 w 139"/>
              <a:gd name="T5" fmla="*/ 0 h 91"/>
              <a:gd name="T6" fmla="*/ 47 w 139"/>
              <a:gd name="T7" fmla="*/ 17 h 91"/>
              <a:gd name="T8" fmla="*/ 36 w 139"/>
              <a:gd name="T9" fmla="*/ 14 h 91"/>
              <a:gd name="T10" fmla="*/ 24 w 139"/>
              <a:gd name="T11" fmla="*/ 18 h 91"/>
              <a:gd name="T12" fmla="*/ 14 w 139"/>
              <a:gd name="T13" fmla="*/ 36 h 91"/>
              <a:gd name="T14" fmla="*/ 0 w 139"/>
              <a:gd name="T15" fmla="*/ 61 h 91"/>
              <a:gd name="T16" fmla="*/ 27 w 139"/>
              <a:gd name="T17" fmla="*/ 91 h 91"/>
              <a:gd name="T18" fmla="*/ 30 w 139"/>
              <a:gd name="T19" fmla="*/ 91 h 91"/>
              <a:gd name="T20" fmla="*/ 33 w 139"/>
              <a:gd name="T21" fmla="*/ 91 h 91"/>
              <a:gd name="T22" fmla="*/ 96 w 139"/>
              <a:gd name="T23" fmla="*/ 91 h 91"/>
              <a:gd name="T24" fmla="*/ 97 w 139"/>
              <a:gd name="T25" fmla="*/ 91 h 91"/>
              <a:gd name="T26" fmla="*/ 99 w 139"/>
              <a:gd name="T27" fmla="*/ 91 h 91"/>
              <a:gd name="T28" fmla="*/ 103 w 139"/>
              <a:gd name="T29" fmla="*/ 91 h 91"/>
              <a:gd name="T30" fmla="*/ 113 w 139"/>
              <a:gd name="T31" fmla="*/ 91 h 91"/>
              <a:gd name="T32" fmla="*/ 139 w 139"/>
              <a:gd name="T33" fmla="*/ 66 h 91"/>
              <a:gd name="T34" fmla="*/ 117 w 139"/>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91">
                <a:moveTo>
                  <a:pt x="117" y="40"/>
                </a:moveTo>
                <a:cubicBezTo>
                  <a:pt x="117" y="39"/>
                  <a:pt x="117" y="39"/>
                  <a:pt x="117" y="38"/>
                </a:cubicBezTo>
                <a:cubicBezTo>
                  <a:pt x="117" y="17"/>
                  <a:pt x="100" y="0"/>
                  <a:pt x="79" y="0"/>
                </a:cubicBezTo>
                <a:cubicBezTo>
                  <a:pt x="65" y="0"/>
                  <a:pt x="53" y="7"/>
                  <a:pt x="47" y="17"/>
                </a:cubicBezTo>
                <a:cubicBezTo>
                  <a:pt x="43" y="15"/>
                  <a:pt x="40" y="14"/>
                  <a:pt x="36" y="14"/>
                </a:cubicBezTo>
                <a:cubicBezTo>
                  <a:pt x="31" y="14"/>
                  <a:pt x="27" y="15"/>
                  <a:pt x="24" y="18"/>
                </a:cubicBezTo>
                <a:cubicBezTo>
                  <a:pt x="18" y="22"/>
                  <a:pt x="14" y="28"/>
                  <a:pt x="14" y="36"/>
                </a:cubicBezTo>
                <a:cubicBezTo>
                  <a:pt x="6" y="41"/>
                  <a:pt x="0" y="51"/>
                  <a:pt x="0" y="61"/>
                </a:cubicBezTo>
                <a:cubicBezTo>
                  <a:pt x="0" y="77"/>
                  <a:pt x="12" y="90"/>
                  <a:pt x="27" y="91"/>
                </a:cubicBezTo>
                <a:cubicBezTo>
                  <a:pt x="28" y="91"/>
                  <a:pt x="29" y="91"/>
                  <a:pt x="30" y="91"/>
                </a:cubicBezTo>
                <a:cubicBezTo>
                  <a:pt x="31" y="91"/>
                  <a:pt x="32" y="91"/>
                  <a:pt x="33" y="91"/>
                </a:cubicBezTo>
                <a:cubicBezTo>
                  <a:pt x="47" y="91"/>
                  <a:pt x="80" y="91"/>
                  <a:pt x="96" y="91"/>
                </a:cubicBezTo>
                <a:cubicBezTo>
                  <a:pt x="97" y="91"/>
                  <a:pt x="97" y="91"/>
                  <a:pt x="97" y="91"/>
                </a:cubicBezTo>
                <a:cubicBezTo>
                  <a:pt x="99" y="91"/>
                  <a:pt x="99" y="91"/>
                  <a:pt x="99" y="91"/>
                </a:cubicBezTo>
                <a:cubicBezTo>
                  <a:pt x="100" y="91"/>
                  <a:pt x="102" y="91"/>
                  <a:pt x="103" y="91"/>
                </a:cubicBezTo>
                <a:cubicBezTo>
                  <a:pt x="113" y="91"/>
                  <a:pt x="113" y="91"/>
                  <a:pt x="113" y="91"/>
                </a:cubicBezTo>
                <a:cubicBezTo>
                  <a:pt x="128" y="91"/>
                  <a:pt x="139" y="80"/>
                  <a:pt x="139" y="66"/>
                </a:cubicBezTo>
                <a:cubicBezTo>
                  <a:pt x="139" y="53"/>
                  <a:pt x="130" y="42"/>
                  <a:pt x="117"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6" name="Group 5"/>
          <p:cNvGrpSpPr/>
          <p:nvPr userDrawn="1"/>
        </p:nvGrpSpPr>
        <p:grpSpPr>
          <a:xfrm>
            <a:off x="9919716" y="6018306"/>
            <a:ext cx="1510051" cy="920747"/>
            <a:chOff x="8258144" y="6079687"/>
            <a:chExt cx="1510051" cy="920747"/>
          </a:xfrm>
        </p:grpSpPr>
        <p:sp>
          <p:nvSpPr>
            <p:cNvPr id="105" name="Freeform 6"/>
            <p:cNvSpPr>
              <a:spLocks/>
            </p:cNvSpPr>
            <p:nvPr/>
          </p:nvSpPr>
          <p:spPr bwMode="auto">
            <a:xfrm>
              <a:off x="8580420" y="6549455"/>
              <a:ext cx="475067" cy="450977"/>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6" name="Freeform 7"/>
            <p:cNvSpPr>
              <a:spLocks/>
            </p:cNvSpPr>
            <p:nvPr/>
          </p:nvSpPr>
          <p:spPr bwMode="auto">
            <a:xfrm>
              <a:off x="8830793" y="6549455"/>
              <a:ext cx="473785" cy="450977"/>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8" name="Rectangle 9"/>
            <p:cNvSpPr>
              <a:spLocks noChangeArrowheads="1"/>
            </p:cNvSpPr>
            <p:nvPr/>
          </p:nvSpPr>
          <p:spPr bwMode="auto">
            <a:xfrm>
              <a:off x="8278687" y="6390456"/>
              <a:ext cx="430129" cy="609976"/>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9" name="Rectangle 10"/>
            <p:cNvSpPr>
              <a:spLocks noChangeArrowheads="1"/>
            </p:cNvSpPr>
            <p:nvPr/>
          </p:nvSpPr>
          <p:spPr bwMode="auto">
            <a:xfrm>
              <a:off x="8258144" y="6373110"/>
              <a:ext cx="472500" cy="173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0" name="Rectangle 11"/>
            <p:cNvSpPr>
              <a:spLocks noChangeArrowheads="1"/>
            </p:cNvSpPr>
            <p:nvPr/>
          </p:nvSpPr>
          <p:spPr bwMode="auto">
            <a:xfrm>
              <a:off x="8318491" y="6445382"/>
              <a:ext cx="55211" cy="650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1" name="Rectangle 12"/>
            <p:cNvSpPr>
              <a:spLocks noChangeArrowheads="1"/>
            </p:cNvSpPr>
            <p:nvPr/>
          </p:nvSpPr>
          <p:spPr bwMode="auto">
            <a:xfrm>
              <a:off x="8318491" y="6445382"/>
              <a:ext cx="55211" cy="33247"/>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2" name="Rectangle 13"/>
            <p:cNvSpPr>
              <a:spLocks noChangeArrowheads="1"/>
            </p:cNvSpPr>
            <p:nvPr/>
          </p:nvSpPr>
          <p:spPr bwMode="auto">
            <a:xfrm>
              <a:off x="8416072" y="6445382"/>
              <a:ext cx="55211" cy="65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3" name="Rectangle 14"/>
            <p:cNvSpPr>
              <a:spLocks noChangeArrowheads="1"/>
            </p:cNvSpPr>
            <p:nvPr/>
          </p:nvSpPr>
          <p:spPr bwMode="auto">
            <a:xfrm>
              <a:off x="8512370" y="6445382"/>
              <a:ext cx="57779" cy="6504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Rectangle 15"/>
            <p:cNvSpPr>
              <a:spLocks noChangeArrowheads="1"/>
            </p:cNvSpPr>
            <p:nvPr/>
          </p:nvSpPr>
          <p:spPr bwMode="auto">
            <a:xfrm>
              <a:off x="8416072" y="6876124"/>
              <a:ext cx="55211" cy="12430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5" name="Rectangle 16"/>
            <p:cNvSpPr>
              <a:spLocks noChangeArrowheads="1"/>
            </p:cNvSpPr>
            <p:nvPr/>
          </p:nvSpPr>
          <p:spPr bwMode="auto">
            <a:xfrm>
              <a:off x="8512370" y="6876124"/>
              <a:ext cx="57779" cy="12430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6" name="Rectangle 17"/>
            <p:cNvSpPr>
              <a:spLocks noChangeArrowheads="1"/>
            </p:cNvSpPr>
            <p:nvPr/>
          </p:nvSpPr>
          <p:spPr bwMode="auto">
            <a:xfrm>
              <a:off x="8611235" y="6445382"/>
              <a:ext cx="56494" cy="65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7" name="Rectangle 18"/>
            <p:cNvSpPr>
              <a:spLocks noChangeArrowheads="1"/>
            </p:cNvSpPr>
            <p:nvPr/>
          </p:nvSpPr>
          <p:spPr bwMode="auto">
            <a:xfrm>
              <a:off x="8318491" y="6555236"/>
              <a:ext cx="55211" cy="6504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8" name="Rectangle 19"/>
            <p:cNvSpPr>
              <a:spLocks noChangeArrowheads="1"/>
            </p:cNvSpPr>
            <p:nvPr/>
          </p:nvSpPr>
          <p:spPr bwMode="auto">
            <a:xfrm>
              <a:off x="8416072" y="6555236"/>
              <a:ext cx="55211" cy="65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9" name="Rectangle 20"/>
            <p:cNvSpPr>
              <a:spLocks noChangeArrowheads="1"/>
            </p:cNvSpPr>
            <p:nvPr/>
          </p:nvSpPr>
          <p:spPr bwMode="auto">
            <a:xfrm>
              <a:off x="8512370" y="6555236"/>
              <a:ext cx="57779" cy="65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0" name="Rectangle 21"/>
            <p:cNvSpPr>
              <a:spLocks noChangeArrowheads="1"/>
            </p:cNvSpPr>
            <p:nvPr/>
          </p:nvSpPr>
          <p:spPr bwMode="auto">
            <a:xfrm>
              <a:off x="8611235" y="6555236"/>
              <a:ext cx="56494" cy="650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1" name="Rectangle 22"/>
            <p:cNvSpPr>
              <a:spLocks noChangeArrowheads="1"/>
            </p:cNvSpPr>
            <p:nvPr/>
          </p:nvSpPr>
          <p:spPr bwMode="auto">
            <a:xfrm>
              <a:off x="8318491" y="6666535"/>
              <a:ext cx="55211" cy="6215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2" name="Rectangle 23"/>
            <p:cNvSpPr>
              <a:spLocks noChangeArrowheads="1"/>
            </p:cNvSpPr>
            <p:nvPr/>
          </p:nvSpPr>
          <p:spPr bwMode="auto">
            <a:xfrm>
              <a:off x="8416072" y="6666535"/>
              <a:ext cx="55211" cy="621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3" name="Rectangle 24"/>
            <p:cNvSpPr>
              <a:spLocks noChangeArrowheads="1"/>
            </p:cNvSpPr>
            <p:nvPr/>
          </p:nvSpPr>
          <p:spPr bwMode="auto">
            <a:xfrm>
              <a:off x="8512370" y="6666535"/>
              <a:ext cx="57779" cy="6215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4" name="Rectangle 25"/>
            <p:cNvSpPr>
              <a:spLocks noChangeArrowheads="1"/>
            </p:cNvSpPr>
            <p:nvPr/>
          </p:nvSpPr>
          <p:spPr bwMode="auto">
            <a:xfrm>
              <a:off x="8611235" y="6666535"/>
              <a:ext cx="56494" cy="6215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5" name="Rectangle 26"/>
            <p:cNvSpPr>
              <a:spLocks noChangeArrowheads="1"/>
            </p:cNvSpPr>
            <p:nvPr/>
          </p:nvSpPr>
          <p:spPr bwMode="auto">
            <a:xfrm>
              <a:off x="8318491" y="6774943"/>
              <a:ext cx="55211" cy="6359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6" name="Rectangle 27"/>
            <p:cNvSpPr>
              <a:spLocks noChangeArrowheads="1"/>
            </p:cNvSpPr>
            <p:nvPr/>
          </p:nvSpPr>
          <p:spPr bwMode="auto">
            <a:xfrm>
              <a:off x="8416072" y="6774943"/>
              <a:ext cx="55211" cy="635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7" name="Rectangle 28"/>
            <p:cNvSpPr>
              <a:spLocks noChangeArrowheads="1"/>
            </p:cNvSpPr>
            <p:nvPr/>
          </p:nvSpPr>
          <p:spPr bwMode="auto">
            <a:xfrm>
              <a:off x="8512370" y="6774943"/>
              <a:ext cx="57779" cy="635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8" name="Rectangle 29"/>
            <p:cNvSpPr>
              <a:spLocks noChangeArrowheads="1"/>
            </p:cNvSpPr>
            <p:nvPr/>
          </p:nvSpPr>
          <p:spPr bwMode="auto">
            <a:xfrm>
              <a:off x="8611235" y="6774943"/>
              <a:ext cx="56494" cy="6359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9" name="Rectangle 30"/>
            <p:cNvSpPr>
              <a:spLocks noChangeArrowheads="1"/>
            </p:cNvSpPr>
            <p:nvPr/>
          </p:nvSpPr>
          <p:spPr bwMode="auto">
            <a:xfrm>
              <a:off x="8318491" y="6666535"/>
              <a:ext cx="55211" cy="3035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0" name="Rectangle 31"/>
            <p:cNvSpPr>
              <a:spLocks noChangeArrowheads="1"/>
            </p:cNvSpPr>
            <p:nvPr/>
          </p:nvSpPr>
          <p:spPr bwMode="auto">
            <a:xfrm>
              <a:off x="8611235" y="6666535"/>
              <a:ext cx="56494" cy="3035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1" name="Rectangle 32"/>
            <p:cNvSpPr>
              <a:spLocks noChangeArrowheads="1"/>
            </p:cNvSpPr>
            <p:nvPr/>
          </p:nvSpPr>
          <p:spPr bwMode="auto">
            <a:xfrm>
              <a:off x="8611235" y="6555236"/>
              <a:ext cx="56494" cy="3180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8" name="Rectangle 40"/>
            <p:cNvSpPr>
              <a:spLocks noChangeArrowheads="1"/>
            </p:cNvSpPr>
            <p:nvPr/>
          </p:nvSpPr>
          <p:spPr bwMode="auto">
            <a:xfrm>
              <a:off x="8471282" y="6296503"/>
              <a:ext cx="166916" cy="76609"/>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9" name="Rectangle 41"/>
            <p:cNvSpPr>
              <a:spLocks noChangeArrowheads="1"/>
            </p:cNvSpPr>
            <p:nvPr/>
          </p:nvSpPr>
          <p:spPr bwMode="auto">
            <a:xfrm>
              <a:off x="9331540" y="6613055"/>
              <a:ext cx="423500" cy="38737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0" name="Rectangle 42"/>
            <p:cNvSpPr>
              <a:spLocks noChangeArrowheads="1"/>
            </p:cNvSpPr>
            <p:nvPr/>
          </p:nvSpPr>
          <p:spPr bwMode="auto">
            <a:xfrm>
              <a:off x="9310995" y="6595709"/>
              <a:ext cx="457200" cy="17345"/>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1" name="Rectangle 43"/>
            <p:cNvSpPr>
              <a:spLocks noChangeArrowheads="1"/>
            </p:cNvSpPr>
            <p:nvPr/>
          </p:nvSpPr>
          <p:spPr bwMode="auto">
            <a:xfrm>
              <a:off x="9468924" y="6876124"/>
              <a:ext cx="56494" cy="124308"/>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2" name="Rectangle 44"/>
            <p:cNvSpPr>
              <a:spLocks noChangeArrowheads="1"/>
            </p:cNvSpPr>
            <p:nvPr/>
          </p:nvSpPr>
          <p:spPr bwMode="auto">
            <a:xfrm>
              <a:off x="9565220" y="6876124"/>
              <a:ext cx="57779" cy="124308"/>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3" name="Rectangle 45"/>
            <p:cNvSpPr>
              <a:spLocks noChangeArrowheads="1"/>
            </p:cNvSpPr>
            <p:nvPr/>
          </p:nvSpPr>
          <p:spPr bwMode="auto">
            <a:xfrm>
              <a:off x="9371342" y="6666535"/>
              <a:ext cx="55211" cy="6215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4" name="Rectangle 46"/>
            <p:cNvSpPr>
              <a:spLocks noChangeArrowheads="1"/>
            </p:cNvSpPr>
            <p:nvPr/>
          </p:nvSpPr>
          <p:spPr bwMode="auto">
            <a:xfrm>
              <a:off x="9468924" y="6666535"/>
              <a:ext cx="56494" cy="621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5" name="Rectangle 47"/>
            <p:cNvSpPr>
              <a:spLocks noChangeArrowheads="1"/>
            </p:cNvSpPr>
            <p:nvPr/>
          </p:nvSpPr>
          <p:spPr bwMode="auto">
            <a:xfrm>
              <a:off x="9565220" y="6666535"/>
              <a:ext cx="57779" cy="62154"/>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6" name="Rectangle 48"/>
            <p:cNvSpPr>
              <a:spLocks noChangeArrowheads="1"/>
            </p:cNvSpPr>
            <p:nvPr/>
          </p:nvSpPr>
          <p:spPr bwMode="auto">
            <a:xfrm>
              <a:off x="9664086" y="6666535"/>
              <a:ext cx="56494" cy="6215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7" name="Rectangle 49"/>
            <p:cNvSpPr>
              <a:spLocks noChangeArrowheads="1"/>
            </p:cNvSpPr>
            <p:nvPr/>
          </p:nvSpPr>
          <p:spPr bwMode="auto">
            <a:xfrm>
              <a:off x="9371342" y="6774943"/>
              <a:ext cx="55211" cy="63599"/>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8" name="Rectangle 50"/>
            <p:cNvSpPr>
              <a:spLocks noChangeArrowheads="1"/>
            </p:cNvSpPr>
            <p:nvPr/>
          </p:nvSpPr>
          <p:spPr bwMode="auto">
            <a:xfrm>
              <a:off x="9468924" y="6774943"/>
              <a:ext cx="56494" cy="635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9" name="Rectangle 51"/>
            <p:cNvSpPr>
              <a:spLocks noChangeArrowheads="1"/>
            </p:cNvSpPr>
            <p:nvPr/>
          </p:nvSpPr>
          <p:spPr bwMode="auto">
            <a:xfrm>
              <a:off x="9565220" y="6774943"/>
              <a:ext cx="57779" cy="635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0" name="Rectangle 52"/>
            <p:cNvSpPr>
              <a:spLocks noChangeArrowheads="1"/>
            </p:cNvSpPr>
            <p:nvPr/>
          </p:nvSpPr>
          <p:spPr bwMode="auto">
            <a:xfrm>
              <a:off x="9664086" y="6774943"/>
              <a:ext cx="56494" cy="63599"/>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1" name="Rectangle 53"/>
            <p:cNvSpPr>
              <a:spLocks noChangeArrowheads="1"/>
            </p:cNvSpPr>
            <p:nvPr/>
          </p:nvSpPr>
          <p:spPr bwMode="auto">
            <a:xfrm>
              <a:off x="9371342" y="6666535"/>
              <a:ext cx="55211" cy="30355"/>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2" name="Rectangle 54"/>
            <p:cNvSpPr>
              <a:spLocks noChangeArrowheads="1"/>
            </p:cNvSpPr>
            <p:nvPr/>
          </p:nvSpPr>
          <p:spPr bwMode="auto">
            <a:xfrm>
              <a:off x="9664086" y="6666535"/>
              <a:ext cx="56494" cy="30355"/>
            </a:xfrm>
            <a:prstGeom prst="rect">
              <a:avLst/>
            </a:prstGeom>
            <a:solidFill>
              <a:srgbClr val="00BE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3" name="Rectangle 55"/>
            <p:cNvSpPr>
              <a:spLocks noChangeArrowheads="1"/>
            </p:cNvSpPr>
            <p:nvPr/>
          </p:nvSpPr>
          <p:spPr bwMode="auto">
            <a:xfrm>
              <a:off x="9525418" y="6519100"/>
              <a:ext cx="165633" cy="76609"/>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4" name="Rectangle 56"/>
            <p:cNvSpPr>
              <a:spLocks noChangeArrowheads="1"/>
            </p:cNvSpPr>
            <p:nvPr/>
          </p:nvSpPr>
          <p:spPr bwMode="auto">
            <a:xfrm>
              <a:off x="8805114" y="6175086"/>
              <a:ext cx="430129" cy="82534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5" name="Rectangle 57"/>
            <p:cNvSpPr>
              <a:spLocks noChangeArrowheads="1"/>
            </p:cNvSpPr>
            <p:nvPr/>
          </p:nvSpPr>
          <p:spPr bwMode="auto">
            <a:xfrm>
              <a:off x="8784570" y="6154849"/>
              <a:ext cx="472500" cy="20237"/>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6" name="Rectangle 58"/>
            <p:cNvSpPr>
              <a:spLocks noChangeArrowheads="1"/>
            </p:cNvSpPr>
            <p:nvPr/>
          </p:nvSpPr>
          <p:spPr bwMode="auto">
            <a:xfrm>
              <a:off x="8844916" y="6445382"/>
              <a:ext cx="55211" cy="65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7" name="Rectangle 59"/>
            <p:cNvSpPr>
              <a:spLocks noChangeArrowheads="1"/>
            </p:cNvSpPr>
            <p:nvPr/>
          </p:nvSpPr>
          <p:spPr bwMode="auto">
            <a:xfrm>
              <a:off x="8844916" y="6445382"/>
              <a:ext cx="55211" cy="33247"/>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8" name="Rectangle 60"/>
            <p:cNvSpPr>
              <a:spLocks noChangeArrowheads="1"/>
            </p:cNvSpPr>
            <p:nvPr/>
          </p:nvSpPr>
          <p:spPr bwMode="auto">
            <a:xfrm>
              <a:off x="8942497" y="6445382"/>
              <a:ext cx="55211" cy="6504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9" name="Rectangle 61"/>
            <p:cNvSpPr>
              <a:spLocks noChangeArrowheads="1"/>
            </p:cNvSpPr>
            <p:nvPr/>
          </p:nvSpPr>
          <p:spPr bwMode="auto">
            <a:xfrm>
              <a:off x="9038796" y="6445382"/>
              <a:ext cx="57779" cy="65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0" name="Rectangle 62"/>
            <p:cNvSpPr>
              <a:spLocks noChangeArrowheads="1"/>
            </p:cNvSpPr>
            <p:nvPr/>
          </p:nvSpPr>
          <p:spPr bwMode="auto">
            <a:xfrm>
              <a:off x="8942497" y="6876124"/>
              <a:ext cx="55211" cy="12430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1" name="Rectangle 63"/>
            <p:cNvSpPr>
              <a:spLocks noChangeArrowheads="1"/>
            </p:cNvSpPr>
            <p:nvPr/>
          </p:nvSpPr>
          <p:spPr bwMode="auto">
            <a:xfrm>
              <a:off x="9038796" y="6876124"/>
              <a:ext cx="57779" cy="12430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2" name="Rectangle 64"/>
            <p:cNvSpPr>
              <a:spLocks noChangeArrowheads="1"/>
            </p:cNvSpPr>
            <p:nvPr/>
          </p:nvSpPr>
          <p:spPr bwMode="auto">
            <a:xfrm>
              <a:off x="9137661" y="6445382"/>
              <a:ext cx="56494" cy="6504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3" name="Rectangle 65"/>
            <p:cNvSpPr>
              <a:spLocks noChangeArrowheads="1"/>
            </p:cNvSpPr>
            <p:nvPr/>
          </p:nvSpPr>
          <p:spPr bwMode="auto">
            <a:xfrm>
              <a:off x="8844916" y="6555236"/>
              <a:ext cx="55211" cy="6504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4" name="Rectangle 66"/>
            <p:cNvSpPr>
              <a:spLocks noChangeArrowheads="1"/>
            </p:cNvSpPr>
            <p:nvPr/>
          </p:nvSpPr>
          <p:spPr bwMode="auto">
            <a:xfrm>
              <a:off x="8942497" y="6555236"/>
              <a:ext cx="55211" cy="6504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5" name="Rectangle 67"/>
            <p:cNvSpPr>
              <a:spLocks noChangeArrowheads="1"/>
            </p:cNvSpPr>
            <p:nvPr/>
          </p:nvSpPr>
          <p:spPr bwMode="auto">
            <a:xfrm>
              <a:off x="9038796" y="6555236"/>
              <a:ext cx="57779" cy="6504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6" name="Rectangle 68"/>
            <p:cNvSpPr>
              <a:spLocks noChangeArrowheads="1"/>
            </p:cNvSpPr>
            <p:nvPr/>
          </p:nvSpPr>
          <p:spPr bwMode="auto">
            <a:xfrm>
              <a:off x="9137661" y="6555236"/>
              <a:ext cx="56494" cy="6504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7" name="Rectangle 69"/>
            <p:cNvSpPr>
              <a:spLocks noChangeArrowheads="1"/>
            </p:cNvSpPr>
            <p:nvPr/>
          </p:nvSpPr>
          <p:spPr bwMode="auto">
            <a:xfrm>
              <a:off x="8844916" y="6666535"/>
              <a:ext cx="55211" cy="62154"/>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8" name="Rectangle 70"/>
            <p:cNvSpPr>
              <a:spLocks noChangeArrowheads="1"/>
            </p:cNvSpPr>
            <p:nvPr/>
          </p:nvSpPr>
          <p:spPr bwMode="auto">
            <a:xfrm>
              <a:off x="8942497" y="6666535"/>
              <a:ext cx="55211" cy="62154"/>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9" name="Rectangle 71"/>
            <p:cNvSpPr>
              <a:spLocks noChangeArrowheads="1"/>
            </p:cNvSpPr>
            <p:nvPr/>
          </p:nvSpPr>
          <p:spPr bwMode="auto">
            <a:xfrm>
              <a:off x="9038796" y="6666535"/>
              <a:ext cx="57779" cy="6215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0" name="Rectangle 72"/>
            <p:cNvSpPr>
              <a:spLocks noChangeArrowheads="1"/>
            </p:cNvSpPr>
            <p:nvPr/>
          </p:nvSpPr>
          <p:spPr bwMode="auto">
            <a:xfrm>
              <a:off x="9137661" y="6666535"/>
              <a:ext cx="56494" cy="62154"/>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1" name="Rectangle 73"/>
            <p:cNvSpPr>
              <a:spLocks noChangeArrowheads="1"/>
            </p:cNvSpPr>
            <p:nvPr/>
          </p:nvSpPr>
          <p:spPr bwMode="auto">
            <a:xfrm>
              <a:off x="8844916" y="6774943"/>
              <a:ext cx="55211" cy="63599"/>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2" name="Rectangle 74"/>
            <p:cNvSpPr>
              <a:spLocks noChangeArrowheads="1"/>
            </p:cNvSpPr>
            <p:nvPr/>
          </p:nvSpPr>
          <p:spPr bwMode="auto">
            <a:xfrm>
              <a:off x="8942497" y="6774943"/>
              <a:ext cx="55211" cy="63599"/>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3" name="Rectangle 75"/>
            <p:cNvSpPr>
              <a:spLocks noChangeArrowheads="1"/>
            </p:cNvSpPr>
            <p:nvPr/>
          </p:nvSpPr>
          <p:spPr bwMode="auto">
            <a:xfrm>
              <a:off x="9038796" y="6774943"/>
              <a:ext cx="57779" cy="63599"/>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4" name="Rectangle 76"/>
            <p:cNvSpPr>
              <a:spLocks noChangeArrowheads="1"/>
            </p:cNvSpPr>
            <p:nvPr/>
          </p:nvSpPr>
          <p:spPr bwMode="auto">
            <a:xfrm>
              <a:off x="9137661" y="6774943"/>
              <a:ext cx="56494" cy="63599"/>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5" name="Rectangle 77"/>
            <p:cNvSpPr>
              <a:spLocks noChangeArrowheads="1"/>
            </p:cNvSpPr>
            <p:nvPr/>
          </p:nvSpPr>
          <p:spPr bwMode="auto">
            <a:xfrm>
              <a:off x="8844916" y="6666535"/>
              <a:ext cx="55211" cy="3035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6" name="Rectangle 78"/>
            <p:cNvSpPr>
              <a:spLocks noChangeArrowheads="1"/>
            </p:cNvSpPr>
            <p:nvPr/>
          </p:nvSpPr>
          <p:spPr bwMode="auto">
            <a:xfrm>
              <a:off x="9137661" y="6666535"/>
              <a:ext cx="56494" cy="30355"/>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7" name="Rectangle 79"/>
            <p:cNvSpPr>
              <a:spLocks noChangeArrowheads="1"/>
            </p:cNvSpPr>
            <p:nvPr/>
          </p:nvSpPr>
          <p:spPr bwMode="auto">
            <a:xfrm>
              <a:off x="9137661" y="6555236"/>
              <a:ext cx="56494" cy="31800"/>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8" name="Rectangle 80"/>
            <p:cNvSpPr>
              <a:spLocks noChangeArrowheads="1"/>
            </p:cNvSpPr>
            <p:nvPr/>
          </p:nvSpPr>
          <p:spPr bwMode="auto">
            <a:xfrm>
              <a:off x="8844916" y="6227122"/>
              <a:ext cx="55211" cy="62154"/>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9" name="Rectangle 81"/>
            <p:cNvSpPr>
              <a:spLocks noChangeArrowheads="1"/>
            </p:cNvSpPr>
            <p:nvPr/>
          </p:nvSpPr>
          <p:spPr bwMode="auto">
            <a:xfrm>
              <a:off x="8844916" y="6227122"/>
              <a:ext cx="55211" cy="31800"/>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0" name="Rectangle 82"/>
            <p:cNvSpPr>
              <a:spLocks noChangeArrowheads="1"/>
            </p:cNvSpPr>
            <p:nvPr/>
          </p:nvSpPr>
          <p:spPr bwMode="auto">
            <a:xfrm>
              <a:off x="8942497" y="6227122"/>
              <a:ext cx="55211" cy="6215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1" name="Rectangle 83"/>
            <p:cNvSpPr>
              <a:spLocks noChangeArrowheads="1"/>
            </p:cNvSpPr>
            <p:nvPr/>
          </p:nvSpPr>
          <p:spPr bwMode="auto">
            <a:xfrm>
              <a:off x="9038796" y="6227122"/>
              <a:ext cx="57779" cy="62154"/>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2" name="Rectangle 84"/>
            <p:cNvSpPr>
              <a:spLocks noChangeArrowheads="1"/>
            </p:cNvSpPr>
            <p:nvPr/>
          </p:nvSpPr>
          <p:spPr bwMode="auto">
            <a:xfrm>
              <a:off x="9137661" y="6227122"/>
              <a:ext cx="56494" cy="6215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3" name="Rectangle 85"/>
            <p:cNvSpPr>
              <a:spLocks noChangeArrowheads="1"/>
            </p:cNvSpPr>
            <p:nvPr/>
          </p:nvSpPr>
          <p:spPr bwMode="auto">
            <a:xfrm>
              <a:off x="8844916" y="6336974"/>
              <a:ext cx="55211" cy="62154"/>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4" name="Rectangle 86"/>
            <p:cNvSpPr>
              <a:spLocks noChangeArrowheads="1"/>
            </p:cNvSpPr>
            <p:nvPr/>
          </p:nvSpPr>
          <p:spPr bwMode="auto">
            <a:xfrm>
              <a:off x="8942497" y="6336974"/>
              <a:ext cx="55211" cy="6215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5" name="Rectangle 87"/>
            <p:cNvSpPr>
              <a:spLocks noChangeArrowheads="1"/>
            </p:cNvSpPr>
            <p:nvPr/>
          </p:nvSpPr>
          <p:spPr bwMode="auto">
            <a:xfrm>
              <a:off x="9038796" y="6336974"/>
              <a:ext cx="57779" cy="6215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6" name="Rectangle 88"/>
            <p:cNvSpPr>
              <a:spLocks noChangeArrowheads="1"/>
            </p:cNvSpPr>
            <p:nvPr/>
          </p:nvSpPr>
          <p:spPr bwMode="auto">
            <a:xfrm>
              <a:off x="9137661" y="6336974"/>
              <a:ext cx="56494" cy="62154"/>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7" name="Rectangle 89"/>
            <p:cNvSpPr>
              <a:spLocks noChangeArrowheads="1"/>
            </p:cNvSpPr>
            <p:nvPr/>
          </p:nvSpPr>
          <p:spPr bwMode="auto">
            <a:xfrm>
              <a:off x="9137661" y="6336974"/>
              <a:ext cx="56494" cy="31800"/>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8" name="Rectangle 90"/>
            <p:cNvSpPr>
              <a:spLocks noChangeArrowheads="1"/>
            </p:cNvSpPr>
            <p:nvPr/>
          </p:nvSpPr>
          <p:spPr bwMode="auto">
            <a:xfrm>
              <a:off x="8875732" y="6079687"/>
              <a:ext cx="51358" cy="75162"/>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9" name="Rectangle 91"/>
            <p:cNvSpPr>
              <a:spLocks noChangeArrowheads="1"/>
            </p:cNvSpPr>
            <p:nvPr/>
          </p:nvSpPr>
          <p:spPr bwMode="auto">
            <a:xfrm>
              <a:off x="8945065" y="6079687"/>
              <a:ext cx="51358" cy="75162"/>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90" name="Freeform 5"/>
          <p:cNvSpPr>
            <a:spLocks/>
          </p:cNvSpPr>
          <p:nvPr/>
        </p:nvSpPr>
        <p:spPr bwMode="auto">
          <a:xfrm flipH="1">
            <a:off x="11891127" y="6142176"/>
            <a:ext cx="298225" cy="217539"/>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chemeClr val="bg1">
              <a:lumMod val="65000"/>
            </a:schemeClr>
          </a:solidFill>
          <a:ln>
            <a:noFill/>
          </a:ln>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1" name="Freeform 8"/>
          <p:cNvSpPr>
            <a:spLocks/>
          </p:cNvSpPr>
          <p:nvPr/>
        </p:nvSpPr>
        <p:spPr bwMode="auto">
          <a:xfrm flipH="1">
            <a:off x="11795081" y="5316239"/>
            <a:ext cx="559462" cy="412309"/>
          </a:xfrm>
          <a:custGeom>
            <a:avLst/>
            <a:gdLst>
              <a:gd name="T0" fmla="*/ 117 w 139"/>
              <a:gd name="T1" fmla="*/ 40 h 91"/>
              <a:gd name="T2" fmla="*/ 117 w 139"/>
              <a:gd name="T3" fmla="*/ 38 h 91"/>
              <a:gd name="T4" fmla="*/ 79 w 139"/>
              <a:gd name="T5" fmla="*/ 0 h 91"/>
              <a:gd name="T6" fmla="*/ 47 w 139"/>
              <a:gd name="T7" fmla="*/ 17 h 91"/>
              <a:gd name="T8" fmla="*/ 36 w 139"/>
              <a:gd name="T9" fmla="*/ 14 h 91"/>
              <a:gd name="T10" fmla="*/ 24 w 139"/>
              <a:gd name="T11" fmla="*/ 18 h 91"/>
              <a:gd name="T12" fmla="*/ 14 w 139"/>
              <a:gd name="T13" fmla="*/ 36 h 91"/>
              <a:gd name="T14" fmla="*/ 0 w 139"/>
              <a:gd name="T15" fmla="*/ 61 h 91"/>
              <a:gd name="T16" fmla="*/ 27 w 139"/>
              <a:gd name="T17" fmla="*/ 91 h 91"/>
              <a:gd name="T18" fmla="*/ 30 w 139"/>
              <a:gd name="T19" fmla="*/ 91 h 91"/>
              <a:gd name="T20" fmla="*/ 33 w 139"/>
              <a:gd name="T21" fmla="*/ 91 h 91"/>
              <a:gd name="T22" fmla="*/ 96 w 139"/>
              <a:gd name="T23" fmla="*/ 91 h 91"/>
              <a:gd name="T24" fmla="*/ 97 w 139"/>
              <a:gd name="T25" fmla="*/ 91 h 91"/>
              <a:gd name="T26" fmla="*/ 99 w 139"/>
              <a:gd name="T27" fmla="*/ 91 h 91"/>
              <a:gd name="T28" fmla="*/ 103 w 139"/>
              <a:gd name="T29" fmla="*/ 91 h 91"/>
              <a:gd name="T30" fmla="*/ 113 w 139"/>
              <a:gd name="T31" fmla="*/ 91 h 91"/>
              <a:gd name="T32" fmla="*/ 139 w 139"/>
              <a:gd name="T33" fmla="*/ 66 h 91"/>
              <a:gd name="T34" fmla="*/ 117 w 139"/>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91">
                <a:moveTo>
                  <a:pt x="117" y="40"/>
                </a:moveTo>
                <a:cubicBezTo>
                  <a:pt x="117" y="39"/>
                  <a:pt x="117" y="39"/>
                  <a:pt x="117" y="38"/>
                </a:cubicBezTo>
                <a:cubicBezTo>
                  <a:pt x="117" y="17"/>
                  <a:pt x="100" y="0"/>
                  <a:pt x="79" y="0"/>
                </a:cubicBezTo>
                <a:cubicBezTo>
                  <a:pt x="65" y="0"/>
                  <a:pt x="53" y="7"/>
                  <a:pt x="47" y="17"/>
                </a:cubicBezTo>
                <a:cubicBezTo>
                  <a:pt x="43" y="15"/>
                  <a:pt x="40" y="14"/>
                  <a:pt x="36" y="14"/>
                </a:cubicBezTo>
                <a:cubicBezTo>
                  <a:pt x="31" y="14"/>
                  <a:pt x="27" y="15"/>
                  <a:pt x="24" y="18"/>
                </a:cubicBezTo>
                <a:cubicBezTo>
                  <a:pt x="18" y="22"/>
                  <a:pt x="14" y="28"/>
                  <a:pt x="14" y="36"/>
                </a:cubicBezTo>
                <a:cubicBezTo>
                  <a:pt x="6" y="41"/>
                  <a:pt x="0" y="51"/>
                  <a:pt x="0" y="61"/>
                </a:cubicBezTo>
                <a:cubicBezTo>
                  <a:pt x="0" y="77"/>
                  <a:pt x="12" y="90"/>
                  <a:pt x="27" y="91"/>
                </a:cubicBezTo>
                <a:cubicBezTo>
                  <a:pt x="28" y="91"/>
                  <a:pt x="29" y="91"/>
                  <a:pt x="30" y="91"/>
                </a:cubicBezTo>
                <a:cubicBezTo>
                  <a:pt x="31" y="91"/>
                  <a:pt x="32" y="91"/>
                  <a:pt x="33" y="91"/>
                </a:cubicBezTo>
                <a:cubicBezTo>
                  <a:pt x="47" y="91"/>
                  <a:pt x="80" y="91"/>
                  <a:pt x="96" y="91"/>
                </a:cubicBezTo>
                <a:cubicBezTo>
                  <a:pt x="97" y="91"/>
                  <a:pt x="97" y="91"/>
                  <a:pt x="97" y="91"/>
                </a:cubicBezTo>
                <a:cubicBezTo>
                  <a:pt x="99" y="91"/>
                  <a:pt x="99" y="91"/>
                  <a:pt x="99" y="91"/>
                </a:cubicBezTo>
                <a:cubicBezTo>
                  <a:pt x="100" y="91"/>
                  <a:pt x="102" y="91"/>
                  <a:pt x="103" y="91"/>
                </a:cubicBezTo>
                <a:cubicBezTo>
                  <a:pt x="113" y="91"/>
                  <a:pt x="113" y="91"/>
                  <a:pt x="113" y="91"/>
                </a:cubicBezTo>
                <a:cubicBezTo>
                  <a:pt x="128" y="91"/>
                  <a:pt x="139" y="80"/>
                  <a:pt x="139" y="66"/>
                </a:cubicBezTo>
                <a:cubicBezTo>
                  <a:pt x="139" y="53"/>
                  <a:pt x="130" y="42"/>
                  <a:pt x="117"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2" name="Freeform 5"/>
          <p:cNvSpPr>
            <a:spLocks/>
          </p:cNvSpPr>
          <p:nvPr/>
        </p:nvSpPr>
        <p:spPr bwMode="auto">
          <a:xfrm flipH="1">
            <a:off x="5551984" y="5934457"/>
            <a:ext cx="593792" cy="372934"/>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chemeClr val="bg1">
              <a:lumMod val="65000"/>
            </a:schemeClr>
          </a:solidFill>
          <a:ln>
            <a:noFill/>
          </a:ln>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710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pPr>
              <a:defRPr/>
            </a:pPr>
            <a:r>
              <a:rPr lang="en-US">
                <a:solidFill>
                  <a:srgbClr val="505050"/>
                </a:solidFill>
              </a:rPr>
              <a:t>Microsoft confidential 2015</a:t>
            </a:r>
            <a:endParaRPr lang="en-US" dirty="0">
              <a:solidFill>
                <a:srgbClr val="505050"/>
              </a:solidFill>
            </a:endParaRPr>
          </a:p>
        </p:txBody>
      </p:sp>
      <p:sp>
        <p:nvSpPr>
          <p:cNvPr id="4" name="Slide Number Placeholder 3"/>
          <p:cNvSpPr>
            <a:spLocks noGrp="1"/>
          </p:cNvSpPr>
          <p:nvPr userDrawn="1">
            <p:ph type="sldNum" sz="quarter" idx="11"/>
          </p:nvPr>
        </p:nvSpPr>
        <p:spPr/>
        <p:txBody>
          <a:bodyPr/>
          <a:lstStyle>
            <a:lvl1pPr>
              <a:defRPr>
                <a:solidFill>
                  <a:schemeClr val="bg1"/>
                </a:solidFill>
              </a:defRPr>
            </a:lvl1pPr>
          </a:lstStyle>
          <a:p>
            <a:pPr defTabSz="932539">
              <a:defRPr/>
            </a:pPr>
            <a:fld id="{27258FFF-F925-446B-8502-81C933981705}" type="slidenum">
              <a:rPr lang="en-US" smtClean="0">
                <a:solidFill>
                  <a:srgbClr val="FFFFFF"/>
                </a:solidFill>
              </a:rPr>
              <a:pPr defTabSz="932539">
                <a:defRPr/>
              </a:pPr>
              <a:t>‹#›</a:t>
            </a:fld>
            <a:endParaRPr lang="en-US" dirty="0">
              <a:solidFill>
                <a:srgbClr val="FFFFFF"/>
              </a:solidFill>
            </a:endParaRPr>
          </a:p>
        </p:txBody>
      </p:sp>
      <p:sp>
        <p:nvSpPr>
          <p:cNvPr id="7" name="Title 1"/>
          <p:cNvSpPr>
            <a:spLocks noGrp="1"/>
          </p:cNvSpPr>
          <p:nvPr userDrawn="1">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grpSp>
        <p:nvGrpSpPr>
          <p:cNvPr id="196" name="Group 195"/>
          <p:cNvGrpSpPr/>
          <p:nvPr userDrawn="1"/>
        </p:nvGrpSpPr>
        <p:grpSpPr>
          <a:xfrm>
            <a:off x="6296130" y="6407978"/>
            <a:ext cx="560192" cy="537889"/>
            <a:chOff x="186963" y="5832000"/>
            <a:chExt cx="677863" cy="650875"/>
          </a:xfrm>
          <a:solidFill>
            <a:schemeClr val="accent2"/>
          </a:solidFill>
        </p:grpSpPr>
        <p:sp>
          <p:nvSpPr>
            <p:cNvPr id="197" name="Rectangle 471"/>
            <p:cNvSpPr>
              <a:spLocks noChangeArrowheads="1"/>
            </p:cNvSpPr>
            <p:nvPr/>
          </p:nvSpPr>
          <p:spPr bwMode="auto">
            <a:xfrm>
              <a:off x="186963" y="6443187"/>
              <a:ext cx="677863"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8" name="Rectangle 472"/>
            <p:cNvSpPr>
              <a:spLocks noChangeArrowheads="1"/>
            </p:cNvSpPr>
            <p:nvPr/>
          </p:nvSpPr>
          <p:spPr bwMode="auto">
            <a:xfrm>
              <a:off x="220300" y="6405087"/>
              <a:ext cx="609600"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9" name="Rectangle 473"/>
            <p:cNvSpPr>
              <a:spLocks noChangeArrowheads="1"/>
            </p:cNvSpPr>
            <p:nvPr/>
          </p:nvSpPr>
          <p:spPr bwMode="auto">
            <a:xfrm>
              <a:off x="252050" y="6366987"/>
              <a:ext cx="546100"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0" name="Rectangle 474"/>
            <p:cNvSpPr>
              <a:spLocks noChangeArrowheads="1"/>
            </p:cNvSpPr>
            <p:nvPr/>
          </p:nvSpPr>
          <p:spPr bwMode="auto">
            <a:xfrm>
              <a:off x="283800" y="6009800"/>
              <a:ext cx="4841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1" name="Freeform 475"/>
            <p:cNvSpPr>
              <a:spLocks/>
            </p:cNvSpPr>
            <p:nvPr/>
          </p:nvSpPr>
          <p:spPr bwMode="auto">
            <a:xfrm>
              <a:off x="298088" y="6062187"/>
              <a:ext cx="65088" cy="292100"/>
            </a:xfrm>
            <a:custGeom>
              <a:avLst/>
              <a:gdLst>
                <a:gd name="T0" fmla="*/ 0 w 83"/>
                <a:gd name="T1" fmla="*/ 369 h 369"/>
                <a:gd name="T2" fmla="*/ 7 w 83"/>
                <a:gd name="T3" fmla="*/ 0 h 369"/>
                <a:gd name="T4" fmla="*/ 75 w 83"/>
                <a:gd name="T5" fmla="*/ 0 h 369"/>
                <a:gd name="T6" fmla="*/ 83 w 83"/>
                <a:gd name="T7" fmla="*/ 369 h 369"/>
                <a:gd name="T8" fmla="*/ 0 w 83"/>
                <a:gd name="T9" fmla="*/ 369 h 369"/>
              </a:gdLst>
              <a:ahLst/>
              <a:cxnLst>
                <a:cxn ang="0">
                  <a:pos x="T0" y="T1"/>
                </a:cxn>
                <a:cxn ang="0">
                  <a:pos x="T2" y="T3"/>
                </a:cxn>
                <a:cxn ang="0">
                  <a:pos x="T4" y="T5"/>
                </a:cxn>
                <a:cxn ang="0">
                  <a:pos x="T6" y="T7"/>
                </a:cxn>
                <a:cxn ang="0">
                  <a:pos x="T8" y="T9"/>
                </a:cxn>
              </a:cxnLst>
              <a:rect l="0" t="0" r="r" b="b"/>
              <a:pathLst>
                <a:path w="83" h="369">
                  <a:moveTo>
                    <a:pt x="0" y="369"/>
                  </a:moveTo>
                  <a:lnTo>
                    <a:pt x="7" y="0"/>
                  </a:lnTo>
                  <a:lnTo>
                    <a:pt x="75" y="0"/>
                  </a:lnTo>
                  <a:lnTo>
                    <a:pt x="83" y="369"/>
                  </a:lnTo>
                  <a:lnTo>
                    <a:pt x="0" y="3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2" name="Freeform 476"/>
            <p:cNvSpPr>
              <a:spLocks/>
            </p:cNvSpPr>
            <p:nvPr/>
          </p:nvSpPr>
          <p:spPr bwMode="auto">
            <a:xfrm>
              <a:off x="428263" y="6062187"/>
              <a:ext cx="65088" cy="292100"/>
            </a:xfrm>
            <a:custGeom>
              <a:avLst/>
              <a:gdLst>
                <a:gd name="T0" fmla="*/ 0 w 83"/>
                <a:gd name="T1" fmla="*/ 369 h 369"/>
                <a:gd name="T2" fmla="*/ 8 w 83"/>
                <a:gd name="T3" fmla="*/ 0 h 369"/>
                <a:gd name="T4" fmla="*/ 75 w 83"/>
                <a:gd name="T5" fmla="*/ 0 h 369"/>
                <a:gd name="T6" fmla="*/ 83 w 83"/>
                <a:gd name="T7" fmla="*/ 369 h 369"/>
                <a:gd name="T8" fmla="*/ 0 w 83"/>
                <a:gd name="T9" fmla="*/ 369 h 369"/>
              </a:gdLst>
              <a:ahLst/>
              <a:cxnLst>
                <a:cxn ang="0">
                  <a:pos x="T0" y="T1"/>
                </a:cxn>
                <a:cxn ang="0">
                  <a:pos x="T2" y="T3"/>
                </a:cxn>
                <a:cxn ang="0">
                  <a:pos x="T4" y="T5"/>
                </a:cxn>
                <a:cxn ang="0">
                  <a:pos x="T6" y="T7"/>
                </a:cxn>
                <a:cxn ang="0">
                  <a:pos x="T8" y="T9"/>
                </a:cxn>
              </a:cxnLst>
              <a:rect l="0" t="0" r="r" b="b"/>
              <a:pathLst>
                <a:path w="83" h="369">
                  <a:moveTo>
                    <a:pt x="0" y="369"/>
                  </a:moveTo>
                  <a:lnTo>
                    <a:pt x="8" y="0"/>
                  </a:lnTo>
                  <a:lnTo>
                    <a:pt x="75" y="0"/>
                  </a:lnTo>
                  <a:lnTo>
                    <a:pt x="83" y="369"/>
                  </a:lnTo>
                  <a:lnTo>
                    <a:pt x="0" y="3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3" name="Freeform 477"/>
            <p:cNvSpPr>
              <a:spLocks/>
            </p:cNvSpPr>
            <p:nvPr/>
          </p:nvSpPr>
          <p:spPr bwMode="auto">
            <a:xfrm>
              <a:off x="556850" y="6062187"/>
              <a:ext cx="66675" cy="292100"/>
            </a:xfrm>
            <a:custGeom>
              <a:avLst/>
              <a:gdLst>
                <a:gd name="T0" fmla="*/ 0 w 83"/>
                <a:gd name="T1" fmla="*/ 369 h 369"/>
                <a:gd name="T2" fmla="*/ 8 w 83"/>
                <a:gd name="T3" fmla="*/ 0 h 369"/>
                <a:gd name="T4" fmla="*/ 76 w 83"/>
                <a:gd name="T5" fmla="*/ 0 h 369"/>
                <a:gd name="T6" fmla="*/ 83 w 83"/>
                <a:gd name="T7" fmla="*/ 369 h 369"/>
                <a:gd name="T8" fmla="*/ 0 w 83"/>
                <a:gd name="T9" fmla="*/ 369 h 369"/>
              </a:gdLst>
              <a:ahLst/>
              <a:cxnLst>
                <a:cxn ang="0">
                  <a:pos x="T0" y="T1"/>
                </a:cxn>
                <a:cxn ang="0">
                  <a:pos x="T2" y="T3"/>
                </a:cxn>
                <a:cxn ang="0">
                  <a:pos x="T4" y="T5"/>
                </a:cxn>
                <a:cxn ang="0">
                  <a:pos x="T6" y="T7"/>
                </a:cxn>
                <a:cxn ang="0">
                  <a:pos x="T8" y="T9"/>
                </a:cxn>
              </a:cxnLst>
              <a:rect l="0" t="0" r="r" b="b"/>
              <a:pathLst>
                <a:path w="83" h="369">
                  <a:moveTo>
                    <a:pt x="0" y="369"/>
                  </a:moveTo>
                  <a:lnTo>
                    <a:pt x="8" y="0"/>
                  </a:lnTo>
                  <a:lnTo>
                    <a:pt x="76" y="0"/>
                  </a:lnTo>
                  <a:lnTo>
                    <a:pt x="83" y="369"/>
                  </a:lnTo>
                  <a:lnTo>
                    <a:pt x="0" y="3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4" name="Freeform 478"/>
            <p:cNvSpPr>
              <a:spLocks/>
            </p:cNvSpPr>
            <p:nvPr/>
          </p:nvSpPr>
          <p:spPr bwMode="auto">
            <a:xfrm>
              <a:off x="687025" y="6062187"/>
              <a:ext cx="65088" cy="292100"/>
            </a:xfrm>
            <a:custGeom>
              <a:avLst/>
              <a:gdLst>
                <a:gd name="T0" fmla="*/ 0 w 82"/>
                <a:gd name="T1" fmla="*/ 369 h 369"/>
                <a:gd name="T2" fmla="*/ 7 w 82"/>
                <a:gd name="T3" fmla="*/ 0 h 369"/>
                <a:gd name="T4" fmla="*/ 74 w 82"/>
                <a:gd name="T5" fmla="*/ 0 h 369"/>
                <a:gd name="T6" fmla="*/ 82 w 82"/>
                <a:gd name="T7" fmla="*/ 369 h 369"/>
                <a:gd name="T8" fmla="*/ 0 w 82"/>
                <a:gd name="T9" fmla="*/ 369 h 369"/>
              </a:gdLst>
              <a:ahLst/>
              <a:cxnLst>
                <a:cxn ang="0">
                  <a:pos x="T0" y="T1"/>
                </a:cxn>
                <a:cxn ang="0">
                  <a:pos x="T2" y="T3"/>
                </a:cxn>
                <a:cxn ang="0">
                  <a:pos x="T4" y="T5"/>
                </a:cxn>
                <a:cxn ang="0">
                  <a:pos x="T6" y="T7"/>
                </a:cxn>
                <a:cxn ang="0">
                  <a:pos x="T8" y="T9"/>
                </a:cxn>
              </a:cxnLst>
              <a:rect l="0" t="0" r="r" b="b"/>
              <a:pathLst>
                <a:path w="82" h="369">
                  <a:moveTo>
                    <a:pt x="0" y="369"/>
                  </a:moveTo>
                  <a:lnTo>
                    <a:pt x="7" y="0"/>
                  </a:lnTo>
                  <a:lnTo>
                    <a:pt x="74" y="0"/>
                  </a:lnTo>
                  <a:lnTo>
                    <a:pt x="82" y="369"/>
                  </a:lnTo>
                  <a:lnTo>
                    <a:pt x="0" y="3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5" name="Freeform 479"/>
            <p:cNvSpPr>
              <a:spLocks/>
            </p:cNvSpPr>
            <p:nvPr/>
          </p:nvSpPr>
          <p:spPr bwMode="auto">
            <a:xfrm>
              <a:off x="223475" y="5832000"/>
              <a:ext cx="601663" cy="166688"/>
            </a:xfrm>
            <a:custGeom>
              <a:avLst/>
              <a:gdLst>
                <a:gd name="T0" fmla="*/ 0 w 759"/>
                <a:gd name="T1" fmla="*/ 209 h 211"/>
                <a:gd name="T2" fmla="*/ 0 w 759"/>
                <a:gd name="T3" fmla="*/ 179 h 211"/>
                <a:gd name="T4" fmla="*/ 381 w 759"/>
                <a:gd name="T5" fmla="*/ 0 h 211"/>
                <a:gd name="T6" fmla="*/ 759 w 759"/>
                <a:gd name="T7" fmla="*/ 182 h 211"/>
                <a:gd name="T8" fmla="*/ 759 w 759"/>
                <a:gd name="T9" fmla="*/ 211 h 211"/>
                <a:gd name="T10" fmla="*/ 0 w 759"/>
                <a:gd name="T11" fmla="*/ 209 h 211"/>
              </a:gdLst>
              <a:ahLst/>
              <a:cxnLst>
                <a:cxn ang="0">
                  <a:pos x="T0" y="T1"/>
                </a:cxn>
                <a:cxn ang="0">
                  <a:pos x="T2" y="T3"/>
                </a:cxn>
                <a:cxn ang="0">
                  <a:pos x="T4" y="T5"/>
                </a:cxn>
                <a:cxn ang="0">
                  <a:pos x="T6" y="T7"/>
                </a:cxn>
                <a:cxn ang="0">
                  <a:pos x="T8" y="T9"/>
                </a:cxn>
                <a:cxn ang="0">
                  <a:pos x="T10" y="T11"/>
                </a:cxn>
              </a:cxnLst>
              <a:rect l="0" t="0" r="r" b="b"/>
              <a:pathLst>
                <a:path w="759" h="211">
                  <a:moveTo>
                    <a:pt x="0" y="209"/>
                  </a:moveTo>
                  <a:lnTo>
                    <a:pt x="0" y="179"/>
                  </a:lnTo>
                  <a:lnTo>
                    <a:pt x="381" y="0"/>
                  </a:lnTo>
                  <a:lnTo>
                    <a:pt x="759" y="182"/>
                  </a:lnTo>
                  <a:lnTo>
                    <a:pt x="759" y="211"/>
                  </a:lnTo>
                  <a:lnTo>
                    <a:pt x="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08" name="Freeform 19"/>
          <p:cNvSpPr>
            <a:spLocks/>
          </p:cNvSpPr>
          <p:nvPr/>
        </p:nvSpPr>
        <p:spPr bwMode="auto">
          <a:xfrm>
            <a:off x="6854832" y="6798339"/>
            <a:ext cx="1109877" cy="147533"/>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 name="connsiteX0" fmla="*/ 0 w 10545"/>
              <a:gd name="connsiteY0" fmla="*/ 6612 h 6612"/>
              <a:gd name="connsiteX1" fmla="*/ 0 w 10545"/>
              <a:gd name="connsiteY1" fmla="*/ 6612 h 6612"/>
              <a:gd name="connsiteX2" fmla="*/ 10000 w 10545"/>
              <a:gd name="connsiteY2" fmla="*/ 6612 h 6612"/>
              <a:gd name="connsiteX3" fmla="*/ 10545 w 10545"/>
              <a:gd name="connsiteY3" fmla="*/ 6455 h 6612"/>
              <a:gd name="connsiteX4" fmla="*/ 0 w 10545"/>
              <a:gd name="connsiteY4" fmla="*/ 6612 h 6612"/>
              <a:gd name="connsiteX0" fmla="*/ 0 w 10000"/>
              <a:gd name="connsiteY0" fmla="*/ 10000 h 10000"/>
              <a:gd name="connsiteX1" fmla="*/ 0 w 10000"/>
              <a:gd name="connsiteY1" fmla="*/ 10000 h 10000"/>
              <a:gd name="connsiteX2" fmla="*/ 10000 w 10000"/>
              <a:gd name="connsiteY2" fmla="*/ 9763 h 10000"/>
              <a:gd name="connsiteX3" fmla="*/ 0 w 10000"/>
              <a:gd name="connsiteY3" fmla="*/ 10000 h 10000"/>
              <a:gd name="connsiteX0" fmla="*/ 0 w 10043"/>
              <a:gd name="connsiteY0" fmla="*/ 9914 h 9914"/>
              <a:gd name="connsiteX1" fmla="*/ 0 w 10043"/>
              <a:gd name="connsiteY1" fmla="*/ 9914 h 9914"/>
              <a:gd name="connsiteX2" fmla="*/ 10043 w 10043"/>
              <a:gd name="connsiteY2" fmla="*/ 9858 h 9914"/>
              <a:gd name="connsiteX3" fmla="*/ 0 w 10043"/>
              <a:gd name="connsiteY3" fmla="*/ 9914 h 9914"/>
            </a:gdLst>
            <a:ahLst/>
            <a:cxnLst>
              <a:cxn ang="0">
                <a:pos x="connsiteX0" y="connsiteY0"/>
              </a:cxn>
              <a:cxn ang="0">
                <a:pos x="connsiteX1" y="connsiteY1"/>
              </a:cxn>
              <a:cxn ang="0">
                <a:pos x="connsiteX2" y="connsiteY2"/>
              </a:cxn>
              <a:cxn ang="0">
                <a:pos x="connsiteX3" y="connsiteY3"/>
              </a:cxn>
            </a:cxnLst>
            <a:rect l="l" t="t" r="r" b="b"/>
            <a:pathLst>
              <a:path w="10043" h="9914">
                <a:moveTo>
                  <a:pt x="0" y="9914"/>
                </a:moveTo>
                <a:lnTo>
                  <a:pt x="0" y="9914"/>
                </a:lnTo>
                <a:lnTo>
                  <a:pt x="10043" y="9858"/>
                </a:lnTo>
                <a:cubicBezTo>
                  <a:pt x="7244" y="-2313"/>
                  <a:pt x="2593" y="-4242"/>
                  <a:pt x="0" y="9914"/>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9" name="Freeform 30"/>
          <p:cNvSpPr>
            <a:spLocks/>
          </p:cNvSpPr>
          <p:nvPr/>
        </p:nvSpPr>
        <p:spPr bwMode="auto">
          <a:xfrm>
            <a:off x="7254211" y="6846622"/>
            <a:ext cx="573929" cy="99245"/>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0" name="Rectangle 21"/>
          <p:cNvSpPr/>
          <p:nvPr userDrawn="1"/>
        </p:nvSpPr>
        <p:spPr>
          <a:xfrm>
            <a:off x="5206361" y="6323415"/>
            <a:ext cx="561168" cy="61957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5" tIns="91415" rIns="91415" bIns="91415" numCol="1" spcCol="0" rtlCol="0" fromWordArt="0" anchor="b" anchorCtr="0" forceAA="0" compatLnSpc="1">
            <a:prstTxWarp prst="textNoShape">
              <a:avLst/>
            </a:prstTxWarp>
            <a:noAutofit/>
          </a:bodyPr>
          <a:lstStyle/>
          <a:p>
            <a:pPr marL="0" marR="0" lvl="0" indent="0" algn="r" defTabSz="932361" rtl="0" eaLnBrk="1" fontAlgn="auto" latinLnBrk="0" hangingPunct="1">
              <a:lnSpc>
                <a:spcPct val="100000"/>
              </a:lnSpc>
              <a:spcBef>
                <a:spcPts val="0"/>
              </a:spcBef>
              <a:spcAft>
                <a:spcPts val="0"/>
              </a:spcAft>
              <a:buClrTx/>
              <a:buSzTx/>
              <a:buFontTx/>
              <a:buNone/>
              <a:tabLst/>
              <a:defRPr/>
            </a:pPr>
            <a:endParaRPr kumimoji="0" lang="en-US" sz="1198" b="0" i="0" u="none" strike="noStrike" kern="1200" cap="none" spc="0" normalizeH="0" baseline="0" noProof="0" dirty="0">
              <a:ln>
                <a:noFill/>
              </a:ln>
              <a:solidFill>
                <a:srgbClr val="FFFFFF"/>
              </a:solidFill>
              <a:effectLst/>
              <a:uLnTx/>
              <a:uFillTx/>
              <a:latin typeface="Segoe UI"/>
              <a:ea typeface="+mn-ea"/>
              <a:cs typeface="+mn-cs"/>
            </a:endParaRPr>
          </a:p>
        </p:txBody>
      </p:sp>
      <p:sp>
        <p:nvSpPr>
          <p:cNvPr id="216" name="Freeform 6"/>
          <p:cNvSpPr>
            <a:spLocks/>
          </p:cNvSpPr>
          <p:nvPr userDrawn="1"/>
        </p:nvSpPr>
        <p:spPr bwMode="auto">
          <a:xfrm>
            <a:off x="5758140" y="6492012"/>
            <a:ext cx="475067" cy="450977"/>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chemeClr val="bg1">
              <a:lumMod val="75000"/>
            </a:schemeClr>
          </a:solidFill>
          <a:ln>
            <a:noFill/>
          </a:ln>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217" name="Group 216"/>
          <p:cNvGrpSpPr/>
          <p:nvPr userDrawn="1"/>
        </p:nvGrpSpPr>
        <p:grpSpPr>
          <a:xfrm flipH="1">
            <a:off x="5050439" y="6680714"/>
            <a:ext cx="136156" cy="263409"/>
            <a:chOff x="6812419" y="6555317"/>
            <a:chExt cx="203193" cy="393100"/>
          </a:xfrm>
        </p:grpSpPr>
        <p:sp>
          <p:nvSpPr>
            <p:cNvPr id="218" name="Rectangle 217"/>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9" name="Oval 218"/>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0" name="Oval 219"/>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21" name="Group 220"/>
          <p:cNvGrpSpPr/>
          <p:nvPr userDrawn="1"/>
        </p:nvGrpSpPr>
        <p:grpSpPr>
          <a:xfrm flipH="1">
            <a:off x="7961168" y="6770423"/>
            <a:ext cx="91837" cy="177668"/>
            <a:chOff x="6812419" y="6555317"/>
            <a:chExt cx="203193" cy="393100"/>
          </a:xfrm>
        </p:grpSpPr>
        <p:sp>
          <p:nvSpPr>
            <p:cNvPr id="222" name="Rectangle 221"/>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3" name="Oval 222"/>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4" name="Oval 223"/>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25" name="Group 224"/>
          <p:cNvGrpSpPr/>
          <p:nvPr userDrawn="1"/>
        </p:nvGrpSpPr>
        <p:grpSpPr>
          <a:xfrm flipH="1">
            <a:off x="11931321" y="6488214"/>
            <a:ext cx="91837" cy="177668"/>
            <a:chOff x="6812419" y="6555317"/>
            <a:chExt cx="203193" cy="393100"/>
          </a:xfrm>
        </p:grpSpPr>
        <p:sp>
          <p:nvSpPr>
            <p:cNvPr id="226" name="Rectangle 225"/>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7" name="Oval 226"/>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8" name="Oval 227"/>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79213334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3_36pt Title Only">
    <p:spTree>
      <p:nvGrpSpPr>
        <p:cNvPr id="1" name=""/>
        <p:cNvGrpSpPr/>
        <p:nvPr/>
      </p:nvGrpSpPr>
      <p:grpSpPr>
        <a:xfrm>
          <a:off x="0" y="0"/>
          <a:ext cx="0" cy="0"/>
          <a:chOff x="0" y="0"/>
          <a:chExt cx="0" cy="0"/>
        </a:xfrm>
      </p:grpSpPr>
      <p:grpSp>
        <p:nvGrpSpPr>
          <p:cNvPr id="30" name="Group 29"/>
          <p:cNvGrpSpPr/>
          <p:nvPr userDrawn="1"/>
        </p:nvGrpSpPr>
        <p:grpSpPr>
          <a:xfrm>
            <a:off x="1" y="5734730"/>
            <a:ext cx="12416881" cy="1259799"/>
            <a:chOff x="0" y="5734726"/>
            <a:chExt cx="12416880" cy="1259799"/>
          </a:xfrm>
        </p:grpSpPr>
        <p:sp>
          <p:nvSpPr>
            <p:cNvPr id="31"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39"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1" b="0" i="0" u="none" strike="noStrike" kern="1200" cap="none" spc="0" normalizeH="0" baseline="0" noProof="0">
                  <a:ln>
                    <a:noFill/>
                  </a:ln>
                  <a:solidFill>
                    <a:srgbClr val="505050"/>
                  </a:solidFill>
                  <a:effectLst/>
                  <a:uLnTx/>
                  <a:uFillTx/>
                  <a:latin typeface="Segoe UI"/>
                  <a:ea typeface="+mn-ea"/>
                  <a:cs typeface="+mn-cs"/>
                </a:rPr>
                <a:pPr marL="0" marR="0" lvl="0" indent="0" algn="r" defTabSz="932539" rtl="0" eaLnBrk="1" fontAlgn="auto" latinLnBrk="0" hangingPunct="1">
                  <a:lnSpc>
                    <a:spcPct val="100000"/>
                  </a:lnSpc>
                  <a:spcBef>
                    <a:spcPts val="0"/>
                  </a:spcBef>
                  <a:spcAft>
                    <a:spcPts val="0"/>
                  </a:spcAft>
                  <a:buClrTx/>
                  <a:buSzTx/>
                  <a:buFontTx/>
                  <a:buNone/>
                  <a:tabLst/>
                  <a:defRPr/>
                </a:pPr>
                <a:t>‹#›</a:t>
              </a:fld>
              <a:endParaRPr kumimoji="0" lang="en-US" sz="901"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42" name="Group 41"/>
            <p:cNvGrpSpPr/>
            <p:nvPr/>
          </p:nvGrpSpPr>
          <p:grpSpPr>
            <a:xfrm flipH="1">
              <a:off x="113339" y="6000383"/>
              <a:ext cx="904197" cy="802578"/>
              <a:chOff x="9582683" y="5173179"/>
              <a:chExt cx="2324421" cy="1861424"/>
            </a:xfrm>
          </p:grpSpPr>
          <p:sp>
            <p:nvSpPr>
              <p:cNvPr id="45" name="Freeform 44"/>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 name="Freeform 45"/>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Freeform 46"/>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Rectangle 47"/>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Rectangle 48"/>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Rectangle 49"/>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1" name="Rectangle 50"/>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Rectangle 51"/>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3" name="Rectangle 52"/>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4" name="Rectangle 53"/>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5" name="Rectangle 54"/>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6" name="Rectangle 55"/>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7" name="Rectangle 56"/>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3"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813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pPr>
              <a:defRPr/>
            </a:pPr>
            <a:r>
              <a:rPr lang="en-US">
                <a:solidFill>
                  <a:srgbClr val="FFFFFF"/>
                </a:solidFill>
              </a:rPr>
              <a:t>Microsoft confidential 2015</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539">
              <a:defRPr/>
            </a:pPr>
            <a:fld id="{27258FFF-F925-446B-8502-81C933981705}" type="slidenum">
              <a:rPr lang="en-US" smtClean="0">
                <a:solidFill>
                  <a:srgbClr val="505050"/>
                </a:solidFill>
              </a:rPr>
              <a:pPr defTabSz="932539">
                <a:defRPr/>
              </a:pPr>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17390649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4_36pt Title Only">
    <p:spTree>
      <p:nvGrpSpPr>
        <p:cNvPr id="1" name=""/>
        <p:cNvGrpSpPr/>
        <p:nvPr/>
      </p:nvGrpSpPr>
      <p:grpSpPr>
        <a:xfrm>
          <a:off x="0" y="0"/>
          <a:ext cx="0" cy="0"/>
          <a:chOff x="0" y="0"/>
          <a:chExt cx="0" cy="0"/>
        </a:xfrm>
      </p:grpSpPr>
      <p:sp>
        <p:nvSpPr>
          <p:cNvPr id="43" name="Freeform 70"/>
          <p:cNvSpPr>
            <a:spLocks/>
          </p:cNvSpPr>
          <p:nvPr/>
        </p:nvSpPr>
        <p:spPr bwMode="auto">
          <a:xfrm flipH="1">
            <a:off x="1706566"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 name="Freeform 70"/>
          <p:cNvSpPr>
            <a:spLocks/>
          </p:cNvSpPr>
          <p:nvPr userDrawn="1"/>
        </p:nvSpPr>
        <p:spPr bwMode="auto">
          <a:xfrm flipH="1">
            <a:off x="3270233" y="6966096"/>
            <a:ext cx="7644111" cy="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 name="connsiteX0" fmla="*/ 6186 w 10000"/>
              <a:gd name="connsiteY0" fmla="*/ 431 h 8846"/>
              <a:gd name="connsiteX1" fmla="*/ 0 w 10000"/>
              <a:gd name="connsiteY1" fmla="*/ 8846 h 8846"/>
              <a:gd name="connsiteX2" fmla="*/ 3533 w 10000"/>
              <a:gd name="connsiteY2" fmla="*/ 8846 h 8846"/>
              <a:gd name="connsiteX3" fmla="*/ 10000 w 10000"/>
              <a:gd name="connsiteY3" fmla="*/ 8846 h 8846"/>
              <a:gd name="connsiteX4" fmla="*/ 6186 w 10000"/>
              <a:gd name="connsiteY4" fmla="*/ 431 h 8846"/>
              <a:gd name="connsiteX0" fmla="*/ 10000 w 10000"/>
              <a:gd name="connsiteY0" fmla="*/ 0 h 0"/>
              <a:gd name="connsiteX1" fmla="*/ 0 w 10000"/>
              <a:gd name="connsiteY1" fmla="*/ 0 h 0"/>
              <a:gd name="connsiteX2" fmla="*/ 3533 w 10000"/>
              <a:gd name="connsiteY2" fmla="*/ 0 h 0"/>
              <a:gd name="connsiteX3" fmla="*/ 10000 w 10000"/>
              <a:gd name="connsiteY3" fmla="*/ 0 h 0"/>
              <a:gd name="connsiteX0" fmla="*/ 10000 w 10000"/>
              <a:gd name="connsiteY0" fmla="*/ 0 h 0"/>
              <a:gd name="connsiteX1" fmla="*/ 0 w 10000"/>
              <a:gd name="connsiteY1" fmla="*/ 0 h 0"/>
              <a:gd name="connsiteX2" fmla="*/ 3533 w 10000"/>
              <a:gd name="connsiteY2" fmla="*/ 0 h 0"/>
              <a:gd name="connsiteX3" fmla="*/ 10000 w 10000"/>
              <a:gd name="connsiteY3" fmla="*/ 0 h 0"/>
            </a:gdLst>
            <a:ahLst/>
            <a:cxnLst>
              <a:cxn ang="0">
                <a:pos x="connsiteX0" y="connsiteY0"/>
              </a:cxn>
              <a:cxn ang="0">
                <a:pos x="connsiteX1" y="connsiteY1"/>
              </a:cxn>
              <a:cxn ang="0">
                <a:pos x="connsiteX2" y="connsiteY2"/>
              </a:cxn>
              <a:cxn ang="0">
                <a:pos x="connsiteX3" y="connsiteY3"/>
              </a:cxn>
            </a:cxnLst>
            <a:rect l="l" t="t" r="r" b="b"/>
            <a:pathLst>
              <a:path w="10000">
                <a:moveTo>
                  <a:pt x="10000" y="0"/>
                </a:moveTo>
                <a:lnTo>
                  <a:pt x="0" y="0"/>
                </a:lnTo>
                <a:lnTo>
                  <a:pt x="3533" y="0"/>
                </a:lnTo>
                <a:cubicBezTo>
                  <a:pt x="5689" y="0"/>
                  <a:pt x="7782" y="-504825"/>
                  <a:pt x="1000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45"/>
          <p:cNvSpPr>
            <a:spLocks/>
          </p:cNvSpPr>
          <p:nvPr/>
        </p:nvSpPr>
        <p:spPr bwMode="auto">
          <a:xfrm flipH="1">
            <a:off x="439748" y="5758424"/>
            <a:ext cx="318117" cy="208657"/>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 name="Freeform 44"/>
          <p:cNvSpPr>
            <a:spLocks/>
          </p:cNvSpPr>
          <p:nvPr/>
        </p:nvSpPr>
        <p:spPr bwMode="auto">
          <a:xfrm flipH="1">
            <a:off x="1767996" y="6099180"/>
            <a:ext cx="343500" cy="225007"/>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 name="Freeform 45"/>
          <p:cNvSpPr>
            <a:spLocks/>
          </p:cNvSpPr>
          <p:nvPr/>
        </p:nvSpPr>
        <p:spPr bwMode="auto">
          <a:xfrm flipH="1">
            <a:off x="12119821" y="6470976"/>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 name="Freeform 46"/>
          <p:cNvSpPr>
            <a:spLocks/>
          </p:cNvSpPr>
          <p:nvPr/>
        </p:nvSpPr>
        <p:spPr bwMode="auto">
          <a:xfrm flipH="1">
            <a:off x="20446" y="5580626"/>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Slide Number Placeholder 24"/>
          <p:cNvSpPr txBox="1">
            <a:spLocks/>
          </p:cNvSpPr>
          <p:nvPr/>
        </p:nvSpPr>
        <p:spPr>
          <a:xfrm flipH="1">
            <a:off x="274640" y="6565394"/>
            <a:ext cx="566737" cy="137160"/>
          </a:xfrm>
          <a:prstGeom prst="rect">
            <a:avLst/>
          </a:prstGeom>
        </p:spPr>
        <p:txBody>
          <a:bodyPr vert="horz" lIns="91415"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39"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1" b="0" i="0" u="none" strike="noStrike" kern="1200" cap="none" spc="0" normalizeH="0" baseline="0" noProof="0">
                <a:ln>
                  <a:noFill/>
                </a:ln>
                <a:solidFill>
                  <a:srgbClr val="505050"/>
                </a:solidFill>
                <a:effectLst/>
                <a:uLnTx/>
                <a:uFillTx/>
                <a:latin typeface="Segoe UI"/>
                <a:ea typeface="+mn-ea"/>
                <a:cs typeface="+mn-cs"/>
              </a:rPr>
              <a:pPr marL="0" marR="0" lvl="0" indent="0" algn="r" defTabSz="932539" rtl="0" eaLnBrk="1" fontAlgn="auto" latinLnBrk="0" hangingPunct="1">
                <a:lnSpc>
                  <a:spcPct val="100000"/>
                </a:lnSpc>
                <a:spcBef>
                  <a:spcPts val="0"/>
                </a:spcBef>
                <a:spcAft>
                  <a:spcPts val="0"/>
                </a:spcAft>
                <a:buClrTx/>
                <a:buSzTx/>
                <a:buFontTx/>
                <a:buNone/>
                <a:tabLst/>
                <a:defRPr/>
              </a:pPr>
              <a:t>‹#›</a:t>
            </a:fld>
            <a:endParaRPr kumimoji="0" lang="en-US" sz="901"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 name="Group 1"/>
          <p:cNvGrpSpPr/>
          <p:nvPr userDrawn="1"/>
        </p:nvGrpSpPr>
        <p:grpSpPr>
          <a:xfrm>
            <a:off x="-6309" y="6408906"/>
            <a:ext cx="2127279" cy="536136"/>
            <a:chOff x="-6310" y="6438746"/>
            <a:chExt cx="1905074" cy="480134"/>
          </a:xfrm>
        </p:grpSpPr>
        <p:sp>
          <p:nvSpPr>
            <p:cNvPr id="37" name="Freeform 71"/>
            <p:cNvSpPr>
              <a:spLocks/>
            </p:cNvSpPr>
            <p:nvPr/>
          </p:nvSpPr>
          <p:spPr bwMode="auto">
            <a:xfrm flipH="1">
              <a:off x="-6310" y="6438746"/>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79"/>
            <p:cNvSpPr>
              <a:spLocks/>
            </p:cNvSpPr>
            <p:nvPr/>
          </p:nvSpPr>
          <p:spPr bwMode="auto">
            <a:xfrm flipH="1">
              <a:off x="37164" y="6670621"/>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42" name="Group 41"/>
          <p:cNvGrpSpPr/>
          <p:nvPr/>
        </p:nvGrpSpPr>
        <p:grpSpPr>
          <a:xfrm flipH="1">
            <a:off x="2089788" y="6128799"/>
            <a:ext cx="904198" cy="802578"/>
            <a:chOff x="9582683" y="5173179"/>
            <a:chExt cx="2324421" cy="1861424"/>
          </a:xfrm>
        </p:grpSpPr>
        <p:sp>
          <p:nvSpPr>
            <p:cNvPr id="45" name="Freeform 44"/>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 name="Freeform 45"/>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Freeform 46"/>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Rectangle 47"/>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Rectangle 48"/>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Rectangle 49"/>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1" name="Rectangle 50"/>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Rectangle 51"/>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3" name="Rectangle 52"/>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4" name="Rectangle 53"/>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5" name="Rectangle 54"/>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6" name="Rectangle 55"/>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7" name="Rectangle 56"/>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4" name="Rectangle 111791"/>
          <p:cNvSpPr/>
          <p:nvPr/>
        </p:nvSpPr>
        <p:spPr bwMode="auto">
          <a:xfrm flipH="1">
            <a:off x="-9524" y="6919916"/>
            <a:ext cx="12426405" cy="74613"/>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26405"/>
              <a:gd name="connsiteY0" fmla="*/ 74613 h 74613"/>
              <a:gd name="connsiteX1" fmla="*/ 12426405 w 12426405"/>
              <a:gd name="connsiteY1" fmla="*/ 0 h 74613"/>
              <a:gd name="connsiteX2" fmla="*/ 12416880 w 12426405"/>
              <a:gd name="connsiteY2" fmla="*/ 74613 h 74613"/>
              <a:gd name="connsiteX3" fmla="*/ 0 w 12426405"/>
              <a:gd name="connsiteY3" fmla="*/ 74613 h 74613"/>
            </a:gdLst>
            <a:ahLst/>
            <a:cxnLst>
              <a:cxn ang="0">
                <a:pos x="connsiteX0" y="connsiteY0"/>
              </a:cxn>
              <a:cxn ang="0">
                <a:pos x="connsiteX1" y="connsiteY1"/>
              </a:cxn>
              <a:cxn ang="0">
                <a:pos x="connsiteX2" y="connsiteY2"/>
              </a:cxn>
              <a:cxn ang="0">
                <a:pos x="connsiteX3" y="connsiteY3"/>
              </a:cxn>
            </a:cxnLst>
            <a:rect l="l" t="t" r="r" b="b"/>
            <a:pathLst>
              <a:path w="12426405" h="74613">
                <a:moveTo>
                  <a:pt x="0" y="74613"/>
                </a:moveTo>
                <a:lnTo>
                  <a:pt x="12426405" y="0"/>
                </a:lnTo>
                <a:lnTo>
                  <a:pt x="12416880" y="74613"/>
                </a:lnTo>
                <a:lnTo>
                  <a:pt x="0" y="74613"/>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915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lvl1pPr>
              <a:defRPr>
                <a:solidFill>
                  <a:schemeClr val="bg1"/>
                </a:solidFill>
              </a:defRPr>
            </a:lvl1pPr>
          </a:lstStyle>
          <a:p>
            <a:pPr>
              <a:defRPr/>
            </a:pPr>
            <a:r>
              <a:rPr lang="en-US">
                <a:solidFill>
                  <a:srgbClr val="FFFFFF"/>
                </a:solidFill>
              </a:rPr>
              <a:t>Microsoft confidential 2015</a:t>
            </a:r>
            <a:endParaRPr lang="en-US" dirty="0">
              <a:solidFill>
                <a:srgbClr val="FFFFFF"/>
              </a:solidFill>
            </a:endParaRPr>
          </a:p>
        </p:txBody>
      </p:sp>
      <p:sp>
        <p:nvSpPr>
          <p:cNvPr id="4" name="Slide Number Placeholder 3"/>
          <p:cNvSpPr>
            <a:spLocks noGrp="1"/>
          </p:cNvSpPr>
          <p:nvPr userDrawn="1">
            <p:ph type="sldNum" sz="quarter" idx="11"/>
          </p:nvPr>
        </p:nvSpPr>
        <p:spPr/>
        <p:txBody>
          <a:bodyPr/>
          <a:lstStyle>
            <a:lvl1pPr>
              <a:defRPr>
                <a:solidFill>
                  <a:schemeClr val="tx2"/>
                </a:solidFill>
              </a:defRPr>
            </a:lvl1pPr>
          </a:lstStyle>
          <a:p>
            <a:pPr defTabSz="932539">
              <a:defRPr/>
            </a:pPr>
            <a:fld id="{27258FFF-F925-446B-8502-81C933981705}" type="slidenum">
              <a:rPr lang="en-US" smtClean="0">
                <a:solidFill>
                  <a:srgbClr val="505050"/>
                </a:solidFill>
              </a:rPr>
              <a:pPr defTabSz="932539">
                <a:defRPr/>
              </a:pPr>
              <a:t>‹#›</a:t>
            </a:fld>
            <a:endParaRPr lang="en-US" dirty="0">
              <a:solidFill>
                <a:srgbClr val="505050"/>
              </a:solidFill>
            </a:endParaRPr>
          </a:p>
        </p:txBody>
      </p:sp>
      <p:sp>
        <p:nvSpPr>
          <p:cNvPr id="7" name="Title 1"/>
          <p:cNvSpPr>
            <a:spLocks noGrp="1"/>
          </p:cNvSpPr>
          <p:nvPr userDrawn="1">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grpSp>
        <p:nvGrpSpPr>
          <p:cNvPr id="8" name="Group 7"/>
          <p:cNvGrpSpPr/>
          <p:nvPr userDrawn="1"/>
        </p:nvGrpSpPr>
        <p:grpSpPr>
          <a:xfrm>
            <a:off x="693940" y="5955851"/>
            <a:ext cx="608505" cy="506419"/>
            <a:chOff x="693937" y="5955851"/>
            <a:chExt cx="608505" cy="506419"/>
          </a:xfrm>
        </p:grpSpPr>
        <p:sp>
          <p:nvSpPr>
            <p:cNvPr id="6" name="Rectangle 5"/>
            <p:cNvSpPr/>
            <p:nvPr userDrawn="1"/>
          </p:nvSpPr>
          <p:spPr bwMode="auto">
            <a:xfrm>
              <a:off x="712363" y="6416551"/>
              <a:ext cx="577350" cy="457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 name="Group 38"/>
            <p:cNvGrpSpPr/>
            <p:nvPr userDrawn="1"/>
          </p:nvGrpSpPr>
          <p:grpSpPr>
            <a:xfrm>
              <a:off x="693937" y="5955851"/>
              <a:ext cx="608505" cy="506419"/>
              <a:chOff x="2516036" y="750886"/>
              <a:chExt cx="6270776" cy="4954187"/>
            </a:xfrm>
            <a:solidFill>
              <a:schemeClr val="accent1"/>
            </a:solidFill>
          </p:grpSpPr>
          <p:sp>
            <p:nvSpPr>
              <p:cNvPr id="40" name="Freeform 39"/>
              <p:cNvSpPr/>
              <p:nvPr/>
            </p:nvSpPr>
            <p:spPr>
              <a:xfrm>
                <a:off x="2516036" y="1858960"/>
                <a:ext cx="6270776" cy="3846113"/>
              </a:xfrm>
              <a:custGeom>
                <a:avLst/>
                <a:gdLst>
                  <a:gd name="connsiteX0" fmla="*/ 0 w 6270776"/>
                  <a:gd name="connsiteY0" fmla="*/ 3689346 h 3846113"/>
                  <a:gd name="connsiteX1" fmla="*/ 6270776 w 6270776"/>
                  <a:gd name="connsiteY1" fmla="*/ 3689346 h 3846113"/>
                  <a:gd name="connsiteX2" fmla="*/ 6270776 w 6270776"/>
                  <a:gd name="connsiteY2" fmla="*/ 3846113 h 3846113"/>
                  <a:gd name="connsiteX3" fmla="*/ 0 w 6270776"/>
                  <a:gd name="connsiteY3" fmla="*/ 3846113 h 3846113"/>
                  <a:gd name="connsiteX4" fmla="*/ 157163 w 6270776"/>
                  <a:gd name="connsiteY4" fmla="*/ 3518784 h 3846113"/>
                  <a:gd name="connsiteX5" fmla="*/ 6113613 w 6270776"/>
                  <a:gd name="connsiteY5" fmla="*/ 3518784 h 3846113"/>
                  <a:gd name="connsiteX6" fmla="*/ 6113613 w 6270776"/>
                  <a:gd name="connsiteY6" fmla="*/ 3656013 h 3846113"/>
                  <a:gd name="connsiteX7" fmla="*/ 157163 w 6270776"/>
                  <a:gd name="connsiteY7" fmla="*/ 3656013 h 3846113"/>
                  <a:gd name="connsiteX8" fmla="*/ 5037213 w 6270776"/>
                  <a:gd name="connsiteY8" fmla="*/ 1690690 h 3846113"/>
                  <a:gd name="connsiteX9" fmla="*/ 5037213 w 6270776"/>
                  <a:gd name="connsiteY9" fmla="*/ 2382840 h 3846113"/>
                  <a:gd name="connsiteX10" fmla="*/ 5615063 w 6270776"/>
                  <a:gd name="connsiteY10" fmla="*/ 2382840 h 3846113"/>
                  <a:gd name="connsiteX11" fmla="*/ 5615063 w 6270776"/>
                  <a:gd name="connsiteY11" fmla="*/ 1690690 h 3846113"/>
                  <a:gd name="connsiteX12" fmla="*/ 4351413 w 6270776"/>
                  <a:gd name="connsiteY12" fmla="*/ 1690690 h 3846113"/>
                  <a:gd name="connsiteX13" fmla="*/ 4351413 w 6270776"/>
                  <a:gd name="connsiteY13" fmla="*/ 2382840 h 3846113"/>
                  <a:gd name="connsiteX14" fmla="*/ 4929263 w 6270776"/>
                  <a:gd name="connsiteY14" fmla="*/ 2382840 h 3846113"/>
                  <a:gd name="connsiteX15" fmla="*/ 4929263 w 6270776"/>
                  <a:gd name="connsiteY15" fmla="*/ 1690690 h 3846113"/>
                  <a:gd name="connsiteX16" fmla="*/ 1341513 w 6270776"/>
                  <a:gd name="connsiteY16" fmla="*/ 1690690 h 3846113"/>
                  <a:gd name="connsiteX17" fmla="*/ 1341513 w 6270776"/>
                  <a:gd name="connsiteY17" fmla="*/ 2382840 h 3846113"/>
                  <a:gd name="connsiteX18" fmla="*/ 1919363 w 6270776"/>
                  <a:gd name="connsiteY18" fmla="*/ 2382840 h 3846113"/>
                  <a:gd name="connsiteX19" fmla="*/ 1919363 w 6270776"/>
                  <a:gd name="connsiteY19" fmla="*/ 1690690 h 3846113"/>
                  <a:gd name="connsiteX20" fmla="*/ 655713 w 6270776"/>
                  <a:gd name="connsiteY20" fmla="*/ 1690690 h 3846113"/>
                  <a:gd name="connsiteX21" fmla="*/ 655713 w 6270776"/>
                  <a:gd name="connsiteY21" fmla="*/ 2382840 h 3846113"/>
                  <a:gd name="connsiteX22" fmla="*/ 1233563 w 6270776"/>
                  <a:gd name="connsiteY22" fmla="*/ 2382840 h 3846113"/>
                  <a:gd name="connsiteX23" fmla="*/ 1233563 w 6270776"/>
                  <a:gd name="connsiteY23" fmla="*/ 1690690 h 3846113"/>
                  <a:gd name="connsiteX24" fmla="*/ 3464960 w 6270776"/>
                  <a:gd name="connsiteY24" fmla="*/ 1522415 h 3846113"/>
                  <a:gd name="connsiteX25" fmla="*/ 3464960 w 6270776"/>
                  <a:gd name="connsiteY25" fmla="*/ 2074865 h 3846113"/>
                  <a:gd name="connsiteX26" fmla="*/ 4005338 w 6270776"/>
                  <a:gd name="connsiteY26" fmla="*/ 2074865 h 3846113"/>
                  <a:gd name="connsiteX27" fmla="*/ 4005338 w 6270776"/>
                  <a:gd name="connsiteY27" fmla="*/ 1522415 h 3846113"/>
                  <a:gd name="connsiteX28" fmla="*/ 2865199 w 6270776"/>
                  <a:gd name="connsiteY28" fmla="*/ 1522415 h 3846113"/>
                  <a:gd name="connsiteX29" fmla="*/ 2865199 w 6270776"/>
                  <a:gd name="connsiteY29" fmla="*/ 2074865 h 3846113"/>
                  <a:gd name="connsiteX30" fmla="*/ 3405577 w 6270776"/>
                  <a:gd name="connsiteY30" fmla="*/ 2074865 h 3846113"/>
                  <a:gd name="connsiteX31" fmla="*/ 3405577 w 6270776"/>
                  <a:gd name="connsiteY31" fmla="*/ 1522415 h 3846113"/>
                  <a:gd name="connsiteX32" fmla="*/ 2265438 w 6270776"/>
                  <a:gd name="connsiteY32" fmla="*/ 1522415 h 3846113"/>
                  <a:gd name="connsiteX33" fmla="*/ 2265438 w 6270776"/>
                  <a:gd name="connsiteY33" fmla="*/ 2074865 h 3846113"/>
                  <a:gd name="connsiteX34" fmla="*/ 2805816 w 6270776"/>
                  <a:gd name="connsiteY34" fmla="*/ 2074865 h 3846113"/>
                  <a:gd name="connsiteX35" fmla="*/ 2805816 w 6270776"/>
                  <a:gd name="connsiteY35" fmla="*/ 1522415 h 3846113"/>
                  <a:gd name="connsiteX36" fmla="*/ 5037213 w 6270776"/>
                  <a:gd name="connsiteY36" fmla="*/ 909640 h 3846113"/>
                  <a:gd name="connsiteX37" fmla="*/ 5037213 w 6270776"/>
                  <a:gd name="connsiteY37" fmla="*/ 1601790 h 3846113"/>
                  <a:gd name="connsiteX38" fmla="*/ 5615063 w 6270776"/>
                  <a:gd name="connsiteY38" fmla="*/ 1601790 h 3846113"/>
                  <a:gd name="connsiteX39" fmla="*/ 5615063 w 6270776"/>
                  <a:gd name="connsiteY39" fmla="*/ 909640 h 3846113"/>
                  <a:gd name="connsiteX40" fmla="*/ 4351413 w 6270776"/>
                  <a:gd name="connsiteY40" fmla="*/ 909640 h 3846113"/>
                  <a:gd name="connsiteX41" fmla="*/ 4351413 w 6270776"/>
                  <a:gd name="connsiteY41" fmla="*/ 1601790 h 3846113"/>
                  <a:gd name="connsiteX42" fmla="*/ 4929263 w 6270776"/>
                  <a:gd name="connsiteY42" fmla="*/ 1601790 h 3846113"/>
                  <a:gd name="connsiteX43" fmla="*/ 4929263 w 6270776"/>
                  <a:gd name="connsiteY43" fmla="*/ 909640 h 3846113"/>
                  <a:gd name="connsiteX44" fmla="*/ 3464960 w 6270776"/>
                  <a:gd name="connsiteY44" fmla="*/ 909640 h 3846113"/>
                  <a:gd name="connsiteX45" fmla="*/ 3464960 w 6270776"/>
                  <a:gd name="connsiteY45" fmla="*/ 1462090 h 3846113"/>
                  <a:gd name="connsiteX46" fmla="*/ 4005338 w 6270776"/>
                  <a:gd name="connsiteY46" fmla="*/ 1462090 h 3846113"/>
                  <a:gd name="connsiteX47" fmla="*/ 4005338 w 6270776"/>
                  <a:gd name="connsiteY47" fmla="*/ 909640 h 3846113"/>
                  <a:gd name="connsiteX48" fmla="*/ 2865199 w 6270776"/>
                  <a:gd name="connsiteY48" fmla="*/ 909640 h 3846113"/>
                  <a:gd name="connsiteX49" fmla="*/ 2865199 w 6270776"/>
                  <a:gd name="connsiteY49" fmla="*/ 1462090 h 3846113"/>
                  <a:gd name="connsiteX50" fmla="*/ 3405577 w 6270776"/>
                  <a:gd name="connsiteY50" fmla="*/ 1462090 h 3846113"/>
                  <a:gd name="connsiteX51" fmla="*/ 3405577 w 6270776"/>
                  <a:gd name="connsiteY51" fmla="*/ 909640 h 3846113"/>
                  <a:gd name="connsiteX52" fmla="*/ 2265438 w 6270776"/>
                  <a:gd name="connsiteY52" fmla="*/ 909640 h 3846113"/>
                  <a:gd name="connsiteX53" fmla="*/ 2265438 w 6270776"/>
                  <a:gd name="connsiteY53" fmla="*/ 1462090 h 3846113"/>
                  <a:gd name="connsiteX54" fmla="*/ 2805816 w 6270776"/>
                  <a:gd name="connsiteY54" fmla="*/ 1462090 h 3846113"/>
                  <a:gd name="connsiteX55" fmla="*/ 2805816 w 6270776"/>
                  <a:gd name="connsiteY55" fmla="*/ 909640 h 3846113"/>
                  <a:gd name="connsiteX56" fmla="*/ 1341513 w 6270776"/>
                  <a:gd name="connsiteY56" fmla="*/ 909640 h 3846113"/>
                  <a:gd name="connsiteX57" fmla="*/ 1341513 w 6270776"/>
                  <a:gd name="connsiteY57" fmla="*/ 1601790 h 3846113"/>
                  <a:gd name="connsiteX58" fmla="*/ 1919363 w 6270776"/>
                  <a:gd name="connsiteY58" fmla="*/ 1601790 h 3846113"/>
                  <a:gd name="connsiteX59" fmla="*/ 1919363 w 6270776"/>
                  <a:gd name="connsiteY59" fmla="*/ 909640 h 3846113"/>
                  <a:gd name="connsiteX60" fmla="*/ 655713 w 6270776"/>
                  <a:gd name="connsiteY60" fmla="*/ 909640 h 3846113"/>
                  <a:gd name="connsiteX61" fmla="*/ 655713 w 6270776"/>
                  <a:gd name="connsiteY61" fmla="*/ 1601790 h 3846113"/>
                  <a:gd name="connsiteX62" fmla="*/ 1233563 w 6270776"/>
                  <a:gd name="connsiteY62" fmla="*/ 1601790 h 3846113"/>
                  <a:gd name="connsiteX63" fmla="*/ 1233563 w 6270776"/>
                  <a:gd name="connsiteY63" fmla="*/ 909640 h 3846113"/>
                  <a:gd name="connsiteX64" fmla="*/ 3724123 w 6270776"/>
                  <a:gd name="connsiteY64" fmla="*/ 281783 h 3846113"/>
                  <a:gd name="connsiteX65" fmla="*/ 3724123 w 6270776"/>
                  <a:gd name="connsiteY65" fmla="*/ 584202 h 3846113"/>
                  <a:gd name="connsiteX66" fmla="*/ 3937015 w 6270776"/>
                  <a:gd name="connsiteY66" fmla="*/ 584202 h 3846113"/>
                  <a:gd name="connsiteX67" fmla="*/ 3937015 w 6270776"/>
                  <a:gd name="connsiteY67" fmla="*/ 281783 h 3846113"/>
                  <a:gd name="connsiteX68" fmla="*/ 3446527 w 6270776"/>
                  <a:gd name="connsiteY68" fmla="*/ 281783 h 3846113"/>
                  <a:gd name="connsiteX69" fmla="*/ 3446527 w 6270776"/>
                  <a:gd name="connsiteY69" fmla="*/ 584202 h 3846113"/>
                  <a:gd name="connsiteX70" fmla="*/ 3659419 w 6270776"/>
                  <a:gd name="connsiteY70" fmla="*/ 584202 h 3846113"/>
                  <a:gd name="connsiteX71" fmla="*/ 3659419 w 6270776"/>
                  <a:gd name="connsiteY71" fmla="*/ 281783 h 3846113"/>
                  <a:gd name="connsiteX72" fmla="*/ 3168933 w 6270776"/>
                  <a:gd name="connsiteY72" fmla="*/ 281783 h 3846113"/>
                  <a:gd name="connsiteX73" fmla="*/ 3168933 w 6270776"/>
                  <a:gd name="connsiteY73" fmla="*/ 584202 h 3846113"/>
                  <a:gd name="connsiteX74" fmla="*/ 3381825 w 6270776"/>
                  <a:gd name="connsiteY74" fmla="*/ 584202 h 3846113"/>
                  <a:gd name="connsiteX75" fmla="*/ 3381825 w 6270776"/>
                  <a:gd name="connsiteY75" fmla="*/ 281783 h 3846113"/>
                  <a:gd name="connsiteX76" fmla="*/ 2891339 w 6270776"/>
                  <a:gd name="connsiteY76" fmla="*/ 281783 h 3846113"/>
                  <a:gd name="connsiteX77" fmla="*/ 2891339 w 6270776"/>
                  <a:gd name="connsiteY77" fmla="*/ 584202 h 3846113"/>
                  <a:gd name="connsiteX78" fmla="*/ 3104231 w 6270776"/>
                  <a:gd name="connsiteY78" fmla="*/ 584202 h 3846113"/>
                  <a:gd name="connsiteX79" fmla="*/ 3104231 w 6270776"/>
                  <a:gd name="connsiteY79" fmla="*/ 281783 h 3846113"/>
                  <a:gd name="connsiteX80" fmla="*/ 2613745 w 6270776"/>
                  <a:gd name="connsiteY80" fmla="*/ 281783 h 3846113"/>
                  <a:gd name="connsiteX81" fmla="*/ 2613745 w 6270776"/>
                  <a:gd name="connsiteY81" fmla="*/ 584202 h 3846113"/>
                  <a:gd name="connsiteX82" fmla="*/ 2826637 w 6270776"/>
                  <a:gd name="connsiteY82" fmla="*/ 584202 h 3846113"/>
                  <a:gd name="connsiteX83" fmla="*/ 2826637 w 6270776"/>
                  <a:gd name="connsiteY83" fmla="*/ 281783 h 3846113"/>
                  <a:gd name="connsiteX84" fmla="*/ 2336151 w 6270776"/>
                  <a:gd name="connsiteY84" fmla="*/ 281783 h 3846113"/>
                  <a:gd name="connsiteX85" fmla="*/ 2336151 w 6270776"/>
                  <a:gd name="connsiteY85" fmla="*/ 584202 h 3846113"/>
                  <a:gd name="connsiteX86" fmla="*/ 2549043 w 6270776"/>
                  <a:gd name="connsiteY86" fmla="*/ 584202 h 3846113"/>
                  <a:gd name="connsiteX87" fmla="*/ 2549043 w 6270776"/>
                  <a:gd name="connsiteY87" fmla="*/ 281783 h 3846113"/>
                  <a:gd name="connsiteX88" fmla="*/ 1977697 w 6270776"/>
                  <a:gd name="connsiteY88" fmla="*/ 0 h 3846113"/>
                  <a:gd name="connsiteX89" fmla="*/ 2050103 w 6270776"/>
                  <a:gd name="connsiteY89" fmla="*/ 47994 h 3846113"/>
                  <a:gd name="connsiteX90" fmla="*/ 2054837 w 6270776"/>
                  <a:gd name="connsiteY90" fmla="*/ 71440 h 3846113"/>
                  <a:gd name="connsiteX91" fmla="*/ 4215940 w 6270776"/>
                  <a:gd name="connsiteY91" fmla="*/ 71440 h 3846113"/>
                  <a:gd name="connsiteX92" fmla="*/ 4220674 w 6270776"/>
                  <a:gd name="connsiteY92" fmla="*/ 47994 h 3846113"/>
                  <a:gd name="connsiteX93" fmla="*/ 4293079 w 6270776"/>
                  <a:gd name="connsiteY93" fmla="*/ 0 h 3846113"/>
                  <a:gd name="connsiteX94" fmla="*/ 4371660 w 6270776"/>
                  <a:gd name="connsiteY94" fmla="*/ 78581 h 3846113"/>
                  <a:gd name="connsiteX95" fmla="*/ 4371660 w 6270776"/>
                  <a:gd name="connsiteY95" fmla="*/ 686597 h 3846113"/>
                  <a:gd name="connsiteX96" fmla="*/ 4371500 w 6270776"/>
                  <a:gd name="connsiteY96" fmla="*/ 687390 h 3846113"/>
                  <a:gd name="connsiteX97" fmla="*/ 5812477 w 6270776"/>
                  <a:gd name="connsiteY97" fmla="*/ 687390 h 3846113"/>
                  <a:gd name="connsiteX98" fmla="*/ 5812477 w 6270776"/>
                  <a:gd name="connsiteY98" fmla="*/ 516016 h 3846113"/>
                  <a:gd name="connsiteX99" fmla="*/ 5895501 w 6270776"/>
                  <a:gd name="connsiteY99" fmla="*/ 432992 h 3846113"/>
                  <a:gd name="connsiteX100" fmla="*/ 5978525 w 6270776"/>
                  <a:gd name="connsiteY100" fmla="*/ 516016 h 3846113"/>
                  <a:gd name="connsiteX101" fmla="*/ 5978524 w 6270776"/>
                  <a:gd name="connsiteY101" fmla="*/ 3475040 h 3846113"/>
                  <a:gd name="connsiteX102" fmla="*/ 5821438 w 6270776"/>
                  <a:gd name="connsiteY102" fmla="*/ 3475040 h 3846113"/>
                  <a:gd name="connsiteX103" fmla="*/ 5812477 w 6270776"/>
                  <a:gd name="connsiteY103" fmla="*/ 3475040 h 3846113"/>
                  <a:gd name="connsiteX104" fmla="*/ 4088169 w 6270776"/>
                  <a:gd name="connsiteY104" fmla="*/ 3475040 h 3846113"/>
                  <a:gd name="connsiteX105" fmla="*/ 4088169 w 6270776"/>
                  <a:gd name="connsiteY105" fmla="*/ 2265365 h 3846113"/>
                  <a:gd name="connsiteX106" fmla="*/ 2182608 w 6270776"/>
                  <a:gd name="connsiteY106" fmla="*/ 2265365 h 3846113"/>
                  <a:gd name="connsiteX107" fmla="*/ 2182608 w 6270776"/>
                  <a:gd name="connsiteY107" fmla="*/ 3475040 h 3846113"/>
                  <a:gd name="connsiteX108" fmla="*/ 458299 w 6270776"/>
                  <a:gd name="connsiteY108" fmla="*/ 3475040 h 3846113"/>
                  <a:gd name="connsiteX109" fmla="*/ 449338 w 6270776"/>
                  <a:gd name="connsiteY109" fmla="*/ 3475040 h 3846113"/>
                  <a:gd name="connsiteX110" fmla="*/ 292252 w 6270776"/>
                  <a:gd name="connsiteY110" fmla="*/ 3475040 h 3846113"/>
                  <a:gd name="connsiteX111" fmla="*/ 292252 w 6270776"/>
                  <a:gd name="connsiteY111" fmla="*/ 516016 h 3846113"/>
                  <a:gd name="connsiteX112" fmla="*/ 375276 w 6270776"/>
                  <a:gd name="connsiteY112" fmla="*/ 432992 h 3846113"/>
                  <a:gd name="connsiteX113" fmla="*/ 458300 w 6270776"/>
                  <a:gd name="connsiteY113" fmla="*/ 516016 h 3846113"/>
                  <a:gd name="connsiteX114" fmla="*/ 458300 w 6270776"/>
                  <a:gd name="connsiteY114" fmla="*/ 687390 h 3846113"/>
                  <a:gd name="connsiteX115" fmla="*/ 1899276 w 6270776"/>
                  <a:gd name="connsiteY115" fmla="*/ 687390 h 3846113"/>
                  <a:gd name="connsiteX116" fmla="*/ 1899116 w 6270776"/>
                  <a:gd name="connsiteY116" fmla="*/ 686597 h 3846113"/>
                  <a:gd name="connsiteX117" fmla="*/ 1899116 w 6270776"/>
                  <a:gd name="connsiteY117" fmla="*/ 78581 h 3846113"/>
                  <a:gd name="connsiteX118" fmla="*/ 1977697 w 6270776"/>
                  <a:gd name="connsiteY118" fmla="*/ 0 h 384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6270776" h="3846113">
                    <a:moveTo>
                      <a:pt x="0" y="3689346"/>
                    </a:moveTo>
                    <a:lnTo>
                      <a:pt x="6270776" y="3689346"/>
                    </a:lnTo>
                    <a:lnTo>
                      <a:pt x="6270776" y="3846113"/>
                    </a:lnTo>
                    <a:lnTo>
                      <a:pt x="0" y="3846113"/>
                    </a:lnTo>
                    <a:close/>
                    <a:moveTo>
                      <a:pt x="157163" y="3518784"/>
                    </a:moveTo>
                    <a:lnTo>
                      <a:pt x="6113613" y="3518784"/>
                    </a:lnTo>
                    <a:lnTo>
                      <a:pt x="6113613" y="3656013"/>
                    </a:lnTo>
                    <a:lnTo>
                      <a:pt x="157163" y="3656013"/>
                    </a:lnTo>
                    <a:close/>
                    <a:moveTo>
                      <a:pt x="5037213" y="1690690"/>
                    </a:moveTo>
                    <a:lnTo>
                      <a:pt x="5037213" y="2382840"/>
                    </a:lnTo>
                    <a:lnTo>
                      <a:pt x="5615063" y="2382840"/>
                    </a:lnTo>
                    <a:lnTo>
                      <a:pt x="5615063" y="1690690"/>
                    </a:lnTo>
                    <a:close/>
                    <a:moveTo>
                      <a:pt x="4351413" y="1690690"/>
                    </a:moveTo>
                    <a:lnTo>
                      <a:pt x="4351413" y="2382840"/>
                    </a:lnTo>
                    <a:lnTo>
                      <a:pt x="4929263" y="2382840"/>
                    </a:lnTo>
                    <a:lnTo>
                      <a:pt x="4929263" y="1690690"/>
                    </a:lnTo>
                    <a:close/>
                    <a:moveTo>
                      <a:pt x="1341513" y="1690690"/>
                    </a:moveTo>
                    <a:lnTo>
                      <a:pt x="1341513" y="2382840"/>
                    </a:lnTo>
                    <a:lnTo>
                      <a:pt x="1919363" y="2382840"/>
                    </a:lnTo>
                    <a:lnTo>
                      <a:pt x="1919363" y="1690690"/>
                    </a:lnTo>
                    <a:close/>
                    <a:moveTo>
                      <a:pt x="655713" y="1690690"/>
                    </a:moveTo>
                    <a:lnTo>
                      <a:pt x="655713" y="2382840"/>
                    </a:lnTo>
                    <a:lnTo>
                      <a:pt x="1233563" y="2382840"/>
                    </a:lnTo>
                    <a:lnTo>
                      <a:pt x="1233563" y="1690690"/>
                    </a:lnTo>
                    <a:close/>
                    <a:moveTo>
                      <a:pt x="3464960" y="1522415"/>
                    </a:moveTo>
                    <a:lnTo>
                      <a:pt x="3464960" y="2074865"/>
                    </a:lnTo>
                    <a:lnTo>
                      <a:pt x="4005338" y="2074865"/>
                    </a:lnTo>
                    <a:lnTo>
                      <a:pt x="4005338" y="1522415"/>
                    </a:lnTo>
                    <a:close/>
                    <a:moveTo>
                      <a:pt x="2865199" y="1522415"/>
                    </a:moveTo>
                    <a:lnTo>
                      <a:pt x="2865199" y="2074865"/>
                    </a:lnTo>
                    <a:lnTo>
                      <a:pt x="3405577" y="2074865"/>
                    </a:lnTo>
                    <a:lnTo>
                      <a:pt x="3405577" y="1522415"/>
                    </a:lnTo>
                    <a:close/>
                    <a:moveTo>
                      <a:pt x="2265438" y="1522415"/>
                    </a:moveTo>
                    <a:lnTo>
                      <a:pt x="2265438" y="2074865"/>
                    </a:lnTo>
                    <a:lnTo>
                      <a:pt x="2805816" y="2074865"/>
                    </a:lnTo>
                    <a:lnTo>
                      <a:pt x="2805816" y="1522415"/>
                    </a:lnTo>
                    <a:close/>
                    <a:moveTo>
                      <a:pt x="5037213" y="909640"/>
                    </a:moveTo>
                    <a:lnTo>
                      <a:pt x="5037213" y="1601790"/>
                    </a:lnTo>
                    <a:lnTo>
                      <a:pt x="5615063" y="1601790"/>
                    </a:lnTo>
                    <a:lnTo>
                      <a:pt x="5615063" y="909640"/>
                    </a:lnTo>
                    <a:close/>
                    <a:moveTo>
                      <a:pt x="4351413" y="909640"/>
                    </a:moveTo>
                    <a:lnTo>
                      <a:pt x="4351413" y="1601790"/>
                    </a:lnTo>
                    <a:lnTo>
                      <a:pt x="4929263" y="1601790"/>
                    </a:lnTo>
                    <a:lnTo>
                      <a:pt x="4929263" y="909640"/>
                    </a:lnTo>
                    <a:close/>
                    <a:moveTo>
                      <a:pt x="3464960" y="909640"/>
                    </a:moveTo>
                    <a:lnTo>
                      <a:pt x="3464960" y="1462090"/>
                    </a:lnTo>
                    <a:lnTo>
                      <a:pt x="4005338" y="1462090"/>
                    </a:lnTo>
                    <a:lnTo>
                      <a:pt x="4005338" y="909640"/>
                    </a:lnTo>
                    <a:close/>
                    <a:moveTo>
                      <a:pt x="2865199" y="909640"/>
                    </a:moveTo>
                    <a:lnTo>
                      <a:pt x="2865199" y="1462090"/>
                    </a:lnTo>
                    <a:lnTo>
                      <a:pt x="3405577" y="1462090"/>
                    </a:lnTo>
                    <a:lnTo>
                      <a:pt x="3405577" y="909640"/>
                    </a:lnTo>
                    <a:close/>
                    <a:moveTo>
                      <a:pt x="2265438" y="909640"/>
                    </a:moveTo>
                    <a:lnTo>
                      <a:pt x="2265438" y="1462090"/>
                    </a:lnTo>
                    <a:lnTo>
                      <a:pt x="2805816" y="1462090"/>
                    </a:lnTo>
                    <a:lnTo>
                      <a:pt x="2805816" y="909640"/>
                    </a:lnTo>
                    <a:close/>
                    <a:moveTo>
                      <a:pt x="1341513" y="909640"/>
                    </a:moveTo>
                    <a:lnTo>
                      <a:pt x="1341513" y="1601790"/>
                    </a:lnTo>
                    <a:lnTo>
                      <a:pt x="1919363" y="1601790"/>
                    </a:lnTo>
                    <a:lnTo>
                      <a:pt x="1919363" y="909640"/>
                    </a:lnTo>
                    <a:close/>
                    <a:moveTo>
                      <a:pt x="655713" y="909640"/>
                    </a:moveTo>
                    <a:lnTo>
                      <a:pt x="655713" y="1601790"/>
                    </a:lnTo>
                    <a:lnTo>
                      <a:pt x="1233563" y="1601790"/>
                    </a:lnTo>
                    <a:lnTo>
                      <a:pt x="1233563" y="909640"/>
                    </a:lnTo>
                    <a:close/>
                    <a:moveTo>
                      <a:pt x="3724123" y="281783"/>
                    </a:moveTo>
                    <a:lnTo>
                      <a:pt x="3724123" y="584202"/>
                    </a:lnTo>
                    <a:lnTo>
                      <a:pt x="3937015" y="584202"/>
                    </a:lnTo>
                    <a:lnTo>
                      <a:pt x="3937015" y="281783"/>
                    </a:lnTo>
                    <a:close/>
                    <a:moveTo>
                      <a:pt x="3446527" y="281783"/>
                    </a:moveTo>
                    <a:lnTo>
                      <a:pt x="3446527" y="584202"/>
                    </a:lnTo>
                    <a:lnTo>
                      <a:pt x="3659419" y="584202"/>
                    </a:lnTo>
                    <a:lnTo>
                      <a:pt x="3659419" y="281783"/>
                    </a:lnTo>
                    <a:close/>
                    <a:moveTo>
                      <a:pt x="3168933" y="281783"/>
                    </a:moveTo>
                    <a:lnTo>
                      <a:pt x="3168933" y="584202"/>
                    </a:lnTo>
                    <a:lnTo>
                      <a:pt x="3381825" y="584202"/>
                    </a:lnTo>
                    <a:lnTo>
                      <a:pt x="3381825" y="281783"/>
                    </a:lnTo>
                    <a:close/>
                    <a:moveTo>
                      <a:pt x="2891339" y="281783"/>
                    </a:moveTo>
                    <a:lnTo>
                      <a:pt x="2891339" y="584202"/>
                    </a:lnTo>
                    <a:lnTo>
                      <a:pt x="3104231" y="584202"/>
                    </a:lnTo>
                    <a:lnTo>
                      <a:pt x="3104231" y="281783"/>
                    </a:lnTo>
                    <a:close/>
                    <a:moveTo>
                      <a:pt x="2613745" y="281783"/>
                    </a:moveTo>
                    <a:lnTo>
                      <a:pt x="2613745" y="584202"/>
                    </a:lnTo>
                    <a:lnTo>
                      <a:pt x="2826637" y="584202"/>
                    </a:lnTo>
                    <a:lnTo>
                      <a:pt x="2826637" y="281783"/>
                    </a:lnTo>
                    <a:close/>
                    <a:moveTo>
                      <a:pt x="2336151" y="281783"/>
                    </a:moveTo>
                    <a:lnTo>
                      <a:pt x="2336151" y="584202"/>
                    </a:lnTo>
                    <a:lnTo>
                      <a:pt x="2549043" y="584202"/>
                    </a:lnTo>
                    <a:lnTo>
                      <a:pt x="2549043" y="281783"/>
                    </a:lnTo>
                    <a:close/>
                    <a:moveTo>
                      <a:pt x="1977697" y="0"/>
                    </a:moveTo>
                    <a:cubicBezTo>
                      <a:pt x="2010247" y="0"/>
                      <a:pt x="2038174" y="19790"/>
                      <a:pt x="2050103" y="47994"/>
                    </a:cubicBezTo>
                    <a:lnTo>
                      <a:pt x="2054837" y="71440"/>
                    </a:lnTo>
                    <a:lnTo>
                      <a:pt x="4215940" y="71440"/>
                    </a:lnTo>
                    <a:lnTo>
                      <a:pt x="4220674" y="47994"/>
                    </a:lnTo>
                    <a:cubicBezTo>
                      <a:pt x="4232603" y="19790"/>
                      <a:pt x="4260530" y="0"/>
                      <a:pt x="4293079" y="0"/>
                    </a:cubicBezTo>
                    <a:cubicBezTo>
                      <a:pt x="4336478" y="0"/>
                      <a:pt x="4371660" y="35182"/>
                      <a:pt x="4371660" y="78581"/>
                    </a:cubicBezTo>
                    <a:lnTo>
                      <a:pt x="4371660" y="686597"/>
                    </a:lnTo>
                    <a:lnTo>
                      <a:pt x="4371500" y="687390"/>
                    </a:lnTo>
                    <a:lnTo>
                      <a:pt x="5812477" y="687390"/>
                    </a:lnTo>
                    <a:lnTo>
                      <a:pt x="5812477" y="516016"/>
                    </a:lnTo>
                    <a:cubicBezTo>
                      <a:pt x="5812477" y="470163"/>
                      <a:pt x="5849648" y="432992"/>
                      <a:pt x="5895501" y="432992"/>
                    </a:cubicBezTo>
                    <a:cubicBezTo>
                      <a:pt x="5941354" y="432992"/>
                      <a:pt x="5978525" y="470163"/>
                      <a:pt x="5978525" y="516016"/>
                    </a:cubicBezTo>
                    <a:lnTo>
                      <a:pt x="5978524" y="3475040"/>
                    </a:lnTo>
                    <a:lnTo>
                      <a:pt x="5821438" y="3475040"/>
                    </a:lnTo>
                    <a:lnTo>
                      <a:pt x="5812477" y="3475040"/>
                    </a:lnTo>
                    <a:lnTo>
                      <a:pt x="4088169" y="3475040"/>
                    </a:lnTo>
                    <a:lnTo>
                      <a:pt x="4088169" y="2265365"/>
                    </a:lnTo>
                    <a:lnTo>
                      <a:pt x="2182608" y="2265365"/>
                    </a:lnTo>
                    <a:lnTo>
                      <a:pt x="2182608" y="3475040"/>
                    </a:lnTo>
                    <a:lnTo>
                      <a:pt x="458299" y="3475040"/>
                    </a:lnTo>
                    <a:lnTo>
                      <a:pt x="449338" y="3475040"/>
                    </a:lnTo>
                    <a:lnTo>
                      <a:pt x="292252" y="3475040"/>
                    </a:lnTo>
                    <a:lnTo>
                      <a:pt x="292252" y="516016"/>
                    </a:lnTo>
                    <a:cubicBezTo>
                      <a:pt x="292252" y="470163"/>
                      <a:pt x="329424" y="432992"/>
                      <a:pt x="375276" y="432992"/>
                    </a:cubicBezTo>
                    <a:cubicBezTo>
                      <a:pt x="421129" y="432992"/>
                      <a:pt x="458300" y="470163"/>
                      <a:pt x="458300" y="516016"/>
                    </a:cubicBezTo>
                    <a:lnTo>
                      <a:pt x="458300" y="687390"/>
                    </a:lnTo>
                    <a:lnTo>
                      <a:pt x="1899276" y="687390"/>
                    </a:lnTo>
                    <a:lnTo>
                      <a:pt x="1899116" y="686597"/>
                    </a:lnTo>
                    <a:lnTo>
                      <a:pt x="1899116" y="78581"/>
                    </a:lnTo>
                    <a:cubicBezTo>
                      <a:pt x="1899116" y="35182"/>
                      <a:pt x="1934298" y="0"/>
                      <a:pt x="197769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1" name="Freeform 40"/>
              <p:cNvSpPr/>
              <p:nvPr/>
            </p:nvSpPr>
            <p:spPr>
              <a:xfrm>
                <a:off x="4671452" y="750886"/>
                <a:ext cx="1962339" cy="1147765"/>
              </a:xfrm>
              <a:custGeom>
                <a:avLst/>
                <a:gdLst>
                  <a:gd name="connsiteX0" fmla="*/ 911400 w 1962339"/>
                  <a:gd name="connsiteY0" fmla="*/ 0 h 1147765"/>
                  <a:gd name="connsiteX1" fmla="*/ 957355 w 1962339"/>
                  <a:gd name="connsiteY1" fmla="*/ 45955 h 1147765"/>
                  <a:gd name="connsiteX2" fmla="*/ 957355 w 1962339"/>
                  <a:gd name="connsiteY2" fmla="*/ 68618 h 1147765"/>
                  <a:gd name="connsiteX3" fmla="*/ 1039073 w 1962339"/>
                  <a:gd name="connsiteY3" fmla="*/ 73831 h 1147765"/>
                  <a:gd name="connsiteX4" fmla="*/ 1630456 w 1962339"/>
                  <a:gd name="connsiteY4" fmla="*/ 68264 h 1147765"/>
                  <a:gd name="connsiteX5" fmla="*/ 1630456 w 1962339"/>
                  <a:gd name="connsiteY5" fmla="*/ 465140 h 1147765"/>
                  <a:gd name="connsiteX6" fmla="*/ 1033506 w 1962339"/>
                  <a:gd name="connsiteY6" fmla="*/ 440528 h 1147765"/>
                  <a:gd name="connsiteX7" fmla="*/ 957355 w 1962339"/>
                  <a:gd name="connsiteY7" fmla="*/ 463466 h 1147765"/>
                  <a:gd name="connsiteX8" fmla="*/ 957355 w 1962339"/>
                  <a:gd name="connsiteY8" fmla="*/ 688593 h 1147765"/>
                  <a:gd name="connsiteX9" fmla="*/ 981169 w 1962339"/>
                  <a:gd name="connsiteY9" fmla="*/ 687390 h 1147765"/>
                  <a:gd name="connsiteX10" fmla="*/ 1883685 w 1962339"/>
                  <a:gd name="connsiteY10" fmla="*/ 1061224 h 1147765"/>
                  <a:gd name="connsiteX11" fmla="*/ 1962339 w 1962339"/>
                  <a:gd name="connsiteY11" fmla="*/ 1147765 h 1147765"/>
                  <a:gd name="connsiteX12" fmla="*/ 0 w 1962339"/>
                  <a:gd name="connsiteY12" fmla="*/ 1147765 h 1147765"/>
                  <a:gd name="connsiteX13" fmla="*/ 78653 w 1962339"/>
                  <a:gd name="connsiteY13" fmla="*/ 1061224 h 1147765"/>
                  <a:gd name="connsiteX14" fmla="*/ 850670 w 1962339"/>
                  <a:gd name="connsiteY14" fmla="*/ 693980 h 1147765"/>
                  <a:gd name="connsiteX15" fmla="*/ 865445 w 1962339"/>
                  <a:gd name="connsiteY15" fmla="*/ 693234 h 1147765"/>
                  <a:gd name="connsiteX16" fmla="*/ 865445 w 1962339"/>
                  <a:gd name="connsiteY16" fmla="*/ 45955 h 1147765"/>
                  <a:gd name="connsiteX17" fmla="*/ 911400 w 1962339"/>
                  <a:gd name="connsiteY17" fmla="*/ 0 h 1147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2339" h="1147765">
                    <a:moveTo>
                      <a:pt x="911400" y="0"/>
                    </a:moveTo>
                    <a:cubicBezTo>
                      <a:pt x="936780" y="0"/>
                      <a:pt x="957355" y="20575"/>
                      <a:pt x="957355" y="45955"/>
                    </a:cubicBezTo>
                    <a:lnTo>
                      <a:pt x="957355" y="68618"/>
                    </a:lnTo>
                    <a:lnTo>
                      <a:pt x="1039073" y="73831"/>
                    </a:lnTo>
                    <a:cubicBezTo>
                      <a:pt x="1247595" y="97955"/>
                      <a:pt x="1484604" y="187030"/>
                      <a:pt x="1630456" y="68264"/>
                    </a:cubicBezTo>
                    <a:lnTo>
                      <a:pt x="1630456" y="465140"/>
                    </a:lnTo>
                    <a:cubicBezTo>
                      <a:pt x="1438766" y="538066"/>
                      <a:pt x="1227020" y="408623"/>
                      <a:pt x="1033506" y="440528"/>
                    </a:cubicBezTo>
                    <a:lnTo>
                      <a:pt x="957355" y="463466"/>
                    </a:lnTo>
                    <a:lnTo>
                      <a:pt x="957355" y="688593"/>
                    </a:lnTo>
                    <a:lnTo>
                      <a:pt x="981169" y="687390"/>
                    </a:lnTo>
                    <a:cubicBezTo>
                      <a:pt x="1333624" y="687390"/>
                      <a:pt x="1652711" y="830250"/>
                      <a:pt x="1883685" y="1061224"/>
                    </a:cubicBezTo>
                    <a:lnTo>
                      <a:pt x="1962339" y="1147765"/>
                    </a:lnTo>
                    <a:lnTo>
                      <a:pt x="0" y="1147765"/>
                    </a:lnTo>
                    <a:lnTo>
                      <a:pt x="78653" y="1061224"/>
                    </a:lnTo>
                    <a:cubicBezTo>
                      <a:pt x="280756" y="859122"/>
                      <a:pt x="550320" y="724482"/>
                      <a:pt x="850670" y="693980"/>
                    </a:cubicBezTo>
                    <a:lnTo>
                      <a:pt x="865445" y="693234"/>
                    </a:lnTo>
                    <a:lnTo>
                      <a:pt x="865445" y="45955"/>
                    </a:lnTo>
                    <a:cubicBezTo>
                      <a:pt x="865445" y="20575"/>
                      <a:pt x="886020" y="0"/>
                      <a:pt x="9114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58" name="Group 57"/>
          <p:cNvGrpSpPr/>
          <p:nvPr userDrawn="1"/>
        </p:nvGrpSpPr>
        <p:grpSpPr>
          <a:xfrm flipH="1">
            <a:off x="1298092" y="6223606"/>
            <a:ext cx="136156" cy="263409"/>
            <a:chOff x="6812419" y="6555317"/>
            <a:chExt cx="203193" cy="393100"/>
          </a:xfrm>
        </p:grpSpPr>
        <p:sp>
          <p:nvSpPr>
            <p:cNvPr id="59" name="Rectangle 58"/>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0" name="Oval 59"/>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1" name="Oval 60"/>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62" name="Group 61"/>
          <p:cNvGrpSpPr/>
          <p:nvPr userDrawn="1"/>
        </p:nvGrpSpPr>
        <p:grpSpPr>
          <a:xfrm flipH="1">
            <a:off x="12177243" y="6822115"/>
            <a:ext cx="88825" cy="171840"/>
            <a:chOff x="6812419" y="6555317"/>
            <a:chExt cx="203193" cy="393100"/>
          </a:xfrm>
        </p:grpSpPr>
        <p:sp>
          <p:nvSpPr>
            <p:cNvPr id="63" name="Rectangle 62"/>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4" name="Oval 63"/>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5" name="Oval 64"/>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39180121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5_36pt Title Only">
    <p:spTree>
      <p:nvGrpSpPr>
        <p:cNvPr id="1" name=""/>
        <p:cNvGrpSpPr/>
        <p:nvPr/>
      </p:nvGrpSpPr>
      <p:grpSpPr>
        <a:xfrm>
          <a:off x="0" y="0"/>
          <a:ext cx="0" cy="0"/>
          <a:chOff x="0" y="0"/>
          <a:chExt cx="0" cy="0"/>
        </a:xfrm>
      </p:grpSpPr>
      <p:grpSp>
        <p:nvGrpSpPr>
          <p:cNvPr id="2" name="Group 1"/>
          <p:cNvGrpSpPr/>
          <p:nvPr userDrawn="1"/>
        </p:nvGrpSpPr>
        <p:grpSpPr>
          <a:xfrm flipH="1">
            <a:off x="6746914" y="6756156"/>
            <a:ext cx="2127279" cy="209940"/>
            <a:chOff x="-6310" y="6438746"/>
            <a:chExt cx="1905074" cy="480134"/>
          </a:xfrm>
        </p:grpSpPr>
        <p:sp>
          <p:nvSpPr>
            <p:cNvPr id="37" name="Freeform 71"/>
            <p:cNvSpPr>
              <a:spLocks/>
            </p:cNvSpPr>
            <p:nvPr/>
          </p:nvSpPr>
          <p:spPr bwMode="auto">
            <a:xfrm flipH="1">
              <a:off x="-6310" y="6438746"/>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79"/>
            <p:cNvSpPr>
              <a:spLocks/>
            </p:cNvSpPr>
            <p:nvPr/>
          </p:nvSpPr>
          <p:spPr bwMode="auto">
            <a:xfrm flipH="1">
              <a:off x="37164" y="6670621"/>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35" name="Freeform 70"/>
          <p:cNvSpPr>
            <a:spLocks/>
          </p:cNvSpPr>
          <p:nvPr userDrawn="1"/>
        </p:nvSpPr>
        <p:spPr bwMode="auto">
          <a:xfrm>
            <a:off x="4586427" y="6966096"/>
            <a:ext cx="7644111" cy="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 name="connsiteX0" fmla="*/ 6186 w 10000"/>
              <a:gd name="connsiteY0" fmla="*/ 431 h 8846"/>
              <a:gd name="connsiteX1" fmla="*/ 0 w 10000"/>
              <a:gd name="connsiteY1" fmla="*/ 8846 h 8846"/>
              <a:gd name="connsiteX2" fmla="*/ 3533 w 10000"/>
              <a:gd name="connsiteY2" fmla="*/ 8846 h 8846"/>
              <a:gd name="connsiteX3" fmla="*/ 10000 w 10000"/>
              <a:gd name="connsiteY3" fmla="*/ 8846 h 8846"/>
              <a:gd name="connsiteX4" fmla="*/ 6186 w 10000"/>
              <a:gd name="connsiteY4" fmla="*/ 431 h 8846"/>
              <a:gd name="connsiteX0" fmla="*/ 10000 w 10000"/>
              <a:gd name="connsiteY0" fmla="*/ 0 h 0"/>
              <a:gd name="connsiteX1" fmla="*/ 0 w 10000"/>
              <a:gd name="connsiteY1" fmla="*/ 0 h 0"/>
              <a:gd name="connsiteX2" fmla="*/ 3533 w 10000"/>
              <a:gd name="connsiteY2" fmla="*/ 0 h 0"/>
              <a:gd name="connsiteX3" fmla="*/ 10000 w 10000"/>
              <a:gd name="connsiteY3" fmla="*/ 0 h 0"/>
              <a:gd name="connsiteX0" fmla="*/ 10000 w 10000"/>
              <a:gd name="connsiteY0" fmla="*/ 0 h 0"/>
              <a:gd name="connsiteX1" fmla="*/ 0 w 10000"/>
              <a:gd name="connsiteY1" fmla="*/ 0 h 0"/>
              <a:gd name="connsiteX2" fmla="*/ 3533 w 10000"/>
              <a:gd name="connsiteY2" fmla="*/ 0 h 0"/>
              <a:gd name="connsiteX3" fmla="*/ 10000 w 10000"/>
              <a:gd name="connsiteY3" fmla="*/ 0 h 0"/>
            </a:gdLst>
            <a:ahLst/>
            <a:cxnLst>
              <a:cxn ang="0">
                <a:pos x="connsiteX0" y="connsiteY0"/>
              </a:cxn>
              <a:cxn ang="0">
                <a:pos x="connsiteX1" y="connsiteY1"/>
              </a:cxn>
              <a:cxn ang="0">
                <a:pos x="connsiteX2" y="connsiteY2"/>
              </a:cxn>
              <a:cxn ang="0">
                <a:pos x="connsiteX3" y="connsiteY3"/>
              </a:cxn>
            </a:cxnLst>
            <a:rect l="l" t="t" r="r" b="b"/>
            <a:pathLst>
              <a:path w="10000">
                <a:moveTo>
                  <a:pt x="10000" y="0"/>
                </a:moveTo>
                <a:lnTo>
                  <a:pt x="0" y="0"/>
                </a:lnTo>
                <a:lnTo>
                  <a:pt x="3533" y="0"/>
                </a:lnTo>
                <a:cubicBezTo>
                  <a:pt x="5689" y="0"/>
                  <a:pt x="7782" y="-504825"/>
                  <a:pt x="1000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45"/>
          <p:cNvSpPr>
            <a:spLocks/>
          </p:cNvSpPr>
          <p:nvPr/>
        </p:nvSpPr>
        <p:spPr bwMode="auto">
          <a:xfrm flipH="1">
            <a:off x="11962777" y="5766779"/>
            <a:ext cx="318117" cy="208657"/>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 name="Freeform 44"/>
          <p:cNvSpPr>
            <a:spLocks/>
          </p:cNvSpPr>
          <p:nvPr/>
        </p:nvSpPr>
        <p:spPr bwMode="auto">
          <a:xfrm flipH="1">
            <a:off x="21624" y="6197229"/>
            <a:ext cx="343500" cy="225007"/>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 name="Freeform 45"/>
          <p:cNvSpPr>
            <a:spLocks/>
          </p:cNvSpPr>
          <p:nvPr/>
        </p:nvSpPr>
        <p:spPr bwMode="auto">
          <a:xfrm flipH="1">
            <a:off x="12119821" y="6470976"/>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 name="Freeform 46"/>
          <p:cNvSpPr>
            <a:spLocks/>
          </p:cNvSpPr>
          <p:nvPr/>
        </p:nvSpPr>
        <p:spPr bwMode="auto">
          <a:xfrm flipH="1">
            <a:off x="11543476" y="5588981"/>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42" name="Group 41"/>
          <p:cNvGrpSpPr/>
          <p:nvPr/>
        </p:nvGrpSpPr>
        <p:grpSpPr>
          <a:xfrm flipH="1">
            <a:off x="10765550" y="6145159"/>
            <a:ext cx="904198" cy="802578"/>
            <a:chOff x="9582683" y="5173179"/>
            <a:chExt cx="2324421" cy="1861424"/>
          </a:xfrm>
        </p:grpSpPr>
        <p:sp>
          <p:nvSpPr>
            <p:cNvPr id="45" name="Freeform 44"/>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 name="Freeform 45"/>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Freeform 46"/>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Rectangle 47"/>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Rectangle 48"/>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Rectangle 49"/>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1" name="Rectangle 50"/>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Rectangle 51"/>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3" name="Rectangle 52"/>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4" name="Rectangle 53"/>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5" name="Rectangle 54"/>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6" name="Rectangle 55"/>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7" name="Rectangle 56"/>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1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017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lvl1pPr>
              <a:defRPr>
                <a:solidFill>
                  <a:schemeClr val="tx2"/>
                </a:solidFill>
              </a:defRPr>
            </a:lvl1pPr>
          </a:lstStyle>
          <a:p>
            <a:pPr>
              <a:defRPr/>
            </a:pPr>
            <a:r>
              <a:rPr lang="en-IN">
                <a:solidFill>
                  <a:srgbClr val="505050"/>
                </a:solidFill>
              </a:rPr>
              <a:t>Microsoft confidential 2015</a:t>
            </a:r>
            <a:endParaRPr lang="en-IN" dirty="0">
              <a:solidFill>
                <a:srgbClr val="505050"/>
              </a:solidFill>
            </a:endParaRPr>
          </a:p>
        </p:txBody>
      </p:sp>
      <p:sp>
        <p:nvSpPr>
          <p:cNvPr id="4" name="Slide Number Placeholder 3"/>
          <p:cNvSpPr>
            <a:spLocks noGrp="1"/>
          </p:cNvSpPr>
          <p:nvPr userDrawn="1">
            <p:ph type="sldNum" sz="quarter" idx="11"/>
          </p:nvPr>
        </p:nvSpPr>
        <p:spPr/>
        <p:txBody>
          <a:bodyPr/>
          <a:lstStyle>
            <a:lvl1pPr>
              <a:defRPr>
                <a:solidFill>
                  <a:schemeClr val="tx2"/>
                </a:solidFill>
              </a:defRPr>
            </a:lvl1pPr>
          </a:lstStyle>
          <a:p>
            <a:pPr defTabSz="932539">
              <a:defRPr/>
            </a:pPr>
            <a:fld id="{27258FFF-F925-446B-8502-81C933981705}" type="slidenum">
              <a:rPr lang="en-US" smtClean="0">
                <a:solidFill>
                  <a:srgbClr val="505050"/>
                </a:solidFill>
              </a:rPr>
              <a:pPr defTabSz="932539">
                <a:defRPr/>
              </a:pPr>
              <a:t>‹#›</a:t>
            </a:fld>
            <a:endParaRPr lang="en-US" dirty="0">
              <a:solidFill>
                <a:srgbClr val="505050"/>
              </a:solidFill>
            </a:endParaRPr>
          </a:p>
        </p:txBody>
      </p:sp>
      <p:sp>
        <p:nvSpPr>
          <p:cNvPr id="7" name="Title 1"/>
          <p:cNvSpPr>
            <a:spLocks noGrp="1"/>
          </p:cNvSpPr>
          <p:nvPr userDrawn="1">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grpSp>
        <p:nvGrpSpPr>
          <p:cNvPr id="58" name="Group 57"/>
          <p:cNvGrpSpPr/>
          <p:nvPr userDrawn="1"/>
        </p:nvGrpSpPr>
        <p:grpSpPr>
          <a:xfrm flipH="1">
            <a:off x="174297" y="6709441"/>
            <a:ext cx="136156" cy="263409"/>
            <a:chOff x="6812419" y="6555317"/>
            <a:chExt cx="203193" cy="393100"/>
          </a:xfrm>
        </p:grpSpPr>
        <p:sp>
          <p:nvSpPr>
            <p:cNvPr id="59" name="Rectangle 58"/>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0" name="Oval 59"/>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1" name="Oval 60"/>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62" name="Group 61"/>
          <p:cNvGrpSpPr/>
          <p:nvPr userDrawn="1"/>
        </p:nvGrpSpPr>
        <p:grpSpPr>
          <a:xfrm flipH="1">
            <a:off x="12203682" y="6775893"/>
            <a:ext cx="88825" cy="171840"/>
            <a:chOff x="6812419" y="6555317"/>
            <a:chExt cx="203193" cy="393100"/>
          </a:xfrm>
        </p:grpSpPr>
        <p:sp>
          <p:nvSpPr>
            <p:cNvPr id="63" name="Rectangle 62"/>
            <p:cNvSpPr>
              <a:spLocks noChangeArrowheads="1"/>
            </p:cNvSpPr>
            <p:nvPr/>
          </p:nvSpPr>
          <p:spPr bwMode="auto">
            <a:xfrm>
              <a:off x="6893697"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4" name="Oval 63"/>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5" name="Oval 64"/>
            <p:cNvSpPr>
              <a:spLocks noChangeArrowheads="1"/>
            </p:cNvSpPr>
            <p:nvPr/>
          </p:nvSpPr>
          <p:spPr bwMode="auto">
            <a:xfrm>
              <a:off x="6838991"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66" name="Rectangle 33"/>
          <p:cNvSpPr>
            <a:spLocks noChangeArrowheads="1"/>
          </p:cNvSpPr>
          <p:nvPr userDrawn="1"/>
        </p:nvSpPr>
        <p:spPr bwMode="auto">
          <a:xfrm>
            <a:off x="0" y="6942989"/>
            <a:ext cx="12436475" cy="5153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68" name="Group 67"/>
          <p:cNvGrpSpPr/>
          <p:nvPr userDrawn="1"/>
        </p:nvGrpSpPr>
        <p:grpSpPr>
          <a:xfrm>
            <a:off x="6537251" y="6587786"/>
            <a:ext cx="195151" cy="362340"/>
            <a:chOff x="2947734" y="4893996"/>
            <a:chExt cx="261655" cy="485821"/>
          </a:xfrm>
        </p:grpSpPr>
        <p:sp>
          <p:nvSpPr>
            <p:cNvPr id="69"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0"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71" name="Group 70"/>
          <p:cNvGrpSpPr/>
          <p:nvPr userDrawn="1"/>
        </p:nvGrpSpPr>
        <p:grpSpPr>
          <a:xfrm>
            <a:off x="10519773" y="6390564"/>
            <a:ext cx="195151" cy="362340"/>
            <a:chOff x="2947734" y="4893996"/>
            <a:chExt cx="261655" cy="485821"/>
          </a:xfrm>
        </p:grpSpPr>
        <p:sp>
          <p:nvSpPr>
            <p:cNvPr id="72" name="Freeform 25"/>
            <p:cNvSpPr>
              <a:spLocks/>
            </p:cNvSpPr>
            <p:nvPr/>
          </p:nvSpPr>
          <p:spPr bwMode="auto">
            <a:xfrm flipH="1">
              <a:off x="3046279" y="4893996"/>
              <a:ext cx="163110" cy="485821"/>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3" name="Freeform 26"/>
            <p:cNvSpPr>
              <a:spLocks/>
            </p:cNvSpPr>
            <p:nvPr/>
          </p:nvSpPr>
          <p:spPr bwMode="auto">
            <a:xfrm flipH="1">
              <a:off x="2947734" y="5006502"/>
              <a:ext cx="126580" cy="373315"/>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0" name="Group 9"/>
          <p:cNvGrpSpPr/>
          <p:nvPr userDrawn="1"/>
        </p:nvGrpSpPr>
        <p:grpSpPr>
          <a:xfrm>
            <a:off x="6765158" y="6266432"/>
            <a:ext cx="777464" cy="676561"/>
            <a:chOff x="6801374" y="6136157"/>
            <a:chExt cx="932615" cy="811576"/>
          </a:xfrm>
        </p:grpSpPr>
        <p:sp>
          <p:nvSpPr>
            <p:cNvPr id="9" name="Rectangle 8"/>
            <p:cNvSpPr/>
            <p:nvPr userDrawn="1"/>
          </p:nvSpPr>
          <p:spPr bwMode="auto">
            <a:xfrm>
              <a:off x="6801374" y="6741404"/>
              <a:ext cx="932615" cy="2063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Freeform 66"/>
            <p:cNvSpPr>
              <a:spLocks noChangeArrowheads="1"/>
            </p:cNvSpPr>
            <p:nvPr userDrawn="1"/>
          </p:nvSpPr>
          <p:spPr bwMode="auto">
            <a:xfrm>
              <a:off x="6801374" y="6136157"/>
              <a:ext cx="932615" cy="811576"/>
            </a:xfrm>
            <a:custGeom>
              <a:avLst/>
              <a:gdLst>
                <a:gd name="connsiteX0" fmla="*/ 1116013 w 1679575"/>
                <a:gd name="connsiteY0" fmla="*/ 750887 h 1262063"/>
                <a:gd name="connsiteX1" fmla="*/ 1089025 w 1679575"/>
                <a:gd name="connsiteY1" fmla="*/ 778007 h 1262063"/>
                <a:gd name="connsiteX2" fmla="*/ 1089025 w 1679575"/>
                <a:gd name="connsiteY2" fmla="*/ 1076325 h 1262063"/>
                <a:gd name="connsiteX3" fmla="*/ 1143000 w 1679575"/>
                <a:gd name="connsiteY3" fmla="*/ 1076325 h 1262063"/>
                <a:gd name="connsiteX4" fmla="*/ 1143000 w 1679575"/>
                <a:gd name="connsiteY4" fmla="*/ 778007 h 1262063"/>
                <a:gd name="connsiteX5" fmla="*/ 1116013 w 1679575"/>
                <a:gd name="connsiteY5" fmla="*/ 750887 h 1262063"/>
                <a:gd name="connsiteX6" fmla="*/ 1023938 w 1679575"/>
                <a:gd name="connsiteY6" fmla="*/ 750887 h 1262063"/>
                <a:gd name="connsiteX7" fmla="*/ 996950 w 1679575"/>
                <a:gd name="connsiteY7" fmla="*/ 778007 h 1262063"/>
                <a:gd name="connsiteX8" fmla="*/ 996950 w 1679575"/>
                <a:gd name="connsiteY8" fmla="*/ 1076325 h 1262063"/>
                <a:gd name="connsiteX9" fmla="*/ 1050925 w 1679575"/>
                <a:gd name="connsiteY9" fmla="*/ 1076325 h 1262063"/>
                <a:gd name="connsiteX10" fmla="*/ 1050925 w 1679575"/>
                <a:gd name="connsiteY10" fmla="*/ 778007 h 1262063"/>
                <a:gd name="connsiteX11" fmla="*/ 1023938 w 1679575"/>
                <a:gd name="connsiteY11" fmla="*/ 750887 h 1262063"/>
                <a:gd name="connsiteX12" fmla="*/ 926748 w 1679575"/>
                <a:gd name="connsiteY12" fmla="*/ 750887 h 1262063"/>
                <a:gd name="connsiteX13" fmla="*/ 904875 w 1679575"/>
                <a:gd name="connsiteY13" fmla="*/ 778007 h 1262063"/>
                <a:gd name="connsiteX14" fmla="*/ 904875 w 1679575"/>
                <a:gd name="connsiteY14" fmla="*/ 1076325 h 1262063"/>
                <a:gd name="connsiteX15" fmla="*/ 954088 w 1679575"/>
                <a:gd name="connsiteY15" fmla="*/ 1076325 h 1262063"/>
                <a:gd name="connsiteX16" fmla="*/ 954088 w 1679575"/>
                <a:gd name="connsiteY16" fmla="*/ 778007 h 1262063"/>
                <a:gd name="connsiteX17" fmla="*/ 926748 w 1679575"/>
                <a:gd name="connsiteY17" fmla="*/ 750887 h 1262063"/>
                <a:gd name="connsiteX18" fmla="*/ 834232 w 1679575"/>
                <a:gd name="connsiteY18" fmla="*/ 750887 h 1262063"/>
                <a:gd name="connsiteX19" fmla="*/ 806450 w 1679575"/>
                <a:gd name="connsiteY19" fmla="*/ 778007 h 1262063"/>
                <a:gd name="connsiteX20" fmla="*/ 806450 w 1679575"/>
                <a:gd name="connsiteY20" fmla="*/ 1076325 h 1262063"/>
                <a:gd name="connsiteX21" fmla="*/ 862013 w 1679575"/>
                <a:gd name="connsiteY21" fmla="*/ 1076325 h 1262063"/>
                <a:gd name="connsiteX22" fmla="*/ 862013 w 1679575"/>
                <a:gd name="connsiteY22" fmla="*/ 778007 h 1262063"/>
                <a:gd name="connsiteX23" fmla="*/ 834232 w 1679575"/>
                <a:gd name="connsiteY23" fmla="*/ 750887 h 1262063"/>
                <a:gd name="connsiteX24" fmla="*/ 742950 w 1679575"/>
                <a:gd name="connsiteY24" fmla="*/ 750887 h 1262063"/>
                <a:gd name="connsiteX25" fmla="*/ 715962 w 1679575"/>
                <a:gd name="connsiteY25" fmla="*/ 778007 h 1262063"/>
                <a:gd name="connsiteX26" fmla="*/ 715962 w 1679575"/>
                <a:gd name="connsiteY26" fmla="*/ 1076325 h 1262063"/>
                <a:gd name="connsiteX27" fmla="*/ 769937 w 1679575"/>
                <a:gd name="connsiteY27" fmla="*/ 1076325 h 1262063"/>
                <a:gd name="connsiteX28" fmla="*/ 769937 w 1679575"/>
                <a:gd name="connsiteY28" fmla="*/ 778007 h 1262063"/>
                <a:gd name="connsiteX29" fmla="*/ 742950 w 1679575"/>
                <a:gd name="connsiteY29" fmla="*/ 750887 h 1262063"/>
                <a:gd name="connsiteX30" fmla="*/ 650875 w 1679575"/>
                <a:gd name="connsiteY30" fmla="*/ 750887 h 1262063"/>
                <a:gd name="connsiteX31" fmla="*/ 623887 w 1679575"/>
                <a:gd name="connsiteY31" fmla="*/ 778007 h 1262063"/>
                <a:gd name="connsiteX32" fmla="*/ 623887 w 1679575"/>
                <a:gd name="connsiteY32" fmla="*/ 1076325 h 1262063"/>
                <a:gd name="connsiteX33" fmla="*/ 677862 w 1679575"/>
                <a:gd name="connsiteY33" fmla="*/ 1076325 h 1262063"/>
                <a:gd name="connsiteX34" fmla="*/ 677862 w 1679575"/>
                <a:gd name="connsiteY34" fmla="*/ 778007 h 1262063"/>
                <a:gd name="connsiteX35" fmla="*/ 650875 w 1679575"/>
                <a:gd name="connsiteY35" fmla="*/ 750887 h 1262063"/>
                <a:gd name="connsiteX36" fmla="*/ 558270 w 1679575"/>
                <a:gd name="connsiteY36" fmla="*/ 750887 h 1262063"/>
                <a:gd name="connsiteX37" fmla="*/ 531812 w 1679575"/>
                <a:gd name="connsiteY37" fmla="*/ 778007 h 1262063"/>
                <a:gd name="connsiteX38" fmla="*/ 531812 w 1679575"/>
                <a:gd name="connsiteY38" fmla="*/ 1076325 h 1262063"/>
                <a:gd name="connsiteX39" fmla="*/ 579437 w 1679575"/>
                <a:gd name="connsiteY39" fmla="*/ 1076325 h 1262063"/>
                <a:gd name="connsiteX40" fmla="*/ 579437 w 1679575"/>
                <a:gd name="connsiteY40" fmla="*/ 778007 h 1262063"/>
                <a:gd name="connsiteX41" fmla="*/ 558270 w 1679575"/>
                <a:gd name="connsiteY41" fmla="*/ 750887 h 1262063"/>
                <a:gd name="connsiteX42" fmla="*/ 87313 w 1679575"/>
                <a:gd name="connsiteY42" fmla="*/ 576262 h 1262063"/>
                <a:gd name="connsiteX43" fmla="*/ 98425 w 1679575"/>
                <a:gd name="connsiteY43" fmla="*/ 576262 h 1262063"/>
                <a:gd name="connsiteX44" fmla="*/ 123560 w 1679575"/>
                <a:gd name="connsiteY44" fmla="*/ 636587 h 1262063"/>
                <a:gd name="connsiteX45" fmla="*/ 130175 w 1679575"/>
                <a:gd name="connsiteY45" fmla="*/ 636587 h 1262063"/>
                <a:gd name="connsiteX46" fmla="*/ 130175 w 1679575"/>
                <a:gd name="connsiteY46" fmla="*/ 652462 h 1262063"/>
                <a:gd name="connsiteX47" fmla="*/ 130175 w 1679575"/>
                <a:gd name="connsiteY47" fmla="*/ 690562 h 1262063"/>
                <a:gd name="connsiteX48" fmla="*/ 157162 w 1679575"/>
                <a:gd name="connsiteY48" fmla="*/ 690562 h 1262063"/>
                <a:gd name="connsiteX49" fmla="*/ 157162 w 1679575"/>
                <a:gd name="connsiteY49" fmla="*/ 777875 h 1262063"/>
                <a:gd name="connsiteX50" fmla="*/ 184150 w 1679575"/>
                <a:gd name="connsiteY50" fmla="*/ 777875 h 1262063"/>
                <a:gd name="connsiteX51" fmla="*/ 184150 w 1679575"/>
                <a:gd name="connsiteY51" fmla="*/ 1076325 h 1262063"/>
                <a:gd name="connsiteX52" fmla="*/ 374650 w 1679575"/>
                <a:gd name="connsiteY52" fmla="*/ 1076325 h 1262063"/>
                <a:gd name="connsiteX53" fmla="*/ 374650 w 1679575"/>
                <a:gd name="connsiteY53" fmla="*/ 849312 h 1262063"/>
                <a:gd name="connsiteX54" fmla="*/ 374650 w 1679575"/>
                <a:gd name="connsiteY54" fmla="*/ 800100 h 1262063"/>
                <a:gd name="connsiteX55" fmla="*/ 471487 w 1679575"/>
                <a:gd name="connsiteY55" fmla="*/ 800100 h 1262063"/>
                <a:gd name="connsiteX56" fmla="*/ 471487 w 1679575"/>
                <a:gd name="connsiteY56" fmla="*/ 666472 h 1262063"/>
                <a:gd name="connsiteX57" fmla="*/ 1201737 w 1679575"/>
                <a:gd name="connsiteY57" fmla="*/ 666472 h 1262063"/>
                <a:gd name="connsiteX58" fmla="*/ 1201737 w 1679575"/>
                <a:gd name="connsiteY58" fmla="*/ 800100 h 1262063"/>
                <a:gd name="connsiteX59" fmla="*/ 1300163 w 1679575"/>
                <a:gd name="connsiteY59" fmla="*/ 800100 h 1262063"/>
                <a:gd name="connsiteX60" fmla="*/ 1300163 w 1679575"/>
                <a:gd name="connsiteY60" fmla="*/ 849312 h 1262063"/>
                <a:gd name="connsiteX61" fmla="*/ 1300163 w 1679575"/>
                <a:gd name="connsiteY61" fmla="*/ 1076325 h 1262063"/>
                <a:gd name="connsiteX62" fmla="*/ 1489075 w 1679575"/>
                <a:gd name="connsiteY62" fmla="*/ 1076325 h 1262063"/>
                <a:gd name="connsiteX63" fmla="*/ 1489075 w 1679575"/>
                <a:gd name="connsiteY63" fmla="*/ 777875 h 1262063"/>
                <a:gd name="connsiteX64" fmla="*/ 1516062 w 1679575"/>
                <a:gd name="connsiteY64" fmla="*/ 777875 h 1262063"/>
                <a:gd name="connsiteX65" fmla="*/ 1516062 w 1679575"/>
                <a:gd name="connsiteY65" fmla="*/ 690562 h 1262063"/>
                <a:gd name="connsiteX66" fmla="*/ 1543050 w 1679575"/>
                <a:gd name="connsiteY66" fmla="*/ 690562 h 1262063"/>
                <a:gd name="connsiteX67" fmla="*/ 1543050 w 1679575"/>
                <a:gd name="connsiteY67" fmla="*/ 652462 h 1262063"/>
                <a:gd name="connsiteX68" fmla="*/ 1543050 w 1679575"/>
                <a:gd name="connsiteY68" fmla="*/ 636587 h 1262063"/>
                <a:gd name="connsiteX69" fmla="*/ 1549995 w 1679575"/>
                <a:gd name="connsiteY69" fmla="*/ 636587 h 1262063"/>
                <a:gd name="connsiteX70" fmla="*/ 1576388 w 1679575"/>
                <a:gd name="connsiteY70" fmla="*/ 576262 h 1262063"/>
                <a:gd name="connsiteX71" fmla="*/ 1587500 w 1679575"/>
                <a:gd name="connsiteY71" fmla="*/ 576262 h 1262063"/>
                <a:gd name="connsiteX72" fmla="*/ 1612635 w 1679575"/>
                <a:gd name="connsiteY72" fmla="*/ 636587 h 1262063"/>
                <a:gd name="connsiteX73" fmla="*/ 1619250 w 1679575"/>
                <a:gd name="connsiteY73" fmla="*/ 636587 h 1262063"/>
                <a:gd name="connsiteX74" fmla="*/ 1619250 w 1679575"/>
                <a:gd name="connsiteY74" fmla="*/ 652462 h 1262063"/>
                <a:gd name="connsiteX75" fmla="*/ 1619250 w 1679575"/>
                <a:gd name="connsiteY75" fmla="*/ 690562 h 1262063"/>
                <a:gd name="connsiteX76" fmla="*/ 1646237 w 1679575"/>
                <a:gd name="connsiteY76" fmla="*/ 690562 h 1262063"/>
                <a:gd name="connsiteX77" fmla="*/ 1646237 w 1679575"/>
                <a:gd name="connsiteY77" fmla="*/ 777875 h 1262063"/>
                <a:gd name="connsiteX78" fmla="*/ 1679575 w 1679575"/>
                <a:gd name="connsiteY78" fmla="*/ 777875 h 1262063"/>
                <a:gd name="connsiteX79" fmla="*/ 1679575 w 1679575"/>
                <a:gd name="connsiteY79" fmla="*/ 1262063 h 1262063"/>
                <a:gd name="connsiteX80" fmla="*/ 1516062 w 1679575"/>
                <a:gd name="connsiteY80" fmla="*/ 1262063 h 1262063"/>
                <a:gd name="connsiteX81" fmla="*/ 1489075 w 1679575"/>
                <a:gd name="connsiteY81" fmla="*/ 1262063 h 1262063"/>
                <a:gd name="connsiteX82" fmla="*/ 1300163 w 1679575"/>
                <a:gd name="connsiteY82" fmla="*/ 1262063 h 1262063"/>
                <a:gd name="connsiteX83" fmla="*/ 374650 w 1679575"/>
                <a:gd name="connsiteY83" fmla="*/ 1262063 h 1262063"/>
                <a:gd name="connsiteX84" fmla="*/ 184150 w 1679575"/>
                <a:gd name="connsiteY84" fmla="*/ 1262063 h 1262063"/>
                <a:gd name="connsiteX85" fmla="*/ 173037 w 1679575"/>
                <a:gd name="connsiteY85" fmla="*/ 1262063 h 1262063"/>
                <a:gd name="connsiteX86" fmla="*/ 0 w 1679575"/>
                <a:gd name="connsiteY86" fmla="*/ 1262063 h 1262063"/>
                <a:gd name="connsiteX87" fmla="*/ 0 w 1679575"/>
                <a:gd name="connsiteY87" fmla="*/ 777875 h 1262063"/>
                <a:gd name="connsiteX88" fmla="*/ 26987 w 1679575"/>
                <a:gd name="connsiteY88" fmla="*/ 777875 h 1262063"/>
                <a:gd name="connsiteX89" fmla="*/ 26987 w 1679575"/>
                <a:gd name="connsiteY89" fmla="*/ 690562 h 1262063"/>
                <a:gd name="connsiteX90" fmla="*/ 53975 w 1679575"/>
                <a:gd name="connsiteY90" fmla="*/ 690562 h 1262063"/>
                <a:gd name="connsiteX91" fmla="*/ 53975 w 1679575"/>
                <a:gd name="connsiteY91" fmla="*/ 652462 h 1262063"/>
                <a:gd name="connsiteX92" fmla="*/ 53975 w 1679575"/>
                <a:gd name="connsiteY92" fmla="*/ 636587 h 1262063"/>
                <a:gd name="connsiteX93" fmla="*/ 60920 w 1679575"/>
                <a:gd name="connsiteY93" fmla="*/ 636587 h 1262063"/>
                <a:gd name="connsiteX94" fmla="*/ 835025 w 1679575"/>
                <a:gd name="connsiteY94" fmla="*/ 0 h 1262063"/>
                <a:gd name="connsiteX95" fmla="*/ 839788 w 1679575"/>
                <a:gd name="connsiteY95" fmla="*/ 0 h 1262063"/>
                <a:gd name="connsiteX96" fmla="*/ 839788 w 1679575"/>
                <a:gd name="connsiteY96" fmla="*/ 98425 h 1262063"/>
                <a:gd name="connsiteX97" fmla="*/ 855662 w 1679575"/>
                <a:gd name="connsiteY97" fmla="*/ 98425 h 1262063"/>
                <a:gd name="connsiteX98" fmla="*/ 855662 w 1679575"/>
                <a:gd name="connsiteY98" fmla="*/ 133122 h 1262063"/>
                <a:gd name="connsiteX99" fmla="*/ 866032 w 1679575"/>
                <a:gd name="connsiteY99" fmla="*/ 137501 h 1262063"/>
                <a:gd name="connsiteX100" fmla="*/ 877889 w 1679575"/>
                <a:gd name="connsiteY100" fmla="*/ 166687 h 1262063"/>
                <a:gd name="connsiteX101" fmla="*/ 876599 w 1679575"/>
                <a:gd name="connsiteY101" fmla="*/ 169862 h 1262063"/>
                <a:gd name="connsiteX102" fmla="*/ 898525 w 1679575"/>
                <a:gd name="connsiteY102" fmla="*/ 169862 h 1262063"/>
                <a:gd name="connsiteX103" fmla="*/ 898525 w 1679575"/>
                <a:gd name="connsiteY103" fmla="*/ 310731 h 1262063"/>
                <a:gd name="connsiteX104" fmla="*/ 908400 w 1679575"/>
                <a:gd name="connsiteY104" fmla="*/ 311721 h 1262063"/>
                <a:gd name="connsiteX105" fmla="*/ 1185862 w 1679575"/>
                <a:gd name="connsiteY105" fmla="*/ 647700 h 1262063"/>
                <a:gd name="connsiteX106" fmla="*/ 1201737 w 1679575"/>
                <a:gd name="connsiteY106" fmla="*/ 647700 h 1262063"/>
                <a:gd name="connsiteX107" fmla="*/ 1201737 w 1679575"/>
                <a:gd name="connsiteY107" fmla="*/ 648184 h 1262063"/>
                <a:gd name="connsiteX108" fmla="*/ 471487 w 1679575"/>
                <a:gd name="connsiteY108" fmla="*/ 648184 h 1262063"/>
                <a:gd name="connsiteX109" fmla="*/ 471487 w 1679575"/>
                <a:gd name="connsiteY109" fmla="*/ 647700 h 1262063"/>
                <a:gd name="connsiteX110" fmla="*/ 487362 w 1679575"/>
                <a:gd name="connsiteY110" fmla="*/ 647700 h 1262063"/>
                <a:gd name="connsiteX111" fmla="*/ 768452 w 1679575"/>
                <a:gd name="connsiteY111" fmla="*/ 311721 h 1262063"/>
                <a:gd name="connsiteX112" fmla="*/ 774700 w 1679575"/>
                <a:gd name="connsiteY112" fmla="*/ 311111 h 1262063"/>
                <a:gd name="connsiteX113" fmla="*/ 774700 w 1679575"/>
                <a:gd name="connsiteY113" fmla="*/ 169862 h 1262063"/>
                <a:gd name="connsiteX114" fmla="*/ 798215 w 1679575"/>
                <a:gd name="connsiteY114" fmla="*/ 169862 h 1262063"/>
                <a:gd name="connsiteX115" fmla="*/ 796925 w 1679575"/>
                <a:gd name="connsiteY115" fmla="*/ 166687 h 1262063"/>
                <a:gd name="connsiteX116" fmla="*/ 808782 w 1679575"/>
                <a:gd name="connsiteY116" fmla="*/ 137501 h 1262063"/>
                <a:gd name="connsiteX117" fmla="*/ 817562 w 1679575"/>
                <a:gd name="connsiteY117" fmla="*/ 133793 h 1262063"/>
                <a:gd name="connsiteX118" fmla="*/ 817562 w 1679575"/>
                <a:gd name="connsiteY118" fmla="*/ 98425 h 1262063"/>
                <a:gd name="connsiteX119" fmla="*/ 835025 w 1679575"/>
                <a:gd name="connsiteY119" fmla="*/ 98425 h 1262063"/>
                <a:gd name="connsiteX0" fmla="*/ 1116013 w 1679575"/>
                <a:gd name="connsiteY0" fmla="*/ 750887 h 1262063"/>
                <a:gd name="connsiteX1" fmla="*/ 1089025 w 1679575"/>
                <a:gd name="connsiteY1" fmla="*/ 778007 h 1262063"/>
                <a:gd name="connsiteX2" fmla="*/ 1089025 w 1679575"/>
                <a:gd name="connsiteY2" fmla="*/ 1076325 h 1262063"/>
                <a:gd name="connsiteX3" fmla="*/ 1143000 w 1679575"/>
                <a:gd name="connsiteY3" fmla="*/ 1076325 h 1262063"/>
                <a:gd name="connsiteX4" fmla="*/ 1143000 w 1679575"/>
                <a:gd name="connsiteY4" fmla="*/ 778007 h 1262063"/>
                <a:gd name="connsiteX5" fmla="*/ 1116013 w 1679575"/>
                <a:gd name="connsiteY5" fmla="*/ 750887 h 1262063"/>
                <a:gd name="connsiteX6" fmla="*/ 1023938 w 1679575"/>
                <a:gd name="connsiteY6" fmla="*/ 750887 h 1262063"/>
                <a:gd name="connsiteX7" fmla="*/ 996950 w 1679575"/>
                <a:gd name="connsiteY7" fmla="*/ 778007 h 1262063"/>
                <a:gd name="connsiteX8" fmla="*/ 996950 w 1679575"/>
                <a:gd name="connsiteY8" fmla="*/ 1076325 h 1262063"/>
                <a:gd name="connsiteX9" fmla="*/ 1050925 w 1679575"/>
                <a:gd name="connsiteY9" fmla="*/ 1076325 h 1262063"/>
                <a:gd name="connsiteX10" fmla="*/ 1050925 w 1679575"/>
                <a:gd name="connsiteY10" fmla="*/ 778007 h 1262063"/>
                <a:gd name="connsiteX11" fmla="*/ 1023938 w 1679575"/>
                <a:gd name="connsiteY11" fmla="*/ 750887 h 1262063"/>
                <a:gd name="connsiteX12" fmla="*/ 926748 w 1679575"/>
                <a:gd name="connsiteY12" fmla="*/ 750887 h 1262063"/>
                <a:gd name="connsiteX13" fmla="*/ 904875 w 1679575"/>
                <a:gd name="connsiteY13" fmla="*/ 778007 h 1262063"/>
                <a:gd name="connsiteX14" fmla="*/ 904875 w 1679575"/>
                <a:gd name="connsiteY14" fmla="*/ 1076325 h 1262063"/>
                <a:gd name="connsiteX15" fmla="*/ 954088 w 1679575"/>
                <a:gd name="connsiteY15" fmla="*/ 1076325 h 1262063"/>
                <a:gd name="connsiteX16" fmla="*/ 954088 w 1679575"/>
                <a:gd name="connsiteY16" fmla="*/ 778007 h 1262063"/>
                <a:gd name="connsiteX17" fmla="*/ 926748 w 1679575"/>
                <a:gd name="connsiteY17" fmla="*/ 750887 h 1262063"/>
                <a:gd name="connsiteX18" fmla="*/ 834232 w 1679575"/>
                <a:gd name="connsiteY18" fmla="*/ 750887 h 1262063"/>
                <a:gd name="connsiteX19" fmla="*/ 806450 w 1679575"/>
                <a:gd name="connsiteY19" fmla="*/ 778007 h 1262063"/>
                <a:gd name="connsiteX20" fmla="*/ 806450 w 1679575"/>
                <a:gd name="connsiteY20" fmla="*/ 1076325 h 1262063"/>
                <a:gd name="connsiteX21" fmla="*/ 862013 w 1679575"/>
                <a:gd name="connsiteY21" fmla="*/ 1076325 h 1262063"/>
                <a:gd name="connsiteX22" fmla="*/ 862013 w 1679575"/>
                <a:gd name="connsiteY22" fmla="*/ 778007 h 1262063"/>
                <a:gd name="connsiteX23" fmla="*/ 834232 w 1679575"/>
                <a:gd name="connsiteY23" fmla="*/ 750887 h 1262063"/>
                <a:gd name="connsiteX24" fmla="*/ 742950 w 1679575"/>
                <a:gd name="connsiteY24" fmla="*/ 750887 h 1262063"/>
                <a:gd name="connsiteX25" fmla="*/ 715962 w 1679575"/>
                <a:gd name="connsiteY25" fmla="*/ 778007 h 1262063"/>
                <a:gd name="connsiteX26" fmla="*/ 715962 w 1679575"/>
                <a:gd name="connsiteY26" fmla="*/ 1076325 h 1262063"/>
                <a:gd name="connsiteX27" fmla="*/ 769937 w 1679575"/>
                <a:gd name="connsiteY27" fmla="*/ 1076325 h 1262063"/>
                <a:gd name="connsiteX28" fmla="*/ 769937 w 1679575"/>
                <a:gd name="connsiteY28" fmla="*/ 778007 h 1262063"/>
                <a:gd name="connsiteX29" fmla="*/ 742950 w 1679575"/>
                <a:gd name="connsiteY29" fmla="*/ 750887 h 1262063"/>
                <a:gd name="connsiteX30" fmla="*/ 650875 w 1679575"/>
                <a:gd name="connsiteY30" fmla="*/ 750887 h 1262063"/>
                <a:gd name="connsiteX31" fmla="*/ 623887 w 1679575"/>
                <a:gd name="connsiteY31" fmla="*/ 778007 h 1262063"/>
                <a:gd name="connsiteX32" fmla="*/ 623887 w 1679575"/>
                <a:gd name="connsiteY32" fmla="*/ 1076325 h 1262063"/>
                <a:gd name="connsiteX33" fmla="*/ 677862 w 1679575"/>
                <a:gd name="connsiteY33" fmla="*/ 1076325 h 1262063"/>
                <a:gd name="connsiteX34" fmla="*/ 677862 w 1679575"/>
                <a:gd name="connsiteY34" fmla="*/ 778007 h 1262063"/>
                <a:gd name="connsiteX35" fmla="*/ 650875 w 1679575"/>
                <a:gd name="connsiteY35" fmla="*/ 750887 h 1262063"/>
                <a:gd name="connsiteX36" fmla="*/ 558270 w 1679575"/>
                <a:gd name="connsiteY36" fmla="*/ 750887 h 1262063"/>
                <a:gd name="connsiteX37" fmla="*/ 531812 w 1679575"/>
                <a:gd name="connsiteY37" fmla="*/ 778007 h 1262063"/>
                <a:gd name="connsiteX38" fmla="*/ 531812 w 1679575"/>
                <a:gd name="connsiteY38" fmla="*/ 1076325 h 1262063"/>
                <a:gd name="connsiteX39" fmla="*/ 579437 w 1679575"/>
                <a:gd name="connsiteY39" fmla="*/ 1076325 h 1262063"/>
                <a:gd name="connsiteX40" fmla="*/ 579437 w 1679575"/>
                <a:gd name="connsiteY40" fmla="*/ 778007 h 1262063"/>
                <a:gd name="connsiteX41" fmla="*/ 558270 w 1679575"/>
                <a:gd name="connsiteY41" fmla="*/ 750887 h 1262063"/>
                <a:gd name="connsiteX42" fmla="*/ 87313 w 1679575"/>
                <a:gd name="connsiteY42" fmla="*/ 576262 h 1262063"/>
                <a:gd name="connsiteX43" fmla="*/ 98425 w 1679575"/>
                <a:gd name="connsiteY43" fmla="*/ 576262 h 1262063"/>
                <a:gd name="connsiteX44" fmla="*/ 123560 w 1679575"/>
                <a:gd name="connsiteY44" fmla="*/ 636587 h 1262063"/>
                <a:gd name="connsiteX45" fmla="*/ 130175 w 1679575"/>
                <a:gd name="connsiteY45" fmla="*/ 636587 h 1262063"/>
                <a:gd name="connsiteX46" fmla="*/ 130175 w 1679575"/>
                <a:gd name="connsiteY46" fmla="*/ 652462 h 1262063"/>
                <a:gd name="connsiteX47" fmla="*/ 130175 w 1679575"/>
                <a:gd name="connsiteY47" fmla="*/ 690562 h 1262063"/>
                <a:gd name="connsiteX48" fmla="*/ 157162 w 1679575"/>
                <a:gd name="connsiteY48" fmla="*/ 690562 h 1262063"/>
                <a:gd name="connsiteX49" fmla="*/ 157162 w 1679575"/>
                <a:gd name="connsiteY49" fmla="*/ 777875 h 1262063"/>
                <a:gd name="connsiteX50" fmla="*/ 184150 w 1679575"/>
                <a:gd name="connsiteY50" fmla="*/ 777875 h 1262063"/>
                <a:gd name="connsiteX51" fmla="*/ 184150 w 1679575"/>
                <a:gd name="connsiteY51" fmla="*/ 1076325 h 1262063"/>
                <a:gd name="connsiteX52" fmla="*/ 374650 w 1679575"/>
                <a:gd name="connsiteY52" fmla="*/ 1076325 h 1262063"/>
                <a:gd name="connsiteX53" fmla="*/ 374650 w 1679575"/>
                <a:gd name="connsiteY53" fmla="*/ 849312 h 1262063"/>
                <a:gd name="connsiteX54" fmla="*/ 374650 w 1679575"/>
                <a:gd name="connsiteY54" fmla="*/ 800100 h 1262063"/>
                <a:gd name="connsiteX55" fmla="*/ 471487 w 1679575"/>
                <a:gd name="connsiteY55" fmla="*/ 800100 h 1262063"/>
                <a:gd name="connsiteX56" fmla="*/ 471487 w 1679575"/>
                <a:gd name="connsiteY56" fmla="*/ 666472 h 1262063"/>
                <a:gd name="connsiteX57" fmla="*/ 1201737 w 1679575"/>
                <a:gd name="connsiteY57" fmla="*/ 666472 h 1262063"/>
                <a:gd name="connsiteX58" fmla="*/ 1201737 w 1679575"/>
                <a:gd name="connsiteY58" fmla="*/ 800100 h 1262063"/>
                <a:gd name="connsiteX59" fmla="*/ 1300163 w 1679575"/>
                <a:gd name="connsiteY59" fmla="*/ 800100 h 1262063"/>
                <a:gd name="connsiteX60" fmla="*/ 1300163 w 1679575"/>
                <a:gd name="connsiteY60" fmla="*/ 849312 h 1262063"/>
                <a:gd name="connsiteX61" fmla="*/ 1300163 w 1679575"/>
                <a:gd name="connsiteY61" fmla="*/ 1076325 h 1262063"/>
                <a:gd name="connsiteX62" fmla="*/ 1489075 w 1679575"/>
                <a:gd name="connsiteY62" fmla="*/ 1076325 h 1262063"/>
                <a:gd name="connsiteX63" fmla="*/ 1489075 w 1679575"/>
                <a:gd name="connsiteY63" fmla="*/ 777875 h 1262063"/>
                <a:gd name="connsiteX64" fmla="*/ 1516062 w 1679575"/>
                <a:gd name="connsiteY64" fmla="*/ 777875 h 1262063"/>
                <a:gd name="connsiteX65" fmla="*/ 1516062 w 1679575"/>
                <a:gd name="connsiteY65" fmla="*/ 690562 h 1262063"/>
                <a:gd name="connsiteX66" fmla="*/ 1543050 w 1679575"/>
                <a:gd name="connsiteY66" fmla="*/ 690562 h 1262063"/>
                <a:gd name="connsiteX67" fmla="*/ 1543050 w 1679575"/>
                <a:gd name="connsiteY67" fmla="*/ 652462 h 1262063"/>
                <a:gd name="connsiteX68" fmla="*/ 1543050 w 1679575"/>
                <a:gd name="connsiteY68" fmla="*/ 636587 h 1262063"/>
                <a:gd name="connsiteX69" fmla="*/ 1549995 w 1679575"/>
                <a:gd name="connsiteY69" fmla="*/ 636587 h 1262063"/>
                <a:gd name="connsiteX70" fmla="*/ 1576388 w 1679575"/>
                <a:gd name="connsiteY70" fmla="*/ 576262 h 1262063"/>
                <a:gd name="connsiteX71" fmla="*/ 1587500 w 1679575"/>
                <a:gd name="connsiteY71" fmla="*/ 576262 h 1262063"/>
                <a:gd name="connsiteX72" fmla="*/ 1612635 w 1679575"/>
                <a:gd name="connsiteY72" fmla="*/ 636587 h 1262063"/>
                <a:gd name="connsiteX73" fmla="*/ 1619250 w 1679575"/>
                <a:gd name="connsiteY73" fmla="*/ 636587 h 1262063"/>
                <a:gd name="connsiteX74" fmla="*/ 1619250 w 1679575"/>
                <a:gd name="connsiteY74" fmla="*/ 652462 h 1262063"/>
                <a:gd name="connsiteX75" fmla="*/ 1619250 w 1679575"/>
                <a:gd name="connsiteY75" fmla="*/ 690562 h 1262063"/>
                <a:gd name="connsiteX76" fmla="*/ 1646237 w 1679575"/>
                <a:gd name="connsiteY76" fmla="*/ 690562 h 1262063"/>
                <a:gd name="connsiteX77" fmla="*/ 1646237 w 1679575"/>
                <a:gd name="connsiteY77" fmla="*/ 777875 h 1262063"/>
                <a:gd name="connsiteX78" fmla="*/ 1679575 w 1679575"/>
                <a:gd name="connsiteY78" fmla="*/ 777875 h 1262063"/>
                <a:gd name="connsiteX79" fmla="*/ 1679575 w 1679575"/>
                <a:gd name="connsiteY79" fmla="*/ 1262063 h 1262063"/>
                <a:gd name="connsiteX80" fmla="*/ 1516062 w 1679575"/>
                <a:gd name="connsiteY80" fmla="*/ 1262063 h 1262063"/>
                <a:gd name="connsiteX81" fmla="*/ 1489075 w 1679575"/>
                <a:gd name="connsiteY81" fmla="*/ 1262063 h 1262063"/>
                <a:gd name="connsiteX82" fmla="*/ 1300163 w 1679575"/>
                <a:gd name="connsiteY82" fmla="*/ 1262063 h 1262063"/>
                <a:gd name="connsiteX83" fmla="*/ 374650 w 1679575"/>
                <a:gd name="connsiteY83" fmla="*/ 1262063 h 1262063"/>
                <a:gd name="connsiteX84" fmla="*/ 184150 w 1679575"/>
                <a:gd name="connsiteY84" fmla="*/ 1262063 h 1262063"/>
                <a:gd name="connsiteX85" fmla="*/ 173037 w 1679575"/>
                <a:gd name="connsiteY85" fmla="*/ 1262063 h 1262063"/>
                <a:gd name="connsiteX86" fmla="*/ 0 w 1679575"/>
                <a:gd name="connsiteY86" fmla="*/ 1262063 h 1262063"/>
                <a:gd name="connsiteX87" fmla="*/ 0 w 1679575"/>
                <a:gd name="connsiteY87" fmla="*/ 777875 h 1262063"/>
                <a:gd name="connsiteX88" fmla="*/ 26987 w 1679575"/>
                <a:gd name="connsiteY88" fmla="*/ 777875 h 1262063"/>
                <a:gd name="connsiteX89" fmla="*/ 26987 w 1679575"/>
                <a:gd name="connsiteY89" fmla="*/ 690562 h 1262063"/>
                <a:gd name="connsiteX90" fmla="*/ 53975 w 1679575"/>
                <a:gd name="connsiteY90" fmla="*/ 690562 h 1262063"/>
                <a:gd name="connsiteX91" fmla="*/ 53975 w 1679575"/>
                <a:gd name="connsiteY91" fmla="*/ 652462 h 1262063"/>
                <a:gd name="connsiteX92" fmla="*/ 53975 w 1679575"/>
                <a:gd name="connsiteY92" fmla="*/ 636587 h 1262063"/>
                <a:gd name="connsiteX93" fmla="*/ 60920 w 1679575"/>
                <a:gd name="connsiteY93" fmla="*/ 636587 h 1262063"/>
                <a:gd name="connsiteX94" fmla="*/ 87313 w 1679575"/>
                <a:gd name="connsiteY94" fmla="*/ 576262 h 1262063"/>
                <a:gd name="connsiteX95" fmla="*/ 835025 w 1679575"/>
                <a:gd name="connsiteY95" fmla="*/ 0 h 1262063"/>
                <a:gd name="connsiteX96" fmla="*/ 839788 w 1679575"/>
                <a:gd name="connsiteY96" fmla="*/ 0 h 1262063"/>
                <a:gd name="connsiteX97" fmla="*/ 839788 w 1679575"/>
                <a:gd name="connsiteY97" fmla="*/ 98425 h 1262063"/>
                <a:gd name="connsiteX98" fmla="*/ 855662 w 1679575"/>
                <a:gd name="connsiteY98" fmla="*/ 98425 h 1262063"/>
                <a:gd name="connsiteX99" fmla="*/ 855662 w 1679575"/>
                <a:gd name="connsiteY99" fmla="*/ 133122 h 1262063"/>
                <a:gd name="connsiteX100" fmla="*/ 866032 w 1679575"/>
                <a:gd name="connsiteY100" fmla="*/ 137501 h 1262063"/>
                <a:gd name="connsiteX101" fmla="*/ 877889 w 1679575"/>
                <a:gd name="connsiteY101" fmla="*/ 166687 h 1262063"/>
                <a:gd name="connsiteX102" fmla="*/ 876599 w 1679575"/>
                <a:gd name="connsiteY102" fmla="*/ 169862 h 1262063"/>
                <a:gd name="connsiteX103" fmla="*/ 898525 w 1679575"/>
                <a:gd name="connsiteY103" fmla="*/ 169862 h 1262063"/>
                <a:gd name="connsiteX104" fmla="*/ 898525 w 1679575"/>
                <a:gd name="connsiteY104" fmla="*/ 310731 h 1262063"/>
                <a:gd name="connsiteX105" fmla="*/ 908400 w 1679575"/>
                <a:gd name="connsiteY105" fmla="*/ 311721 h 1262063"/>
                <a:gd name="connsiteX106" fmla="*/ 1185862 w 1679575"/>
                <a:gd name="connsiteY106" fmla="*/ 647700 h 1262063"/>
                <a:gd name="connsiteX107" fmla="*/ 1201737 w 1679575"/>
                <a:gd name="connsiteY107" fmla="*/ 647700 h 1262063"/>
                <a:gd name="connsiteX108" fmla="*/ 471487 w 1679575"/>
                <a:gd name="connsiteY108" fmla="*/ 648184 h 1262063"/>
                <a:gd name="connsiteX109" fmla="*/ 471487 w 1679575"/>
                <a:gd name="connsiteY109" fmla="*/ 647700 h 1262063"/>
                <a:gd name="connsiteX110" fmla="*/ 487362 w 1679575"/>
                <a:gd name="connsiteY110" fmla="*/ 647700 h 1262063"/>
                <a:gd name="connsiteX111" fmla="*/ 768452 w 1679575"/>
                <a:gd name="connsiteY111" fmla="*/ 311721 h 1262063"/>
                <a:gd name="connsiteX112" fmla="*/ 774700 w 1679575"/>
                <a:gd name="connsiteY112" fmla="*/ 311111 h 1262063"/>
                <a:gd name="connsiteX113" fmla="*/ 774700 w 1679575"/>
                <a:gd name="connsiteY113" fmla="*/ 169862 h 1262063"/>
                <a:gd name="connsiteX114" fmla="*/ 798215 w 1679575"/>
                <a:gd name="connsiteY114" fmla="*/ 169862 h 1262063"/>
                <a:gd name="connsiteX115" fmla="*/ 796925 w 1679575"/>
                <a:gd name="connsiteY115" fmla="*/ 166687 h 1262063"/>
                <a:gd name="connsiteX116" fmla="*/ 808782 w 1679575"/>
                <a:gd name="connsiteY116" fmla="*/ 137501 h 1262063"/>
                <a:gd name="connsiteX117" fmla="*/ 817562 w 1679575"/>
                <a:gd name="connsiteY117" fmla="*/ 133793 h 1262063"/>
                <a:gd name="connsiteX118" fmla="*/ 817562 w 1679575"/>
                <a:gd name="connsiteY118" fmla="*/ 98425 h 1262063"/>
                <a:gd name="connsiteX119" fmla="*/ 835025 w 1679575"/>
                <a:gd name="connsiteY119" fmla="*/ 98425 h 1262063"/>
                <a:gd name="connsiteX120" fmla="*/ 835025 w 1679575"/>
                <a:gd name="connsiteY120" fmla="*/ 0 h 1262063"/>
                <a:gd name="connsiteX0" fmla="*/ 1116013 w 1679575"/>
                <a:gd name="connsiteY0" fmla="*/ 750887 h 1262063"/>
                <a:gd name="connsiteX1" fmla="*/ 1089025 w 1679575"/>
                <a:gd name="connsiteY1" fmla="*/ 778007 h 1262063"/>
                <a:gd name="connsiteX2" fmla="*/ 1089025 w 1679575"/>
                <a:gd name="connsiteY2" fmla="*/ 1076325 h 1262063"/>
                <a:gd name="connsiteX3" fmla="*/ 1143000 w 1679575"/>
                <a:gd name="connsiteY3" fmla="*/ 1076325 h 1262063"/>
                <a:gd name="connsiteX4" fmla="*/ 1143000 w 1679575"/>
                <a:gd name="connsiteY4" fmla="*/ 778007 h 1262063"/>
                <a:gd name="connsiteX5" fmla="*/ 1116013 w 1679575"/>
                <a:gd name="connsiteY5" fmla="*/ 750887 h 1262063"/>
                <a:gd name="connsiteX6" fmla="*/ 1023938 w 1679575"/>
                <a:gd name="connsiteY6" fmla="*/ 750887 h 1262063"/>
                <a:gd name="connsiteX7" fmla="*/ 996950 w 1679575"/>
                <a:gd name="connsiteY7" fmla="*/ 778007 h 1262063"/>
                <a:gd name="connsiteX8" fmla="*/ 996950 w 1679575"/>
                <a:gd name="connsiteY8" fmla="*/ 1076325 h 1262063"/>
                <a:gd name="connsiteX9" fmla="*/ 1050925 w 1679575"/>
                <a:gd name="connsiteY9" fmla="*/ 1076325 h 1262063"/>
                <a:gd name="connsiteX10" fmla="*/ 1050925 w 1679575"/>
                <a:gd name="connsiteY10" fmla="*/ 778007 h 1262063"/>
                <a:gd name="connsiteX11" fmla="*/ 1023938 w 1679575"/>
                <a:gd name="connsiteY11" fmla="*/ 750887 h 1262063"/>
                <a:gd name="connsiteX12" fmla="*/ 926748 w 1679575"/>
                <a:gd name="connsiteY12" fmla="*/ 750887 h 1262063"/>
                <a:gd name="connsiteX13" fmla="*/ 904875 w 1679575"/>
                <a:gd name="connsiteY13" fmla="*/ 778007 h 1262063"/>
                <a:gd name="connsiteX14" fmla="*/ 904875 w 1679575"/>
                <a:gd name="connsiteY14" fmla="*/ 1076325 h 1262063"/>
                <a:gd name="connsiteX15" fmla="*/ 954088 w 1679575"/>
                <a:gd name="connsiteY15" fmla="*/ 1076325 h 1262063"/>
                <a:gd name="connsiteX16" fmla="*/ 954088 w 1679575"/>
                <a:gd name="connsiteY16" fmla="*/ 778007 h 1262063"/>
                <a:gd name="connsiteX17" fmla="*/ 926748 w 1679575"/>
                <a:gd name="connsiteY17" fmla="*/ 750887 h 1262063"/>
                <a:gd name="connsiteX18" fmla="*/ 834232 w 1679575"/>
                <a:gd name="connsiteY18" fmla="*/ 750887 h 1262063"/>
                <a:gd name="connsiteX19" fmla="*/ 806450 w 1679575"/>
                <a:gd name="connsiteY19" fmla="*/ 778007 h 1262063"/>
                <a:gd name="connsiteX20" fmla="*/ 806450 w 1679575"/>
                <a:gd name="connsiteY20" fmla="*/ 1076325 h 1262063"/>
                <a:gd name="connsiteX21" fmla="*/ 862013 w 1679575"/>
                <a:gd name="connsiteY21" fmla="*/ 1076325 h 1262063"/>
                <a:gd name="connsiteX22" fmla="*/ 862013 w 1679575"/>
                <a:gd name="connsiteY22" fmla="*/ 778007 h 1262063"/>
                <a:gd name="connsiteX23" fmla="*/ 834232 w 1679575"/>
                <a:gd name="connsiteY23" fmla="*/ 750887 h 1262063"/>
                <a:gd name="connsiteX24" fmla="*/ 742950 w 1679575"/>
                <a:gd name="connsiteY24" fmla="*/ 750887 h 1262063"/>
                <a:gd name="connsiteX25" fmla="*/ 715962 w 1679575"/>
                <a:gd name="connsiteY25" fmla="*/ 778007 h 1262063"/>
                <a:gd name="connsiteX26" fmla="*/ 715962 w 1679575"/>
                <a:gd name="connsiteY26" fmla="*/ 1076325 h 1262063"/>
                <a:gd name="connsiteX27" fmla="*/ 769937 w 1679575"/>
                <a:gd name="connsiteY27" fmla="*/ 1076325 h 1262063"/>
                <a:gd name="connsiteX28" fmla="*/ 769937 w 1679575"/>
                <a:gd name="connsiteY28" fmla="*/ 778007 h 1262063"/>
                <a:gd name="connsiteX29" fmla="*/ 742950 w 1679575"/>
                <a:gd name="connsiteY29" fmla="*/ 750887 h 1262063"/>
                <a:gd name="connsiteX30" fmla="*/ 650875 w 1679575"/>
                <a:gd name="connsiteY30" fmla="*/ 750887 h 1262063"/>
                <a:gd name="connsiteX31" fmla="*/ 623887 w 1679575"/>
                <a:gd name="connsiteY31" fmla="*/ 778007 h 1262063"/>
                <a:gd name="connsiteX32" fmla="*/ 623887 w 1679575"/>
                <a:gd name="connsiteY32" fmla="*/ 1076325 h 1262063"/>
                <a:gd name="connsiteX33" fmla="*/ 677862 w 1679575"/>
                <a:gd name="connsiteY33" fmla="*/ 1076325 h 1262063"/>
                <a:gd name="connsiteX34" fmla="*/ 677862 w 1679575"/>
                <a:gd name="connsiteY34" fmla="*/ 778007 h 1262063"/>
                <a:gd name="connsiteX35" fmla="*/ 650875 w 1679575"/>
                <a:gd name="connsiteY35" fmla="*/ 750887 h 1262063"/>
                <a:gd name="connsiteX36" fmla="*/ 558270 w 1679575"/>
                <a:gd name="connsiteY36" fmla="*/ 750887 h 1262063"/>
                <a:gd name="connsiteX37" fmla="*/ 531812 w 1679575"/>
                <a:gd name="connsiteY37" fmla="*/ 778007 h 1262063"/>
                <a:gd name="connsiteX38" fmla="*/ 531812 w 1679575"/>
                <a:gd name="connsiteY38" fmla="*/ 1076325 h 1262063"/>
                <a:gd name="connsiteX39" fmla="*/ 579437 w 1679575"/>
                <a:gd name="connsiteY39" fmla="*/ 1076325 h 1262063"/>
                <a:gd name="connsiteX40" fmla="*/ 579437 w 1679575"/>
                <a:gd name="connsiteY40" fmla="*/ 778007 h 1262063"/>
                <a:gd name="connsiteX41" fmla="*/ 558270 w 1679575"/>
                <a:gd name="connsiteY41" fmla="*/ 750887 h 1262063"/>
                <a:gd name="connsiteX42" fmla="*/ 87313 w 1679575"/>
                <a:gd name="connsiteY42" fmla="*/ 576262 h 1262063"/>
                <a:gd name="connsiteX43" fmla="*/ 98425 w 1679575"/>
                <a:gd name="connsiteY43" fmla="*/ 576262 h 1262063"/>
                <a:gd name="connsiteX44" fmla="*/ 123560 w 1679575"/>
                <a:gd name="connsiteY44" fmla="*/ 636587 h 1262063"/>
                <a:gd name="connsiteX45" fmla="*/ 130175 w 1679575"/>
                <a:gd name="connsiteY45" fmla="*/ 636587 h 1262063"/>
                <a:gd name="connsiteX46" fmla="*/ 130175 w 1679575"/>
                <a:gd name="connsiteY46" fmla="*/ 652462 h 1262063"/>
                <a:gd name="connsiteX47" fmla="*/ 130175 w 1679575"/>
                <a:gd name="connsiteY47" fmla="*/ 690562 h 1262063"/>
                <a:gd name="connsiteX48" fmla="*/ 157162 w 1679575"/>
                <a:gd name="connsiteY48" fmla="*/ 690562 h 1262063"/>
                <a:gd name="connsiteX49" fmla="*/ 157162 w 1679575"/>
                <a:gd name="connsiteY49" fmla="*/ 777875 h 1262063"/>
                <a:gd name="connsiteX50" fmla="*/ 184150 w 1679575"/>
                <a:gd name="connsiteY50" fmla="*/ 777875 h 1262063"/>
                <a:gd name="connsiteX51" fmla="*/ 184150 w 1679575"/>
                <a:gd name="connsiteY51" fmla="*/ 1076325 h 1262063"/>
                <a:gd name="connsiteX52" fmla="*/ 374650 w 1679575"/>
                <a:gd name="connsiteY52" fmla="*/ 1076325 h 1262063"/>
                <a:gd name="connsiteX53" fmla="*/ 374650 w 1679575"/>
                <a:gd name="connsiteY53" fmla="*/ 849312 h 1262063"/>
                <a:gd name="connsiteX54" fmla="*/ 374650 w 1679575"/>
                <a:gd name="connsiteY54" fmla="*/ 800100 h 1262063"/>
                <a:gd name="connsiteX55" fmla="*/ 471487 w 1679575"/>
                <a:gd name="connsiteY55" fmla="*/ 800100 h 1262063"/>
                <a:gd name="connsiteX56" fmla="*/ 471487 w 1679575"/>
                <a:gd name="connsiteY56" fmla="*/ 666472 h 1262063"/>
                <a:gd name="connsiteX57" fmla="*/ 1201737 w 1679575"/>
                <a:gd name="connsiteY57" fmla="*/ 666472 h 1262063"/>
                <a:gd name="connsiteX58" fmla="*/ 1201737 w 1679575"/>
                <a:gd name="connsiteY58" fmla="*/ 800100 h 1262063"/>
                <a:gd name="connsiteX59" fmla="*/ 1300163 w 1679575"/>
                <a:gd name="connsiteY59" fmla="*/ 800100 h 1262063"/>
                <a:gd name="connsiteX60" fmla="*/ 1300163 w 1679575"/>
                <a:gd name="connsiteY60" fmla="*/ 849312 h 1262063"/>
                <a:gd name="connsiteX61" fmla="*/ 1300163 w 1679575"/>
                <a:gd name="connsiteY61" fmla="*/ 1076325 h 1262063"/>
                <a:gd name="connsiteX62" fmla="*/ 1489075 w 1679575"/>
                <a:gd name="connsiteY62" fmla="*/ 1076325 h 1262063"/>
                <a:gd name="connsiteX63" fmla="*/ 1489075 w 1679575"/>
                <a:gd name="connsiteY63" fmla="*/ 777875 h 1262063"/>
                <a:gd name="connsiteX64" fmla="*/ 1516062 w 1679575"/>
                <a:gd name="connsiteY64" fmla="*/ 777875 h 1262063"/>
                <a:gd name="connsiteX65" fmla="*/ 1516062 w 1679575"/>
                <a:gd name="connsiteY65" fmla="*/ 690562 h 1262063"/>
                <a:gd name="connsiteX66" fmla="*/ 1543050 w 1679575"/>
                <a:gd name="connsiteY66" fmla="*/ 690562 h 1262063"/>
                <a:gd name="connsiteX67" fmla="*/ 1543050 w 1679575"/>
                <a:gd name="connsiteY67" fmla="*/ 652462 h 1262063"/>
                <a:gd name="connsiteX68" fmla="*/ 1543050 w 1679575"/>
                <a:gd name="connsiteY68" fmla="*/ 636587 h 1262063"/>
                <a:gd name="connsiteX69" fmla="*/ 1549995 w 1679575"/>
                <a:gd name="connsiteY69" fmla="*/ 636587 h 1262063"/>
                <a:gd name="connsiteX70" fmla="*/ 1576388 w 1679575"/>
                <a:gd name="connsiteY70" fmla="*/ 576262 h 1262063"/>
                <a:gd name="connsiteX71" fmla="*/ 1587500 w 1679575"/>
                <a:gd name="connsiteY71" fmla="*/ 576262 h 1262063"/>
                <a:gd name="connsiteX72" fmla="*/ 1612635 w 1679575"/>
                <a:gd name="connsiteY72" fmla="*/ 636587 h 1262063"/>
                <a:gd name="connsiteX73" fmla="*/ 1619250 w 1679575"/>
                <a:gd name="connsiteY73" fmla="*/ 636587 h 1262063"/>
                <a:gd name="connsiteX74" fmla="*/ 1619250 w 1679575"/>
                <a:gd name="connsiteY74" fmla="*/ 652462 h 1262063"/>
                <a:gd name="connsiteX75" fmla="*/ 1619250 w 1679575"/>
                <a:gd name="connsiteY75" fmla="*/ 690562 h 1262063"/>
                <a:gd name="connsiteX76" fmla="*/ 1646237 w 1679575"/>
                <a:gd name="connsiteY76" fmla="*/ 690562 h 1262063"/>
                <a:gd name="connsiteX77" fmla="*/ 1646237 w 1679575"/>
                <a:gd name="connsiteY77" fmla="*/ 777875 h 1262063"/>
                <a:gd name="connsiteX78" fmla="*/ 1679575 w 1679575"/>
                <a:gd name="connsiteY78" fmla="*/ 777875 h 1262063"/>
                <a:gd name="connsiteX79" fmla="*/ 1679575 w 1679575"/>
                <a:gd name="connsiteY79" fmla="*/ 1262063 h 1262063"/>
                <a:gd name="connsiteX80" fmla="*/ 1516062 w 1679575"/>
                <a:gd name="connsiteY80" fmla="*/ 1262063 h 1262063"/>
                <a:gd name="connsiteX81" fmla="*/ 1489075 w 1679575"/>
                <a:gd name="connsiteY81" fmla="*/ 1262063 h 1262063"/>
                <a:gd name="connsiteX82" fmla="*/ 1300163 w 1679575"/>
                <a:gd name="connsiteY82" fmla="*/ 1262063 h 1262063"/>
                <a:gd name="connsiteX83" fmla="*/ 374650 w 1679575"/>
                <a:gd name="connsiteY83" fmla="*/ 1262063 h 1262063"/>
                <a:gd name="connsiteX84" fmla="*/ 184150 w 1679575"/>
                <a:gd name="connsiteY84" fmla="*/ 1262063 h 1262063"/>
                <a:gd name="connsiteX85" fmla="*/ 173037 w 1679575"/>
                <a:gd name="connsiteY85" fmla="*/ 1262063 h 1262063"/>
                <a:gd name="connsiteX86" fmla="*/ 0 w 1679575"/>
                <a:gd name="connsiteY86" fmla="*/ 1262063 h 1262063"/>
                <a:gd name="connsiteX87" fmla="*/ 0 w 1679575"/>
                <a:gd name="connsiteY87" fmla="*/ 777875 h 1262063"/>
                <a:gd name="connsiteX88" fmla="*/ 26987 w 1679575"/>
                <a:gd name="connsiteY88" fmla="*/ 777875 h 1262063"/>
                <a:gd name="connsiteX89" fmla="*/ 26987 w 1679575"/>
                <a:gd name="connsiteY89" fmla="*/ 690562 h 1262063"/>
                <a:gd name="connsiteX90" fmla="*/ 53975 w 1679575"/>
                <a:gd name="connsiteY90" fmla="*/ 690562 h 1262063"/>
                <a:gd name="connsiteX91" fmla="*/ 53975 w 1679575"/>
                <a:gd name="connsiteY91" fmla="*/ 652462 h 1262063"/>
                <a:gd name="connsiteX92" fmla="*/ 53975 w 1679575"/>
                <a:gd name="connsiteY92" fmla="*/ 636587 h 1262063"/>
                <a:gd name="connsiteX93" fmla="*/ 60920 w 1679575"/>
                <a:gd name="connsiteY93" fmla="*/ 636587 h 1262063"/>
                <a:gd name="connsiteX94" fmla="*/ 87313 w 1679575"/>
                <a:gd name="connsiteY94" fmla="*/ 576262 h 1262063"/>
                <a:gd name="connsiteX95" fmla="*/ 835025 w 1679575"/>
                <a:gd name="connsiteY95" fmla="*/ 0 h 1262063"/>
                <a:gd name="connsiteX96" fmla="*/ 839788 w 1679575"/>
                <a:gd name="connsiteY96" fmla="*/ 0 h 1262063"/>
                <a:gd name="connsiteX97" fmla="*/ 839788 w 1679575"/>
                <a:gd name="connsiteY97" fmla="*/ 98425 h 1262063"/>
                <a:gd name="connsiteX98" fmla="*/ 855662 w 1679575"/>
                <a:gd name="connsiteY98" fmla="*/ 98425 h 1262063"/>
                <a:gd name="connsiteX99" fmla="*/ 855662 w 1679575"/>
                <a:gd name="connsiteY99" fmla="*/ 133122 h 1262063"/>
                <a:gd name="connsiteX100" fmla="*/ 866032 w 1679575"/>
                <a:gd name="connsiteY100" fmla="*/ 137501 h 1262063"/>
                <a:gd name="connsiteX101" fmla="*/ 877889 w 1679575"/>
                <a:gd name="connsiteY101" fmla="*/ 166687 h 1262063"/>
                <a:gd name="connsiteX102" fmla="*/ 876599 w 1679575"/>
                <a:gd name="connsiteY102" fmla="*/ 169862 h 1262063"/>
                <a:gd name="connsiteX103" fmla="*/ 898525 w 1679575"/>
                <a:gd name="connsiteY103" fmla="*/ 169862 h 1262063"/>
                <a:gd name="connsiteX104" fmla="*/ 898525 w 1679575"/>
                <a:gd name="connsiteY104" fmla="*/ 310731 h 1262063"/>
                <a:gd name="connsiteX105" fmla="*/ 908400 w 1679575"/>
                <a:gd name="connsiteY105" fmla="*/ 311721 h 1262063"/>
                <a:gd name="connsiteX106" fmla="*/ 1185862 w 1679575"/>
                <a:gd name="connsiteY106" fmla="*/ 647700 h 1262063"/>
                <a:gd name="connsiteX107" fmla="*/ 471487 w 1679575"/>
                <a:gd name="connsiteY107" fmla="*/ 648184 h 1262063"/>
                <a:gd name="connsiteX108" fmla="*/ 471487 w 1679575"/>
                <a:gd name="connsiteY108" fmla="*/ 647700 h 1262063"/>
                <a:gd name="connsiteX109" fmla="*/ 487362 w 1679575"/>
                <a:gd name="connsiteY109" fmla="*/ 647700 h 1262063"/>
                <a:gd name="connsiteX110" fmla="*/ 768452 w 1679575"/>
                <a:gd name="connsiteY110" fmla="*/ 311721 h 1262063"/>
                <a:gd name="connsiteX111" fmla="*/ 774700 w 1679575"/>
                <a:gd name="connsiteY111" fmla="*/ 311111 h 1262063"/>
                <a:gd name="connsiteX112" fmla="*/ 774700 w 1679575"/>
                <a:gd name="connsiteY112" fmla="*/ 169862 h 1262063"/>
                <a:gd name="connsiteX113" fmla="*/ 798215 w 1679575"/>
                <a:gd name="connsiteY113" fmla="*/ 169862 h 1262063"/>
                <a:gd name="connsiteX114" fmla="*/ 796925 w 1679575"/>
                <a:gd name="connsiteY114" fmla="*/ 166687 h 1262063"/>
                <a:gd name="connsiteX115" fmla="*/ 808782 w 1679575"/>
                <a:gd name="connsiteY115" fmla="*/ 137501 h 1262063"/>
                <a:gd name="connsiteX116" fmla="*/ 817562 w 1679575"/>
                <a:gd name="connsiteY116" fmla="*/ 133793 h 1262063"/>
                <a:gd name="connsiteX117" fmla="*/ 817562 w 1679575"/>
                <a:gd name="connsiteY117" fmla="*/ 98425 h 1262063"/>
                <a:gd name="connsiteX118" fmla="*/ 835025 w 1679575"/>
                <a:gd name="connsiteY118" fmla="*/ 98425 h 1262063"/>
                <a:gd name="connsiteX119" fmla="*/ 835025 w 1679575"/>
                <a:gd name="connsiteY119" fmla="*/ 0 h 1262063"/>
                <a:gd name="connsiteX0" fmla="*/ 1116013 w 1679575"/>
                <a:gd name="connsiteY0" fmla="*/ 750887 h 1262063"/>
                <a:gd name="connsiteX1" fmla="*/ 1089025 w 1679575"/>
                <a:gd name="connsiteY1" fmla="*/ 778007 h 1262063"/>
                <a:gd name="connsiteX2" fmla="*/ 1089025 w 1679575"/>
                <a:gd name="connsiteY2" fmla="*/ 1076325 h 1262063"/>
                <a:gd name="connsiteX3" fmla="*/ 1143000 w 1679575"/>
                <a:gd name="connsiteY3" fmla="*/ 1076325 h 1262063"/>
                <a:gd name="connsiteX4" fmla="*/ 1143000 w 1679575"/>
                <a:gd name="connsiteY4" fmla="*/ 778007 h 1262063"/>
                <a:gd name="connsiteX5" fmla="*/ 1116013 w 1679575"/>
                <a:gd name="connsiteY5" fmla="*/ 750887 h 1262063"/>
                <a:gd name="connsiteX6" fmla="*/ 1023938 w 1679575"/>
                <a:gd name="connsiteY6" fmla="*/ 750887 h 1262063"/>
                <a:gd name="connsiteX7" fmla="*/ 996950 w 1679575"/>
                <a:gd name="connsiteY7" fmla="*/ 778007 h 1262063"/>
                <a:gd name="connsiteX8" fmla="*/ 996950 w 1679575"/>
                <a:gd name="connsiteY8" fmla="*/ 1076325 h 1262063"/>
                <a:gd name="connsiteX9" fmla="*/ 1050925 w 1679575"/>
                <a:gd name="connsiteY9" fmla="*/ 1076325 h 1262063"/>
                <a:gd name="connsiteX10" fmla="*/ 1050925 w 1679575"/>
                <a:gd name="connsiteY10" fmla="*/ 778007 h 1262063"/>
                <a:gd name="connsiteX11" fmla="*/ 1023938 w 1679575"/>
                <a:gd name="connsiteY11" fmla="*/ 750887 h 1262063"/>
                <a:gd name="connsiteX12" fmla="*/ 926748 w 1679575"/>
                <a:gd name="connsiteY12" fmla="*/ 750887 h 1262063"/>
                <a:gd name="connsiteX13" fmla="*/ 904875 w 1679575"/>
                <a:gd name="connsiteY13" fmla="*/ 778007 h 1262063"/>
                <a:gd name="connsiteX14" fmla="*/ 904875 w 1679575"/>
                <a:gd name="connsiteY14" fmla="*/ 1076325 h 1262063"/>
                <a:gd name="connsiteX15" fmla="*/ 954088 w 1679575"/>
                <a:gd name="connsiteY15" fmla="*/ 1076325 h 1262063"/>
                <a:gd name="connsiteX16" fmla="*/ 954088 w 1679575"/>
                <a:gd name="connsiteY16" fmla="*/ 778007 h 1262063"/>
                <a:gd name="connsiteX17" fmla="*/ 926748 w 1679575"/>
                <a:gd name="connsiteY17" fmla="*/ 750887 h 1262063"/>
                <a:gd name="connsiteX18" fmla="*/ 834232 w 1679575"/>
                <a:gd name="connsiteY18" fmla="*/ 750887 h 1262063"/>
                <a:gd name="connsiteX19" fmla="*/ 806450 w 1679575"/>
                <a:gd name="connsiteY19" fmla="*/ 778007 h 1262063"/>
                <a:gd name="connsiteX20" fmla="*/ 806450 w 1679575"/>
                <a:gd name="connsiteY20" fmla="*/ 1076325 h 1262063"/>
                <a:gd name="connsiteX21" fmla="*/ 862013 w 1679575"/>
                <a:gd name="connsiteY21" fmla="*/ 1076325 h 1262063"/>
                <a:gd name="connsiteX22" fmla="*/ 862013 w 1679575"/>
                <a:gd name="connsiteY22" fmla="*/ 778007 h 1262063"/>
                <a:gd name="connsiteX23" fmla="*/ 834232 w 1679575"/>
                <a:gd name="connsiteY23" fmla="*/ 750887 h 1262063"/>
                <a:gd name="connsiteX24" fmla="*/ 742950 w 1679575"/>
                <a:gd name="connsiteY24" fmla="*/ 750887 h 1262063"/>
                <a:gd name="connsiteX25" fmla="*/ 715962 w 1679575"/>
                <a:gd name="connsiteY25" fmla="*/ 778007 h 1262063"/>
                <a:gd name="connsiteX26" fmla="*/ 715962 w 1679575"/>
                <a:gd name="connsiteY26" fmla="*/ 1076325 h 1262063"/>
                <a:gd name="connsiteX27" fmla="*/ 769937 w 1679575"/>
                <a:gd name="connsiteY27" fmla="*/ 1076325 h 1262063"/>
                <a:gd name="connsiteX28" fmla="*/ 769937 w 1679575"/>
                <a:gd name="connsiteY28" fmla="*/ 778007 h 1262063"/>
                <a:gd name="connsiteX29" fmla="*/ 742950 w 1679575"/>
                <a:gd name="connsiteY29" fmla="*/ 750887 h 1262063"/>
                <a:gd name="connsiteX30" fmla="*/ 650875 w 1679575"/>
                <a:gd name="connsiteY30" fmla="*/ 750887 h 1262063"/>
                <a:gd name="connsiteX31" fmla="*/ 623887 w 1679575"/>
                <a:gd name="connsiteY31" fmla="*/ 778007 h 1262063"/>
                <a:gd name="connsiteX32" fmla="*/ 623887 w 1679575"/>
                <a:gd name="connsiteY32" fmla="*/ 1076325 h 1262063"/>
                <a:gd name="connsiteX33" fmla="*/ 677862 w 1679575"/>
                <a:gd name="connsiteY33" fmla="*/ 1076325 h 1262063"/>
                <a:gd name="connsiteX34" fmla="*/ 677862 w 1679575"/>
                <a:gd name="connsiteY34" fmla="*/ 778007 h 1262063"/>
                <a:gd name="connsiteX35" fmla="*/ 650875 w 1679575"/>
                <a:gd name="connsiteY35" fmla="*/ 750887 h 1262063"/>
                <a:gd name="connsiteX36" fmla="*/ 558270 w 1679575"/>
                <a:gd name="connsiteY36" fmla="*/ 750887 h 1262063"/>
                <a:gd name="connsiteX37" fmla="*/ 531812 w 1679575"/>
                <a:gd name="connsiteY37" fmla="*/ 778007 h 1262063"/>
                <a:gd name="connsiteX38" fmla="*/ 531812 w 1679575"/>
                <a:gd name="connsiteY38" fmla="*/ 1076325 h 1262063"/>
                <a:gd name="connsiteX39" fmla="*/ 579437 w 1679575"/>
                <a:gd name="connsiteY39" fmla="*/ 1076325 h 1262063"/>
                <a:gd name="connsiteX40" fmla="*/ 579437 w 1679575"/>
                <a:gd name="connsiteY40" fmla="*/ 778007 h 1262063"/>
                <a:gd name="connsiteX41" fmla="*/ 558270 w 1679575"/>
                <a:gd name="connsiteY41" fmla="*/ 750887 h 1262063"/>
                <a:gd name="connsiteX42" fmla="*/ 87313 w 1679575"/>
                <a:gd name="connsiteY42" fmla="*/ 576262 h 1262063"/>
                <a:gd name="connsiteX43" fmla="*/ 98425 w 1679575"/>
                <a:gd name="connsiteY43" fmla="*/ 576262 h 1262063"/>
                <a:gd name="connsiteX44" fmla="*/ 123560 w 1679575"/>
                <a:gd name="connsiteY44" fmla="*/ 636587 h 1262063"/>
                <a:gd name="connsiteX45" fmla="*/ 130175 w 1679575"/>
                <a:gd name="connsiteY45" fmla="*/ 636587 h 1262063"/>
                <a:gd name="connsiteX46" fmla="*/ 130175 w 1679575"/>
                <a:gd name="connsiteY46" fmla="*/ 652462 h 1262063"/>
                <a:gd name="connsiteX47" fmla="*/ 130175 w 1679575"/>
                <a:gd name="connsiteY47" fmla="*/ 690562 h 1262063"/>
                <a:gd name="connsiteX48" fmla="*/ 157162 w 1679575"/>
                <a:gd name="connsiteY48" fmla="*/ 690562 h 1262063"/>
                <a:gd name="connsiteX49" fmla="*/ 157162 w 1679575"/>
                <a:gd name="connsiteY49" fmla="*/ 777875 h 1262063"/>
                <a:gd name="connsiteX50" fmla="*/ 184150 w 1679575"/>
                <a:gd name="connsiteY50" fmla="*/ 777875 h 1262063"/>
                <a:gd name="connsiteX51" fmla="*/ 184150 w 1679575"/>
                <a:gd name="connsiteY51" fmla="*/ 1076325 h 1262063"/>
                <a:gd name="connsiteX52" fmla="*/ 374650 w 1679575"/>
                <a:gd name="connsiteY52" fmla="*/ 1076325 h 1262063"/>
                <a:gd name="connsiteX53" fmla="*/ 374650 w 1679575"/>
                <a:gd name="connsiteY53" fmla="*/ 849312 h 1262063"/>
                <a:gd name="connsiteX54" fmla="*/ 374650 w 1679575"/>
                <a:gd name="connsiteY54" fmla="*/ 800100 h 1262063"/>
                <a:gd name="connsiteX55" fmla="*/ 471487 w 1679575"/>
                <a:gd name="connsiteY55" fmla="*/ 800100 h 1262063"/>
                <a:gd name="connsiteX56" fmla="*/ 471487 w 1679575"/>
                <a:gd name="connsiteY56" fmla="*/ 666472 h 1262063"/>
                <a:gd name="connsiteX57" fmla="*/ 1201737 w 1679575"/>
                <a:gd name="connsiteY57" fmla="*/ 666472 h 1262063"/>
                <a:gd name="connsiteX58" fmla="*/ 1201737 w 1679575"/>
                <a:gd name="connsiteY58" fmla="*/ 800100 h 1262063"/>
                <a:gd name="connsiteX59" fmla="*/ 1300163 w 1679575"/>
                <a:gd name="connsiteY59" fmla="*/ 800100 h 1262063"/>
                <a:gd name="connsiteX60" fmla="*/ 1300163 w 1679575"/>
                <a:gd name="connsiteY60" fmla="*/ 849312 h 1262063"/>
                <a:gd name="connsiteX61" fmla="*/ 1300163 w 1679575"/>
                <a:gd name="connsiteY61" fmla="*/ 1076325 h 1262063"/>
                <a:gd name="connsiteX62" fmla="*/ 1489075 w 1679575"/>
                <a:gd name="connsiteY62" fmla="*/ 1076325 h 1262063"/>
                <a:gd name="connsiteX63" fmla="*/ 1489075 w 1679575"/>
                <a:gd name="connsiteY63" fmla="*/ 777875 h 1262063"/>
                <a:gd name="connsiteX64" fmla="*/ 1516062 w 1679575"/>
                <a:gd name="connsiteY64" fmla="*/ 777875 h 1262063"/>
                <a:gd name="connsiteX65" fmla="*/ 1516062 w 1679575"/>
                <a:gd name="connsiteY65" fmla="*/ 690562 h 1262063"/>
                <a:gd name="connsiteX66" fmla="*/ 1543050 w 1679575"/>
                <a:gd name="connsiteY66" fmla="*/ 690562 h 1262063"/>
                <a:gd name="connsiteX67" fmla="*/ 1543050 w 1679575"/>
                <a:gd name="connsiteY67" fmla="*/ 652462 h 1262063"/>
                <a:gd name="connsiteX68" fmla="*/ 1543050 w 1679575"/>
                <a:gd name="connsiteY68" fmla="*/ 636587 h 1262063"/>
                <a:gd name="connsiteX69" fmla="*/ 1549995 w 1679575"/>
                <a:gd name="connsiteY69" fmla="*/ 636587 h 1262063"/>
                <a:gd name="connsiteX70" fmla="*/ 1576388 w 1679575"/>
                <a:gd name="connsiteY70" fmla="*/ 576262 h 1262063"/>
                <a:gd name="connsiteX71" fmla="*/ 1587500 w 1679575"/>
                <a:gd name="connsiteY71" fmla="*/ 576262 h 1262063"/>
                <a:gd name="connsiteX72" fmla="*/ 1612635 w 1679575"/>
                <a:gd name="connsiteY72" fmla="*/ 636587 h 1262063"/>
                <a:gd name="connsiteX73" fmla="*/ 1619250 w 1679575"/>
                <a:gd name="connsiteY73" fmla="*/ 636587 h 1262063"/>
                <a:gd name="connsiteX74" fmla="*/ 1619250 w 1679575"/>
                <a:gd name="connsiteY74" fmla="*/ 652462 h 1262063"/>
                <a:gd name="connsiteX75" fmla="*/ 1619250 w 1679575"/>
                <a:gd name="connsiteY75" fmla="*/ 690562 h 1262063"/>
                <a:gd name="connsiteX76" fmla="*/ 1646237 w 1679575"/>
                <a:gd name="connsiteY76" fmla="*/ 690562 h 1262063"/>
                <a:gd name="connsiteX77" fmla="*/ 1646237 w 1679575"/>
                <a:gd name="connsiteY77" fmla="*/ 777875 h 1262063"/>
                <a:gd name="connsiteX78" fmla="*/ 1679575 w 1679575"/>
                <a:gd name="connsiteY78" fmla="*/ 777875 h 1262063"/>
                <a:gd name="connsiteX79" fmla="*/ 1679575 w 1679575"/>
                <a:gd name="connsiteY79" fmla="*/ 1262063 h 1262063"/>
                <a:gd name="connsiteX80" fmla="*/ 1516062 w 1679575"/>
                <a:gd name="connsiteY80" fmla="*/ 1262063 h 1262063"/>
                <a:gd name="connsiteX81" fmla="*/ 1489075 w 1679575"/>
                <a:gd name="connsiteY81" fmla="*/ 1262063 h 1262063"/>
                <a:gd name="connsiteX82" fmla="*/ 1300163 w 1679575"/>
                <a:gd name="connsiteY82" fmla="*/ 1262063 h 1262063"/>
                <a:gd name="connsiteX83" fmla="*/ 374650 w 1679575"/>
                <a:gd name="connsiteY83" fmla="*/ 1262063 h 1262063"/>
                <a:gd name="connsiteX84" fmla="*/ 184150 w 1679575"/>
                <a:gd name="connsiteY84" fmla="*/ 1262063 h 1262063"/>
                <a:gd name="connsiteX85" fmla="*/ 173037 w 1679575"/>
                <a:gd name="connsiteY85" fmla="*/ 1262063 h 1262063"/>
                <a:gd name="connsiteX86" fmla="*/ 0 w 1679575"/>
                <a:gd name="connsiteY86" fmla="*/ 1262063 h 1262063"/>
                <a:gd name="connsiteX87" fmla="*/ 0 w 1679575"/>
                <a:gd name="connsiteY87" fmla="*/ 777875 h 1262063"/>
                <a:gd name="connsiteX88" fmla="*/ 26987 w 1679575"/>
                <a:gd name="connsiteY88" fmla="*/ 777875 h 1262063"/>
                <a:gd name="connsiteX89" fmla="*/ 26987 w 1679575"/>
                <a:gd name="connsiteY89" fmla="*/ 690562 h 1262063"/>
                <a:gd name="connsiteX90" fmla="*/ 53975 w 1679575"/>
                <a:gd name="connsiteY90" fmla="*/ 690562 h 1262063"/>
                <a:gd name="connsiteX91" fmla="*/ 53975 w 1679575"/>
                <a:gd name="connsiteY91" fmla="*/ 652462 h 1262063"/>
                <a:gd name="connsiteX92" fmla="*/ 53975 w 1679575"/>
                <a:gd name="connsiteY92" fmla="*/ 636587 h 1262063"/>
                <a:gd name="connsiteX93" fmla="*/ 60920 w 1679575"/>
                <a:gd name="connsiteY93" fmla="*/ 636587 h 1262063"/>
                <a:gd name="connsiteX94" fmla="*/ 87313 w 1679575"/>
                <a:gd name="connsiteY94" fmla="*/ 576262 h 1262063"/>
                <a:gd name="connsiteX95" fmla="*/ 835025 w 1679575"/>
                <a:gd name="connsiteY95" fmla="*/ 0 h 1262063"/>
                <a:gd name="connsiteX96" fmla="*/ 839788 w 1679575"/>
                <a:gd name="connsiteY96" fmla="*/ 0 h 1262063"/>
                <a:gd name="connsiteX97" fmla="*/ 839788 w 1679575"/>
                <a:gd name="connsiteY97" fmla="*/ 98425 h 1262063"/>
                <a:gd name="connsiteX98" fmla="*/ 855662 w 1679575"/>
                <a:gd name="connsiteY98" fmla="*/ 98425 h 1262063"/>
                <a:gd name="connsiteX99" fmla="*/ 855662 w 1679575"/>
                <a:gd name="connsiteY99" fmla="*/ 133122 h 1262063"/>
                <a:gd name="connsiteX100" fmla="*/ 866032 w 1679575"/>
                <a:gd name="connsiteY100" fmla="*/ 137501 h 1262063"/>
                <a:gd name="connsiteX101" fmla="*/ 877889 w 1679575"/>
                <a:gd name="connsiteY101" fmla="*/ 166687 h 1262063"/>
                <a:gd name="connsiteX102" fmla="*/ 876599 w 1679575"/>
                <a:gd name="connsiteY102" fmla="*/ 169862 h 1262063"/>
                <a:gd name="connsiteX103" fmla="*/ 898525 w 1679575"/>
                <a:gd name="connsiteY103" fmla="*/ 169862 h 1262063"/>
                <a:gd name="connsiteX104" fmla="*/ 898525 w 1679575"/>
                <a:gd name="connsiteY104" fmla="*/ 310731 h 1262063"/>
                <a:gd name="connsiteX105" fmla="*/ 908400 w 1679575"/>
                <a:gd name="connsiteY105" fmla="*/ 311721 h 1262063"/>
                <a:gd name="connsiteX106" fmla="*/ 1185862 w 1679575"/>
                <a:gd name="connsiteY106" fmla="*/ 647700 h 1262063"/>
                <a:gd name="connsiteX107" fmla="*/ 471487 w 1679575"/>
                <a:gd name="connsiteY107" fmla="*/ 648184 h 1262063"/>
                <a:gd name="connsiteX108" fmla="*/ 487362 w 1679575"/>
                <a:gd name="connsiteY108" fmla="*/ 647700 h 1262063"/>
                <a:gd name="connsiteX109" fmla="*/ 768452 w 1679575"/>
                <a:gd name="connsiteY109" fmla="*/ 311721 h 1262063"/>
                <a:gd name="connsiteX110" fmla="*/ 774700 w 1679575"/>
                <a:gd name="connsiteY110" fmla="*/ 311111 h 1262063"/>
                <a:gd name="connsiteX111" fmla="*/ 774700 w 1679575"/>
                <a:gd name="connsiteY111" fmla="*/ 169862 h 1262063"/>
                <a:gd name="connsiteX112" fmla="*/ 798215 w 1679575"/>
                <a:gd name="connsiteY112" fmla="*/ 169862 h 1262063"/>
                <a:gd name="connsiteX113" fmla="*/ 796925 w 1679575"/>
                <a:gd name="connsiteY113" fmla="*/ 166687 h 1262063"/>
                <a:gd name="connsiteX114" fmla="*/ 808782 w 1679575"/>
                <a:gd name="connsiteY114" fmla="*/ 137501 h 1262063"/>
                <a:gd name="connsiteX115" fmla="*/ 817562 w 1679575"/>
                <a:gd name="connsiteY115" fmla="*/ 133793 h 1262063"/>
                <a:gd name="connsiteX116" fmla="*/ 817562 w 1679575"/>
                <a:gd name="connsiteY116" fmla="*/ 98425 h 1262063"/>
                <a:gd name="connsiteX117" fmla="*/ 835025 w 1679575"/>
                <a:gd name="connsiteY117" fmla="*/ 98425 h 1262063"/>
                <a:gd name="connsiteX118" fmla="*/ 835025 w 1679575"/>
                <a:gd name="connsiteY118" fmla="*/ 0 h 1262063"/>
                <a:gd name="connsiteX0" fmla="*/ 1116013 w 1679575"/>
                <a:gd name="connsiteY0" fmla="*/ 750887 h 1262063"/>
                <a:gd name="connsiteX1" fmla="*/ 1089025 w 1679575"/>
                <a:gd name="connsiteY1" fmla="*/ 778007 h 1262063"/>
                <a:gd name="connsiteX2" fmla="*/ 1089025 w 1679575"/>
                <a:gd name="connsiteY2" fmla="*/ 1076325 h 1262063"/>
                <a:gd name="connsiteX3" fmla="*/ 1143000 w 1679575"/>
                <a:gd name="connsiteY3" fmla="*/ 1076325 h 1262063"/>
                <a:gd name="connsiteX4" fmla="*/ 1143000 w 1679575"/>
                <a:gd name="connsiteY4" fmla="*/ 778007 h 1262063"/>
                <a:gd name="connsiteX5" fmla="*/ 1116013 w 1679575"/>
                <a:gd name="connsiteY5" fmla="*/ 750887 h 1262063"/>
                <a:gd name="connsiteX6" fmla="*/ 1023938 w 1679575"/>
                <a:gd name="connsiteY6" fmla="*/ 750887 h 1262063"/>
                <a:gd name="connsiteX7" fmla="*/ 996950 w 1679575"/>
                <a:gd name="connsiteY7" fmla="*/ 778007 h 1262063"/>
                <a:gd name="connsiteX8" fmla="*/ 996950 w 1679575"/>
                <a:gd name="connsiteY8" fmla="*/ 1076325 h 1262063"/>
                <a:gd name="connsiteX9" fmla="*/ 1050925 w 1679575"/>
                <a:gd name="connsiteY9" fmla="*/ 1076325 h 1262063"/>
                <a:gd name="connsiteX10" fmla="*/ 1050925 w 1679575"/>
                <a:gd name="connsiteY10" fmla="*/ 778007 h 1262063"/>
                <a:gd name="connsiteX11" fmla="*/ 1023938 w 1679575"/>
                <a:gd name="connsiteY11" fmla="*/ 750887 h 1262063"/>
                <a:gd name="connsiteX12" fmla="*/ 926748 w 1679575"/>
                <a:gd name="connsiteY12" fmla="*/ 750887 h 1262063"/>
                <a:gd name="connsiteX13" fmla="*/ 904875 w 1679575"/>
                <a:gd name="connsiteY13" fmla="*/ 778007 h 1262063"/>
                <a:gd name="connsiteX14" fmla="*/ 904875 w 1679575"/>
                <a:gd name="connsiteY14" fmla="*/ 1076325 h 1262063"/>
                <a:gd name="connsiteX15" fmla="*/ 954088 w 1679575"/>
                <a:gd name="connsiteY15" fmla="*/ 1076325 h 1262063"/>
                <a:gd name="connsiteX16" fmla="*/ 954088 w 1679575"/>
                <a:gd name="connsiteY16" fmla="*/ 778007 h 1262063"/>
                <a:gd name="connsiteX17" fmla="*/ 926748 w 1679575"/>
                <a:gd name="connsiteY17" fmla="*/ 750887 h 1262063"/>
                <a:gd name="connsiteX18" fmla="*/ 834232 w 1679575"/>
                <a:gd name="connsiteY18" fmla="*/ 750887 h 1262063"/>
                <a:gd name="connsiteX19" fmla="*/ 806450 w 1679575"/>
                <a:gd name="connsiteY19" fmla="*/ 778007 h 1262063"/>
                <a:gd name="connsiteX20" fmla="*/ 806450 w 1679575"/>
                <a:gd name="connsiteY20" fmla="*/ 1076325 h 1262063"/>
                <a:gd name="connsiteX21" fmla="*/ 862013 w 1679575"/>
                <a:gd name="connsiteY21" fmla="*/ 1076325 h 1262063"/>
                <a:gd name="connsiteX22" fmla="*/ 862013 w 1679575"/>
                <a:gd name="connsiteY22" fmla="*/ 778007 h 1262063"/>
                <a:gd name="connsiteX23" fmla="*/ 834232 w 1679575"/>
                <a:gd name="connsiteY23" fmla="*/ 750887 h 1262063"/>
                <a:gd name="connsiteX24" fmla="*/ 742950 w 1679575"/>
                <a:gd name="connsiteY24" fmla="*/ 750887 h 1262063"/>
                <a:gd name="connsiteX25" fmla="*/ 715962 w 1679575"/>
                <a:gd name="connsiteY25" fmla="*/ 778007 h 1262063"/>
                <a:gd name="connsiteX26" fmla="*/ 715962 w 1679575"/>
                <a:gd name="connsiteY26" fmla="*/ 1076325 h 1262063"/>
                <a:gd name="connsiteX27" fmla="*/ 769937 w 1679575"/>
                <a:gd name="connsiteY27" fmla="*/ 1076325 h 1262063"/>
                <a:gd name="connsiteX28" fmla="*/ 769937 w 1679575"/>
                <a:gd name="connsiteY28" fmla="*/ 778007 h 1262063"/>
                <a:gd name="connsiteX29" fmla="*/ 742950 w 1679575"/>
                <a:gd name="connsiteY29" fmla="*/ 750887 h 1262063"/>
                <a:gd name="connsiteX30" fmla="*/ 650875 w 1679575"/>
                <a:gd name="connsiteY30" fmla="*/ 750887 h 1262063"/>
                <a:gd name="connsiteX31" fmla="*/ 623887 w 1679575"/>
                <a:gd name="connsiteY31" fmla="*/ 778007 h 1262063"/>
                <a:gd name="connsiteX32" fmla="*/ 623887 w 1679575"/>
                <a:gd name="connsiteY32" fmla="*/ 1076325 h 1262063"/>
                <a:gd name="connsiteX33" fmla="*/ 677862 w 1679575"/>
                <a:gd name="connsiteY33" fmla="*/ 1076325 h 1262063"/>
                <a:gd name="connsiteX34" fmla="*/ 677862 w 1679575"/>
                <a:gd name="connsiteY34" fmla="*/ 778007 h 1262063"/>
                <a:gd name="connsiteX35" fmla="*/ 650875 w 1679575"/>
                <a:gd name="connsiteY35" fmla="*/ 750887 h 1262063"/>
                <a:gd name="connsiteX36" fmla="*/ 558270 w 1679575"/>
                <a:gd name="connsiteY36" fmla="*/ 750887 h 1262063"/>
                <a:gd name="connsiteX37" fmla="*/ 531812 w 1679575"/>
                <a:gd name="connsiteY37" fmla="*/ 778007 h 1262063"/>
                <a:gd name="connsiteX38" fmla="*/ 531812 w 1679575"/>
                <a:gd name="connsiteY38" fmla="*/ 1076325 h 1262063"/>
                <a:gd name="connsiteX39" fmla="*/ 579437 w 1679575"/>
                <a:gd name="connsiteY39" fmla="*/ 1076325 h 1262063"/>
                <a:gd name="connsiteX40" fmla="*/ 579437 w 1679575"/>
                <a:gd name="connsiteY40" fmla="*/ 778007 h 1262063"/>
                <a:gd name="connsiteX41" fmla="*/ 558270 w 1679575"/>
                <a:gd name="connsiteY41" fmla="*/ 750887 h 1262063"/>
                <a:gd name="connsiteX42" fmla="*/ 87313 w 1679575"/>
                <a:gd name="connsiteY42" fmla="*/ 576262 h 1262063"/>
                <a:gd name="connsiteX43" fmla="*/ 98425 w 1679575"/>
                <a:gd name="connsiteY43" fmla="*/ 576262 h 1262063"/>
                <a:gd name="connsiteX44" fmla="*/ 123560 w 1679575"/>
                <a:gd name="connsiteY44" fmla="*/ 636587 h 1262063"/>
                <a:gd name="connsiteX45" fmla="*/ 130175 w 1679575"/>
                <a:gd name="connsiteY45" fmla="*/ 636587 h 1262063"/>
                <a:gd name="connsiteX46" fmla="*/ 130175 w 1679575"/>
                <a:gd name="connsiteY46" fmla="*/ 652462 h 1262063"/>
                <a:gd name="connsiteX47" fmla="*/ 130175 w 1679575"/>
                <a:gd name="connsiteY47" fmla="*/ 690562 h 1262063"/>
                <a:gd name="connsiteX48" fmla="*/ 157162 w 1679575"/>
                <a:gd name="connsiteY48" fmla="*/ 690562 h 1262063"/>
                <a:gd name="connsiteX49" fmla="*/ 157162 w 1679575"/>
                <a:gd name="connsiteY49" fmla="*/ 777875 h 1262063"/>
                <a:gd name="connsiteX50" fmla="*/ 184150 w 1679575"/>
                <a:gd name="connsiteY50" fmla="*/ 777875 h 1262063"/>
                <a:gd name="connsiteX51" fmla="*/ 184150 w 1679575"/>
                <a:gd name="connsiteY51" fmla="*/ 1076325 h 1262063"/>
                <a:gd name="connsiteX52" fmla="*/ 374650 w 1679575"/>
                <a:gd name="connsiteY52" fmla="*/ 1076325 h 1262063"/>
                <a:gd name="connsiteX53" fmla="*/ 374650 w 1679575"/>
                <a:gd name="connsiteY53" fmla="*/ 849312 h 1262063"/>
                <a:gd name="connsiteX54" fmla="*/ 374650 w 1679575"/>
                <a:gd name="connsiteY54" fmla="*/ 800100 h 1262063"/>
                <a:gd name="connsiteX55" fmla="*/ 471487 w 1679575"/>
                <a:gd name="connsiteY55" fmla="*/ 800100 h 1262063"/>
                <a:gd name="connsiteX56" fmla="*/ 471487 w 1679575"/>
                <a:gd name="connsiteY56" fmla="*/ 666472 h 1262063"/>
                <a:gd name="connsiteX57" fmla="*/ 1201737 w 1679575"/>
                <a:gd name="connsiteY57" fmla="*/ 666472 h 1262063"/>
                <a:gd name="connsiteX58" fmla="*/ 1201737 w 1679575"/>
                <a:gd name="connsiteY58" fmla="*/ 800100 h 1262063"/>
                <a:gd name="connsiteX59" fmla="*/ 1300163 w 1679575"/>
                <a:gd name="connsiteY59" fmla="*/ 800100 h 1262063"/>
                <a:gd name="connsiteX60" fmla="*/ 1300163 w 1679575"/>
                <a:gd name="connsiteY60" fmla="*/ 849312 h 1262063"/>
                <a:gd name="connsiteX61" fmla="*/ 1300163 w 1679575"/>
                <a:gd name="connsiteY61" fmla="*/ 1076325 h 1262063"/>
                <a:gd name="connsiteX62" fmla="*/ 1489075 w 1679575"/>
                <a:gd name="connsiteY62" fmla="*/ 1076325 h 1262063"/>
                <a:gd name="connsiteX63" fmla="*/ 1489075 w 1679575"/>
                <a:gd name="connsiteY63" fmla="*/ 777875 h 1262063"/>
                <a:gd name="connsiteX64" fmla="*/ 1516062 w 1679575"/>
                <a:gd name="connsiteY64" fmla="*/ 777875 h 1262063"/>
                <a:gd name="connsiteX65" fmla="*/ 1516062 w 1679575"/>
                <a:gd name="connsiteY65" fmla="*/ 690562 h 1262063"/>
                <a:gd name="connsiteX66" fmla="*/ 1543050 w 1679575"/>
                <a:gd name="connsiteY66" fmla="*/ 690562 h 1262063"/>
                <a:gd name="connsiteX67" fmla="*/ 1543050 w 1679575"/>
                <a:gd name="connsiteY67" fmla="*/ 652462 h 1262063"/>
                <a:gd name="connsiteX68" fmla="*/ 1543050 w 1679575"/>
                <a:gd name="connsiteY68" fmla="*/ 636587 h 1262063"/>
                <a:gd name="connsiteX69" fmla="*/ 1549995 w 1679575"/>
                <a:gd name="connsiteY69" fmla="*/ 636587 h 1262063"/>
                <a:gd name="connsiteX70" fmla="*/ 1576388 w 1679575"/>
                <a:gd name="connsiteY70" fmla="*/ 576262 h 1262063"/>
                <a:gd name="connsiteX71" fmla="*/ 1587500 w 1679575"/>
                <a:gd name="connsiteY71" fmla="*/ 576262 h 1262063"/>
                <a:gd name="connsiteX72" fmla="*/ 1612635 w 1679575"/>
                <a:gd name="connsiteY72" fmla="*/ 636587 h 1262063"/>
                <a:gd name="connsiteX73" fmla="*/ 1619250 w 1679575"/>
                <a:gd name="connsiteY73" fmla="*/ 636587 h 1262063"/>
                <a:gd name="connsiteX74" fmla="*/ 1619250 w 1679575"/>
                <a:gd name="connsiteY74" fmla="*/ 652462 h 1262063"/>
                <a:gd name="connsiteX75" fmla="*/ 1619250 w 1679575"/>
                <a:gd name="connsiteY75" fmla="*/ 690562 h 1262063"/>
                <a:gd name="connsiteX76" fmla="*/ 1646237 w 1679575"/>
                <a:gd name="connsiteY76" fmla="*/ 690562 h 1262063"/>
                <a:gd name="connsiteX77" fmla="*/ 1646237 w 1679575"/>
                <a:gd name="connsiteY77" fmla="*/ 777875 h 1262063"/>
                <a:gd name="connsiteX78" fmla="*/ 1679575 w 1679575"/>
                <a:gd name="connsiteY78" fmla="*/ 777875 h 1262063"/>
                <a:gd name="connsiteX79" fmla="*/ 1679575 w 1679575"/>
                <a:gd name="connsiteY79" fmla="*/ 1262063 h 1262063"/>
                <a:gd name="connsiteX80" fmla="*/ 1516062 w 1679575"/>
                <a:gd name="connsiteY80" fmla="*/ 1262063 h 1262063"/>
                <a:gd name="connsiteX81" fmla="*/ 1489075 w 1679575"/>
                <a:gd name="connsiteY81" fmla="*/ 1262063 h 1262063"/>
                <a:gd name="connsiteX82" fmla="*/ 1300163 w 1679575"/>
                <a:gd name="connsiteY82" fmla="*/ 1262063 h 1262063"/>
                <a:gd name="connsiteX83" fmla="*/ 374650 w 1679575"/>
                <a:gd name="connsiteY83" fmla="*/ 1262063 h 1262063"/>
                <a:gd name="connsiteX84" fmla="*/ 184150 w 1679575"/>
                <a:gd name="connsiteY84" fmla="*/ 1262063 h 1262063"/>
                <a:gd name="connsiteX85" fmla="*/ 173037 w 1679575"/>
                <a:gd name="connsiteY85" fmla="*/ 1262063 h 1262063"/>
                <a:gd name="connsiteX86" fmla="*/ 0 w 1679575"/>
                <a:gd name="connsiteY86" fmla="*/ 1262063 h 1262063"/>
                <a:gd name="connsiteX87" fmla="*/ 0 w 1679575"/>
                <a:gd name="connsiteY87" fmla="*/ 777875 h 1262063"/>
                <a:gd name="connsiteX88" fmla="*/ 26987 w 1679575"/>
                <a:gd name="connsiteY88" fmla="*/ 777875 h 1262063"/>
                <a:gd name="connsiteX89" fmla="*/ 26987 w 1679575"/>
                <a:gd name="connsiteY89" fmla="*/ 690562 h 1262063"/>
                <a:gd name="connsiteX90" fmla="*/ 53975 w 1679575"/>
                <a:gd name="connsiteY90" fmla="*/ 690562 h 1262063"/>
                <a:gd name="connsiteX91" fmla="*/ 53975 w 1679575"/>
                <a:gd name="connsiteY91" fmla="*/ 652462 h 1262063"/>
                <a:gd name="connsiteX92" fmla="*/ 53975 w 1679575"/>
                <a:gd name="connsiteY92" fmla="*/ 636587 h 1262063"/>
                <a:gd name="connsiteX93" fmla="*/ 60920 w 1679575"/>
                <a:gd name="connsiteY93" fmla="*/ 636587 h 1262063"/>
                <a:gd name="connsiteX94" fmla="*/ 87313 w 1679575"/>
                <a:gd name="connsiteY94" fmla="*/ 576262 h 1262063"/>
                <a:gd name="connsiteX95" fmla="*/ 835025 w 1679575"/>
                <a:gd name="connsiteY95" fmla="*/ 0 h 1262063"/>
                <a:gd name="connsiteX96" fmla="*/ 839788 w 1679575"/>
                <a:gd name="connsiteY96" fmla="*/ 0 h 1262063"/>
                <a:gd name="connsiteX97" fmla="*/ 839788 w 1679575"/>
                <a:gd name="connsiteY97" fmla="*/ 98425 h 1262063"/>
                <a:gd name="connsiteX98" fmla="*/ 855662 w 1679575"/>
                <a:gd name="connsiteY98" fmla="*/ 98425 h 1262063"/>
                <a:gd name="connsiteX99" fmla="*/ 855662 w 1679575"/>
                <a:gd name="connsiteY99" fmla="*/ 133122 h 1262063"/>
                <a:gd name="connsiteX100" fmla="*/ 866032 w 1679575"/>
                <a:gd name="connsiteY100" fmla="*/ 137501 h 1262063"/>
                <a:gd name="connsiteX101" fmla="*/ 877889 w 1679575"/>
                <a:gd name="connsiteY101" fmla="*/ 166687 h 1262063"/>
                <a:gd name="connsiteX102" fmla="*/ 876599 w 1679575"/>
                <a:gd name="connsiteY102" fmla="*/ 169862 h 1262063"/>
                <a:gd name="connsiteX103" fmla="*/ 898525 w 1679575"/>
                <a:gd name="connsiteY103" fmla="*/ 169862 h 1262063"/>
                <a:gd name="connsiteX104" fmla="*/ 898525 w 1679575"/>
                <a:gd name="connsiteY104" fmla="*/ 310731 h 1262063"/>
                <a:gd name="connsiteX105" fmla="*/ 908400 w 1679575"/>
                <a:gd name="connsiteY105" fmla="*/ 311721 h 1262063"/>
                <a:gd name="connsiteX106" fmla="*/ 1185862 w 1679575"/>
                <a:gd name="connsiteY106" fmla="*/ 647700 h 1262063"/>
                <a:gd name="connsiteX107" fmla="*/ 487362 w 1679575"/>
                <a:gd name="connsiteY107" fmla="*/ 647700 h 1262063"/>
                <a:gd name="connsiteX108" fmla="*/ 768452 w 1679575"/>
                <a:gd name="connsiteY108" fmla="*/ 311721 h 1262063"/>
                <a:gd name="connsiteX109" fmla="*/ 774700 w 1679575"/>
                <a:gd name="connsiteY109" fmla="*/ 311111 h 1262063"/>
                <a:gd name="connsiteX110" fmla="*/ 774700 w 1679575"/>
                <a:gd name="connsiteY110" fmla="*/ 169862 h 1262063"/>
                <a:gd name="connsiteX111" fmla="*/ 798215 w 1679575"/>
                <a:gd name="connsiteY111" fmla="*/ 169862 h 1262063"/>
                <a:gd name="connsiteX112" fmla="*/ 796925 w 1679575"/>
                <a:gd name="connsiteY112" fmla="*/ 166687 h 1262063"/>
                <a:gd name="connsiteX113" fmla="*/ 808782 w 1679575"/>
                <a:gd name="connsiteY113" fmla="*/ 137501 h 1262063"/>
                <a:gd name="connsiteX114" fmla="*/ 817562 w 1679575"/>
                <a:gd name="connsiteY114" fmla="*/ 133793 h 1262063"/>
                <a:gd name="connsiteX115" fmla="*/ 817562 w 1679575"/>
                <a:gd name="connsiteY115" fmla="*/ 98425 h 1262063"/>
                <a:gd name="connsiteX116" fmla="*/ 835025 w 1679575"/>
                <a:gd name="connsiteY116" fmla="*/ 98425 h 1262063"/>
                <a:gd name="connsiteX117" fmla="*/ 835025 w 1679575"/>
                <a:gd name="connsiteY117" fmla="*/ 0 h 1262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1679575" h="1262063">
                  <a:moveTo>
                    <a:pt x="1116013" y="750887"/>
                  </a:moveTo>
                  <a:cubicBezTo>
                    <a:pt x="1099820" y="750887"/>
                    <a:pt x="1089025" y="761735"/>
                    <a:pt x="1089025" y="778007"/>
                  </a:cubicBezTo>
                  <a:lnTo>
                    <a:pt x="1089025" y="1076325"/>
                  </a:lnTo>
                  <a:lnTo>
                    <a:pt x="1143000" y="1076325"/>
                  </a:lnTo>
                  <a:lnTo>
                    <a:pt x="1143000" y="778007"/>
                  </a:lnTo>
                  <a:cubicBezTo>
                    <a:pt x="1143000" y="761735"/>
                    <a:pt x="1132205" y="750887"/>
                    <a:pt x="1116013" y="750887"/>
                  </a:cubicBezTo>
                  <a:close/>
                  <a:moveTo>
                    <a:pt x="1023938" y="750887"/>
                  </a:moveTo>
                  <a:cubicBezTo>
                    <a:pt x="1007745" y="750887"/>
                    <a:pt x="996950" y="761735"/>
                    <a:pt x="996950" y="778007"/>
                  </a:cubicBezTo>
                  <a:lnTo>
                    <a:pt x="996950" y="1076325"/>
                  </a:lnTo>
                  <a:lnTo>
                    <a:pt x="1050925" y="1076325"/>
                  </a:lnTo>
                  <a:lnTo>
                    <a:pt x="1050925" y="778007"/>
                  </a:lnTo>
                  <a:cubicBezTo>
                    <a:pt x="1050925" y="761735"/>
                    <a:pt x="1034733" y="750887"/>
                    <a:pt x="1023938" y="750887"/>
                  </a:cubicBezTo>
                  <a:close/>
                  <a:moveTo>
                    <a:pt x="926748" y="750887"/>
                  </a:moveTo>
                  <a:cubicBezTo>
                    <a:pt x="915811" y="750887"/>
                    <a:pt x="904875" y="761735"/>
                    <a:pt x="904875" y="778007"/>
                  </a:cubicBezTo>
                  <a:lnTo>
                    <a:pt x="904875" y="1076325"/>
                  </a:lnTo>
                  <a:lnTo>
                    <a:pt x="954088" y="1076325"/>
                  </a:lnTo>
                  <a:lnTo>
                    <a:pt x="954088" y="778007"/>
                  </a:lnTo>
                  <a:cubicBezTo>
                    <a:pt x="954088" y="761735"/>
                    <a:pt x="943152" y="750887"/>
                    <a:pt x="926748" y="750887"/>
                  </a:cubicBezTo>
                  <a:close/>
                  <a:moveTo>
                    <a:pt x="834232" y="750887"/>
                  </a:moveTo>
                  <a:cubicBezTo>
                    <a:pt x="823119" y="750887"/>
                    <a:pt x="806450" y="761735"/>
                    <a:pt x="806450" y="778007"/>
                  </a:cubicBezTo>
                  <a:lnTo>
                    <a:pt x="806450" y="1076325"/>
                  </a:lnTo>
                  <a:lnTo>
                    <a:pt x="862013" y="1076325"/>
                  </a:lnTo>
                  <a:lnTo>
                    <a:pt x="862013" y="778007"/>
                  </a:lnTo>
                  <a:cubicBezTo>
                    <a:pt x="862013" y="761735"/>
                    <a:pt x="850900" y="750887"/>
                    <a:pt x="834232" y="750887"/>
                  </a:cubicBezTo>
                  <a:close/>
                  <a:moveTo>
                    <a:pt x="742950" y="750887"/>
                  </a:moveTo>
                  <a:cubicBezTo>
                    <a:pt x="726757" y="750887"/>
                    <a:pt x="715962" y="761735"/>
                    <a:pt x="715962" y="778007"/>
                  </a:cubicBezTo>
                  <a:lnTo>
                    <a:pt x="715962" y="1076325"/>
                  </a:lnTo>
                  <a:lnTo>
                    <a:pt x="769937" y="1076325"/>
                  </a:lnTo>
                  <a:lnTo>
                    <a:pt x="769937" y="778007"/>
                  </a:lnTo>
                  <a:cubicBezTo>
                    <a:pt x="769937" y="761735"/>
                    <a:pt x="759142" y="750887"/>
                    <a:pt x="742950" y="750887"/>
                  </a:cubicBezTo>
                  <a:close/>
                  <a:moveTo>
                    <a:pt x="650875" y="750887"/>
                  </a:moveTo>
                  <a:cubicBezTo>
                    <a:pt x="634682" y="750887"/>
                    <a:pt x="623887" y="761735"/>
                    <a:pt x="623887" y="778007"/>
                  </a:cubicBezTo>
                  <a:lnTo>
                    <a:pt x="623887" y="1076325"/>
                  </a:lnTo>
                  <a:lnTo>
                    <a:pt x="677862" y="1076325"/>
                  </a:lnTo>
                  <a:lnTo>
                    <a:pt x="677862" y="778007"/>
                  </a:lnTo>
                  <a:cubicBezTo>
                    <a:pt x="677862" y="761735"/>
                    <a:pt x="661670" y="750887"/>
                    <a:pt x="650875" y="750887"/>
                  </a:cubicBezTo>
                  <a:close/>
                  <a:moveTo>
                    <a:pt x="558270" y="750887"/>
                  </a:moveTo>
                  <a:cubicBezTo>
                    <a:pt x="542395" y="750887"/>
                    <a:pt x="531812" y="761735"/>
                    <a:pt x="531812" y="778007"/>
                  </a:cubicBezTo>
                  <a:lnTo>
                    <a:pt x="531812" y="1076325"/>
                  </a:lnTo>
                  <a:lnTo>
                    <a:pt x="579437" y="1076325"/>
                  </a:lnTo>
                  <a:lnTo>
                    <a:pt x="579437" y="778007"/>
                  </a:lnTo>
                  <a:cubicBezTo>
                    <a:pt x="579437" y="761735"/>
                    <a:pt x="568854" y="750887"/>
                    <a:pt x="558270" y="750887"/>
                  </a:cubicBezTo>
                  <a:close/>
                  <a:moveTo>
                    <a:pt x="87313" y="576262"/>
                  </a:moveTo>
                  <a:lnTo>
                    <a:pt x="98425" y="576262"/>
                  </a:lnTo>
                  <a:lnTo>
                    <a:pt x="123560" y="636587"/>
                  </a:lnTo>
                  <a:lnTo>
                    <a:pt x="130175" y="636587"/>
                  </a:lnTo>
                  <a:lnTo>
                    <a:pt x="130175" y="652462"/>
                  </a:lnTo>
                  <a:lnTo>
                    <a:pt x="130175" y="690562"/>
                  </a:lnTo>
                  <a:lnTo>
                    <a:pt x="157162" y="690562"/>
                  </a:lnTo>
                  <a:lnTo>
                    <a:pt x="157162" y="777875"/>
                  </a:lnTo>
                  <a:lnTo>
                    <a:pt x="184150" y="777875"/>
                  </a:lnTo>
                  <a:lnTo>
                    <a:pt x="184150" y="1076325"/>
                  </a:lnTo>
                  <a:lnTo>
                    <a:pt x="374650" y="1076325"/>
                  </a:lnTo>
                  <a:lnTo>
                    <a:pt x="374650" y="849312"/>
                  </a:lnTo>
                  <a:lnTo>
                    <a:pt x="374650" y="800100"/>
                  </a:lnTo>
                  <a:lnTo>
                    <a:pt x="471487" y="800100"/>
                  </a:lnTo>
                  <a:lnTo>
                    <a:pt x="471487" y="666472"/>
                  </a:lnTo>
                  <a:lnTo>
                    <a:pt x="1201737" y="666472"/>
                  </a:lnTo>
                  <a:lnTo>
                    <a:pt x="1201737" y="800100"/>
                  </a:lnTo>
                  <a:lnTo>
                    <a:pt x="1300163" y="800100"/>
                  </a:lnTo>
                  <a:lnTo>
                    <a:pt x="1300163" y="849312"/>
                  </a:lnTo>
                  <a:lnTo>
                    <a:pt x="1300163" y="1076325"/>
                  </a:lnTo>
                  <a:lnTo>
                    <a:pt x="1489075" y="1076325"/>
                  </a:lnTo>
                  <a:lnTo>
                    <a:pt x="1489075" y="777875"/>
                  </a:lnTo>
                  <a:lnTo>
                    <a:pt x="1516062" y="777875"/>
                  </a:lnTo>
                  <a:lnTo>
                    <a:pt x="1516062" y="690562"/>
                  </a:lnTo>
                  <a:lnTo>
                    <a:pt x="1543050" y="690562"/>
                  </a:lnTo>
                  <a:lnTo>
                    <a:pt x="1543050" y="652462"/>
                  </a:lnTo>
                  <a:lnTo>
                    <a:pt x="1543050" y="636587"/>
                  </a:lnTo>
                  <a:lnTo>
                    <a:pt x="1549995" y="636587"/>
                  </a:lnTo>
                  <a:lnTo>
                    <a:pt x="1576388" y="576262"/>
                  </a:lnTo>
                  <a:lnTo>
                    <a:pt x="1587500" y="576262"/>
                  </a:lnTo>
                  <a:lnTo>
                    <a:pt x="1612635" y="636587"/>
                  </a:lnTo>
                  <a:lnTo>
                    <a:pt x="1619250" y="636587"/>
                  </a:lnTo>
                  <a:lnTo>
                    <a:pt x="1619250" y="652462"/>
                  </a:lnTo>
                  <a:lnTo>
                    <a:pt x="1619250" y="690562"/>
                  </a:lnTo>
                  <a:lnTo>
                    <a:pt x="1646237" y="690562"/>
                  </a:lnTo>
                  <a:lnTo>
                    <a:pt x="1646237" y="777875"/>
                  </a:lnTo>
                  <a:lnTo>
                    <a:pt x="1679575" y="777875"/>
                  </a:lnTo>
                  <a:lnTo>
                    <a:pt x="1679575" y="1262063"/>
                  </a:lnTo>
                  <a:lnTo>
                    <a:pt x="1516062" y="1262063"/>
                  </a:lnTo>
                  <a:lnTo>
                    <a:pt x="1489075" y="1262063"/>
                  </a:lnTo>
                  <a:lnTo>
                    <a:pt x="1300163" y="1262063"/>
                  </a:lnTo>
                  <a:lnTo>
                    <a:pt x="374650" y="1262063"/>
                  </a:lnTo>
                  <a:lnTo>
                    <a:pt x="184150" y="1262063"/>
                  </a:lnTo>
                  <a:lnTo>
                    <a:pt x="173037" y="1262063"/>
                  </a:lnTo>
                  <a:lnTo>
                    <a:pt x="0" y="1262063"/>
                  </a:lnTo>
                  <a:lnTo>
                    <a:pt x="0" y="777875"/>
                  </a:lnTo>
                  <a:lnTo>
                    <a:pt x="26987" y="777875"/>
                  </a:lnTo>
                  <a:lnTo>
                    <a:pt x="26987" y="690562"/>
                  </a:lnTo>
                  <a:lnTo>
                    <a:pt x="53975" y="690562"/>
                  </a:lnTo>
                  <a:lnTo>
                    <a:pt x="53975" y="652462"/>
                  </a:lnTo>
                  <a:lnTo>
                    <a:pt x="53975" y="636587"/>
                  </a:lnTo>
                  <a:lnTo>
                    <a:pt x="60920" y="636587"/>
                  </a:lnTo>
                  <a:lnTo>
                    <a:pt x="87313" y="576262"/>
                  </a:lnTo>
                  <a:close/>
                  <a:moveTo>
                    <a:pt x="835025" y="0"/>
                  </a:moveTo>
                  <a:lnTo>
                    <a:pt x="839788" y="0"/>
                  </a:lnTo>
                  <a:lnTo>
                    <a:pt x="839788" y="98425"/>
                  </a:lnTo>
                  <a:lnTo>
                    <a:pt x="855662" y="98425"/>
                  </a:lnTo>
                  <a:lnTo>
                    <a:pt x="855662" y="133122"/>
                  </a:lnTo>
                  <a:lnTo>
                    <a:pt x="866032" y="137501"/>
                  </a:lnTo>
                  <a:cubicBezTo>
                    <a:pt x="873358" y="144970"/>
                    <a:pt x="877889" y="155289"/>
                    <a:pt x="877889" y="166687"/>
                  </a:cubicBezTo>
                  <a:lnTo>
                    <a:pt x="876599" y="169862"/>
                  </a:lnTo>
                  <a:lnTo>
                    <a:pt x="898525" y="169862"/>
                  </a:lnTo>
                  <a:lnTo>
                    <a:pt x="898525" y="310731"/>
                  </a:lnTo>
                  <a:lnTo>
                    <a:pt x="908400" y="311721"/>
                  </a:lnTo>
                  <a:cubicBezTo>
                    <a:pt x="1064454" y="343495"/>
                    <a:pt x="1181124" y="481013"/>
                    <a:pt x="1185862" y="647700"/>
                  </a:cubicBezTo>
                  <a:lnTo>
                    <a:pt x="487362" y="647700"/>
                  </a:lnTo>
                  <a:cubicBezTo>
                    <a:pt x="492100" y="481013"/>
                    <a:pt x="608770" y="343495"/>
                    <a:pt x="768452" y="311721"/>
                  </a:cubicBezTo>
                  <a:lnTo>
                    <a:pt x="774700" y="311111"/>
                  </a:lnTo>
                  <a:lnTo>
                    <a:pt x="774700" y="169862"/>
                  </a:lnTo>
                  <a:lnTo>
                    <a:pt x="798215" y="169862"/>
                  </a:lnTo>
                  <a:lnTo>
                    <a:pt x="796925" y="166687"/>
                  </a:lnTo>
                  <a:cubicBezTo>
                    <a:pt x="796925" y="155289"/>
                    <a:pt x="801456" y="144970"/>
                    <a:pt x="808782" y="137501"/>
                  </a:cubicBezTo>
                  <a:lnTo>
                    <a:pt x="817562" y="133793"/>
                  </a:lnTo>
                  <a:lnTo>
                    <a:pt x="817562" y="98425"/>
                  </a:lnTo>
                  <a:lnTo>
                    <a:pt x="835025" y="98425"/>
                  </a:lnTo>
                  <a:lnTo>
                    <a:pt x="835025"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07371915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36pt Title Only">
    <p:spTree>
      <p:nvGrpSpPr>
        <p:cNvPr id="1" name=""/>
        <p:cNvGrpSpPr/>
        <p:nvPr/>
      </p:nvGrpSpPr>
      <p:grpSpPr>
        <a:xfrm>
          <a:off x="0" y="0"/>
          <a:ext cx="0" cy="0"/>
          <a:chOff x="0" y="0"/>
          <a:chExt cx="0" cy="0"/>
        </a:xfrm>
      </p:grpSpPr>
      <p:grpSp>
        <p:nvGrpSpPr>
          <p:cNvPr id="93" name="Group 92"/>
          <p:cNvGrpSpPr/>
          <p:nvPr userDrawn="1"/>
        </p:nvGrpSpPr>
        <p:grpSpPr>
          <a:xfrm>
            <a:off x="0" y="5930185"/>
            <a:ext cx="12436475" cy="1073832"/>
            <a:chOff x="-1" y="5930185"/>
            <a:chExt cx="12436475" cy="1073832"/>
          </a:xfrm>
        </p:grpSpPr>
        <p:sp>
          <p:nvSpPr>
            <p:cNvPr id="94" name="Freeform 20"/>
            <p:cNvSpPr>
              <a:spLocks/>
            </p:cNvSpPr>
            <p:nvPr/>
          </p:nvSpPr>
          <p:spPr bwMode="auto">
            <a:xfrm>
              <a:off x="8352953" y="6290150"/>
              <a:ext cx="634144" cy="668147"/>
            </a:xfrm>
            <a:custGeom>
              <a:avLst/>
              <a:gdLst>
                <a:gd name="T0" fmla="*/ 295 w 539"/>
                <a:gd name="T1" fmla="*/ 77 h 711"/>
                <a:gd name="T2" fmla="*/ 295 w 539"/>
                <a:gd name="T3" fmla="*/ 0 h 711"/>
                <a:gd name="T4" fmla="*/ 105 w 539"/>
                <a:gd name="T5" fmla="*/ 0 h 711"/>
                <a:gd name="T6" fmla="*/ 105 w 539"/>
                <a:gd name="T7" fmla="*/ 77 h 711"/>
                <a:gd name="T8" fmla="*/ 0 w 539"/>
                <a:gd name="T9" fmla="*/ 77 h 711"/>
                <a:gd name="T10" fmla="*/ 0 w 539"/>
                <a:gd name="T11" fmla="*/ 95 h 711"/>
                <a:gd name="T12" fmla="*/ 23 w 539"/>
                <a:gd name="T13" fmla="*/ 95 h 711"/>
                <a:gd name="T14" fmla="*/ 23 w 539"/>
                <a:gd name="T15" fmla="*/ 711 h 711"/>
                <a:gd name="T16" fmla="*/ 515 w 539"/>
                <a:gd name="T17" fmla="*/ 711 h 711"/>
                <a:gd name="T18" fmla="*/ 515 w 539"/>
                <a:gd name="T19" fmla="*/ 95 h 711"/>
                <a:gd name="T20" fmla="*/ 539 w 539"/>
                <a:gd name="T21" fmla="*/ 95 h 711"/>
                <a:gd name="T22" fmla="*/ 539 w 539"/>
                <a:gd name="T23" fmla="*/ 77 h 711"/>
                <a:gd name="T24" fmla="*/ 295 w 539"/>
                <a:gd name="T25" fmla="*/ 77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9" h="711">
                  <a:moveTo>
                    <a:pt x="295" y="77"/>
                  </a:moveTo>
                  <a:lnTo>
                    <a:pt x="295" y="0"/>
                  </a:lnTo>
                  <a:lnTo>
                    <a:pt x="105" y="0"/>
                  </a:lnTo>
                  <a:lnTo>
                    <a:pt x="105" y="77"/>
                  </a:lnTo>
                  <a:lnTo>
                    <a:pt x="0" y="77"/>
                  </a:lnTo>
                  <a:lnTo>
                    <a:pt x="0" y="95"/>
                  </a:lnTo>
                  <a:lnTo>
                    <a:pt x="23" y="95"/>
                  </a:lnTo>
                  <a:lnTo>
                    <a:pt x="23" y="711"/>
                  </a:lnTo>
                  <a:lnTo>
                    <a:pt x="515" y="711"/>
                  </a:lnTo>
                  <a:lnTo>
                    <a:pt x="515" y="95"/>
                  </a:lnTo>
                  <a:lnTo>
                    <a:pt x="539" y="95"/>
                  </a:lnTo>
                  <a:lnTo>
                    <a:pt x="539" y="77"/>
                  </a:lnTo>
                  <a:lnTo>
                    <a:pt x="295" y="77"/>
                  </a:ln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5" name="Rectangle 34"/>
            <p:cNvSpPr>
              <a:spLocks noChangeArrowheads="1"/>
            </p:cNvSpPr>
            <p:nvPr/>
          </p:nvSpPr>
          <p:spPr bwMode="auto">
            <a:xfrm flipH="1">
              <a:off x="-1" y="6953678"/>
              <a:ext cx="12436475" cy="5033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96" name="Group 95"/>
            <p:cNvGrpSpPr/>
            <p:nvPr/>
          </p:nvGrpSpPr>
          <p:grpSpPr>
            <a:xfrm flipH="1">
              <a:off x="3715135" y="6560578"/>
              <a:ext cx="203193" cy="393100"/>
              <a:chOff x="6812419" y="6555317"/>
              <a:chExt cx="203193" cy="393100"/>
            </a:xfrm>
          </p:grpSpPr>
          <p:sp>
            <p:nvSpPr>
              <p:cNvPr id="153" name="Rectangle 35"/>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4" name="Oval 36"/>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5" name="Oval 37"/>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97" name="Group 96"/>
            <p:cNvGrpSpPr/>
            <p:nvPr/>
          </p:nvGrpSpPr>
          <p:grpSpPr>
            <a:xfrm flipH="1">
              <a:off x="3447858" y="6560578"/>
              <a:ext cx="204756" cy="393100"/>
              <a:chOff x="7078133" y="6555317"/>
              <a:chExt cx="204756" cy="393100"/>
            </a:xfrm>
          </p:grpSpPr>
          <p:sp>
            <p:nvSpPr>
              <p:cNvPr id="150" name="Rectangle 38"/>
              <p:cNvSpPr>
                <a:spLocks noChangeArrowheads="1"/>
              </p:cNvSpPr>
              <p:nvPr/>
            </p:nvSpPr>
            <p:spPr bwMode="auto">
              <a:xfrm>
                <a:off x="7161754" y="6795241"/>
                <a:ext cx="39857"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1" name="Oval 39"/>
              <p:cNvSpPr>
                <a:spLocks noChangeArrowheads="1"/>
              </p:cNvSpPr>
              <p:nvPr/>
            </p:nvSpPr>
            <p:spPr bwMode="auto">
              <a:xfrm>
                <a:off x="7078133" y="6660039"/>
                <a:ext cx="204756"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2" name="Oval 40"/>
              <p:cNvSpPr>
                <a:spLocks noChangeArrowheads="1"/>
              </p:cNvSpPr>
              <p:nvPr/>
            </p:nvSpPr>
            <p:spPr bwMode="auto">
              <a:xfrm>
                <a:off x="7106267" y="6555317"/>
                <a:ext cx="149269"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98" name="Group 97"/>
            <p:cNvGrpSpPr/>
            <p:nvPr/>
          </p:nvGrpSpPr>
          <p:grpSpPr>
            <a:xfrm flipH="1">
              <a:off x="2393357" y="5930185"/>
              <a:ext cx="779166" cy="1028469"/>
              <a:chOff x="10027859" y="5966057"/>
              <a:chExt cx="779166" cy="1028469"/>
            </a:xfrm>
          </p:grpSpPr>
          <p:sp>
            <p:nvSpPr>
              <p:cNvPr id="125" name="Rectangle 10"/>
              <p:cNvSpPr>
                <a:spLocks noChangeArrowheads="1"/>
              </p:cNvSpPr>
              <p:nvPr/>
            </p:nvSpPr>
            <p:spPr bwMode="auto">
              <a:xfrm>
                <a:off x="10063027" y="6104385"/>
                <a:ext cx="708830" cy="89014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6" name="Rectangle 11"/>
              <p:cNvSpPr>
                <a:spLocks noChangeArrowheads="1"/>
              </p:cNvSpPr>
              <p:nvPr/>
            </p:nvSpPr>
            <p:spPr bwMode="auto">
              <a:xfrm>
                <a:off x="10027859" y="6077032"/>
                <a:ext cx="779166" cy="27353"/>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7" name="Rectangle 12"/>
              <p:cNvSpPr>
                <a:spLocks noChangeArrowheads="1"/>
              </p:cNvSpPr>
              <p:nvPr/>
            </p:nvSpPr>
            <p:spPr bwMode="auto">
              <a:xfrm>
                <a:off x="10129455" y="6185662"/>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8" name="Rectangle 13"/>
              <p:cNvSpPr>
                <a:spLocks noChangeArrowheads="1"/>
              </p:cNvSpPr>
              <p:nvPr/>
            </p:nvSpPr>
            <p:spPr bwMode="auto">
              <a:xfrm>
                <a:off x="10129455" y="6185662"/>
                <a:ext cx="92218" cy="46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9" name="Rectangle 14"/>
              <p:cNvSpPr>
                <a:spLocks noChangeArrowheads="1"/>
              </p:cNvSpPr>
              <p:nvPr/>
            </p:nvSpPr>
            <p:spPr bwMode="auto">
              <a:xfrm>
                <a:off x="10289665" y="6185662"/>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0" name="Rectangle 15"/>
              <p:cNvSpPr>
                <a:spLocks noChangeArrowheads="1"/>
              </p:cNvSpPr>
              <p:nvPr/>
            </p:nvSpPr>
            <p:spPr bwMode="auto">
              <a:xfrm>
                <a:off x="10448311" y="6185662"/>
                <a:ext cx="93000"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1" name="Rectangle 16"/>
              <p:cNvSpPr>
                <a:spLocks noChangeArrowheads="1"/>
              </p:cNvSpPr>
              <p:nvPr/>
            </p:nvSpPr>
            <p:spPr bwMode="auto">
              <a:xfrm>
                <a:off x="10289665" y="6813997"/>
                <a:ext cx="92218" cy="18052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2" name="Rectangle 17"/>
              <p:cNvSpPr>
                <a:spLocks noChangeArrowheads="1"/>
              </p:cNvSpPr>
              <p:nvPr/>
            </p:nvSpPr>
            <p:spPr bwMode="auto">
              <a:xfrm>
                <a:off x="10448311" y="6813997"/>
                <a:ext cx="93000" cy="18052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3" name="Rectangle 18"/>
              <p:cNvSpPr>
                <a:spLocks noChangeArrowheads="1"/>
              </p:cNvSpPr>
              <p:nvPr/>
            </p:nvSpPr>
            <p:spPr bwMode="auto">
              <a:xfrm>
                <a:off x="10609302" y="6185662"/>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4" name="Rectangle 19"/>
              <p:cNvSpPr>
                <a:spLocks noChangeArrowheads="1"/>
              </p:cNvSpPr>
              <p:nvPr/>
            </p:nvSpPr>
            <p:spPr bwMode="auto">
              <a:xfrm>
                <a:off x="10129455" y="6344309"/>
                <a:ext cx="92218" cy="930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5" name="Rectangle 20"/>
              <p:cNvSpPr>
                <a:spLocks noChangeArrowheads="1"/>
              </p:cNvSpPr>
              <p:nvPr/>
            </p:nvSpPr>
            <p:spPr bwMode="auto">
              <a:xfrm>
                <a:off x="10289665" y="6344309"/>
                <a:ext cx="92218" cy="9300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6" name="Rectangle 21"/>
              <p:cNvSpPr>
                <a:spLocks noChangeArrowheads="1"/>
              </p:cNvSpPr>
              <p:nvPr/>
            </p:nvSpPr>
            <p:spPr bwMode="auto">
              <a:xfrm>
                <a:off x="10448311" y="6344309"/>
                <a:ext cx="93000" cy="9300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7" name="Rectangle 22"/>
              <p:cNvSpPr>
                <a:spLocks noChangeArrowheads="1"/>
              </p:cNvSpPr>
              <p:nvPr/>
            </p:nvSpPr>
            <p:spPr bwMode="auto">
              <a:xfrm>
                <a:off x="10609302" y="6344309"/>
                <a:ext cx="92218" cy="930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8" name="Rectangle 23"/>
              <p:cNvSpPr>
                <a:spLocks noChangeArrowheads="1"/>
              </p:cNvSpPr>
              <p:nvPr/>
            </p:nvSpPr>
            <p:spPr bwMode="auto">
              <a:xfrm>
                <a:off x="10129455" y="6505300"/>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9" name="Rectangle 24"/>
              <p:cNvSpPr>
                <a:spLocks noChangeArrowheads="1"/>
              </p:cNvSpPr>
              <p:nvPr/>
            </p:nvSpPr>
            <p:spPr bwMode="auto">
              <a:xfrm>
                <a:off x="10289665" y="6505300"/>
                <a:ext cx="92218"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0" name="Rectangle 25"/>
              <p:cNvSpPr>
                <a:spLocks noChangeArrowheads="1"/>
              </p:cNvSpPr>
              <p:nvPr/>
            </p:nvSpPr>
            <p:spPr bwMode="auto">
              <a:xfrm>
                <a:off x="10448311" y="6505300"/>
                <a:ext cx="93000"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1" name="Rectangle 26"/>
              <p:cNvSpPr>
                <a:spLocks noChangeArrowheads="1"/>
              </p:cNvSpPr>
              <p:nvPr/>
            </p:nvSpPr>
            <p:spPr bwMode="auto">
              <a:xfrm>
                <a:off x="10609302" y="6505300"/>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2" name="Rectangle 27"/>
              <p:cNvSpPr>
                <a:spLocks noChangeArrowheads="1"/>
              </p:cNvSpPr>
              <p:nvPr/>
            </p:nvSpPr>
            <p:spPr bwMode="auto">
              <a:xfrm>
                <a:off x="10129455" y="6663947"/>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3" name="Rectangle 28"/>
              <p:cNvSpPr>
                <a:spLocks noChangeArrowheads="1"/>
              </p:cNvSpPr>
              <p:nvPr/>
            </p:nvSpPr>
            <p:spPr bwMode="auto">
              <a:xfrm>
                <a:off x="10289665" y="6663947"/>
                <a:ext cx="92218"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4" name="Rectangle 29"/>
              <p:cNvSpPr>
                <a:spLocks noChangeArrowheads="1"/>
              </p:cNvSpPr>
              <p:nvPr/>
            </p:nvSpPr>
            <p:spPr bwMode="auto">
              <a:xfrm>
                <a:off x="10448311" y="6663947"/>
                <a:ext cx="93000"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5" name="Rectangle 30"/>
              <p:cNvSpPr>
                <a:spLocks noChangeArrowheads="1"/>
              </p:cNvSpPr>
              <p:nvPr/>
            </p:nvSpPr>
            <p:spPr bwMode="auto">
              <a:xfrm>
                <a:off x="10609302" y="6663947"/>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6" name="Rectangle 31"/>
              <p:cNvSpPr>
                <a:spLocks noChangeArrowheads="1"/>
              </p:cNvSpPr>
              <p:nvPr/>
            </p:nvSpPr>
            <p:spPr bwMode="auto">
              <a:xfrm>
                <a:off x="10129455" y="6505300"/>
                <a:ext cx="92218" cy="46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7" name="Rectangle 32"/>
              <p:cNvSpPr>
                <a:spLocks noChangeArrowheads="1"/>
              </p:cNvSpPr>
              <p:nvPr/>
            </p:nvSpPr>
            <p:spPr bwMode="auto">
              <a:xfrm>
                <a:off x="10609302" y="6505300"/>
                <a:ext cx="92218" cy="46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8" name="Rectangle 33"/>
              <p:cNvSpPr>
                <a:spLocks noChangeArrowheads="1"/>
              </p:cNvSpPr>
              <p:nvPr/>
            </p:nvSpPr>
            <p:spPr bwMode="auto">
              <a:xfrm>
                <a:off x="10609302" y="6344309"/>
                <a:ext cx="92218" cy="46891"/>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9" name="Rectangle 41"/>
              <p:cNvSpPr>
                <a:spLocks noChangeArrowheads="1"/>
              </p:cNvSpPr>
              <p:nvPr/>
            </p:nvSpPr>
            <p:spPr bwMode="auto">
              <a:xfrm>
                <a:off x="10381881" y="5966057"/>
                <a:ext cx="273529" cy="11097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99" name="Group 98"/>
            <p:cNvGrpSpPr/>
            <p:nvPr/>
          </p:nvGrpSpPr>
          <p:grpSpPr>
            <a:xfrm flipH="1">
              <a:off x="2120803" y="6565197"/>
              <a:ext cx="204756" cy="393100"/>
              <a:chOff x="7078133" y="6555317"/>
              <a:chExt cx="204756" cy="393100"/>
            </a:xfrm>
          </p:grpSpPr>
          <p:sp>
            <p:nvSpPr>
              <p:cNvPr id="122" name="Rectangle 121"/>
              <p:cNvSpPr>
                <a:spLocks noChangeArrowheads="1"/>
              </p:cNvSpPr>
              <p:nvPr/>
            </p:nvSpPr>
            <p:spPr bwMode="auto">
              <a:xfrm>
                <a:off x="7161754" y="6795241"/>
                <a:ext cx="39857"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3" name="Oval 122"/>
              <p:cNvSpPr>
                <a:spLocks noChangeArrowheads="1"/>
              </p:cNvSpPr>
              <p:nvPr/>
            </p:nvSpPr>
            <p:spPr bwMode="auto">
              <a:xfrm>
                <a:off x="7078133" y="6660039"/>
                <a:ext cx="204756"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4" name="Oval 123"/>
              <p:cNvSpPr>
                <a:spLocks noChangeArrowheads="1"/>
              </p:cNvSpPr>
              <p:nvPr/>
            </p:nvSpPr>
            <p:spPr bwMode="auto">
              <a:xfrm>
                <a:off x="7106267" y="6555317"/>
                <a:ext cx="149269"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00" name="Group 99"/>
            <p:cNvGrpSpPr/>
            <p:nvPr/>
          </p:nvGrpSpPr>
          <p:grpSpPr>
            <a:xfrm flipH="1">
              <a:off x="5633976" y="6560578"/>
              <a:ext cx="203193" cy="393100"/>
              <a:chOff x="6812419" y="6555317"/>
              <a:chExt cx="203193" cy="393100"/>
            </a:xfrm>
          </p:grpSpPr>
          <p:sp>
            <p:nvSpPr>
              <p:cNvPr id="119" name="Rectangle 118"/>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0" name="Oval 119"/>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1" name="Oval 120"/>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01" name="Freeform 7"/>
            <p:cNvSpPr>
              <a:spLocks/>
            </p:cNvSpPr>
            <p:nvPr/>
          </p:nvSpPr>
          <p:spPr bwMode="auto">
            <a:xfrm>
              <a:off x="7952093" y="6378707"/>
              <a:ext cx="190768" cy="574971"/>
            </a:xfrm>
            <a:custGeom>
              <a:avLst/>
              <a:gdLst>
                <a:gd name="T0" fmla="*/ 80 w 143"/>
                <a:gd name="T1" fmla="*/ 0 h 431"/>
                <a:gd name="T2" fmla="*/ 0 w 143"/>
                <a:gd name="T3" fmla="*/ 431 h 431"/>
                <a:gd name="T4" fmla="*/ 143 w 143"/>
                <a:gd name="T5" fmla="*/ 431 h 431"/>
                <a:gd name="T6" fmla="*/ 80 w 143"/>
                <a:gd name="T7" fmla="*/ 0 h 431"/>
              </a:gdLst>
              <a:ahLst/>
              <a:cxnLst>
                <a:cxn ang="0">
                  <a:pos x="T0" y="T1"/>
                </a:cxn>
                <a:cxn ang="0">
                  <a:pos x="T2" y="T3"/>
                </a:cxn>
                <a:cxn ang="0">
                  <a:pos x="T4" y="T5"/>
                </a:cxn>
                <a:cxn ang="0">
                  <a:pos x="T6" y="T7"/>
                </a:cxn>
              </a:cxnLst>
              <a:rect l="0" t="0" r="r" b="b"/>
              <a:pathLst>
                <a:path w="143" h="431">
                  <a:moveTo>
                    <a:pt x="80" y="0"/>
                  </a:moveTo>
                  <a:lnTo>
                    <a:pt x="0" y="431"/>
                  </a:lnTo>
                  <a:lnTo>
                    <a:pt x="143" y="431"/>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2" name="Freeform 8"/>
            <p:cNvSpPr>
              <a:spLocks/>
            </p:cNvSpPr>
            <p:nvPr/>
          </p:nvSpPr>
          <p:spPr bwMode="auto">
            <a:xfrm>
              <a:off x="8110844" y="6646015"/>
              <a:ext cx="130594" cy="307663"/>
            </a:xfrm>
            <a:custGeom>
              <a:avLst/>
              <a:gdLst>
                <a:gd name="T0" fmla="*/ 62 w 111"/>
                <a:gd name="T1" fmla="*/ 0 h 332"/>
                <a:gd name="T2" fmla="*/ 0 w 111"/>
                <a:gd name="T3" fmla="*/ 332 h 332"/>
                <a:gd name="T4" fmla="*/ 111 w 111"/>
                <a:gd name="T5" fmla="*/ 332 h 332"/>
                <a:gd name="T6" fmla="*/ 62 w 111"/>
                <a:gd name="T7" fmla="*/ 0 h 332"/>
              </a:gdLst>
              <a:ahLst/>
              <a:cxnLst>
                <a:cxn ang="0">
                  <a:pos x="T0" y="T1"/>
                </a:cxn>
                <a:cxn ang="0">
                  <a:pos x="T2" y="T3"/>
                </a:cxn>
                <a:cxn ang="0">
                  <a:pos x="T4" y="T5"/>
                </a:cxn>
                <a:cxn ang="0">
                  <a:pos x="T6" y="T7"/>
                </a:cxn>
              </a:cxnLst>
              <a:rect l="0" t="0" r="r" b="b"/>
              <a:pathLst>
                <a:path w="111" h="332">
                  <a:moveTo>
                    <a:pt x="62" y="0"/>
                  </a:moveTo>
                  <a:lnTo>
                    <a:pt x="0" y="332"/>
                  </a:lnTo>
                  <a:lnTo>
                    <a:pt x="111" y="332"/>
                  </a:lnTo>
                  <a:lnTo>
                    <a:pt x="6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3" name="Rectangle 21"/>
            <p:cNvSpPr>
              <a:spLocks noChangeArrowheads="1"/>
            </p:cNvSpPr>
            <p:nvPr/>
          </p:nvSpPr>
          <p:spPr bwMode="auto">
            <a:xfrm>
              <a:off x="8700027" y="6837956"/>
              <a:ext cx="74121" cy="115837"/>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4" name="Rectangle 22"/>
            <p:cNvSpPr>
              <a:spLocks noChangeArrowheads="1"/>
            </p:cNvSpPr>
            <p:nvPr/>
          </p:nvSpPr>
          <p:spPr bwMode="auto">
            <a:xfrm>
              <a:off x="8569433" y="6837956"/>
              <a:ext cx="74121" cy="115837"/>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5" name="Rectangle 23"/>
            <p:cNvSpPr>
              <a:spLocks noChangeArrowheads="1"/>
            </p:cNvSpPr>
            <p:nvPr/>
          </p:nvSpPr>
          <p:spPr bwMode="auto">
            <a:xfrm>
              <a:off x="8438839" y="6430081"/>
              <a:ext cx="465902" cy="58382"/>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6" name="Rectangle 24"/>
            <p:cNvSpPr>
              <a:spLocks noChangeArrowheads="1"/>
            </p:cNvSpPr>
            <p:nvPr/>
          </p:nvSpPr>
          <p:spPr bwMode="auto">
            <a:xfrm>
              <a:off x="8438839" y="6532945"/>
              <a:ext cx="465902" cy="59309"/>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7" name="Rectangle 25"/>
            <p:cNvSpPr>
              <a:spLocks noChangeArrowheads="1"/>
            </p:cNvSpPr>
            <p:nvPr/>
          </p:nvSpPr>
          <p:spPr bwMode="auto">
            <a:xfrm>
              <a:off x="8438839" y="6633954"/>
              <a:ext cx="465902" cy="61162"/>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8" name="Rectangle 26"/>
            <p:cNvSpPr>
              <a:spLocks noChangeArrowheads="1"/>
            </p:cNvSpPr>
            <p:nvPr/>
          </p:nvSpPr>
          <p:spPr bwMode="auto">
            <a:xfrm>
              <a:off x="8438839" y="6737744"/>
              <a:ext cx="465902" cy="58382"/>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9" name="Freeform 7"/>
            <p:cNvSpPr>
              <a:spLocks/>
            </p:cNvSpPr>
            <p:nvPr/>
          </p:nvSpPr>
          <p:spPr bwMode="auto">
            <a:xfrm>
              <a:off x="5222313" y="6387031"/>
              <a:ext cx="190768" cy="574971"/>
            </a:xfrm>
            <a:custGeom>
              <a:avLst/>
              <a:gdLst>
                <a:gd name="T0" fmla="*/ 80 w 143"/>
                <a:gd name="T1" fmla="*/ 0 h 431"/>
                <a:gd name="T2" fmla="*/ 0 w 143"/>
                <a:gd name="T3" fmla="*/ 431 h 431"/>
                <a:gd name="T4" fmla="*/ 143 w 143"/>
                <a:gd name="T5" fmla="*/ 431 h 431"/>
                <a:gd name="T6" fmla="*/ 80 w 143"/>
                <a:gd name="T7" fmla="*/ 0 h 431"/>
              </a:gdLst>
              <a:ahLst/>
              <a:cxnLst>
                <a:cxn ang="0">
                  <a:pos x="T0" y="T1"/>
                </a:cxn>
                <a:cxn ang="0">
                  <a:pos x="T2" y="T3"/>
                </a:cxn>
                <a:cxn ang="0">
                  <a:pos x="T4" y="T5"/>
                </a:cxn>
                <a:cxn ang="0">
                  <a:pos x="T6" y="T7"/>
                </a:cxn>
              </a:cxnLst>
              <a:rect l="0" t="0" r="r" b="b"/>
              <a:pathLst>
                <a:path w="143" h="431">
                  <a:moveTo>
                    <a:pt x="80" y="0"/>
                  </a:moveTo>
                  <a:lnTo>
                    <a:pt x="0" y="431"/>
                  </a:lnTo>
                  <a:lnTo>
                    <a:pt x="143" y="431"/>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0" name="Freeform 8"/>
            <p:cNvSpPr>
              <a:spLocks/>
            </p:cNvSpPr>
            <p:nvPr/>
          </p:nvSpPr>
          <p:spPr bwMode="auto">
            <a:xfrm>
              <a:off x="5381064" y="6654339"/>
              <a:ext cx="130594" cy="307663"/>
            </a:xfrm>
            <a:custGeom>
              <a:avLst/>
              <a:gdLst>
                <a:gd name="T0" fmla="*/ 62 w 111"/>
                <a:gd name="T1" fmla="*/ 0 h 332"/>
                <a:gd name="T2" fmla="*/ 0 w 111"/>
                <a:gd name="T3" fmla="*/ 332 h 332"/>
                <a:gd name="T4" fmla="*/ 111 w 111"/>
                <a:gd name="T5" fmla="*/ 332 h 332"/>
                <a:gd name="T6" fmla="*/ 62 w 111"/>
                <a:gd name="T7" fmla="*/ 0 h 332"/>
              </a:gdLst>
              <a:ahLst/>
              <a:cxnLst>
                <a:cxn ang="0">
                  <a:pos x="T0" y="T1"/>
                </a:cxn>
                <a:cxn ang="0">
                  <a:pos x="T2" y="T3"/>
                </a:cxn>
                <a:cxn ang="0">
                  <a:pos x="T4" y="T5"/>
                </a:cxn>
                <a:cxn ang="0">
                  <a:pos x="T6" y="T7"/>
                </a:cxn>
              </a:cxnLst>
              <a:rect l="0" t="0" r="r" b="b"/>
              <a:pathLst>
                <a:path w="111" h="332">
                  <a:moveTo>
                    <a:pt x="62" y="0"/>
                  </a:moveTo>
                  <a:lnTo>
                    <a:pt x="0" y="332"/>
                  </a:lnTo>
                  <a:lnTo>
                    <a:pt x="111" y="332"/>
                  </a:lnTo>
                  <a:lnTo>
                    <a:pt x="6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11" name="Group 110"/>
            <p:cNvGrpSpPr/>
            <p:nvPr/>
          </p:nvGrpSpPr>
          <p:grpSpPr>
            <a:xfrm flipH="1">
              <a:off x="9706279" y="6592254"/>
              <a:ext cx="203193" cy="393100"/>
              <a:chOff x="6812419" y="6555317"/>
              <a:chExt cx="203193" cy="393100"/>
            </a:xfrm>
          </p:grpSpPr>
          <p:sp>
            <p:nvSpPr>
              <p:cNvPr id="116" name="Rectangle 35"/>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7" name="Oval 36"/>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8" name="Oval 37"/>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12" name="Group 111"/>
            <p:cNvGrpSpPr/>
            <p:nvPr/>
          </p:nvGrpSpPr>
          <p:grpSpPr>
            <a:xfrm flipH="1">
              <a:off x="9439002" y="6592254"/>
              <a:ext cx="204756" cy="393100"/>
              <a:chOff x="7078133" y="6555317"/>
              <a:chExt cx="204756" cy="393100"/>
            </a:xfrm>
          </p:grpSpPr>
          <p:sp>
            <p:nvSpPr>
              <p:cNvPr id="113" name="Rectangle 38"/>
              <p:cNvSpPr>
                <a:spLocks noChangeArrowheads="1"/>
              </p:cNvSpPr>
              <p:nvPr/>
            </p:nvSpPr>
            <p:spPr bwMode="auto">
              <a:xfrm>
                <a:off x="7161754" y="6795241"/>
                <a:ext cx="39857"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Oval 39"/>
              <p:cNvSpPr>
                <a:spLocks noChangeArrowheads="1"/>
              </p:cNvSpPr>
              <p:nvPr/>
            </p:nvSpPr>
            <p:spPr bwMode="auto">
              <a:xfrm>
                <a:off x="7078133" y="6660039"/>
                <a:ext cx="204756"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5" name="Oval 40"/>
              <p:cNvSpPr>
                <a:spLocks noChangeArrowheads="1"/>
              </p:cNvSpPr>
              <p:nvPr/>
            </p:nvSpPr>
            <p:spPr bwMode="auto">
              <a:xfrm>
                <a:off x="7106267" y="6555317"/>
                <a:ext cx="149269"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20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39">
              <a:defRPr/>
            </a:pPr>
            <a:fld id="{27258FFF-F925-446B-8502-81C933981705}" type="slidenum">
              <a:rPr lang="en-US" smtClean="0">
                <a:solidFill>
                  <a:srgbClr val="505050"/>
                </a:solidFill>
              </a:rPr>
              <a:pPr defTabSz="932539">
                <a:defRPr/>
              </a:pPr>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61274281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3_36pt Title Only">
    <p:spTree>
      <p:nvGrpSpPr>
        <p:cNvPr id="1" name=""/>
        <p:cNvGrpSpPr/>
        <p:nvPr/>
      </p:nvGrpSpPr>
      <p:grpSpPr>
        <a:xfrm>
          <a:off x="0" y="0"/>
          <a:ext cx="0" cy="0"/>
          <a:chOff x="0" y="0"/>
          <a:chExt cx="0" cy="0"/>
        </a:xfrm>
      </p:grpSpPr>
      <p:sp>
        <p:nvSpPr>
          <p:cNvPr id="71" name="Freeform 18"/>
          <p:cNvSpPr>
            <a:spLocks/>
          </p:cNvSpPr>
          <p:nvPr userDrawn="1"/>
        </p:nvSpPr>
        <p:spPr bwMode="auto">
          <a:xfrm>
            <a:off x="4286424" y="6775686"/>
            <a:ext cx="7127544" cy="218843"/>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2" name="Group 1"/>
          <p:cNvGrpSpPr/>
          <p:nvPr userDrawn="1"/>
        </p:nvGrpSpPr>
        <p:grpSpPr>
          <a:xfrm>
            <a:off x="7070089" y="6279907"/>
            <a:ext cx="634145" cy="668147"/>
            <a:chOff x="8352953" y="6290150"/>
            <a:chExt cx="634144" cy="668147"/>
          </a:xfrm>
        </p:grpSpPr>
        <p:sp>
          <p:nvSpPr>
            <p:cNvPr id="94" name="Freeform 20"/>
            <p:cNvSpPr>
              <a:spLocks/>
            </p:cNvSpPr>
            <p:nvPr/>
          </p:nvSpPr>
          <p:spPr bwMode="auto">
            <a:xfrm>
              <a:off x="8352953" y="6290150"/>
              <a:ext cx="634144" cy="668147"/>
            </a:xfrm>
            <a:custGeom>
              <a:avLst/>
              <a:gdLst>
                <a:gd name="T0" fmla="*/ 295 w 539"/>
                <a:gd name="T1" fmla="*/ 77 h 711"/>
                <a:gd name="T2" fmla="*/ 295 w 539"/>
                <a:gd name="T3" fmla="*/ 0 h 711"/>
                <a:gd name="T4" fmla="*/ 105 w 539"/>
                <a:gd name="T5" fmla="*/ 0 h 711"/>
                <a:gd name="T6" fmla="*/ 105 w 539"/>
                <a:gd name="T7" fmla="*/ 77 h 711"/>
                <a:gd name="T8" fmla="*/ 0 w 539"/>
                <a:gd name="T9" fmla="*/ 77 h 711"/>
                <a:gd name="T10" fmla="*/ 0 w 539"/>
                <a:gd name="T11" fmla="*/ 95 h 711"/>
                <a:gd name="T12" fmla="*/ 23 w 539"/>
                <a:gd name="T13" fmla="*/ 95 h 711"/>
                <a:gd name="T14" fmla="*/ 23 w 539"/>
                <a:gd name="T15" fmla="*/ 711 h 711"/>
                <a:gd name="T16" fmla="*/ 515 w 539"/>
                <a:gd name="T17" fmla="*/ 711 h 711"/>
                <a:gd name="T18" fmla="*/ 515 w 539"/>
                <a:gd name="T19" fmla="*/ 95 h 711"/>
                <a:gd name="T20" fmla="*/ 539 w 539"/>
                <a:gd name="T21" fmla="*/ 95 h 711"/>
                <a:gd name="T22" fmla="*/ 539 w 539"/>
                <a:gd name="T23" fmla="*/ 77 h 711"/>
                <a:gd name="T24" fmla="*/ 295 w 539"/>
                <a:gd name="T25" fmla="*/ 77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9" h="711">
                  <a:moveTo>
                    <a:pt x="295" y="77"/>
                  </a:moveTo>
                  <a:lnTo>
                    <a:pt x="295" y="0"/>
                  </a:lnTo>
                  <a:lnTo>
                    <a:pt x="105" y="0"/>
                  </a:lnTo>
                  <a:lnTo>
                    <a:pt x="105" y="77"/>
                  </a:lnTo>
                  <a:lnTo>
                    <a:pt x="0" y="77"/>
                  </a:lnTo>
                  <a:lnTo>
                    <a:pt x="0" y="95"/>
                  </a:lnTo>
                  <a:lnTo>
                    <a:pt x="23" y="95"/>
                  </a:lnTo>
                  <a:lnTo>
                    <a:pt x="23" y="711"/>
                  </a:lnTo>
                  <a:lnTo>
                    <a:pt x="515" y="711"/>
                  </a:lnTo>
                  <a:lnTo>
                    <a:pt x="515" y="95"/>
                  </a:lnTo>
                  <a:lnTo>
                    <a:pt x="539" y="95"/>
                  </a:lnTo>
                  <a:lnTo>
                    <a:pt x="539" y="77"/>
                  </a:lnTo>
                  <a:lnTo>
                    <a:pt x="295" y="77"/>
                  </a:ln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3" name="Rectangle 21"/>
            <p:cNvSpPr>
              <a:spLocks noChangeArrowheads="1"/>
            </p:cNvSpPr>
            <p:nvPr/>
          </p:nvSpPr>
          <p:spPr bwMode="auto">
            <a:xfrm>
              <a:off x="8700027" y="6837956"/>
              <a:ext cx="74121" cy="115837"/>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4" name="Rectangle 22"/>
            <p:cNvSpPr>
              <a:spLocks noChangeArrowheads="1"/>
            </p:cNvSpPr>
            <p:nvPr/>
          </p:nvSpPr>
          <p:spPr bwMode="auto">
            <a:xfrm>
              <a:off x="8569433" y="6837956"/>
              <a:ext cx="74121" cy="115837"/>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5" name="Rectangle 23"/>
            <p:cNvSpPr>
              <a:spLocks noChangeArrowheads="1"/>
            </p:cNvSpPr>
            <p:nvPr/>
          </p:nvSpPr>
          <p:spPr bwMode="auto">
            <a:xfrm>
              <a:off x="8438839" y="6430081"/>
              <a:ext cx="465902" cy="58382"/>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6" name="Rectangle 24"/>
            <p:cNvSpPr>
              <a:spLocks noChangeArrowheads="1"/>
            </p:cNvSpPr>
            <p:nvPr/>
          </p:nvSpPr>
          <p:spPr bwMode="auto">
            <a:xfrm>
              <a:off x="8438839" y="6532945"/>
              <a:ext cx="465902" cy="59309"/>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7" name="Rectangle 25"/>
            <p:cNvSpPr>
              <a:spLocks noChangeArrowheads="1"/>
            </p:cNvSpPr>
            <p:nvPr/>
          </p:nvSpPr>
          <p:spPr bwMode="auto">
            <a:xfrm>
              <a:off x="8438839" y="6633954"/>
              <a:ext cx="465902" cy="61162"/>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8" name="Rectangle 26"/>
            <p:cNvSpPr>
              <a:spLocks noChangeArrowheads="1"/>
            </p:cNvSpPr>
            <p:nvPr/>
          </p:nvSpPr>
          <p:spPr bwMode="auto">
            <a:xfrm>
              <a:off x="8438839" y="6737744"/>
              <a:ext cx="465902" cy="58382"/>
            </a:xfrm>
            <a:prstGeom prst="rect">
              <a:avLst/>
            </a:pr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74" name="Freeform 73"/>
          <p:cNvSpPr>
            <a:spLocks/>
          </p:cNvSpPr>
          <p:nvPr userDrawn="1"/>
        </p:nvSpPr>
        <p:spPr bwMode="auto">
          <a:xfrm>
            <a:off x="6964469" y="6665300"/>
            <a:ext cx="5472007" cy="329226"/>
          </a:xfrm>
          <a:custGeom>
            <a:avLst/>
            <a:gdLst>
              <a:gd name="connsiteX0" fmla="*/ 3760673 w 5472006"/>
              <a:gd name="connsiteY0" fmla="*/ 713 h 326454"/>
              <a:gd name="connsiteX1" fmla="*/ 5098430 w 5472006"/>
              <a:gd name="connsiteY1" fmla="*/ 51055 h 326454"/>
              <a:gd name="connsiteX2" fmla="*/ 5472006 w 5472006"/>
              <a:gd name="connsiteY2" fmla="*/ 80942 h 326454"/>
              <a:gd name="connsiteX3" fmla="*/ 5472006 w 5472006"/>
              <a:gd name="connsiteY3" fmla="*/ 326454 h 326454"/>
              <a:gd name="connsiteX4" fmla="*/ 5088394 w 5472006"/>
              <a:gd name="connsiteY4" fmla="*/ 326454 h 326454"/>
              <a:gd name="connsiteX5" fmla="*/ 0 w 5472006"/>
              <a:gd name="connsiteY5" fmla="*/ 326454 h 326454"/>
              <a:gd name="connsiteX6" fmla="*/ 3760673 w 5472006"/>
              <a:gd name="connsiteY6" fmla="*/ 713 h 326454"/>
              <a:gd name="connsiteX0" fmla="*/ 0 w 5472006"/>
              <a:gd name="connsiteY0" fmla="*/ 275399 h 275399"/>
              <a:gd name="connsiteX1" fmla="*/ 5098430 w 5472006"/>
              <a:gd name="connsiteY1" fmla="*/ 0 h 275399"/>
              <a:gd name="connsiteX2" fmla="*/ 5472006 w 5472006"/>
              <a:gd name="connsiteY2" fmla="*/ 29887 h 275399"/>
              <a:gd name="connsiteX3" fmla="*/ 5472006 w 5472006"/>
              <a:gd name="connsiteY3" fmla="*/ 275399 h 275399"/>
              <a:gd name="connsiteX4" fmla="*/ 5088394 w 5472006"/>
              <a:gd name="connsiteY4" fmla="*/ 275399 h 275399"/>
              <a:gd name="connsiteX5" fmla="*/ 0 w 5472006"/>
              <a:gd name="connsiteY5" fmla="*/ 275399 h 275399"/>
              <a:gd name="connsiteX0" fmla="*/ 0 w 5472006"/>
              <a:gd name="connsiteY0" fmla="*/ 245512 h 245512"/>
              <a:gd name="connsiteX1" fmla="*/ 5472006 w 5472006"/>
              <a:gd name="connsiteY1" fmla="*/ 0 h 245512"/>
              <a:gd name="connsiteX2" fmla="*/ 5472006 w 5472006"/>
              <a:gd name="connsiteY2" fmla="*/ 245512 h 245512"/>
              <a:gd name="connsiteX3" fmla="*/ 5088394 w 5472006"/>
              <a:gd name="connsiteY3" fmla="*/ 245512 h 245512"/>
              <a:gd name="connsiteX4" fmla="*/ 0 w 5472006"/>
              <a:gd name="connsiteY4" fmla="*/ 245512 h 245512"/>
              <a:gd name="connsiteX0" fmla="*/ 0 w 5472006"/>
              <a:gd name="connsiteY0" fmla="*/ 259588 h 259588"/>
              <a:gd name="connsiteX1" fmla="*/ 5472006 w 5472006"/>
              <a:gd name="connsiteY1" fmla="*/ 14076 h 259588"/>
              <a:gd name="connsiteX2" fmla="*/ 5472006 w 5472006"/>
              <a:gd name="connsiteY2" fmla="*/ 259588 h 259588"/>
              <a:gd name="connsiteX3" fmla="*/ 5088394 w 5472006"/>
              <a:gd name="connsiteY3" fmla="*/ 259588 h 259588"/>
              <a:gd name="connsiteX4" fmla="*/ 0 w 5472006"/>
              <a:gd name="connsiteY4" fmla="*/ 259588 h 259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2006" h="259588">
                <a:moveTo>
                  <a:pt x="0" y="259588"/>
                </a:moveTo>
                <a:cubicBezTo>
                  <a:pt x="63935" y="218669"/>
                  <a:pt x="3059679" y="-65823"/>
                  <a:pt x="5472006" y="14076"/>
                </a:cubicBezTo>
                <a:lnTo>
                  <a:pt x="5472006" y="259588"/>
                </a:lnTo>
                <a:lnTo>
                  <a:pt x="5088394" y="259588"/>
                </a:lnTo>
                <a:lnTo>
                  <a:pt x="0" y="25958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5" name="Rectangle 34"/>
          <p:cNvSpPr>
            <a:spLocks noChangeArrowheads="1"/>
          </p:cNvSpPr>
          <p:nvPr/>
        </p:nvSpPr>
        <p:spPr bwMode="auto">
          <a:xfrm flipH="1">
            <a:off x="0" y="6944186"/>
            <a:ext cx="12436475" cy="5033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98" name="Group 97"/>
          <p:cNvGrpSpPr/>
          <p:nvPr/>
        </p:nvGrpSpPr>
        <p:grpSpPr>
          <a:xfrm flipH="1">
            <a:off x="10808182" y="6059686"/>
            <a:ext cx="470182" cy="620621"/>
            <a:chOff x="10027859" y="5966057"/>
            <a:chExt cx="779166" cy="1028469"/>
          </a:xfrm>
        </p:grpSpPr>
        <p:sp>
          <p:nvSpPr>
            <p:cNvPr id="125" name="Rectangle 10"/>
            <p:cNvSpPr>
              <a:spLocks noChangeArrowheads="1"/>
            </p:cNvSpPr>
            <p:nvPr/>
          </p:nvSpPr>
          <p:spPr bwMode="auto">
            <a:xfrm>
              <a:off x="10063027" y="6104385"/>
              <a:ext cx="708830" cy="89014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6" name="Rectangle 11"/>
            <p:cNvSpPr>
              <a:spLocks noChangeArrowheads="1"/>
            </p:cNvSpPr>
            <p:nvPr/>
          </p:nvSpPr>
          <p:spPr bwMode="auto">
            <a:xfrm>
              <a:off x="10027859" y="6077032"/>
              <a:ext cx="779166" cy="27353"/>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7" name="Rectangle 12"/>
            <p:cNvSpPr>
              <a:spLocks noChangeArrowheads="1"/>
            </p:cNvSpPr>
            <p:nvPr/>
          </p:nvSpPr>
          <p:spPr bwMode="auto">
            <a:xfrm>
              <a:off x="10129455" y="6185662"/>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8" name="Rectangle 13"/>
            <p:cNvSpPr>
              <a:spLocks noChangeArrowheads="1"/>
            </p:cNvSpPr>
            <p:nvPr/>
          </p:nvSpPr>
          <p:spPr bwMode="auto">
            <a:xfrm>
              <a:off x="10129455" y="6185662"/>
              <a:ext cx="92218" cy="46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9" name="Rectangle 14"/>
            <p:cNvSpPr>
              <a:spLocks noChangeArrowheads="1"/>
            </p:cNvSpPr>
            <p:nvPr/>
          </p:nvSpPr>
          <p:spPr bwMode="auto">
            <a:xfrm>
              <a:off x="10289665" y="6185662"/>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0" name="Rectangle 15"/>
            <p:cNvSpPr>
              <a:spLocks noChangeArrowheads="1"/>
            </p:cNvSpPr>
            <p:nvPr/>
          </p:nvSpPr>
          <p:spPr bwMode="auto">
            <a:xfrm>
              <a:off x="10448311" y="6185662"/>
              <a:ext cx="93000"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1" name="Rectangle 16"/>
            <p:cNvSpPr>
              <a:spLocks noChangeArrowheads="1"/>
            </p:cNvSpPr>
            <p:nvPr/>
          </p:nvSpPr>
          <p:spPr bwMode="auto">
            <a:xfrm>
              <a:off x="10289665" y="6813997"/>
              <a:ext cx="92218" cy="18052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2" name="Rectangle 17"/>
            <p:cNvSpPr>
              <a:spLocks noChangeArrowheads="1"/>
            </p:cNvSpPr>
            <p:nvPr/>
          </p:nvSpPr>
          <p:spPr bwMode="auto">
            <a:xfrm>
              <a:off x="10448311" y="6813997"/>
              <a:ext cx="93000" cy="18052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3" name="Rectangle 18"/>
            <p:cNvSpPr>
              <a:spLocks noChangeArrowheads="1"/>
            </p:cNvSpPr>
            <p:nvPr/>
          </p:nvSpPr>
          <p:spPr bwMode="auto">
            <a:xfrm>
              <a:off x="10609302" y="6185662"/>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4" name="Rectangle 19"/>
            <p:cNvSpPr>
              <a:spLocks noChangeArrowheads="1"/>
            </p:cNvSpPr>
            <p:nvPr/>
          </p:nvSpPr>
          <p:spPr bwMode="auto">
            <a:xfrm>
              <a:off x="10129455" y="6344309"/>
              <a:ext cx="92218" cy="930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5" name="Rectangle 20"/>
            <p:cNvSpPr>
              <a:spLocks noChangeArrowheads="1"/>
            </p:cNvSpPr>
            <p:nvPr/>
          </p:nvSpPr>
          <p:spPr bwMode="auto">
            <a:xfrm>
              <a:off x="10289665" y="6344309"/>
              <a:ext cx="92218" cy="9300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6" name="Rectangle 21"/>
            <p:cNvSpPr>
              <a:spLocks noChangeArrowheads="1"/>
            </p:cNvSpPr>
            <p:nvPr/>
          </p:nvSpPr>
          <p:spPr bwMode="auto">
            <a:xfrm>
              <a:off x="10448311" y="6344309"/>
              <a:ext cx="93000" cy="9300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7" name="Rectangle 22"/>
            <p:cNvSpPr>
              <a:spLocks noChangeArrowheads="1"/>
            </p:cNvSpPr>
            <p:nvPr/>
          </p:nvSpPr>
          <p:spPr bwMode="auto">
            <a:xfrm>
              <a:off x="10609302" y="6344309"/>
              <a:ext cx="92218" cy="930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8" name="Rectangle 23"/>
            <p:cNvSpPr>
              <a:spLocks noChangeArrowheads="1"/>
            </p:cNvSpPr>
            <p:nvPr/>
          </p:nvSpPr>
          <p:spPr bwMode="auto">
            <a:xfrm>
              <a:off x="10129455" y="6505300"/>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9" name="Rectangle 24"/>
            <p:cNvSpPr>
              <a:spLocks noChangeArrowheads="1"/>
            </p:cNvSpPr>
            <p:nvPr/>
          </p:nvSpPr>
          <p:spPr bwMode="auto">
            <a:xfrm>
              <a:off x="10289665" y="6505300"/>
              <a:ext cx="92218"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0" name="Rectangle 25"/>
            <p:cNvSpPr>
              <a:spLocks noChangeArrowheads="1"/>
            </p:cNvSpPr>
            <p:nvPr/>
          </p:nvSpPr>
          <p:spPr bwMode="auto">
            <a:xfrm>
              <a:off x="10448311" y="6505300"/>
              <a:ext cx="93000"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1" name="Rectangle 26"/>
            <p:cNvSpPr>
              <a:spLocks noChangeArrowheads="1"/>
            </p:cNvSpPr>
            <p:nvPr/>
          </p:nvSpPr>
          <p:spPr bwMode="auto">
            <a:xfrm>
              <a:off x="10609302" y="6505300"/>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2" name="Rectangle 27"/>
            <p:cNvSpPr>
              <a:spLocks noChangeArrowheads="1"/>
            </p:cNvSpPr>
            <p:nvPr/>
          </p:nvSpPr>
          <p:spPr bwMode="auto">
            <a:xfrm>
              <a:off x="10129455" y="6663947"/>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3" name="Rectangle 28"/>
            <p:cNvSpPr>
              <a:spLocks noChangeArrowheads="1"/>
            </p:cNvSpPr>
            <p:nvPr/>
          </p:nvSpPr>
          <p:spPr bwMode="auto">
            <a:xfrm>
              <a:off x="10289665" y="6663947"/>
              <a:ext cx="92218"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4" name="Rectangle 29"/>
            <p:cNvSpPr>
              <a:spLocks noChangeArrowheads="1"/>
            </p:cNvSpPr>
            <p:nvPr/>
          </p:nvSpPr>
          <p:spPr bwMode="auto">
            <a:xfrm>
              <a:off x="10448311" y="6663947"/>
              <a:ext cx="93000"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5" name="Rectangle 30"/>
            <p:cNvSpPr>
              <a:spLocks noChangeArrowheads="1"/>
            </p:cNvSpPr>
            <p:nvPr/>
          </p:nvSpPr>
          <p:spPr bwMode="auto">
            <a:xfrm>
              <a:off x="10609302" y="6663947"/>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6" name="Rectangle 31"/>
            <p:cNvSpPr>
              <a:spLocks noChangeArrowheads="1"/>
            </p:cNvSpPr>
            <p:nvPr/>
          </p:nvSpPr>
          <p:spPr bwMode="auto">
            <a:xfrm>
              <a:off x="10129455" y="6505300"/>
              <a:ext cx="92218" cy="46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7" name="Rectangle 32"/>
            <p:cNvSpPr>
              <a:spLocks noChangeArrowheads="1"/>
            </p:cNvSpPr>
            <p:nvPr/>
          </p:nvSpPr>
          <p:spPr bwMode="auto">
            <a:xfrm>
              <a:off x="10609302" y="6505300"/>
              <a:ext cx="92218" cy="46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8" name="Rectangle 33"/>
            <p:cNvSpPr>
              <a:spLocks noChangeArrowheads="1"/>
            </p:cNvSpPr>
            <p:nvPr/>
          </p:nvSpPr>
          <p:spPr bwMode="auto">
            <a:xfrm>
              <a:off x="10609302" y="6344309"/>
              <a:ext cx="92218" cy="46891"/>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9" name="Rectangle 41"/>
            <p:cNvSpPr>
              <a:spLocks noChangeArrowheads="1"/>
            </p:cNvSpPr>
            <p:nvPr/>
          </p:nvSpPr>
          <p:spPr bwMode="auto">
            <a:xfrm>
              <a:off x="10381881" y="5966057"/>
              <a:ext cx="273529" cy="11097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00" name="Group 99"/>
          <p:cNvGrpSpPr/>
          <p:nvPr/>
        </p:nvGrpSpPr>
        <p:grpSpPr>
          <a:xfrm flipH="1">
            <a:off x="53726" y="6560580"/>
            <a:ext cx="203193" cy="393100"/>
            <a:chOff x="6812419" y="6555317"/>
            <a:chExt cx="203193" cy="393100"/>
          </a:xfrm>
        </p:grpSpPr>
        <p:sp>
          <p:nvSpPr>
            <p:cNvPr id="119" name="Rectangle 118"/>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0" name="Oval 119"/>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1" name="Oval 120"/>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01" name="Freeform 7"/>
          <p:cNvSpPr>
            <a:spLocks/>
          </p:cNvSpPr>
          <p:nvPr/>
        </p:nvSpPr>
        <p:spPr bwMode="auto">
          <a:xfrm>
            <a:off x="9725382" y="6146029"/>
            <a:ext cx="190769" cy="574971"/>
          </a:xfrm>
          <a:custGeom>
            <a:avLst/>
            <a:gdLst>
              <a:gd name="T0" fmla="*/ 80 w 143"/>
              <a:gd name="T1" fmla="*/ 0 h 431"/>
              <a:gd name="T2" fmla="*/ 0 w 143"/>
              <a:gd name="T3" fmla="*/ 431 h 431"/>
              <a:gd name="T4" fmla="*/ 143 w 143"/>
              <a:gd name="T5" fmla="*/ 431 h 431"/>
              <a:gd name="T6" fmla="*/ 80 w 143"/>
              <a:gd name="T7" fmla="*/ 0 h 431"/>
            </a:gdLst>
            <a:ahLst/>
            <a:cxnLst>
              <a:cxn ang="0">
                <a:pos x="T0" y="T1"/>
              </a:cxn>
              <a:cxn ang="0">
                <a:pos x="T2" y="T3"/>
              </a:cxn>
              <a:cxn ang="0">
                <a:pos x="T4" y="T5"/>
              </a:cxn>
              <a:cxn ang="0">
                <a:pos x="T6" y="T7"/>
              </a:cxn>
            </a:cxnLst>
            <a:rect l="0" t="0" r="r" b="b"/>
            <a:pathLst>
              <a:path w="143" h="431">
                <a:moveTo>
                  <a:pt x="80" y="0"/>
                </a:moveTo>
                <a:lnTo>
                  <a:pt x="0" y="431"/>
                </a:lnTo>
                <a:lnTo>
                  <a:pt x="143" y="431"/>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2" name="Freeform 8"/>
          <p:cNvSpPr>
            <a:spLocks/>
          </p:cNvSpPr>
          <p:nvPr/>
        </p:nvSpPr>
        <p:spPr bwMode="auto">
          <a:xfrm>
            <a:off x="6478399" y="6552273"/>
            <a:ext cx="130594" cy="307663"/>
          </a:xfrm>
          <a:custGeom>
            <a:avLst/>
            <a:gdLst>
              <a:gd name="T0" fmla="*/ 62 w 111"/>
              <a:gd name="T1" fmla="*/ 0 h 332"/>
              <a:gd name="T2" fmla="*/ 0 w 111"/>
              <a:gd name="T3" fmla="*/ 332 h 332"/>
              <a:gd name="T4" fmla="*/ 111 w 111"/>
              <a:gd name="T5" fmla="*/ 332 h 332"/>
              <a:gd name="T6" fmla="*/ 62 w 111"/>
              <a:gd name="T7" fmla="*/ 0 h 332"/>
            </a:gdLst>
            <a:ahLst/>
            <a:cxnLst>
              <a:cxn ang="0">
                <a:pos x="T0" y="T1"/>
              </a:cxn>
              <a:cxn ang="0">
                <a:pos x="T2" y="T3"/>
              </a:cxn>
              <a:cxn ang="0">
                <a:pos x="T4" y="T5"/>
              </a:cxn>
              <a:cxn ang="0">
                <a:pos x="T6" y="T7"/>
              </a:cxn>
            </a:cxnLst>
            <a:rect l="0" t="0" r="r" b="b"/>
            <a:pathLst>
              <a:path w="111" h="332">
                <a:moveTo>
                  <a:pt x="62" y="0"/>
                </a:moveTo>
                <a:lnTo>
                  <a:pt x="0" y="332"/>
                </a:lnTo>
                <a:lnTo>
                  <a:pt x="111" y="332"/>
                </a:lnTo>
                <a:lnTo>
                  <a:pt x="6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8" name="Group 7"/>
          <p:cNvGrpSpPr/>
          <p:nvPr userDrawn="1"/>
        </p:nvGrpSpPr>
        <p:grpSpPr>
          <a:xfrm>
            <a:off x="10102756" y="6139544"/>
            <a:ext cx="289345" cy="574971"/>
            <a:chOff x="5329996" y="6387031"/>
            <a:chExt cx="289345" cy="574971"/>
          </a:xfrm>
        </p:grpSpPr>
        <p:sp>
          <p:nvSpPr>
            <p:cNvPr id="109" name="Freeform 7"/>
            <p:cNvSpPr>
              <a:spLocks/>
            </p:cNvSpPr>
            <p:nvPr/>
          </p:nvSpPr>
          <p:spPr bwMode="auto">
            <a:xfrm>
              <a:off x="5329996" y="6387031"/>
              <a:ext cx="190768" cy="574971"/>
            </a:xfrm>
            <a:custGeom>
              <a:avLst/>
              <a:gdLst>
                <a:gd name="T0" fmla="*/ 80 w 143"/>
                <a:gd name="T1" fmla="*/ 0 h 431"/>
                <a:gd name="T2" fmla="*/ 0 w 143"/>
                <a:gd name="T3" fmla="*/ 431 h 431"/>
                <a:gd name="T4" fmla="*/ 143 w 143"/>
                <a:gd name="T5" fmla="*/ 431 h 431"/>
                <a:gd name="T6" fmla="*/ 80 w 143"/>
                <a:gd name="T7" fmla="*/ 0 h 431"/>
              </a:gdLst>
              <a:ahLst/>
              <a:cxnLst>
                <a:cxn ang="0">
                  <a:pos x="T0" y="T1"/>
                </a:cxn>
                <a:cxn ang="0">
                  <a:pos x="T2" y="T3"/>
                </a:cxn>
                <a:cxn ang="0">
                  <a:pos x="T4" y="T5"/>
                </a:cxn>
                <a:cxn ang="0">
                  <a:pos x="T6" y="T7"/>
                </a:cxn>
              </a:cxnLst>
              <a:rect l="0" t="0" r="r" b="b"/>
              <a:pathLst>
                <a:path w="143" h="431">
                  <a:moveTo>
                    <a:pt x="80" y="0"/>
                  </a:moveTo>
                  <a:lnTo>
                    <a:pt x="0" y="431"/>
                  </a:lnTo>
                  <a:lnTo>
                    <a:pt x="143" y="431"/>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0" name="Freeform 8"/>
            <p:cNvSpPr>
              <a:spLocks/>
            </p:cNvSpPr>
            <p:nvPr/>
          </p:nvSpPr>
          <p:spPr bwMode="auto">
            <a:xfrm>
              <a:off x="5488747" y="6654339"/>
              <a:ext cx="130594" cy="307663"/>
            </a:xfrm>
            <a:custGeom>
              <a:avLst/>
              <a:gdLst>
                <a:gd name="T0" fmla="*/ 62 w 111"/>
                <a:gd name="T1" fmla="*/ 0 h 332"/>
                <a:gd name="T2" fmla="*/ 0 w 111"/>
                <a:gd name="T3" fmla="*/ 332 h 332"/>
                <a:gd name="T4" fmla="*/ 111 w 111"/>
                <a:gd name="T5" fmla="*/ 332 h 332"/>
                <a:gd name="T6" fmla="*/ 62 w 111"/>
                <a:gd name="T7" fmla="*/ 0 h 332"/>
              </a:gdLst>
              <a:ahLst/>
              <a:cxnLst>
                <a:cxn ang="0">
                  <a:pos x="T0" y="T1"/>
                </a:cxn>
                <a:cxn ang="0">
                  <a:pos x="T2" y="T3"/>
                </a:cxn>
                <a:cxn ang="0">
                  <a:pos x="T4" y="T5"/>
                </a:cxn>
                <a:cxn ang="0">
                  <a:pos x="T6" y="T7"/>
                </a:cxn>
              </a:cxnLst>
              <a:rect l="0" t="0" r="r" b="b"/>
              <a:pathLst>
                <a:path w="111" h="332">
                  <a:moveTo>
                    <a:pt x="62" y="0"/>
                  </a:moveTo>
                  <a:lnTo>
                    <a:pt x="0" y="332"/>
                  </a:lnTo>
                  <a:lnTo>
                    <a:pt x="111" y="332"/>
                  </a:lnTo>
                  <a:lnTo>
                    <a:pt x="6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11" name="Group 110"/>
          <p:cNvGrpSpPr/>
          <p:nvPr/>
        </p:nvGrpSpPr>
        <p:grpSpPr>
          <a:xfrm flipH="1">
            <a:off x="7617334" y="6481080"/>
            <a:ext cx="203193" cy="393100"/>
            <a:chOff x="6812419" y="6555317"/>
            <a:chExt cx="203193" cy="393100"/>
          </a:xfrm>
        </p:grpSpPr>
        <p:sp>
          <p:nvSpPr>
            <p:cNvPr id="116" name="Rectangle 35"/>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7" name="Oval 36"/>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8" name="Oval 37"/>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2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pPr>
              <a:defRPr/>
            </a:pPr>
            <a:r>
              <a:rPr lang="en-US">
                <a:solidFill>
                  <a:srgbClr val="505050"/>
                </a:solidFill>
              </a:rPr>
              <a:t>Microsoft confidential 2015</a:t>
            </a:r>
            <a:endParaRPr lang="en-US" dirty="0">
              <a:solidFill>
                <a:srgbClr val="505050"/>
              </a:solidFill>
            </a:endParaRPr>
          </a:p>
        </p:txBody>
      </p:sp>
      <p:sp>
        <p:nvSpPr>
          <p:cNvPr id="4" name="Slide Number Placeholder 3"/>
          <p:cNvSpPr>
            <a:spLocks noGrp="1"/>
          </p:cNvSpPr>
          <p:nvPr userDrawn="1">
            <p:ph type="sldNum" sz="quarter" idx="11"/>
          </p:nvPr>
        </p:nvSpPr>
        <p:spPr/>
        <p:txBody>
          <a:bodyPr/>
          <a:lstStyle>
            <a:lvl1pPr>
              <a:defRPr>
                <a:solidFill>
                  <a:schemeClr val="bg1"/>
                </a:solidFill>
              </a:defRPr>
            </a:lvl1pPr>
          </a:lstStyle>
          <a:p>
            <a:pPr defTabSz="932539">
              <a:defRPr/>
            </a:pPr>
            <a:fld id="{27258FFF-F925-446B-8502-81C933981705}" type="slidenum">
              <a:rPr lang="en-IN" smtClean="0">
                <a:solidFill>
                  <a:srgbClr val="FFFFFF"/>
                </a:solidFill>
              </a:rPr>
              <a:pPr defTabSz="932539">
                <a:defRPr/>
              </a:pPr>
              <a:t>‹#›</a:t>
            </a:fld>
            <a:endParaRPr lang="en-IN" dirty="0">
              <a:solidFill>
                <a:srgbClr val="FFFFFF"/>
              </a:solidFill>
            </a:endParaRPr>
          </a:p>
        </p:txBody>
      </p:sp>
      <p:sp>
        <p:nvSpPr>
          <p:cNvPr id="7" name="Title 1"/>
          <p:cNvSpPr>
            <a:spLocks noGrp="1"/>
          </p:cNvSpPr>
          <p:nvPr userDrawn="1">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grpSp>
        <p:nvGrpSpPr>
          <p:cNvPr id="112" name="Group 111"/>
          <p:cNvGrpSpPr/>
          <p:nvPr/>
        </p:nvGrpSpPr>
        <p:grpSpPr>
          <a:xfrm flipH="1">
            <a:off x="11242585" y="6265273"/>
            <a:ext cx="204756" cy="393100"/>
            <a:chOff x="7078133" y="6555317"/>
            <a:chExt cx="204756" cy="393100"/>
          </a:xfrm>
        </p:grpSpPr>
        <p:sp>
          <p:nvSpPr>
            <p:cNvPr id="113" name="Rectangle 38"/>
            <p:cNvSpPr>
              <a:spLocks noChangeArrowheads="1"/>
            </p:cNvSpPr>
            <p:nvPr/>
          </p:nvSpPr>
          <p:spPr bwMode="auto">
            <a:xfrm>
              <a:off x="7160582" y="6795241"/>
              <a:ext cx="39857"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Oval 39"/>
            <p:cNvSpPr>
              <a:spLocks noChangeArrowheads="1"/>
            </p:cNvSpPr>
            <p:nvPr/>
          </p:nvSpPr>
          <p:spPr bwMode="auto">
            <a:xfrm>
              <a:off x="7078133" y="6660039"/>
              <a:ext cx="204756"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5" name="Oval 40"/>
            <p:cNvSpPr>
              <a:spLocks noChangeArrowheads="1"/>
            </p:cNvSpPr>
            <p:nvPr/>
          </p:nvSpPr>
          <p:spPr bwMode="auto">
            <a:xfrm>
              <a:off x="7105876" y="6555317"/>
              <a:ext cx="149269"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0" name="Group 9"/>
          <p:cNvGrpSpPr/>
          <p:nvPr userDrawn="1"/>
        </p:nvGrpSpPr>
        <p:grpSpPr>
          <a:xfrm>
            <a:off x="11439582" y="5899898"/>
            <a:ext cx="996896" cy="791532"/>
            <a:chOff x="10671171" y="5331846"/>
            <a:chExt cx="1784696" cy="1417043"/>
          </a:xfrm>
        </p:grpSpPr>
        <p:sp>
          <p:nvSpPr>
            <p:cNvPr id="9" name="Rectangle 8"/>
            <p:cNvSpPr/>
            <p:nvPr userDrawn="1"/>
          </p:nvSpPr>
          <p:spPr bwMode="auto">
            <a:xfrm>
              <a:off x="10698957" y="6670039"/>
              <a:ext cx="1737518" cy="78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Freeform 75"/>
            <p:cNvSpPr/>
            <p:nvPr userDrawn="1"/>
          </p:nvSpPr>
          <p:spPr>
            <a:xfrm>
              <a:off x="10671171" y="5331846"/>
              <a:ext cx="1784696" cy="1417043"/>
            </a:xfrm>
            <a:custGeom>
              <a:avLst/>
              <a:gdLst>
                <a:gd name="connsiteX0" fmla="*/ 38101 w 5422110"/>
                <a:gd name="connsiteY0" fmla="*/ 3721179 h 3848179"/>
                <a:gd name="connsiteX1" fmla="*/ 5384010 w 5422110"/>
                <a:gd name="connsiteY1" fmla="*/ 3721179 h 3848179"/>
                <a:gd name="connsiteX2" fmla="*/ 5384010 w 5422110"/>
                <a:gd name="connsiteY2" fmla="*/ 3848179 h 3848179"/>
                <a:gd name="connsiteX3" fmla="*/ 38101 w 5422110"/>
                <a:gd name="connsiteY3" fmla="*/ 3848179 h 3848179"/>
                <a:gd name="connsiteX4" fmla="*/ 5097962 w 5422110"/>
                <a:gd name="connsiteY4" fmla="*/ 3121898 h 3848179"/>
                <a:gd name="connsiteX5" fmla="*/ 5097962 w 5422110"/>
                <a:gd name="connsiteY5" fmla="*/ 3448129 h 3848179"/>
                <a:gd name="connsiteX6" fmla="*/ 5231312 w 5422110"/>
                <a:gd name="connsiteY6" fmla="*/ 3448129 h 3848179"/>
                <a:gd name="connsiteX7" fmla="*/ 5231312 w 5422110"/>
                <a:gd name="connsiteY7" fmla="*/ 3121898 h 3848179"/>
                <a:gd name="connsiteX8" fmla="*/ 4868529 w 5422110"/>
                <a:gd name="connsiteY8" fmla="*/ 3121898 h 3848179"/>
                <a:gd name="connsiteX9" fmla="*/ 4868529 w 5422110"/>
                <a:gd name="connsiteY9" fmla="*/ 3448129 h 3848179"/>
                <a:gd name="connsiteX10" fmla="*/ 5001879 w 5422110"/>
                <a:gd name="connsiteY10" fmla="*/ 3448129 h 3848179"/>
                <a:gd name="connsiteX11" fmla="*/ 5001879 w 5422110"/>
                <a:gd name="connsiteY11" fmla="*/ 3121898 h 3848179"/>
                <a:gd name="connsiteX12" fmla="*/ 4639096 w 5422110"/>
                <a:gd name="connsiteY12" fmla="*/ 3121898 h 3848179"/>
                <a:gd name="connsiteX13" fmla="*/ 4639096 w 5422110"/>
                <a:gd name="connsiteY13" fmla="*/ 3448129 h 3848179"/>
                <a:gd name="connsiteX14" fmla="*/ 4772446 w 5422110"/>
                <a:gd name="connsiteY14" fmla="*/ 3448129 h 3848179"/>
                <a:gd name="connsiteX15" fmla="*/ 4772446 w 5422110"/>
                <a:gd name="connsiteY15" fmla="*/ 3121898 h 3848179"/>
                <a:gd name="connsiteX16" fmla="*/ 4409663 w 5422110"/>
                <a:gd name="connsiteY16" fmla="*/ 3121898 h 3848179"/>
                <a:gd name="connsiteX17" fmla="*/ 4409663 w 5422110"/>
                <a:gd name="connsiteY17" fmla="*/ 3448129 h 3848179"/>
                <a:gd name="connsiteX18" fmla="*/ 4543013 w 5422110"/>
                <a:gd name="connsiteY18" fmla="*/ 3448129 h 3848179"/>
                <a:gd name="connsiteX19" fmla="*/ 4543013 w 5422110"/>
                <a:gd name="connsiteY19" fmla="*/ 3121898 h 3848179"/>
                <a:gd name="connsiteX20" fmla="*/ 4180230 w 5422110"/>
                <a:gd name="connsiteY20" fmla="*/ 3121898 h 3848179"/>
                <a:gd name="connsiteX21" fmla="*/ 4180230 w 5422110"/>
                <a:gd name="connsiteY21" fmla="*/ 3448129 h 3848179"/>
                <a:gd name="connsiteX22" fmla="*/ 4313580 w 5422110"/>
                <a:gd name="connsiteY22" fmla="*/ 3448129 h 3848179"/>
                <a:gd name="connsiteX23" fmla="*/ 4313580 w 5422110"/>
                <a:gd name="connsiteY23" fmla="*/ 3121898 h 3848179"/>
                <a:gd name="connsiteX24" fmla="*/ 3950795 w 5422110"/>
                <a:gd name="connsiteY24" fmla="*/ 3121898 h 3848179"/>
                <a:gd name="connsiteX25" fmla="*/ 3950795 w 5422110"/>
                <a:gd name="connsiteY25" fmla="*/ 3448129 h 3848179"/>
                <a:gd name="connsiteX26" fmla="*/ 4084145 w 5422110"/>
                <a:gd name="connsiteY26" fmla="*/ 3448129 h 3848179"/>
                <a:gd name="connsiteX27" fmla="*/ 4084145 w 5422110"/>
                <a:gd name="connsiteY27" fmla="*/ 3121898 h 3848179"/>
                <a:gd name="connsiteX28" fmla="*/ 1337965 w 5422110"/>
                <a:gd name="connsiteY28" fmla="*/ 3121898 h 3848179"/>
                <a:gd name="connsiteX29" fmla="*/ 1337965 w 5422110"/>
                <a:gd name="connsiteY29" fmla="*/ 3448129 h 3848179"/>
                <a:gd name="connsiteX30" fmla="*/ 1471315 w 5422110"/>
                <a:gd name="connsiteY30" fmla="*/ 3448129 h 3848179"/>
                <a:gd name="connsiteX31" fmla="*/ 1471315 w 5422110"/>
                <a:gd name="connsiteY31" fmla="*/ 3121898 h 3848179"/>
                <a:gd name="connsiteX32" fmla="*/ 1108530 w 5422110"/>
                <a:gd name="connsiteY32" fmla="*/ 3121898 h 3848179"/>
                <a:gd name="connsiteX33" fmla="*/ 1108530 w 5422110"/>
                <a:gd name="connsiteY33" fmla="*/ 3448129 h 3848179"/>
                <a:gd name="connsiteX34" fmla="*/ 1241880 w 5422110"/>
                <a:gd name="connsiteY34" fmla="*/ 3448129 h 3848179"/>
                <a:gd name="connsiteX35" fmla="*/ 1241880 w 5422110"/>
                <a:gd name="connsiteY35" fmla="*/ 3121898 h 3848179"/>
                <a:gd name="connsiteX36" fmla="*/ 879097 w 5422110"/>
                <a:gd name="connsiteY36" fmla="*/ 3121898 h 3848179"/>
                <a:gd name="connsiteX37" fmla="*/ 879097 w 5422110"/>
                <a:gd name="connsiteY37" fmla="*/ 3448129 h 3848179"/>
                <a:gd name="connsiteX38" fmla="*/ 1012447 w 5422110"/>
                <a:gd name="connsiteY38" fmla="*/ 3448129 h 3848179"/>
                <a:gd name="connsiteX39" fmla="*/ 1012447 w 5422110"/>
                <a:gd name="connsiteY39" fmla="*/ 3121898 h 3848179"/>
                <a:gd name="connsiteX40" fmla="*/ 649664 w 5422110"/>
                <a:gd name="connsiteY40" fmla="*/ 3121898 h 3848179"/>
                <a:gd name="connsiteX41" fmla="*/ 649664 w 5422110"/>
                <a:gd name="connsiteY41" fmla="*/ 3448129 h 3848179"/>
                <a:gd name="connsiteX42" fmla="*/ 783014 w 5422110"/>
                <a:gd name="connsiteY42" fmla="*/ 3448129 h 3848179"/>
                <a:gd name="connsiteX43" fmla="*/ 783014 w 5422110"/>
                <a:gd name="connsiteY43" fmla="*/ 3121898 h 3848179"/>
                <a:gd name="connsiteX44" fmla="*/ 420231 w 5422110"/>
                <a:gd name="connsiteY44" fmla="*/ 3121898 h 3848179"/>
                <a:gd name="connsiteX45" fmla="*/ 420231 w 5422110"/>
                <a:gd name="connsiteY45" fmla="*/ 3448129 h 3848179"/>
                <a:gd name="connsiteX46" fmla="*/ 553581 w 5422110"/>
                <a:gd name="connsiteY46" fmla="*/ 3448129 h 3848179"/>
                <a:gd name="connsiteX47" fmla="*/ 553581 w 5422110"/>
                <a:gd name="connsiteY47" fmla="*/ 3121898 h 3848179"/>
                <a:gd name="connsiteX48" fmla="*/ 190798 w 5422110"/>
                <a:gd name="connsiteY48" fmla="*/ 3121898 h 3848179"/>
                <a:gd name="connsiteX49" fmla="*/ 190798 w 5422110"/>
                <a:gd name="connsiteY49" fmla="*/ 3448129 h 3848179"/>
                <a:gd name="connsiteX50" fmla="*/ 324148 w 5422110"/>
                <a:gd name="connsiteY50" fmla="*/ 3448129 h 3848179"/>
                <a:gd name="connsiteX51" fmla="*/ 324148 w 5422110"/>
                <a:gd name="connsiteY51" fmla="*/ 3121898 h 3848179"/>
                <a:gd name="connsiteX52" fmla="*/ 1633539 w 5422110"/>
                <a:gd name="connsiteY52" fmla="*/ 2900441 h 3848179"/>
                <a:gd name="connsiteX53" fmla="*/ 3788571 w 5422110"/>
                <a:gd name="connsiteY53" fmla="*/ 2900441 h 3848179"/>
                <a:gd name="connsiteX54" fmla="*/ 3788571 w 5422110"/>
                <a:gd name="connsiteY54" fmla="*/ 3671966 h 3848179"/>
                <a:gd name="connsiteX55" fmla="*/ 3658098 w 5422110"/>
                <a:gd name="connsiteY55" fmla="*/ 3671966 h 3848179"/>
                <a:gd name="connsiteX56" fmla="*/ 3576638 w 5422110"/>
                <a:gd name="connsiteY56" fmla="*/ 3671966 h 3848179"/>
                <a:gd name="connsiteX57" fmla="*/ 3518398 w 5422110"/>
                <a:gd name="connsiteY57" fmla="*/ 3671966 h 3848179"/>
                <a:gd name="connsiteX58" fmla="*/ 3518398 w 5422110"/>
                <a:gd name="connsiteY58" fmla="*/ 2992358 h 3848179"/>
                <a:gd name="connsiteX59" fmla="*/ 3530740 w 5422110"/>
                <a:gd name="connsiteY59" fmla="*/ 2962564 h 3848179"/>
                <a:gd name="connsiteX60" fmla="*/ 3060961 w 5422110"/>
                <a:gd name="connsiteY60" fmla="*/ 2962564 h 3848179"/>
                <a:gd name="connsiteX61" fmla="*/ 3073302 w 5422110"/>
                <a:gd name="connsiteY61" fmla="*/ 2992358 h 3848179"/>
                <a:gd name="connsiteX62" fmla="*/ 3073302 w 5422110"/>
                <a:gd name="connsiteY62" fmla="*/ 3671966 h 3848179"/>
                <a:gd name="connsiteX63" fmla="*/ 2933602 w 5422110"/>
                <a:gd name="connsiteY63" fmla="*/ 3671966 h 3848179"/>
                <a:gd name="connsiteX64" fmla="*/ 2933602 w 5422110"/>
                <a:gd name="connsiteY64" fmla="*/ 2992358 h 3848179"/>
                <a:gd name="connsiteX65" fmla="*/ 2945944 w 5422110"/>
                <a:gd name="connsiteY65" fmla="*/ 2962564 h 3848179"/>
                <a:gd name="connsiteX66" fmla="*/ 2476166 w 5422110"/>
                <a:gd name="connsiteY66" fmla="*/ 2962564 h 3848179"/>
                <a:gd name="connsiteX67" fmla="*/ 2488507 w 5422110"/>
                <a:gd name="connsiteY67" fmla="*/ 2992358 h 3848179"/>
                <a:gd name="connsiteX68" fmla="*/ 2488507 w 5422110"/>
                <a:gd name="connsiteY68" fmla="*/ 3671966 h 3848179"/>
                <a:gd name="connsiteX69" fmla="*/ 2348807 w 5422110"/>
                <a:gd name="connsiteY69" fmla="*/ 3671966 h 3848179"/>
                <a:gd name="connsiteX70" fmla="*/ 2348807 w 5422110"/>
                <a:gd name="connsiteY70" fmla="*/ 2992358 h 3848179"/>
                <a:gd name="connsiteX71" fmla="*/ 2361149 w 5422110"/>
                <a:gd name="connsiteY71" fmla="*/ 2962564 h 3848179"/>
                <a:gd name="connsiteX72" fmla="*/ 1891371 w 5422110"/>
                <a:gd name="connsiteY72" fmla="*/ 2962564 h 3848179"/>
                <a:gd name="connsiteX73" fmla="*/ 1903712 w 5422110"/>
                <a:gd name="connsiteY73" fmla="*/ 2992358 h 3848179"/>
                <a:gd name="connsiteX74" fmla="*/ 1903712 w 5422110"/>
                <a:gd name="connsiteY74" fmla="*/ 3671966 h 3848179"/>
                <a:gd name="connsiteX75" fmla="*/ 1845472 w 5422110"/>
                <a:gd name="connsiteY75" fmla="*/ 3671966 h 3848179"/>
                <a:gd name="connsiteX76" fmla="*/ 1764012 w 5422110"/>
                <a:gd name="connsiteY76" fmla="*/ 3671966 h 3848179"/>
                <a:gd name="connsiteX77" fmla="*/ 1633539 w 5422110"/>
                <a:gd name="connsiteY77" fmla="*/ 3671966 h 3848179"/>
                <a:gd name="connsiteX78" fmla="*/ 5097962 w 5422110"/>
                <a:gd name="connsiteY78" fmla="*/ 2674223 h 3848179"/>
                <a:gd name="connsiteX79" fmla="*/ 5097962 w 5422110"/>
                <a:gd name="connsiteY79" fmla="*/ 3000454 h 3848179"/>
                <a:gd name="connsiteX80" fmla="*/ 5231312 w 5422110"/>
                <a:gd name="connsiteY80" fmla="*/ 3000454 h 3848179"/>
                <a:gd name="connsiteX81" fmla="*/ 5231312 w 5422110"/>
                <a:gd name="connsiteY81" fmla="*/ 2674223 h 3848179"/>
                <a:gd name="connsiteX82" fmla="*/ 4868529 w 5422110"/>
                <a:gd name="connsiteY82" fmla="*/ 2674223 h 3848179"/>
                <a:gd name="connsiteX83" fmla="*/ 4868529 w 5422110"/>
                <a:gd name="connsiteY83" fmla="*/ 3000454 h 3848179"/>
                <a:gd name="connsiteX84" fmla="*/ 5001879 w 5422110"/>
                <a:gd name="connsiteY84" fmla="*/ 3000454 h 3848179"/>
                <a:gd name="connsiteX85" fmla="*/ 5001879 w 5422110"/>
                <a:gd name="connsiteY85" fmla="*/ 2674223 h 3848179"/>
                <a:gd name="connsiteX86" fmla="*/ 4639096 w 5422110"/>
                <a:gd name="connsiteY86" fmla="*/ 2674223 h 3848179"/>
                <a:gd name="connsiteX87" fmla="*/ 4639096 w 5422110"/>
                <a:gd name="connsiteY87" fmla="*/ 3000454 h 3848179"/>
                <a:gd name="connsiteX88" fmla="*/ 4772446 w 5422110"/>
                <a:gd name="connsiteY88" fmla="*/ 3000454 h 3848179"/>
                <a:gd name="connsiteX89" fmla="*/ 4772446 w 5422110"/>
                <a:gd name="connsiteY89" fmla="*/ 2674223 h 3848179"/>
                <a:gd name="connsiteX90" fmla="*/ 4409663 w 5422110"/>
                <a:gd name="connsiteY90" fmla="*/ 2674223 h 3848179"/>
                <a:gd name="connsiteX91" fmla="*/ 4409663 w 5422110"/>
                <a:gd name="connsiteY91" fmla="*/ 3000454 h 3848179"/>
                <a:gd name="connsiteX92" fmla="*/ 4543013 w 5422110"/>
                <a:gd name="connsiteY92" fmla="*/ 3000454 h 3848179"/>
                <a:gd name="connsiteX93" fmla="*/ 4543013 w 5422110"/>
                <a:gd name="connsiteY93" fmla="*/ 2674223 h 3848179"/>
                <a:gd name="connsiteX94" fmla="*/ 4180230 w 5422110"/>
                <a:gd name="connsiteY94" fmla="*/ 2674223 h 3848179"/>
                <a:gd name="connsiteX95" fmla="*/ 4180230 w 5422110"/>
                <a:gd name="connsiteY95" fmla="*/ 3000454 h 3848179"/>
                <a:gd name="connsiteX96" fmla="*/ 4313580 w 5422110"/>
                <a:gd name="connsiteY96" fmla="*/ 3000454 h 3848179"/>
                <a:gd name="connsiteX97" fmla="*/ 4313580 w 5422110"/>
                <a:gd name="connsiteY97" fmla="*/ 2674223 h 3848179"/>
                <a:gd name="connsiteX98" fmla="*/ 3950795 w 5422110"/>
                <a:gd name="connsiteY98" fmla="*/ 2674223 h 3848179"/>
                <a:gd name="connsiteX99" fmla="*/ 3950795 w 5422110"/>
                <a:gd name="connsiteY99" fmla="*/ 3000454 h 3848179"/>
                <a:gd name="connsiteX100" fmla="*/ 4084145 w 5422110"/>
                <a:gd name="connsiteY100" fmla="*/ 3000454 h 3848179"/>
                <a:gd name="connsiteX101" fmla="*/ 4084145 w 5422110"/>
                <a:gd name="connsiteY101" fmla="*/ 2674223 h 3848179"/>
                <a:gd name="connsiteX102" fmla="*/ 1337965 w 5422110"/>
                <a:gd name="connsiteY102" fmla="*/ 2674223 h 3848179"/>
                <a:gd name="connsiteX103" fmla="*/ 1337965 w 5422110"/>
                <a:gd name="connsiteY103" fmla="*/ 3000454 h 3848179"/>
                <a:gd name="connsiteX104" fmla="*/ 1471315 w 5422110"/>
                <a:gd name="connsiteY104" fmla="*/ 3000454 h 3848179"/>
                <a:gd name="connsiteX105" fmla="*/ 1471315 w 5422110"/>
                <a:gd name="connsiteY105" fmla="*/ 2674223 h 3848179"/>
                <a:gd name="connsiteX106" fmla="*/ 1108530 w 5422110"/>
                <a:gd name="connsiteY106" fmla="*/ 2674223 h 3848179"/>
                <a:gd name="connsiteX107" fmla="*/ 1108530 w 5422110"/>
                <a:gd name="connsiteY107" fmla="*/ 3000454 h 3848179"/>
                <a:gd name="connsiteX108" fmla="*/ 1241880 w 5422110"/>
                <a:gd name="connsiteY108" fmla="*/ 3000454 h 3848179"/>
                <a:gd name="connsiteX109" fmla="*/ 1241880 w 5422110"/>
                <a:gd name="connsiteY109" fmla="*/ 2674223 h 3848179"/>
                <a:gd name="connsiteX110" fmla="*/ 879097 w 5422110"/>
                <a:gd name="connsiteY110" fmla="*/ 2674223 h 3848179"/>
                <a:gd name="connsiteX111" fmla="*/ 879097 w 5422110"/>
                <a:gd name="connsiteY111" fmla="*/ 3000454 h 3848179"/>
                <a:gd name="connsiteX112" fmla="*/ 1012447 w 5422110"/>
                <a:gd name="connsiteY112" fmla="*/ 3000454 h 3848179"/>
                <a:gd name="connsiteX113" fmla="*/ 1012447 w 5422110"/>
                <a:gd name="connsiteY113" fmla="*/ 2674223 h 3848179"/>
                <a:gd name="connsiteX114" fmla="*/ 649664 w 5422110"/>
                <a:gd name="connsiteY114" fmla="*/ 2674223 h 3848179"/>
                <a:gd name="connsiteX115" fmla="*/ 649664 w 5422110"/>
                <a:gd name="connsiteY115" fmla="*/ 3000454 h 3848179"/>
                <a:gd name="connsiteX116" fmla="*/ 783014 w 5422110"/>
                <a:gd name="connsiteY116" fmla="*/ 3000454 h 3848179"/>
                <a:gd name="connsiteX117" fmla="*/ 783014 w 5422110"/>
                <a:gd name="connsiteY117" fmla="*/ 2674223 h 3848179"/>
                <a:gd name="connsiteX118" fmla="*/ 420231 w 5422110"/>
                <a:gd name="connsiteY118" fmla="*/ 2674223 h 3848179"/>
                <a:gd name="connsiteX119" fmla="*/ 420231 w 5422110"/>
                <a:gd name="connsiteY119" fmla="*/ 3000454 h 3848179"/>
                <a:gd name="connsiteX120" fmla="*/ 553581 w 5422110"/>
                <a:gd name="connsiteY120" fmla="*/ 3000454 h 3848179"/>
                <a:gd name="connsiteX121" fmla="*/ 553581 w 5422110"/>
                <a:gd name="connsiteY121" fmla="*/ 2674223 h 3848179"/>
                <a:gd name="connsiteX122" fmla="*/ 190798 w 5422110"/>
                <a:gd name="connsiteY122" fmla="*/ 2674223 h 3848179"/>
                <a:gd name="connsiteX123" fmla="*/ 190798 w 5422110"/>
                <a:gd name="connsiteY123" fmla="*/ 3000454 h 3848179"/>
                <a:gd name="connsiteX124" fmla="*/ 324148 w 5422110"/>
                <a:gd name="connsiteY124" fmla="*/ 3000454 h 3848179"/>
                <a:gd name="connsiteX125" fmla="*/ 324148 w 5422110"/>
                <a:gd name="connsiteY125" fmla="*/ 2674223 h 3848179"/>
                <a:gd name="connsiteX126" fmla="*/ 5097962 w 5422110"/>
                <a:gd name="connsiteY126" fmla="*/ 2226548 h 3848179"/>
                <a:gd name="connsiteX127" fmla="*/ 5097962 w 5422110"/>
                <a:gd name="connsiteY127" fmla="*/ 2552779 h 3848179"/>
                <a:gd name="connsiteX128" fmla="*/ 5231312 w 5422110"/>
                <a:gd name="connsiteY128" fmla="*/ 2552779 h 3848179"/>
                <a:gd name="connsiteX129" fmla="*/ 5231312 w 5422110"/>
                <a:gd name="connsiteY129" fmla="*/ 2255852 h 3848179"/>
                <a:gd name="connsiteX130" fmla="*/ 5231312 w 5422110"/>
                <a:gd name="connsiteY130" fmla="*/ 2226548 h 3848179"/>
                <a:gd name="connsiteX131" fmla="*/ 4868529 w 5422110"/>
                <a:gd name="connsiteY131" fmla="*/ 2226548 h 3848179"/>
                <a:gd name="connsiteX132" fmla="*/ 4868529 w 5422110"/>
                <a:gd name="connsiteY132" fmla="*/ 2552779 h 3848179"/>
                <a:gd name="connsiteX133" fmla="*/ 5001879 w 5422110"/>
                <a:gd name="connsiteY133" fmla="*/ 2552779 h 3848179"/>
                <a:gd name="connsiteX134" fmla="*/ 5001879 w 5422110"/>
                <a:gd name="connsiteY134" fmla="*/ 2226548 h 3848179"/>
                <a:gd name="connsiteX135" fmla="*/ 4639096 w 5422110"/>
                <a:gd name="connsiteY135" fmla="*/ 2226548 h 3848179"/>
                <a:gd name="connsiteX136" fmla="*/ 4639096 w 5422110"/>
                <a:gd name="connsiteY136" fmla="*/ 2552779 h 3848179"/>
                <a:gd name="connsiteX137" fmla="*/ 4772446 w 5422110"/>
                <a:gd name="connsiteY137" fmla="*/ 2552779 h 3848179"/>
                <a:gd name="connsiteX138" fmla="*/ 4772446 w 5422110"/>
                <a:gd name="connsiteY138" fmla="*/ 2226548 h 3848179"/>
                <a:gd name="connsiteX139" fmla="*/ 4409663 w 5422110"/>
                <a:gd name="connsiteY139" fmla="*/ 2226548 h 3848179"/>
                <a:gd name="connsiteX140" fmla="*/ 4409663 w 5422110"/>
                <a:gd name="connsiteY140" fmla="*/ 2552779 h 3848179"/>
                <a:gd name="connsiteX141" fmla="*/ 4543013 w 5422110"/>
                <a:gd name="connsiteY141" fmla="*/ 2552779 h 3848179"/>
                <a:gd name="connsiteX142" fmla="*/ 4543013 w 5422110"/>
                <a:gd name="connsiteY142" fmla="*/ 2226548 h 3848179"/>
                <a:gd name="connsiteX143" fmla="*/ 4180230 w 5422110"/>
                <a:gd name="connsiteY143" fmla="*/ 2226548 h 3848179"/>
                <a:gd name="connsiteX144" fmla="*/ 4180230 w 5422110"/>
                <a:gd name="connsiteY144" fmla="*/ 2552779 h 3848179"/>
                <a:gd name="connsiteX145" fmla="*/ 4313580 w 5422110"/>
                <a:gd name="connsiteY145" fmla="*/ 2552779 h 3848179"/>
                <a:gd name="connsiteX146" fmla="*/ 4313580 w 5422110"/>
                <a:gd name="connsiteY146" fmla="*/ 2226548 h 3848179"/>
                <a:gd name="connsiteX147" fmla="*/ 3950795 w 5422110"/>
                <a:gd name="connsiteY147" fmla="*/ 2226548 h 3848179"/>
                <a:gd name="connsiteX148" fmla="*/ 3950795 w 5422110"/>
                <a:gd name="connsiteY148" fmla="*/ 2552779 h 3848179"/>
                <a:gd name="connsiteX149" fmla="*/ 4084145 w 5422110"/>
                <a:gd name="connsiteY149" fmla="*/ 2552779 h 3848179"/>
                <a:gd name="connsiteX150" fmla="*/ 4084145 w 5422110"/>
                <a:gd name="connsiteY150" fmla="*/ 2226548 h 3848179"/>
                <a:gd name="connsiteX151" fmla="*/ 1337965 w 5422110"/>
                <a:gd name="connsiteY151" fmla="*/ 2226548 h 3848179"/>
                <a:gd name="connsiteX152" fmla="*/ 1337965 w 5422110"/>
                <a:gd name="connsiteY152" fmla="*/ 2552779 h 3848179"/>
                <a:gd name="connsiteX153" fmla="*/ 1471315 w 5422110"/>
                <a:gd name="connsiteY153" fmla="*/ 2552779 h 3848179"/>
                <a:gd name="connsiteX154" fmla="*/ 1471315 w 5422110"/>
                <a:gd name="connsiteY154" fmla="*/ 2226548 h 3848179"/>
                <a:gd name="connsiteX155" fmla="*/ 1108530 w 5422110"/>
                <a:gd name="connsiteY155" fmla="*/ 2226548 h 3848179"/>
                <a:gd name="connsiteX156" fmla="*/ 1108530 w 5422110"/>
                <a:gd name="connsiteY156" fmla="*/ 2552779 h 3848179"/>
                <a:gd name="connsiteX157" fmla="*/ 1241880 w 5422110"/>
                <a:gd name="connsiteY157" fmla="*/ 2552779 h 3848179"/>
                <a:gd name="connsiteX158" fmla="*/ 1241880 w 5422110"/>
                <a:gd name="connsiteY158" fmla="*/ 2226548 h 3848179"/>
                <a:gd name="connsiteX159" fmla="*/ 879097 w 5422110"/>
                <a:gd name="connsiteY159" fmla="*/ 2226548 h 3848179"/>
                <a:gd name="connsiteX160" fmla="*/ 879097 w 5422110"/>
                <a:gd name="connsiteY160" fmla="*/ 2552779 h 3848179"/>
                <a:gd name="connsiteX161" fmla="*/ 1012447 w 5422110"/>
                <a:gd name="connsiteY161" fmla="*/ 2552779 h 3848179"/>
                <a:gd name="connsiteX162" fmla="*/ 1012447 w 5422110"/>
                <a:gd name="connsiteY162" fmla="*/ 2226548 h 3848179"/>
                <a:gd name="connsiteX163" fmla="*/ 649664 w 5422110"/>
                <a:gd name="connsiteY163" fmla="*/ 2226548 h 3848179"/>
                <a:gd name="connsiteX164" fmla="*/ 649664 w 5422110"/>
                <a:gd name="connsiteY164" fmla="*/ 2552779 h 3848179"/>
                <a:gd name="connsiteX165" fmla="*/ 783014 w 5422110"/>
                <a:gd name="connsiteY165" fmla="*/ 2552779 h 3848179"/>
                <a:gd name="connsiteX166" fmla="*/ 783014 w 5422110"/>
                <a:gd name="connsiteY166" fmla="*/ 2226548 h 3848179"/>
                <a:gd name="connsiteX167" fmla="*/ 420231 w 5422110"/>
                <a:gd name="connsiteY167" fmla="*/ 2226548 h 3848179"/>
                <a:gd name="connsiteX168" fmla="*/ 420231 w 5422110"/>
                <a:gd name="connsiteY168" fmla="*/ 2552779 h 3848179"/>
                <a:gd name="connsiteX169" fmla="*/ 553581 w 5422110"/>
                <a:gd name="connsiteY169" fmla="*/ 2552779 h 3848179"/>
                <a:gd name="connsiteX170" fmla="*/ 553581 w 5422110"/>
                <a:gd name="connsiteY170" fmla="*/ 2226548 h 3848179"/>
                <a:gd name="connsiteX171" fmla="*/ 190798 w 5422110"/>
                <a:gd name="connsiteY171" fmla="*/ 2226548 h 3848179"/>
                <a:gd name="connsiteX172" fmla="*/ 190798 w 5422110"/>
                <a:gd name="connsiteY172" fmla="*/ 2255852 h 3848179"/>
                <a:gd name="connsiteX173" fmla="*/ 190798 w 5422110"/>
                <a:gd name="connsiteY173" fmla="*/ 2552779 h 3848179"/>
                <a:gd name="connsiteX174" fmla="*/ 324148 w 5422110"/>
                <a:gd name="connsiteY174" fmla="*/ 2552779 h 3848179"/>
                <a:gd name="connsiteX175" fmla="*/ 324148 w 5422110"/>
                <a:gd name="connsiteY175" fmla="*/ 2226548 h 3848179"/>
                <a:gd name="connsiteX176" fmla="*/ 3840960 w 5422110"/>
                <a:gd name="connsiteY176" fmla="*/ 2128917 h 3848179"/>
                <a:gd name="connsiteX177" fmla="*/ 5231312 w 5422110"/>
                <a:gd name="connsiteY177" fmla="*/ 2128917 h 3848179"/>
                <a:gd name="connsiteX178" fmla="*/ 5341147 w 5422110"/>
                <a:gd name="connsiteY178" fmla="*/ 2128917 h 3848179"/>
                <a:gd name="connsiteX179" fmla="*/ 5422110 w 5422110"/>
                <a:gd name="connsiteY179" fmla="*/ 2128917 h 3848179"/>
                <a:gd name="connsiteX180" fmla="*/ 5342784 w 5422110"/>
                <a:gd name="connsiteY180" fmla="*/ 2245963 h 3848179"/>
                <a:gd name="connsiteX181" fmla="*/ 5341147 w 5422110"/>
                <a:gd name="connsiteY181" fmla="*/ 2246203 h 3848179"/>
                <a:gd name="connsiteX182" fmla="*/ 5341147 w 5422110"/>
                <a:gd name="connsiteY182" fmla="*/ 3671967 h 3848179"/>
                <a:gd name="connsiteX183" fmla="*/ 3840960 w 5422110"/>
                <a:gd name="connsiteY183" fmla="*/ 3671967 h 3848179"/>
                <a:gd name="connsiteX184" fmla="*/ 0 w 5422110"/>
                <a:gd name="connsiteY184" fmla="*/ 2128917 h 3848179"/>
                <a:gd name="connsiteX185" fmla="*/ 80963 w 5422110"/>
                <a:gd name="connsiteY185" fmla="*/ 2128917 h 3848179"/>
                <a:gd name="connsiteX186" fmla="*/ 190798 w 5422110"/>
                <a:gd name="connsiteY186" fmla="*/ 2128917 h 3848179"/>
                <a:gd name="connsiteX187" fmla="*/ 1581150 w 5422110"/>
                <a:gd name="connsiteY187" fmla="*/ 2128917 h 3848179"/>
                <a:gd name="connsiteX188" fmla="*/ 1581150 w 5422110"/>
                <a:gd name="connsiteY188" fmla="*/ 3671967 h 3848179"/>
                <a:gd name="connsiteX189" fmla="*/ 80963 w 5422110"/>
                <a:gd name="connsiteY189" fmla="*/ 3671967 h 3848179"/>
                <a:gd name="connsiteX190" fmla="*/ 80963 w 5422110"/>
                <a:gd name="connsiteY190" fmla="*/ 2246203 h 3848179"/>
                <a:gd name="connsiteX191" fmla="*/ 79326 w 5422110"/>
                <a:gd name="connsiteY191" fmla="*/ 2245963 h 3848179"/>
                <a:gd name="connsiteX192" fmla="*/ 0 w 5422110"/>
                <a:gd name="connsiteY192" fmla="*/ 2128917 h 3848179"/>
                <a:gd name="connsiteX193" fmla="*/ 3579904 w 5422110"/>
                <a:gd name="connsiteY193" fmla="*/ 2088434 h 3848179"/>
                <a:gd name="connsiteX194" fmla="*/ 3579904 w 5422110"/>
                <a:gd name="connsiteY194" fmla="*/ 2513571 h 3848179"/>
                <a:gd name="connsiteX195" fmla="*/ 3658097 w 5422110"/>
                <a:gd name="connsiteY195" fmla="*/ 2513571 h 3848179"/>
                <a:gd name="connsiteX196" fmla="*/ 3658097 w 5422110"/>
                <a:gd name="connsiteY196" fmla="*/ 2088434 h 3848179"/>
                <a:gd name="connsiteX197" fmla="*/ 3428580 w 5422110"/>
                <a:gd name="connsiteY197" fmla="*/ 2088434 h 3848179"/>
                <a:gd name="connsiteX198" fmla="*/ 3428580 w 5422110"/>
                <a:gd name="connsiteY198" fmla="*/ 2513571 h 3848179"/>
                <a:gd name="connsiteX199" fmla="*/ 3506773 w 5422110"/>
                <a:gd name="connsiteY199" fmla="*/ 2513571 h 3848179"/>
                <a:gd name="connsiteX200" fmla="*/ 3506773 w 5422110"/>
                <a:gd name="connsiteY200" fmla="*/ 2088434 h 3848179"/>
                <a:gd name="connsiteX201" fmla="*/ 3277255 w 5422110"/>
                <a:gd name="connsiteY201" fmla="*/ 2088434 h 3848179"/>
                <a:gd name="connsiteX202" fmla="*/ 3277255 w 5422110"/>
                <a:gd name="connsiteY202" fmla="*/ 2513571 h 3848179"/>
                <a:gd name="connsiteX203" fmla="*/ 3355448 w 5422110"/>
                <a:gd name="connsiteY203" fmla="*/ 2513571 h 3848179"/>
                <a:gd name="connsiteX204" fmla="*/ 3355448 w 5422110"/>
                <a:gd name="connsiteY204" fmla="*/ 2088434 h 3848179"/>
                <a:gd name="connsiteX205" fmla="*/ 3125931 w 5422110"/>
                <a:gd name="connsiteY205" fmla="*/ 2088434 h 3848179"/>
                <a:gd name="connsiteX206" fmla="*/ 3125931 w 5422110"/>
                <a:gd name="connsiteY206" fmla="*/ 2513571 h 3848179"/>
                <a:gd name="connsiteX207" fmla="*/ 3204124 w 5422110"/>
                <a:gd name="connsiteY207" fmla="*/ 2513571 h 3848179"/>
                <a:gd name="connsiteX208" fmla="*/ 3204124 w 5422110"/>
                <a:gd name="connsiteY208" fmla="*/ 2088434 h 3848179"/>
                <a:gd name="connsiteX209" fmla="*/ 2974606 w 5422110"/>
                <a:gd name="connsiteY209" fmla="*/ 2088434 h 3848179"/>
                <a:gd name="connsiteX210" fmla="*/ 2974606 w 5422110"/>
                <a:gd name="connsiteY210" fmla="*/ 2513571 h 3848179"/>
                <a:gd name="connsiteX211" fmla="*/ 3052799 w 5422110"/>
                <a:gd name="connsiteY211" fmla="*/ 2513571 h 3848179"/>
                <a:gd name="connsiteX212" fmla="*/ 3052799 w 5422110"/>
                <a:gd name="connsiteY212" fmla="*/ 2088434 h 3848179"/>
                <a:gd name="connsiteX213" fmla="*/ 2823282 w 5422110"/>
                <a:gd name="connsiteY213" fmla="*/ 2088434 h 3848179"/>
                <a:gd name="connsiteX214" fmla="*/ 2823282 w 5422110"/>
                <a:gd name="connsiteY214" fmla="*/ 2513571 h 3848179"/>
                <a:gd name="connsiteX215" fmla="*/ 2901475 w 5422110"/>
                <a:gd name="connsiteY215" fmla="*/ 2513571 h 3848179"/>
                <a:gd name="connsiteX216" fmla="*/ 2901475 w 5422110"/>
                <a:gd name="connsiteY216" fmla="*/ 2088434 h 3848179"/>
                <a:gd name="connsiteX217" fmla="*/ 2671958 w 5422110"/>
                <a:gd name="connsiteY217" fmla="*/ 2088434 h 3848179"/>
                <a:gd name="connsiteX218" fmla="*/ 2671958 w 5422110"/>
                <a:gd name="connsiteY218" fmla="*/ 2513571 h 3848179"/>
                <a:gd name="connsiteX219" fmla="*/ 2750151 w 5422110"/>
                <a:gd name="connsiteY219" fmla="*/ 2513571 h 3848179"/>
                <a:gd name="connsiteX220" fmla="*/ 2750151 w 5422110"/>
                <a:gd name="connsiteY220" fmla="*/ 2088434 h 3848179"/>
                <a:gd name="connsiteX221" fmla="*/ 2520633 w 5422110"/>
                <a:gd name="connsiteY221" fmla="*/ 2088434 h 3848179"/>
                <a:gd name="connsiteX222" fmla="*/ 2520633 w 5422110"/>
                <a:gd name="connsiteY222" fmla="*/ 2513571 h 3848179"/>
                <a:gd name="connsiteX223" fmla="*/ 2598826 w 5422110"/>
                <a:gd name="connsiteY223" fmla="*/ 2513571 h 3848179"/>
                <a:gd name="connsiteX224" fmla="*/ 2598826 w 5422110"/>
                <a:gd name="connsiteY224" fmla="*/ 2088434 h 3848179"/>
                <a:gd name="connsiteX225" fmla="*/ 2369309 w 5422110"/>
                <a:gd name="connsiteY225" fmla="*/ 2088434 h 3848179"/>
                <a:gd name="connsiteX226" fmla="*/ 2369309 w 5422110"/>
                <a:gd name="connsiteY226" fmla="*/ 2513571 h 3848179"/>
                <a:gd name="connsiteX227" fmla="*/ 2447502 w 5422110"/>
                <a:gd name="connsiteY227" fmla="*/ 2513571 h 3848179"/>
                <a:gd name="connsiteX228" fmla="*/ 2447502 w 5422110"/>
                <a:gd name="connsiteY228" fmla="*/ 2088434 h 3848179"/>
                <a:gd name="connsiteX229" fmla="*/ 2217984 w 5422110"/>
                <a:gd name="connsiteY229" fmla="*/ 2088434 h 3848179"/>
                <a:gd name="connsiteX230" fmla="*/ 2217984 w 5422110"/>
                <a:gd name="connsiteY230" fmla="*/ 2513571 h 3848179"/>
                <a:gd name="connsiteX231" fmla="*/ 2296177 w 5422110"/>
                <a:gd name="connsiteY231" fmla="*/ 2513571 h 3848179"/>
                <a:gd name="connsiteX232" fmla="*/ 2296177 w 5422110"/>
                <a:gd name="connsiteY232" fmla="*/ 2088434 h 3848179"/>
                <a:gd name="connsiteX233" fmla="*/ 2066660 w 5422110"/>
                <a:gd name="connsiteY233" fmla="*/ 2088434 h 3848179"/>
                <a:gd name="connsiteX234" fmla="*/ 2066660 w 5422110"/>
                <a:gd name="connsiteY234" fmla="*/ 2513571 h 3848179"/>
                <a:gd name="connsiteX235" fmla="*/ 2144853 w 5422110"/>
                <a:gd name="connsiteY235" fmla="*/ 2513571 h 3848179"/>
                <a:gd name="connsiteX236" fmla="*/ 2144853 w 5422110"/>
                <a:gd name="connsiteY236" fmla="*/ 2088434 h 3848179"/>
                <a:gd name="connsiteX237" fmla="*/ 1915335 w 5422110"/>
                <a:gd name="connsiteY237" fmla="*/ 2088434 h 3848179"/>
                <a:gd name="connsiteX238" fmla="*/ 1915335 w 5422110"/>
                <a:gd name="connsiteY238" fmla="*/ 2513571 h 3848179"/>
                <a:gd name="connsiteX239" fmla="*/ 1993528 w 5422110"/>
                <a:gd name="connsiteY239" fmla="*/ 2513571 h 3848179"/>
                <a:gd name="connsiteX240" fmla="*/ 1993528 w 5422110"/>
                <a:gd name="connsiteY240" fmla="*/ 2088434 h 3848179"/>
                <a:gd name="connsiteX241" fmla="*/ 1764011 w 5422110"/>
                <a:gd name="connsiteY241" fmla="*/ 2088434 h 3848179"/>
                <a:gd name="connsiteX242" fmla="*/ 1764011 w 5422110"/>
                <a:gd name="connsiteY242" fmla="*/ 2513571 h 3848179"/>
                <a:gd name="connsiteX243" fmla="*/ 1842204 w 5422110"/>
                <a:gd name="connsiteY243" fmla="*/ 2513571 h 3848179"/>
                <a:gd name="connsiteX244" fmla="*/ 1842204 w 5422110"/>
                <a:gd name="connsiteY244" fmla="*/ 2088434 h 3848179"/>
                <a:gd name="connsiteX245" fmla="*/ 1682543 w 5422110"/>
                <a:gd name="connsiteY245" fmla="*/ 2018271 h 3848179"/>
                <a:gd name="connsiteX246" fmla="*/ 3739567 w 5422110"/>
                <a:gd name="connsiteY246" fmla="*/ 2018271 h 3848179"/>
                <a:gd name="connsiteX247" fmla="*/ 3788571 w 5422110"/>
                <a:gd name="connsiteY247" fmla="*/ 2067275 h 3848179"/>
                <a:gd name="connsiteX248" fmla="*/ 3788571 w 5422110"/>
                <a:gd name="connsiteY248" fmla="*/ 2869484 h 3848179"/>
                <a:gd name="connsiteX249" fmla="*/ 1633539 w 5422110"/>
                <a:gd name="connsiteY249" fmla="*/ 2869484 h 3848179"/>
                <a:gd name="connsiteX250" fmla="*/ 1633539 w 5422110"/>
                <a:gd name="connsiteY250" fmla="*/ 2067275 h 3848179"/>
                <a:gd name="connsiteX251" fmla="*/ 1682543 w 5422110"/>
                <a:gd name="connsiteY251" fmla="*/ 2018271 h 3848179"/>
                <a:gd name="connsiteX252" fmla="*/ 2721770 w 5422110"/>
                <a:gd name="connsiteY252" fmla="*/ 0 h 3848179"/>
                <a:gd name="connsiteX253" fmla="*/ 2753918 w 5422110"/>
                <a:gd name="connsiteY253" fmla="*/ 525709 h 3848179"/>
                <a:gd name="connsiteX254" fmla="*/ 2770600 w 5422110"/>
                <a:gd name="connsiteY254" fmla="*/ 536957 h 3848179"/>
                <a:gd name="connsiteX255" fmla="*/ 2790826 w 5422110"/>
                <a:gd name="connsiteY255" fmla="*/ 585787 h 3848179"/>
                <a:gd name="connsiteX256" fmla="*/ 2790826 w 5422110"/>
                <a:gd name="connsiteY256" fmla="*/ 927846 h 3848179"/>
                <a:gd name="connsiteX257" fmla="*/ 2794174 w 5422110"/>
                <a:gd name="connsiteY257" fmla="*/ 930103 h 3848179"/>
                <a:gd name="connsiteX258" fmla="*/ 2824164 w 5422110"/>
                <a:gd name="connsiteY258" fmla="*/ 1002507 h 3848179"/>
                <a:gd name="connsiteX259" fmla="*/ 2824164 w 5422110"/>
                <a:gd name="connsiteY259" fmla="*/ 1181100 h 3848179"/>
                <a:gd name="connsiteX260" fmla="*/ 2952499 w 5422110"/>
                <a:gd name="connsiteY260" fmla="*/ 1181100 h 3848179"/>
                <a:gd name="connsiteX261" fmla="*/ 3044885 w 5422110"/>
                <a:gd name="connsiteY261" fmla="*/ 1242337 h 3848179"/>
                <a:gd name="connsiteX262" fmla="*/ 3051426 w 5422110"/>
                <a:gd name="connsiteY262" fmla="*/ 1274737 h 3848179"/>
                <a:gd name="connsiteX263" fmla="*/ 3136549 w 5422110"/>
                <a:gd name="connsiteY263" fmla="*/ 1305586 h 3848179"/>
                <a:gd name="connsiteX264" fmla="*/ 3676212 w 5422110"/>
                <a:gd name="connsiteY264" fmla="*/ 1851848 h 3848179"/>
                <a:gd name="connsiteX265" fmla="*/ 3710451 w 5422110"/>
                <a:gd name="connsiteY265" fmla="*/ 1962150 h 3848179"/>
                <a:gd name="connsiteX266" fmla="*/ 1733089 w 5422110"/>
                <a:gd name="connsiteY266" fmla="*/ 1962150 h 3848179"/>
                <a:gd name="connsiteX267" fmla="*/ 1767329 w 5422110"/>
                <a:gd name="connsiteY267" fmla="*/ 1851848 h 3848179"/>
                <a:gd name="connsiteX268" fmla="*/ 2306992 w 5422110"/>
                <a:gd name="connsiteY268" fmla="*/ 1305586 h 3848179"/>
                <a:gd name="connsiteX269" fmla="*/ 2392114 w 5422110"/>
                <a:gd name="connsiteY269" fmla="*/ 1274737 h 3848179"/>
                <a:gd name="connsiteX270" fmla="*/ 2398656 w 5422110"/>
                <a:gd name="connsiteY270" fmla="*/ 1242337 h 3848179"/>
                <a:gd name="connsiteX271" fmla="*/ 2491041 w 5422110"/>
                <a:gd name="connsiteY271" fmla="*/ 1181100 h 3848179"/>
                <a:gd name="connsiteX272" fmla="*/ 2619376 w 5422110"/>
                <a:gd name="connsiteY272" fmla="*/ 1181100 h 3848179"/>
                <a:gd name="connsiteX273" fmla="*/ 2619376 w 5422110"/>
                <a:gd name="connsiteY273" fmla="*/ 1002507 h 3848179"/>
                <a:gd name="connsiteX274" fmla="*/ 2649367 w 5422110"/>
                <a:gd name="connsiteY274" fmla="*/ 930103 h 3848179"/>
                <a:gd name="connsiteX275" fmla="*/ 2652714 w 5422110"/>
                <a:gd name="connsiteY275" fmla="*/ 927846 h 3848179"/>
                <a:gd name="connsiteX276" fmla="*/ 2652714 w 5422110"/>
                <a:gd name="connsiteY276" fmla="*/ 585787 h 3848179"/>
                <a:gd name="connsiteX277" fmla="*/ 2672940 w 5422110"/>
                <a:gd name="connsiteY277" fmla="*/ 536957 h 3848179"/>
                <a:gd name="connsiteX278" fmla="*/ 2689623 w 5422110"/>
                <a:gd name="connsiteY278" fmla="*/ 525709 h 3848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5422110" h="3848179">
                  <a:moveTo>
                    <a:pt x="38101" y="3721179"/>
                  </a:moveTo>
                  <a:lnTo>
                    <a:pt x="5384010" y="3721179"/>
                  </a:lnTo>
                  <a:lnTo>
                    <a:pt x="5384010" y="3848179"/>
                  </a:lnTo>
                  <a:lnTo>
                    <a:pt x="38101" y="3848179"/>
                  </a:lnTo>
                  <a:close/>
                  <a:moveTo>
                    <a:pt x="5097962" y="3121898"/>
                  </a:moveTo>
                  <a:lnTo>
                    <a:pt x="5097962" y="3448129"/>
                  </a:lnTo>
                  <a:lnTo>
                    <a:pt x="5231312" y="3448129"/>
                  </a:lnTo>
                  <a:lnTo>
                    <a:pt x="5231312" y="3121898"/>
                  </a:lnTo>
                  <a:close/>
                  <a:moveTo>
                    <a:pt x="4868529" y="3121898"/>
                  </a:moveTo>
                  <a:lnTo>
                    <a:pt x="4868529" y="3448129"/>
                  </a:lnTo>
                  <a:lnTo>
                    <a:pt x="5001879" y="3448129"/>
                  </a:lnTo>
                  <a:lnTo>
                    <a:pt x="5001879" y="3121898"/>
                  </a:lnTo>
                  <a:close/>
                  <a:moveTo>
                    <a:pt x="4639096" y="3121898"/>
                  </a:moveTo>
                  <a:lnTo>
                    <a:pt x="4639096" y="3448129"/>
                  </a:lnTo>
                  <a:lnTo>
                    <a:pt x="4772446" y="3448129"/>
                  </a:lnTo>
                  <a:lnTo>
                    <a:pt x="4772446" y="3121898"/>
                  </a:lnTo>
                  <a:close/>
                  <a:moveTo>
                    <a:pt x="4409663" y="3121898"/>
                  </a:moveTo>
                  <a:lnTo>
                    <a:pt x="4409663" y="3448129"/>
                  </a:lnTo>
                  <a:lnTo>
                    <a:pt x="4543013" y="3448129"/>
                  </a:lnTo>
                  <a:lnTo>
                    <a:pt x="4543013" y="3121898"/>
                  </a:lnTo>
                  <a:close/>
                  <a:moveTo>
                    <a:pt x="4180230" y="3121898"/>
                  </a:moveTo>
                  <a:lnTo>
                    <a:pt x="4180230" y="3448129"/>
                  </a:lnTo>
                  <a:lnTo>
                    <a:pt x="4313580" y="3448129"/>
                  </a:lnTo>
                  <a:lnTo>
                    <a:pt x="4313580" y="3121898"/>
                  </a:lnTo>
                  <a:close/>
                  <a:moveTo>
                    <a:pt x="3950795" y="3121898"/>
                  </a:moveTo>
                  <a:lnTo>
                    <a:pt x="3950795" y="3448129"/>
                  </a:lnTo>
                  <a:lnTo>
                    <a:pt x="4084145" y="3448129"/>
                  </a:lnTo>
                  <a:lnTo>
                    <a:pt x="4084145" y="3121898"/>
                  </a:lnTo>
                  <a:close/>
                  <a:moveTo>
                    <a:pt x="1337965" y="3121898"/>
                  </a:moveTo>
                  <a:lnTo>
                    <a:pt x="1337965" y="3448129"/>
                  </a:lnTo>
                  <a:lnTo>
                    <a:pt x="1471315" y="3448129"/>
                  </a:lnTo>
                  <a:lnTo>
                    <a:pt x="1471315" y="3121898"/>
                  </a:lnTo>
                  <a:close/>
                  <a:moveTo>
                    <a:pt x="1108530" y="3121898"/>
                  </a:moveTo>
                  <a:lnTo>
                    <a:pt x="1108530" y="3448129"/>
                  </a:lnTo>
                  <a:lnTo>
                    <a:pt x="1241880" y="3448129"/>
                  </a:lnTo>
                  <a:lnTo>
                    <a:pt x="1241880" y="3121898"/>
                  </a:lnTo>
                  <a:close/>
                  <a:moveTo>
                    <a:pt x="879097" y="3121898"/>
                  </a:moveTo>
                  <a:lnTo>
                    <a:pt x="879097" y="3448129"/>
                  </a:lnTo>
                  <a:lnTo>
                    <a:pt x="1012447" y="3448129"/>
                  </a:lnTo>
                  <a:lnTo>
                    <a:pt x="1012447" y="3121898"/>
                  </a:lnTo>
                  <a:close/>
                  <a:moveTo>
                    <a:pt x="649664" y="3121898"/>
                  </a:moveTo>
                  <a:lnTo>
                    <a:pt x="649664" y="3448129"/>
                  </a:lnTo>
                  <a:lnTo>
                    <a:pt x="783014" y="3448129"/>
                  </a:lnTo>
                  <a:lnTo>
                    <a:pt x="783014" y="3121898"/>
                  </a:lnTo>
                  <a:close/>
                  <a:moveTo>
                    <a:pt x="420231" y="3121898"/>
                  </a:moveTo>
                  <a:lnTo>
                    <a:pt x="420231" y="3448129"/>
                  </a:lnTo>
                  <a:lnTo>
                    <a:pt x="553581" y="3448129"/>
                  </a:lnTo>
                  <a:lnTo>
                    <a:pt x="553581" y="3121898"/>
                  </a:lnTo>
                  <a:close/>
                  <a:moveTo>
                    <a:pt x="190798" y="3121898"/>
                  </a:moveTo>
                  <a:lnTo>
                    <a:pt x="190798" y="3448129"/>
                  </a:lnTo>
                  <a:lnTo>
                    <a:pt x="324148" y="3448129"/>
                  </a:lnTo>
                  <a:lnTo>
                    <a:pt x="324148" y="3121898"/>
                  </a:lnTo>
                  <a:close/>
                  <a:moveTo>
                    <a:pt x="1633539" y="2900441"/>
                  </a:moveTo>
                  <a:lnTo>
                    <a:pt x="3788571" y="2900441"/>
                  </a:lnTo>
                  <a:lnTo>
                    <a:pt x="3788571" y="3671966"/>
                  </a:lnTo>
                  <a:lnTo>
                    <a:pt x="3658098" y="3671966"/>
                  </a:lnTo>
                  <a:lnTo>
                    <a:pt x="3576638" y="3671966"/>
                  </a:lnTo>
                  <a:lnTo>
                    <a:pt x="3518398" y="3671966"/>
                  </a:lnTo>
                  <a:lnTo>
                    <a:pt x="3518398" y="2992358"/>
                  </a:lnTo>
                  <a:lnTo>
                    <a:pt x="3530740" y="2962564"/>
                  </a:lnTo>
                  <a:lnTo>
                    <a:pt x="3060961" y="2962564"/>
                  </a:lnTo>
                  <a:lnTo>
                    <a:pt x="3073302" y="2992358"/>
                  </a:lnTo>
                  <a:lnTo>
                    <a:pt x="3073302" y="3671966"/>
                  </a:lnTo>
                  <a:lnTo>
                    <a:pt x="2933602" y="3671966"/>
                  </a:lnTo>
                  <a:lnTo>
                    <a:pt x="2933602" y="2992358"/>
                  </a:lnTo>
                  <a:lnTo>
                    <a:pt x="2945944" y="2962564"/>
                  </a:lnTo>
                  <a:lnTo>
                    <a:pt x="2476166" y="2962564"/>
                  </a:lnTo>
                  <a:lnTo>
                    <a:pt x="2488507" y="2992358"/>
                  </a:lnTo>
                  <a:lnTo>
                    <a:pt x="2488507" y="3671966"/>
                  </a:lnTo>
                  <a:lnTo>
                    <a:pt x="2348807" y="3671966"/>
                  </a:lnTo>
                  <a:lnTo>
                    <a:pt x="2348807" y="2992358"/>
                  </a:lnTo>
                  <a:lnTo>
                    <a:pt x="2361149" y="2962564"/>
                  </a:lnTo>
                  <a:lnTo>
                    <a:pt x="1891371" y="2962564"/>
                  </a:lnTo>
                  <a:lnTo>
                    <a:pt x="1903712" y="2992358"/>
                  </a:lnTo>
                  <a:lnTo>
                    <a:pt x="1903712" y="3671966"/>
                  </a:lnTo>
                  <a:lnTo>
                    <a:pt x="1845472" y="3671966"/>
                  </a:lnTo>
                  <a:lnTo>
                    <a:pt x="1764012" y="3671966"/>
                  </a:lnTo>
                  <a:lnTo>
                    <a:pt x="1633539" y="3671966"/>
                  </a:lnTo>
                  <a:close/>
                  <a:moveTo>
                    <a:pt x="5097962" y="2674223"/>
                  </a:moveTo>
                  <a:lnTo>
                    <a:pt x="5097962" y="3000454"/>
                  </a:lnTo>
                  <a:lnTo>
                    <a:pt x="5231312" y="3000454"/>
                  </a:lnTo>
                  <a:lnTo>
                    <a:pt x="5231312" y="2674223"/>
                  </a:lnTo>
                  <a:close/>
                  <a:moveTo>
                    <a:pt x="4868529" y="2674223"/>
                  </a:moveTo>
                  <a:lnTo>
                    <a:pt x="4868529" y="3000454"/>
                  </a:lnTo>
                  <a:lnTo>
                    <a:pt x="5001879" y="3000454"/>
                  </a:lnTo>
                  <a:lnTo>
                    <a:pt x="5001879" y="2674223"/>
                  </a:lnTo>
                  <a:close/>
                  <a:moveTo>
                    <a:pt x="4639096" y="2674223"/>
                  </a:moveTo>
                  <a:lnTo>
                    <a:pt x="4639096" y="3000454"/>
                  </a:lnTo>
                  <a:lnTo>
                    <a:pt x="4772446" y="3000454"/>
                  </a:lnTo>
                  <a:lnTo>
                    <a:pt x="4772446" y="2674223"/>
                  </a:lnTo>
                  <a:close/>
                  <a:moveTo>
                    <a:pt x="4409663" y="2674223"/>
                  </a:moveTo>
                  <a:lnTo>
                    <a:pt x="4409663" y="3000454"/>
                  </a:lnTo>
                  <a:lnTo>
                    <a:pt x="4543013" y="3000454"/>
                  </a:lnTo>
                  <a:lnTo>
                    <a:pt x="4543013" y="2674223"/>
                  </a:lnTo>
                  <a:close/>
                  <a:moveTo>
                    <a:pt x="4180230" y="2674223"/>
                  </a:moveTo>
                  <a:lnTo>
                    <a:pt x="4180230" y="3000454"/>
                  </a:lnTo>
                  <a:lnTo>
                    <a:pt x="4313580" y="3000454"/>
                  </a:lnTo>
                  <a:lnTo>
                    <a:pt x="4313580" y="2674223"/>
                  </a:lnTo>
                  <a:close/>
                  <a:moveTo>
                    <a:pt x="3950795" y="2674223"/>
                  </a:moveTo>
                  <a:lnTo>
                    <a:pt x="3950795" y="3000454"/>
                  </a:lnTo>
                  <a:lnTo>
                    <a:pt x="4084145" y="3000454"/>
                  </a:lnTo>
                  <a:lnTo>
                    <a:pt x="4084145" y="2674223"/>
                  </a:lnTo>
                  <a:close/>
                  <a:moveTo>
                    <a:pt x="1337965" y="2674223"/>
                  </a:moveTo>
                  <a:lnTo>
                    <a:pt x="1337965" y="3000454"/>
                  </a:lnTo>
                  <a:lnTo>
                    <a:pt x="1471315" y="3000454"/>
                  </a:lnTo>
                  <a:lnTo>
                    <a:pt x="1471315" y="2674223"/>
                  </a:lnTo>
                  <a:close/>
                  <a:moveTo>
                    <a:pt x="1108530" y="2674223"/>
                  </a:moveTo>
                  <a:lnTo>
                    <a:pt x="1108530" y="3000454"/>
                  </a:lnTo>
                  <a:lnTo>
                    <a:pt x="1241880" y="3000454"/>
                  </a:lnTo>
                  <a:lnTo>
                    <a:pt x="1241880" y="2674223"/>
                  </a:lnTo>
                  <a:close/>
                  <a:moveTo>
                    <a:pt x="879097" y="2674223"/>
                  </a:moveTo>
                  <a:lnTo>
                    <a:pt x="879097" y="3000454"/>
                  </a:lnTo>
                  <a:lnTo>
                    <a:pt x="1012447" y="3000454"/>
                  </a:lnTo>
                  <a:lnTo>
                    <a:pt x="1012447" y="2674223"/>
                  </a:lnTo>
                  <a:close/>
                  <a:moveTo>
                    <a:pt x="649664" y="2674223"/>
                  </a:moveTo>
                  <a:lnTo>
                    <a:pt x="649664" y="3000454"/>
                  </a:lnTo>
                  <a:lnTo>
                    <a:pt x="783014" y="3000454"/>
                  </a:lnTo>
                  <a:lnTo>
                    <a:pt x="783014" y="2674223"/>
                  </a:lnTo>
                  <a:close/>
                  <a:moveTo>
                    <a:pt x="420231" y="2674223"/>
                  </a:moveTo>
                  <a:lnTo>
                    <a:pt x="420231" y="3000454"/>
                  </a:lnTo>
                  <a:lnTo>
                    <a:pt x="553581" y="3000454"/>
                  </a:lnTo>
                  <a:lnTo>
                    <a:pt x="553581" y="2674223"/>
                  </a:lnTo>
                  <a:close/>
                  <a:moveTo>
                    <a:pt x="190798" y="2674223"/>
                  </a:moveTo>
                  <a:lnTo>
                    <a:pt x="190798" y="3000454"/>
                  </a:lnTo>
                  <a:lnTo>
                    <a:pt x="324148" y="3000454"/>
                  </a:lnTo>
                  <a:lnTo>
                    <a:pt x="324148" y="2674223"/>
                  </a:lnTo>
                  <a:close/>
                  <a:moveTo>
                    <a:pt x="5097962" y="2226548"/>
                  </a:moveTo>
                  <a:lnTo>
                    <a:pt x="5097962" y="2552779"/>
                  </a:lnTo>
                  <a:lnTo>
                    <a:pt x="5231312" y="2552779"/>
                  </a:lnTo>
                  <a:lnTo>
                    <a:pt x="5231312" y="2255852"/>
                  </a:lnTo>
                  <a:lnTo>
                    <a:pt x="5231312" y="2226548"/>
                  </a:lnTo>
                  <a:close/>
                  <a:moveTo>
                    <a:pt x="4868529" y="2226548"/>
                  </a:moveTo>
                  <a:lnTo>
                    <a:pt x="4868529" y="2552779"/>
                  </a:lnTo>
                  <a:lnTo>
                    <a:pt x="5001879" y="2552779"/>
                  </a:lnTo>
                  <a:lnTo>
                    <a:pt x="5001879" y="2226548"/>
                  </a:lnTo>
                  <a:close/>
                  <a:moveTo>
                    <a:pt x="4639096" y="2226548"/>
                  </a:moveTo>
                  <a:lnTo>
                    <a:pt x="4639096" y="2552779"/>
                  </a:lnTo>
                  <a:lnTo>
                    <a:pt x="4772446" y="2552779"/>
                  </a:lnTo>
                  <a:lnTo>
                    <a:pt x="4772446" y="2226548"/>
                  </a:lnTo>
                  <a:close/>
                  <a:moveTo>
                    <a:pt x="4409663" y="2226548"/>
                  </a:moveTo>
                  <a:lnTo>
                    <a:pt x="4409663" y="2552779"/>
                  </a:lnTo>
                  <a:lnTo>
                    <a:pt x="4543013" y="2552779"/>
                  </a:lnTo>
                  <a:lnTo>
                    <a:pt x="4543013" y="2226548"/>
                  </a:lnTo>
                  <a:close/>
                  <a:moveTo>
                    <a:pt x="4180230" y="2226548"/>
                  </a:moveTo>
                  <a:lnTo>
                    <a:pt x="4180230" y="2552779"/>
                  </a:lnTo>
                  <a:lnTo>
                    <a:pt x="4313580" y="2552779"/>
                  </a:lnTo>
                  <a:lnTo>
                    <a:pt x="4313580" y="2226548"/>
                  </a:lnTo>
                  <a:close/>
                  <a:moveTo>
                    <a:pt x="3950795" y="2226548"/>
                  </a:moveTo>
                  <a:lnTo>
                    <a:pt x="3950795" y="2552779"/>
                  </a:lnTo>
                  <a:lnTo>
                    <a:pt x="4084145" y="2552779"/>
                  </a:lnTo>
                  <a:lnTo>
                    <a:pt x="4084145" y="2226548"/>
                  </a:lnTo>
                  <a:close/>
                  <a:moveTo>
                    <a:pt x="1337965" y="2226548"/>
                  </a:moveTo>
                  <a:lnTo>
                    <a:pt x="1337965" y="2552779"/>
                  </a:lnTo>
                  <a:lnTo>
                    <a:pt x="1471315" y="2552779"/>
                  </a:lnTo>
                  <a:lnTo>
                    <a:pt x="1471315" y="2226548"/>
                  </a:lnTo>
                  <a:close/>
                  <a:moveTo>
                    <a:pt x="1108530" y="2226548"/>
                  </a:moveTo>
                  <a:lnTo>
                    <a:pt x="1108530" y="2552779"/>
                  </a:lnTo>
                  <a:lnTo>
                    <a:pt x="1241880" y="2552779"/>
                  </a:lnTo>
                  <a:lnTo>
                    <a:pt x="1241880" y="2226548"/>
                  </a:lnTo>
                  <a:close/>
                  <a:moveTo>
                    <a:pt x="879097" y="2226548"/>
                  </a:moveTo>
                  <a:lnTo>
                    <a:pt x="879097" y="2552779"/>
                  </a:lnTo>
                  <a:lnTo>
                    <a:pt x="1012447" y="2552779"/>
                  </a:lnTo>
                  <a:lnTo>
                    <a:pt x="1012447" y="2226548"/>
                  </a:lnTo>
                  <a:close/>
                  <a:moveTo>
                    <a:pt x="649664" y="2226548"/>
                  </a:moveTo>
                  <a:lnTo>
                    <a:pt x="649664" y="2552779"/>
                  </a:lnTo>
                  <a:lnTo>
                    <a:pt x="783014" y="2552779"/>
                  </a:lnTo>
                  <a:lnTo>
                    <a:pt x="783014" y="2226548"/>
                  </a:lnTo>
                  <a:close/>
                  <a:moveTo>
                    <a:pt x="420231" y="2226548"/>
                  </a:moveTo>
                  <a:lnTo>
                    <a:pt x="420231" y="2552779"/>
                  </a:lnTo>
                  <a:lnTo>
                    <a:pt x="553581" y="2552779"/>
                  </a:lnTo>
                  <a:lnTo>
                    <a:pt x="553581" y="2226548"/>
                  </a:lnTo>
                  <a:close/>
                  <a:moveTo>
                    <a:pt x="190798" y="2226548"/>
                  </a:moveTo>
                  <a:lnTo>
                    <a:pt x="190798" y="2255852"/>
                  </a:lnTo>
                  <a:lnTo>
                    <a:pt x="190798" y="2552779"/>
                  </a:lnTo>
                  <a:lnTo>
                    <a:pt x="324148" y="2552779"/>
                  </a:lnTo>
                  <a:lnTo>
                    <a:pt x="324148" y="2226548"/>
                  </a:lnTo>
                  <a:close/>
                  <a:moveTo>
                    <a:pt x="3840960" y="2128917"/>
                  </a:moveTo>
                  <a:lnTo>
                    <a:pt x="5231312" y="2128917"/>
                  </a:lnTo>
                  <a:lnTo>
                    <a:pt x="5341147" y="2128917"/>
                  </a:lnTo>
                  <a:lnTo>
                    <a:pt x="5422110" y="2128917"/>
                  </a:lnTo>
                  <a:cubicBezTo>
                    <a:pt x="5417695" y="2202461"/>
                    <a:pt x="5382918" y="2233141"/>
                    <a:pt x="5342784" y="2245963"/>
                  </a:cubicBezTo>
                  <a:lnTo>
                    <a:pt x="5341147" y="2246203"/>
                  </a:lnTo>
                  <a:lnTo>
                    <a:pt x="5341147" y="3671967"/>
                  </a:lnTo>
                  <a:lnTo>
                    <a:pt x="3840960" y="3671967"/>
                  </a:lnTo>
                  <a:close/>
                  <a:moveTo>
                    <a:pt x="0" y="2128917"/>
                  </a:moveTo>
                  <a:lnTo>
                    <a:pt x="80963" y="2128917"/>
                  </a:lnTo>
                  <a:lnTo>
                    <a:pt x="190798" y="2128917"/>
                  </a:lnTo>
                  <a:lnTo>
                    <a:pt x="1581150" y="2128917"/>
                  </a:lnTo>
                  <a:lnTo>
                    <a:pt x="1581150" y="3671967"/>
                  </a:lnTo>
                  <a:lnTo>
                    <a:pt x="80963" y="3671967"/>
                  </a:lnTo>
                  <a:lnTo>
                    <a:pt x="80963" y="2246203"/>
                  </a:lnTo>
                  <a:lnTo>
                    <a:pt x="79326" y="2245963"/>
                  </a:lnTo>
                  <a:cubicBezTo>
                    <a:pt x="39192" y="2233141"/>
                    <a:pt x="4415" y="2202461"/>
                    <a:pt x="0" y="2128917"/>
                  </a:cubicBezTo>
                  <a:close/>
                  <a:moveTo>
                    <a:pt x="3579904" y="2088434"/>
                  </a:moveTo>
                  <a:lnTo>
                    <a:pt x="3579904" y="2513571"/>
                  </a:lnTo>
                  <a:lnTo>
                    <a:pt x="3658097" y="2513571"/>
                  </a:lnTo>
                  <a:lnTo>
                    <a:pt x="3658097" y="2088434"/>
                  </a:lnTo>
                  <a:close/>
                  <a:moveTo>
                    <a:pt x="3428580" y="2088434"/>
                  </a:moveTo>
                  <a:lnTo>
                    <a:pt x="3428580" y="2513571"/>
                  </a:lnTo>
                  <a:lnTo>
                    <a:pt x="3506773" y="2513571"/>
                  </a:lnTo>
                  <a:lnTo>
                    <a:pt x="3506773" y="2088434"/>
                  </a:lnTo>
                  <a:close/>
                  <a:moveTo>
                    <a:pt x="3277255" y="2088434"/>
                  </a:moveTo>
                  <a:lnTo>
                    <a:pt x="3277255" y="2513571"/>
                  </a:lnTo>
                  <a:lnTo>
                    <a:pt x="3355448" y="2513571"/>
                  </a:lnTo>
                  <a:lnTo>
                    <a:pt x="3355448" y="2088434"/>
                  </a:lnTo>
                  <a:close/>
                  <a:moveTo>
                    <a:pt x="3125931" y="2088434"/>
                  </a:moveTo>
                  <a:lnTo>
                    <a:pt x="3125931" y="2513571"/>
                  </a:lnTo>
                  <a:lnTo>
                    <a:pt x="3204124" y="2513571"/>
                  </a:lnTo>
                  <a:lnTo>
                    <a:pt x="3204124" y="2088434"/>
                  </a:lnTo>
                  <a:close/>
                  <a:moveTo>
                    <a:pt x="2974606" y="2088434"/>
                  </a:moveTo>
                  <a:lnTo>
                    <a:pt x="2974606" y="2513571"/>
                  </a:lnTo>
                  <a:lnTo>
                    <a:pt x="3052799" y="2513571"/>
                  </a:lnTo>
                  <a:lnTo>
                    <a:pt x="3052799" y="2088434"/>
                  </a:lnTo>
                  <a:close/>
                  <a:moveTo>
                    <a:pt x="2823282" y="2088434"/>
                  </a:moveTo>
                  <a:lnTo>
                    <a:pt x="2823282" y="2513571"/>
                  </a:lnTo>
                  <a:lnTo>
                    <a:pt x="2901475" y="2513571"/>
                  </a:lnTo>
                  <a:lnTo>
                    <a:pt x="2901475" y="2088434"/>
                  </a:lnTo>
                  <a:close/>
                  <a:moveTo>
                    <a:pt x="2671958" y="2088434"/>
                  </a:moveTo>
                  <a:lnTo>
                    <a:pt x="2671958" y="2513571"/>
                  </a:lnTo>
                  <a:lnTo>
                    <a:pt x="2750151" y="2513571"/>
                  </a:lnTo>
                  <a:lnTo>
                    <a:pt x="2750151" y="2088434"/>
                  </a:lnTo>
                  <a:close/>
                  <a:moveTo>
                    <a:pt x="2520633" y="2088434"/>
                  </a:moveTo>
                  <a:lnTo>
                    <a:pt x="2520633" y="2513571"/>
                  </a:lnTo>
                  <a:lnTo>
                    <a:pt x="2598826" y="2513571"/>
                  </a:lnTo>
                  <a:lnTo>
                    <a:pt x="2598826" y="2088434"/>
                  </a:lnTo>
                  <a:close/>
                  <a:moveTo>
                    <a:pt x="2369309" y="2088434"/>
                  </a:moveTo>
                  <a:lnTo>
                    <a:pt x="2369309" y="2513571"/>
                  </a:lnTo>
                  <a:lnTo>
                    <a:pt x="2447502" y="2513571"/>
                  </a:lnTo>
                  <a:lnTo>
                    <a:pt x="2447502" y="2088434"/>
                  </a:lnTo>
                  <a:close/>
                  <a:moveTo>
                    <a:pt x="2217984" y="2088434"/>
                  </a:moveTo>
                  <a:lnTo>
                    <a:pt x="2217984" y="2513571"/>
                  </a:lnTo>
                  <a:lnTo>
                    <a:pt x="2296177" y="2513571"/>
                  </a:lnTo>
                  <a:lnTo>
                    <a:pt x="2296177" y="2088434"/>
                  </a:lnTo>
                  <a:close/>
                  <a:moveTo>
                    <a:pt x="2066660" y="2088434"/>
                  </a:moveTo>
                  <a:lnTo>
                    <a:pt x="2066660" y="2513571"/>
                  </a:lnTo>
                  <a:lnTo>
                    <a:pt x="2144853" y="2513571"/>
                  </a:lnTo>
                  <a:lnTo>
                    <a:pt x="2144853" y="2088434"/>
                  </a:lnTo>
                  <a:close/>
                  <a:moveTo>
                    <a:pt x="1915335" y="2088434"/>
                  </a:moveTo>
                  <a:lnTo>
                    <a:pt x="1915335" y="2513571"/>
                  </a:lnTo>
                  <a:lnTo>
                    <a:pt x="1993528" y="2513571"/>
                  </a:lnTo>
                  <a:lnTo>
                    <a:pt x="1993528" y="2088434"/>
                  </a:lnTo>
                  <a:close/>
                  <a:moveTo>
                    <a:pt x="1764011" y="2088434"/>
                  </a:moveTo>
                  <a:lnTo>
                    <a:pt x="1764011" y="2513571"/>
                  </a:lnTo>
                  <a:lnTo>
                    <a:pt x="1842204" y="2513571"/>
                  </a:lnTo>
                  <a:lnTo>
                    <a:pt x="1842204" y="2088434"/>
                  </a:lnTo>
                  <a:close/>
                  <a:moveTo>
                    <a:pt x="1682543" y="2018271"/>
                  </a:moveTo>
                  <a:lnTo>
                    <a:pt x="3739567" y="2018271"/>
                  </a:lnTo>
                  <a:cubicBezTo>
                    <a:pt x="3766631" y="2018271"/>
                    <a:pt x="3788571" y="2040211"/>
                    <a:pt x="3788571" y="2067275"/>
                  </a:cubicBezTo>
                  <a:lnTo>
                    <a:pt x="3788571" y="2869484"/>
                  </a:lnTo>
                  <a:lnTo>
                    <a:pt x="1633539" y="2869484"/>
                  </a:lnTo>
                  <a:lnTo>
                    <a:pt x="1633539" y="2067275"/>
                  </a:lnTo>
                  <a:cubicBezTo>
                    <a:pt x="1633539" y="2040211"/>
                    <a:pt x="1655479" y="2018271"/>
                    <a:pt x="1682543" y="2018271"/>
                  </a:cubicBezTo>
                  <a:close/>
                  <a:moveTo>
                    <a:pt x="2721770" y="0"/>
                  </a:moveTo>
                  <a:lnTo>
                    <a:pt x="2753918" y="525709"/>
                  </a:lnTo>
                  <a:lnTo>
                    <a:pt x="2770600" y="536957"/>
                  </a:lnTo>
                  <a:cubicBezTo>
                    <a:pt x="2783097" y="549453"/>
                    <a:pt x="2790826" y="566717"/>
                    <a:pt x="2790826" y="585787"/>
                  </a:cubicBezTo>
                  <a:lnTo>
                    <a:pt x="2790826" y="927846"/>
                  </a:lnTo>
                  <a:lnTo>
                    <a:pt x="2794174" y="930103"/>
                  </a:lnTo>
                  <a:cubicBezTo>
                    <a:pt x="2812703" y="948633"/>
                    <a:pt x="2824164" y="974231"/>
                    <a:pt x="2824164" y="1002507"/>
                  </a:cubicBezTo>
                  <a:lnTo>
                    <a:pt x="2824164" y="1181100"/>
                  </a:lnTo>
                  <a:lnTo>
                    <a:pt x="2952499" y="1181100"/>
                  </a:lnTo>
                  <a:cubicBezTo>
                    <a:pt x="2994031" y="1181100"/>
                    <a:pt x="3029664" y="1206351"/>
                    <a:pt x="3044885" y="1242337"/>
                  </a:cubicBezTo>
                  <a:lnTo>
                    <a:pt x="3051426" y="1274737"/>
                  </a:lnTo>
                  <a:lnTo>
                    <a:pt x="3136549" y="1305586"/>
                  </a:lnTo>
                  <a:cubicBezTo>
                    <a:pt x="3379002" y="1411654"/>
                    <a:pt x="3573017" y="1607868"/>
                    <a:pt x="3676212" y="1851848"/>
                  </a:cubicBezTo>
                  <a:lnTo>
                    <a:pt x="3710451" y="1962150"/>
                  </a:lnTo>
                  <a:lnTo>
                    <a:pt x="1733089" y="1962150"/>
                  </a:lnTo>
                  <a:lnTo>
                    <a:pt x="1767329" y="1851848"/>
                  </a:lnTo>
                  <a:cubicBezTo>
                    <a:pt x="1870525" y="1607868"/>
                    <a:pt x="2064539" y="1411654"/>
                    <a:pt x="2306992" y="1305586"/>
                  </a:cubicBezTo>
                  <a:lnTo>
                    <a:pt x="2392114" y="1274737"/>
                  </a:lnTo>
                  <a:lnTo>
                    <a:pt x="2398656" y="1242337"/>
                  </a:lnTo>
                  <a:cubicBezTo>
                    <a:pt x="2413877" y="1206351"/>
                    <a:pt x="2449510" y="1181100"/>
                    <a:pt x="2491041" y="1181100"/>
                  </a:cubicBezTo>
                  <a:lnTo>
                    <a:pt x="2619376" y="1181100"/>
                  </a:lnTo>
                  <a:lnTo>
                    <a:pt x="2619376" y="1002507"/>
                  </a:lnTo>
                  <a:cubicBezTo>
                    <a:pt x="2619376" y="974231"/>
                    <a:pt x="2630837" y="948633"/>
                    <a:pt x="2649367" y="930103"/>
                  </a:cubicBezTo>
                  <a:lnTo>
                    <a:pt x="2652714" y="927846"/>
                  </a:lnTo>
                  <a:lnTo>
                    <a:pt x="2652714" y="585787"/>
                  </a:lnTo>
                  <a:cubicBezTo>
                    <a:pt x="2652714" y="566717"/>
                    <a:pt x="2660444" y="549453"/>
                    <a:pt x="2672940" y="536957"/>
                  </a:cubicBezTo>
                  <a:lnTo>
                    <a:pt x="2689623" y="525709"/>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309249388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_36pt Title Only">
    <p:spTree>
      <p:nvGrpSpPr>
        <p:cNvPr id="1" name=""/>
        <p:cNvGrpSpPr/>
        <p:nvPr/>
      </p:nvGrpSpPr>
      <p:grpSpPr>
        <a:xfrm>
          <a:off x="0" y="0"/>
          <a:ext cx="0" cy="0"/>
          <a:chOff x="0" y="0"/>
          <a:chExt cx="0" cy="0"/>
        </a:xfrm>
      </p:grpSpPr>
      <p:grpSp>
        <p:nvGrpSpPr>
          <p:cNvPr id="189" name="Group 188"/>
          <p:cNvGrpSpPr/>
          <p:nvPr userDrawn="1"/>
        </p:nvGrpSpPr>
        <p:grpSpPr>
          <a:xfrm>
            <a:off x="3" y="5009408"/>
            <a:ext cx="12436475" cy="1993503"/>
            <a:chOff x="2" y="5009406"/>
            <a:chExt cx="12436475" cy="1993503"/>
          </a:xfrm>
        </p:grpSpPr>
        <p:grpSp>
          <p:nvGrpSpPr>
            <p:cNvPr id="190" name="Group 189"/>
            <p:cNvGrpSpPr/>
            <p:nvPr/>
          </p:nvGrpSpPr>
          <p:grpSpPr>
            <a:xfrm>
              <a:off x="2" y="6113677"/>
              <a:ext cx="5378058" cy="889232"/>
              <a:chOff x="-104693" y="5602741"/>
              <a:chExt cx="8468154" cy="1400162"/>
            </a:xfrm>
          </p:grpSpPr>
          <p:sp>
            <p:nvSpPr>
              <p:cNvPr id="352" name="Rectangle 5"/>
              <p:cNvSpPr>
                <a:spLocks noChangeArrowheads="1"/>
              </p:cNvSpPr>
              <p:nvPr/>
            </p:nvSpPr>
            <p:spPr bwMode="auto">
              <a:xfrm flipH="1">
                <a:off x="3418306" y="5868865"/>
                <a:ext cx="550363" cy="53060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3" name="Rectangle 6"/>
              <p:cNvSpPr>
                <a:spLocks noChangeArrowheads="1"/>
              </p:cNvSpPr>
              <p:nvPr/>
            </p:nvSpPr>
            <p:spPr bwMode="auto">
              <a:xfrm flipH="1">
                <a:off x="3506923" y="5706386"/>
                <a:ext cx="238802" cy="603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4" name="Rectangle 7"/>
              <p:cNvSpPr>
                <a:spLocks noChangeArrowheads="1"/>
              </p:cNvSpPr>
              <p:nvPr/>
            </p:nvSpPr>
            <p:spPr bwMode="auto">
              <a:xfrm flipH="1">
                <a:off x="5208386" y="6427624"/>
                <a:ext cx="352605" cy="283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5" name="Rectangle 8"/>
              <p:cNvSpPr>
                <a:spLocks noChangeArrowheads="1"/>
              </p:cNvSpPr>
              <p:nvPr/>
            </p:nvSpPr>
            <p:spPr bwMode="auto">
              <a:xfrm flipH="1">
                <a:off x="5067531" y="6297029"/>
                <a:ext cx="349807" cy="4141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6" name="Rectangle 9"/>
              <p:cNvSpPr>
                <a:spLocks noChangeArrowheads="1"/>
              </p:cNvSpPr>
              <p:nvPr/>
            </p:nvSpPr>
            <p:spPr bwMode="auto">
              <a:xfrm flipH="1">
                <a:off x="1592780" y="6089908"/>
                <a:ext cx="546632" cy="70311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7" name="Rectangle 10"/>
              <p:cNvSpPr>
                <a:spLocks noChangeArrowheads="1"/>
              </p:cNvSpPr>
              <p:nvPr/>
            </p:nvSpPr>
            <p:spPr bwMode="auto">
              <a:xfrm flipH="1">
                <a:off x="1370769" y="5665510"/>
                <a:ext cx="546632" cy="1127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8" name="Freeform 11"/>
              <p:cNvSpPr>
                <a:spLocks/>
              </p:cNvSpPr>
              <p:nvPr/>
            </p:nvSpPr>
            <p:spPr bwMode="auto">
              <a:xfrm flipH="1">
                <a:off x="4392841" y="6489852"/>
                <a:ext cx="3970620" cy="51025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9" name="Freeform 18"/>
              <p:cNvSpPr>
                <a:spLocks/>
              </p:cNvSpPr>
              <p:nvPr/>
            </p:nvSpPr>
            <p:spPr bwMode="auto">
              <a:xfrm flipH="1">
                <a:off x="984" y="6027174"/>
                <a:ext cx="6091253" cy="97293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0" name="Freeform 29"/>
              <p:cNvSpPr>
                <a:spLocks/>
              </p:cNvSpPr>
              <p:nvPr/>
            </p:nvSpPr>
            <p:spPr bwMode="auto">
              <a:xfrm flipH="1">
                <a:off x="432647" y="6571940"/>
                <a:ext cx="3340253"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1" name="AutoShape 3"/>
              <p:cNvSpPr>
                <a:spLocks noChangeAspect="1" noChangeArrowheads="1" noTextEdit="1"/>
              </p:cNvSpPr>
              <p:nvPr/>
            </p:nvSpPr>
            <p:spPr bwMode="auto">
              <a:xfrm flipH="1">
                <a:off x="984" y="5602741"/>
                <a:ext cx="4298430"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362" name="Group 361"/>
              <p:cNvGrpSpPr/>
              <p:nvPr/>
            </p:nvGrpSpPr>
            <p:grpSpPr>
              <a:xfrm flipH="1">
                <a:off x="4803495" y="6266909"/>
                <a:ext cx="188333" cy="365034"/>
                <a:chOff x="6229350" y="5232400"/>
                <a:chExt cx="539750" cy="1046162"/>
              </a:xfrm>
            </p:grpSpPr>
            <p:sp>
              <p:nvSpPr>
                <p:cNvPr id="36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363" name="Freeform 17"/>
              <p:cNvSpPr>
                <a:spLocks/>
              </p:cNvSpPr>
              <p:nvPr/>
            </p:nvSpPr>
            <p:spPr bwMode="auto">
              <a:xfrm flipH="1">
                <a:off x="-104693" y="6414293"/>
                <a:ext cx="1545276" cy="58581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4" name="Freeform 55"/>
              <p:cNvSpPr>
                <a:spLocks/>
              </p:cNvSpPr>
              <p:nvPr/>
            </p:nvSpPr>
            <p:spPr bwMode="auto">
              <a:xfrm flipH="1">
                <a:off x="3919230" y="6815407"/>
                <a:ext cx="549431" cy="118468"/>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365" name="Group 364"/>
              <p:cNvGrpSpPr/>
              <p:nvPr/>
            </p:nvGrpSpPr>
            <p:grpSpPr>
              <a:xfrm flipH="1">
                <a:off x="4579666" y="6201145"/>
                <a:ext cx="188333" cy="365034"/>
                <a:chOff x="6229350" y="5232400"/>
                <a:chExt cx="539750" cy="1046162"/>
              </a:xfrm>
            </p:grpSpPr>
            <p:sp>
              <p:nvSpPr>
                <p:cNvPr id="3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191" name="Group 190"/>
            <p:cNvGrpSpPr/>
            <p:nvPr/>
          </p:nvGrpSpPr>
          <p:grpSpPr>
            <a:xfrm>
              <a:off x="5464018" y="5915044"/>
              <a:ext cx="1197530" cy="618591"/>
              <a:chOff x="5464016" y="5710906"/>
              <a:chExt cx="1197530" cy="618591"/>
            </a:xfrm>
          </p:grpSpPr>
          <p:sp>
            <p:nvSpPr>
              <p:cNvPr id="345" name="Freeform 12"/>
              <p:cNvSpPr>
                <a:spLocks/>
              </p:cNvSpPr>
              <p:nvPr/>
            </p:nvSpPr>
            <p:spPr bwMode="auto">
              <a:xfrm>
                <a:off x="6020748" y="5991651"/>
                <a:ext cx="137994" cy="131650"/>
              </a:xfrm>
              <a:custGeom>
                <a:avLst/>
                <a:gdLst>
                  <a:gd name="T0" fmla="*/ 23 w 87"/>
                  <a:gd name="T1" fmla="*/ 83 h 83"/>
                  <a:gd name="T2" fmla="*/ 87 w 87"/>
                  <a:gd name="T3" fmla="*/ 25 h 83"/>
                  <a:gd name="T4" fmla="*/ 64 w 87"/>
                  <a:gd name="T5" fmla="*/ 0 h 83"/>
                  <a:gd name="T6" fmla="*/ 0 w 87"/>
                  <a:gd name="T7" fmla="*/ 58 h 83"/>
                  <a:gd name="T8" fmla="*/ 23 w 87"/>
                  <a:gd name="T9" fmla="*/ 83 h 83"/>
                </a:gdLst>
                <a:ahLst/>
                <a:cxnLst>
                  <a:cxn ang="0">
                    <a:pos x="T0" y="T1"/>
                  </a:cxn>
                  <a:cxn ang="0">
                    <a:pos x="T2" y="T3"/>
                  </a:cxn>
                  <a:cxn ang="0">
                    <a:pos x="T4" y="T5"/>
                  </a:cxn>
                  <a:cxn ang="0">
                    <a:pos x="T6" y="T7"/>
                  </a:cxn>
                  <a:cxn ang="0">
                    <a:pos x="T8" y="T9"/>
                  </a:cxn>
                </a:cxnLst>
                <a:rect l="0" t="0" r="r" b="b"/>
                <a:pathLst>
                  <a:path w="87" h="83">
                    <a:moveTo>
                      <a:pt x="23" y="83"/>
                    </a:moveTo>
                    <a:lnTo>
                      <a:pt x="87" y="25"/>
                    </a:lnTo>
                    <a:lnTo>
                      <a:pt x="64" y="0"/>
                    </a:lnTo>
                    <a:lnTo>
                      <a:pt x="0" y="58"/>
                    </a:lnTo>
                    <a:lnTo>
                      <a:pt x="2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6" name="Rectangle 16"/>
              <p:cNvSpPr>
                <a:spLocks noChangeArrowheads="1"/>
              </p:cNvSpPr>
              <p:nvPr/>
            </p:nvSpPr>
            <p:spPr bwMode="auto">
              <a:xfrm>
                <a:off x="5597251"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7" name="Rectangle 18"/>
              <p:cNvSpPr>
                <a:spLocks noChangeArrowheads="1"/>
              </p:cNvSpPr>
              <p:nvPr/>
            </p:nvSpPr>
            <p:spPr bwMode="auto">
              <a:xfrm>
                <a:off x="5464016"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8" name="Rectangle 24"/>
              <p:cNvSpPr>
                <a:spLocks noChangeArrowheads="1"/>
              </p:cNvSpPr>
              <p:nvPr/>
            </p:nvSpPr>
            <p:spPr bwMode="auto">
              <a:xfrm>
                <a:off x="6434729"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9" name="Rectangle 32"/>
              <p:cNvSpPr>
                <a:spLocks noChangeArrowheads="1"/>
              </p:cNvSpPr>
              <p:nvPr/>
            </p:nvSpPr>
            <p:spPr bwMode="auto">
              <a:xfrm>
                <a:off x="6150811" y="5710906"/>
                <a:ext cx="483771" cy="32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0" name="Freeform 34"/>
              <p:cNvSpPr>
                <a:spLocks/>
              </p:cNvSpPr>
              <p:nvPr/>
            </p:nvSpPr>
            <p:spPr bwMode="auto">
              <a:xfrm>
                <a:off x="6634581" y="6061441"/>
                <a:ext cx="26965" cy="53929"/>
              </a:xfrm>
              <a:custGeom>
                <a:avLst/>
                <a:gdLst>
                  <a:gd name="T0" fmla="*/ 36 w 36"/>
                  <a:gd name="T1" fmla="*/ 0 h 72"/>
                  <a:gd name="T2" fmla="*/ 36 w 36"/>
                  <a:gd name="T3" fmla="*/ 36 h 72"/>
                  <a:gd name="T4" fmla="*/ 0 w 36"/>
                  <a:gd name="T5" fmla="*/ 72 h 72"/>
                  <a:gd name="T6" fmla="*/ 0 w 36"/>
                  <a:gd name="T7" fmla="*/ 72 h 72"/>
                  <a:gd name="T8" fmla="*/ 36 w 36"/>
                  <a:gd name="T9" fmla="*/ 36 h 72"/>
                  <a:gd name="T10" fmla="*/ 36 w 36"/>
                  <a:gd name="T11" fmla="*/ 0 h 72"/>
                  <a:gd name="T12" fmla="*/ 36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0"/>
                    </a:moveTo>
                    <a:cubicBezTo>
                      <a:pt x="36" y="36"/>
                      <a:pt x="36" y="36"/>
                      <a:pt x="36" y="36"/>
                    </a:cubicBezTo>
                    <a:cubicBezTo>
                      <a:pt x="36" y="72"/>
                      <a:pt x="0" y="72"/>
                      <a:pt x="0" y="72"/>
                    </a:cubicBezTo>
                    <a:cubicBezTo>
                      <a:pt x="0" y="72"/>
                      <a:pt x="0" y="72"/>
                      <a:pt x="0" y="72"/>
                    </a:cubicBezTo>
                    <a:cubicBezTo>
                      <a:pt x="0" y="72"/>
                      <a:pt x="36" y="72"/>
                      <a:pt x="36" y="36"/>
                    </a:cubicBezTo>
                    <a:cubicBezTo>
                      <a:pt x="36" y="0"/>
                      <a:pt x="36" y="0"/>
                      <a:pt x="36" y="0"/>
                    </a:cubicBezTo>
                    <a:cubicBezTo>
                      <a:pt x="36" y="0"/>
                      <a:pt x="36" y="0"/>
                      <a:pt x="36"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1" name="Freeform 37"/>
              <p:cNvSpPr>
                <a:spLocks/>
              </p:cNvSpPr>
              <p:nvPr/>
            </p:nvSpPr>
            <p:spPr bwMode="auto">
              <a:xfrm>
                <a:off x="6150811" y="5753731"/>
                <a:ext cx="466323" cy="280746"/>
              </a:xfrm>
              <a:custGeom>
                <a:avLst/>
                <a:gdLst>
                  <a:gd name="T0" fmla="*/ 0 w 294"/>
                  <a:gd name="T1" fmla="*/ 0 h 177"/>
                  <a:gd name="T2" fmla="*/ 0 w 294"/>
                  <a:gd name="T3" fmla="*/ 177 h 177"/>
                  <a:gd name="T4" fmla="*/ 294 w 294"/>
                  <a:gd name="T5" fmla="*/ 177 h 177"/>
                  <a:gd name="T6" fmla="*/ 0 w 294"/>
                  <a:gd name="T7" fmla="*/ 0 h 177"/>
                </a:gdLst>
                <a:ahLst/>
                <a:cxnLst>
                  <a:cxn ang="0">
                    <a:pos x="T0" y="T1"/>
                  </a:cxn>
                  <a:cxn ang="0">
                    <a:pos x="T2" y="T3"/>
                  </a:cxn>
                  <a:cxn ang="0">
                    <a:pos x="T4" y="T5"/>
                  </a:cxn>
                  <a:cxn ang="0">
                    <a:pos x="T6" y="T7"/>
                  </a:cxn>
                </a:cxnLst>
                <a:rect l="0" t="0" r="r" b="b"/>
                <a:pathLst>
                  <a:path w="294" h="177">
                    <a:moveTo>
                      <a:pt x="0" y="0"/>
                    </a:moveTo>
                    <a:lnTo>
                      <a:pt x="0" y="177"/>
                    </a:lnTo>
                    <a:lnTo>
                      <a:pt x="294"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92" name="Group 256"/>
            <p:cNvGrpSpPr>
              <a:grpSpLocks noChangeAspect="1"/>
            </p:cNvGrpSpPr>
            <p:nvPr/>
          </p:nvGrpSpPr>
          <p:grpSpPr bwMode="auto">
            <a:xfrm>
              <a:off x="12038882" y="5009406"/>
              <a:ext cx="397594" cy="1555750"/>
              <a:chOff x="6440" y="2795"/>
              <a:chExt cx="333" cy="1303"/>
            </a:xfrm>
          </p:grpSpPr>
          <p:sp>
            <p:nvSpPr>
              <p:cNvPr id="294" name="AutoShape 255"/>
              <p:cNvSpPr>
                <a:spLocks noChangeAspect="1" noChangeArrowheads="1" noTextEdit="1"/>
              </p:cNvSpPr>
              <p:nvPr/>
            </p:nvSpPr>
            <p:spPr bwMode="auto">
              <a:xfrm>
                <a:off x="6440" y="2795"/>
                <a:ext cx="333" cy="1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5" name="Rectangle 257"/>
              <p:cNvSpPr>
                <a:spLocks noChangeArrowheads="1"/>
              </p:cNvSpPr>
              <p:nvPr/>
            </p:nvSpPr>
            <p:spPr bwMode="auto">
              <a:xfrm>
                <a:off x="6438" y="3493"/>
                <a:ext cx="137" cy="60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6" name="Rectangle 258"/>
              <p:cNvSpPr>
                <a:spLocks noChangeArrowheads="1"/>
              </p:cNvSpPr>
              <p:nvPr/>
            </p:nvSpPr>
            <p:spPr bwMode="auto">
              <a:xfrm>
                <a:off x="6505" y="3144"/>
                <a:ext cx="270" cy="95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7" name="Freeform 259"/>
              <p:cNvSpPr>
                <a:spLocks/>
              </p:cNvSpPr>
              <p:nvPr/>
            </p:nvSpPr>
            <p:spPr bwMode="auto">
              <a:xfrm>
                <a:off x="6505" y="2843"/>
                <a:ext cx="270" cy="275"/>
              </a:xfrm>
              <a:custGeom>
                <a:avLst/>
                <a:gdLst>
                  <a:gd name="T0" fmla="*/ 150 w 270"/>
                  <a:gd name="T1" fmla="*/ 0 h 275"/>
                  <a:gd name="T2" fmla="*/ 121 w 270"/>
                  <a:gd name="T3" fmla="*/ 0 h 275"/>
                  <a:gd name="T4" fmla="*/ 0 w 270"/>
                  <a:gd name="T5" fmla="*/ 275 h 275"/>
                  <a:gd name="T6" fmla="*/ 270 w 270"/>
                  <a:gd name="T7" fmla="*/ 275 h 275"/>
                  <a:gd name="T8" fmla="*/ 150 w 270"/>
                  <a:gd name="T9" fmla="*/ 0 h 275"/>
                </a:gdLst>
                <a:ahLst/>
                <a:cxnLst>
                  <a:cxn ang="0">
                    <a:pos x="T0" y="T1"/>
                  </a:cxn>
                  <a:cxn ang="0">
                    <a:pos x="T2" y="T3"/>
                  </a:cxn>
                  <a:cxn ang="0">
                    <a:pos x="T4" y="T5"/>
                  </a:cxn>
                  <a:cxn ang="0">
                    <a:pos x="T6" y="T7"/>
                  </a:cxn>
                  <a:cxn ang="0">
                    <a:pos x="T8" y="T9"/>
                  </a:cxn>
                </a:cxnLst>
                <a:rect l="0" t="0" r="r" b="b"/>
                <a:pathLst>
                  <a:path w="270" h="275">
                    <a:moveTo>
                      <a:pt x="150" y="0"/>
                    </a:moveTo>
                    <a:lnTo>
                      <a:pt x="121" y="0"/>
                    </a:lnTo>
                    <a:lnTo>
                      <a:pt x="0" y="275"/>
                    </a:lnTo>
                    <a:lnTo>
                      <a:pt x="270" y="275"/>
                    </a:lnTo>
                    <a:lnTo>
                      <a:pt x="15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8" name="Oval 260"/>
              <p:cNvSpPr>
                <a:spLocks noChangeArrowheads="1"/>
              </p:cNvSpPr>
              <p:nvPr/>
            </p:nvSpPr>
            <p:spPr bwMode="auto">
              <a:xfrm>
                <a:off x="6621" y="2795"/>
                <a:ext cx="36" cy="36"/>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9" name="Rectangle 261"/>
              <p:cNvSpPr>
                <a:spLocks noChangeArrowheads="1"/>
              </p:cNvSpPr>
              <p:nvPr/>
            </p:nvSpPr>
            <p:spPr bwMode="auto">
              <a:xfrm>
                <a:off x="6541" y="3177"/>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0" name="Rectangle 262"/>
              <p:cNvSpPr>
                <a:spLocks noChangeArrowheads="1"/>
              </p:cNvSpPr>
              <p:nvPr/>
            </p:nvSpPr>
            <p:spPr bwMode="auto">
              <a:xfrm>
                <a:off x="6597" y="3177"/>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1" name="Rectangle 263"/>
              <p:cNvSpPr>
                <a:spLocks noChangeArrowheads="1"/>
              </p:cNvSpPr>
              <p:nvPr/>
            </p:nvSpPr>
            <p:spPr bwMode="auto">
              <a:xfrm>
                <a:off x="6655" y="3177"/>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2" name="Rectangle 264"/>
              <p:cNvSpPr>
                <a:spLocks noChangeArrowheads="1"/>
              </p:cNvSpPr>
              <p:nvPr/>
            </p:nvSpPr>
            <p:spPr bwMode="auto">
              <a:xfrm>
                <a:off x="6713" y="3177"/>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3" name="Rectangle 265"/>
              <p:cNvSpPr>
                <a:spLocks noChangeArrowheads="1"/>
              </p:cNvSpPr>
              <p:nvPr/>
            </p:nvSpPr>
            <p:spPr bwMode="auto">
              <a:xfrm>
                <a:off x="6541" y="3265"/>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4" name="Rectangle 266"/>
              <p:cNvSpPr>
                <a:spLocks noChangeArrowheads="1"/>
              </p:cNvSpPr>
              <p:nvPr/>
            </p:nvSpPr>
            <p:spPr bwMode="auto">
              <a:xfrm>
                <a:off x="6597" y="3265"/>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5" name="Rectangle 267"/>
              <p:cNvSpPr>
                <a:spLocks noChangeArrowheads="1"/>
              </p:cNvSpPr>
              <p:nvPr/>
            </p:nvSpPr>
            <p:spPr bwMode="auto">
              <a:xfrm>
                <a:off x="6655" y="3265"/>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6" name="Rectangle 268"/>
              <p:cNvSpPr>
                <a:spLocks noChangeArrowheads="1"/>
              </p:cNvSpPr>
              <p:nvPr/>
            </p:nvSpPr>
            <p:spPr bwMode="auto">
              <a:xfrm>
                <a:off x="6713" y="3265"/>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7" name="Rectangle 269"/>
              <p:cNvSpPr>
                <a:spLocks noChangeArrowheads="1"/>
              </p:cNvSpPr>
              <p:nvPr/>
            </p:nvSpPr>
            <p:spPr bwMode="auto">
              <a:xfrm>
                <a:off x="6541" y="3355"/>
                <a:ext cx="27"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8" name="Rectangle 270"/>
              <p:cNvSpPr>
                <a:spLocks noChangeArrowheads="1"/>
              </p:cNvSpPr>
              <p:nvPr/>
            </p:nvSpPr>
            <p:spPr bwMode="auto">
              <a:xfrm>
                <a:off x="6597" y="3355"/>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9" name="Rectangle 271"/>
              <p:cNvSpPr>
                <a:spLocks noChangeArrowheads="1"/>
              </p:cNvSpPr>
              <p:nvPr/>
            </p:nvSpPr>
            <p:spPr bwMode="auto">
              <a:xfrm>
                <a:off x="6655" y="3355"/>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0" name="Rectangle 272"/>
              <p:cNvSpPr>
                <a:spLocks noChangeArrowheads="1"/>
              </p:cNvSpPr>
              <p:nvPr/>
            </p:nvSpPr>
            <p:spPr bwMode="auto">
              <a:xfrm>
                <a:off x="6713" y="3355"/>
                <a:ext cx="26"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1" name="Rectangle 273"/>
              <p:cNvSpPr>
                <a:spLocks noChangeArrowheads="1"/>
              </p:cNvSpPr>
              <p:nvPr/>
            </p:nvSpPr>
            <p:spPr bwMode="auto">
              <a:xfrm>
                <a:off x="6541" y="3445"/>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2" name="Rectangle 274"/>
              <p:cNvSpPr>
                <a:spLocks noChangeArrowheads="1"/>
              </p:cNvSpPr>
              <p:nvPr/>
            </p:nvSpPr>
            <p:spPr bwMode="auto">
              <a:xfrm>
                <a:off x="6597" y="3445"/>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3" name="Rectangle 275"/>
              <p:cNvSpPr>
                <a:spLocks noChangeArrowheads="1"/>
              </p:cNvSpPr>
              <p:nvPr/>
            </p:nvSpPr>
            <p:spPr bwMode="auto">
              <a:xfrm>
                <a:off x="6655" y="3445"/>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4" name="Rectangle 276"/>
              <p:cNvSpPr>
                <a:spLocks noChangeArrowheads="1"/>
              </p:cNvSpPr>
              <p:nvPr/>
            </p:nvSpPr>
            <p:spPr bwMode="auto">
              <a:xfrm>
                <a:off x="6713" y="3445"/>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5" name="Rectangle 277"/>
              <p:cNvSpPr>
                <a:spLocks noChangeArrowheads="1"/>
              </p:cNvSpPr>
              <p:nvPr/>
            </p:nvSpPr>
            <p:spPr bwMode="auto">
              <a:xfrm>
                <a:off x="6541" y="3533"/>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6" name="Rectangle 278"/>
              <p:cNvSpPr>
                <a:spLocks noChangeArrowheads="1"/>
              </p:cNvSpPr>
              <p:nvPr/>
            </p:nvSpPr>
            <p:spPr bwMode="auto">
              <a:xfrm>
                <a:off x="6597" y="3533"/>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7" name="Rectangle 279"/>
              <p:cNvSpPr>
                <a:spLocks noChangeArrowheads="1"/>
              </p:cNvSpPr>
              <p:nvPr/>
            </p:nvSpPr>
            <p:spPr bwMode="auto">
              <a:xfrm>
                <a:off x="6655" y="3533"/>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8" name="Rectangle 280"/>
              <p:cNvSpPr>
                <a:spLocks noChangeArrowheads="1"/>
              </p:cNvSpPr>
              <p:nvPr/>
            </p:nvSpPr>
            <p:spPr bwMode="auto">
              <a:xfrm>
                <a:off x="6713" y="3533"/>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9" name="Rectangle 281"/>
              <p:cNvSpPr>
                <a:spLocks noChangeArrowheads="1"/>
              </p:cNvSpPr>
              <p:nvPr/>
            </p:nvSpPr>
            <p:spPr bwMode="auto">
              <a:xfrm>
                <a:off x="6541" y="3623"/>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0" name="Rectangle 282"/>
              <p:cNvSpPr>
                <a:spLocks noChangeArrowheads="1"/>
              </p:cNvSpPr>
              <p:nvPr/>
            </p:nvSpPr>
            <p:spPr bwMode="auto">
              <a:xfrm>
                <a:off x="6597" y="3623"/>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1" name="Rectangle 283"/>
              <p:cNvSpPr>
                <a:spLocks noChangeArrowheads="1"/>
              </p:cNvSpPr>
              <p:nvPr/>
            </p:nvSpPr>
            <p:spPr bwMode="auto">
              <a:xfrm>
                <a:off x="6655" y="3623"/>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2" name="Rectangle 284"/>
              <p:cNvSpPr>
                <a:spLocks noChangeArrowheads="1"/>
              </p:cNvSpPr>
              <p:nvPr/>
            </p:nvSpPr>
            <p:spPr bwMode="auto">
              <a:xfrm>
                <a:off x="6713" y="3623"/>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3" name="Rectangle 285"/>
              <p:cNvSpPr>
                <a:spLocks noChangeArrowheads="1"/>
              </p:cNvSpPr>
              <p:nvPr/>
            </p:nvSpPr>
            <p:spPr bwMode="auto">
              <a:xfrm>
                <a:off x="6541" y="3714"/>
                <a:ext cx="27"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4" name="Rectangle 286"/>
              <p:cNvSpPr>
                <a:spLocks noChangeArrowheads="1"/>
              </p:cNvSpPr>
              <p:nvPr/>
            </p:nvSpPr>
            <p:spPr bwMode="auto">
              <a:xfrm>
                <a:off x="6597" y="3714"/>
                <a:ext cx="29"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5" name="Rectangle 287"/>
              <p:cNvSpPr>
                <a:spLocks noChangeArrowheads="1"/>
              </p:cNvSpPr>
              <p:nvPr/>
            </p:nvSpPr>
            <p:spPr bwMode="auto">
              <a:xfrm>
                <a:off x="6655" y="3714"/>
                <a:ext cx="29"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6" name="Rectangle 288"/>
              <p:cNvSpPr>
                <a:spLocks noChangeArrowheads="1"/>
              </p:cNvSpPr>
              <p:nvPr/>
            </p:nvSpPr>
            <p:spPr bwMode="auto">
              <a:xfrm>
                <a:off x="6713" y="3714"/>
                <a:ext cx="26"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7" name="Rectangle 289"/>
              <p:cNvSpPr>
                <a:spLocks noChangeArrowheads="1"/>
              </p:cNvSpPr>
              <p:nvPr/>
            </p:nvSpPr>
            <p:spPr bwMode="auto">
              <a:xfrm>
                <a:off x="6541" y="3801"/>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8" name="Rectangle 290"/>
              <p:cNvSpPr>
                <a:spLocks noChangeArrowheads="1"/>
              </p:cNvSpPr>
              <p:nvPr/>
            </p:nvSpPr>
            <p:spPr bwMode="auto">
              <a:xfrm>
                <a:off x="6597" y="3801"/>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9" name="Rectangle 291"/>
              <p:cNvSpPr>
                <a:spLocks noChangeArrowheads="1"/>
              </p:cNvSpPr>
              <p:nvPr/>
            </p:nvSpPr>
            <p:spPr bwMode="auto">
              <a:xfrm>
                <a:off x="6655" y="3801"/>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0" name="Rectangle 292"/>
              <p:cNvSpPr>
                <a:spLocks noChangeArrowheads="1"/>
              </p:cNvSpPr>
              <p:nvPr/>
            </p:nvSpPr>
            <p:spPr bwMode="auto">
              <a:xfrm>
                <a:off x="6713" y="3801"/>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1" name="Rectangle 293"/>
              <p:cNvSpPr>
                <a:spLocks noChangeArrowheads="1"/>
              </p:cNvSpPr>
              <p:nvPr/>
            </p:nvSpPr>
            <p:spPr bwMode="auto">
              <a:xfrm>
                <a:off x="6541" y="3892"/>
                <a:ext cx="27"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2" name="Rectangle 294"/>
              <p:cNvSpPr>
                <a:spLocks noChangeArrowheads="1"/>
              </p:cNvSpPr>
              <p:nvPr/>
            </p:nvSpPr>
            <p:spPr bwMode="auto">
              <a:xfrm>
                <a:off x="6597" y="3892"/>
                <a:ext cx="29"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3" name="Rectangle 295"/>
              <p:cNvSpPr>
                <a:spLocks noChangeArrowheads="1"/>
              </p:cNvSpPr>
              <p:nvPr/>
            </p:nvSpPr>
            <p:spPr bwMode="auto">
              <a:xfrm>
                <a:off x="6655" y="3892"/>
                <a:ext cx="29"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4" name="Rectangle 296"/>
              <p:cNvSpPr>
                <a:spLocks noChangeArrowheads="1"/>
              </p:cNvSpPr>
              <p:nvPr/>
            </p:nvSpPr>
            <p:spPr bwMode="auto">
              <a:xfrm>
                <a:off x="6713" y="3892"/>
                <a:ext cx="26"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5" name="Rectangle 297"/>
              <p:cNvSpPr>
                <a:spLocks noChangeArrowheads="1"/>
              </p:cNvSpPr>
              <p:nvPr/>
            </p:nvSpPr>
            <p:spPr bwMode="auto">
              <a:xfrm>
                <a:off x="6541" y="3979"/>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6" name="Rectangle 298"/>
              <p:cNvSpPr>
                <a:spLocks noChangeArrowheads="1"/>
              </p:cNvSpPr>
              <p:nvPr/>
            </p:nvSpPr>
            <p:spPr bwMode="auto">
              <a:xfrm>
                <a:off x="6597" y="3979"/>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7" name="Rectangle 299"/>
              <p:cNvSpPr>
                <a:spLocks noChangeArrowheads="1"/>
              </p:cNvSpPr>
              <p:nvPr/>
            </p:nvSpPr>
            <p:spPr bwMode="auto">
              <a:xfrm>
                <a:off x="6655" y="3979"/>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8" name="Rectangle 300"/>
              <p:cNvSpPr>
                <a:spLocks noChangeArrowheads="1"/>
              </p:cNvSpPr>
              <p:nvPr/>
            </p:nvSpPr>
            <p:spPr bwMode="auto">
              <a:xfrm>
                <a:off x="6713" y="3979"/>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9" name="Freeform 301"/>
              <p:cNvSpPr>
                <a:spLocks/>
              </p:cNvSpPr>
              <p:nvPr/>
            </p:nvSpPr>
            <p:spPr bwMode="auto">
              <a:xfrm>
                <a:off x="6631" y="3040"/>
                <a:ext cx="17" cy="37"/>
              </a:xfrm>
              <a:custGeom>
                <a:avLst/>
                <a:gdLst>
                  <a:gd name="T0" fmla="*/ 7 w 7"/>
                  <a:gd name="T1" fmla="*/ 16 h 16"/>
                  <a:gd name="T2" fmla="*/ 7 w 7"/>
                  <a:gd name="T3" fmla="*/ 4 h 16"/>
                  <a:gd name="T4" fmla="*/ 4 w 7"/>
                  <a:gd name="T5" fmla="*/ 0 h 16"/>
                  <a:gd name="T6" fmla="*/ 0 w 7"/>
                  <a:gd name="T7" fmla="*/ 4 h 16"/>
                  <a:gd name="T8" fmla="*/ 0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cubicBezTo>
                      <a:pt x="7" y="4"/>
                      <a:pt x="7" y="4"/>
                      <a:pt x="7" y="4"/>
                    </a:cubicBezTo>
                    <a:cubicBezTo>
                      <a:pt x="7" y="2"/>
                      <a:pt x="6" y="0"/>
                      <a:pt x="4" y="0"/>
                    </a:cubicBezTo>
                    <a:cubicBezTo>
                      <a:pt x="1" y="0"/>
                      <a:pt x="0" y="2"/>
                      <a:pt x="0" y="4"/>
                    </a:cubicBezTo>
                    <a:cubicBezTo>
                      <a:pt x="0" y="16"/>
                      <a:pt x="0" y="16"/>
                      <a:pt x="0" y="16"/>
                    </a:cubicBezTo>
                    <a:lnTo>
                      <a:pt x="7" y="1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0" name="Freeform 302"/>
              <p:cNvSpPr>
                <a:spLocks/>
              </p:cNvSpPr>
              <p:nvPr/>
            </p:nvSpPr>
            <p:spPr bwMode="auto">
              <a:xfrm>
                <a:off x="6631" y="2909"/>
                <a:ext cx="17" cy="38"/>
              </a:xfrm>
              <a:custGeom>
                <a:avLst/>
                <a:gdLst>
                  <a:gd name="T0" fmla="*/ 7 w 7"/>
                  <a:gd name="T1" fmla="*/ 16 h 16"/>
                  <a:gd name="T2" fmla="*/ 7 w 7"/>
                  <a:gd name="T3" fmla="*/ 4 h 16"/>
                  <a:gd name="T4" fmla="*/ 4 w 7"/>
                  <a:gd name="T5" fmla="*/ 0 h 16"/>
                  <a:gd name="T6" fmla="*/ 0 w 7"/>
                  <a:gd name="T7" fmla="*/ 4 h 16"/>
                  <a:gd name="T8" fmla="*/ 0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cubicBezTo>
                      <a:pt x="7" y="4"/>
                      <a:pt x="7" y="4"/>
                      <a:pt x="7" y="4"/>
                    </a:cubicBezTo>
                    <a:cubicBezTo>
                      <a:pt x="7" y="1"/>
                      <a:pt x="6" y="0"/>
                      <a:pt x="4" y="0"/>
                    </a:cubicBezTo>
                    <a:cubicBezTo>
                      <a:pt x="1" y="0"/>
                      <a:pt x="0" y="1"/>
                      <a:pt x="0" y="4"/>
                    </a:cubicBezTo>
                    <a:cubicBezTo>
                      <a:pt x="0" y="16"/>
                      <a:pt x="0" y="16"/>
                      <a:pt x="0" y="16"/>
                    </a:cubicBezTo>
                    <a:lnTo>
                      <a:pt x="7" y="1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1" name="Freeform 303"/>
              <p:cNvSpPr>
                <a:spLocks/>
              </p:cNvSpPr>
              <p:nvPr/>
            </p:nvSpPr>
            <p:spPr bwMode="auto">
              <a:xfrm>
                <a:off x="6573" y="3040"/>
                <a:ext cx="19" cy="37"/>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2" name="Freeform 304"/>
              <p:cNvSpPr>
                <a:spLocks/>
              </p:cNvSpPr>
              <p:nvPr/>
            </p:nvSpPr>
            <p:spPr bwMode="auto">
              <a:xfrm>
                <a:off x="6686" y="3040"/>
                <a:ext cx="19" cy="37"/>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3" name="Freeform 305"/>
              <p:cNvSpPr>
                <a:spLocks/>
              </p:cNvSpPr>
              <p:nvPr/>
            </p:nvSpPr>
            <p:spPr bwMode="auto">
              <a:xfrm>
                <a:off x="6660" y="2975"/>
                <a:ext cx="19" cy="38"/>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4" name="Freeform 306"/>
              <p:cNvSpPr>
                <a:spLocks/>
              </p:cNvSpPr>
              <p:nvPr/>
            </p:nvSpPr>
            <p:spPr bwMode="auto">
              <a:xfrm>
                <a:off x="6602" y="2975"/>
                <a:ext cx="19" cy="38"/>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93" name="AutoShape 199"/>
            <p:cNvSpPr>
              <a:spLocks noChangeAspect="1" noChangeArrowheads="1" noTextEdit="1"/>
            </p:cNvSpPr>
            <p:nvPr/>
          </p:nvSpPr>
          <p:spPr bwMode="auto">
            <a:xfrm>
              <a:off x="11556427" y="5317381"/>
              <a:ext cx="415925"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4" name="Rectangle 201"/>
            <p:cNvSpPr>
              <a:spLocks noChangeArrowheads="1"/>
            </p:cNvSpPr>
            <p:nvPr/>
          </p:nvSpPr>
          <p:spPr bwMode="auto">
            <a:xfrm>
              <a:off x="11556427" y="5317381"/>
              <a:ext cx="420688" cy="12509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5" name="Rectangle 202"/>
            <p:cNvSpPr>
              <a:spLocks noChangeArrowheads="1"/>
            </p:cNvSpPr>
            <p:nvPr/>
          </p:nvSpPr>
          <p:spPr bwMode="auto">
            <a:xfrm>
              <a:off x="11883452" y="537770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6" name="Rectangle 203"/>
            <p:cNvSpPr>
              <a:spLocks noChangeArrowheads="1"/>
            </p:cNvSpPr>
            <p:nvPr/>
          </p:nvSpPr>
          <p:spPr bwMode="auto">
            <a:xfrm>
              <a:off x="11796140" y="5377706"/>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7" name="Rectangle 204"/>
            <p:cNvSpPr>
              <a:spLocks noChangeArrowheads="1"/>
            </p:cNvSpPr>
            <p:nvPr/>
          </p:nvSpPr>
          <p:spPr bwMode="auto">
            <a:xfrm>
              <a:off x="11702477" y="537770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8" name="Rectangle 205"/>
            <p:cNvSpPr>
              <a:spLocks noChangeArrowheads="1"/>
            </p:cNvSpPr>
            <p:nvPr/>
          </p:nvSpPr>
          <p:spPr bwMode="auto">
            <a:xfrm>
              <a:off x="11610402" y="537770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9" name="Rectangle 206"/>
            <p:cNvSpPr>
              <a:spLocks noChangeArrowheads="1"/>
            </p:cNvSpPr>
            <p:nvPr/>
          </p:nvSpPr>
          <p:spPr bwMode="auto">
            <a:xfrm>
              <a:off x="11883452" y="546501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0" name="Rectangle 207"/>
            <p:cNvSpPr>
              <a:spLocks noChangeArrowheads="1"/>
            </p:cNvSpPr>
            <p:nvPr/>
          </p:nvSpPr>
          <p:spPr bwMode="auto">
            <a:xfrm>
              <a:off x="11796140" y="5465019"/>
              <a:ext cx="33338"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1" name="Rectangle 208"/>
            <p:cNvSpPr>
              <a:spLocks noChangeArrowheads="1"/>
            </p:cNvSpPr>
            <p:nvPr/>
          </p:nvSpPr>
          <p:spPr bwMode="auto">
            <a:xfrm>
              <a:off x="11702477" y="5465019"/>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2" name="Rectangle 209"/>
            <p:cNvSpPr>
              <a:spLocks noChangeArrowheads="1"/>
            </p:cNvSpPr>
            <p:nvPr/>
          </p:nvSpPr>
          <p:spPr bwMode="auto">
            <a:xfrm>
              <a:off x="11610402" y="5465019"/>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3" name="Rectangle 210"/>
            <p:cNvSpPr>
              <a:spLocks noChangeArrowheads="1"/>
            </p:cNvSpPr>
            <p:nvPr/>
          </p:nvSpPr>
          <p:spPr bwMode="auto">
            <a:xfrm>
              <a:off x="11883452" y="555550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4" name="Rectangle 211"/>
            <p:cNvSpPr>
              <a:spLocks noChangeArrowheads="1"/>
            </p:cNvSpPr>
            <p:nvPr/>
          </p:nvSpPr>
          <p:spPr bwMode="auto">
            <a:xfrm>
              <a:off x="11796140" y="5555506"/>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5" name="Rectangle 212"/>
            <p:cNvSpPr>
              <a:spLocks noChangeArrowheads="1"/>
            </p:cNvSpPr>
            <p:nvPr/>
          </p:nvSpPr>
          <p:spPr bwMode="auto">
            <a:xfrm>
              <a:off x="11702477" y="555550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6" name="Rectangle 213"/>
            <p:cNvSpPr>
              <a:spLocks noChangeArrowheads="1"/>
            </p:cNvSpPr>
            <p:nvPr/>
          </p:nvSpPr>
          <p:spPr bwMode="auto">
            <a:xfrm>
              <a:off x="11610402" y="555550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7" name="Rectangle 214"/>
            <p:cNvSpPr>
              <a:spLocks noChangeArrowheads="1"/>
            </p:cNvSpPr>
            <p:nvPr/>
          </p:nvSpPr>
          <p:spPr bwMode="auto">
            <a:xfrm>
              <a:off x="11883452" y="5645994"/>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8" name="Rectangle 215"/>
            <p:cNvSpPr>
              <a:spLocks noChangeArrowheads="1"/>
            </p:cNvSpPr>
            <p:nvPr/>
          </p:nvSpPr>
          <p:spPr bwMode="auto">
            <a:xfrm>
              <a:off x="11796140" y="5645994"/>
              <a:ext cx="33338"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9" name="Rectangle 216"/>
            <p:cNvSpPr>
              <a:spLocks noChangeArrowheads="1"/>
            </p:cNvSpPr>
            <p:nvPr/>
          </p:nvSpPr>
          <p:spPr bwMode="auto">
            <a:xfrm>
              <a:off x="11702477" y="5645994"/>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0" name="Rectangle 217"/>
            <p:cNvSpPr>
              <a:spLocks noChangeArrowheads="1"/>
            </p:cNvSpPr>
            <p:nvPr/>
          </p:nvSpPr>
          <p:spPr bwMode="auto">
            <a:xfrm>
              <a:off x="11610402" y="5645994"/>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1" name="Rectangle 218"/>
            <p:cNvSpPr>
              <a:spLocks noChangeArrowheads="1"/>
            </p:cNvSpPr>
            <p:nvPr/>
          </p:nvSpPr>
          <p:spPr bwMode="auto">
            <a:xfrm>
              <a:off x="11883452" y="5736481"/>
              <a:ext cx="34925" cy="61913"/>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2" name="Rectangle 219"/>
            <p:cNvSpPr>
              <a:spLocks noChangeArrowheads="1"/>
            </p:cNvSpPr>
            <p:nvPr/>
          </p:nvSpPr>
          <p:spPr bwMode="auto">
            <a:xfrm>
              <a:off x="11796140" y="5736481"/>
              <a:ext cx="33338"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3" name="Rectangle 220"/>
            <p:cNvSpPr>
              <a:spLocks noChangeArrowheads="1"/>
            </p:cNvSpPr>
            <p:nvPr/>
          </p:nvSpPr>
          <p:spPr bwMode="auto">
            <a:xfrm>
              <a:off x="11702477" y="5736481"/>
              <a:ext cx="34925"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4" name="Rectangle 221"/>
            <p:cNvSpPr>
              <a:spLocks noChangeArrowheads="1"/>
            </p:cNvSpPr>
            <p:nvPr/>
          </p:nvSpPr>
          <p:spPr bwMode="auto">
            <a:xfrm>
              <a:off x="11610402" y="5736481"/>
              <a:ext cx="34925" cy="61913"/>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5" name="Rectangle 222"/>
            <p:cNvSpPr>
              <a:spLocks noChangeArrowheads="1"/>
            </p:cNvSpPr>
            <p:nvPr/>
          </p:nvSpPr>
          <p:spPr bwMode="auto">
            <a:xfrm>
              <a:off x="11883452" y="5823794"/>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6" name="Rectangle 223"/>
            <p:cNvSpPr>
              <a:spLocks noChangeArrowheads="1"/>
            </p:cNvSpPr>
            <p:nvPr/>
          </p:nvSpPr>
          <p:spPr bwMode="auto">
            <a:xfrm>
              <a:off x="11796140" y="5823794"/>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7" name="Rectangle 224"/>
            <p:cNvSpPr>
              <a:spLocks noChangeArrowheads="1"/>
            </p:cNvSpPr>
            <p:nvPr/>
          </p:nvSpPr>
          <p:spPr bwMode="auto">
            <a:xfrm>
              <a:off x="11702477" y="5823794"/>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8" name="Rectangle 225"/>
            <p:cNvSpPr>
              <a:spLocks noChangeArrowheads="1"/>
            </p:cNvSpPr>
            <p:nvPr/>
          </p:nvSpPr>
          <p:spPr bwMode="auto">
            <a:xfrm>
              <a:off x="11610402" y="5823794"/>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9" name="Rectangle 226"/>
            <p:cNvSpPr>
              <a:spLocks noChangeArrowheads="1"/>
            </p:cNvSpPr>
            <p:nvPr/>
          </p:nvSpPr>
          <p:spPr bwMode="auto">
            <a:xfrm>
              <a:off x="11883452" y="5914281"/>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0" name="Rectangle 227"/>
            <p:cNvSpPr>
              <a:spLocks noChangeArrowheads="1"/>
            </p:cNvSpPr>
            <p:nvPr/>
          </p:nvSpPr>
          <p:spPr bwMode="auto">
            <a:xfrm>
              <a:off x="11796140" y="5914281"/>
              <a:ext cx="33338"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1" name="Rectangle 228"/>
            <p:cNvSpPr>
              <a:spLocks noChangeArrowheads="1"/>
            </p:cNvSpPr>
            <p:nvPr/>
          </p:nvSpPr>
          <p:spPr bwMode="auto">
            <a:xfrm>
              <a:off x="11702477" y="5914281"/>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2" name="Rectangle 229"/>
            <p:cNvSpPr>
              <a:spLocks noChangeArrowheads="1"/>
            </p:cNvSpPr>
            <p:nvPr/>
          </p:nvSpPr>
          <p:spPr bwMode="auto">
            <a:xfrm>
              <a:off x="11610402" y="5914281"/>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3" name="Rectangle 230"/>
            <p:cNvSpPr>
              <a:spLocks noChangeArrowheads="1"/>
            </p:cNvSpPr>
            <p:nvPr/>
          </p:nvSpPr>
          <p:spPr bwMode="auto">
            <a:xfrm>
              <a:off x="11883452" y="60063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4" name="Rectangle 231"/>
            <p:cNvSpPr>
              <a:spLocks noChangeArrowheads="1"/>
            </p:cNvSpPr>
            <p:nvPr/>
          </p:nvSpPr>
          <p:spPr bwMode="auto">
            <a:xfrm>
              <a:off x="11796140" y="6006356"/>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5" name="Rectangle 232"/>
            <p:cNvSpPr>
              <a:spLocks noChangeArrowheads="1"/>
            </p:cNvSpPr>
            <p:nvPr/>
          </p:nvSpPr>
          <p:spPr bwMode="auto">
            <a:xfrm>
              <a:off x="11702477" y="600635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6" name="Rectangle 233"/>
            <p:cNvSpPr>
              <a:spLocks noChangeArrowheads="1"/>
            </p:cNvSpPr>
            <p:nvPr/>
          </p:nvSpPr>
          <p:spPr bwMode="auto">
            <a:xfrm>
              <a:off x="11610402" y="600635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7" name="Rectangle 234"/>
            <p:cNvSpPr>
              <a:spLocks noChangeArrowheads="1"/>
            </p:cNvSpPr>
            <p:nvPr/>
          </p:nvSpPr>
          <p:spPr bwMode="auto">
            <a:xfrm>
              <a:off x="11883452" y="6103194"/>
              <a:ext cx="34925"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8" name="Rectangle 235"/>
            <p:cNvSpPr>
              <a:spLocks noChangeArrowheads="1"/>
            </p:cNvSpPr>
            <p:nvPr/>
          </p:nvSpPr>
          <p:spPr bwMode="auto">
            <a:xfrm>
              <a:off x="11796140" y="6103194"/>
              <a:ext cx="33338"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9" name="Rectangle 236"/>
            <p:cNvSpPr>
              <a:spLocks noChangeArrowheads="1"/>
            </p:cNvSpPr>
            <p:nvPr/>
          </p:nvSpPr>
          <p:spPr bwMode="auto">
            <a:xfrm>
              <a:off x="11702477" y="6103194"/>
              <a:ext cx="34925"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0" name="Rectangle 237"/>
            <p:cNvSpPr>
              <a:spLocks noChangeArrowheads="1"/>
            </p:cNvSpPr>
            <p:nvPr/>
          </p:nvSpPr>
          <p:spPr bwMode="auto">
            <a:xfrm>
              <a:off x="11610402" y="6103194"/>
              <a:ext cx="34925" cy="61913"/>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1" name="Rectangle 238"/>
            <p:cNvSpPr>
              <a:spLocks noChangeArrowheads="1"/>
            </p:cNvSpPr>
            <p:nvPr/>
          </p:nvSpPr>
          <p:spPr bwMode="auto">
            <a:xfrm>
              <a:off x="11883452" y="619526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2" name="Rectangle 239"/>
            <p:cNvSpPr>
              <a:spLocks noChangeArrowheads="1"/>
            </p:cNvSpPr>
            <p:nvPr/>
          </p:nvSpPr>
          <p:spPr bwMode="auto">
            <a:xfrm>
              <a:off x="11796140" y="6195269"/>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3" name="Rectangle 240"/>
            <p:cNvSpPr>
              <a:spLocks noChangeArrowheads="1"/>
            </p:cNvSpPr>
            <p:nvPr/>
          </p:nvSpPr>
          <p:spPr bwMode="auto">
            <a:xfrm>
              <a:off x="11702477" y="6195269"/>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4" name="Rectangle 241"/>
            <p:cNvSpPr>
              <a:spLocks noChangeArrowheads="1"/>
            </p:cNvSpPr>
            <p:nvPr/>
          </p:nvSpPr>
          <p:spPr bwMode="auto">
            <a:xfrm>
              <a:off x="11610402" y="619526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5" name="Rectangle 242"/>
            <p:cNvSpPr>
              <a:spLocks noChangeArrowheads="1"/>
            </p:cNvSpPr>
            <p:nvPr/>
          </p:nvSpPr>
          <p:spPr bwMode="auto">
            <a:xfrm>
              <a:off x="11883452" y="62857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6" name="Rectangle 243"/>
            <p:cNvSpPr>
              <a:spLocks noChangeArrowheads="1"/>
            </p:cNvSpPr>
            <p:nvPr/>
          </p:nvSpPr>
          <p:spPr bwMode="auto">
            <a:xfrm>
              <a:off x="11796140" y="6285756"/>
              <a:ext cx="33338"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7" name="Rectangle 244"/>
            <p:cNvSpPr>
              <a:spLocks noChangeArrowheads="1"/>
            </p:cNvSpPr>
            <p:nvPr/>
          </p:nvSpPr>
          <p:spPr bwMode="auto">
            <a:xfrm>
              <a:off x="11702477" y="62857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8" name="Rectangle 245"/>
            <p:cNvSpPr>
              <a:spLocks noChangeArrowheads="1"/>
            </p:cNvSpPr>
            <p:nvPr/>
          </p:nvSpPr>
          <p:spPr bwMode="auto">
            <a:xfrm>
              <a:off x="11610402" y="628575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9" name="Rectangle 246"/>
            <p:cNvSpPr>
              <a:spLocks noChangeArrowheads="1"/>
            </p:cNvSpPr>
            <p:nvPr/>
          </p:nvSpPr>
          <p:spPr bwMode="auto">
            <a:xfrm>
              <a:off x="11883452" y="637306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0" name="Rectangle 247"/>
            <p:cNvSpPr>
              <a:spLocks noChangeArrowheads="1"/>
            </p:cNvSpPr>
            <p:nvPr/>
          </p:nvSpPr>
          <p:spPr bwMode="auto">
            <a:xfrm>
              <a:off x="11796140" y="6373069"/>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1" name="Rectangle 248"/>
            <p:cNvSpPr>
              <a:spLocks noChangeArrowheads="1"/>
            </p:cNvSpPr>
            <p:nvPr/>
          </p:nvSpPr>
          <p:spPr bwMode="auto">
            <a:xfrm>
              <a:off x="11702477" y="6373069"/>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2" name="Rectangle 249"/>
            <p:cNvSpPr>
              <a:spLocks noChangeArrowheads="1"/>
            </p:cNvSpPr>
            <p:nvPr/>
          </p:nvSpPr>
          <p:spPr bwMode="auto">
            <a:xfrm>
              <a:off x="11610402" y="637306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3" name="Rectangle 250"/>
            <p:cNvSpPr>
              <a:spLocks noChangeArrowheads="1"/>
            </p:cNvSpPr>
            <p:nvPr/>
          </p:nvSpPr>
          <p:spPr bwMode="auto">
            <a:xfrm>
              <a:off x="11883452" y="646355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4" name="Rectangle 251"/>
            <p:cNvSpPr>
              <a:spLocks noChangeArrowheads="1"/>
            </p:cNvSpPr>
            <p:nvPr/>
          </p:nvSpPr>
          <p:spPr bwMode="auto">
            <a:xfrm>
              <a:off x="11796140" y="6463556"/>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5" name="Rectangle 252"/>
            <p:cNvSpPr>
              <a:spLocks noChangeArrowheads="1"/>
            </p:cNvSpPr>
            <p:nvPr/>
          </p:nvSpPr>
          <p:spPr bwMode="auto">
            <a:xfrm>
              <a:off x="11702477" y="64635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6" name="Rectangle 253"/>
            <p:cNvSpPr>
              <a:spLocks noChangeArrowheads="1"/>
            </p:cNvSpPr>
            <p:nvPr/>
          </p:nvSpPr>
          <p:spPr bwMode="auto">
            <a:xfrm>
              <a:off x="11610402" y="64635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7" name="AutoShape 172"/>
            <p:cNvSpPr>
              <a:spLocks noChangeAspect="1" noChangeArrowheads="1" noTextEdit="1"/>
            </p:cNvSpPr>
            <p:nvPr/>
          </p:nvSpPr>
          <p:spPr bwMode="auto">
            <a:xfrm>
              <a:off x="11073725" y="5091309"/>
              <a:ext cx="416172" cy="1473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8" name="Rectangle 174"/>
            <p:cNvSpPr>
              <a:spLocks noChangeArrowheads="1"/>
            </p:cNvSpPr>
            <p:nvPr/>
          </p:nvSpPr>
          <p:spPr bwMode="auto">
            <a:xfrm>
              <a:off x="11073725" y="5202825"/>
              <a:ext cx="419621" cy="1364631"/>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9" name="Line 175"/>
            <p:cNvSpPr>
              <a:spLocks noChangeShapeType="1"/>
            </p:cNvSpPr>
            <p:nvPr/>
          </p:nvSpPr>
          <p:spPr bwMode="auto">
            <a:xfrm>
              <a:off x="11073725" y="5260307"/>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0" name="Line 176"/>
            <p:cNvSpPr>
              <a:spLocks noChangeShapeType="1"/>
            </p:cNvSpPr>
            <p:nvPr/>
          </p:nvSpPr>
          <p:spPr bwMode="auto">
            <a:xfrm>
              <a:off x="11073725" y="5323538"/>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1" name="Line 177"/>
            <p:cNvSpPr>
              <a:spLocks noChangeShapeType="1"/>
            </p:cNvSpPr>
            <p:nvPr/>
          </p:nvSpPr>
          <p:spPr bwMode="auto">
            <a:xfrm>
              <a:off x="11073725" y="5383319"/>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2" name="Line 178"/>
            <p:cNvSpPr>
              <a:spLocks noChangeShapeType="1"/>
            </p:cNvSpPr>
            <p:nvPr/>
          </p:nvSpPr>
          <p:spPr bwMode="auto">
            <a:xfrm>
              <a:off x="11073725" y="5446550"/>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3" name="Line 179"/>
            <p:cNvSpPr>
              <a:spLocks noChangeShapeType="1"/>
            </p:cNvSpPr>
            <p:nvPr/>
          </p:nvSpPr>
          <p:spPr bwMode="auto">
            <a:xfrm>
              <a:off x="11073725" y="5506331"/>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4" name="Line 180"/>
            <p:cNvSpPr>
              <a:spLocks noChangeShapeType="1"/>
            </p:cNvSpPr>
            <p:nvPr/>
          </p:nvSpPr>
          <p:spPr bwMode="auto">
            <a:xfrm>
              <a:off x="11073725" y="5568412"/>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5" name="Line 181"/>
            <p:cNvSpPr>
              <a:spLocks noChangeShapeType="1"/>
            </p:cNvSpPr>
            <p:nvPr/>
          </p:nvSpPr>
          <p:spPr bwMode="auto">
            <a:xfrm>
              <a:off x="11073725" y="5629344"/>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6" name="Line 182"/>
            <p:cNvSpPr>
              <a:spLocks noChangeShapeType="1"/>
            </p:cNvSpPr>
            <p:nvPr/>
          </p:nvSpPr>
          <p:spPr bwMode="auto">
            <a:xfrm>
              <a:off x="11073725" y="5691425"/>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7" name="Line 183"/>
            <p:cNvSpPr>
              <a:spLocks noChangeShapeType="1"/>
            </p:cNvSpPr>
            <p:nvPr/>
          </p:nvSpPr>
          <p:spPr bwMode="auto">
            <a:xfrm>
              <a:off x="11073725" y="5752356"/>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8" name="Line 184"/>
            <p:cNvSpPr>
              <a:spLocks noChangeShapeType="1"/>
            </p:cNvSpPr>
            <p:nvPr/>
          </p:nvSpPr>
          <p:spPr bwMode="auto">
            <a:xfrm>
              <a:off x="11073725" y="5812137"/>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9" name="Line 185"/>
            <p:cNvSpPr>
              <a:spLocks noChangeShapeType="1"/>
            </p:cNvSpPr>
            <p:nvPr/>
          </p:nvSpPr>
          <p:spPr bwMode="auto">
            <a:xfrm>
              <a:off x="11073725" y="5874218"/>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0" name="Line 186"/>
            <p:cNvSpPr>
              <a:spLocks noChangeShapeType="1"/>
            </p:cNvSpPr>
            <p:nvPr/>
          </p:nvSpPr>
          <p:spPr bwMode="auto">
            <a:xfrm>
              <a:off x="11073725" y="5935150"/>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1" name="Line 187"/>
            <p:cNvSpPr>
              <a:spLocks noChangeShapeType="1"/>
            </p:cNvSpPr>
            <p:nvPr/>
          </p:nvSpPr>
          <p:spPr bwMode="auto">
            <a:xfrm>
              <a:off x="11073725" y="5997231"/>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2" name="Line 188"/>
            <p:cNvSpPr>
              <a:spLocks noChangeShapeType="1"/>
            </p:cNvSpPr>
            <p:nvPr/>
          </p:nvSpPr>
          <p:spPr bwMode="auto">
            <a:xfrm>
              <a:off x="11073725" y="6057012"/>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3" name="Line 189"/>
            <p:cNvSpPr>
              <a:spLocks noChangeShapeType="1"/>
            </p:cNvSpPr>
            <p:nvPr/>
          </p:nvSpPr>
          <p:spPr bwMode="auto">
            <a:xfrm>
              <a:off x="11073725" y="6117943"/>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4" name="Line 190"/>
            <p:cNvSpPr>
              <a:spLocks noChangeShapeType="1"/>
            </p:cNvSpPr>
            <p:nvPr/>
          </p:nvSpPr>
          <p:spPr bwMode="auto">
            <a:xfrm>
              <a:off x="11073725" y="6180024"/>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5" name="Line 191"/>
            <p:cNvSpPr>
              <a:spLocks noChangeShapeType="1"/>
            </p:cNvSpPr>
            <p:nvPr/>
          </p:nvSpPr>
          <p:spPr bwMode="auto">
            <a:xfrm>
              <a:off x="11073725" y="6239806"/>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6" name="Line 192"/>
            <p:cNvSpPr>
              <a:spLocks noChangeShapeType="1"/>
            </p:cNvSpPr>
            <p:nvPr/>
          </p:nvSpPr>
          <p:spPr bwMode="auto">
            <a:xfrm>
              <a:off x="11073725" y="6303037"/>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7" name="Line 193"/>
            <p:cNvSpPr>
              <a:spLocks noChangeShapeType="1"/>
            </p:cNvSpPr>
            <p:nvPr/>
          </p:nvSpPr>
          <p:spPr bwMode="auto">
            <a:xfrm>
              <a:off x="11073725" y="6362818"/>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8" name="Line 194"/>
            <p:cNvSpPr>
              <a:spLocks noChangeShapeType="1"/>
            </p:cNvSpPr>
            <p:nvPr/>
          </p:nvSpPr>
          <p:spPr bwMode="auto">
            <a:xfrm>
              <a:off x="11073725" y="6426049"/>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9" name="Line 195"/>
            <p:cNvSpPr>
              <a:spLocks noChangeShapeType="1"/>
            </p:cNvSpPr>
            <p:nvPr/>
          </p:nvSpPr>
          <p:spPr bwMode="auto">
            <a:xfrm>
              <a:off x="11073725" y="6485830"/>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0" name="Line 196"/>
            <p:cNvSpPr>
              <a:spLocks noChangeShapeType="1"/>
            </p:cNvSpPr>
            <p:nvPr/>
          </p:nvSpPr>
          <p:spPr bwMode="auto">
            <a:xfrm>
              <a:off x="11073725" y="6549061"/>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1" name="Freeform 197"/>
            <p:cNvSpPr>
              <a:spLocks/>
            </p:cNvSpPr>
            <p:nvPr/>
          </p:nvSpPr>
          <p:spPr bwMode="auto">
            <a:xfrm>
              <a:off x="11120861" y="5089010"/>
              <a:ext cx="316153" cy="113815"/>
            </a:xfrm>
            <a:custGeom>
              <a:avLst/>
              <a:gdLst>
                <a:gd name="T0" fmla="*/ 275 w 275"/>
                <a:gd name="T1" fmla="*/ 0 h 99"/>
                <a:gd name="T2" fmla="*/ 0 w 275"/>
                <a:gd name="T3" fmla="*/ 38 h 99"/>
                <a:gd name="T4" fmla="*/ 0 w 275"/>
                <a:gd name="T5" fmla="*/ 99 h 99"/>
                <a:gd name="T6" fmla="*/ 275 w 275"/>
                <a:gd name="T7" fmla="*/ 99 h 99"/>
                <a:gd name="T8" fmla="*/ 275 w 275"/>
                <a:gd name="T9" fmla="*/ 0 h 99"/>
              </a:gdLst>
              <a:ahLst/>
              <a:cxnLst>
                <a:cxn ang="0">
                  <a:pos x="T0" y="T1"/>
                </a:cxn>
                <a:cxn ang="0">
                  <a:pos x="T2" y="T3"/>
                </a:cxn>
                <a:cxn ang="0">
                  <a:pos x="T4" y="T5"/>
                </a:cxn>
                <a:cxn ang="0">
                  <a:pos x="T6" y="T7"/>
                </a:cxn>
                <a:cxn ang="0">
                  <a:pos x="T8" y="T9"/>
                </a:cxn>
              </a:cxnLst>
              <a:rect l="0" t="0" r="r" b="b"/>
              <a:pathLst>
                <a:path w="275" h="99">
                  <a:moveTo>
                    <a:pt x="275" y="0"/>
                  </a:moveTo>
                  <a:lnTo>
                    <a:pt x="0" y="38"/>
                  </a:lnTo>
                  <a:lnTo>
                    <a:pt x="0" y="99"/>
                  </a:lnTo>
                  <a:lnTo>
                    <a:pt x="275" y="99"/>
                  </a:lnTo>
                  <a:lnTo>
                    <a:pt x="275"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272" name="Group 271"/>
            <p:cNvGrpSpPr/>
            <p:nvPr/>
          </p:nvGrpSpPr>
          <p:grpSpPr>
            <a:xfrm flipH="1">
              <a:off x="4067728" y="5602747"/>
              <a:ext cx="8368749" cy="1400162"/>
              <a:chOff x="-5288" y="5602741"/>
              <a:chExt cx="8368749" cy="1400162"/>
            </a:xfrm>
          </p:grpSpPr>
          <p:sp>
            <p:nvSpPr>
              <p:cNvPr id="273" name="Rectangle 5"/>
              <p:cNvSpPr>
                <a:spLocks noChangeArrowheads="1"/>
              </p:cNvSpPr>
              <p:nvPr/>
            </p:nvSpPr>
            <p:spPr bwMode="auto">
              <a:xfrm flipH="1">
                <a:off x="3418306" y="5868865"/>
                <a:ext cx="550363" cy="53060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4" name="Rectangle 6"/>
              <p:cNvSpPr>
                <a:spLocks noChangeArrowheads="1"/>
              </p:cNvSpPr>
              <p:nvPr/>
            </p:nvSpPr>
            <p:spPr bwMode="auto">
              <a:xfrm flipH="1">
                <a:off x="3506925" y="5752350"/>
                <a:ext cx="238802" cy="5577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5" name="Rectangle 7"/>
              <p:cNvSpPr>
                <a:spLocks noChangeArrowheads="1"/>
              </p:cNvSpPr>
              <p:nvPr/>
            </p:nvSpPr>
            <p:spPr bwMode="auto">
              <a:xfrm flipH="1">
                <a:off x="5208386" y="6427624"/>
                <a:ext cx="352605" cy="283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6" name="Rectangle 8"/>
              <p:cNvSpPr>
                <a:spLocks noChangeArrowheads="1"/>
              </p:cNvSpPr>
              <p:nvPr/>
            </p:nvSpPr>
            <p:spPr bwMode="auto">
              <a:xfrm flipH="1">
                <a:off x="5067531" y="6297029"/>
                <a:ext cx="349807" cy="4141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7" name="Freeform 11"/>
              <p:cNvSpPr>
                <a:spLocks/>
              </p:cNvSpPr>
              <p:nvPr/>
            </p:nvSpPr>
            <p:spPr bwMode="auto">
              <a:xfrm flipH="1">
                <a:off x="4392841" y="6489852"/>
                <a:ext cx="3970620" cy="51025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8" name="Freeform 18"/>
              <p:cNvSpPr>
                <a:spLocks/>
              </p:cNvSpPr>
              <p:nvPr/>
            </p:nvSpPr>
            <p:spPr bwMode="auto">
              <a:xfrm flipH="1">
                <a:off x="984" y="6027174"/>
                <a:ext cx="6091253" cy="97293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9" name="Freeform 29"/>
              <p:cNvSpPr>
                <a:spLocks/>
              </p:cNvSpPr>
              <p:nvPr/>
            </p:nvSpPr>
            <p:spPr bwMode="auto">
              <a:xfrm flipH="1">
                <a:off x="432647" y="6571940"/>
                <a:ext cx="3340253"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0" name="AutoShape 3"/>
              <p:cNvSpPr>
                <a:spLocks noChangeAspect="1" noChangeArrowheads="1" noTextEdit="1"/>
              </p:cNvSpPr>
              <p:nvPr/>
            </p:nvSpPr>
            <p:spPr bwMode="auto">
              <a:xfrm flipH="1">
                <a:off x="984" y="5602741"/>
                <a:ext cx="4298430"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281" name="Group 280"/>
              <p:cNvGrpSpPr/>
              <p:nvPr/>
            </p:nvGrpSpPr>
            <p:grpSpPr>
              <a:xfrm flipH="1">
                <a:off x="2682360" y="5937788"/>
                <a:ext cx="188333" cy="365034"/>
                <a:chOff x="6229350" y="5232400"/>
                <a:chExt cx="539750" cy="1046162"/>
              </a:xfrm>
            </p:grpSpPr>
            <p:sp>
              <p:nvSpPr>
                <p:cNvPr id="291"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2"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3"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82" name="Group 281"/>
              <p:cNvGrpSpPr/>
              <p:nvPr/>
            </p:nvGrpSpPr>
            <p:grpSpPr>
              <a:xfrm flipH="1">
                <a:off x="4803495" y="6266909"/>
                <a:ext cx="188333" cy="365034"/>
                <a:chOff x="6229350" y="5232400"/>
                <a:chExt cx="539750" cy="1046162"/>
              </a:xfrm>
            </p:grpSpPr>
            <p:sp>
              <p:nvSpPr>
                <p:cNvPr id="288"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9"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0"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83" name="Freeform 17"/>
              <p:cNvSpPr>
                <a:spLocks/>
              </p:cNvSpPr>
              <p:nvPr/>
            </p:nvSpPr>
            <p:spPr bwMode="auto">
              <a:xfrm flipH="1">
                <a:off x="-5288" y="6414294"/>
                <a:ext cx="1445870" cy="58581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284" name="Group 283"/>
              <p:cNvGrpSpPr/>
              <p:nvPr/>
            </p:nvGrpSpPr>
            <p:grpSpPr>
              <a:xfrm flipH="1">
                <a:off x="4579666" y="6201145"/>
                <a:ext cx="188333" cy="365034"/>
                <a:chOff x="6229350" y="5232400"/>
                <a:chExt cx="539750" cy="1046162"/>
              </a:xfrm>
            </p:grpSpPr>
            <p:sp>
              <p:nvSpPr>
                <p:cNvPr id="28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32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pPr>
              <a:defRPr/>
            </a:pPr>
            <a:r>
              <a:rPr lang="en-US">
                <a:solidFill>
                  <a:srgbClr val="FFFFFF"/>
                </a:solidFill>
              </a:rPr>
              <a:t>Microsoft confidential 2015</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39">
              <a:defRPr/>
            </a:pPr>
            <a:fld id="{27258FFF-F925-446B-8502-81C933981705}" type="slidenum">
              <a:rPr lang="en-US" smtClean="0">
                <a:solidFill>
                  <a:srgbClr val="FFFFFF"/>
                </a:solidFill>
              </a:rPr>
              <a:pPr defTabSz="932539">
                <a:defRPr/>
              </a:pPr>
              <a:t>‹#›</a:t>
            </a:fld>
            <a:endParaRPr lang="en-US" dirty="0">
              <a:solidFill>
                <a:srgbClr val="FFFFFF"/>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14080931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4_36pt Title Only">
    <p:spTree>
      <p:nvGrpSpPr>
        <p:cNvPr id="1" name=""/>
        <p:cNvGrpSpPr/>
        <p:nvPr/>
      </p:nvGrpSpPr>
      <p:grpSpPr>
        <a:xfrm>
          <a:off x="0" y="0"/>
          <a:ext cx="0" cy="0"/>
          <a:chOff x="0" y="0"/>
          <a:chExt cx="0" cy="0"/>
        </a:xfrm>
      </p:grpSpPr>
      <p:sp>
        <p:nvSpPr>
          <p:cNvPr id="354" name="Rectangle 7"/>
          <p:cNvSpPr>
            <a:spLocks noChangeArrowheads="1"/>
          </p:cNvSpPr>
          <p:nvPr/>
        </p:nvSpPr>
        <p:spPr bwMode="auto">
          <a:xfrm flipH="1">
            <a:off x="3374301" y="6637557"/>
            <a:ext cx="223937" cy="180098"/>
          </a:xfrm>
          <a:prstGeom prst="rect">
            <a:avLst/>
          </a:prstGeom>
          <a:solidFill>
            <a:schemeClr val="bg1">
              <a:lumMod val="95000"/>
            </a:schemeClr>
          </a:solidFill>
          <a:ln>
            <a:noFill/>
          </a:ln>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5" name="Rectangle 8"/>
          <p:cNvSpPr>
            <a:spLocks noChangeArrowheads="1"/>
          </p:cNvSpPr>
          <p:nvPr/>
        </p:nvSpPr>
        <p:spPr bwMode="auto">
          <a:xfrm flipH="1">
            <a:off x="3284844" y="6554618"/>
            <a:ext cx="222160" cy="263037"/>
          </a:xfrm>
          <a:prstGeom prst="rect">
            <a:avLst/>
          </a:prstGeom>
          <a:solidFill>
            <a:schemeClr val="bg1">
              <a:lumMod val="95000"/>
            </a:schemeClr>
          </a:solidFill>
          <a:ln>
            <a:noFill/>
          </a:ln>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6" name="Rectangle 9"/>
          <p:cNvSpPr>
            <a:spLocks noChangeArrowheads="1"/>
          </p:cNvSpPr>
          <p:nvPr/>
        </p:nvSpPr>
        <p:spPr bwMode="auto">
          <a:xfrm flipH="1">
            <a:off x="687549" y="6423073"/>
            <a:ext cx="347164" cy="4465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7" name="Rectangle 10"/>
          <p:cNvSpPr>
            <a:spLocks noChangeArrowheads="1"/>
          </p:cNvSpPr>
          <p:nvPr/>
        </p:nvSpPr>
        <p:spPr bwMode="auto">
          <a:xfrm flipH="1">
            <a:off x="546552" y="6153543"/>
            <a:ext cx="347164" cy="7160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6" name="Group 5"/>
          <p:cNvGrpSpPr/>
          <p:nvPr userDrawn="1"/>
        </p:nvGrpSpPr>
        <p:grpSpPr>
          <a:xfrm>
            <a:off x="233448" y="5237720"/>
            <a:ext cx="419621" cy="1478446"/>
            <a:chOff x="11073725" y="5089010"/>
            <a:chExt cx="419621" cy="1478446"/>
          </a:xfrm>
        </p:grpSpPr>
        <p:sp>
          <p:nvSpPr>
            <p:cNvPr id="247" name="AutoShape 172"/>
            <p:cNvSpPr>
              <a:spLocks noChangeAspect="1" noChangeArrowheads="1" noTextEdit="1"/>
            </p:cNvSpPr>
            <p:nvPr/>
          </p:nvSpPr>
          <p:spPr bwMode="auto">
            <a:xfrm>
              <a:off x="11073725" y="5091309"/>
              <a:ext cx="416172" cy="1473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8" name="Rectangle 174"/>
            <p:cNvSpPr>
              <a:spLocks noChangeArrowheads="1"/>
            </p:cNvSpPr>
            <p:nvPr/>
          </p:nvSpPr>
          <p:spPr bwMode="auto">
            <a:xfrm>
              <a:off x="11073725" y="5202825"/>
              <a:ext cx="419621" cy="1364631"/>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9" name="Line 175"/>
            <p:cNvSpPr>
              <a:spLocks noChangeShapeType="1"/>
            </p:cNvSpPr>
            <p:nvPr/>
          </p:nvSpPr>
          <p:spPr bwMode="auto">
            <a:xfrm>
              <a:off x="11073725" y="5260307"/>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0" name="Line 176"/>
            <p:cNvSpPr>
              <a:spLocks noChangeShapeType="1"/>
            </p:cNvSpPr>
            <p:nvPr/>
          </p:nvSpPr>
          <p:spPr bwMode="auto">
            <a:xfrm>
              <a:off x="11073725" y="5323538"/>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1" name="Line 177"/>
            <p:cNvSpPr>
              <a:spLocks noChangeShapeType="1"/>
            </p:cNvSpPr>
            <p:nvPr/>
          </p:nvSpPr>
          <p:spPr bwMode="auto">
            <a:xfrm>
              <a:off x="11073725" y="5383319"/>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2" name="Line 178"/>
            <p:cNvSpPr>
              <a:spLocks noChangeShapeType="1"/>
            </p:cNvSpPr>
            <p:nvPr/>
          </p:nvSpPr>
          <p:spPr bwMode="auto">
            <a:xfrm>
              <a:off x="11073725" y="5446550"/>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3" name="Line 179"/>
            <p:cNvSpPr>
              <a:spLocks noChangeShapeType="1"/>
            </p:cNvSpPr>
            <p:nvPr/>
          </p:nvSpPr>
          <p:spPr bwMode="auto">
            <a:xfrm>
              <a:off x="11073725" y="5506331"/>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4" name="Line 180"/>
            <p:cNvSpPr>
              <a:spLocks noChangeShapeType="1"/>
            </p:cNvSpPr>
            <p:nvPr/>
          </p:nvSpPr>
          <p:spPr bwMode="auto">
            <a:xfrm>
              <a:off x="11073725" y="5568412"/>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5" name="Line 181"/>
            <p:cNvSpPr>
              <a:spLocks noChangeShapeType="1"/>
            </p:cNvSpPr>
            <p:nvPr/>
          </p:nvSpPr>
          <p:spPr bwMode="auto">
            <a:xfrm>
              <a:off x="11073725" y="5629344"/>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6" name="Line 182"/>
            <p:cNvSpPr>
              <a:spLocks noChangeShapeType="1"/>
            </p:cNvSpPr>
            <p:nvPr/>
          </p:nvSpPr>
          <p:spPr bwMode="auto">
            <a:xfrm>
              <a:off x="11073725" y="5691425"/>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7" name="Line 183"/>
            <p:cNvSpPr>
              <a:spLocks noChangeShapeType="1"/>
            </p:cNvSpPr>
            <p:nvPr/>
          </p:nvSpPr>
          <p:spPr bwMode="auto">
            <a:xfrm>
              <a:off x="11073725" y="5752356"/>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8" name="Line 184"/>
            <p:cNvSpPr>
              <a:spLocks noChangeShapeType="1"/>
            </p:cNvSpPr>
            <p:nvPr/>
          </p:nvSpPr>
          <p:spPr bwMode="auto">
            <a:xfrm>
              <a:off x="11073725" y="5812137"/>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9" name="Line 185"/>
            <p:cNvSpPr>
              <a:spLocks noChangeShapeType="1"/>
            </p:cNvSpPr>
            <p:nvPr/>
          </p:nvSpPr>
          <p:spPr bwMode="auto">
            <a:xfrm>
              <a:off x="11073725" y="5874218"/>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0" name="Line 186"/>
            <p:cNvSpPr>
              <a:spLocks noChangeShapeType="1"/>
            </p:cNvSpPr>
            <p:nvPr/>
          </p:nvSpPr>
          <p:spPr bwMode="auto">
            <a:xfrm>
              <a:off x="11073725" y="5935150"/>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1" name="Line 187"/>
            <p:cNvSpPr>
              <a:spLocks noChangeShapeType="1"/>
            </p:cNvSpPr>
            <p:nvPr/>
          </p:nvSpPr>
          <p:spPr bwMode="auto">
            <a:xfrm>
              <a:off x="11073725" y="5997231"/>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2" name="Line 188"/>
            <p:cNvSpPr>
              <a:spLocks noChangeShapeType="1"/>
            </p:cNvSpPr>
            <p:nvPr/>
          </p:nvSpPr>
          <p:spPr bwMode="auto">
            <a:xfrm>
              <a:off x="11073725" y="6057012"/>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3" name="Line 189"/>
            <p:cNvSpPr>
              <a:spLocks noChangeShapeType="1"/>
            </p:cNvSpPr>
            <p:nvPr/>
          </p:nvSpPr>
          <p:spPr bwMode="auto">
            <a:xfrm>
              <a:off x="11073725" y="6117943"/>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4" name="Line 190"/>
            <p:cNvSpPr>
              <a:spLocks noChangeShapeType="1"/>
            </p:cNvSpPr>
            <p:nvPr/>
          </p:nvSpPr>
          <p:spPr bwMode="auto">
            <a:xfrm>
              <a:off x="11073725" y="6180024"/>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5" name="Line 191"/>
            <p:cNvSpPr>
              <a:spLocks noChangeShapeType="1"/>
            </p:cNvSpPr>
            <p:nvPr/>
          </p:nvSpPr>
          <p:spPr bwMode="auto">
            <a:xfrm>
              <a:off x="11073725" y="6239806"/>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6" name="Line 192"/>
            <p:cNvSpPr>
              <a:spLocks noChangeShapeType="1"/>
            </p:cNvSpPr>
            <p:nvPr/>
          </p:nvSpPr>
          <p:spPr bwMode="auto">
            <a:xfrm>
              <a:off x="11073725" y="6303037"/>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7" name="Line 193"/>
            <p:cNvSpPr>
              <a:spLocks noChangeShapeType="1"/>
            </p:cNvSpPr>
            <p:nvPr/>
          </p:nvSpPr>
          <p:spPr bwMode="auto">
            <a:xfrm>
              <a:off x="11073725" y="6362818"/>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8" name="Line 194"/>
            <p:cNvSpPr>
              <a:spLocks noChangeShapeType="1"/>
            </p:cNvSpPr>
            <p:nvPr/>
          </p:nvSpPr>
          <p:spPr bwMode="auto">
            <a:xfrm>
              <a:off x="11073725" y="6426049"/>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9" name="Line 195"/>
            <p:cNvSpPr>
              <a:spLocks noChangeShapeType="1"/>
            </p:cNvSpPr>
            <p:nvPr/>
          </p:nvSpPr>
          <p:spPr bwMode="auto">
            <a:xfrm>
              <a:off x="11073725" y="6485830"/>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0" name="Line 196"/>
            <p:cNvSpPr>
              <a:spLocks noChangeShapeType="1"/>
            </p:cNvSpPr>
            <p:nvPr/>
          </p:nvSpPr>
          <p:spPr bwMode="auto">
            <a:xfrm>
              <a:off x="11073725" y="6549061"/>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1" name="Freeform 197"/>
            <p:cNvSpPr>
              <a:spLocks/>
            </p:cNvSpPr>
            <p:nvPr/>
          </p:nvSpPr>
          <p:spPr bwMode="auto">
            <a:xfrm>
              <a:off x="11120861" y="5089010"/>
              <a:ext cx="316153" cy="113815"/>
            </a:xfrm>
            <a:custGeom>
              <a:avLst/>
              <a:gdLst>
                <a:gd name="T0" fmla="*/ 275 w 275"/>
                <a:gd name="T1" fmla="*/ 0 h 99"/>
                <a:gd name="T2" fmla="*/ 0 w 275"/>
                <a:gd name="T3" fmla="*/ 38 h 99"/>
                <a:gd name="T4" fmla="*/ 0 w 275"/>
                <a:gd name="T5" fmla="*/ 99 h 99"/>
                <a:gd name="T6" fmla="*/ 275 w 275"/>
                <a:gd name="T7" fmla="*/ 99 h 99"/>
                <a:gd name="T8" fmla="*/ 275 w 275"/>
                <a:gd name="T9" fmla="*/ 0 h 99"/>
              </a:gdLst>
              <a:ahLst/>
              <a:cxnLst>
                <a:cxn ang="0">
                  <a:pos x="T0" y="T1"/>
                </a:cxn>
                <a:cxn ang="0">
                  <a:pos x="T2" y="T3"/>
                </a:cxn>
                <a:cxn ang="0">
                  <a:pos x="T4" y="T5"/>
                </a:cxn>
                <a:cxn ang="0">
                  <a:pos x="T6" y="T7"/>
                </a:cxn>
                <a:cxn ang="0">
                  <a:pos x="T8" y="T9"/>
                </a:cxn>
              </a:cxnLst>
              <a:rect l="0" t="0" r="r" b="b"/>
              <a:pathLst>
                <a:path w="275" h="99">
                  <a:moveTo>
                    <a:pt x="275" y="0"/>
                  </a:moveTo>
                  <a:lnTo>
                    <a:pt x="0" y="38"/>
                  </a:lnTo>
                  <a:lnTo>
                    <a:pt x="0" y="99"/>
                  </a:lnTo>
                  <a:lnTo>
                    <a:pt x="275" y="99"/>
                  </a:lnTo>
                  <a:lnTo>
                    <a:pt x="275"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352" name="Rectangle 5"/>
          <p:cNvSpPr>
            <a:spLocks noChangeArrowheads="1"/>
          </p:cNvSpPr>
          <p:nvPr/>
        </p:nvSpPr>
        <p:spPr bwMode="auto">
          <a:xfrm flipH="1">
            <a:off x="3008857" y="6426645"/>
            <a:ext cx="349531" cy="3369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3" name="Rectangle 6"/>
          <p:cNvSpPr>
            <a:spLocks noChangeArrowheads="1"/>
          </p:cNvSpPr>
          <p:nvPr/>
        </p:nvSpPr>
        <p:spPr bwMode="auto">
          <a:xfrm flipH="1">
            <a:off x="3065134" y="6323456"/>
            <a:ext cx="151661" cy="38340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8" name="Freeform 11"/>
          <p:cNvSpPr>
            <a:spLocks/>
          </p:cNvSpPr>
          <p:nvPr/>
        </p:nvSpPr>
        <p:spPr bwMode="auto">
          <a:xfrm flipH="1">
            <a:off x="2856350" y="6670470"/>
            <a:ext cx="2521711" cy="324057"/>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9" name="Freeform 18"/>
          <p:cNvSpPr>
            <a:spLocks/>
          </p:cNvSpPr>
          <p:nvPr/>
        </p:nvSpPr>
        <p:spPr bwMode="auto">
          <a:xfrm flipH="1">
            <a:off x="67118" y="6376629"/>
            <a:ext cx="3868507" cy="61790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0" name="Freeform 29"/>
          <p:cNvSpPr>
            <a:spLocks/>
          </p:cNvSpPr>
          <p:nvPr/>
        </p:nvSpPr>
        <p:spPr bwMode="auto">
          <a:xfrm flipH="1">
            <a:off x="341262" y="6729208"/>
            <a:ext cx="2121369" cy="27192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1" name="AutoShape 3"/>
          <p:cNvSpPr>
            <a:spLocks noChangeAspect="1" noChangeArrowheads="1" noTextEdit="1"/>
          </p:cNvSpPr>
          <p:nvPr/>
        </p:nvSpPr>
        <p:spPr bwMode="auto">
          <a:xfrm flipH="1">
            <a:off x="67120" y="6113679"/>
            <a:ext cx="2729899" cy="889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362" name="Group 361"/>
          <p:cNvGrpSpPr/>
          <p:nvPr/>
        </p:nvGrpSpPr>
        <p:grpSpPr>
          <a:xfrm flipH="1">
            <a:off x="3585017" y="6602346"/>
            <a:ext cx="75814" cy="146946"/>
            <a:chOff x="6229350" y="5232400"/>
            <a:chExt cx="539750" cy="1046162"/>
          </a:xfrm>
        </p:grpSpPr>
        <p:sp>
          <p:nvSpPr>
            <p:cNvPr id="36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363" name="Freeform 17"/>
          <p:cNvSpPr>
            <a:spLocks/>
          </p:cNvSpPr>
          <p:nvPr/>
        </p:nvSpPr>
        <p:spPr bwMode="auto">
          <a:xfrm flipH="1">
            <a:off x="5" y="6629091"/>
            <a:ext cx="981393" cy="372043"/>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365" name="Group 364"/>
          <p:cNvGrpSpPr/>
          <p:nvPr/>
        </p:nvGrpSpPr>
        <p:grpSpPr>
          <a:xfrm flipH="1">
            <a:off x="4068" y="6217229"/>
            <a:ext cx="238193" cy="461671"/>
            <a:chOff x="6229350" y="5232400"/>
            <a:chExt cx="539750" cy="1046162"/>
          </a:xfrm>
        </p:grpSpPr>
        <p:sp>
          <p:nvSpPr>
            <p:cNvPr id="3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91" name="Group 190"/>
          <p:cNvGrpSpPr/>
          <p:nvPr/>
        </p:nvGrpSpPr>
        <p:grpSpPr>
          <a:xfrm>
            <a:off x="5464020" y="5915048"/>
            <a:ext cx="1197530" cy="618591"/>
            <a:chOff x="5464016" y="5710906"/>
            <a:chExt cx="1197530" cy="618591"/>
          </a:xfrm>
        </p:grpSpPr>
        <p:sp>
          <p:nvSpPr>
            <p:cNvPr id="345" name="Freeform 12"/>
            <p:cNvSpPr>
              <a:spLocks/>
            </p:cNvSpPr>
            <p:nvPr/>
          </p:nvSpPr>
          <p:spPr bwMode="auto">
            <a:xfrm>
              <a:off x="6020748" y="5991651"/>
              <a:ext cx="137994" cy="131650"/>
            </a:xfrm>
            <a:custGeom>
              <a:avLst/>
              <a:gdLst>
                <a:gd name="T0" fmla="*/ 23 w 87"/>
                <a:gd name="T1" fmla="*/ 83 h 83"/>
                <a:gd name="T2" fmla="*/ 87 w 87"/>
                <a:gd name="T3" fmla="*/ 25 h 83"/>
                <a:gd name="T4" fmla="*/ 64 w 87"/>
                <a:gd name="T5" fmla="*/ 0 h 83"/>
                <a:gd name="T6" fmla="*/ 0 w 87"/>
                <a:gd name="T7" fmla="*/ 58 h 83"/>
                <a:gd name="T8" fmla="*/ 23 w 87"/>
                <a:gd name="T9" fmla="*/ 83 h 83"/>
              </a:gdLst>
              <a:ahLst/>
              <a:cxnLst>
                <a:cxn ang="0">
                  <a:pos x="T0" y="T1"/>
                </a:cxn>
                <a:cxn ang="0">
                  <a:pos x="T2" y="T3"/>
                </a:cxn>
                <a:cxn ang="0">
                  <a:pos x="T4" y="T5"/>
                </a:cxn>
                <a:cxn ang="0">
                  <a:pos x="T6" y="T7"/>
                </a:cxn>
                <a:cxn ang="0">
                  <a:pos x="T8" y="T9"/>
                </a:cxn>
              </a:cxnLst>
              <a:rect l="0" t="0" r="r" b="b"/>
              <a:pathLst>
                <a:path w="87" h="83">
                  <a:moveTo>
                    <a:pt x="23" y="83"/>
                  </a:moveTo>
                  <a:lnTo>
                    <a:pt x="87" y="25"/>
                  </a:lnTo>
                  <a:lnTo>
                    <a:pt x="64" y="0"/>
                  </a:lnTo>
                  <a:lnTo>
                    <a:pt x="0" y="58"/>
                  </a:lnTo>
                  <a:lnTo>
                    <a:pt x="2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6" name="Rectangle 16"/>
            <p:cNvSpPr>
              <a:spLocks noChangeArrowheads="1"/>
            </p:cNvSpPr>
            <p:nvPr/>
          </p:nvSpPr>
          <p:spPr bwMode="auto">
            <a:xfrm>
              <a:off x="5597251"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7" name="Rectangle 18"/>
            <p:cNvSpPr>
              <a:spLocks noChangeArrowheads="1"/>
            </p:cNvSpPr>
            <p:nvPr/>
          </p:nvSpPr>
          <p:spPr bwMode="auto">
            <a:xfrm>
              <a:off x="5464016"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8" name="Rectangle 24"/>
            <p:cNvSpPr>
              <a:spLocks noChangeArrowheads="1"/>
            </p:cNvSpPr>
            <p:nvPr/>
          </p:nvSpPr>
          <p:spPr bwMode="auto">
            <a:xfrm>
              <a:off x="6434729"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9" name="Rectangle 32"/>
            <p:cNvSpPr>
              <a:spLocks noChangeArrowheads="1"/>
            </p:cNvSpPr>
            <p:nvPr/>
          </p:nvSpPr>
          <p:spPr bwMode="auto">
            <a:xfrm>
              <a:off x="6150811" y="5710906"/>
              <a:ext cx="483771" cy="32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0" name="Freeform 34"/>
            <p:cNvSpPr>
              <a:spLocks/>
            </p:cNvSpPr>
            <p:nvPr/>
          </p:nvSpPr>
          <p:spPr bwMode="auto">
            <a:xfrm>
              <a:off x="6634581" y="6061441"/>
              <a:ext cx="26965" cy="53929"/>
            </a:xfrm>
            <a:custGeom>
              <a:avLst/>
              <a:gdLst>
                <a:gd name="T0" fmla="*/ 36 w 36"/>
                <a:gd name="T1" fmla="*/ 0 h 72"/>
                <a:gd name="T2" fmla="*/ 36 w 36"/>
                <a:gd name="T3" fmla="*/ 36 h 72"/>
                <a:gd name="T4" fmla="*/ 0 w 36"/>
                <a:gd name="T5" fmla="*/ 72 h 72"/>
                <a:gd name="T6" fmla="*/ 0 w 36"/>
                <a:gd name="T7" fmla="*/ 72 h 72"/>
                <a:gd name="T8" fmla="*/ 36 w 36"/>
                <a:gd name="T9" fmla="*/ 36 h 72"/>
                <a:gd name="T10" fmla="*/ 36 w 36"/>
                <a:gd name="T11" fmla="*/ 0 h 72"/>
                <a:gd name="T12" fmla="*/ 36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0"/>
                  </a:moveTo>
                  <a:cubicBezTo>
                    <a:pt x="36" y="36"/>
                    <a:pt x="36" y="36"/>
                    <a:pt x="36" y="36"/>
                  </a:cubicBezTo>
                  <a:cubicBezTo>
                    <a:pt x="36" y="72"/>
                    <a:pt x="0" y="72"/>
                    <a:pt x="0" y="72"/>
                  </a:cubicBezTo>
                  <a:cubicBezTo>
                    <a:pt x="0" y="72"/>
                    <a:pt x="0" y="72"/>
                    <a:pt x="0" y="72"/>
                  </a:cubicBezTo>
                  <a:cubicBezTo>
                    <a:pt x="0" y="72"/>
                    <a:pt x="36" y="72"/>
                    <a:pt x="36" y="36"/>
                  </a:cubicBezTo>
                  <a:cubicBezTo>
                    <a:pt x="36" y="0"/>
                    <a:pt x="36" y="0"/>
                    <a:pt x="36" y="0"/>
                  </a:cubicBezTo>
                  <a:cubicBezTo>
                    <a:pt x="36" y="0"/>
                    <a:pt x="36" y="0"/>
                    <a:pt x="36"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1" name="Freeform 37"/>
            <p:cNvSpPr>
              <a:spLocks/>
            </p:cNvSpPr>
            <p:nvPr/>
          </p:nvSpPr>
          <p:spPr bwMode="auto">
            <a:xfrm>
              <a:off x="6150811" y="5753731"/>
              <a:ext cx="466323" cy="280746"/>
            </a:xfrm>
            <a:custGeom>
              <a:avLst/>
              <a:gdLst>
                <a:gd name="T0" fmla="*/ 0 w 294"/>
                <a:gd name="T1" fmla="*/ 0 h 177"/>
                <a:gd name="T2" fmla="*/ 0 w 294"/>
                <a:gd name="T3" fmla="*/ 177 h 177"/>
                <a:gd name="T4" fmla="*/ 294 w 294"/>
                <a:gd name="T5" fmla="*/ 177 h 177"/>
                <a:gd name="T6" fmla="*/ 0 w 294"/>
                <a:gd name="T7" fmla="*/ 0 h 177"/>
              </a:gdLst>
              <a:ahLst/>
              <a:cxnLst>
                <a:cxn ang="0">
                  <a:pos x="T0" y="T1"/>
                </a:cxn>
                <a:cxn ang="0">
                  <a:pos x="T2" y="T3"/>
                </a:cxn>
                <a:cxn ang="0">
                  <a:pos x="T4" y="T5"/>
                </a:cxn>
                <a:cxn ang="0">
                  <a:pos x="T6" y="T7"/>
                </a:cxn>
              </a:cxnLst>
              <a:rect l="0" t="0" r="r" b="b"/>
              <a:pathLst>
                <a:path w="294" h="177">
                  <a:moveTo>
                    <a:pt x="0" y="0"/>
                  </a:moveTo>
                  <a:lnTo>
                    <a:pt x="0" y="177"/>
                  </a:lnTo>
                  <a:lnTo>
                    <a:pt x="294"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92" name="Group 256"/>
          <p:cNvGrpSpPr>
            <a:grpSpLocks noChangeAspect="1"/>
          </p:cNvGrpSpPr>
          <p:nvPr/>
        </p:nvGrpSpPr>
        <p:grpSpPr bwMode="auto">
          <a:xfrm>
            <a:off x="11769660" y="5114653"/>
            <a:ext cx="397595" cy="1555750"/>
            <a:chOff x="6440" y="2795"/>
            <a:chExt cx="333" cy="1303"/>
          </a:xfrm>
        </p:grpSpPr>
        <p:sp>
          <p:nvSpPr>
            <p:cNvPr id="294" name="AutoShape 255"/>
            <p:cNvSpPr>
              <a:spLocks noChangeAspect="1" noChangeArrowheads="1" noTextEdit="1"/>
            </p:cNvSpPr>
            <p:nvPr/>
          </p:nvSpPr>
          <p:spPr bwMode="auto">
            <a:xfrm>
              <a:off x="6440" y="2795"/>
              <a:ext cx="333" cy="1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5" name="Rectangle 257"/>
            <p:cNvSpPr>
              <a:spLocks noChangeArrowheads="1"/>
            </p:cNvSpPr>
            <p:nvPr/>
          </p:nvSpPr>
          <p:spPr bwMode="auto">
            <a:xfrm>
              <a:off x="6438" y="3493"/>
              <a:ext cx="137" cy="60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6" name="Rectangle 258"/>
            <p:cNvSpPr>
              <a:spLocks noChangeArrowheads="1"/>
            </p:cNvSpPr>
            <p:nvPr/>
          </p:nvSpPr>
          <p:spPr bwMode="auto">
            <a:xfrm>
              <a:off x="6505" y="3144"/>
              <a:ext cx="270" cy="95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7" name="Freeform 259"/>
            <p:cNvSpPr>
              <a:spLocks/>
            </p:cNvSpPr>
            <p:nvPr/>
          </p:nvSpPr>
          <p:spPr bwMode="auto">
            <a:xfrm>
              <a:off x="6505" y="2843"/>
              <a:ext cx="270" cy="275"/>
            </a:xfrm>
            <a:custGeom>
              <a:avLst/>
              <a:gdLst>
                <a:gd name="T0" fmla="*/ 150 w 270"/>
                <a:gd name="T1" fmla="*/ 0 h 275"/>
                <a:gd name="T2" fmla="*/ 121 w 270"/>
                <a:gd name="T3" fmla="*/ 0 h 275"/>
                <a:gd name="T4" fmla="*/ 0 w 270"/>
                <a:gd name="T5" fmla="*/ 275 h 275"/>
                <a:gd name="T6" fmla="*/ 270 w 270"/>
                <a:gd name="T7" fmla="*/ 275 h 275"/>
                <a:gd name="T8" fmla="*/ 150 w 270"/>
                <a:gd name="T9" fmla="*/ 0 h 275"/>
              </a:gdLst>
              <a:ahLst/>
              <a:cxnLst>
                <a:cxn ang="0">
                  <a:pos x="T0" y="T1"/>
                </a:cxn>
                <a:cxn ang="0">
                  <a:pos x="T2" y="T3"/>
                </a:cxn>
                <a:cxn ang="0">
                  <a:pos x="T4" y="T5"/>
                </a:cxn>
                <a:cxn ang="0">
                  <a:pos x="T6" y="T7"/>
                </a:cxn>
                <a:cxn ang="0">
                  <a:pos x="T8" y="T9"/>
                </a:cxn>
              </a:cxnLst>
              <a:rect l="0" t="0" r="r" b="b"/>
              <a:pathLst>
                <a:path w="270" h="275">
                  <a:moveTo>
                    <a:pt x="150" y="0"/>
                  </a:moveTo>
                  <a:lnTo>
                    <a:pt x="121" y="0"/>
                  </a:lnTo>
                  <a:lnTo>
                    <a:pt x="0" y="275"/>
                  </a:lnTo>
                  <a:lnTo>
                    <a:pt x="270" y="275"/>
                  </a:lnTo>
                  <a:lnTo>
                    <a:pt x="15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8" name="Oval 260"/>
            <p:cNvSpPr>
              <a:spLocks noChangeArrowheads="1"/>
            </p:cNvSpPr>
            <p:nvPr/>
          </p:nvSpPr>
          <p:spPr bwMode="auto">
            <a:xfrm>
              <a:off x="6621" y="2795"/>
              <a:ext cx="36" cy="36"/>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9" name="Rectangle 261"/>
            <p:cNvSpPr>
              <a:spLocks noChangeArrowheads="1"/>
            </p:cNvSpPr>
            <p:nvPr/>
          </p:nvSpPr>
          <p:spPr bwMode="auto">
            <a:xfrm>
              <a:off x="6541" y="3177"/>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0" name="Rectangle 262"/>
            <p:cNvSpPr>
              <a:spLocks noChangeArrowheads="1"/>
            </p:cNvSpPr>
            <p:nvPr/>
          </p:nvSpPr>
          <p:spPr bwMode="auto">
            <a:xfrm>
              <a:off x="6597" y="3177"/>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1" name="Rectangle 263"/>
            <p:cNvSpPr>
              <a:spLocks noChangeArrowheads="1"/>
            </p:cNvSpPr>
            <p:nvPr/>
          </p:nvSpPr>
          <p:spPr bwMode="auto">
            <a:xfrm>
              <a:off x="6655" y="3177"/>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2" name="Rectangle 264"/>
            <p:cNvSpPr>
              <a:spLocks noChangeArrowheads="1"/>
            </p:cNvSpPr>
            <p:nvPr/>
          </p:nvSpPr>
          <p:spPr bwMode="auto">
            <a:xfrm>
              <a:off x="6713" y="3177"/>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3" name="Rectangle 265"/>
            <p:cNvSpPr>
              <a:spLocks noChangeArrowheads="1"/>
            </p:cNvSpPr>
            <p:nvPr/>
          </p:nvSpPr>
          <p:spPr bwMode="auto">
            <a:xfrm>
              <a:off x="6541" y="3265"/>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4" name="Rectangle 266"/>
            <p:cNvSpPr>
              <a:spLocks noChangeArrowheads="1"/>
            </p:cNvSpPr>
            <p:nvPr/>
          </p:nvSpPr>
          <p:spPr bwMode="auto">
            <a:xfrm>
              <a:off x="6597" y="3265"/>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5" name="Rectangle 267"/>
            <p:cNvSpPr>
              <a:spLocks noChangeArrowheads="1"/>
            </p:cNvSpPr>
            <p:nvPr/>
          </p:nvSpPr>
          <p:spPr bwMode="auto">
            <a:xfrm>
              <a:off x="6655" y="3265"/>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6" name="Rectangle 268"/>
            <p:cNvSpPr>
              <a:spLocks noChangeArrowheads="1"/>
            </p:cNvSpPr>
            <p:nvPr/>
          </p:nvSpPr>
          <p:spPr bwMode="auto">
            <a:xfrm>
              <a:off x="6713" y="3265"/>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7" name="Rectangle 269"/>
            <p:cNvSpPr>
              <a:spLocks noChangeArrowheads="1"/>
            </p:cNvSpPr>
            <p:nvPr/>
          </p:nvSpPr>
          <p:spPr bwMode="auto">
            <a:xfrm>
              <a:off x="6541" y="3355"/>
              <a:ext cx="27"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8" name="Rectangle 270"/>
            <p:cNvSpPr>
              <a:spLocks noChangeArrowheads="1"/>
            </p:cNvSpPr>
            <p:nvPr/>
          </p:nvSpPr>
          <p:spPr bwMode="auto">
            <a:xfrm>
              <a:off x="6597" y="3355"/>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9" name="Rectangle 271"/>
            <p:cNvSpPr>
              <a:spLocks noChangeArrowheads="1"/>
            </p:cNvSpPr>
            <p:nvPr/>
          </p:nvSpPr>
          <p:spPr bwMode="auto">
            <a:xfrm>
              <a:off x="6655" y="3355"/>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0" name="Rectangle 272"/>
            <p:cNvSpPr>
              <a:spLocks noChangeArrowheads="1"/>
            </p:cNvSpPr>
            <p:nvPr/>
          </p:nvSpPr>
          <p:spPr bwMode="auto">
            <a:xfrm>
              <a:off x="6713" y="3355"/>
              <a:ext cx="26"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1" name="Rectangle 273"/>
            <p:cNvSpPr>
              <a:spLocks noChangeArrowheads="1"/>
            </p:cNvSpPr>
            <p:nvPr/>
          </p:nvSpPr>
          <p:spPr bwMode="auto">
            <a:xfrm>
              <a:off x="6541" y="3445"/>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2" name="Rectangle 274"/>
            <p:cNvSpPr>
              <a:spLocks noChangeArrowheads="1"/>
            </p:cNvSpPr>
            <p:nvPr/>
          </p:nvSpPr>
          <p:spPr bwMode="auto">
            <a:xfrm>
              <a:off x="6597" y="3445"/>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3" name="Rectangle 275"/>
            <p:cNvSpPr>
              <a:spLocks noChangeArrowheads="1"/>
            </p:cNvSpPr>
            <p:nvPr/>
          </p:nvSpPr>
          <p:spPr bwMode="auto">
            <a:xfrm>
              <a:off x="6655" y="3445"/>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4" name="Rectangle 276"/>
            <p:cNvSpPr>
              <a:spLocks noChangeArrowheads="1"/>
            </p:cNvSpPr>
            <p:nvPr/>
          </p:nvSpPr>
          <p:spPr bwMode="auto">
            <a:xfrm>
              <a:off x="6713" y="3445"/>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5" name="Rectangle 277"/>
            <p:cNvSpPr>
              <a:spLocks noChangeArrowheads="1"/>
            </p:cNvSpPr>
            <p:nvPr/>
          </p:nvSpPr>
          <p:spPr bwMode="auto">
            <a:xfrm>
              <a:off x="6541" y="3533"/>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6" name="Rectangle 278"/>
            <p:cNvSpPr>
              <a:spLocks noChangeArrowheads="1"/>
            </p:cNvSpPr>
            <p:nvPr/>
          </p:nvSpPr>
          <p:spPr bwMode="auto">
            <a:xfrm>
              <a:off x="6597" y="3533"/>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7" name="Rectangle 279"/>
            <p:cNvSpPr>
              <a:spLocks noChangeArrowheads="1"/>
            </p:cNvSpPr>
            <p:nvPr/>
          </p:nvSpPr>
          <p:spPr bwMode="auto">
            <a:xfrm>
              <a:off x="6655" y="3533"/>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8" name="Rectangle 280"/>
            <p:cNvSpPr>
              <a:spLocks noChangeArrowheads="1"/>
            </p:cNvSpPr>
            <p:nvPr/>
          </p:nvSpPr>
          <p:spPr bwMode="auto">
            <a:xfrm>
              <a:off x="6713" y="3533"/>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9" name="Rectangle 281"/>
            <p:cNvSpPr>
              <a:spLocks noChangeArrowheads="1"/>
            </p:cNvSpPr>
            <p:nvPr/>
          </p:nvSpPr>
          <p:spPr bwMode="auto">
            <a:xfrm>
              <a:off x="6541" y="3623"/>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0" name="Rectangle 282"/>
            <p:cNvSpPr>
              <a:spLocks noChangeArrowheads="1"/>
            </p:cNvSpPr>
            <p:nvPr/>
          </p:nvSpPr>
          <p:spPr bwMode="auto">
            <a:xfrm>
              <a:off x="6597" y="3623"/>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1" name="Rectangle 283"/>
            <p:cNvSpPr>
              <a:spLocks noChangeArrowheads="1"/>
            </p:cNvSpPr>
            <p:nvPr/>
          </p:nvSpPr>
          <p:spPr bwMode="auto">
            <a:xfrm>
              <a:off x="6655" y="3623"/>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2" name="Rectangle 284"/>
            <p:cNvSpPr>
              <a:spLocks noChangeArrowheads="1"/>
            </p:cNvSpPr>
            <p:nvPr/>
          </p:nvSpPr>
          <p:spPr bwMode="auto">
            <a:xfrm>
              <a:off x="6713" y="3623"/>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3" name="Rectangle 285"/>
            <p:cNvSpPr>
              <a:spLocks noChangeArrowheads="1"/>
            </p:cNvSpPr>
            <p:nvPr/>
          </p:nvSpPr>
          <p:spPr bwMode="auto">
            <a:xfrm>
              <a:off x="6541" y="3714"/>
              <a:ext cx="27"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4" name="Rectangle 286"/>
            <p:cNvSpPr>
              <a:spLocks noChangeArrowheads="1"/>
            </p:cNvSpPr>
            <p:nvPr/>
          </p:nvSpPr>
          <p:spPr bwMode="auto">
            <a:xfrm>
              <a:off x="6597" y="3714"/>
              <a:ext cx="29"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5" name="Rectangle 287"/>
            <p:cNvSpPr>
              <a:spLocks noChangeArrowheads="1"/>
            </p:cNvSpPr>
            <p:nvPr/>
          </p:nvSpPr>
          <p:spPr bwMode="auto">
            <a:xfrm>
              <a:off x="6655" y="3714"/>
              <a:ext cx="29"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6" name="Rectangle 288"/>
            <p:cNvSpPr>
              <a:spLocks noChangeArrowheads="1"/>
            </p:cNvSpPr>
            <p:nvPr/>
          </p:nvSpPr>
          <p:spPr bwMode="auto">
            <a:xfrm>
              <a:off x="6713" y="3714"/>
              <a:ext cx="26"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7" name="Rectangle 289"/>
            <p:cNvSpPr>
              <a:spLocks noChangeArrowheads="1"/>
            </p:cNvSpPr>
            <p:nvPr/>
          </p:nvSpPr>
          <p:spPr bwMode="auto">
            <a:xfrm>
              <a:off x="6541" y="3801"/>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8" name="Rectangle 290"/>
            <p:cNvSpPr>
              <a:spLocks noChangeArrowheads="1"/>
            </p:cNvSpPr>
            <p:nvPr/>
          </p:nvSpPr>
          <p:spPr bwMode="auto">
            <a:xfrm>
              <a:off x="6597" y="3801"/>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9" name="Rectangle 291"/>
            <p:cNvSpPr>
              <a:spLocks noChangeArrowheads="1"/>
            </p:cNvSpPr>
            <p:nvPr/>
          </p:nvSpPr>
          <p:spPr bwMode="auto">
            <a:xfrm>
              <a:off x="6655" y="3801"/>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0" name="Rectangle 292"/>
            <p:cNvSpPr>
              <a:spLocks noChangeArrowheads="1"/>
            </p:cNvSpPr>
            <p:nvPr/>
          </p:nvSpPr>
          <p:spPr bwMode="auto">
            <a:xfrm>
              <a:off x="6713" y="3801"/>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1" name="Rectangle 293"/>
            <p:cNvSpPr>
              <a:spLocks noChangeArrowheads="1"/>
            </p:cNvSpPr>
            <p:nvPr/>
          </p:nvSpPr>
          <p:spPr bwMode="auto">
            <a:xfrm>
              <a:off x="6541" y="3892"/>
              <a:ext cx="27"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2" name="Rectangle 294"/>
            <p:cNvSpPr>
              <a:spLocks noChangeArrowheads="1"/>
            </p:cNvSpPr>
            <p:nvPr/>
          </p:nvSpPr>
          <p:spPr bwMode="auto">
            <a:xfrm>
              <a:off x="6597" y="3892"/>
              <a:ext cx="29"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3" name="Rectangle 295"/>
            <p:cNvSpPr>
              <a:spLocks noChangeArrowheads="1"/>
            </p:cNvSpPr>
            <p:nvPr/>
          </p:nvSpPr>
          <p:spPr bwMode="auto">
            <a:xfrm>
              <a:off x="6655" y="3892"/>
              <a:ext cx="29"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4" name="Rectangle 296"/>
            <p:cNvSpPr>
              <a:spLocks noChangeArrowheads="1"/>
            </p:cNvSpPr>
            <p:nvPr/>
          </p:nvSpPr>
          <p:spPr bwMode="auto">
            <a:xfrm>
              <a:off x="6713" y="3892"/>
              <a:ext cx="26"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5" name="Rectangle 297"/>
            <p:cNvSpPr>
              <a:spLocks noChangeArrowheads="1"/>
            </p:cNvSpPr>
            <p:nvPr/>
          </p:nvSpPr>
          <p:spPr bwMode="auto">
            <a:xfrm>
              <a:off x="6541" y="3979"/>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6" name="Rectangle 298"/>
            <p:cNvSpPr>
              <a:spLocks noChangeArrowheads="1"/>
            </p:cNvSpPr>
            <p:nvPr/>
          </p:nvSpPr>
          <p:spPr bwMode="auto">
            <a:xfrm>
              <a:off x="6597" y="3979"/>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7" name="Rectangle 299"/>
            <p:cNvSpPr>
              <a:spLocks noChangeArrowheads="1"/>
            </p:cNvSpPr>
            <p:nvPr/>
          </p:nvSpPr>
          <p:spPr bwMode="auto">
            <a:xfrm>
              <a:off x="6655" y="3979"/>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8" name="Rectangle 300"/>
            <p:cNvSpPr>
              <a:spLocks noChangeArrowheads="1"/>
            </p:cNvSpPr>
            <p:nvPr/>
          </p:nvSpPr>
          <p:spPr bwMode="auto">
            <a:xfrm>
              <a:off x="6713" y="3979"/>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9" name="Freeform 301"/>
            <p:cNvSpPr>
              <a:spLocks/>
            </p:cNvSpPr>
            <p:nvPr/>
          </p:nvSpPr>
          <p:spPr bwMode="auto">
            <a:xfrm>
              <a:off x="6631" y="3040"/>
              <a:ext cx="17" cy="37"/>
            </a:xfrm>
            <a:custGeom>
              <a:avLst/>
              <a:gdLst>
                <a:gd name="T0" fmla="*/ 7 w 7"/>
                <a:gd name="T1" fmla="*/ 16 h 16"/>
                <a:gd name="T2" fmla="*/ 7 w 7"/>
                <a:gd name="T3" fmla="*/ 4 h 16"/>
                <a:gd name="T4" fmla="*/ 4 w 7"/>
                <a:gd name="T5" fmla="*/ 0 h 16"/>
                <a:gd name="T6" fmla="*/ 0 w 7"/>
                <a:gd name="T7" fmla="*/ 4 h 16"/>
                <a:gd name="T8" fmla="*/ 0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cubicBezTo>
                    <a:pt x="7" y="4"/>
                    <a:pt x="7" y="4"/>
                    <a:pt x="7" y="4"/>
                  </a:cubicBezTo>
                  <a:cubicBezTo>
                    <a:pt x="7" y="2"/>
                    <a:pt x="6" y="0"/>
                    <a:pt x="4" y="0"/>
                  </a:cubicBezTo>
                  <a:cubicBezTo>
                    <a:pt x="1" y="0"/>
                    <a:pt x="0" y="2"/>
                    <a:pt x="0" y="4"/>
                  </a:cubicBezTo>
                  <a:cubicBezTo>
                    <a:pt x="0" y="16"/>
                    <a:pt x="0" y="16"/>
                    <a:pt x="0" y="16"/>
                  </a:cubicBezTo>
                  <a:lnTo>
                    <a:pt x="7" y="1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0" name="Freeform 302"/>
            <p:cNvSpPr>
              <a:spLocks/>
            </p:cNvSpPr>
            <p:nvPr/>
          </p:nvSpPr>
          <p:spPr bwMode="auto">
            <a:xfrm>
              <a:off x="6631" y="2909"/>
              <a:ext cx="17" cy="38"/>
            </a:xfrm>
            <a:custGeom>
              <a:avLst/>
              <a:gdLst>
                <a:gd name="T0" fmla="*/ 7 w 7"/>
                <a:gd name="T1" fmla="*/ 16 h 16"/>
                <a:gd name="T2" fmla="*/ 7 w 7"/>
                <a:gd name="T3" fmla="*/ 4 h 16"/>
                <a:gd name="T4" fmla="*/ 4 w 7"/>
                <a:gd name="T5" fmla="*/ 0 h 16"/>
                <a:gd name="T6" fmla="*/ 0 w 7"/>
                <a:gd name="T7" fmla="*/ 4 h 16"/>
                <a:gd name="T8" fmla="*/ 0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cubicBezTo>
                    <a:pt x="7" y="4"/>
                    <a:pt x="7" y="4"/>
                    <a:pt x="7" y="4"/>
                  </a:cubicBezTo>
                  <a:cubicBezTo>
                    <a:pt x="7" y="1"/>
                    <a:pt x="6" y="0"/>
                    <a:pt x="4" y="0"/>
                  </a:cubicBezTo>
                  <a:cubicBezTo>
                    <a:pt x="1" y="0"/>
                    <a:pt x="0" y="1"/>
                    <a:pt x="0" y="4"/>
                  </a:cubicBezTo>
                  <a:cubicBezTo>
                    <a:pt x="0" y="16"/>
                    <a:pt x="0" y="16"/>
                    <a:pt x="0" y="16"/>
                  </a:cubicBezTo>
                  <a:lnTo>
                    <a:pt x="7" y="1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1" name="Freeform 303"/>
            <p:cNvSpPr>
              <a:spLocks/>
            </p:cNvSpPr>
            <p:nvPr/>
          </p:nvSpPr>
          <p:spPr bwMode="auto">
            <a:xfrm>
              <a:off x="6573" y="3040"/>
              <a:ext cx="19" cy="37"/>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2" name="Freeform 304"/>
            <p:cNvSpPr>
              <a:spLocks/>
            </p:cNvSpPr>
            <p:nvPr/>
          </p:nvSpPr>
          <p:spPr bwMode="auto">
            <a:xfrm>
              <a:off x="6686" y="3040"/>
              <a:ext cx="19" cy="37"/>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3" name="Freeform 305"/>
            <p:cNvSpPr>
              <a:spLocks/>
            </p:cNvSpPr>
            <p:nvPr/>
          </p:nvSpPr>
          <p:spPr bwMode="auto">
            <a:xfrm>
              <a:off x="6660" y="2975"/>
              <a:ext cx="19" cy="38"/>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4" name="Freeform 306"/>
            <p:cNvSpPr>
              <a:spLocks/>
            </p:cNvSpPr>
            <p:nvPr/>
          </p:nvSpPr>
          <p:spPr bwMode="auto">
            <a:xfrm>
              <a:off x="6602" y="2975"/>
              <a:ext cx="19" cy="38"/>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 name="Group 1"/>
          <p:cNvGrpSpPr/>
          <p:nvPr/>
        </p:nvGrpSpPr>
        <p:grpSpPr>
          <a:xfrm>
            <a:off x="11265118" y="5479694"/>
            <a:ext cx="420689" cy="1250950"/>
            <a:chOff x="11556427" y="5317381"/>
            <a:chExt cx="420688" cy="1250950"/>
          </a:xfrm>
        </p:grpSpPr>
        <p:sp>
          <p:nvSpPr>
            <p:cNvPr id="193" name="AutoShape 199"/>
            <p:cNvSpPr>
              <a:spLocks noChangeAspect="1" noChangeArrowheads="1" noTextEdit="1"/>
            </p:cNvSpPr>
            <p:nvPr/>
          </p:nvSpPr>
          <p:spPr bwMode="auto">
            <a:xfrm>
              <a:off x="11556427" y="5317381"/>
              <a:ext cx="415925"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4" name="Rectangle 201"/>
            <p:cNvSpPr>
              <a:spLocks noChangeArrowheads="1"/>
            </p:cNvSpPr>
            <p:nvPr/>
          </p:nvSpPr>
          <p:spPr bwMode="auto">
            <a:xfrm>
              <a:off x="11556427" y="5317381"/>
              <a:ext cx="420688" cy="12509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5" name="Rectangle 202"/>
            <p:cNvSpPr>
              <a:spLocks noChangeArrowheads="1"/>
            </p:cNvSpPr>
            <p:nvPr/>
          </p:nvSpPr>
          <p:spPr bwMode="auto">
            <a:xfrm>
              <a:off x="11883452" y="537770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6" name="Rectangle 203"/>
            <p:cNvSpPr>
              <a:spLocks noChangeArrowheads="1"/>
            </p:cNvSpPr>
            <p:nvPr/>
          </p:nvSpPr>
          <p:spPr bwMode="auto">
            <a:xfrm>
              <a:off x="11796140" y="5377706"/>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7" name="Rectangle 204"/>
            <p:cNvSpPr>
              <a:spLocks noChangeArrowheads="1"/>
            </p:cNvSpPr>
            <p:nvPr/>
          </p:nvSpPr>
          <p:spPr bwMode="auto">
            <a:xfrm>
              <a:off x="11702477" y="537770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8" name="Rectangle 205"/>
            <p:cNvSpPr>
              <a:spLocks noChangeArrowheads="1"/>
            </p:cNvSpPr>
            <p:nvPr/>
          </p:nvSpPr>
          <p:spPr bwMode="auto">
            <a:xfrm>
              <a:off x="11610402" y="537770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9" name="Rectangle 206"/>
            <p:cNvSpPr>
              <a:spLocks noChangeArrowheads="1"/>
            </p:cNvSpPr>
            <p:nvPr/>
          </p:nvSpPr>
          <p:spPr bwMode="auto">
            <a:xfrm>
              <a:off x="11883452" y="546501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0" name="Rectangle 207"/>
            <p:cNvSpPr>
              <a:spLocks noChangeArrowheads="1"/>
            </p:cNvSpPr>
            <p:nvPr/>
          </p:nvSpPr>
          <p:spPr bwMode="auto">
            <a:xfrm>
              <a:off x="11796140" y="5465019"/>
              <a:ext cx="33338"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1" name="Rectangle 208"/>
            <p:cNvSpPr>
              <a:spLocks noChangeArrowheads="1"/>
            </p:cNvSpPr>
            <p:nvPr/>
          </p:nvSpPr>
          <p:spPr bwMode="auto">
            <a:xfrm>
              <a:off x="11702477" y="5465019"/>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2" name="Rectangle 209"/>
            <p:cNvSpPr>
              <a:spLocks noChangeArrowheads="1"/>
            </p:cNvSpPr>
            <p:nvPr/>
          </p:nvSpPr>
          <p:spPr bwMode="auto">
            <a:xfrm>
              <a:off x="11610402" y="5465019"/>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3" name="Rectangle 210"/>
            <p:cNvSpPr>
              <a:spLocks noChangeArrowheads="1"/>
            </p:cNvSpPr>
            <p:nvPr/>
          </p:nvSpPr>
          <p:spPr bwMode="auto">
            <a:xfrm>
              <a:off x="11883452" y="555550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4" name="Rectangle 211"/>
            <p:cNvSpPr>
              <a:spLocks noChangeArrowheads="1"/>
            </p:cNvSpPr>
            <p:nvPr/>
          </p:nvSpPr>
          <p:spPr bwMode="auto">
            <a:xfrm>
              <a:off x="11796140" y="5555506"/>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5" name="Rectangle 212"/>
            <p:cNvSpPr>
              <a:spLocks noChangeArrowheads="1"/>
            </p:cNvSpPr>
            <p:nvPr/>
          </p:nvSpPr>
          <p:spPr bwMode="auto">
            <a:xfrm>
              <a:off x="11702477" y="555550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6" name="Rectangle 213"/>
            <p:cNvSpPr>
              <a:spLocks noChangeArrowheads="1"/>
            </p:cNvSpPr>
            <p:nvPr/>
          </p:nvSpPr>
          <p:spPr bwMode="auto">
            <a:xfrm>
              <a:off x="11610402" y="555550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7" name="Rectangle 214"/>
            <p:cNvSpPr>
              <a:spLocks noChangeArrowheads="1"/>
            </p:cNvSpPr>
            <p:nvPr/>
          </p:nvSpPr>
          <p:spPr bwMode="auto">
            <a:xfrm>
              <a:off x="11883452" y="5645994"/>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8" name="Rectangle 215"/>
            <p:cNvSpPr>
              <a:spLocks noChangeArrowheads="1"/>
            </p:cNvSpPr>
            <p:nvPr/>
          </p:nvSpPr>
          <p:spPr bwMode="auto">
            <a:xfrm>
              <a:off x="11796140" y="5645994"/>
              <a:ext cx="33338"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9" name="Rectangle 216"/>
            <p:cNvSpPr>
              <a:spLocks noChangeArrowheads="1"/>
            </p:cNvSpPr>
            <p:nvPr/>
          </p:nvSpPr>
          <p:spPr bwMode="auto">
            <a:xfrm>
              <a:off x="11702477" y="5645994"/>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0" name="Rectangle 217"/>
            <p:cNvSpPr>
              <a:spLocks noChangeArrowheads="1"/>
            </p:cNvSpPr>
            <p:nvPr/>
          </p:nvSpPr>
          <p:spPr bwMode="auto">
            <a:xfrm>
              <a:off x="11610402" y="5645994"/>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1" name="Rectangle 218"/>
            <p:cNvSpPr>
              <a:spLocks noChangeArrowheads="1"/>
            </p:cNvSpPr>
            <p:nvPr/>
          </p:nvSpPr>
          <p:spPr bwMode="auto">
            <a:xfrm>
              <a:off x="11883452" y="5736481"/>
              <a:ext cx="34925" cy="61913"/>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2" name="Rectangle 219"/>
            <p:cNvSpPr>
              <a:spLocks noChangeArrowheads="1"/>
            </p:cNvSpPr>
            <p:nvPr/>
          </p:nvSpPr>
          <p:spPr bwMode="auto">
            <a:xfrm>
              <a:off x="11796140" y="5736481"/>
              <a:ext cx="33338"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3" name="Rectangle 220"/>
            <p:cNvSpPr>
              <a:spLocks noChangeArrowheads="1"/>
            </p:cNvSpPr>
            <p:nvPr/>
          </p:nvSpPr>
          <p:spPr bwMode="auto">
            <a:xfrm>
              <a:off x="11702477" y="5736481"/>
              <a:ext cx="34925"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4" name="Rectangle 221"/>
            <p:cNvSpPr>
              <a:spLocks noChangeArrowheads="1"/>
            </p:cNvSpPr>
            <p:nvPr/>
          </p:nvSpPr>
          <p:spPr bwMode="auto">
            <a:xfrm>
              <a:off x="11610402" y="5736481"/>
              <a:ext cx="34925" cy="61913"/>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5" name="Rectangle 222"/>
            <p:cNvSpPr>
              <a:spLocks noChangeArrowheads="1"/>
            </p:cNvSpPr>
            <p:nvPr/>
          </p:nvSpPr>
          <p:spPr bwMode="auto">
            <a:xfrm>
              <a:off x="11883452" y="5823794"/>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6" name="Rectangle 223"/>
            <p:cNvSpPr>
              <a:spLocks noChangeArrowheads="1"/>
            </p:cNvSpPr>
            <p:nvPr/>
          </p:nvSpPr>
          <p:spPr bwMode="auto">
            <a:xfrm>
              <a:off x="11796140" y="5823794"/>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7" name="Rectangle 224"/>
            <p:cNvSpPr>
              <a:spLocks noChangeArrowheads="1"/>
            </p:cNvSpPr>
            <p:nvPr/>
          </p:nvSpPr>
          <p:spPr bwMode="auto">
            <a:xfrm>
              <a:off x="11702477" y="5823794"/>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8" name="Rectangle 225"/>
            <p:cNvSpPr>
              <a:spLocks noChangeArrowheads="1"/>
            </p:cNvSpPr>
            <p:nvPr/>
          </p:nvSpPr>
          <p:spPr bwMode="auto">
            <a:xfrm>
              <a:off x="11610402" y="5823794"/>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9" name="Rectangle 226"/>
            <p:cNvSpPr>
              <a:spLocks noChangeArrowheads="1"/>
            </p:cNvSpPr>
            <p:nvPr/>
          </p:nvSpPr>
          <p:spPr bwMode="auto">
            <a:xfrm>
              <a:off x="11883452" y="5914281"/>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0" name="Rectangle 227"/>
            <p:cNvSpPr>
              <a:spLocks noChangeArrowheads="1"/>
            </p:cNvSpPr>
            <p:nvPr/>
          </p:nvSpPr>
          <p:spPr bwMode="auto">
            <a:xfrm>
              <a:off x="11796140" y="5914281"/>
              <a:ext cx="33338"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1" name="Rectangle 228"/>
            <p:cNvSpPr>
              <a:spLocks noChangeArrowheads="1"/>
            </p:cNvSpPr>
            <p:nvPr/>
          </p:nvSpPr>
          <p:spPr bwMode="auto">
            <a:xfrm>
              <a:off x="11702477" y="5914281"/>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2" name="Rectangle 229"/>
            <p:cNvSpPr>
              <a:spLocks noChangeArrowheads="1"/>
            </p:cNvSpPr>
            <p:nvPr/>
          </p:nvSpPr>
          <p:spPr bwMode="auto">
            <a:xfrm>
              <a:off x="11610402" y="5914281"/>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3" name="Rectangle 230"/>
            <p:cNvSpPr>
              <a:spLocks noChangeArrowheads="1"/>
            </p:cNvSpPr>
            <p:nvPr/>
          </p:nvSpPr>
          <p:spPr bwMode="auto">
            <a:xfrm>
              <a:off x="11883452" y="60063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4" name="Rectangle 231"/>
            <p:cNvSpPr>
              <a:spLocks noChangeArrowheads="1"/>
            </p:cNvSpPr>
            <p:nvPr/>
          </p:nvSpPr>
          <p:spPr bwMode="auto">
            <a:xfrm>
              <a:off x="11796140" y="6006356"/>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5" name="Rectangle 232"/>
            <p:cNvSpPr>
              <a:spLocks noChangeArrowheads="1"/>
            </p:cNvSpPr>
            <p:nvPr/>
          </p:nvSpPr>
          <p:spPr bwMode="auto">
            <a:xfrm>
              <a:off x="11702477" y="600635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6" name="Rectangle 233"/>
            <p:cNvSpPr>
              <a:spLocks noChangeArrowheads="1"/>
            </p:cNvSpPr>
            <p:nvPr/>
          </p:nvSpPr>
          <p:spPr bwMode="auto">
            <a:xfrm>
              <a:off x="11610402" y="600635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7" name="Rectangle 234"/>
            <p:cNvSpPr>
              <a:spLocks noChangeArrowheads="1"/>
            </p:cNvSpPr>
            <p:nvPr/>
          </p:nvSpPr>
          <p:spPr bwMode="auto">
            <a:xfrm>
              <a:off x="11883452" y="6103194"/>
              <a:ext cx="34925"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8" name="Rectangle 235"/>
            <p:cNvSpPr>
              <a:spLocks noChangeArrowheads="1"/>
            </p:cNvSpPr>
            <p:nvPr/>
          </p:nvSpPr>
          <p:spPr bwMode="auto">
            <a:xfrm>
              <a:off x="11796140" y="6103194"/>
              <a:ext cx="33338"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9" name="Rectangle 236"/>
            <p:cNvSpPr>
              <a:spLocks noChangeArrowheads="1"/>
            </p:cNvSpPr>
            <p:nvPr/>
          </p:nvSpPr>
          <p:spPr bwMode="auto">
            <a:xfrm>
              <a:off x="11702477" y="6103194"/>
              <a:ext cx="34925"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0" name="Rectangle 237"/>
            <p:cNvSpPr>
              <a:spLocks noChangeArrowheads="1"/>
            </p:cNvSpPr>
            <p:nvPr/>
          </p:nvSpPr>
          <p:spPr bwMode="auto">
            <a:xfrm>
              <a:off x="11610402" y="6103194"/>
              <a:ext cx="34925" cy="61913"/>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1" name="Rectangle 238"/>
            <p:cNvSpPr>
              <a:spLocks noChangeArrowheads="1"/>
            </p:cNvSpPr>
            <p:nvPr/>
          </p:nvSpPr>
          <p:spPr bwMode="auto">
            <a:xfrm>
              <a:off x="11883452" y="619526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2" name="Rectangle 239"/>
            <p:cNvSpPr>
              <a:spLocks noChangeArrowheads="1"/>
            </p:cNvSpPr>
            <p:nvPr/>
          </p:nvSpPr>
          <p:spPr bwMode="auto">
            <a:xfrm>
              <a:off x="11796140" y="6195269"/>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3" name="Rectangle 240"/>
            <p:cNvSpPr>
              <a:spLocks noChangeArrowheads="1"/>
            </p:cNvSpPr>
            <p:nvPr/>
          </p:nvSpPr>
          <p:spPr bwMode="auto">
            <a:xfrm>
              <a:off x="11702477" y="6195269"/>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4" name="Rectangle 241"/>
            <p:cNvSpPr>
              <a:spLocks noChangeArrowheads="1"/>
            </p:cNvSpPr>
            <p:nvPr/>
          </p:nvSpPr>
          <p:spPr bwMode="auto">
            <a:xfrm>
              <a:off x="11610402" y="619526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5" name="Rectangle 242"/>
            <p:cNvSpPr>
              <a:spLocks noChangeArrowheads="1"/>
            </p:cNvSpPr>
            <p:nvPr/>
          </p:nvSpPr>
          <p:spPr bwMode="auto">
            <a:xfrm>
              <a:off x="11883452" y="62857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6" name="Rectangle 243"/>
            <p:cNvSpPr>
              <a:spLocks noChangeArrowheads="1"/>
            </p:cNvSpPr>
            <p:nvPr/>
          </p:nvSpPr>
          <p:spPr bwMode="auto">
            <a:xfrm>
              <a:off x="11796140" y="6285756"/>
              <a:ext cx="33338"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7" name="Rectangle 244"/>
            <p:cNvSpPr>
              <a:spLocks noChangeArrowheads="1"/>
            </p:cNvSpPr>
            <p:nvPr/>
          </p:nvSpPr>
          <p:spPr bwMode="auto">
            <a:xfrm>
              <a:off x="11702477" y="62857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8" name="Rectangle 245"/>
            <p:cNvSpPr>
              <a:spLocks noChangeArrowheads="1"/>
            </p:cNvSpPr>
            <p:nvPr/>
          </p:nvSpPr>
          <p:spPr bwMode="auto">
            <a:xfrm>
              <a:off x="11610402" y="628575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9" name="Rectangle 246"/>
            <p:cNvSpPr>
              <a:spLocks noChangeArrowheads="1"/>
            </p:cNvSpPr>
            <p:nvPr/>
          </p:nvSpPr>
          <p:spPr bwMode="auto">
            <a:xfrm>
              <a:off x="11883452" y="637306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0" name="Rectangle 247"/>
            <p:cNvSpPr>
              <a:spLocks noChangeArrowheads="1"/>
            </p:cNvSpPr>
            <p:nvPr/>
          </p:nvSpPr>
          <p:spPr bwMode="auto">
            <a:xfrm>
              <a:off x="11796140" y="6373069"/>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1" name="Rectangle 248"/>
            <p:cNvSpPr>
              <a:spLocks noChangeArrowheads="1"/>
            </p:cNvSpPr>
            <p:nvPr/>
          </p:nvSpPr>
          <p:spPr bwMode="auto">
            <a:xfrm>
              <a:off x="11702477" y="6373069"/>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2" name="Rectangle 249"/>
            <p:cNvSpPr>
              <a:spLocks noChangeArrowheads="1"/>
            </p:cNvSpPr>
            <p:nvPr/>
          </p:nvSpPr>
          <p:spPr bwMode="auto">
            <a:xfrm>
              <a:off x="11610402" y="637306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3" name="Rectangle 250"/>
            <p:cNvSpPr>
              <a:spLocks noChangeArrowheads="1"/>
            </p:cNvSpPr>
            <p:nvPr/>
          </p:nvSpPr>
          <p:spPr bwMode="auto">
            <a:xfrm>
              <a:off x="11883452" y="646355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4" name="Rectangle 251"/>
            <p:cNvSpPr>
              <a:spLocks noChangeArrowheads="1"/>
            </p:cNvSpPr>
            <p:nvPr/>
          </p:nvSpPr>
          <p:spPr bwMode="auto">
            <a:xfrm>
              <a:off x="11796140" y="6463556"/>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5" name="Rectangle 252"/>
            <p:cNvSpPr>
              <a:spLocks noChangeArrowheads="1"/>
            </p:cNvSpPr>
            <p:nvPr/>
          </p:nvSpPr>
          <p:spPr bwMode="auto">
            <a:xfrm>
              <a:off x="11702477" y="64635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6" name="Rectangle 253"/>
            <p:cNvSpPr>
              <a:spLocks noChangeArrowheads="1"/>
            </p:cNvSpPr>
            <p:nvPr/>
          </p:nvSpPr>
          <p:spPr bwMode="auto">
            <a:xfrm>
              <a:off x="11610402" y="64635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42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pPr>
              <a:defRPr/>
            </a:pPr>
            <a:r>
              <a:rPr lang="en-US">
                <a:solidFill>
                  <a:srgbClr val="FFFFFF"/>
                </a:solidFill>
              </a:rPr>
              <a:t>Microsoft confidential 2015</a:t>
            </a:r>
            <a:endParaRPr lang="en-US" dirty="0">
              <a:solidFill>
                <a:srgbClr val="FFFFFF"/>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72" name="Freeform 371"/>
          <p:cNvSpPr>
            <a:spLocks/>
          </p:cNvSpPr>
          <p:nvPr/>
        </p:nvSpPr>
        <p:spPr bwMode="auto">
          <a:xfrm>
            <a:off x="6964469" y="6665300"/>
            <a:ext cx="5472007" cy="329226"/>
          </a:xfrm>
          <a:custGeom>
            <a:avLst/>
            <a:gdLst>
              <a:gd name="connsiteX0" fmla="*/ 3760673 w 5472006"/>
              <a:gd name="connsiteY0" fmla="*/ 713 h 326454"/>
              <a:gd name="connsiteX1" fmla="*/ 5098430 w 5472006"/>
              <a:gd name="connsiteY1" fmla="*/ 51055 h 326454"/>
              <a:gd name="connsiteX2" fmla="*/ 5472006 w 5472006"/>
              <a:gd name="connsiteY2" fmla="*/ 80942 h 326454"/>
              <a:gd name="connsiteX3" fmla="*/ 5472006 w 5472006"/>
              <a:gd name="connsiteY3" fmla="*/ 326454 h 326454"/>
              <a:gd name="connsiteX4" fmla="*/ 5088394 w 5472006"/>
              <a:gd name="connsiteY4" fmla="*/ 326454 h 326454"/>
              <a:gd name="connsiteX5" fmla="*/ 0 w 5472006"/>
              <a:gd name="connsiteY5" fmla="*/ 326454 h 326454"/>
              <a:gd name="connsiteX6" fmla="*/ 3760673 w 5472006"/>
              <a:gd name="connsiteY6" fmla="*/ 713 h 326454"/>
              <a:gd name="connsiteX0" fmla="*/ 0 w 5472006"/>
              <a:gd name="connsiteY0" fmla="*/ 275399 h 275399"/>
              <a:gd name="connsiteX1" fmla="*/ 5098430 w 5472006"/>
              <a:gd name="connsiteY1" fmla="*/ 0 h 275399"/>
              <a:gd name="connsiteX2" fmla="*/ 5472006 w 5472006"/>
              <a:gd name="connsiteY2" fmla="*/ 29887 h 275399"/>
              <a:gd name="connsiteX3" fmla="*/ 5472006 w 5472006"/>
              <a:gd name="connsiteY3" fmla="*/ 275399 h 275399"/>
              <a:gd name="connsiteX4" fmla="*/ 5088394 w 5472006"/>
              <a:gd name="connsiteY4" fmla="*/ 275399 h 275399"/>
              <a:gd name="connsiteX5" fmla="*/ 0 w 5472006"/>
              <a:gd name="connsiteY5" fmla="*/ 275399 h 275399"/>
              <a:gd name="connsiteX0" fmla="*/ 0 w 5472006"/>
              <a:gd name="connsiteY0" fmla="*/ 245512 h 245512"/>
              <a:gd name="connsiteX1" fmla="*/ 5472006 w 5472006"/>
              <a:gd name="connsiteY1" fmla="*/ 0 h 245512"/>
              <a:gd name="connsiteX2" fmla="*/ 5472006 w 5472006"/>
              <a:gd name="connsiteY2" fmla="*/ 245512 h 245512"/>
              <a:gd name="connsiteX3" fmla="*/ 5088394 w 5472006"/>
              <a:gd name="connsiteY3" fmla="*/ 245512 h 245512"/>
              <a:gd name="connsiteX4" fmla="*/ 0 w 5472006"/>
              <a:gd name="connsiteY4" fmla="*/ 245512 h 245512"/>
              <a:gd name="connsiteX0" fmla="*/ 0 w 5472006"/>
              <a:gd name="connsiteY0" fmla="*/ 259588 h 259588"/>
              <a:gd name="connsiteX1" fmla="*/ 5472006 w 5472006"/>
              <a:gd name="connsiteY1" fmla="*/ 14076 h 259588"/>
              <a:gd name="connsiteX2" fmla="*/ 5472006 w 5472006"/>
              <a:gd name="connsiteY2" fmla="*/ 259588 h 259588"/>
              <a:gd name="connsiteX3" fmla="*/ 5088394 w 5472006"/>
              <a:gd name="connsiteY3" fmla="*/ 259588 h 259588"/>
              <a:gd name="connsiteX4" fmla="*/ 0 w 5472006"/>
              <a:gd name="connsiteY4" fmla="*/ 259588 h 259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2006" h="259588">
                <a:moveTo>
                  <a:pt x="0" y="259588"/>
                </a:moveTo>
                <a:cubicBezTo>
                  <a:pt x="63935" y="218669"/>
                  <a:pt x="3059679" y="-65823"/>
                  <a:pt x="5472006" y="14076"/>
                </a:cubicBezTo>
                <a:lnTo>
                  <a:pt x="5472006" y="259588"/>
                </a:lnTo>
                <a:lnTo>
                  <a:pt x="5088394" y="259588"/>
                </a:lnTo>
                <a:lnTo>
                  <a:pt x="0" y="25958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3" name="Rectangle 34"/>
          <p:cNvSpPr>
            <a:spLocks noChangeArrowheads="1"/>
          </p:cNvSpPr>
          <p:nvPr/>
        </p:nvSpPr>
        <p:spPr bwMode="auto">
          <a:xfrm flipH="1">
            <a:off x="0" y="6944186"/>
            <a:ext cx="12436475" cy="5033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39">
              <a:defRPr/>
            </a:pPr>
            <a:fld id="{27258FFF-F925-446B-8502-81C933981705}" type="slidenum">
              <a:rPr lang="en-US" smtClean="0">
                <a:solidFill>
                  <a:srgbClr val="FFFFFF"/>
                </a:solidFill>
              </a:rPr>
              <a:pPr defTabSz="932539">
                <a:defRPr/>
              </a:pPr>
              <a:t>‹#›</a:t>
            </a:fld>
            <a:endParaRPr lang="en-US" dirty="0">
              <a:solidFill>
                <a:srgbClr val="FFFFFF"/>
              </a:solidFill>
            </a:endParaRPr>
          </a:p>
        </p:txBody>
      </p:sp>
      <p:sp>
        <p:nvSpPr>
          <p:cNvPr id="374" name="Freeform 373"/>
          <p:cNvSpPr>
            <a:spLocks noChangeArrowheads="1"/>
          </p:cNvSpPr>
          <p:nvPr userDrawn="1"/>
        </p:nvSpPr>
        <p:spPr bwMode="auto">
          <a:xfrm>
            <a:off x="5250313" y="6448067"/>
            <a:ext cx="551130" cy="495042"/>
          </a:xfrm>
          <a:custGeom>
            <a:avLst/>
            <a:gdLst>
              <a:gd name="connsiteX0" fmla="*/ 603250 w 647700"/>
              <a:gd name="connsiteY0" fmla="*/ 501650 h 647700"/>
              <a:gd name="connsiteX1" fmla="*/ 633413 w 647700"/>
              <a:gd name="connsiteY1" fmla="*/ 501650 h 647700"/>
              <a:gd name="connsiteX2" fmla="*/ 633413 w 647700"/>
              <a:gd name="connsiteY2" fmla="*/ 647700 h 647700"/>
              <a:gd name="connsiteX3" fmla="*/ 603250 w 647700"/>
              <a:gd name="connsiteY3" fmla="*/ 647700 h 647700"/>
              <a:gd name="connsiteX4" fmla="*/ 550863 w 647700"/>
              <a:gd name="connsiteY4" fmla="*/ 501650 h 647700"/>
              <a:gd name="connsiteX5" fmla="*/ 579438 w 647700"/>
              <a:gd name="connsiteY5" fmla="*/ 501650 h 647700"/>
              <a:gd name="connsiteX6" fmla="*/ 579438 w 647700"/>
              <a:gd name="connsiteY6" fmla="*/ 647700 h 647700"/>
              <a:gd name="connsiteX7" fmla="*/ 550863 w 647700"/>
              <a:gd name="connsiteY7" fmla="*/ 647700 h 647700"/>
              <a:gd name="connsiteX8" fmla="*/ 496888 w 647700"/>
              <a:gd name="connsiteY8" fmla="*/ 501650 h 647700"/>
              <a:gd name="connsiteX9" fmla="*/ 527051 w 647700"/>
              <a:gd name="connsiteY9" fmla="*/ 501650 h 647700"/>
              <a:gd name="connsiteX10" fmla="*/ 527051 w 647700"/>
              <a:gd name="connsiteY10" fmla="*/ 647700 h 647700"/>
              <a:gd name="connsiteX11" fmla="*/ 496888 w 647700"/>
              <a:gd name="connsiteY11" fmla="*/ 647700 h 647700"/>
              <a:gd name="connsiteX12" fmla="*/ 442913 w 647700"/>
              <a:gd name="connsiteY12" fmla="*/ 501650 h 647700"/>
              <a:gd name="connsiteX13" fmla="*/ 473076 w 647700"/>
              <a:gd name="connsiteY13" fmla="*/ 501650 h 647700"/>
              <a:gd name="connsiteX14" fmla="*/ 473076 w 647700"/>
              <a:gd name="connsiteY14" fmla="*/ 647700 h 647700"/>
              <a:gd name="connsiteX15" fmla="*/ 442913 w 647700"/>
              <a:gd name="connsiteY15" fmla="*/ 647700 h 647700"/>
              <a:gd name="connsiteX16" fmla="*/ 390525 w 647700"/>
              <a:gd name="connsiteY16" fmla="*/ 501650 h 647700"/>
              <a:gd name="connsiteX17" fmla="*/ 419100 w 647700"/>
              <a:gd name="connsiteY17" fmla="*/ 501650 h 647700"/>
              <a:gd name="connsiteX18" fmla="*/ 419100 w 647700"/>
              <a:gd name="connsiteY18" fmla="*/ 647700 h 647700"/>
              <a:gd name="connsiteX19" fmla="*/ 390525 w 647700"/>
              <a:gd name="connsiteY19" fmla="*/ 647700 h 647700"/>
              <a:gd name="connsiteX20" fmla="*/ 336550 w 647700"/>
              <a:gd name="connsiteY20" fmla="*/ 501650 h 647700"/>
              <a:gd name="connsiteX21" fmla="*/ 366713 w 647700"/>
              <a:gd name="connsiteY21" fmla="*/ 501650 h 647700"/>
              <a:gd name="connsiteX22" fmla="*/ 366713 w 647700"/>
              <a:gd name="connsiteY22" fmla="*/ 647700 h 647700"/>
              <a:gd name="connsiteX23" fmla="*/ 336550 w 647700"/>
              <a:gd name="connsiteY23" fmla="*/ 647700 h 647700"/>
              <a:gd name="connsiteX24" fmla="*/ 284163 w 647700"/>
              <a:gd name="connsiteY24" fmla="*/ 501650 h 647700"/>
              <a:gd name="connsiteX25" fmla="*/ 312738 w 647700"/>
              <a:gd name="connsiteY25" fmla="*/ 501650 h 647700"/>
              <a:gd name="connsiteX26" fmla="*/ 312738 w 647700"/>
              <a:gd name="connsiteY26" fmla="*/ 647700 h 647700"/>
              <a:gd name="connsiteX27" fmla="*/ 284163 w 647700"/>
              <a:gd name="connsiteY27" fmla="*/ 647700 h 647700"/>
              <a:gd name="connsiteX28" fmla="*/ 230188 w 647700"/>
              <a:gd name="connsiteY28" fmla="*/ 501650 h 647700"/>
              <a:gd name="connsiteX29" fmla="*/ 258763 w 647700"/>
              <a:gd name="connsiteY29" fmla="*/ 501650 h 647700"/>
              <a:gd name="connsiteX30" fmla="*/ 258763 w 647700"/>
              <a:gd name="connsiteY30" fmla="*/ 647700 h 647700"/>
              <a:gd name="connsiteX31" fmla="*/ 230188 w 647700"/>
              <a:gd name="connsiteY31" fmla="*/ 647700 h 647700"/>
              <a:gd name="connsiteX32" fmla="*/ 176213 w 647700"/>
              <a:gd name="connsiteY32" fmla="*/ 501650 h 647700"/>
              <a:gd name="connsiteX33" fmla="*/ 206376 w 647700"/>
              <a:gd name="connsiteY33" fmla="*/ 501650 h 647700"/>
              <a:gd name="connsiteX34" fmla="*/ 206376 w 647700"/>
              <a:gd name="connsiteY34" fmla="*/ 647700 h 647700"/>
              <a:gd name="connsiteX35" fmla="*/ 176213 w 647700"/>
              <a:gd name="connsiteY35" fmla="*/ 647700 h 647700"/>
              <a:gd name="connsiteX36" fmla="*/ 122238 w 647700"/>
              <a:gd name="connsiteY36" fmla="*/ 501650 h 647700"/>
              <a:gd name="connsiteX37" fmla="*/ 152401 w 647700"/>
              <a:gd name="connsiteY37" fmla="*/ 501650 h 647700"/>
              <a:gd name="connsiteX38" fmla="*/ 152401 w 647700"/>
              <a:gd name="connsiteY38" fmla="*/ 647700 h 647700"/>
              <a:gd name="connsiteX39" fmla="*/ 122238 w 647700"/>
              <a:gd name="connsiteY39" fmla="*/ 647700 h 647700"/>
              <a:gd name="connsiteX40" fmla="*/ 69850 w 647700"/>
              <a:gd name="connsiteY40" fmla="*/ 501650 h 647700"/>
              <a:gd name="connsiteX41" fmla="*/ 98425 w 647700"/>
              <a:gd name="connsiteY41" fmla="*/ 501650 h 647700"/>
              <a:gd name="connsiteX42" fmla="*/ 98425 w 647700"/>
              <a:gd name="connsiteY42" fmla="*/ 647700 h 647700"/>
              <a:gd name="connsiteX43" fmla="*/ 69850 w 647700"/>
              <a:gd name="connsiteY43" fmla="*/ 647700 h 647700"/>
              <a:gd name="connsiteX44" fmla="*/ 15875 w 647700"/>
              <a:gd name="connsiteY44" fmla="*/ 501650 h 647700"/>
              <a:gd name="connsiteX45" fmla="*/ 44450 w 647700"/>
              <a:gd name="connsiteY45" fmla="*/ 501650 h 647700"/>
              <a:gd name="connsiteX46" fmla="*/ 44450 w 647700"/>
              <a:gd name="connsiteY46" fmla="*/ 647700 h 647700"/>
              <a:gd name="connsiteX47" fmla="*/ 15875 w 647700"/>
              <a:gd name="connsiteY47" fmla="*/ 647700 h 647700"/>
              <a:gd name="connsiteX48" fmla="*/ 0 w 647700"/>
              <a:gd name="connsiteY48" fmla="*/ 444500 h 647700"/>
              <a:gd name="connsiteX49" fmla="*/ 647700 w 647700"/>
              <a:gd name="connsiteY49" fmla="*/ 444500 h 647700"/>
              <a:gd name="connsiteX50" fmla="*/ 647700 w 647700"/>
              <a:gd name="connsiteY50" fmla="*/ 487363 h 647700"/>
              <a:gd name="connsiteX51" fmla="*/ 0 w 647700"/>
              <a:gd name="connsiteY51" fmla="*/ 487363 h 647700"/>
              <a:gd name="connsiteX52" fmla="*/ 107950 w 647700"/>
              <a:gd name="connsiteY52" fmla="*/ 392113 h 647700"/>
              <a:gd name="connsiteX53" fmla="*/ 539750 w 647700"/>
              <a:gd name="connsiteY53" fmla="*/ 392113 h 647700"/>
              <a:gd name="connsiteX54" fmla="*/ 539750 w 647700"/>
              <a:gd name="connsiteY54" fmla="*/ 423863 h 647700"/>
              <a:gd name="connsiteX55" fmla="*/ 107950 w 647700"/>
              <a:gd name="connsiteY55" fmla="*/ 423863 h 647700"/>
              <a:gd name="connsiteX56" fmla="*/ 204788 w 647700"/>
              <a:gd name="connsiteY56" fmla="*/ 385763 h 647700"/>
              <a:gd name="connsiteX57" fmla="*/ 206376 w 647700"/>
              <a:gd name="connsiteY57" fmla="*/ 385763 h 647700"/>
              <a:gd name="connsiteX58" fmla="*/ 206376 w 647700"/>
              <a:gd name="connsiteY58" fmla="*/ 387351 h 647700"/>
              <a:gd name="connsiteX59" fmla="*/ 204788 w 647700"/>
              <a:gd name="connsiteY59" fmla="*/ 387351 h 647700"/>
              <a:gd name="connsiteX60" fmla="*/ 331788 w 647700"/>
              <a:gd name="connsiteY60" fmla="*/ 0 h 647700"/>
              <a:gd name="connsiteX61" fmla="*/ 404813 w 647700"/>
              <a:gd name="connsiteY61" fmla="*/ 0 h 647700"/>
              <a:gd name="connsiteX62" fmla="*/ 404813 w 647700"/>
              <a:gd name="connsiteY62" fmla="*/ 52388 h 647700"/>
              <a:gd name="connsiteX63" fmla="*/ 331788 w 647700"/>
              <a:gd name="connsiteY63" fmla="*/ 52388 h 647700"/>
              <a:gd name="connsiteX64" fmla="*/ 315913 w 647700"/>
              <a:gd name="connsiteY64" fmla="*/ 0 h 647700"/>
              <a:gd name="connsiteX65" fmla="*/ 325438 w 647700"/>
              <a:gd name="connsiteY65" fmla="*/ 0 h 647700"/>
              <a:gd name="connsiteX66" fmla="*/ 325438 w 647700"/>
              <a:gd name="connsiteY66" fmla="*/ 93663 h 647700"/>
              <a:gd name="connsiteX67" fmla="*/ 365919 w 647700"/>
              <a:gd name="connsiteY67" fmla="*/ 93663 h 647700"/>
              <a:gd name="connsiteX68" fmla="*/ 371476 w 647700"/>
              <a:gd name="connsiteY68" fmla="*/ 93663 h 647700"/>
              <a:gd name="connsiteX69" fmla="*/ 371476 w 647700"/>
              <a:gd name="connsiteY69" fmla="*/ 100013 h 647700"/>
              <a:gd name="connsiteX70" fmla="*/ 371476 w 647700"/>
              <a:gd name="connsiteY70" fmla="*/ 105569 h 647700"/>
              <a:gd name="connsiteX71" fmla="*/ 371476 w 647700"/>
              <a:gd name="connsiteY71" fmla="*/ 111919 h 647700"/>
              <a:gd name="connsiteX72" fmla="*/ 371476 w 647700"/>
              <a:gd name="connsiteY72" fmla="*/ 123825 h 647700"/>
              <a:gd name="connsiteX73" fmla="*/ 390526 w 647700"/>
              <a:gd name="connsiteY73" fmla="*/ 129382 h 647700"/>
              <a:gd name="connsiteX74" fmla="*/ 408782 w 647700"/>
              <a:gd name="connsiteY74" fmla="*/ 136525 h 647700"/>
              <a:gd name="connsiteX75" fmla="*/ 425450 w 647700"/>
              <a:gd name="connsiteY75" fmla="*/ 145257 h 647700"/>
              <a:gd name="connsiteX76" fmla="*/ 442119 w 647700"/>
              <a:gd name="connsiteY76" fmla="*/ 156369 h 647700"/>
              <a:gd name="connsiteX77" fmla="*/ 457994 w 647700"/>
              <a:gd name="connsiteY77" fmla="*/ 168275 h 647700"/>
              <a:gd name="connsiteX78" fmla="*/ 471488 w 647700"/>
              <a:gd name="connsiteY78" fmla="*/ 180975 h 647700"/>
              <a:gd name="connsiteX79" fmla="*/ 484982 w 647700"/>
              <a:gd name="connsiteY79" fmla="*/ 195263 h 647700"/>
              <a:gd name="connsiteX80" fmla="*/ 496888 w 647700"/>
              <a:gd name="connsiteY80" fmla="*/ 211138 h 647700"/>
              <a:gd name="connsiteX81" fmla="*/ 508000 w 647700"/>
              <a:gd name="connsiteY81" fmla="*/ 228600 h 647700"/>
              <a:gd name="connsiteX82" fmla="*/ 517526 w 647700"/>
              <a:gd name="connsiteY82" fmla="*/ 246857 h 647700"/>
              <a:gd name="connsiteX83" fmla="*/ 525463 w 647700"/>
              <a:gd name="connsiteY83" fmla="*/ 265113 h 647700"/>
              <a:gd name="connsiteX84" fmla="*/ 531813 w 647700"/>
              <a:gd name="connsiteY84" fmla="*/ 284957 h 647700"/>
              <a:gd name="connsiteX85" fmla="*/ 537369 w 647700"/>
              <a:gd name="connsiteY85" fmla="*/ 305594 h 647700"/>
              <a:gd name="connsiteX86" fmla="*/ 542132 w 647700"/>
              <a:gd name="connsiteY86" fmla="*/ 327819 h 647700"/>
              <a:gd name="connsiteX87" fmla="*/ 543719 w 647700"/>
              <a:gd name="connsiteY87" fmla="*/ 350838 h 647700"/>
              <a:gd name="connsiteX88" fmla="*/ 544513 w 647700"/>
              <a:gd name="connsiteY88" fmla="*/ 373857 h 647700"/>
              <a:gd name="connsiteX89" fmla="*/ 544513 w 647700"/>
              <a:gd name="connsiteY89" fmla="*/ 376238 h 647700"/>
              <a:gd name="connsiteX90" fmla="*/ 455657 w 647700"/>
              <a:gd name="connsiteY90" fmla="*/ 376238 h 647700"/>
              <a:gd name="connsiteX91" fmla="*/ 455722 w 647700"/>
              <a:gd name="connsiteY91" fmla="*/ 377850 h 647700"/>
              <a:gd name="connsiteX92" fmla="*/ 455722 w 647700"/>
              <a:gd name="connsiteY92" fmla="*/ 385763 h 647700"/>
              <a:gd name="connsiteX93" fmla="*/ 443049 w 647700"/>
              <a:gd name="connsiteY93" fmla="*/ 385763 h 647700"/>
              <a:gd name="connsiteX94" fmla="*/ 443049 w 647700"/>
              <a:gd name="connsiteY94" fmla="*/ 377850 h 647700"/>
              <a:gd name="connsiteX95" fmla="*/ 442982 w 647700"/>
              <a:gd name="connsiteY95" fmla="*/ 376238 h 647700"/>
              <a:gd name="connsiteX96" fmla="*/ 393150 w 647700"/>
              <a:gd name="connsiteY96" fmla="*/ 376238 h 647700"/>
              <a:gd name="connsiteX97" fmla="*/ 393150 w 647700"/>
              <a:gd name="connsiteY97" fmla="*/ 376268 h 647700"/>
              <a:gd name="connsiteX98" fmla="*/ 393150 w 647700"/>
              <a:gd name="connsiteY98" fmla="*/ 385763 h 647700"/>
              <a:gd name="connsiteX99" fmla="*/ 380477 w 647700"/>
              <a:gd name="connsiteY99" fmla="*/ 385763 h 647700"/>
              <a:gd name="connsiteX100" fmla="*/ 380477 w 647700"/>
              <a:gd name="connsiteY100" fmla="*/ 377059 h 647700"/>
              <a:gd name="connsiteX101" fmla="*/ 380477 w 647700"/>
              <a:gd name="connsiteY101" fmla="*/ 376238 h 647700"/>
              <a:gd name="connsiteX102" fmla="*/ 330578 w 647700"/>
              <a:gd name="connsiteY102" fmla="*/ 376238 h 647700"/>
              <a:gd name="connsiteX103" fmla="*/ 330578 w 647700"/>
              <a:gd name="connsiteY103" fmla="*/ 385763 h 647700"/>
              <a:gd name="connsiteX104" fmla="*/ 317905 w 647700"/>
              <a:gd name="connsiteY104" fmla="*/ 385763 h 647700"/>
              <a:gd name="connsiteX105" fmla="*/ 317905 w 647700"/>
              <a:gd name="connsiteY105" fmla="*/ 376238 h 647700"/>
              <a:gd name="connsiteX106" fmla="*/ 268006 w 647700"/>
              <a:gd name="connsiteY106" fmla="*/ 376238 h 647700"/>
              <a:gd name="connsiteX107" fmla="*/ 268006 w 647700"/>
              <a:gd name="connsiteY107" fmla="*/ 377059 h 647700"/>
              <a:gd name="connsiteX108" fmla="*/ 268006 w 647700"/>
              <a:gd name="connsiteY108" fmla="*/ 385763 h 647700"/>
              <a:gd name="connsiteX109" fmla="*/ 255333 w 647700"/>
              <a:gd name="connsiteY109" fmla="*/ 385763 h 647700"/>
              <a:gd name="connsiteX110" fmla="*/ 255333 w 647700"/>
              <a:gd name="connsiteY110" fmla="*/ 376268 h 647700"/>
              <a:gd name="connsiteX111" fmla="*/ 255333 w 647700"/>
              <a:gd name="connsiteY111" fmla="*/ 376238 h 647700"/>
              <a:gd name="connsiteX112" fmla="*/ 204708 w 647700"/>
              <a:gd name="connsiteY112" fmla="*/ 376238 h 647700"/>
              <a:gd name="connsiteX113" fmla="*/ 204641 w 647700"/>
              <a:gd name="connsiteY113" fmla="*/ 377850 h 647700"/>
              <a:gd name="connsiteX114" fmla="*/ 204641 w 647700"/>
              <a:gd name="connsiteY114" fmla="*/ 385763 h 647700"/>
              <a:gd name="connsiteX115" fmla="*/ 191969 w 647700"/>
              <a:gd name="connsiteY115" fmla="*/ 385763 h 647700"/>
              <a:gd name="connsiteX116" fmla="*/ 191969 w 647700"/>
              <a:gd name="connsiteY116" fmla="*/ 377059 h 647700"/>
              <a:gd name="connsiteX117" fmla="*/ 192002 w 647700"/>
              <a:gd name="connsiteY117" fmla="*/ 376238 h 647700"/>
              <a:gd name="connsiteX118" fmla="*/ 147426 w 647700"/>
              <a:gd name="connsiteY118" fmla="*/ 376238 h 647700"/>
              <a:gd name="connsiteX119" fmla="*/ 147614 w 647700"/>
              <a:gd name="connsiteY119" fmla="*/ 379433 h 647700"/>
              <a:gd name="connsiteX120" fmla="*/ 137317 w 647700"/>
              <a:gd name="connsiteY120" fmla="*/ 379433 h 647700"/>
              <a:gd name="connsiteX121" fmla="*/ 137226 w 647700"/>
              <a:gd name="connsiteY121" fmla="*/ 376238 h 647700"/>
              <a:gd name="connsiteX122" fmla="*/ 100013 w 647700"/>
              <a:gd name="connsiteY122" fmla="*/ 376238 h 647700"/>
              <a:gd name="connsiteX123" fmla="*/ 100013 w 647700"/>
              <a:gd name="connsiteY123" fmla="*/ 373857 h 647700"/>
              <a:gd name="connsiteX124" fmla="*/ 100807 w 647700"/>
              <a:gd name="connsiteY124" fmla="*/ 350838 h 647700"/>
              <a:gd name="connsiteX125" fmla="*/ 102394 w 647700"/>
              <a:gd name="connsiteY125" fmla="*/ 327819 h 647700"/>
              <a:gd name="connsiteX126" fmla="*/ 107157 w 647700"/>
              <a:gd name="connsiteY126" fmla="*/ 307182 h 647700"/>
              <a:gd name="connsiteX127" fmla="*/ 111919 w 647700"/>
              <a:gd name="connsiteY127" fmla="*/ 285750 h 647700"/>
              <a:gd name="connsiteX128" fmla="*/ 119063 w 647700"/>
              <a:gd name="connsiteY128" fmla="*/ 265907 h 647700"/>
              <a:gd name="connsiteX129" fmla="*/ 127000 w 647700"/>
              <a:gd name="connsiteY129" fmla="*/ 246857 h 647700"/>
              <a:gd name="connsiteX130" fmla="*/ 136526 w 647700"/>
              <a:gd name="connsiteY130" fmla="*/ 229394 h 647700"/>
              <a:gd name="connsiteX131" fmla="*/ 147638 w 647700"/>
              <a:gd name="connsiteY131" fmla="*/ 211932 h 647700"/>
              <a:gd name="connsiteX132" fmla="*/ 157957 w 647700"/>
              <a:gd name="connsiteY132" fmla="*/ 196057 h 647700"/>
              <a:gd name="connsiteX133" fmla="*/ 172244 w 647700"/>
              <a:gd name="connsiteY133" fmla="*/ 181769 h 647700"/>
              <a:gd name="connsiteX134" fmla="*/ 185738 w 647700"/>
              <a:gd name="connsiteY134" fmla="*/ 168275 h 647700"/>
              <a:gd name="connsiteX135" fmla="*/ 201613 w 647700"/>
              <a:gd name="connsiteY135" fmla="*/ 156369 h 647700"/>
              <a:gd name="connsiteX136" fmla="*/ 216694 w 647700"/>
              <a:gd name="connsiteY136" fmla="*/ 146050 h 647700"/>
              <a:gd name="connsiteX137" fmla="*/ 234157 w 647700"/>
              <a:gd name="connsiteY137" fmla="*/ 136525 h 647700"/>
              <a:gd name="connsiteX138" fmla="*/ 251619 w 647700"/>
              <a:gd name="connsiteY138" fmla="*/ 129382 h 647700"/>
              <a:gd name="connsiteX139" fmla="*/ 270669 w 647700"/>
              <a:gd name="connsiteY139" fmla="*/ 123825 h 647700"/>
              <a:gd name="connsiteX140" fmla="*/ 270669 w 647700"/>
              <a:gd name="connsiteY140" fmla="*/ 100013 h 647700"/>
              <a:gd name="connsiteX141" fmla="*/ 270669 w 647700"/>
              <a:gd name="connsiteY141" fmla="*/ 93663 h 647700"/>
              <a:gd name="connsiteX142" fmla="*/ 277019 w 647700"/>
              <a:gd name="connsiteY142" fmla="*/ 93663 h 647700"/>
              <a:gd name="connsiteX143" fmla="*/ 315913 w 647700"/>
              <a:gd name="connsiteY143" fmla="*/ 93663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647700" h="647700">
                <a:moveTo>
                  <a:pt x="603250" y="501650"/>
                </a:moveTo>
                <a:lnTo>
                  <a:pt x="633413" y="501650"/>
                </a:lnTo>
                <a:lnTo>
                  <a:pt x="633413" y="647700"/>
                </a:lnTo>
                <a:lnTo>
                  <a:pt x="603250" y="647700"/>
                </a:lnTo>
                <a:close/>
                <a:moveTo>
                  <a:pt x="550863" y="501650"/>
                </a:moveTo>
                <a:lnTo>
                  <a:pt x="579438" y="501650"/>
                </a:lnTo>
                <a:lnTo>
                  <a:pt x="579438" y="647700"/>
                </a:lnTo>
                <a:lnTo>
                  <a:pt x="550863" y="647700"/>
                </a:lnTo>
                <a:close/>
                <a:moveTo>
                  <a:pt x="496888" y="501650"/>
                </a:moveTo>
                <a:lnTo>
                  <a:pt x="527051" y="501650"/>
                </a:lnTo>
                <a:lnTo>
                  <a:pt x="527051" y="647700"/>
                </a:lnTo>
                <a:lnTo>
                  <a:pt x="496888" y="647700"/>
                </a:lnTo>
                <a:close/>
                <a:moveTo>
                  <a:pt x="442913" y="501650"/>
                </a:moveTo>
                <a:lnTo>
                  <a:pt x="473076" y="501650"/>
                </a:lnTo>
                <a:lnTo>
                  <a:pt x="473076" y="647700"/>
                </a:lnTo>
                <a:lnTo>
                  <a:pt x="442913" y="647700"/>
                </a:lnTo>
                <a:close/>
                <a:moveTo>
                  <a:pt x="390525" y="501650"/>
                </a:moveTo>
                <a:lnTo>
                  <a:pt x="419100" y="501650"/>
                </a:lnTo>
                <a:lnTo>
                  <a:pt x="419100" y="647700"/>
                </a:lnTo>
                <a:lnTo>
                  <a:pt x="390525" y="647700"/>
                </a:lnTo>
                <a:close/>
                <a:moveTo>
                  <a:pt x="336550" y="501650"/>
                </a:moveTo>
                <a:lnTo>
                  <a:pt x="366713" y="501650"/>
                </a:lnTo>
                <a:lnTo>
                  <a:pt x="366713" y="647700"/>
                </a:lnTo>
                <a:lnTo>
                  <a:pt x="336550" y="647700"/>
                </a:lnTo>
                <a:close/>
                <a:moveTo>
                  <a:pt x="284163" y="501650"/>
                </a:moveTo>
                <a:lnTo>
                  <a:pt x="312738" y="501650"/>
                </a:lnTo>
                <a:lnTo>
                  <a:pt x="312738" y="647700"/>
                </a:lnTo>
                <a:lnTo>
                  <a:pt x="284163" y="647700"/>
                </a:lnTo>
                <a:close/>
                <a:moveTo>
                  <a:pt x="230188" y="501650"/>
                </a:moveTo>
                <a:lnTo>
                  <a:pt x="258763" y="501650"/>
                </a:lnTo>
                <a:lnTo>
                  <a:pt x="258763" y="647700"/>
                </a:lnTo>
                <a:lnTo>
                  <a:pt x="230188" y="647700"/>
                </a:lnTo>
                <a:close/>
                <a:moveTo>
                  <a:pt x="176213" y="501650"/>
                </a:moveTo>
                <a:lnTo>
                  <a:pt x="206376" y="501650"/>
                </a:lnTo>
                <a:lnTo>
                  <a:pt x="206376" y="647700"/>
                </a:lnTo>
                <a:lnTo>
                  <a:pt x="176213" y="647700"/>
                </a:lnTo>
                <a:close/>
                <a:moveTo>
                  <a:pt x="122238" y="501650"/>
                </a:moveTo>
                <a:lnTo>
                  <a:pt x="152401" y="501650"/>
                </a:lnTo>
                <a:lnTo>
                  <a:pt x="152401" y="647700"/>
                </a:lnTo>
                <a:lnTo>
                  <a:pt x="122238" y="647700"/>
                </a:lnTo>
                <a:close/>
                <a:moveTo>
                  <a:pt x="69850" y="501650"/>
                </a:moveTo>
                <a:lnTo>
                  <a:pt x="98425" y="501650"/>
                </a:lnTo>
                <a:lnTo>
                  <a:pt x="98425" y="647700"/>
                </a:lnTo>
                <a:lnTo>
                  <a:pt x="69850" y="647700"/>
                </a:lnTo>
                <a:close/>
                <a:moveTo>
                  <a:pt x="15875" y="501650"/>
                </a:moveTo>
                <a:lnTo>
                  <a:pt x="44450" y="501650"/>
                </a:lnTo>
                <a:lnTo>
                  <a:pt x="44450" y="647700"/>
                </a:lnTo>
                <a:lnTo>
                  <a:pt x="15875" y="647700"/>
                </a:lnTo>
                <a:close/>
                <a:moveTo>
                  <a:pt x="0" y="444500"/>
                </a:moveTo>
                <a:lnTo>
                  <a:pt x="647700" y="444500"/>
                </a:lnTo>
                <a:lnTo>
                  <a:pt x="647700" y="487363"/>
                </a:lnTo>
                <a:lnTo>
                  <a:pt x="0" y="487363"/>
                </a:lnTo>
                <a:close/>
                <a:moveTo>
                  <a:pt x="107950" y="392113"/>
                </a:moveTo>
                <a:lnTo>
                  <a:pt x="539750" y="392113"/>
                </a:lnTo>
                <a:lnTo>
                  <a:pt x="539750" y="423863"/>
                </a:lnTo>
                <a:lnTo>
                  <a:pt x="107950" y="423863"/>
                </a:lnTo>
                <a:close/>
                <a:moveTo>
                  <a:pt x="204788" y="385763"/>
                </a:moveTo>
                <a:lnTo>
                  <a:pt x="206376" y="385763"/>
                </a:lnTo>
                <a:lnTo>
                  <a:pt x="206376" y="387351"/>
                </a:lnTo>
                <a:lnTo>
                  <a:pt x="204788" y="387351"/>
                </a:lnTo>
                <a:close/>
                <a:moveTo>
                  <a:pt x="331788" y="0"/>
                </a:moveTo>
                <a:lnTo>
                  <a:pt x="404813" y="0"/>
                </a:lnTo>
                <a:lnTo>
                  <a:pt x="404813" y="52388"/>
                </a:lnTo>
                <a:lnTo>
                  <a:pt x="331788" y="52388"/>
                </a:lnTo>
                <a:close/>
                <a:moveTo>
                  <a:pt x="315913" y="0"/>
                </a:moveTo>
                <a:lnTo>
                  <a:pt x="325438" y="0"/>
                </a:lnTo>
                <a:lnTo>
                  <a:pt x="325438" y="93663"/>
                </a:lnTo>
                <a:lnTo>
                  <a:pt x="365919" y="93663"/>
                </a:lnTo>
                <a:lnTo>
                  <a:pt x="371476" y="93663"/>
                </a:lnTo>
                <a:lnTo>
                  <a:pt x="371476" y="100013"/>
                </a:lnTo>
                <a:lnTo>
                  <a:pt x="371476" y="105569"/>
                </a:lnTo>
                <a:lnTo>
                  <a:pt x="371476" y="111919"/>
                </a:lnTo>
                <a:lnTo>
                  <a:pt x="371476" y="123825"/>
                </a:lnTo>
                <a:lnTo>
                  <a:pt x="390526" y="129382"/>
                </a:lnTo>
                <a:lnTo>
                  <a:pt x="408782" y="136525"/>
                </a:lnTo>
                <a:lnTo>
                  <a:pt x="425450" y="145257"/>
                </a:lnTo>
                <a:lnTo>
                  <a:pt x="442119" y="156369"/>
                </a:lnTo>
                <a:lnTo>
                  <a:pt x="457994" y="168275"/>
                </a:lnTo>
                <a:lnTo>
                  <a:pt x="471488" y="180975"/>
                </a:lnTo>
                <a:lnTo>
                  <a:pt x="484982" y="195263"/>
                </a:lnTo>
                <a:lnTo>
                  <a:pt x="496888" y="211138"/>
                </a:lnTo>
                <a:lnTo>
                  <a:pt x="508000" y="228600"/>
                </a:lnTo>
                <a:lnTo>
                  <a:pt x="517526" y="246857"/>
                </a:lnTo>
                <a:lnTo>
                  <a:pt x="525463" y="265113"/>
                </a:lnTo>
                <a:lnTo>
                  <a:pt x="531813" y="284957"/>
                </a:lnTo>
                <a:lnTo>
                  <a:pt x="537369" y="305594"/>
                </a:lnTo>
                <a:lnTo>
                  <a:pt x="542132" y="327819"/>
                </a:lnTo>
                <a:lnTo>
                  <a:pt x="543719" y="350838"/>
                </a:lnTo>
                <a:lnTo>
                  <a:pt x="544513" y="373857"/>
                </a:lnTo>
                <a:lnTo>
                  <a:pt x="544513" y="376238"/>
                </a:lnTo>
                <a:lnTo>
                  <a:pt x="455657" y="376238"/>
                </a:lnTo>
                <a:lnTo>
                  <a:pt x="455722" y="377850"/>
                </a:lnTo>
                <a:lnTo>
                  <a:pt x="455722" y="385763"/>
                </a:lnTo>
                <a:lnTo>
                  <a:pt x="443049" y="385763"/>
                </a:lnTo>
                <a:lnTo>
                  <a:pt x="443049" y="377850"/>
                </a:lnTo>
                <a:lnTo>
                  <a:pt x="442982" y="376238"/>
                </a:lnTo>
                <a:lnTo>
                  <a:pt x="393150" y="376238"/>
                </a:lnTo>
                <a:lnTo>
                  <a:pt x="393150" y="376268"/>
                </a:lnTo>
                <a:lnTo>
                  <a:pt x="393150" y="385763"/>
                </a:lnTo>
                <a:lnTo>
                  <a:pt x="380477" y="385763"/>
                </a:lnTo>
                <a:lnTo>
                  <a:pt x="380477" y="377059"/>
                </a:lnTo>
                <a:lnTo>
                  <a:pt x="380477" y="376238"/>
                </a:lnTo>
                <a:lnTo>
                  <a:pt x="330578" y="376238"/>
                </a:lnTo>
                <a:lnTo>
                  <a:pt x="330578" y="385763"/>
                </a:lnTo>
                <a:lnTo>
                  <a:pt x="317905" y="385763"/>
                </a:lnTo>
                <a:lnTo>
                  <a:pt x="317905" y="376238"/>
                </a:lnTo>
                <a:lnTo>
                  <a:pt x="268006" y="376238"/>
                </a:lnTo>
                <a:lnTo>
                  <a:pt x="268006" y="377059"/>
                </a:lnTo>
                <a:lnTo>
                  <a:pt x="268006" y="385763"/>
                </a:lnTo>
                <a:lnTo>
                  <a:pt x="255333" y="385763"/>
                </a:lnTo>
                <a:lnTo>
                  <a:pt x="255333" y="376268"/>
                </a:lnTo>
                <a:lnTo>
                  <a:pt x="255333" y="376238"/>
                </a:lnTo>
                <a:lnTo>
                  <a:pt x="204708" y="376238"/>
                </a:lnTo>
                <a:lnTo>
                  <a:pt x="204641" y="377850"/>
                </a:lnTo>
                <a:lnTo>
                  <a:pt x="204641" y="385763"/>
                </a:lnTo>
                <a:lnTo>
                  <a:pt x="191969" y="385763"/>
                </a:lnTo>
                <a:lnTo>
                  <a:pt x="191969" y="377059"/>
                </a:lnTo>
                <a:lnTo>
                  <a:pt x="192002" y="376238"/>
                </a:lnTo>
                <a:lnTo>
                  <a:pt x="147426" y="376238"/>
                </a:lnTo>
                <a:lnTo>
                  <a:pt x="147614" y="379433"/>
                </a:lnTo>
                <a:lnTo>
                  <a:pt x="137317" y="379433"/>
                </a:lnTo>
                <a:lnTo>
                  <a:pt x="137226" y="376238"/>
                </a:lnTo>
                <a:lnTo>
                  <a:pt x="100013" y="376238"/>
                </a:lnTo>
                <a:lnTo>
                  <a:pt x="100013" y="373857"/>
                </a:lnTo>
                <a:lnTo>
                  <a:pt x="100807" y="350838"/>
                </a:lnTo>
                <a:lnTo>
                  <a:pt x="102394" y="327819"/>
                </a:lnTo>
                <a:lnTo>
                  <a:pt x="107157" y="307182"/>
                </a:lnTo>
                <a:lnTo>
                  <a:pt x="111919" y="285750"/>
                </a:lnTo>
                <a:lnTo>
                  <a:pt x="119063" y="265907"/>
                </a:lnTo>
                <a:lnTo>
                  <a:pt x="127000" y="246857"/>
                </a:lnTo>
                <a:lnTo>
                  <a:pt x="136526" y="229394"/>
                </a:lnTo>
                <a:lnTo>
                  <a:pt x="147638" y="211932"/>
                </a:lnTo>
                <a:lnTo>
                  <a:pt x="157957" y="196057"/>
                </a:lnTo>
                <a:lnTo>
                  <a:pt x="172244" y="181769"/>
                </a:lnTo>
                <a:lnTo>
                  <a:pt x="185738" y="168275"/>
                </a:lnTo>
                <a:lnTo>
                  <a:pt x="201613" y="156369"/>
                </a:lnTo>
                <a:lnTo>
                  <a:pt x="216694" y="146050"/>
                </a:lnTo>
                <a:lnTo>
                  <a:pt x="234157" y="136525"/>
                </a:lnTo>
                <a:lnTo>
                  <a:pt x="251619" y="129382"/>
                </a:lnTo>
                <a:lnTo>
                  <a:pt x="270669" y="123825"/>
                </a:lnTo>
                <a:lnTo>
                  <a:pt x="270669" y="100013"/>
                </a:lnTo>
                <a:lnTo>
                  <a:pt x="270669" y="93663"/>
                </a:lnTo>
                <a:lnTo>
                  <a:pt x="277019" y="93663"/>
                </a:lnTo>
                <a:lnTo>
                  <a:pt x="315913" y="93663"/>
                </a:lnTo>
                <a:close/>
              </a:path>
            </a:pathLst>
          </a:custGeom>
          <a:solidFill>
            <a:schemeClr val="accent2"/>
          </a:solidFill>
          <a:ln>
            <a:noFill/>
          </a:ln>
          <a:extLst/>
        </p:spPr>
        <p:txBody>
          <a:bodyPr vert="horz" wrap="square" lIns="91415" tIns="45707" rIns="91415" bIns="45707"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375" name="Group 374"/>
          <p:cNvGrpSpPr/>
          <p:nvPr userDrawn="1"/>
        </p:nvGrpSpPr>
        <p:grpSpPr>
          <a:xfrm flipH="1">
            <a:off x="5833792" y="6707298"/>
            <a:ext cx="119610" cy="231830"/>
            <a:chOff x="6229350" y="5232400"/>
            <a:chExt cx="539750" cy="1046162"/>
          </a:xfrm>
        </p:grpSpPr>
        <p:sp>
          <p:nvSpPr>
            <p:cNvPr id="37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379" name="Group 378"/>
          <p:cNvGrpSpPr/>
          <p:nvPr userDrawn="1"/>
        </p:nvGrpSpPr>
        <p:grpSpPr>
          <a:xfrm flipH="1">
            <a:off x="12210971" y="6265503"/>
            <a:ext cx="210134" cy="407288"/>
            <a:chOff x="6229350" y="5232400"/>
            <a:chExt cx="539750" cy="1046162"/>
          </a:xfrm>
        </p:grpSpPr>
        <p:sp>
          <p:nvSpPr>
            <p:cNvPr id="38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10252724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7_36pt Title Only">
    <p:spTree>
      <p:nvGrpSpPr>
        <p:cNvPr id="1" name=""/>
        <p:cNvGrpSpPr/>
        <p:nvPr/>
      </p:nvGrpSpPr>
      <p:grpSpPr>
        <a:xfrm>
          <a:off x="0" y="0"/>
          <a:ext cx="0" cy="0"/>
          <a:chOff x="0" y="0"/>
          <a:chExt cx="0" cy="0"/>
        </a:xfrm>
      </p:grpSpPr>
      <p:grpSp>
        <p:nvGrpSpPr>
          <p:cNvPr id="71" name="Group 70"/>
          <p:cNvGrpSpPr/>
          <p:nvPr userDrawn="1"/>
        </p:nvGrpSpPr>
        <p:grpSpPr>
          <a:xfrm flipH="1">
            <a:off x="-1" y="4620352"/>
            <a:ext cx="12436476" cy="2394053"/>
            <a:chOff x="-1" y="4621674"/>
            <a:chExt cx="12436476" cy="2394053"/>
          </a:xfrm>
        </p:grpSpPr>
        <p:grpSp>
          <p:nvGrpSpPr>
            <p:cNvPr id="72" name="Group 71"/>
            <p:cNvGrpSpPr/>
            <p:nvPr/>
          </p:nvGrpSpPr>
          <p:grpSpPr>
            <a:xfrm>
              <a:off x="1309765" y="4621674"/>
              <a:ext cx="11126710" cy="2394053"/>
              <a:chOff x="1274682" y="4608850"/>
              <a:chExt cx="11163197" cy="2394053"/>
            </a:xfrm>
          </p:grpSpPr>
          <p:sp>
            <p:nvSpPr>
              <p:cNvPr id="87" name="Rectangle 21"/>
              <p:cNvSpPr/>
              <p:nvPr/>
            </p:nvSpPr>
            <p:spPr>
              <a:xfrm>
                <a:off x="10489449" y="4683761"/>
                <a:ext cx="703850" cy="995749"/>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361" rtl="0" eaLnBrk="1" fontAlgn="auto" latinLnBrk="0" hangingPunct="1">
                  <a:lnSpc>
                    <a:spcPct val="100000"/>
                  </a:lnSpc>
                  <a:spcBef>
                    <a:spcPts val="0"/>
                  </a:spcBef>
                  <a:spcAft>
                    <a:spcPts val="0"/>
                  </a:spcAft>
                  <a:buClrTx/>
                  <a:buSzTx/>
                  <a:buFontTx/>
                  <a:buNone/>
                  <a:tabLst/>
                  <a:defRPr/>
                </a:pPr>
                <a:endParaRPr kumimoji="0" lang="en-US" sz="1198" b="0" i="0" u="none" strike="noStrike" kern="1200" cap="none" spc="0" normalizeH="0" baseline="0" noProof="0" dirty="0">
                  <a:ln>
                    <a:noFill/>
                  </a:ln>
                  <a:solidFill>
                    <a:srgbClr val="FFFFFF"/>
                  </a:solidFill>
                  <a:effectLst/>
                  <a:uLnTx/>
                  <a:uFillTx/>
                  <a:latin typeface="Segoe UI"/>
                  <a:ea typeface="+mn-ea"/>
                  <a:cs typeface="+mn-cs"/>
                </a:endParaRPr>
              </a:p>
            </p:txBody>
          </p:sp>
          <p:sp>
            <p:nvSpPr>
              <p:cNvPr id="88" name="Freeform 87"/>
              <p:cNvSpPr>
                <a:spLocks/>
              </p:cNvSpPr>
              <p:nvPr/>
            </p:nvSpPr>
            <p:spPr bwMode="auto">
              <a:xfrm>
                <a:off x="8990096" y="4608850"/>
                <a:ext cx="924969" cy="609039"/>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accent1">
                  <a:alpha val="6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89" name="Rectangle 5"/>
              <p:cNvSpPr>
                <a:spLocks noChangeArrowheads="1"/>
              </p:cNvSpPr>
              <p:nvPr/>
            </p:nvSpPr>
            <p:spPr bwMode="auto">
              <a:xfrm>
                <a:off x="9726424" y="4873660"/>
                <a:ext cx="927102" cy="1074743"/>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0" name="Rectangle 6"/>
              <p:cNvSpPr>
                <a:spLocks noChangeArrowheads="1"/>
              </p:cNvSpPr>
              <p:nvPr/>
            </p:nvSpPr>
            <p:spPr bwMode="auto">
              <a:xfrm>
                <a:off x="9726424" y="4873660"/>
                <a:ext cx="927102" cy="1074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1" name="Rectangle 7"/>
              <p:cNvSpPr>
                <a:spLocks noChangeArrowheads="1"/>
              </p:cNvSpPr>
              <p:nvPr/>
            </p:nvSpPr>
            <p:spPr bwMode="auto">
              <a:xfrm>
                <a:off x="9864536" y="4722847"/>
                <a:ext cx="649289" cy="752479"/>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2" name="Rectangle 14"/>
              <p:cNvSpPr>
                <a:spLocks noChangeArrowheads="1"/>
              </p:cNvSpPr>
              <p:nvPr/>
            </p:nvSpPr>
            <p:spPr bwMode="auto">
              <a:xfrm>
                <a:off x="11201214" y="5181636"/>
                <a:ext cx="744539" cy="698504"/>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3" name="Rectangle 15"/>
              <p:cNvSpPr>
                <a:spLocks noChangeArrowheads="1"/>
              </p:cNvSpPr>
              <p:nvPr/>
            </p:nvSpPr>
            <p:spPr bwMode="auto">
              <a:xfrm>
                <a:off x="11693340" y="5376900"/>
                <a:ext cx="744539" cy="563565"/>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4" name="Rectangle 22"/>
              <p:cNvSpPr>
                <a:spLocks noChangeArrowheads="1"/>
              </p:cNvSpPr>
              <p:nvPr/>
            </p:nvSpPr>
            <p:spPr bwMode="auto">
              <a:xfrm>
                <a:off x="11112314" y="4772059"/>
                <a:ext cx="179388" cy="1014418"/>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5" name="Freeform 25"/>
              <p:cNvSpPr>
                <a:spLocks/>
              </p:cNvSpPr>
              <p:nvPr/>
            </p:nvSpPr>
            <p:spPr bwMode="auto">
              <a:xfrm>
                <a:off x="11715565" y="4873660"/>
                <a:ext cx="304801" cy="904880"/>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6" name="Freeform 26"/>
              <p:cNvSpPr>
                <a:spLocks/>
              </p:cNvSpPr>
              <p:nvPr/>
            </p:nvSpPr>
            <p:spPr bwMode="auto">
              <a:xfrm>
                <a:off x="11967978" y="5083211"/>
                <a:ext cx="236538" cy="695329"/>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7" name="Rectangle 142"/>
              <p:cNvSpPr>
                <a:spLocks noChangeArrowheads="1"/>
              </p:cNvSpPr>
              <p:nvPr/>
            </p:nvSpPr>
            <p:spPr bwMode="auto">
              <a:xfrm>
                <a:off x="11572690" y="5060986"/>
                <a:ext cx="95250" cy="134938"/>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8" name="Rectangle 144"/>
              <p:cNvSpPr>
                <a:spLocks noChangeArrowheads="1"/>
              </p:cNvSpPr>
              <p:nvPr/>
            </p:nvSpPr>
            <p:spPr bwMode="auto">
              <a:xfrm>
                <a:off x="10070912" y="4629184"/>
                <a:ext cx="93663" cy="134938"/>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9" name="Rectangle 145"/>
              <p:cNvSpPr>
                <a:spLocks noChangeArrowheads="1"/>
              </p:cNvSpPr>
              <p:nvPr/>
            </p:nvSpPr>
            <p:spPr bwMode="auto">
              <a:xfrm>
                <a:off x="10199500" y="4695859"/>
                <a:ext cx="187325" cy="68263"/>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0" name="Freeform 99"/>
              <p:cNvSpPr>
                <a:spLocks/>
              </p:cNvSpPr>
              <p:nvPr/>
            </p:nvSpPr>
            <p:spPr bwMode="auto">
              <a:xfrm>
                <a:off x="8249852" y="5470540"/>
                <a:ext cx="4188027" cy="1512485"/>
              </a:xfrm>
              <a:custGeom>
                <a:avLst/>
                <a:gdLst>
                  <a:gd name="connsiteX0" fmla="*/ 3323489 w 4188027"/>
                  <a:gd name="connsiteY0" fmla="*/ 0 h 1512485"/>
                  <a:gd name="connsiteX1" fmla="*/ 3545807 w 4188027"/>
                  <a:gd name="connsiteY1" fmla="*/ 8238 h 1512485"/>
                  <a:gd name="connsiteX2" fmla="*/ 3941809 w 4188027"/>
                  <a:gd name="connsiteY2" fmla="*/ 41187 h 1512485"/>
                  <a:gd name="connsiteX3" fmla="*/ 4136337 w 4188027"/>
                  <a:gd name="connsiteY3" fmla="*/ 65899 h 1512485"/>
                  <a:gd name="connsiteX4" fmla="*/ 4178022 w 4188027"/>
                  <a:gd name="connsiteY4" fmla="*/ 77225 h 1512485"/>
                  <a:gd name="connsiteX5" fmla="*/ 4188027 w 4188027"/>
                  <a:gd name="connsiteY5" fmla="*/ 78461 h 1512485"/>
                  <a:gd name="connsiteX6" fmla="*/ 4188027 w 4188027"/>
                  <a:gd name="connsiteY6" fmla="*/ 1512485 h 1512485"/>
                  <a:gd name="connsiteX7" fmla="*/ 0 w 4188027"/>
                  <a:gd name="connsiteY7" fmla="*/ 1512485 h 1512485"/>
                  <a:gd name="connsiteX8" fmla="*/ 149782 w 4188027"/>
                  <a:gd name="connsiteY8" fmla="*/ 1359770 h 1512485"/>
                  <a:gd name="connsiteX9" fmla="*/ 3323489 w 4188027"/>
                  <a:gd name="connsiteY9" fmla="*/ 0 h 1512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88027" h="1512485">
                    <a:moveTo>
                      <a:pt x="3323489" y="0"/>
                    </a:moveTo>
                    <a:cubicBezTo>
                      <a:pt x="3399911" y="0"/>
                      <a:pt x="3469385" y="0"/>
                      <a:pt x="3545807" y="8238"/>
                    </a:cubicBezTo>
                    <a:cubicBezTo>
                      <a:pt x="3677807" y="8238"/>
                      <a:pt x="3809809" y="16475"/>
                      <a:pt x="3941809" y="41187"/>
                    </a:cubicBezTo>
                    <a:cubicBezTo>
                      <a:pt x="4011283" y="49424"/>
                      <a:pt x="4073811" y="57661"/>
                      <a:pt x="4136337" y="65899"/>
                    </a:cubicBezTo>
                    <a:cubicBezTo>
                      <a:pt x="4150232" y="70018"/>
                      <a:pt x="4164127" y="74136"/>
                      <a:pt x="4178022" y="77225"/>
                    </a:cubicBezTo>
                    <a:lnTo>
                      <a:pt x="4188027" y="78461"/>
                    </a:lnTo>
                    <a:lnTo>
                      <a:pt x="4188027" y="1512485"/>
                    </a:lnTo>
                    <a:lnTo>
                      <a:pt x="0" y="1512485"/>
                    </a:lnTo>
                    <a:lnTo>
                      <a:pt x="149782" y="1359770"/>
                    </a:lnTo>
                    <a:cubicBezTo>
                      <a:pt x="1074263" y="463993"/>
                      <a:pt x="2198876" y="14415"/>
                      <a:pt x="3323489" y="0"/>
                    </a:cubicBezTo>
                    <a:close/>
                  </a:path>
                </a:pathLst>
              </a:custGeom>
              <a:solidFill>
                <a:srgbClr val="77AC00"/>
              </a:solidFill>
              <a:ln>
                <a:noFill/>
              </a:ln>
              <a:extLst/>
            </p:spPr>
            <p:txBody>
              <a:bodyPr vert="horz" wrap="square" lIns="91427" tIns="45713" rIns="91427" bIns="45713" numCol="1" anchor="t" anchorCtr="0" compatLnSpc="1">
                <a:prstTxWarp prst="textNoShape">
                  <a:avLst/>
                </a:prstTxWarp>
                <a:noAutofit/>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01" name="Freeform 154"/>
              <p:cNvSpPr>
                <a:spLocks/>
              </p:cNvSpPr>
              <p:nvPr/>
            </p:nvSpPr>
            <p:spPr bwMode="auto">
              <a:xfrm>
                <a:off x="7743336" y="4793486"/>
                <a:ext cx="412691" cy="1233312"/>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02" name="Freeform 155"/>
              <p:cNvSpPr>
                <a:spLocks/>
              </p:cNvSpPr>
              <p:nvPr/>
            </p:nvSpPr>
            <p:spPr bwMode="auto">
              <a:xfrm>
                <a:off x="8084601" y="5080782"/>
                <a:ext cx="319042" cy="94601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03" name="Freeform 157"/>
              <p:cNvSpPr>
                <a:spLocks/>
              </p:cNvSpPr>
              <p:nvPr/>
            </p:nvSpPr>
            <p:spPr bwMode="auto">
              <a:xfrm>
                <a:off x="5559637" y="5735427"/>
                <a:ext cx="5988788" cy="1247598"/>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104" name="Group 103"/>
              <p:cNvGrpSpPr/>
              <p:nvPr/>
            </p:nvGrpSpPr>
            <p:grpSpPr>
              <a:xfrm>
                <a:off x="6692954" y="5741776"/>
                <a:ext cx="3049155" cy="1249573"/>
                <a:chOff x="6823075" y="5763825"/>
                <a:chExt cx="3049588" cy="1249750"/>
              </a:xfrm>
            </p:grpSpPr>
            <p:sp>
              <p:nvSpPr>
                <p:cNvPr id="129" name="Freeform 158"/>
                <p:cNvSpPr>
                  <a:spLocks/>
                </p:cNvSpPr>
                <p:nvPr/>
              </p:nvSpPr>
              <p:spPr bwMode="auto">
                <a:xfrm>
                  <a:off x="6823075" y="5768975"/>
                  <a:ext cx="2136775" cy="1244600"/>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30" name="Freeform 159"/>
                <p:cNvSpPr>
                  <a:spLocks/>
                </p:cNvSpPr>
                <p:nvPr/>
              </p:nvSpPr>
              <p:spPr bwMode="auto">
                <a:xfrm>
                  <a:off x="9169400" y="5908675"/>
                  <a:ext cx="703263" cy="1104900"/>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31" name="Freeform 160"/>
                <p:cNvSpPr>
                  <a:spLocks/>
                </p:cNvSpPr>
                <p:nvPr/>
              </p:nvSpPr>
              <p:spPr bwMode="auto">
                <a:xfrm>
                  <a:off x="7221538" y="5763825"/>
                  <a:ext cx="2580333" cy="1241425"/>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12 w 10012"/>
                    <a:gd name="connsiteY0" fmla="*/ 1120 h 10000"/>
                    <a:gd name="connsiteX1" fmla="*/ 6749 w 10012"/>
                    <a:gd name="connsiteY1" fmla="*/ 0 h 10000"/>
                    <a:gd name="connsiteX2" fmla="*/ 0 w 10012"/>
                    <a:gd name="connsiteY2" fmla="*/ 10000 h 10000"/>
                    <a:gd name="connsiteX3" fmla="*/ 7915 w 10012"/>
                    <a:gd name="connsiteY3" fmla="*/ 10000 h 10000"/>
                    <a:gd name="connsiteX4" fmla="*/ 10012 w 10012"/>
                    <a:gd name="connsiteY4" fmla="*/ 1120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1" h="10000">
                      <a:moveTo>
                        <a:pt x="10021" y="1158"/>
                      </a:moveTo>
                      <a:cubicBezTo>
                        <a:pt x="8957" y="581"/>
                        <a:pt x="7843" y="152"/>
                        <a:pt x="6749" y="0"/>
                      </a:cubicBezTo>
                      <a:cubicBezTo>
                        <a:pt x="3047" y="2249"/>
                        <a:pt x="0" y="10000"/>
                        <a:pt x="0" y="10000"/>
                      </a:cubicBezTo>
                      <a:lnTo>
                        <a:pt x="7915" y="10000"/>
                      </a:lnTo>
                      <a:cubicBezTo>
                        <a:pt x="7622" y="5041"/>
                        <a:pt x="9904" y="1371"/>
                        <a:pt x="10021" y="115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pSp>
          <p:grpSp>
            <p:nvGrpSpPr>
              <p:cNvPr id="105" name="Group 104"/>
              <p:cNvGrpSpPr/>
              <p:nvPr/>
            </p:nvGrpSpPr>
            <p:grpSpPr>
              <a:xfrm>
                <a:off x="7384892" y="6621116"/>
                <a:ext cx="84298" cy="226035"/>
                <a:chOff x="8512196" y="6496912"/>
                <a:chExt cx="112332" cy="301206"/>
              </a:xfrm>
            </p:grpSpPr>
            <p:sp>
              <p:nvSpPr>
                <p:cNvPr id="126" name="Freeform 30"/>
                <p:cNvSpPr>
                  <a:spLocks/>
                </p:cNvSpPr>
                <p:nvPr/>
              </p:nvSpPr>
              <p:spPr bwMode="auto">
                <a:xfrm>
                  <a:off x="8512196" y="6694733"/>
                  <a:ext cx="65610" cy="103385"/>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7" name="Freeform 31"/>
                <p:cNvSpPr>
                  <a:spLocks/>
                </p:cNvSpPr>
                <p:nvPr/>
              </p:nvSpPr>
              <p:spPr bwMode="auto">
                <a:xfrm>
                  <a:off x="8535061" y="6595325"/>
                  <a:ext cx="65610" cy="106366"/>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8" name="Freeform 32"/>
                <p:cNvSpPr>
                  <a:spLocks/>
                </p:cNvSpPr>
                <p:nvPr/>
              </p:nvSpPr>
              <p:spPr bwMode="auto">
                <a:xfrm>
                  <a:off x="8558918" y="6496912"/>
                  <a:ext cx="65610" cy="106366"/>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06" name="Group 105"/>
              <p:cNvGrpSpPr/>
              <p:nvPr/>
            </p:nvGrpSpPr>
            <p:grpSpPr>
              <a:xfrm>
                <a:off x="1274682" y="5602741"/>
                <a:ext cx="7088779" cy="1400162"/>
                <a:chOff x="1274682" y="5602741"/>
                <a:chExt cx="7088779" cy="1400162"/>
              </a:xfrm>
            </p:grpSpPr>
            <p:sp>
              <p:nvSpPr>
                <p:cNvPr id="107" name="Freeform 11"/>
                <p:cNvSpPr>
                  <a:spLocks/>
                </p:cNvSpPr>
                <p:nvPr/>
              </p:nvSpPr>
              <p:spPr bwMode="auto">
                <a:xfrm flipH="1">
                  <a:off x="4392841" y="6472773"/>
                  <a:ext cx="3970620" cy="51025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08" name="Group 107"/>
                <p:cNvGrpSpPr/>
                <p:nvPr/>
              </p:nvGrpSpPr>
              <p:grpSpPr>
                <a:xfrm>
                  <a:off x="1274682" y="5602741"/>
                  <a:ext cx="5941204" cy="1400162"/>
                  <a:chOff x="1274682" y="5602741"/>
                  <a:chExt cx="5941204" cy="1400162"/>
                </a:xfrm>
              </p:grpSpPr>
              <p:sp>
                <p:nvSpPr>
                  <p:cNvPr id="109" name="Rectangle 5"/>
                  <p:cNvSpPr>
                    <a:spLocks noChangeArrowheads="1"/>
                  </p:cNvSpPr>
                  <p:nvPr/>
                </p:nvSpPr>
                <p:spPr bwMode="auto">
                  <a:xfrm flipH="1">
                    <a:off x="5098522" y="5935949"/>
                    <a:ext cx="550363" cy="53060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0" name="Rectangle 6"/>
                  <p:cNvSpPr>
                    <a:spLocks noChangeArrowheads="1"/>
                  </p:cNvSpPr>
                  <p:nvPr/>
                </p:nvSpPr>
                <p:spPr bwMode="auto">
                  <a:xfrm flipH="1">
                    <a:off x="5187141" y="5732594"/>
                    <a:ext cx="238802" cy="644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1" name="Rectangle 9"/>
                  <p:cNvSpPr>
                    <a:spLocks noChangeArrowheads="1"/>
                  </p:cNvSpPr>
                  <p:nvPr/>
                </p:nvSpPr>
                <p:spPr bwMode="auto">
                  <a:xfrm flipH="1">
                    <a:off x="3272996" y="6171761"/>
                    <a:ext cx="546632" cy="62125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2" name="Rectangle 10"/>
                  <p:cNvSpPr>
                    <a:spLocks noChangeArrowheads="1"/>
                  </p:cNvSpPr>
                  <p:nvPr/>
                </p:nvSpPr>
                <p:spPr bwMode="auto">
                  <a:xfrm flipH="1">
                    <a:off x="3050985" y="5878855"/>
                    <a:ext cx="546632" cy="914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3" name="Freeform 18"/>
                  <p:cNvSpPr>
                    <a:spLocks/>
                  </p:cNvSpPr>
                  <p:nvPr/>
                </p:nvSpPr>
                <p:spPr bwMode="auto">
                  <a:xfrm flipH="1">
                    <a:off x="1274682" y="6099916"/>
                    <a:ext cx="5941204" cy="88310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9"/>
                  <p:cNvSpPr>
                    <a:spLocks/>
                  </p:cNvSpPr>
                  <p:nvPr/>
                </p:nvSpPr>
                <p:spPr bwMode="auto">
                  <a:xfrm flipH="1">
                    <a:off x="2112864" y="6554861"/>
                    <a:ext cx="3340253"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5" name="AutoShape 3"/>
                  <p:cNvSpPr>
                    <a:spLocks noChangeAspect="1" noChangeArrowheads="1" noTextEdit="1"/>
                  </p:cNvSpPr>
                  <p:nvPr/>
                </p:nvSpPr>
                <p:spPr bwMode="auto">
                  <a:xfrm flipH="1">
                    <a:off x="1681200" y="5602741"/>
                    <a:ext cx="4298430"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16" name="Group 115"/>
                  <p:cNvGrpSpPr/>
                  <p:nvPr/>
                </p:nvGrpSpPr>
                <p:grpSpPr>
                  <a:xfrm flipH="1">
                    <a:off x="4362576" y="5966035"/>
                    <a:ext cx="188333" cy="365035"/>
                    <a:chOff x="6229350" y="5313360"/>
                    <a:chExt cx="539750" cy="1046165"/>
                  </a:xfrm>
                </p:grpSpPr>
                <p:sp>
                  <p:nvSpPr>
                    <p:cNvPr id="123" name="Freeform 14"/>
                    <p:cNvSpPr>
                      <a:spLocks/>
                    </p:cNvSpPr>
                    <p:nvPr/>
                  </p:nvSpPr>
                  <p:spPr bwMode="auto">
                    <a:xfrm>
                      <a:off x="6446840" y="5951537"/>
                      <a:ext cx="111124" cy="407988"/>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4" name="Freeform 15"/>
                    <p:cNvSpPr>
                      <a:spLocks/>
                    </p:cNvSpPr>
                    <p:nvPr/>
                  </p:nvSpPr>
                  <p:spPr bwMode="auto">
                    <a:xfrm>
                      <a:off x="6229350" y="5592762"/>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5" name="Freeform 16"/>
                    <p:cNvSpPr>
                      <a:spLocks/>
                    </p:cNvSpPr>
                    <p:nvPr/>
                  </p:nvSpPr>
                  <p:spPr bwMode="auto">
                    <a:xfrm>
                      <a:off x="6300789" y="5313360"/>
                      <a:ext cx="395287" cy="396874"/>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17" name="Group 116"/>
                  <p:cNvGrpSpPr/>
                  <p:nvPr/>
                </p:nvGrpSpPr>
                <p:grpSpPr>
                  <a:xfrm flipH="1">
                    <a:off x="6483711" y="6266907"/>
                    <a:ext cx="188333" cy="286931"/>
                    <a:chOff x="6229350" y="5232400"/>
                    <a:chExt cx="539750" cy="822325"/>
                  </a:xfrm>
                </p:grpSpPr>
                <p:sp>
                  <p:nvSpPr>
                    <p:cNvPr id="12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18" name="Group 117"/>
                  <p:cNvGrpSpPr/>
                  <p:nvPr/>
                </p:nvGrpSpPr>
                <p:grpSpPr>
                  <a:xfrm flipH="1">
                    <a:off x="6259882" y="6201143"/>
                    <a:ext cx="188333" cy="286931"/>
                    <a:chOff x="6229350" y="5232400"/>
                    <a:chExt cx="539750" cy="822325"/>
                  </a:xfrm>
                </p:grpSpPr>
                <p:sp>
                  <p:nvSpPr>
                    <p:cNvPr id="119"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0"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grpSp>
        <p:grpSp>
          <p:nvGrpSpPr>
            <p:cNvPr id="73" name="Group 72"/>
            <p:cNvGrpSpPr/>
            <p:nvPr/>
          </p:nvGrpSpPr>
          <p:grpSpPr>
            <a:xfrm>
              <a:off x="-1" y="5946374"/>
              <a:ext cx="1738984" cy="1049475"/>
              <a:chOff x="65126" y="5946374"/>
              <a:chExt cx="2385592" cy="1049475"/>
            </a:xfrm>
          </p:grpSpPr>
          <p:sp>
            <p:nvSpPr>
              <p:cNvPr id="74" name="Rectangle 73"/>
              <p:cNvSpPr/>
              <p:nvPr/>
            </p:nvSpPr>
            <p:spPr bwMode="auto">
              <a:xfrm>
                <a:off x="1436308" y="6438791"/>
                <a:ext cx="1014410" cy="55705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Rectangle 74"/>
              <p:cNvSpPr/>
              <p:nvPr/>
            </p:nvSpPr>
            <p:spPr bwMode="auto">
              <a:xfrm>
                <a:off x="708253" y="5946374"/>
                <a:ext cx="1011238" cy="1049475"/>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 name="Group 75"/>
              <p:cNvGrpSpPr/>
              <p:nvPr/>
            </p:nvGrpSpPr>
            <p:grpSpPr>
              <a:xfrm>
                <a:off x="65126" y="5985566"/>
                <a:ext cx="1215988" cy="1008283"/>
                <a:chOff x="10096311" y="5303965"/>
                <a:chExt cx="1215988" cy="1672317"/>
              </a:xfrm>
            </p:grpSpPr>
            <p:sp>
              <p:nvSpPr>
                <p:cNvPr id="77" name="Rectangle 76"/>
                <p:cNvSpPr>
                  <a:spLocks noChangeArrowheads="1"/>
                </p:cNvSpPr>
                <p:nvPr/>
              </p:nvSpPr>
              <p:spPr bwMode="auto">
                <a:xfrm flipH="1">
                  <a:off x="10096311" y="5528711"/>
                  <a:ext cx="1155661" cy="1447571"/>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8" name="Rectangle 77"/>
                <p:cNvSpPr>
                  <a:spLocks noChangeArrowheads="1"/>
                </p:cNvSpPr>
                <p:nvPr/>
              </p:nvSpPr>
              <p:spPr bwMode="auto">
                <a:xfrm flipH="1">
                  <a:off x="10096312" y="5484938"/>
                  <a:ext cx="1215987" cy="75829"/>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9" name="Rectangle 78"/>
                <p:cNvSpPr>
                  <a:spLocks noChangeArrowheads="1"/>
                </p:cNvSpPr>
                <p:nvPr/>
              </p:nvSpPr>
              <p:spPr bwMode="auto">
                <a:xfrm flipH="1">
                  <a:off x="10459811" y="6681007"/>
                  <a:ext cx="152400" cy="295275"/>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0" name="Rectangle 79"/>
                <p:cNvSpPr>
                  <a:spLocks noChangeArrowheads="1"/>
                </p:cNvSpPr>
                <p:nvPr/>
              </p:nvSpPr>
              <p:spPr bwMode="auto">
                <a:xfrm flipH="1">
                  <a:off x="10724923" y="6681007"/>
                  <a:ext cx="152400" cy="295275"/>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1" name="Rectangle 80"/>
                <p:cNvSpPr>
                  <a:spLocks noChangeArrowheads="1"/>
                </p:cNvSpPr>
                <p:nvPr/>
              </p:nvSpPr>
              <p:spPr bwMode="auto">
                <a:xfrm flipH="1">
                  <a:off x="10196285" y="5653895"/>
                  <a:ext cx="941388" cy="152400"/>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2" name="Rectangle 81"/>
                <p:cNvSpPr>
                  <a:spLocks noChangeArrowheads="1"/>
                </p:cNvSpPr>
                <p:nvPr/>
              </p:nvSpPr>
              <p:spPr bwMode="auto">
                <a:xfrm flipH="1">
                  <a:off x="10196285" y="5912657"/>
                  <a:ext cx="941388" cy="152400"/>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3" name="Rectangle 82"/>
                <p:cNvSpPr>
                  <a:spLocks noChangeArrowheads="1"/>
                </p:cNvSpPr>
                <p:nvPr/>
              </p:nvSpPr>
              <p:spPr bwMode="auto">
                <a:xfrm flipH="1">
                  <a:off x="10196285" y="6176182"/>
                  <a:ext cx="941388" cy="149225"/>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4" name="Rectangle 83"/>
                <p:cNvSpPr>
                  <a:spLocks noChangeArrowheads="1"/>
                </p:cNvSpPr>
                <p:nvPr/>
              </p:nvSpPr>
              <p:spPr bwMode="auto">
                <a:xfrm flipH="1">
                  <a:off x="10196285" y="6436532"/>
                  <a:ext cx="941388" cy="152400"/>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Rectangle 22"/>
                <p:cNvSpPr>
                  <a:spLocks noChangeArrowheads="1"/>
                </p:cNvSpPr>
                <p:nvPr/>
              </p:nvSpPr>
              <p:spPr bwMode="auto">
                <a:xfrm flipH="1">
                  <a:off x="10278836" y="5303965"/>
                  <a:ext cx="139700" cy="180975"/>
                </a:xfrm>
                <a:prstGeom prst="rect">
                  <a:avLst/>
                </a:prstGeom>
                <a:solidFill>
                  <a:schemeClr val="tx2">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 name="Rectangle 23"/>
                <p:cNvSpPr>
                  <a:spLocks noChangeArrowheads="1"/>
                </p:cNvSpPr>
                <p:nvPr/>
              </p:nvSpPr>
              <p:spPr bwMode="auto">
                <a:xfrm flipH="1">
                  <a:off x="10466161" y="5303965"/>
                  <a:ext cx="139700" cy="180975"/>
                </a:xfrm>
                <a:prstGeom prst="rect">
                  <a:avLst/>
                </a:prstGeom>
                <a:solidFill>
                  <a:schemeClr val="tx2">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529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pPr>
              <a:defRPr/>
            </a:pPr>
            <a:r>
              <a:rPr lang="en-US">
                <a:solidFill>
                  <a:srgbClr val="FFFFFF"/>
                </a:solidFill>
              </a:rPr>
              <a:t>Microsoft confidential 2015</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39">
              <a:defRPr/>
            </a:pPr>
            <a:fld id="{27258FFF-F925-446B-8502-81C933981705}" type="slidenum">
              <a:rPr lang="en-US" smtClean="0">
                <a:solidFill>
                  <a:srgbClr val="FFFFFF"/>
                </a:solidFill>
              </a:rPr>
              <a:pPr defTabSz="932539">
                <a:defRPr/>
              </a:pPr>
              <a:t>‹#›</a:t>
            </a:fld>
            <a:endParaRPr lang="en-US" dirty="0">
              <a:solidFill>
                <a:srgbClr val="FFFFFF"/>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4522101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9_36pt Title Only">
    <p:spTree>
      <p:nvGrpSpPr>
        <p:cNvPr id="1" name=""/>
        <p:cNvGrpSpPr/>
        <p:nvPr/>
      </p:nvGrpSpPr>
      <p:grpSpPr>
        <a:xfrm>
          <a:off x="0" y="0"/>
          <a:ext cx="0" cy="0"/>
          <a:chOff x="0" y="0"/>
          <a:chExt cx="0" cy="0"/>
        </a:xfrm>
      </p:grpSpPr>
      <p:sp>
        <p:nvSpPr>
          <p:cNvPr id="107" name="Freeform 11"/>
          <p:cNvSpPr>
            <a:spLocks/>
          </p:cNvSpPr>
          <p:nvPr/>
        </p:nvSpPr>
        <p:spPr bwMode="auto">
          <a:xfrm>
            <a:off x="6575111" y="6576547"/>
            <a:ext cx="4000500" cy="417978"/>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 name="connsiteX0" fmla="*/ 8266 w 10000"/>
              <a:gd name="connsiteY0" fmla="*/ 0 h 15516"/>
              <a:gd name="connsiteX1" fmla="*/ 6172 w 10000"/>
              <a:gd name="connsiteY1" fmla="*/ 7129 h 15516"/>
              <a:gd name="connsiteX2" fmla="*/ 0 w 10000"/>
              <a:gd name="connsiteY2" fmla="*/ 15516 h 15516"/>
              <a:gd name="connsiteX3" fmla="*/ 3540 w 10000"/>
              <a:gd name="connsiteY3" fmla="*/ 15516 h 15516"/>
              <a:gd name="connsiteX4" fmla="*/ 10000 w 10000"/>
              <a:gd name="connsiteY4" fmla="*/ 15516 h 15516"/>
              <a:gd name="connsiteX5" fmla="*/ 8266 w 10000"/>
              <a:gd name="connsiteY5" fmla="*/ 0 h 15516"/>
              <a:gd name="connsiteX0" fmla="*/ 10000 w 10049"/>
              <a:gd name="connsiteY0" fmla="*/ 8387 h 8387"/>
              <a:gd name="connsiteX1" fmla="*/ 6172 w 10049"/>
              <a:gd name="connsiteY1" fmla="*/ 0 h 8387"/>
              <a:gd name="connsiteX2" fmla="*/ 0 w 10049"/>
              <a:gd name="connsiteY2" fmla="*/ 8387 h 8387"/>
              <a:gd name="connsiteX3" fmla="*/ 3540 w 10049"/>
              <a:gd name="connsiteY3" fmla="*/ 8387 h 8387"/>
              <a:gd name="connsiteX4" fmla="*/ 10000 w 10049"/>
              <a:gd name="connsiteY4" fmla="*/ 8387 h 8387"/>
              <a:gd name="connsiteX0" fmla="*/ 9951 w 10059"/>
              <a:gd name="connsiteY0" fmla="*/ 16955 h 16955"/>
              <a:gd name="connsiteX1" fmla="*/ 7818 w 10059"/>
              <a:gd name="connsiteY1" fmla="*/ 0 h 16955"/>
              <a:gd name="connsiteX2" fmla="*/ 0 w 10059"/>
              <a:gd name="connsiteY2" fmla="*/ 16955 h 16955"/>
              <a:gd name="connsiteX3" fmla="*/ 3523 w 10059"/>
              <a:gd name="connsiteY3" fmla="*/ 16955 h 16955"/>
              <a:gd name="connsiteX4" fmla="*/ 9951 w 10059"/>
              <a:gd name="connsiteY4" fmla="*/ 16955 h 16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9" h="16955">
                <a:moveTo>
                  <a:pt x="9951" y="16955"/>
                </a:moveTo>
                <a:cubicBezTo>
                  <a:pt x="10388" y="15288"/>
                  <a:pt x="9477" y="0"/>
                  <a:pt x="7818" y="0"/>
                </a:cubicBezTo>
                <a:cubicBezTo>
                  <a:pt x="6159" y="0"/>
                  <a:pt x="1671" y="8417"/>
                  <a:pt x="0" y="16955"/>
                </a:cubicBezTo>
                <a:lnTo>
                  <a:pt x="3523" y="16955"/>
                </a:lnTo>
                <a:lnTo>
                  <a:pt x="9951" y="16955"/>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2" name="Freeform 141"/>
          <p:cNvSpPr>
            <a:spLocks noChangeArrowheads="1"/>
          </p:cNvSpPr>
          <p:nvPr userDrawn="1"/>
        </p:nvSpPr>
        <p:spPr bwMode="auto">
          <a:xfrm flipH="1">
            <a:off x="8435950" y="5623774"/>
            <a:ext cx="924072" cy="1319219"/>
          </a:xfrm>
          <a:custGeom>
            <a:avLst/>
            <a:gdLst>
              <a:gd name="connsiteX0" fmla="*/ 436719 w 924072"/>
              <a:gd name="connsiteY0" fmla="*/ 0 h 1319219"/>
              <a:gd name="connsiteX1" fmla="*/ 343362 w 924072"/>
              <a:gd name="connsiteY1" fmla="*/ 0 h 1319219"/>
              <a:gd name="connsiteX2" fmla="*/ 343362 w 924072"/>
              <a:gd name="connsiteY2" fmla="*/ 93663 h 1319219"/>
              <a:gd name="connsiteX3" fmla="*/ 137661 w 924072"/>
              <a:gd name="connsiteY3" fmla="*/ 93663 h 1319219"/>
              <a:gd name="connsiteX4" fmla="*/ 137661 w 924072"/>
              <a:gd name="connsiteY4" fmla="*/ 244476 h 1319219"/>
              <a:gd name="connsiteX5" fmla="*/ 0 w 924072"/>
              <a:gd name="connsiteY5" fmla="*/ 244476 h 1319219"/>
              <a:gd name="connsiteX6" fmla="*/ 0 w 924072"/>
              <a:gd name="connsiteY6" fmla="*/ 1319219 h 1319219"/>
              <a:gd name="connsiteX7" fmla="*/ 924072 w 924072"/>
              <a:gd name="connsiteY7" fmla="*/ 1319219 h 1319219"/>
              <a:gd name="connsiteX8" fmla="*/ 924072 w 924072"/>
              <a:gd name="connsiteY8" fmla="*/ 244476 h 1319219"/>
              <a:gd name="connsiteX9" fmla="*/ 784828 w 924072"/>
              <a:gd name="connsiteY9" fmla="*/ 244476 h 1319219"/>
              <a:gd name="connsiteX10" fmla="*/ 784828 w 924072"/>
              <a:gd name="connsiteY10" fmla="*/ 93663 h 1319219"/>
              <a:gd name="connsiteX11" fmla="*/ 658243 w 924072"/>
              <a:gd name="connsiteY11" fmla="*/ 93663 h 1319219"/>
              <a:gd name="connsiteX12" fmla="*/ 658243 w 924072"/>
              <a:gd name="connsiteY12" fmla="*/ 66675 h 1319219"/>
              <a:gd name="connsiteX13" fmla="*/ 471530 w 924072"/>
              <a:gd name="connsiteY13" fmla="*/ 66675 h 1319219"/>
              <a:gd name="connsiteX14" fmla="*/ 471530 w 924072"/>
              <a:gd name="connsiteY14" fmla="*/ 93663 h 1319219"/>
              <a:gd name="connsiteX15" fmla="*/ 436719 w 924072"/>
              <a:gd name="connsiteY15" fmla="*/ 93663 h 1319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24072" h="1319219">
                <a:moveTo>
                  <a:pt x="436719" y="0"/>
                </a:moveTo>
                <a:lnTo>
                  <a:pt x="343362" y="0"/>
                </a:lnTo>
                <a:lnTo>
                  <a:pt x="343362" y="93663"/>
                </a:lnTo>
                <a:lnTo>
                  <a:pt x="137661" y="93663"/>
                </a:lnTo>
                <a:lnTo>
                  <a:pt x="137661" y="244476"/>
                </a:lnTo>
                <a:lnTo>
                  <a:pt x="0" y="244476"/>
                </a:lnTo>
                <a:lnTo>
                  <a:pt x="0" y="1319219"/>
                </a:lnTo>
                <a:lnTo>
                  <a:pt x="924072" y="1319219"/>
                </a:lnTo>
                <a:lnTo>
                  <a:pt x="924072" y="244476"/>
                </a:lnTo>
                <a:lnTo>
                  <a:pt x="784828" y="244476"/>
                </a:lnTo>
                <a:lnTo>
                  <a:pt x="784828" y="93663"/>
                </a:lnTo>
                <a:lnTo>
                  <a:pt x="658243" y="93663"/>
                </a:lnTo>
                <a:lnTo>
                  <a:pt x="658243" y="66675"/>
                </a:lnTo>
                <a:lnTo>
                  <a:pt x="471530" y="66675"/>
                </a:lnTo>
                <a:lnTo>
                  <a:pt x="471530" y="93663"/>
                </a:lnTo>
                <a:lnTo>
                  <a:pt x="436719" y="93663"/>
                </a:lnTo>
                <a:close/>
              </a:path>
            </a:pathLst>
          </a:custGeom>
          <a:solidFill>
            <a:schemeClr val="bg1">
              <a:lumMod val="95000"/>
            </a:schemeClr>
          </a:solidFill>
          <a:ln>
            <a:noFill/>
          </a:ln>
          <a:extLst/>
        </p:spPr>
        <p:txBody>
          <a:bodyPr vert="horz" wrap="square" lIns="91415" tIns="45707" rIns="91415" bIns="45707"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73" name="Group 72"/>
          <p:cNvGrpSpPr/>
          <p:nvPr/>
        </p:nvGrpSpPr>
        <p:grpSpPr>
          <a:xfrm flipH="1">
            <a:off x="8022602" y="6391588"/>
            <a:ext cx="913674" cy="551401"/>
            <a:chOff x="65126" y="5946374"/>
            <a:chExt cx="2385592" cy="1049475"/>
          </a:xfrm>
        </p:grpSpPr>
        <p:sp>
          <p:nvSpPr>
            <p:cNvPr id="74" name="Rectangle 73"/>
            <p:cNvSpPr/>
            <p:nvPr/>
          </p:nvSpPr>
          <p:spPr bwMode="auto">
            <a:xfrm>
              <a:off x="1436308" y="6438791"/>
              <a:ext cx="1014410" cy="55705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Rectangle 74"/>
            <p:cNvSpPr/>
            <p:nvPr/>
          </p:nvSpPr>
          <p:spPr bwMode="auto">
            <a:xfrm>
              <a:off x="708253" y="5946374"/>
              <a:ext cx="1011238" cy="1049475"/>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 name="Group 75"/>
            <p:cNvGrpSpPr/>
            <p:nvPr/>
          </p:nvGrpSpPr>
          <p:grpSpPr>
            <a:xfrm>
              <a:off x="65126" y="5985566"/>
              <a:ext cx="1215988" cy="1008283"/>
              <a:chOff x="10096311" y="5303965"/>
              <a:chExt cx="1215988" cy="1672317"/>
            </a:xfrm>
          </p:grpSpPr>
          <p:sp>
            <p:nvSpPr>
              <p:cNvPr id="77" name="Rectangle 76"/>
              <p:cNvSpPr>
                <a:spLocks noChangeArrowheads="1"/>
              </p:cNvSpPr>
              <p:nvPr/>
            </p:nvSpPr>
            <p:spPr bwMode="auto">
              <a:xfrm flipH="1">
                <a:off x="10096311" y="5528711"/>
                <a:ext cx="1155661" cy="1447571"/>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8" name="Rectangle 77"/>
              <p:cNvSpPr>
                <a:spLocks noChangeArrowheads="1"/>
              </p:cNvSpPr>
              <p:nvPr/>
            </p:nvSpPr>
            <p:spPr bwMode="auto">
              <a:xfrm flipH="1">
                <a:off x="10096312" y="5484938"/>
                <a:ext cx="1215987" cy="75829"/>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9" name="Rectangle 78"/>
              <p:cNvSpPr>
                <a:spLocks noChangeArrowheads="1"/>
              </p:cNvSpPr>
              <p:nvPr/>
            </p:nvSpPr>
            <p:spPr bwMode="auto">
              <a:xfrm flipH="1">
                <a:off x="10459811" y="6681007"/>
                <a:ext cx="152400" cy="295275"/>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0" name="Rectangle 79"/>
              <p:cNvSpPr>
                <a:spLocks noChangeArrowheads="1"/>
              </p:cNvSpPr>
              <p:nvPr/>
            </p:nvSpPr>
            <p:spPr bwMode="auto">
              <a:xfrm flipH="1">
                <a:off x="10724923" y="6681007"/>
                <a:ext cx="152400" cy="295275"/>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1" name="Rectangle 80"/>
              <p:cNvSpPr>
                <a:spLocks noChangeArrowheads="1"/>
              </p:cNvSpPr>
              <p:nvPr/>
            </p:nvSpPr>
            <p:spPr bwMode="auto">
              <a:xfrm flipH="1">
                <a:off x="10196285" y="5653895"/>
                <a:ext cx="941388" cy="152400"/>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2" name="Rectangle 81"/>
              <p:cNvSpPr>
                <a:spLocks noChangeArrowheads="1"/>
              </p:cNvSpPr>
              <p:nvPr/>
            </p:nvSpPr>
            <p:spPr bwMode="auto">
              <a:xfrm flipH="1">
                <a:off x="10196285" y="5912657"/>
                <a:ext cx="941388" cy="152400"/>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3" name="Rectangle 82"/>
              <p:cNvSpPr>
                <a:spLocks noChangeArrowheads="1"/>
              </p:cNvSpPr>
              <p:nvPr/>
            </p:nvSpPr>
            <p:spPr bwMode="auto">
              <a:xfrm flipH="1">
                <a:off x="10196285" y="6176182"/>
                <a:ext cx="941388" cy="149225"/>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4" name="Rectangle 83"/>
              <p:cNvSpPr>
                <a:spLocks noChangeArrowheads="1"/>
              </p:cNvSpPr>
              <p:nvPr/>
            </p:nvSpPr>
            <p:spPr bwMode="auto">
              <a:xfrm flipH="1">
                <a:off x="10196285" y="6436532"/>
                <a:ext cx="941388" cy="152400"/>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Rectangle 22"/>
              <p:cNvSpPr>
                <a:spLocks noChangeArrowheads="1"/>
              </p:cNvSpPr>
              <p:nvPr/>
            </p:nvSpPr>
            <p:spPr bwMode="auto">
              <a:xfrm flipH="1">
                <a:off x="10278836" y="5303965"/>
                <a:ext cx="139700" cy="180975"/>
              </a:xfrm>
              <a:prstGeom prst="rect">
                <a:avLst/>
              </a:prstGeom>
              <a:solidFill>
                <a:schemeClr val="tx2">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 name="Rectangle 23"/>
              <p:cNvSpPr>
                <a:spLocks noChangeArrowheads="1"/>
              </p:cNvSpPr>
              <p:nvPr/>
            </p:nvSpPr>
            <p:spPr bwMode="auto">
              <a:xfrm flipH="1">
                <a:off x="10466161" y="5303965"/>
                <a:ext cx="139700" cy="180975"/>
              </a:xfrm>
              <a:prstGeom prst="rect">
                <a:avLst/>
              </a:prstGeom>
              <a:solidFill>
                <a:schemeClr val="tx2">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88" name="Freeform 87"/>
          <p:cNvSpPr>
            <a:spLocks/>
          </p:cNvSpPr>
          <p:nvPr/>
        </p:nvSpPr>
        <p:spPr bwMode="auto">
          <a:xfrm flipH="1">
            <a:off x="11727608" y="5238640"/>
            <a:ext cx="427837" cy="282630"/>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accent1">
              <a:alpha val="60000"/>
            </a:schemeClr>
          </a:solidFill>
          <a:ln>
            <a:noFill/>
          </a:ln>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nvGrpSpPr>
          <p:cNvPr id="9" name="Group 8"/>
          <p:cNvGrpSpPr/>
          <p:nvPr userDrawn="1"/>
        </p:nvGrpSpPr>
        <p:grpSpPr>
          <a:xfrm>
            <a:off x="24898" y="6025608"/>
            <a:ext cx="488575" cy="915543"/>
            <a:chOff x="126202" y="5733226"/>
            <a:chExt cx="658149" cy="1233312"/>
          </a:xfrm>
        </p:grpSpPr>
        <p:sp>
          <p:nvSpPr>
            <p:cNvPr id="101" name="Freeform 154"/>
            <p:cNvSpPr>
              <a:spLocks/>
            </p:cNvSpPr>
            <p:nvPr/>
          </p:nvSpPr>
          <p:spPr bwMode="auto">
            <a:xfrm flipH="1">
              <a:off x="373009" y="5733226"/>
              <a:ext cx="411342" cy="1233312"/>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02" name="Freeform 155"/>
            <p:cNvSpPr>
              <a:spLocks/>
            </p:cNvSpPr>
            <p:nvPr/>
          </p:nvSpPr>
          <p:spPr bwMode="auto">
            <a:xfrm flipH="1">
              <a:off x="126202" y="6020522"/>
              <a:ext cx="317999" cy="94601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pSp>
      <p:grpSp>
        <p:nvGrpSpPr>
          <p:cNvPr id="10" name="Group 9"/>
          <p:cNvGrpSpPr/>
          <p:nvPr userDrawn="1"/>
        </p:nvGrpSpPr>
        <p:grpSpPr>
          <a:xfrm>
            <a:off x="11396614" y="5657095"/>
            <a:ext cx="548564" cy="733963"/>
            <a:chOff x="12436475" y="4700661"/>
            <a:chExt cx="548564" cy="733963"/>
          </a:xfrm>
        </p:grpSpPr>
        <p:sp>
          <p:nvSpPr>
            <p:cNvPr id="109" name="Rectangle 5"/>
            <p:cNvSpPr>
              <a:spLocks noChangeArrowheads="1"/>
            </p:cNvSpPr>
            <p:nvPr/>
          </p:nvSpPr>
          <p:spPr bwMode="auto">
            <a:xfrm>
              <a:off x="12436475" y="4904016"/>
              <a:ext cx="548564" cy="530608"/>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0" name="Rectangle 6"/>
            <p:cNvSpPr>
              <a:spLocks noChangeArrowheads="1"/>
            </p:cNvSpPr>
            <p:nvPr/>
          </p:nvSpPr>
          <p:spPr bwMode="auto">
            <a:xfrm>
              <a:off x="12658689" y="4700661"/>
              <a:ext cx="238021" cy="644578"/>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35" name="Freeform 134"/>
          <p:cNvSpPr>
            <a:spLocks/>
          </p:cNvSpPr>
          <p:nvPr/>
        </p:nvSpPr>
        <p:spPr bwMode="auto">
          <a:xfrm>
            <a:off x="9205072" y="6330398"/>
            <a:ext cx="3231403" cy="664130"/>
          </a:xfrm>
          <a:custGeom>
            <a:avLst/>
            <a:gdLst>
              <a:gd name="connsiteX0" fmla="*/ 3231403 w 3231403"/>
              <a:gd name="connsiteY0" fmla="*/ 0 h 664130"/>
              <a:gd name="connsiteX1" fmla="*/ 3231403 w 3231403"/>
              <a:gd name="connsiteY1" fmla="*/ 664130 h 664130"/>
              <a:gd name="connsiteX2" fmla="*/ 3098058 w 3231403"/>
              <a:gd name="connsiteY2" fmla="*/ 664130 h 664130"/>
              <a:gd name="connsiteX3" fmla="*/ 0 w 3231403"/>
              <a:gd name="connsiteY3" fmla="*/ 664130 h 664130"/>
              <a:gd name="connsiteX4" fmla="*/ 2910523 w 3231403"/>
              <a:gd name="connsiteY4" fmla="*/ 1426 h 664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1403" h="664130">
                <a:moveTo>
                  <a:pt x="3231403" y="0"/>
                </a:moveTo>
                <a:lnTo>
                  <a:pt x="3231403" y="664130"/>
                </a:lnTo>
                <a:lnTo>
                  <a:pt x="3098058" y="664130"/>
                </a:lnTo>
                <a:cubicBezTo>
                  <a:pt x="2307414" y="664130"/>
                  <a:pt x="1295391" y="664130"/>
                  <a:pt x="0" y="664130"/>
                </a:cubicBezTo>
                <a:cubicBezTo>
                  <a:pt x="808844" y="250919"/>
                  <a:pt x="1851288" y="30142"/>
                  <a:pt x="2910523" y="142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7" name="Freeform 136"/>
          <p:cNvSpPr>
            <a:spLocks/>
          </p:cNvSpPr>
          <p:nvPr/>
        </p:nvSpPr>
        <p:spPr bwMode="auto">
          <a:xfrm>
            <a:off x="10962080" y="6621893"/>
            <a:ext cx="1474396" cy="372634"/>
          </a:xfrm>
          <a:custGeom>
            <a:avLst/>
            <a:gdLst>
              <a:gd name="connsiteX0" fmla="*/ 1474396 w 1474396"/>
              <a:gd name="connsiteY0" fmla="*/ 0 h 372634"/>
              <a:gd name="connsiteX1" fmla="*/ 1474396 w 1474396"/>
              <a:gd name="connsiteY1" fmla="*/ 372634 h 372634"/>
              <a:gd name="connsiteX2" fmla="*/ 1374941 w 1474396"/>
              <a:gd name="connsiteY2" fmla="*/ 372634 h 372634"/>
              <a:gd name="connsiteX3" fmla="*/ 1179639 w 1474396"/>
              <a:gd name="connsiteY3" fmla="*/ 372634 h 372634"/>
              <a:gd name="connsiteX4" fmla="*/ 0 w 1474396"/>
              <a:gd name="connsiteY4" fmla="*/ 372634 h 372634"/>
              <a:gd name="connsiteX5" fmla="*/ 1238127 w 1474396"/>
              <a:gd name="connsiteY5" fmla="*/ 16067 h 372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4396" h="372634">
                <a:moveTo>
                  <a:pt x="1474396" y="0"/>
                </a:moveTo>
                <a:lnTo>
                  <a:pt x="1474396" y="372634"/>
                </a:lnTo>
                <a:lnTo>
                  <a:pt x="1374941" y="372634"/>
                </a:lnTo>
                <a:cubicBezTo>
                  <a:pt x="1311896" y="372634"/>
                  <a:pt x="1246817" y="372634"/>
                  <a:pt x="1179639" y="372634"/>
                </a:cubicBezTo>
                <a:cubicBezTo>
                  <a:pt x="1179639" y="372634"/>
                  <a:pt x="1179639" y="372634"/>
                  <a:pt x="0" y="372634"/>
                </a:cubicBezTo>
                <a:cubicBezTo>
                  <a:pt x="351796" y="181196"/>
                  <a:pt x="785459" y="61804"/>
                  <a:pt x="1238127" y="1606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5" name="AutoShape 3"/>
          <p:cNvSpPr>
            <a:spLocks noChangeAspect="1" noChangeArrowheads="1" noTextEdit="1"/>
          </p:cNvSpPr>
          <p:nvPr/>
        </p:nvSpPr>
        <p:spPr bwMode="auto">
          <a:xfrm>
            <a:off x="10437289" y="5594363"/>
            <a:ext cx="4284381"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aphicFrame>
        <p:nvGraphicFramePr>
          <p:cNvPr id="5" name="Object 4" hidden="1"/>
          <p:cNvGraphicFramePr>
            <a:graphicFrameLocks noChangeAspect="1"/>
          </p:cNvGraphicFramePr>
          <p:nvPr>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632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tx2"/>
                </a:solidFill>
              </a:defRPr>
            </a:lvl1pPr>
          </a:lstStyle>
          <a:p>
            <a:pPr>
              <a:defRPr/>
            </a:pPr>
            <a:r>
              <a:rPr lang="en-IN">
                <a:solidFill>
                  <a:srgbClr val="505050"/>
                </a:solidFill>
              </a:rPr>
              <a:t>Microsoft confidential 2015</a:t>
            </a:r>
            <a:endParaRPr lang="en-IN"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32" name="Freeform 158"/>
          <p:cNvSpPr>
            <a:spLocks/>
          </p:cNvSpPr>
          <p:nvPr/>
        </p:nvSpPr>
        <p:spPr bwMode="auto">
          <a:xfrm flipH="1">
            <a:off x="11261085" y="6362405"/>
            <a:ext cx="875379" cy="634478"/>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 name="connsiteX0" fmla="*/ 14570 w 14570"/>
              <a:gd name="connsiteY0" fmla="*/ 1280 h 11218"/>
              <a:gd name="connsiteX1" fmla="*/ 9824 w 14570"/>
              <a:gd name="connsiteY1" fmla="*/ 533 h 11218"/>
              <a:gd name="connsiteX2" fmla="*/ 0 w 14570"/>
              <a:gd name="connsiteY2" fmla="*/ 10533 h 11218"/>
              <a:gd name="connsiteX3" fmla="*/ 1863 w 14570"/>
              <a:gd name="connsiteY3" fmla="*/ 10533 h 11218"/>
              <a:gd name="connsiteX4" fmla="*/ 14570 w 14570"/>
              <a:gd name="connsiteY4" fmla="*/ 1280 h 11218"/>
              <a:gd name="connsiteX0" fmla="*/ 14570 w 14570"/>
              <a:gd name="connsiteY0" fmla="*/ 1280 h 11218"/>
              <a:gd name="connsiteX1" fmla="*/ 9824 w 14570"/>
              <a:gd name="connsiteY1" fmla="*/ 533 h 11218"/>
              <a:gd name="connsiteX2" fmla="*/ 0 w 14570"/>
              <a:gd name="connsiteY2" fmla="*/ 10533 h 11218"/>
              <a:gd name="connsiteX3" fmla="*/ 1863 w 14570"/>
              <a:gd name="connsiteY3" fmla="*/ 10533 h 11218"/>
              <a:gd name="connsiteX4" fmla="*/ 14570 w 14570"/>
              <a:gd name="connsiteY4" fmla="*/ 1280 h 11218"/>
              <a:gd name="connsiteX0" fmla="*/ 14570 w 14570"/>
              <a:gd name="connsiteY0" fmla="*/ 747 h 10685"/>
              <a:gd name="connsiteX1" fmla="*/ 9824 w 14570"/>
              <a:gd name="connsiteY1" fmla="*/ 0 h 10685"/>
              <a:gd name="connsiteX2" fmla="*/ 0 w 14570"/>
              <a:gd name="connsiteY2" fmla="*/ 10000 h 10685"/>
              <a:gd name="connsiteX3" fmla="*/ 1863 w 14570"/>
              <a:gd name="connsiteY3" fmla="*/ 10000 h 10685"/>
              <a:gd name="connsiteX4" fmla="*/ 14570 w 14570"/>
              <a:gd name="connsiteY4" fmla="*/ 747 h 10685"/>
              <a:gd name="connsiteX0" fmla="*/ 14570 w 14570"/>
              <a:gd name="connsiteY0" fmla="*/ 747 h 10685"/>
              <a:gd name="connsiteX1" fmla="*/ 9824 w 14570"/>
              <a:gd name="connsiteY1" fmla="*/ 0 h 10685"/>
              <a:gd name="connsiteX2" fmla="*/ 0 w 14570"/>
              <a:gd name="connsiteY2" fmla="*/ 10000 h 10685"/>
              <a:gd name="connsiteX3" fmla="*/ 1863 w 14570"/>
              <a:gd name="connsiteY3" fmla="*/ 10000 h 10685"/>
              <a:gd name="connsiteX4" fmla="*/ 14570 w 14570"/>
              <a:gd name="connsiteY4" fmla="*/ 747 h 10685"/>
              <a:gd name="connsiteX0" fmla="*/ 14570 w 14570"/>
              <a:gd name="connsiteY0" fmla="*/ 747 h 10590"/>
              <a:gd name="connsiteX1" fmla="*/ 9824 w 14570"/>
              <a:gd name="connsiteY1" fmla="*/ 0 h 10590"/>
              <a:gd name="connsiteX2" fmla="*/ 0 w 14570"/>
              <a:gd name="connsiteY2" fmla="*/ 10000 h 10590"/>
              <a:gd name="connsiteX3" fmla="*/ 11574 w 14570"/>
              <a:gd name="connsiteY3" fmla="*/ 9870 h 10590"/>
              <a:gd name="connsiteX4" fmla="*/ 14570 w 14570"/>
              <a:gd name="connsiteY4" fmla="*/ 747 h 10590"/>
              <a:gd name="connsiteX0" fmla="*/ 14570 w 14570"/>
              <a:gd name="connsiteY0" fmla="*/ 747 h 11140"/>
              <a:gd name="connsiteX1" fmla="*/ 9824 w 14570"/>
              <a:gd name="connsiteY1" fmla="*/ 0 h 11140"/>
              <a:gd name="connsiteX2" fmla="*/ 0 w 14570"/>
              <a:gd name="connsiteY2" fmla="*/ 10000 h 11140"/>
              <a:gd name="connsiteX3" fmla="*/ 11574 w 14570"/>
              <a:gd name="connsiteY3" fmla="*/ 9870 h 11140"/>
              <a:gd name="connsiteX4" fmla="*/ 14570 w 14570"/>
              <a:gd name="connsiteY4" fmla="*/ 747 h 11140"/>
              <a:gd name="connsiteX0" fmla="*/ 14570 w 14570"/>
              <a:gd name="connsiteY0" fmla="*/ 747 h 11140"/>
              <a:gd name="connsiteX1" fmla="*/ 9824 w 14570"/>
              <a:gd name="connsiteY1" fmla="*/ 0 h 11140"/>
              <a:gd name="connsiteX2" fmla="*/ 0 w 14570"/>
              <a:gd name="connsiteY2" fmla="*/ 10000 h 11140"/>
              <a:gd name="connsiteX3" fmla="*/ 11574 w 14570"/>
              <a:gd name="connsiteY3" fmla="*/ 9870 h 11140"/>
              <a:gd name="connsiteX4" fmla="*/ 14570 w 14570"/>
              <a:gd name="connsiteY4" fmla="*/ 747 h 11140"/>
              <a:gd name="connsiteX0" fmla="*/ 14570 w 14570"/>
              <a:gd name="connsiteY0" fmla="*/ 747 h 11140"/>
              <a:gd name="connsiteX1" fmla="*/ 9824 w 14570"/>
              <a:gd name="connsiteY1" fmla="*/ 0 h 11140"/>
              <a:gd name="connsiteX2" fmla="*/ 0 w 14570"/>
              <a:gd name="connsiteY2" fmla="*/ 10000 h 11140"/>
              <a:gd name="connsiteX3" fmla="*/ 11574 w 14570"/>
              <a:gd name="connsiteY3" fmla="*/ 9870 h 11140"/>
              <a:gd name="connsiteX4" fmla="*/ 14570 w 14570"/>
              <a:gd name="connsiteY4" fmla="*/ 747 h 11140"/>
              <a:gd name="connsiteX0" fmla="*/ 14570 w 14570"/>
              <a:gd name="connsiteY0" fmla="*/ 747 h 11235"/>
              <a:gd name="connsiteX1" fmla="*/ 9824 w 14570"/>
              <a:gd name="connsiteY1" fmla="*/ 0 h 11235"/>
              <a:gd name="connsiteX2" fmla="*/ 0 w 14570"/>
              <a:gd name="connsiteY2" fmla="*/ 10000 h 11235"/>
              <a:gd name="connsiteX3" fmla="*/ 12145 w 14570"/>
              <a:gd name="connsiteY3" fmla="*/ 10000 h 11235"/>
              <a:gd name="connsiteX4" fmla="*/ 14570 w 14570"/>
              <a:gd name="connsiteY4" fmla="*/ 747 h 11235"/>
              <a:gd name="connsiteX0" fmla="*/ 14570 w 14570"/>
              <a:gd name="connsiteY0" fmla="*/ 747 h 16972"/>
              <a:gd name="connsiteX1" fmla="*/ 9824 w 14570"/>
              <a:gd name="connsiteY1" fmla="*/ 0 h 16972"/>
              <a:gd name="connsiteX2" fmla="*/ 0 w 14570"/>
              <a:gd name="connsiteY2" fmla="*/ 10000 h 16972"/>
              <a:gd name="connsiteX3" fmla="*/ 12488 w 14570"/>
              <a:gd name="connsiteY3" fmla="*/ 16451 h 16972"/>
              <a:gd name="connsiteX4" fmla="*/ 14570 w 14570"/>
              <a:gd name="connsiteY4" fmla="*/ 747 h 16972"/>
              <a:gd name="connsiteX0" fmla="*/ 14570 w 14570"/>
              <a:gd name="connsiteY0" fmla="*/ 747 h 16451"/>
              <a:gd name="connsiteX1" fmla="*/ 9824 w 14570"/>
              <a:gd name="connsiteY1" fmla="*/ 0 h 16451"/>
              <a:gd name="connsiteX2" fmla="*/ 0 w 14570"/>
              <a:gd name="connsiteY2" fmla="*/ 10000 h 16451"/>
              <a:gd name="connsiteX3" fmla="*/ 12488 w 14570"/>
              <a:gd name="connsiteY3" fmla="*/ 16451 h 16451"/>
              <a:gd name="connsiteX4" fmla="*/ 14570 w 14570"/>
              <a:gd name="connsiteY4" fmla="*/ 747 h 16451"/>
              <a:gd name="connsiteX0" fmla="*/ 13999 w 13999"/>
              <a:gd name="connsiteY0" fmla="*/ 747 h 17168"/>
              <a:gd name="connsiteX1" fmla="*/ 9253 w 13999"/>
              <a:gd name="connsiteY1" fmla="*/ 0 h 17168"/>
              <a:gd name="connsiteX2" fmla="*/ 0 w 13999"/>
              <a:gd name="connsiteY2" fmla="*/ 17168 h 17168"/>
              <a:gd name="connsiteX3" fmla="*/ 11917 w 13999"/>
              <a:gd name="connsiteY3" fmla="*/ 16451 h 17168"/>
              <a:gd name="connsiteX4" fmla="*/ 13999 w 13999"/>
              <a:gd name="connsiteY4" fmla="*/ 747 h 17168"/>
              <a:gd name="connsiteX0" fmla="*/ 13999 w 13999"/>
              <a:gd name="connsiteY0" fmla="*/ 747 h 17233"/>
              <a:gd name="connsiteX1" fmla="*/ 9253 w 13999"/>
              <a:gd name="connsiteY1" fmla="*/ 0 h 17233"/>
              <a:gd name="connsiteX2" fmla="*/ 0 w 13999"/>
              <a:gd name="connsiteY2" fmla="*/ 17168 h 17233"/>
              <a:gd name="connsiteX3" fmla="*/ 12107 w 13999"/>
              <a:gd name="connsiteY3" fmla="*/ 17233 h 17233"/>
              <a:gd name="connsiteX4" fmla="*/ 13999 w 13999"/>
              <a:gd name="connsiteY4" fmla="*/ 747 h 17233"/>
              <a:gd name="connsiteX0" fmla="*/ 13999 w 13999"/>
              <a:gd name="connsiteY0" fmla="*/ 747 h 17168"/>
              <a:gd name="connsiteX1" fmla="*/ 9253 w 13999"/>
              <a:gd name="connsiteY1" fmla="*/ 0 h 17168"/>
              <a:gd name="connsiteX2" fmla="*/ 0 w 13999"/>
              <a:gd name="connsiteY2" fmla="*/ 17168 h 17168"/>
              <a:gd name="connsiteX3" fmla="*/ 12069 w 13999"/>
              <a:gd name="connsiteY3" fmla="*/ 17103 h 17168"/>
              <a:gd name="connsiteX4" fmla="*/ 13999 w 13999"/>
              <a:gd name="connsiteY4" fmla="*/ 747 h 17168"/>
              <a:gd name="connsiteX0" fmla="*/ 13999 w 13999"/>
              <a:gd name="connsiteY0" fmla="*/ 747 h 17168"/>
              <a:gd name="connsiteX1" fmla="*/ 9253 w 13999"/>
              <a:gd name="connsiteY1" fmla="*/ 0 h 17168"/>
              <a:gd name="connsiteX2" fmla="*/ 0 w 13999"/>
              <a:gd name="connsiteY2" fmla="*/ 17168 h 17168"/>
              <a:gd name="connsiteX3" fmla="*/ 12069 w 13999"/>
              <a:gd name="connsiteY3" fmla="*/ 17103 h 17168"/>
              <a:gd name="connsiteX4" fmla="*/ 13999 w 13999"/>
              <a:gd name="connsiteY4" fmla="*/ 747 h 17168"/>
              <a:gd name="connsiteX0" fmla="*/ 13999 w 13999"/>
              <a:gd name="connsiteY0" fmla="*/ 747 h 17168"/>
              <a:gd name="connsiteX1" fmla="*/ 9253 w 13999"/>
              <a:gd name="connsiteY1" fmla="*/ 0 h 17168"/>
              <a:gd name="connsiteX2" fmla="*/ 0 w 13999"/>
              <a:gd name="connsiteY2" fmla="*/ 17168 h 17168"/>
              <a:gd name="connsiteX3" fmla="*/ 12069 w 13999"/>
              <a:gd name="connsiteY3" fmla="*/ 17103 h 17168"/>
              <a:gd name="connsiteX4" fmla="*/ 13999 w 13999"/>
              <a:gd name="connsiteY4" fmla="*/ 747 h 17168"/>
              <a:gd name="connsiteX0" fmla="*/ 13999 w 13999"/>
              <a:gd name="connsiteY0" fmla="*/ 942 h 17363"/>
              <a:gd name="connsiteX1" fmla="*/ 9291 w 13999"/>
              <a:gd name="connsiteY1" fmla="*/ 0 h 17363"/>
              <a:gd name="connsiteX2" fmla="*/ 0 w 13999"/>
              <a:gd name="connsiteY2" fmla="*/ 17363 h 17363"/>
              <a:gd name="connsiteX3" fmla="*/ 12069 w 13999"/>
              <a:gd name="connsiteY3" fmla="*/ 17298 h 17363"/>
              <a:gd name="connsiteX4" fmla="*/ 13999 w 13999"/>
              <a:gd name="connsiteY4" fmla="*/ 942 h 17363"/>
              <a:gd name="connsiteX0" fmla="*/ 13999 w 13999"/>
              <a:gd name="connsiteY0" fmla="*/ 942 h 17363"/>
              <a:gd name="connsiteX1" fmla="*/ 9291 w 13999"/>
              <a:gd name="connsiteY1" fmla="*/ 0 h 17363"/>
              <a:gd name="connsiteX2" fmla="*/ 0 w 13999"/>
              <a:gd name="connsiteY2" fmla="*/ 17363 h 17363"/>
              <a:gd name="connsiteX3" fmla="*/ 12069 w 13999"/>
              <a:gd name="connsiteY3" fmla="*/ 17298 h 17363"/>
              <a:gd name="connsiteX4" fmla="*/ 13999 w 13999"/>
              <a:gd name="connsiteY4" fmla="*/ 942 h 17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9" h="17363">
                <a:moveTo>
                  <a:pt x="13999" y="942"/>
                </a:moveTo>
                <a:cubicBezTo>
                  <a:pt x="13929" y="942"/>
                  <a:pt x="11605" y="152"/>
                  <a:pt x="9291" y="0"/>
                </a:cubicBezTo>
                <a:cubicBezTo>
                  <a:pt x="3626" y="2585"/>
                  <a:pt x="0" y="17363"/>
                  <a:pt x="0" y="17363"/>
                </a:cubicBezTo>
                <a:lnTo>
                  <a:pt x="12069" y="17298"/>
                </a:lnTo>
                <a:cubicBezTo>
                  <a:pt x="10917" y="10413"/>
                  <a:pt x="11401" y="4228"/>
                  <a:pt x="13999" y="942"/>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34" name="Freeform 160"/>
          <p:cNvSpPr>
            <a:spLocks/>
          </p:cNvSpPr>
          <p:nvPr/>
        </p:nvSpPr>
        <p:spPr bwMode="auto">
          <a:xfrm flipH="1">
            <a:off x="11292847" y="6366257"/>
            <a:ext cx="739598" cy="625111"/>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12 w 10012"/>
              <a:gd name="connsiteY0" fmla="*/ 1120 h 10000"/>
              <a:gd name="connsiteX1" fmla="*/ 6749 w 10012"/>
              <a:gd name="connsiteY1" fmla="*/ 0 h 10000"/>
              <a:gd name="connsiteX2" fmla="*/ 0 w 10012"/>
              <a:gd name="connsiteY2" fmla="*/ 10000 h 10000"/>
              <a:gd name="connsiteX3" fmla="*/ 7915 w 10012"/>
              <a:gd name="connsiteY3" fmla="*/ 10000 h 10000"/>
              <a:gd name="connsiteX4" fmla="*/ 10012 w 10012"/>
              <a:gd name="connsiteY4" fmla="*/ 1120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 name="connsiteX0" fmla="*/ 10021 w 10021"/>
              <a:gd name="connsiteY0" fmla="*/ 1303 h 10145"/>
              <a:gd name="connsiteX1" fmla="*/ 6679 w 10021"/>
              <a:gd name="connsiteY1" fmla="*/ 0 h 10145"/>
              <a:gd name="connsiteX2" fmla="*/ 0 w 10021"/>
              <a:gd name="connsiteY2" fmla="*/ 10145 h 10145"/>
              <a:gd name="connsiteX3" fmla="*/ 7915 w 10021"/>
              <a:gd name="connsiteY3" fmla="*/ 10145 h 10145"/>
              <a:gd name="connsiteX4" fmla="*/ 10021 w 10021"/>
              <a:gd name="connsiteY4" fmla="*/ 1303 h 10145"/>
              <a:gd name="connsiteX0" fmla="*/ 10021 w 10021"/>
              <a:gd name="connsiteY0" fmla="*/ 868 h 10145"/>
              <a:gd name="connsiteX1" fmla="*/ 6679 w 10021"/>
              <a:gd name="connsiteY1" fmla="*/ 0 h 10145"/>
              <a:gd name="connsiteX2" fmla="*/ 0 w 10021"/>
              <a:gd name="connsiteY2" fmla="*/ 10145 h 10145"/>
              <a:gd name="connsiteX3" fmla="*/ 7915 w 10021"/>
              <a:gd name="connsiteY3" fmla="*/ 10145 h 10145"/>
              <a:gd name="connsiteX4" fmla="*/ 10021 w 10021"/>
              <a:gd name="connsiteY4" fmla="*/ 868 h 10145"/>
              <a:gd name="connsiteX0" fmla="*/ 10021 w 10021"/>
              <a:gd name="connsiteY0" fmla="*/ 868 h 18997"/>
              <a:gd name="connsiteX1" fmla="*/ 6679 w 10021"/>
              <a:gd name="connsiteY1" fmla="*/ 0 h 18997"/>
              <a:gd name="connsiteX2" fmla="*/ 0 w 10021"/>
              <a:gd name="connsiteY2" fmla="*/ 10145 h 18997"/>
              <a:gd name="connsiteX3" fmla="*/ 7424 w 10021"/>
              <a:gd name="connsiteY3" fmla="*/ 18997 h 18997"/>
              <a:gd name="connsiteX4" fmla="*/ 10021 w 10021"/>
              <a:gd name="connsiteY4" fmla="*/ 868 h 18997"/>
              <a:gd name="connsiteX0" fmla="*/ 10021 w 10021"/>
              <a:gd name="connsiteY0" fmla="*/ 868 h 18997"/>
              <a:gd name="connsiteX1" fmla="*/ 6679 w 10021"/>
              <a:gd name="connsiteY1" fmla="*/ 0 h 18997"/>
              <a:gd name="connsiteX2" fmla="*/ 0 w 10021"/>
              <a:gd name="connsiteY2" fmla="*/ 10145 h 18997"/>
              <a:gd name="connsiteX3" fmla="*/ 7424 w 10021"/>
              <a:gd name="connsiteY3" fmla="*/ 18997 h 18997"/>
              <a:gd name="connsiteX4" fmla="*/ 10021 w 10021"/>
              <a:gd name="connsiteY4" fmla="*/ 868 h 18997"/>
              <a:gd name="connsiteX0" fmla="*/ 10021 w 10021"/>
              <a:gd name="connsiteY0" fmla="*/ 868 h 18997"/>
              <a:gd name="connsiteX1" fmla="*/ 6679 w 10021"/>
              <a:gd name="connsiteY1" fmla="*/ 0 h 18997"/>
              <a:gd name="connsiteX2" fmla="*/ 0 w 10021"/>
              <a:gd name="connsiteY2" fmla="*/ 10145 h 18997"/>
              <a:gd name="connsiteX3" fmla="*/ 7424 w 10021"/>
              <a:gd name="connsiteY3" fmla="*/ 18997 h 18997"/>
              <a:gd name="connsiteX4" fmla="*/ 10021 w 10021"/>
              <a:gd name="connsiteY4" fmla="*/ 868 h 18997"/>
              <a:gd name="connsiteX0" fmla="*/ 10021 w 10021"/>
              <a:gd name="connsiteY0" fmla="*/ 868 h 18997"/>
              <a:gd name="connsiteX1" fmla="*/ 6679 w 10021"/>
              <a:gd name="connsiteY1" fmla="*/ 0 h 18997"/>
              <a:gd name="connsiteX2" fmla="*/ 0 w 10021"/>
              <a:gd name="connsiteY2" fmla="*/ 10145 h 18997"/>
              <a:gd name="connsiteX3" fmla="*/ 7670 w 10021"/>
              <a:gd name="connsiteY3" fmla="*/ 18997 h 18997"/>
              <a:gd name="connsiteX4" fmla="*/ 10021 w 10021"/>
              <a:gd name="connsiteY4" fmla="*/ 868 h 18997"/>
              <a:gd name="connsiteX0" fmla="*/ 11530 w 11530"/>
              <a:gd name="connsiteY0" fmla="*/ 868 h 19070"/>
              <a:gd name="connsiteX1" fmla="*/ 8188 w 11530"/>
              <a:gd name="connsiteY1" fmla="*/ 0 h 19070"/>
              <a:gd name="connsiteX2" fmla="*/ 0 w 11530"/>
              <a:gd name="connsiteY2" fmla="*/ 19070 h 19070"/>
              <a:gd name="connsiteX3" fmla="*/ 9179 w 11530"/>
              <a:gd name="connsiteY3" fmla="*/ 18997 h 19070"/>
              <a:gd name="connsiteX4" fmla="*/ 11530 w 11530"/>
              <a:gd name="connsiteY4" fmla="*/ 868 h 19070"/>
              <a:gd name="connsiteX0" fmla="*/ 11530 w 11530"/>
              <a:gd name="connsiteY0" fmla="*/ 868 h 19070"/>
              <a:gd name="connsiteX1" fmla="*/ 8188 w 11530"/>
              <a:gd name="connsiteY1" fmla="*/ 0 h 19070"/>
              <a:gd name="connsiteX2" fmla="*/ 0 w 11530"/>
              <a:gd name="connsiteY2" fmla="*/ 19070 h 19070"/>
              <a:gd name="connsiteX3" fmla="*/ 9179 w 11530"/>
              <a:gd name="connsiteY3" fmla="*/ 18997 h 19070"/>
              <a:gd name="connsiteX4" fmla="*/ 11530 w 11530"/>
              <a:gd name="connsiteY4" fmla="*/ 868 h 19070"/>
              <a:gd name="connsiteX0" fmla="*/ 11284 w 11284"/>
              <a:gd name="connsiteY0" fmla="*/ 868 h 18997"/>
              <a:gd name="connsiteX1" fmla="*/ 7942 w 11284"/>
              <a:gd name="connsiteY1" fmla="*/ 0 h 18997"/>
              <a:gd name="connsiteX2" fmla="*/ 0 w 11284"/>
              <a:gd name="connsiteY2" fmla="*/ 18997 h 18997"/>
              <a:gd name="connsiteX3" fmla="*/ 8933 w 11284"/>
              <a:gd name="connsiteY3" fmla="*/ 18997 h 18997"/>
              <a:gd name="connsiteX4" fmla="*/ 11284 w 11284"/>
              <a:gd name="connsiteY4" fmla="*/ 868 h 18997"/>
              <a:gd name="connsiteX0" fmla="*/ 10793 w 10793"/>
              <a:gd name="connsiteY0" fmla="*/ 868 h 18997"/>
              <a:gd name="connsiteX1" fmla="*/ 7451 w 10793"/>
              <a:gd name="connsiteY1" fmla="*/ 0 h 18997"/>
              <a:gd name="connsiteX2" fmla="*/ 0 w 10793"/>
              <a:gd name="connsiteY2" fmla="*/ 18779 h 18997"/>
              <a:gd name="connsiteX3" fmla="*/ 8442 w 10793"/>
              <a:gd name="connsiteY3" fmla="*/ 18997 h 18997"/>
              <a:gd name="connsiteX4" fmla="*/ 10793 w 10793"/>
              <a:gd name="connsiteY4" fmla="*/ 868 h 18997"/>
              <a:gd name="connsiteX0" fmla="*/ 10793 w 10793"/>
              <a:gd name="connsiteY0" fmla="*/ 868 h 18997"/>
              <a:gd name="connsiteX1" fmla="*/ 7451 w 10793"/>
              <a:gd name="connsiteY1" fmla="*/ 0 h 18997"/>
              <a:gd name="connsiteX2" fmla="*/ 0 w 10793"/>
              <a:gd name="connsiteY2" fmla="*/ 18779 h 18997"/>
              <a:gd name="connsiteX3" fmla="*/ 278 w 10793"/>
              <a:gd name="connsiteY3" fmla="*/ 18830 h 18997"/>
              <a:gd name="connsiteX4" fmla="*/ 8442 w 10793"/>
              <a:gd name="connsiteY4" fmla="*/ 18997 h 18997"/>
              <a:gd name="connsiteX5" fmla="*/ 10793 w 10793"/>
              <a:gd name="connsiteY5" fmla="*/ 868 h 18997"/>
              <a:gd name="connsiteX0" fmla="*/ 10519 w 10519"/>
              <a:gd name="connsiteY0" fmla="*/ 868 h 18997"/>
              <a:gd name="connsiteX1" fmla="*/ 7177 w 10519"/>
              <a:gd name="connsiteY1" fmla="*/ 0 h 18997"/>
              <a:gd name="connsiteX2" fmla="*/ 4 w 10519"/>
              <a:gd name="connsiteY2" fmla="*/ 18830 h 18997"/>
              <a:gd name="connsiteX3" fmla="*/ 8168 w 10519"/>
              <a:gd name="connsiteY3" fmla="*/ 18997 h 18997"/>
              <a:gd name="connsiteX4" fmla="*/ 10519 w 10519"/>
              <a:gd name="connsiteY4" fmla="*/ 868 h 18997"/>
              <a:gd name="connsiteX0" fmla="*/ 10904 w 10904"/>
              <a:gd name="connsiteY0" fmla="*/ 868 h 19048"/>
              <a:gd name="connsiteX1" fmla="*/ 7562 w 10904"/>
              <a:gd name="connsiteY1" fmla="*/ 0 h 19048"/>
              <a:gd name="connsiteX2" fmla="*/ 3 w 10904"/>
              <a:gd name="connsiteY2" fmla="*/ 19048 h 19048"/>
              <a:gd name="connsiteX3" fmla="*/ 8553 w 10904"/>
              <a:gd name="connsiteY3" fmla="*/ 18997 h 19048"/>
              <a:gd name="connsiteX4" fmla="*/ 10904 w 10904"/>
              <a:gd name="connsiteY4" fmla="*/ 868 h 19048"/>
              <a:gd name="connsiteX0" fmla="*/ 10901 w 10901"/>
              <a:gd name="connsiteY0" fmla="*/ 868 h 19048"/>
              <a:gd name="connsiteX1" fmla="*/ 7559 w 10901"/>
              <a:gd name="connsiteY1" fmla="*/ 0 h 19048"/>
              <a:gd name="connsiteX2" fmla="*/ 0 w 10901"/>
              <a:gd name="connsiteY2" fmla="*/ 19048 h 19048"/>
              <a:gd name="connsiteX3" fmla="*/ 8550 w 10901"/>
              <a:gd name="connsiteY3" fmla="*/ 18997 h 19048"/>
              <a:gd name="connsiteX4" fmla="*/ 10901 w 10901"/>
              <a:gd name="connsiteY4" fmla="*/ 868 h 19048"/>
              <a:gd name="connsiteX0" fmla="*/ 10901 w 10901"/>
              <a:gd name="connsiteY0" fmla="*/ 868 h 19048"/>
              <a:gd name="connsiteX1" fmla="*/ 7559 w 10901"/>
              <a:gd name="connsiteY1" fmla="*/ 0 h 19048"/>
              <a:gd name="connsiteX2" fmla="*/ 0 w 10901"/>
              <a:gd name="connsiteY2" fmla="*/ 19048 h 19048"/>
              <a:gd name="connsiteX3" fmla="*/ 8550 w 10901"/>
              <a:gd name="connsiteY3" fmla="*/ 18997 h 19048"/>
              <a:gd name="connsiteX4" fmla="*/ 10901 w 10901"/>
              <a:gd name="connsiteY4" fmla="*/ 868 h 19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1" h="19048">
                <a:moveTo>
                  <a:pt x="10901" y="868"/>
                </a:moveTo>
                <a:cubicBezTo>
                  <a:pt x="9837" y="291"/>
                  <a:pt x="8653" y="152"/>
                  <a:pt x="7559" y="0"/>
                </a:cubicBezTo>
                <a:cubicBezTo>
                  <a:pt x="5596" y="817"/>
                  <a:pt x="1765" y="8118"/>
                  <a:pt x="0" y="19048"/>
                </a:cubicBezTo>
                <a:lnTo>
                  <a:pt x="8550" y="18997"/>
                </a:lnTo>
                <a:cubicBezTo>
                  <a:pt x="7204" y="6129"/>
                  <a:pt x="10784" y="1081"/>
                  <a:pt x="10901" y="8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2" name="Group 1"/>
          <p:cNvGrpSpPr/>
          <p:nvPr/>
        </p:nvGrpSpPr>
        <p:grpSpPr>
          <a:xfrm flipH="1">
            <a:off x="8706299" y="6363676"/>
            <a:ext cx="2998344" cy="630851"/>
            <a:chOff x="886546" y="5746927"/>
            <a:chExt cx="5969214" cy="1255922"/>
          </a:xfrm>
        </p:grpSpPr>
        <p:sp>
          <p:nvSpPr>
            <p:cNvPr id="103" name="Freeform 157"/>
            <p:cNvSpPr>
              <a:spLocks/>
            </p:cNvSpPr>
            <p:nvPr/>
          </p:nvSpPr>
          <p:spPr bwMode="auto">
            <a:xfrm flipH="1">
              <a:off x="886546" y="5746927"/>
              <a:ext cx="5969214" cy="1247598"/>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104" name="Group 103"/>
            <p:cNvGrpSpPr/>
            <p:nvPr/>
          </p:nvGrpSpPr>
          <p:grpSpPr>
            <a:xfrm flipH="1">
              <a:off x="2686958" y="5753276"/>
              <a:ext cx="3039189" cy="1249573"/>
              <a:chOff x="6823075" y="5763825"/>
              <a:chExt cx="3049588" cy="1249750"/>
            </a:xfrm>
          </p:grpSpPr>
          <p:sp>
            <p:nvSpPr>
              <p:cNvPr id="129" name="Freeform 158"/>
              <p:cNvSpPr>
                <a:spLocks/>
              </p:cNvSpPr>
              <p:nvPr/>
            </p:nvSpPr>
            <p:spPr bwMode="auto">
              <a:xfrm>
                <a:off x="6823075" y="5768975"/>
                <a:ext cx="2136775" cy="1244600"/>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30" name="Freeform 159"/>
              <p:cNvSpPr>
                <a:spLocks/>
              </p:cNvSpPr>
              <p:nvPr/>
            </p:nvSpPr>
            <p:spPr bwMode="auto">
              <a:xfrm>
                <a:off x="9169400" y="5908675"/>
                <a:ext cx="703263" cy="1104900"/>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31" name="Freeform 160"/>
              <p:cNvSpPr>
                <a:spLocks/>
              </p:cNvSpPr>
              <p:nvPr/>
            </p:nvSpPr>
            <p:spPr bwMode="auto">
              <a:xfrm>
                <a:off x="7221538" y="5763825"/>
                <a:ext cx="2580333" cy="1241425"/>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12 w 10012"/>
                  <a:gd name="connsiteY0" fmla="*/ 1120 h 10000"/>
                  <a:gd name="connsiteX1" fmla="*/ 6749 w 10012"/>
                  <a:gd name="connsiteY1" fmla="*/ 0 h 10000"/>
                  <a:gd name="connsiteX2" fmla="*/ 0 w 10012"/>
                  <a:gd name="connsiteY2" fmla="*/ 10000 h 10000"/>
                  <a:gd name="connsiteX3" fmla="*/ 7915 w 10012"/>
                  <a:gd name="connsiteY3" fmla="*/ 10000 h 10000"/>
                  <a:gd name="connsiteX4" fmla="*/ 10012 w 10012"/>
                  <a:gd name="connsiteY4" fmla="*/ 1120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1" h="10000">
                    <a:moveTo>
                      <a:pt x="10021" y="1158"/>
                    </a:moveTo>
                    <a:cubicBezTo>
                      <a:pt x="8957" y="581"/>
                      <a:pt x="7843" y="152"/>
                      <a:pt x="6749" y="0"/>
                    </a:cubicBezTo>
                    <a:cubicBezTo>
                      <a:pt x="3047" y="2249"/>
                      <a:pt x="0" y="10000"/>
                      <a:pt x="0" y="10000"/>
                    </a:cubicBezTo>
                    <a:lnTo>
                      <a:pt x="7915" y="10000"/>
                    </a:lnTo>
                    <a:cubicBezTo>
                      <a:pt x="7622" y="5041"/>
                      <a:pt x="9904" y="1371"/>
                      <a:pt x="10021" y="115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pSp>
      </p:grpSp>
      <p:sp>
        <p:nvSpPr>
          <p:cNvPr id="4" name="Slide Number Placeholder 3"/>
          <p:cNvSpPr>
            <a:spLocks noGrp="1"/>
          </p:cNvSpPr>
          <p:nvPr>
            <p:ph type="sldNum" sz="quarter" idx="11"/>
          </p:nvPr>
        </p:nvSpPr>
        <p:spPr/>
        <p:txBody>
          <a:bodyPr/>
          <a:lstStyle>
            <a:lvl1pPr>
              <a:defRPr>
                <a:solidFill>
                  <a:schemeClr val="tx2"/>
                </a:solidFill>
              </a:defRPr>
            </a:lvl1pPr>
          </a:lstStyle>
          <a:p>
            <a:pPr defTabSz="932539">
              <a:defRPr/>
            </a:pPr>
            <a:fld id="{27258FFF-F925-446B-8502-81C933981705}" type="slidenum">
              <a:rPr lang="en-IN" smtClean="0">
                <a:solidFill>
                  <a:srgbClr val="505050"/>
                </a:solidFill>
              </a:rPr>
              <a:pPr defTabSz="932539">
                <a:defRPr/>
              </a:pPr>
              <a:t>‹#›</a:t>
            </a:fld>
            <a:endParaRPr lang="en-IN" dirty="0">
              <a:solidFill>
                <a:srgbClr val="505050"/>
              </a:solidFill>
            </a:endParaRPr>
          </a:p>
        </p:txBody>
      </p:sp>
      <p:sp>
        <p:nvSpPr>
          <p:cNvPr id="138" name="Rectangle 33"/>
          <p:cNvSpPr>
            <a:spLocks noChangeArrowheads="1"/>
          </p:cNvSpPr>
          <p:nvPr userDrawn="1"/>
        </p:nvSpPr>
        <p:spPr bwMode="auto">
          <a:xfrm>
            <a:off x="0" y="6942989"/>
            <a:ext cx="12436475" cy="5153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8" name="Group 7"/>
          <p:cNvGrpSpPr/>
          <p:nvPr userDrawn="1"/>
        </p:nvGrpSpPr>
        <p:grpSpPr>
          <a:xfrm>
            <a:off x="11704643" y="5566398"/>
            <a:ext cx="717504" cy="792184"/>
            <a:chOff x="11467732" y="5260338"/>
            <a:chExt cx="911153" cy="1005989"/>
          </a:xfrm>
        </p:grpSpPr>
        <p:sp>
          <p:nvSpPr>
            <p:cNvPr id="140" name="Rectangle 9"/>
            <p:cNvSpPr>
              <a:spLocks noChangeArrowheads="1"/>
            </p:cNvSpPr>
            <p:nvPr userDrawn="1"/>
          </p:nvSpPr>
          <p:spPr bwMode="auto">
            <a:xfrm>
              <a:off x="11467732" y="6001642"/>
              <a:ext cx="911153" cy="26468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9" name="Rectangle 21"/>
            <p:cNvSpPr/>
            <p:nvPr userDrawn="1"/>
          </p:nvSpPr>
          <p:spPr>
            <a:xfrm>
              <a:off x="11467732" y="5260338"/>
              <a:ext cx="911153" cy="1005989"/>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361" rtl="0" eaLnBrk="1" fontAlgn="auto" latinLnBrk="0" hangingPunct="1">
                <a:lnSpc>
                  <a:spcPct val="100000"/>
                </a:lnSpc>
                <a:spcBef>
                  <a:spcPts val="0"/>
                </a:spcBef>
                <a:spcAft>
                  <a:spcPts val="0"/>
                </a:spcAft>
                <a:buClrTx/>
                <a:buSzTx/>
                <a:buFontTx/>
                <a:buNone/>
                <a:tabLst/>
                <a:defRPr/>
              </a:pPr>
              <a:endParaRPr kumimoji="0" lang="en-US" sz="1198"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16" name="Group 115"/>
          <p:cNvGrpSpPr/>
          <p:nvPr/>
        </p:nvGrpSpPr>
        <p:grpSpPr>
          <a:xfrm>
            <a:off x="11568525" y="6150149"/>
            <a:ext cx="118478" cy="230392"/>
            <a:chOff x="6229350" y="5313360"/>
            <a:chExt cx="539750" cy="1046165"/>
          </a:xfrm>
        </p:grpSpPr>
        <p:sp>
          <p:nvSpPr>
            <p:cNvPr id="123" name="Freeform 14"/>
            <p:cNvSpPr>
              <a:spLocks/>
            </p:cNvSpPr>
            <p:nvPr/>
          </p:nvSpPr>
          <p:spPr bwMode="auto">
            <a:xfrm>
              <a:off x="6446840" y="5951537"/>
              <a:ext cx="111124" cy="407988"/>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4" name="Freeform 15"/>
            <p:cNvSpPr>
              <a:spLocks/>
            </p:cNvSpPr>
            <p:nvPr/>
          </p:nvSpPr>
          <p:spPr bwMode="auto">
            <a:xfrm>
              <a:off x="6229350" y="5592762"/>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5" name="Freeform 16"/>
            <p:cNvSpPr>
              <a:spLocks/>
            </p:cNvSpPr>
            <p:nvPr/>
          </p:nvSpPr>
          <p:spPr bwMode="auto">
            <a:xfrm>
              <a:off x="6300789" y="5313360"/>
              <a:ext cx="395287" cy="396874"/>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43" name="Group 142"/>
          <p:cNvGrpSpPr/>
          <p:nvPr userDrawn="1"/>
        </p:nvGrpSpPr>
        <p:grpSpPr>
          <a:xfrm>
            <a:off x="7806429" y="6557880"/>
            <a:ext cx="194516" cy="378255"/>
            <a:chOff x="6229350" y="5313360"/>
            <a:chExt cx="539750" cy="1046165"/>
          </a:xfrm>
        </p:grpSpPr>
        <p:sp>
          <p:nvSpPr>
            <p:cNvPr id="144" name="Freeform 14"/>
            <p:cNvSpPr>
              <a:spLocks/>
            </p:cNvSpPr>
            <p:nvPr/>
          </p:nvSpPr>
          <p:spPr bwMode="auto">
            <a:xfrm>
              <a:off x="6443664" y="5951536"/>
              <a:ext cx="111124" cy="407989"/>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5" name="Freeform 15"/>
            <p:cNvSpPr>
              <a:spLocks/>
            </p:cNvSpPr>
            <p:nvPr/>
          </p:nvSpPr>
          <p:spPr bwMode="auto">
            <a:xfrm>
              <a:off x="6229350" y="5592763"/>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6" name="Freeform 16"/>
            <p:cNvSpPr>
              <a:spLocks/>
            </p:cNvSpPr>
            <p:nvPr/>
          </p:nvSpPr>
          <p:spPr bwMode="auto">
            <a:xfrm>
              <a:off x="6301582" y="5313360"/>
              <a:ext cx="395286" cy="396874"/>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21586267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8_36pt Title Only">
    <p:spTree>
      <p:nvGrpSpPr>
        <p:cNvPr id="1" name=""/>
        <p:cNvGrpSpPr/>
        <p:nvPr/>
      </p:nvGrpSpPr>
      <p:grpSpPr>
        <a:xfrm>
          <a:off x="0" y="0"/>
          <a:ext cx="0" cy="0"/>
          <a:chOff x="0" y="0"/>
          <a:chExt cx="0" cy="0"/>
        </a:xfrm>
      </p:grpSpPr>
      <p:grpSp>
        <p:nvGrpSpPr>
          <p:cNvPr id="37" name="Group 36"/>
          <p:cNvGrpSpPr/>
          <p:nvPr userDrawn="1"/>
        </p:nvGrpSpPr>
        <p:grpSpPr>
          <a:xfrm>
            <a:off x="-5286" y="4499087"/>
            <a:ext cx="12476743" cy="2505296"/>
            <a:chOff x="-5288" y="4499087"/>
            <a:chExt cx="12476743" cy="2505296"/>
          </a:xfrm>
        </p:grpSpPr>
        <p:grpSp>
          <p:nvGrpSpPr>
            <p:cNvPr id="69" name="Group 68"/>
            <p:cNvGrpSpPr/>
            <p:nvPr userDrawn="1"/>
          </p:nvGrpSpPr>
          <p:grpSpPr>
            <a:xfrm>
              <a:off x="-5288" y="4499087"/>
              <a:ext cx="12476743" cy="2505296"/>
              <a:chOff x="-5288" y="4499087"/>
              <a:chExt cx="12476743" cy="2505296"/>
            </a:xfrm>
          </p:grpSpPr>
          <p:sp>
            <p:nvSpPr>
              <p:cNvPr id="80" name="Rectangle 79"/>
              <p:cNvSpPr/>
              <p:nvPr/>
            </p:nvSpPr>
            <p:spPr bwMode="auto">
              <a:xfrm>
                <a:off x="9518469" y="4546711"/>
                <a:ext cx="722811" cy="7770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Freeform 80"/>
              <p:cNvSpPr>
                <a:spLocks/>
              </p:cNvSpPr>
              <p:nvPr/>
            </p:nvSpPr>
            <p:spPr bwMode="auto">
              <a:xfrm>
                <a:off x="5349875" y="6106794"/>
                <a:ext cx="3834363" cy="897589"/>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82" name="Freeform 9"/>
              <p:cNvSpPr>
                <a:spLocks/>
              </p:cNvSpPr>
              <p:nvPr/>
            </p:nvSpPr>
            <p:spPr bwMode="auto">
              <a:xfrm>
                <a:off x="7104968" y="5672813"/>
                <a:ext cx="5331507" cy="1331570"/>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83" name="Freeform 15"/>
              <p:cNvSpPr>
                <a:spLocks/>
              </p:cNvSpPr>
              <p:nvPr/>
            </p:nvSpPr>
            <p:spPr bwMode="auto">
              <a:xfrm>
                <a:off x="9327154" y="6315941"/>
                <a:ext cx="3144301" cy="688442"/>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84" name="Group 83"/>
              <p:cNvGrpSpPr/>
              <p:nvPr/>
            </p:nvGrpSpPr>
            <p:grpSpPr>
              <a:xfrm>
                <a:off x="-5288" y="5602741"/>
                <a:ext cx="8368749" cy="1400162"/>
                <a:chOff x="-5288" y="5602741"/>
                <a:chExt cx="8368749" cy="1400162"/>
              </a:xfrm>
            </p:grpSpPr>
            <p:sp>
              <p:nvSpPr>
                <p:cNvPr id="86" name="Rectangle 5"/>
                <p:cNvSpPr>
                  <a:spLocks noChangeArrowheads="1"/>
                </p:cNvSpPr>
                <p:nvPr/>
              </p:nvSpPr>
              <p:spPr bwMode="auto">
                <a:xfrm flipH="1">
                  <a:off x="3418306" y="5868865"/>
                  <a:ext cx="550363" cy="53060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7" name="Rectangle 6"/>
                <p:cNvSpPr>
                  <a:spLocks noChangeArrowheads="1"/>
                </p:cNvSpPr>
                <p:nvPr/>
              </p:nvSpPr>
              <p:spPr bwMode="auto">
                <a:xfrm flipH="1">
                  <a:off x="3506925" y="5665510"/>
                  <a:ext cx="238802" cy="644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8" name="Rectangle 7"/>
                <p:cNvSpPr>
                  <a:spLocks noChangeArrowheads="1"/>
                </p:cNvSpPr>
                <p:nvPr/>
              </p:nvSpPr>
              <p:spPr bwMode="auto">
                <a:xfrm flipH="1">
                  <a:off x="5208386" y="6427624"/>
                  <a:ext cx="352605" cy="283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9" name="Rectangle 8"/>
                <p:cNvSpPr>
                  <a:spLocks noChangeArrowheads="1"/>
                </p:cNvSpPr>
                <p:nvPr/>
              </p:nvSpPr>
              <p:spPr bwMode="auto">
                <a:xfrm flipH="1">
                  <a:off x="5067531" y="6297029"/>
                  <a:ext cx="349807" cy="4141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0" name="Rectangle 9"/>
                <p:cNvSpPr>
                  <a:spLocks noChangeArrowheads="1"/>
                </p:cNvSpPr>
                <p:nvPr/>
              </p:nvSpPr>
              <p:spPr bwMode="auto">
                <a:xfrm flipH="1">
                  <a:off x="1592780" y="6171761"/>
                  <a:ext cx="546632" cy="62125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1" name="Rectangle 10"/>
                <p:cNvSpPr>
                  <a:spLocks noChangeArrowheads="1"/>
                </p:cNvSpPr>
                <p:nvPr/>
              </p:nvSpPr>
              <p:spPr bwMode="auto">
                <a:xfrm flipH="1">
                  <a:off x="1370769" y="5878855"/>
                  <a:ext cx="546632" cy="914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2" name="Freeform 11"/>
                <p:cNvSpPr>
                  <a:spLocks/>
                </p:cNvSpPr>
                <p:nvPr/>
              </p:nvSpPr>
              <p:spPr bwMode="auto">
                <a:xfrm flipH="1">
                  <a:off x="4392841" y="6489852"/>
                  <a:ext cx="3970620" cy="51025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3" name="Freeform 18"/>
                <p:cNvSpPr>
                  <a:spLocks/>
                </p:cNvSpPr>
                <p:nvPr/>
              </p:nvSpPr>
              <p:spPr bwMode="auto">
                <a:xfrm flipH="1">
                  <a:off x="984" y="6027174"/>
                  <a:ext cx="6091253" cy="97293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4" name="Freeform 29"/>
                <p:cNvSpPr>
                  <a:spLocks/>
                </p:cNvSpPr>
                <p:nvPr/>
              </p:nvSpPr>
              <p:spPr bwMode="auto">
                <a:xfrm flipH="1">
                  <a:off x="432647" y="6571940"/>
                  <a:ext cx="3340253"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5" name="AutoShape 3"/>
                <p:cNvSpPr>
                  <a:spLocks noChangeAspect="1" noChangeArrowheads="1" noTextEdit="1"/>
                </p:cNvSpPr>
                <p:nvPr/>
              </p:nvSpPr>
              <p:spPr bwMode="auto">
                <a:xfrm flipH="1">
                  <a:off x="984" y="5602741"/>
                  <a:ext cx="4298430"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96" name="Group 95"/>
                <p:cNvGrpSpPr/>
                <p:nvPr/>
              </p:nvGrpSpPr>
              <p:grpSpPr>
                <a:xfrm flipH="1">
                  <a:off x="2682360" y="5937788"/>
                  <a:ext cx="188333" cy="365034"/>
                  <a:chOff x="6229350" y="5232400"/>
                  <a:chExt cx="539750" cy="1046162"/>
                </a:xfrm>
              </p:grpSpPr>
              <p:sp>
                <p:nvSpPr>
                  <p:cNvPr id="10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97" name="Group 96"/>
                <p:cNvGrpSpPr/>
                <p:nvPr/>
              </p:nvGrpSpPr>
              <p:grpSpPr>
                <a:xfrm flipH="1">
                  <a:off x="4803495" y="6266909"/>
                  <a:ext cx="188333" cy="365034"/>
                  <a:chOff x="6229350" y="5232400"/>
                  <a:chExt cx="539750" cy="1046162"/>
                </a:xfrm>
              </p:grpSpPr>
              <p:sp>
                <p:nvSpPr>
                  <p:cNvPr id="103"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4"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5"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98" name="Freeform 17"/>
                <p:cNvSpPr>
                  <a:spLocks/>
                </p:cNvSpPr>
                <p:nvPr/>
              </p:nvSpPr>
              <p:spPr bwMode="auto">
                <a:xfrm flipH="1">
                  <a:off x="-5288" y="6414294"/>
                  <a:ext cx="1445870" cy="58581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99" name="Group 98"/>
                <p:cNvGrpSpPr/>
                <p:nvPr/>
              </p:nvGrpSpPr>
              <p:grpSpPr>
                <a:xfrm flipH="1">
                  <a:off x="4579666" y="6201145"/>
                  <a:ext cx="188333" cy="365034"/>
                  <a:chOff x="6229350" y="5232400"/>
                  <a:chExt cx="539750" cy="1046162"/>
                </a:xfrm>
              </p:grpSpPr>
              <p:sp>
                <p:nvSpPr>
                  <p:cNvPr id="10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85" name="Rectangle 21"/>
              <p:cNvSpPr/>
              <p:nvPr/>
            </p:nvSpPr>
            <p:spPr>
              <a:xfrm>
                <a:off x="9349854" y="4499087"/>
                <a:ext cx="1111477" cy="1299545"/>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361" rtl="0" eaLnBrk="1" fontAlgn="auto" latinLnBrk="0" hangingPunct="1">
                  <a:lnSpc>
                    <a:spcPct val="100000"/>
                  </a:lnSpc>
                  <a:spcBef>
                    <a:spcPts val="0"/>
                  </a:spcBef>
                  <a:spcAft>
                    <a:spcPts val="0"/>
                  </a:spcAft>
                  <a:buClrTx/>
                  <a:buSzTx/>
                  <a:buFontTx/>
                  <a:buNone/>
                  <a:tabLst/>
                  <a:defRPr/>
                </a:pPr>
                <a:endParaRPr kumimoji="0" lang="en-US" sz="1198"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70" name="Group 70"/>
            <p:cNvGrpSpPr>
              <a:grpSpLocks noChangeAspect="1"/>
            </p:cNvGrpSpPr>
            <p:nvPr userDrawn="1"/>
          </p:nvGrpSpPr>
          <p:grpSpPr bwMode="auto">
            <a:xfrm>
              <a:off x="6879728" y="5493095"/>
              <a:ext cx="824896" cy="793371"/>
              <a:chOff x="2974" y="1298"/>
              <a:chExt cx="1884" cy="1812"/>
            </a:xfrm>
          </p:grpSpPr>
          <p:sp>
            <p:nvSpPr>
              <p:cNvPr id="71" name="Freeform 71"/>
              <p:cNvSpPr>
                <a:spLocks/>
              </p:cNvSpPr>
              <p:nvPr userDrawn="1"/>
            </p:nvSpPr>
            <p:spPr bwMode="auto">
              <a:xfrm>
                <a:off x="2974" y="2996"/>
                <a:ext cx="1884" cy="114"/>
              </a:xfrm>
              <a:custGeom>
                <a:avLst/>
                <a:gdLst>
                  <a:gd name="T0" fmla="*/ 0 w 1884"/>
                  <a:gd name="T1" fmla="*/ 0 h 114"/>
                  <a:gd name="T2" fmla="*/ 1884 w 1884"/>
                  <a:gd name="T3" fmla="*/ 0 h 114"/>
                  <a:gd name="T4" fmla="*/ 1884 w 1884"/>
                  <a:gd name="T5" fmla="*/ 114 h 114"/>
                  <a:gd name="T6" fmla="*/ 0 w 1884"/>
                  <a:gd name="T7" fmla="*/ 114 h 114"/>
                  <a:gd name="T8" fmla="*/ 0 w 1884"/>
                  <a:gd name="T9" fmla="*/ 0 h 114"/>
                  <a:gd name="T10" fmla="*/ 0 w 1884"/>
                  <a:gd name="T11" fmla="*/ 0 h 114"/>
                </a:gdLst>
                <a:ahLst/>
                <a:cxnLst>
                  <a:cxn ang="0">
                    <a:pos x="T0" y="T1"/>
                  </a:cxn>
                  <a:cxn ang="0">
                    <a:pos x="T2" y="T3"/>
                  </a:cxn>
                  <a:cxn ang="0">
                    <a:pos x="T4" y="T5"/>
                  </a:cxn>
                  <a:cxn ang="0">
                    <a:pos x="T6" y="T7"/>
                  </a:cxn>
                  <a:cxn ang="0">
                    <a:pos x="T8" y="T9"/>
                  </a:cxn>
                  <a:cxn ang="0">
                    <a:pos x="T10" y="T11"/>
                  </a:cxn>
                </a:cxnLst>
                <a:rect l="0" t="0" r="r" b="b"/>
                <a:pathLst>
                  <a:path w="1884" h="114">
                    <a:moveTo>
                      <a:pt x="0" y="0"/>
                    </a:moveTo>
                    <a:lnTo>
                      <a:pt x="1884" y="0"/>
                    </a:lnTo>
                    <a:lnTo>
                      <a:pt x="1884" y="114"/>
                    </a:lnTo>
                    <a:lnTo>
                      <a:pt x="0" y="114"/>
                    </a:lnTo>
                    <a:lnTo>
                      <a:pt x="0" y="0"/>
                    </a:lnTo>
                    <a:lnTo>
                      <a:pt x="0" y="0"/>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2" name="Freeform 72"/>
              <p:cNvSpPr>
                <a:spLocks/>
              </p:cNvSpPr>
              <p:nvPr userDrawn="1"/>
            </p:nvSpPr>
            <p:spPr bwMode="auto">
              <a:xfrm>
                <a:off x="3067" y="2892"/>
                <a:ext cx="1696" cy="114"/>
              </a:xfrm>
              <a:custGeom>
                <a:avLst/>
                <a:gdLst>
                  <a:gd name="T0" fmla="*/ 0 w 1696"/>
                  <a:gd name="T1" fmla="*/ 0 h 114"/>
                  <a:gd name="T2" fmla="*/ 1696 w 1696"/>
                  <a:gd name="T3" fmla="*/ 0 h 114"/>
                  <a:gd name="T4" fmla="*/ 1696 w 1696"/>
                  <a:gd name="T5" fmla="*/ 114 h 114"/>
                  <a:gd name="T6" fmla="*/ 0 w 1696"/>
                  <a:gd name="T7" fmla="*/ 114 h 114"/>
                  <a:gd name="T8" fmla="*/ 0 w 1696"/>
                  <a:gd name="T9" fmla="*/ 0 h 114"/>
                  <a:gd name="T10" fmla="*/ 0 w 1696"/>
                  <a:gd name="T11" fmla="*/ 0 h 114"/>
                </a:gdLst>
                <a:ahLst/>
                <a:cxnLst>
                  <a:cxn ang="0">
                    <a:pos x="T0" y="T1"/>
                  </a:cxn>
                  <a:cxn ang="0">
                    <a:pos x="T2" y="T3"/>
                  </a:cxn>
                  <a:cxn ang="0">
                    <a:pos x="T4" y="T5"/>
                  </a:cxn>
                  <a:cxn ang="0">
                    <a:pos x="T6" y="T7"/>
                  </a:cxn>
                  <a:cxn ang="0">
                    <a:pos x="T8" y="T9"/>
                  </a:cxn>
                  <a:cxn ang="0">
                    <a:pos x="T10" y="T11"/>
                  </a:cxn>
                </a:cxnLst>
                <a:rect l="0" t="0" r="r" b="b"/>
                <a:pathLst>
                  <a:path w="1696" h="114">
                    <a:moveTo>
                      <a:pt x="0" y="0"/>
                    </a:moveTo>
                    <a:lnTo>
                      <a:pt x="1696" y="0"/>
                    </a:lnTo>
                    <a:lnTo>
                      <a:pt x="1696" y="114"/>
                    </a:lnTo>
                    <a:lnTo>
                      <a:pt x="0" y="114"/>
                    </a:lnTo>
                    <a:lnTo>
                      <a:pt x="0" y="0"/>
                    </a:lnTo>
                    <a:lnTo>
                      <a:pt x="0" y="0"/>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3" name="Freeform 73"/>
              <p:cNvSpPr>
                <a:spLocks/>
              </p:cNvSpPr>
              <p:nvPr userDrawn="1"/>
            </p:nvSpPr>
            <p:spPr bwMode="auto">
              <a:xfrm>
                <a:off x="3157" y="2785"/>
                <a:ext cx="1518" cy="112"/>
              </a:xfrm>
              <a:custGeom>
                <a:avLst/>
                <a:gdLst>
                  <a:gd name="T0" fmla="*/ 0 w 1518"/>
                  <a:gd name="T1" fmla="*/ 0 h 112"/>
                  <a:gd name="T2" fmla="*/ 1518 w 1518"/>
                  <a:gd name="T3" fmla="*/ 0 h 112"/>
                  <a:gd name="T4" fmla="*/ 1518 w 1518"/>
                  <a:gd name="T5" fmla="*/ 112 h 112"/>
                  <a:gd name="T6" fmla="*/ 0 w 1518"/>
                  <a:gd name="T7" fmla="*/ 112 h 112"/>
                  <a:gd name="T8" fmla="*/ 0 w 1518"/>
                  <a:gd name="T9" fmla="*/ 0 h 112"/>
                  <a:gd name="T10" fmla="*/ 0 w 1518"/>
                  <a:gd name="T11" fmla="*/ 0 h 112"/>
                </a:gdLst>
                <a:ahLst/>
                <a:cxnLst>
                  <a:cxn ang="0">
                    <a:pos x="T0" y="T1"/>
                  </a:cxn>
                  <a:cxn ang="0">
                    <a:pos x="T2" y="T3"/>
                  </a:cxn>
                  <a:cxn ang="0">
                    <a:pos x="T4" y="T5"/>
                  </a:cxn>
                  <a:cxn ang="0">
                    <a:pos x="T6" y="T7"/>
                  </a:cxn>
                  <a:cxn ang="0">
                    <a:pos x="T8" y="T9"/>
                  </a:cxn>
                  <a:cxn ang="0">
                    <a:pos x="T10" y="T11"/>
                  </a:cxn>
                </a:cxnLst>
                <a:rect l="0" t="0" r="r" b="b"/>
                <a:pathLst>
                  <a:path w="1518" h="112">
                    <a:moveTo>
                      <a:pt x="0" y="0"/>
                    </a:moveTo>
                    <a:lnTo>
                      <a:pt x="1518" y="0"/>
                    </a:lnTo>
                    <a:lnTo>
                      <a:pt x="1518" y="112"/>
                    </a:lnTo>
                    <a:lnTo>
                      <a:pt x="0" y="112"/>
                    </a:lnTo>
                    <a:lnTo>
                      <a:pt x="0" y="0"/>
                    </a:lnTo>
                    <a:lnTo>
                      <a:pt x="0" y="0"/>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4" name="Freeform 74"/>
              <p:cNvSpPr>
                <a:spLocks/>
              </p:cNvSpPr>
              <p:nvPr userDrawn="1"/>
            </p:nvSpPr>
            <p:spPr bwMode="auto">
              <a:xfrm>
                <a:off x="3242" y="1792"/>
                <a:ext cx="1347" cy="113"/>
              </a:xfrm>
              <a:custGeom>
                <a:avLst/>
                <a:gdLst>
                  <a:gd name="T0" fmla="*/ 0 w 1347"/>
                  <a:gd name="T1" fmla="*/ 0 h 113"/>
                  <a:gd name="T2" fmla="*/ 1347 w 1347"/>
                  <a:gd name="T3" fmla="*/ 0 h 113"/>
                  <a:gd name="T4" fmla="*/ 1347 w 1347"/>
                  <a:gd name="T5" fmla="*/ 113 h 113"/>
                  <a:gd name="T6" fmla="*/ 0 w 1347"/>
                  <a:gd name="T7" fmla="*/ 113 h 113"/>
                  <a:gd name="T8" fmla="*/ 0 w 1347"/>
                  <a:gd name="T9" fmla="*/ 0 h 113"/>
                  <a:gd name="T10" fmla="*/ 0 w 1347"/>
                  <a:gd name="T11" fmla="*/ 0 h 113"/>
                </a:gdLst>
                <a:ahLst/>
                <a:cxnLst>
                  <a:cxn ang="0">
                    <a:pos x="T0" y="T1"/>
                  </a:cxn>
                  <a:cxn ang="0">
                    <a:pos x="T2" y="T3"/>
                  </a:cxn>
                  <a:cxn ang="0">
                    <a:pos x="T4" y="T5"/>
                  </a:cxn>
                  <a:cxn ang="0">
                    <a:pos x="T6" y="T7"/>
                  </a:cxn>
                  <a:cxn ang="0">
                    <a:pos x="T8" y="T9"/>
                  </a:cxn>
                  <a:cxn ang="0">
                    <a:pos x="T10" y="T11"/>
                  </a:cxn>
                </a:cxnLst>
                <a:rect l="0" t="0" r="r" b="b"/>
                <a:pathLst>
                  <a:path w="1347" h="113">
                    <a:moveTo>
                      <a:pt x="0" y="0"/>
                    </a:moveTo>
                    <a:lnTo>
                      <a:pt x="1347" y="0"/>
                    </a:lnTo>
                    <a:lnTo>
                      <a:pt x="1347" y="113"/>
                    </a:lnTo>
                    <a:lnTo>
                      <a:pt x="0" y="113"/>
                    </a:lnTo>
                    <a:lnTo>
                      <a:pt x="0" y="0"/>
                    </a:lnTo>
                    <a:lnTo>
                      <a:pt x="0" y="0"/>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5" name="Freeform 75"/>
              <p:cNvSpPr>
                <a:spLocks/>
              </p:cNvSpPr>
              <p:nvPr userDrawn="1"/>
            </p:nvSpPr>
            <p:spPr bwMode="auto">
              <a:xfrm>
                <a:off x="3282" y="1936"/>
                <a:ext cx="183" cy="814"/>
              </a:xfrm>
              <a:custGeom>
                <a:avLst/>
                <a:gdLst>
                  <a:gd name="T0" fmla="*/ 0 w 183"/>
                  <a:gd name="T1" fmla="*/ 814 h 814"/>
                  <a:gd name="T2" fmla="*/ 17 w 183"/>
                  <a:gd name="T3" fmla="*/ 0 h 814"/>
                  <a:gd name="T4" fmla="*/ 167 w 183"/>
                  <a:gd name="T5" fmla="*/ 0 h 814"/>
                  <a:gd name="T6" fmla="*/ 183 w 183"/>
                  <a:gd name="T7" fmla="*/ 814 h 814"/>
                  <a:gd name="T8" fmla="*/ 0 w 183"/>
                  <a:gd name="T9" fmla="*/ 814 h 814"/>
                  <a:gd name="T10" fmla="*/ 0 w 183"/>
                  <a:gd name="T11" fmla="*/ 814 h 814"/>
                </a:gdLst>
                <a:ahLst/>
                <a:cxnLst>
                  <a:cxn ang="0">
                    <a:pos x="T0" y="T1"/>
                  </a:cxn>
                  <a:cxn ang="0">
                    <a:pos x="T2" y="T3"/>
                  </a:cxn>
                  <a:cxn ang="0">
                    <a:pos x="T4" y="T5"/>
                  </a:cxn>
                  <a:cxn ang="0">
                    <a:pos x="T6" y="T7"/>
                  </a:cxn>
                  <a:cxn ang="0">
                    <a:pos x="T8" y="T9"/>
                  </a:cxn>
                  <a:cxn ang="0">
                    <a:pos x="T10" y="T11"/>
                  </a:cxn>
                </a:cxnLst>
                <a:rect l="0" t="0" r="r" b="b"/>
                <a:pathLst>
                  <a:path w="183" h="814">
                    <a:moveTo>
                      <a:pt x="0" y="814"/>
                    </a:moveTo>
                    <a:lnTo>
                      <a:pt x="17" y="0"/>
                    </a:lnTo>
                    <a:lnTo>
                      <a:pt x="167" y="0"/>
                    </a:lnTo>
                    <a:lnTo>
                      <a:pt x="183" y="814"/>
                    </a:lnTo>
                    <a:lnTo>
                      <a:pt x="0" y="814"/>
                    </a:lnTo>
                    <a:lnTo>
                      <a:pt x="0" y="814"/>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6" name="Freeform 76"/>
              <p:cNvSpPr>
                <a:spLocks/>
              </p:cNvSpPr>
              <p:nvPr userDrawn="1"/>
            </p:nvSpPr>
            <p:spPr bwMode="auto">
              <a:xfrm>
                <a:off x="3643" y="1936"/>
                <a:ext cx="183" cy="814"/>
              </a:xfrm>
              <a:custGeom>
                <a:avLst/>
                <a:gdLst>
                  <a:gd name="T0" fmla="*/ 0 w 183"/>
                  <a:gd name="T1" fmla="*/ 814 h 814"/>
                  <a:gd name="T2" fmla="*/ 17 w 183"/>
                  <a:gd name="T3" fmla="*/ 0 h 814"/>
                  <a:gd name="T4" fmla="*/ 166 w 183"/>
                  <a:gd name="T5" fmla="*/ 0 h 814"/>
                  <a:gd name="T6" fmla="*/ 183 w 183"/>
                  <a:gd name="T7" fmla="*/ 814 h 814"/>
                  <a:gd name="T8" fmla="*/ 0 w 183"/>
                  <a:gd name="T9" fmla="*/ 814 h 814"/>
                  <a:gd name="T10" fmla="*/ 0 w 183"/>
                  <a:gd name="T11" fmla="*/ 814 h 814"/>
                </a:gdLst>
                <a:ahLst/>
                <a:cxnLst>
                  <a:cxn ang="0">
                    <a:pos x="T0" y="T1"/>
                  </a:cxn>
                  <a:cxn ang="0">
                    <a:pos x="T2" y="T3"/>
                  </a:cxn>
                  <a:cxn ang="0">
                    <a:pos x="T4" y="T5"/>
                  </a:cxn>
                  <a:cxn ang="0">
                    <a:pos x="T6" y="T7"/>
                  </a:cxn>
                  <a:cxn ang="0">
                    <a:pos x="T8" y="T9"/>
                  </a:cxn>
                  <a:cxn ang="0">
                    <a:pos x="T10" y="T11"/>
                  </a:cxn>
                </a:cxnLst>
                <a:rect l="0" t="0" r="r" b="b"/>
                <a:pathLst>
                  <a:path w="183" h="814">
                    <a:moveTo>
                      <a:pt x="0" y="814"/>
                    </a:moveTo>
                    <a:lnTo>
                      <a:pt x="17" y="0"/>
                    </a:lnTo>
                    <a:lnTo>
                      <a:pt x="166" y="0"/>
                    </a:lnTo>
                    <a:lnTo>
                      <a:pt x="183" y="814"/>
                    </a:lnTo>
                    <a:lnTo>
                      <a:pt x="0" y="814"/>
                    </a:lnTo>
                    <a:lnTo>
                      <a:pt x="0" y="814"/>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7" name="Freeform 77"/>
              <p:cNvSpPr>
                <a:spLocks/>
              </p:cNvSpPr>
              <p:nvPr userDrawn="1"/>
            </p:nvSpPr>
            <p:spPr bwMode="auto">
              <a:xfrm>
                <a:off x="4004" y="1936"/>
                <a:ext cx="182" cy="814"/>
              </a:xfrm>
              <a:custGeom>
                <a:avLst/>
                <a:gdLst>
                  <a:gd name="T0" fmla="*/ 0 w 182"/>
                  <a:gd name="T1" fmla="*/ 814 h 814"/>
                  <a:gd name="T2" fmla="*/ 16 w 182"/>
                  <a:gd name="T3" fmla="*/ 0 h 814"/>
                  <a:gd name="T4" fmla="*/ 166 w 182"/>
                  <a:gd name="T5" fmla="*/ 0 h 814"/>
                  <a:gd name="T6" fmla="*/ 182 w 182"/>
                  <a:gd name="T7" fmla="*/ 814 h 814"/>
                  <a:gd name="T8" fmla="*/ 0 w 182"/>
                  <a:gd name="T9" fmla="*/ 814 h 814"/>
                  <a:gd name="T10" fmla="*/ 0 w 182"/>
                  <a:gd name="T11" fmla="*/ 814 h 814"/>
                </a:gdLst>
                <a:ahLst/>
                <a:cxnLst>
                  <a:cxn ang="0">
                    <a:pos x="T0" y="T1"/>
                  </a:cxn>
                  <a:cxn ang="0">
                    <a:pos x="T2" y="T3"/>
                  </a:cxn>
                  <a:cxn ang="0">
                    <a:pos x="T4" y="T5"/>
                  </a:cxn>
                  <a:cxn ang="0">
                    <a:pos x="T6" y="T7"/>
                  </a:cxn>
                  <a:cxn ang="0">
                    <a:pos x="T8" y="T9"/>
                  </a:cxn>
                  <a:cxn ang="0">
                    <a:pos x="T10" y="T11"/>
                  </a:cxn>
                </a:cxnLst>
                <a:rect l="0" t="0" r="r" b="b"/>
                <a:pathLst>
                  <a:path w="182" h="814">
                    <a:moveTo>
                      <a:pt x="0" y="814"/>
                    </a:moveTo>
                    <a:lnTo>
                      <a:pt x="16" y="0"/>
                    </a:lnTo>
                    <a:lnTo>
                      <a:pt x="166" y="0"/>
                    </a:lnTo>
                    <a:lnTo>
                      <a:pt x="182" y="814"/>
                    </a:lnTo>
                    <a:lnTo>
                      <a:pt x="0" y="814"/>
                    </a:lnTo>
                    <a:lnTo>
                      <a:pt x="0" y="814"/>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8" name="Freeform 78"/>
              <p:cNvSpPr>
                <a:spLocks/>
              </p:cNvSpPr>
              <p:nvPr userDrawn="1"/>
            </p:nvSpPr>
            <p:spPr bwMode="auto">
              <a:xfrm>
                <a:off x="4366" y="1936"/>
                <a:ext cx="181" cy="814"/>
              </a:xfrm>
              <a:custGeom>
                <a:avLst/>
                <a:gdLst>
                  <a:gd name="T0" fmla="*/ 0 w 181"/>
                  <a:gd name="T1" fmla="*/ 814 h 814"/>
                  <a:gd name="T2" fmla="*/ 17 w 181"/>
                  <a:gd name="T3" fmla="*/ 0 h 814"/>
                  <a:gd name="T4" fmla="*/ 164 w 181"/>
                  <a:gd name="T5" fmla="*/ 0 h 814"/>
                  <a:gd name="T6" fmla="*/ 181 w 181"/>
                  <a:gd name="T7" fmla="*/ 814 h 814"/>
                  <a:gd name="T8" fmla="*/ 0 w 181"/>
                  <a:gd name="T9" fmla="*/ 814 h 814"/>
                  <a:gd name="T10" fmla="*/ 0 w 181"/>
                  <a:gd name="T11" fmla="*/ 814 h 814"/>
                </a:gdLst>
                <a:ahLst/>
                <a:cxnLst>
                  <a:cxn ang="0">
                    <a:pos x="T0" y="T1"/>
                  </a:cxn>
                  <a:cxn ang="0">
                    <a:pos x="T2" y="T3"/>
                  </a:cxn>
                  <a:cxn ang="0">
                    <a:pos x="T4" y="T5"/>
                  </a:cxn>
                  <a:cxn ang="0">
                    <a:pos x="T6" y="T7"/>
                  </a:cxn>
                  <a:cxn ang="0">
                    <a:pos x="T8" y="T9"/>
                  </a:cxn>
                  <a:cxn ang="0">
                    <a:pos x="T10" y="T11"/>
                  </a:cxn>
                </a:cxnLst>
                <a:rect l="0" t="0" r="r" b="b"/>
                <a:pathLst>
                  <a:path w="181" h="814">
                    <a:moveTo>
                      <a:pt x="0" y="814"/>
                    </a:moveTo>
                    <a:lnTo>
                      <a:pt x="17" y="0"/>
                    </a:lnTo>
                    <a:lnTo>
                      <a:pt x="164" y="0"/>
                    </a:lnTo>
                    <a:lnTo>
                      <a:pt x="181" y="814"/>
                    </a:lnTo>
                    <a:lnTo>
                      <a:pt x="0" y="814"/>
                    </a:lnTo>
                    <a:lnTo>
                      <a:pt x="0" y="814"/>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9" name="Freeform 79"/>
              <p:cNvSpPr>
                <a:spLocks/>
              </p:cNvSpPr>
              <p:nvPr userDrawn="1"/>
            </p:nvSpPr>
            <p:spPr bwMode="auto">
              <a:xfrm>
                <a:off x="3076" y="1298"/>
                <a:ext cx="1675" cy="465"/>
              </a:xfrm>
              <a:custGeom>
                <a:avLst/>
                <a:gdLst>
                  <a:gd name="T0" fmla="*/ 0 w 1675"/>
                  <a:gd name="T1" fmla="*/ 460 h 465"/>
                  <a:gd name="T2" fmla="*/ 0 w 1675"/>
                  <a:gd name="T3" fmla="*/ 394 h 465"/>
                  <a:gd name="T4" fmla="*/ 840 w 1675"/>
                  <a:gd name="T5" fmla="*/ 0 h 465"/>
                  <a:gd name="T6" fmla="*/ 1675 w 1675"/>
                  <a:gd name="T7" fmla="*/ 401 h 465"/>
                  <a:gd name="T8" fmla="*/ 1675 w 1675"/>
                  <a:gd name="T9" fmla="*/ 465 h 465"/>
                  <a:gd name="T10" fmla="*/ 0 w 1675"/>
                  <a:gd name="T11" fmla="*/ 460 h 465"/>
                  <a:gd name="T12" fmla="*/ 0 w 1675"/>
                  <a:gd name="T13" fmla="*/ 460 h 465"/>
                  <a:gd name="T14" fmla="*/ 0 w 1675"/>
                  <a:gd name="T15" fmla="*/ 460 h 4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5" h="465">
                    <a:moveTo>
                      <a:pt x="0" y="460"/>
                    </a:moveTo>
                    <a:lnTo>
                      <a:pt x="0" y="394"/>
                    </a:lnTo>
                    <a:lnTo>
                      <a:pt x="840" y="0"/>
                    </a:lnTo>
                    <a:lnTo>
                      <a:pt x="1675" y="401"/>
                    </a:lnTo>
                    <a:lnTo>
                      <a:pt x="1675" y="465"/>
                    </a:lnTo>
                    <a:lnTo>
                      <a:pt x="0" y="460"/>
                    </a:lnTo>
                    <a:lnTo>
                      <a:pt x="0" y="460"/>
                    </a:lnTo>
                    <a:lnTo>
                      <a:pt x="0" y="460"/>
                    </a:lnTo>
                    <a:close/>
                  </a:path>
                </a:pathLst>
              </a:custGeom>
              <a:solidFill>
                <a:srgbClr val="009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grpSp>
      </p:grpSp>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734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pPr>
              <a:defRPr/>
            </a:pPr>
            <a:r>
              <a:rPr lang="en-US">
                <a:solidFill>
                  <a:srgbClr val="FFFFFF"/>
                </a:solidFill>
              </a:rPr>
              <a:t>Microsoft confidential 2015</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39">
              <a:defRPr/>
            </a:pPr>
            <a:fld id="{27258FFF-F925-446B-8502-81C933981705}" type="slidenum">
              <a:rPr lang="en-US" smtClean="0">
                <a:solidFill>
                  <a:srgbClr val="FFFFFF"/>
                </a:solidFill>
              </a:rPr>
              <a:pPr defTabSz="932539">
                <a:defRPr/>
              </a:pPr>
              <a:t>‹#›</a:t>
            </a:fld>
            <a:endParaRPr lang="en-US" dirty="0">
              <a:solidFill>
                <a:srgbClr val="FFFFFF"/>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43129078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0_36pt Title Only">
    <p:spTree>
      <p:nvGrpSpPr>
        <p:cNvPr id="1" name=""/>
        <p:cNvGrpSpPr/>
        <p:nvPr/>
      </p:nvGrpSpPr>
      <p:grpSpPr>
        <a:xfrm>
          <a:off x="0" y="0"/>
          <a:ext cx="0" cy="0"/>
          <a:chOff x="0" y="0"/>
          <a:chExt cx="0" cy="0"/>
        </a:xfrm>
      </p:grpSpPr>
      <p:grpSp>
        <p:nvGrpSpPr>
          <p:cNvPr id="11" name="Group 10"/>
          <p:cNvGrpSpPr/>
          <p:nvPr userDrawn="1"/>
        </p:nvGrpSpPr>
        <p:grpSpPr>
          <a:xfrm>
            <a:off x="10085147" y="6547350"/>
            <a:ext cx="312271" cy="354390"/>
            <a:chOff x="1937232" y="6306131"/>
            <a:chExt cx="312271" cy="354390"/>
          </a:xfrm>
          <a:solidFill>
            <a:schemeClr val="bg1">
              <a:lumMod val="95000"/>
            </a:schemeClr>
          </a:solidFill>
        </p:grpSpPr>
        <p:sp>
          <p:nvSpPr>
            <p:cNvPr id="86" name="Rectangle 5"/>
            <p:cNvSpPr>
              <a:spLocks noChangeArrowheads="1"/>
            </p:cNvSpPr>
            <p:nvPr userDrawn="1"/>
          </p:nvSpPr>
          <p:spPr bwMode="auto">
            <a:xfrm flipH="1">
              <a:off x="1937232" y="6359458"/>
              <a:ext cx="312271" cy="3010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7" name="Rectangle 6"/>
            <p:cNvSpPr>
              <a:spLocks noChangeArrowheads="1"/>
            </p:cNvSpPr>
            <p:nvPr userDrawn="1"/>
          </p:nvSpPr>
          <p:spPr bwMode="auto">
            <a:xfrm flipH="1">
              <a:off x="1987514" y="6306131"/>
              <a:ext cx="135494" cy="3036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81" name="Freeform 80"/>
          <p:cNvSpPr>
            <a:spLocks/>
          </p:cNvSpPr>
          <p:nvPr/>
        </p:nvSpPr>
        <p:spPr bwMode="auto">
          <a:xfrm>
            <a:off x="9207701" y="6751032"/>
            <a:ext cx="2767855" cy="253351"/>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14" name="Group 13"/>
          <p:cNvGrpSpPr/>
          <p:nvPr userDrawn="1"/>
        </p:nvGrpSpPr>
        <p:grpSpPr>
          <a:xfrm>
            <a:off x="10375263" y="6138056"/>
            <a:ext cx="565191" cy="800729"/>
            <a:chOff x="10375260" y="6138054"/>
            <a:chExt cx="565191" cy="800729"/>
          </a:xfrm>
        </p:grpSpPr>
        <p:sp>
          <p:nvSpPr>
            <p:cNvPr id="13" name="Rectangle 12"/>
            <p:cNvSpPr/>
            <p:nvPr userDrawn="1"/>
          </p:nvSpPr>
          <p:spPr bwMode="auto">
            <a:xfrm>
              <a:off x="10375260" y="6643658"/>
              <a:ext cx="565191" cy="2951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Freeform 114"/>
            <p:cNvSpPr>
              <a:spLocks/>
            </p:cNvSpPr>
            <p:nvPr userDrawn="1"/>
          </p:nvSpPr>
          <p:spPr bwMode="auto">
            <a:xfrm>
              <a:off x="10378013" y="6138054"/>
              <a:ext cx="562438" cy="800729"/>
            </a:xfrm>
            <a:custGeom>
              <a:avLst/>
              <a:gdLst>
                <a:gd name="connsiteX0" fmla="*/ 523359 w 750094"/>
                <a:gd name="connsiteY0" fmla="*/ 706057 h 935038"/>
                <a:gd name="connsiteX1" fmla="*/ 749300 w 750094"/>
                <a:gd name="connsiteY1" fmla="*/ 706057 h 935038"/>
                <a:gd name="connsiteX2" fmla="*/ 749300 w 750094"/>
                <a:gd name="connsiteY2" fmla="*/ 935038 h 935038"/>
                <a:gd name="connsiteX3" fmla="*/ 523359 w 750094"/>
                <a:gd name="connsiteY3" fmla="*/ 935038 h 935038"/>
                <a:gd name="connsiteX4" fmla="*/ 242698 w 750094"/>
                <a:gd name="connsiteY4" fmla="*/ 706057 h 935038"/>
                <a:gd name="connsiteX5" fmla="*/ 514215 w 750094"/>
                <a:gd name="connsiteY5" fmla="*/ 706057 h 935038"/>
                <a:gd name="connsiteX6" fmla="*/ 514215 w 750094"/>
                <a:gd name="connsiteY6" fmla="*/ 935038 h 935038"/>
                <a:gd name="connsiteX7" fmla="*/ 242698 w 750094"/>
                <a:gd name="connsiteY7" fmla="*/ 935038 h 935038"/>
                <a:gd name="connsiteX8" fmla="*/ 0 w 750094"/>
                <a:gd name="connsiteY8" fmla="*/ 706057 h 935038"/>
                <a:gd name="connsiteX9" fmla="*/ 233554 w 750094"/>
                <a:gd name="connsiteY9" fmla="*/ 706057 h 935038"/>
                <a:gd name="connsiteX10" fmla="*/ 233554 w 750094"/>
                <a:gd name="connsiteY10" fmla="*/ 935038 h 935038"/>
                <a:gd name="connsiteX11" fmla="*/ 0 w 750094"/>
                <a:gd name="connsiteY11" fmla="*/ 935038 h 935038"/>
                <a:gd name="connsiteX12" fmla="*/ 674370 w 750094"/>
                <a:gd name="connsiteY12" fmla="*/ 522288 h 935038"/>
                <a:gd name="connsiteX13" fmla="*/ 666750 w 750094"/>
                <a:gd name="connsiteY13" fmla="*/ 529859 h 935038"/>
                <a:gd name="connsiteX14" fmla="*/ 666750 w 750094"/>
                <a:gd name="connsiteY14" fmla="*/ 669926 h 935038"/>
                <a:gd name="connsiteX15" fmla="*/ 685800 w 750094"/>
                <a:gd name="connsiteY15" fmla="*/ 669926 h 935038"/>
                <a:gd name="connsiteX16" fmla="*/ 685800 w 750094"/>
                <a:gd name="connsiteY16" fmla="*/ 529859 h 935038"/>
                <a:gd name="connsiteX17" fmla="*/ 674370 w 750094"/>
                <a:gd name="connsiteY17" fmla="*/ 522288 h 935038"/>
                <a:gd name="connsiteX18" fmla="*/ 636588 w 750094"/>
                <a:gd name="connsiteY18" fmla="*/ 522288 h 935038"/>
                <a:gd name="connsiteX19" fmla="*/ 625475 w 750094"/>
                <a:gd name="connsiteY19" fmla="*/ 529859 h 935038"/>
                <a:gd name="connsiteX20" fmla="*/ 625475 w 750094"/>
                <a:gd name="connsiteY20" fmla="*/ 669926 h 935038"/>
                <a:gd name="connsiteX21" fmla="*/ 647700 w 750094"/>
                <a:gd name="connsiteY21" fmla="*/ 669926 h 935038"/>
                <a:gd name="connsiteX22" fmla="*/ 647700 w 750094"/>
                <a:gd name="connsiteY22" fmla="*/ 529859 h 935038"/>
                <a:gd name="connsiteX23" fmla="*/ 636588 w 750094"/>
                <a:gd name="connsiteY23" fmla="*/ 522288 h 935038"/>
                <a:gd name="connsiteX24" fmla="*/ 598805 w 750094"/>
                <a:gd name="connsiteY24" fmla="*/ 522288 h 935038"/>
                <a:gd name="connsiteX25" fmla="*/ 587375 w 750094"/>
                <a:gd name="connsiteY25" fmla="*/ 529859 h 935038"/>
                <a:gd name="connsiteX26" fmla="*/ 587375 w 750094"/>
                <a:gd name="connsiteY26" fmla="*/ 669926 h 935038"/>
                <a:gd name="connsiteX27" fmla="*/ 606425 w 750094"/>
                <a:gd name="connsiteY27" fmla="*/ 669926 h 935038"/>
                <a:gd name="connsiteX28" fmla="*/ 606425 w 750094"/>
                <a:gd name="connsiteY28" fmla="*/ 529859 h 935038"/>
                <a:gd name="connsiteX29" fmla="*/ 598805 w 750094"/>
                <a:gd name="connsiteY29" fmla="*/ 522288 h 935038"/>
                <a:gd name="connsiteX30" fmla="*/ 151130 w 750094"/>
                <a:gd name="connsiteY30" fmla="*/ 522288 h 935038"/>
                <a:gd name="connsiteX31" fmla="*/ 139700 w 750094"/>
                <a:gd name="connsiteY31" fmla="*/ 529859 h 935038"/>
                <a:gd name="connsiteX32" fmla="*/ 139700 w 750094"/>
                <a:gd name="connsiteY32" fmla="*/ 669926 h 935038"/>
                <a:gd name="connsiteX33" fmla="*/ 158750 w 750094"/>
                <a:gd name="connsiteY33" fmla="*/ 669926 h 935038"/>
                <a:gd name="connsiteX34" fmla="*/ 158750 w 750094"/>
                <a:gd name="connsiteY34" fmla="*/ 529859 h 935038"/>
                <a:gd name="connsiteX35" fmla="*/ 151130 w 750094"/>
                <a:gd name="connsiteY35" fmla="*/ 522288 h 935038"/>
                <a:gd name="connsiteX36" fmla="*/ 109220 w 750094"/>
                <a:gd name="connsiteY36" fmla="*/ 522288 h 935038"/>
                <a:gd name="connsiteX37" fmla="*/ 101600 w 750094"/>
                <a:gd name="connsiteY37" fmla="*/ 529859 h 935038"/>
                <a:gd name="connsiteX38" fmla="*/ 101600 w 750094"/>
                <a:gd name="connsiteY38" fmla="*/ 669926 h 935038"/>
                <a:gd name="connsiteX39" fmla="*/ 120650 w 750094"/>
                <a:gd name="connsiteY39" fmla="*/ 669926 h 935038"/>
                <a:gd name="connsiteX40" fmla="*/ 120650 w 750094"/>
                <a:gd name="connsiteY40" fmla="*/ 529859 h 935038"/>
                <a:gd name="connsiteX41" fmla="*/ 109220 w 750094"/>
                <a:gd name="connsiteY41" fmla="*/ 522288 h 935038"/>
                <a:gd name="connsiteX42" fmla="*/ 71755 w 750094"/>
                <a:gd name="connsiteY42" fmla="*/ 522288 h 935038"/>
                <a:gd name="connsiteX43" fmla="*/ 60325 w 750094"/>
                <a:gd name="connsiteY43" fmla="*/ 529859 h 935038"/>
                <a:gd name="connsiteX44" fmla="*/ 60325 w 750094"/>
                <a:gd name="connsiteY44" fmla="*/ 669926 h 935038"/>
                <a:gd name="connsiteX45" fmla="*/ 79375 w 750094"/>
                <a:gd name="connsiteY45" fmla="*/ 669926 h 935038"/>
                <a:gd name="connsiteX46" fmla="*/ 79375 w 750094"/>
                <a:gd name="connsiteY46" fmla="*/ 529859 h 935038"/>
                <a:gd name="connsiteX47" fmla="*/ 71755 w 750094"/>
                <a:gd name="connsiteY47" fmla="*/ 522288 h 935038"/>
                <a:gd name="connsiteX48" fmla="*/ 0 w 750094"/>
                <a:gd name="connsiteY48" fmla="*/ 461963 h 935038"/>
                <a:gd name="connsiteX49" fmla="*/ 749300 w 750094"/>
                <a:gd name="connsiteY49" fmla="*/ 461963 h 935038"/>
                <a:gd name="connsiteX50" fmla="*/ 749300 w 750094"/>
                <a:gd name="connsiteY50" fmla="*/ 462567 h 935038"/>
                <a:gd name="connsiteX51" fmla="*/ 749300 w 750094"/>
                <a:gd name="connsiteY51" fmla="*/ 696913 h 935038"/>
                <a:gd name="connsiteX52" fmla="*/ 523359 w 750094"/>
                <a:gd name="connsiteY52" fmla="*/ 696913 h 935038"/>
                <a:gd name="connsiteX53" fmla="*/ 523359 w 750094"/>
                <a:gd name="connsiteY53" fmla="*/ 462567 h 935038"/>
                <a:gd name="connsiteX54" fmla="*/ 523359 w 750094"/>
                <a:gd name="connsiteY54" fmla="*/ 462344 h 935038"/>
                <a:gd name="connsiteX55" fmla="*/ 514215 w 750094"/>
                <a:gd name="connsiteY55" fmla="*/ 462344 h 935038"/>
                <a:gd name="connsiteX56" fmla="*/ 514215 w 750094"/>
                <a:gd name="connsiteY56" fmla="*/ 696913 h 935038"/>
                <a:gd name="connsiteX57" fmla="*/ 242698 w 750094"/>
                <a:gd name="connsiteY57" fmla="*/ 696913 h 935038"/>
                <a:gd name="connsiteX58" fmla="*/ 242698 w 750094"/>
                <a:gd name="connsiteY58" fmla="*/ 462344 h 935038"/>
                <a:gd name="connsiteX59" fmla="*/ 233554 w 750094"/>
                <a:gd name="connsiteY59" fmla="*/ 462344 h 935038"/>
                <a:gd name="connsiteX60" fmla="*/ 233554 w 750094"/>
                <a:gd name="connsiteY60" fmla="*/ 696913 h 935038"/>
                <a:gd name="connsiteX61" fmla="*/ 0 w 750094"/>
                <a:gd name="connsiteY61" fmla="*/ 696913 h 935038"/>
                <a:gd name="connsiteX62" fmla="*/ 0 w 750094"/>
                <a:gd name="connsiteY62" fmla="*/ 462567 h 935038"/>
                <a:gd name="connsiteX63" fmla="*/ 519113 w 750094"/>
                <a:gd name="connsiteY63" fmla="*/ 421894 h 935038"/>
                <a:gd name="connsiteX64" fmla="*/ 749301 w 750094"/>
                <a:gd name="connsiteY64" fmla="*/ 421894 h 935038"/>
                <a:gd name="connsiteX65" fmla="*/ 749301 w 750094"/>
                <a:gd name="connsiteY65" fmla="*/ 453423 h 935038"/>
                <a:gd name="connsiteX66" fmla="*/ 519113 w 750094"/>
                <a:gd name="connsiteY66" fmla="*/ 453423 h 935038"/>
                <a:gd name="connsiteX67" fmla="*/ 0 w 750094"/>
                <a:gd name="connsiteY67" fmla="*/ 421894 h 935038"/>
                <a:gd name="connsiteX68" fmla="*/ 233363 w 750094"/>
                <a:gd name="connsiteY68" fmla="*/ 421894 h 935038"/>
                <a:gd name="connsiteX69" fmla="*/ 233363 w 750094"/>
                <a:gd name="connsiteY69" fmla="*/ 453423 h 935038"/>
                <a:gd name="connsiteX70" fmla="*/ 0 w 750094"/>
                <a:gd name="connsiteY70" fmla="*/ 453423 h 935038"/>
                <a:gd name="connsiteX71" fmla="*/ 636588 w 750094"/>
                <a:gd name="connsiteY71" fmla="*/ 292100 h 935038"/>
                <a:gd name="connsiteX72" fmla="*/ 598488 w 750094"/>
                <a:gd name="connsiteY72" fmla="*/ 329803 h 935038"/>
                <a:gd name="connsiteX73" fmla="*/ 598488 w 750094"/>
                <a:gd name="connsiteY73" fmla="*/ 382588 h 935038"/>
                <a:gd name="connsiteX74" fmla="*/ 674688 w 750094"/>
                <a:gd name="connsiteY74" fmla="*/ 382588 h 935038"/>
                <a:gd name="connsiteX75" fmla="*/ 674688 w 750094"/>
                <a:gd name="connsiteY75" fmla="*/ 329803 h 935038"/>
                <a:gd name="connsiteX76" fmla="*/ 636588 w 750094"/>
                <a:gd name="connsiteY76" fmla="*/ 292100 h 935038"/>
                <a:gd name="connsiteX77" fmla="*/ 116682 w 750094"/>
                <a:gd name="connsiteY77" fmla="*/ 292100 h 935038"/>
                <a:gd name="connsiteX78" fmla="*/ 79375 w 750094"/>
                <a:gd name="connsiteY78" fmla="*/ 329803 h 935038"/>
                <a:gd name="connsiteX79" fmla="*/ 79375 w 750094"/>
                <a:gd name="connsiteY79" fmla="*/ 382588 h 935038"/>
                <a:gd name="connsiteX80" fmla="*/ 153988 w 750094"/>
                <a:gd name="connsiteY80" fmla="*/ 382588 h 935038"/>
                <a:gd name="connsiteX81" fmla="*/ 153988 w 750094"/>
                <a:gd name="connsiteY81" fmla="*/ 329803 h 935038"/>
                <a:gd name="connsiteX82" fmla="*/ 116682 w 750094"/>
                <a:gd name="connsiteY82" fmla="*/ 292100 h 935038"/>
                <a:gd name="connsiteX83" fmla="*/ 519113 w 750094"/>
                <a:gd name="connsiteY83" fmla="*/ 269685 h 935038"/>
                <a:gd name="connsiteX84" fmla="*/ 749301 w 750094"/>
                <a:gd name="connsiteY84" fmla="*/ 269685 h 935038"/>
                <a:gd name="connsiteX85" fmla="*/ 749301 w 750094"/>
                <a:gd name="connsiteY85" fmla="*/ 412750 h 935038"/>
                <a:gd name="connsiteX86" fmla="*/ 519113 w 750094"/>
                <a:gd name="connsiteY86" fmla="*/ 412750 h 935038"/>
                <a:gd name="connsiteX87" fmla="*/ 0 w 750094"/>
                <a:gd name="connsiteY87" fmla="*/ 269685 h 935038"/>
                <a:gd name="connsiteX88" fmla="*/ 233363 w 750094"/>
                <a:gd name="connsiteY88" fmla="*/ 269685 h 935038"/>
                <a:gd name="connsiteX89" fmla="*/ 233363 w 750094"/>
                <a:gd name="connsiteY89" fmla="*/ 412750 h 935038"/>
                <a:gd name="connsiteX90" fmla="*/ 0 w 750094"/>
                <a:gd name="connsiteY90" fmla="*/ 412750 h 935038"/>
                <a:gd name="connsiteX91" fmla="*/ 625475 w 750094"/>
                <a:gd name="connsiteY91" fmla="*/ 155575 h 935038"/>
                <a:gd name="connsiteX92" fmla="*/ 625475 w 750094"/>
                <a:gd name="connsiteY92" fmla="*/ 207963 h 935038"/>
                <a:gd name="connsiteX93" fmla="*/ 647700 w 750094"/>
                <a:gd name="connsiteY93" fmla="*/ 207963 h 935038"/>
                <a:gd name="connsiteX94" fmla="*/ 647700 w 750094"/>
                <a:gd name="connsiteY94" fmla="*/ 155575 h 935038"/>
                <a:gd name="connsiteX95" fmla="*/ 104775 w 750094"/>
                <a:gd name="connsiteY95" fmla="*/ 155575 h 935038"/>
                <a:gd name="connsiteX96" fmla="*/ 104775 w 750094"/>
                <a:gd name="connsiteY96" fmla="*/ 207963 h 935038"/>
                <a:gd name="connsiteX97" fmla="*/ 128588 w 750094"/>
                <a:gd name="connsiteY97" fmla="*/ 207963 h 935038"/>
                <a:gd name="connsiteX98" fmla="*/ 128588 w 750094"/>
                <a:gd name="connsiteY98" fmla="*/ 155575 h 935038"/>
                <a:gd name="connsiteX99" fmla="*/ 519113 w 750094"/>
                <a:gd name="connsiteY99" fmla="*/ 52388 h 935038"/>
                <a:gd name="connsiteX100" fmla="*/ 557213 w 750094"/>
                <a:gd name="connsiteY100" fmla="*/ 52388 h 935038"/>
                <a:gd name="connsiteX101" fmla="*/ 557213 w 750094"/>
                <a:gd name="connsiteY101" fmla="*/ 207963 h 935038"/>
                <a:gd name="connsiteX102" fmla="*/ 595313 w 750094"/>
                <a:gd name="connsiteY102" fmla="*/ 98425 h 935038"/>
                <a:gd name="connsiteX103" fmla="*/ 674688 w 750094"/>
                <a:gd name="connsiteY103" fmla="*/ 98425 h 935038"/>
                <a:gd name="connsiteX104" fmla="*/ 708819 w 750094"/>
                <a:gd name="connsiteY104" fmla="*/ 200817 h 935038"/>
                <a:gd name="connsiteX105" fmla="*/ 708819 w 750094"/>
                <a:gd name="connsiteY105" fmla="*/ 52388 h 935038"/>
                <a:gd name="connsiteX106" fmla="*/ 750094 w 750094"/>
                <a:gd name="connsiteY106" fmla="*/ 52388 h 935038"/>
                <a:gd name="connsiteX107" fmla="*/ 750094 w 750094"/>
                <a:gd name="connsiteY107" fmla="*/ 219076 h 935038"/>
                <a:gd name="connsiteX108" fmla="*/ 749301 w 750094"/>
                <a:gd name="connsiteY108" fmla="*/ 219076 h 935038"/>
                <a:gd name="connsiteX109" fmla="*/ 749301 w 750094"/>
                <a:gd name="connsiteY109" fmla="*/ 260541 h 935038"/>
                <a:gd name="connsiteX110" fmla="*/ 519113 w 750094"/>
                <a:gd name="connsiteY110" fmla="*/ 260541 h 935038"/>
                <a:gd name="connsiteX111" fmla="*/ 519113 w 750094"/>
                <a:gd name="connsiteY111" fmla="*/ 219076 h 935038"/>
                <a:gd name="connsiteX112" fmla="*/ 519113 w 750094"/>
                <a:gd name="connsiteY112" fmla="*/ 207963 h 935038"/>
                <a:gd name="connsiteX113" fmla="*/ 0 w 750094"/>
                <a:gd name="connsiteY113" fmla="*/ 52388 h 935038"/>
                <a:gd name="connsiteX114" fmla="*/ 38100 w 750094"/>
                <a:gd name="connsiteY114" fmla="*/ 52388 h 935038"/>
                <a:gd name="connsiteX115" fmla="*/ 38100 w 750094"/>
                <a:gd name="connsiteY115" fmla="*/ 207963 h 935038"/>
                <a:gd name="connsiteX116" fmla="*/ 79375 w 750094"/>
                <a:gd name="connsiteY116" fmla="*/ 98425 h 935038"/>
                <a:gd name="connsiteX117" fmla="*/ 153988 w 750094"/>
                <a:gd name="connsiteY117" fmla="*/ 98425 h 935038"/>
                <a:gd name="connsiteX118" fmla="*/ 192088 w 750094"/>
                <a:gd name="connsiteY118" fmla="*/ 207963 h 935038"/>
                <a:gd name="connsiteX119" fmla="*/ 192088 w 750094"/>
                <a:gd name="connsiteY119" fmla="*/ 52388 h 935038"/>
                <a:gd name="connsiteX120" fmla="*/ 233363 w 750094"/>
                <a:gd name="connsiteY120" fmla="*/ 52388 h 935038"/>
                <a:gd name="connsiteX121" fmla="*/ 233363 w 750094"/>
                <a:gd name="connsiteY121" fmla="*/ 207963 h 935038"/>
                <a:gd name="connsiteX122" fmla="*/ 233363 w 750094"/>
                <a:gd name="connsiteY122" fmla="*/ 219076 h 935038"/>
                <a:gd name="connsiteX123" fmla="*/ 233363 w 750094"/>
                <a:gd name="connsiteY123" fmla="*/ 260541 h 935038"/>
                <a:gd name="connsiteX124" fmla="*/ 0 w 750094"/>
                <a:gd name="connsiteY124" fmla="*/ 260541 h 935038"/>
                <a:gd name="connsiteX125" fmla="*/ 0 w 750094"/>
                <a:gd name="connsiteY125" fmla="*/ 219076 h 935038"/>
                <a:gd name="connsiteX126" fmla="*/ 0 w 750094"/>
                <a:gd name="connsiteY126" fmla="*/ 207963 h 935038"/>
                <a:gd name="connsiteX127" fmla="*/ 729457 w 750094"/>
                <a:gd name="connsiteY127" fmla="*/ 0 h 935038"/>
                <a:gd name="connsiteX128" fmla="*/ 750094 w 750094"/>
                <a:gd name="connsiteY128" fmla="*/ 46038 h 935038"/>
                <a:gd name="connsiteX129" fmla="*/ 708819 w 750094"/>
                <a:gd name="connsiteY129" fmla="*/ 46038 h 935038"/>
                <a:gd name="connsiteX130" fmla="*/ 538163 w 750094"/>
                <a:gd name="connsiteY130" fmla="*/ 0 h 935038"/>
                <a:gd name="connsiteX131" fmla="*/ 557213 w 750094"/>
                <a:gd name="connsiteY131" fmla="*/ 46038 h 935038"/>
                <a:gd name="connsiteX132" fmla="*/ 519113 w 750094"/>
                <a:gd name="connsiteY132" fmla="*/ 46038 h 935038"/>
                <a:gd name="connsiteX133" fmla="*/ 212726 w 750094"/>
                <a:gd name="connsiteY133" fmla="*/ 0 h 935038"/>
                <a:gd name="connsiteX134" fmla="*/ 233363 w 750094"/>
                <a:gd name="connsiteY134" fmla="*/ 46038 h 935038"/>
                <a:gd name="connsiteX135" fmla="*/ 192088 w 750094"/>
                <a:gd name="connsiteY135" fmla="*/ 46038 h 935038"/>
                <a:gd name="connsiteX136" fmla="*/ 19050 w 750094"/>
                <a:gd name="connsiteY136" fmla="*/ 0 h 935038"/>
                <a:gd name="connsiteX137" fmla="*/ 38100 w 750094"/>
                <a:gd name="connsiteY137" fmla="*/ 46038 h 935038"/>
                <a:gd name="connsiteX138" fmla="*/ 0 w 750094"/>
                <a:gd name="connsiteY138" fmla="*/ 46038 h 93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750094" h="935038">
                  <a:moveTo>
                    <a:pt x="523359" y="706057"/>
                  </a:moveTo>
                  <a:lnTo>
                    <a:pt x="749300" y="706057"/>
                  </a:lnTo>
                  <a:lnTo>
                    <a:pt x="749300" y="935038"/>
                  </a:lnTo>
                  <a:lnTo>
                    <a:pt x="523359" y="935038"/>
                  </a:lnTo>
                  <a:close/>
                  <a:moveTo>
                    <a:pt x="242698" y="706057"/>
                  </a:moveTo>
                  <a:lnTo>
                    <a:pt x="514215" y="706057"/>
                  </a:lnTo>
                  <a:lnTo>
                    <a:pt x="514215" y="935038"/>
                  </a:lnTo>
                  <a:lnTo>
                    <a:pt x="242698" y="935038"/>
                  </a:lnTo>
                  <a:close/>
                  <a:moveTo>
                    <a:pt x="0" y="706057"/>
                  </a:moveTo>
                  <a:lnTo>
                    <a:pt x="233554" y="706057"/>
                  </a:lnTo>
                  <a:lnTo>
                    <a:pt x="233554" y="935038"/>
                  </a:lnTo>
                  <a:lnTo>
                    <a:pt x="0" y="935038"/>
                  </a:lnTo>
                  <a:close/>
                  <a:moveTo>
                    <a:pt x="674370" y="522288"/>
                  </a:moveTo>
                  <a:cubicBezTo>
                    <a:pt x="670560" y="522288"/>
                    <a:pt x="666750" y="526074"/>
                    <a:pt x="666750" y="529859"/>
                  </a:cubicBezTo>
                  <a:cubicBezTo>
                    <a:pt x="666750" y="669926"/>
                    <a:pt x="666750" y="669926"/>
                    <a:pt x="666750" y="669926"/>
                  </a:cubicBezTo>
                  <a:lnTo>
                    <a:pt x="685800" y="669926"/>
                  </a:lnTo>
                  <a:cubicBezTo>
                    <a:pt x="685800" y="529859"/>
                    <a:pt x="685800" y="529859"/>
                    <a:pt x="685800" y="529859"/>
                  </a:cubicBezTo>
                  <a:cubicBezTo>
                    <a:pt x="685800" y="526074"/>
                    <a:pt x="681990" y="522288"/>
                    <a:pt x="674370" y="522288"/>
                  </a:cubicBezTo>
                  <a:close/>
                  <a:moveTo>
                    <a:pt x="636588" y="522288"/>
                  </a:moveTo>
                  <a:cubicBezTo>
                    <a:pt x="632883" y="522288"/>
                    <a:pt x="625475" y="526074"/>
                    <a:pt x="625475" y="529859"/>
                  </a:cubicBezTo>
                  <a:cubicBezTo>
                    <a:pt x="625475" y="669926"/>
                    <a:pt x="625475" y="669926"/>
                    <a:pt x="625475" y="669926"/>
                  </a:cubicBezTo>
                  <a:lnTo>
                    <a:pt x="647700" y="669926"/>
                  </a:lnTo>
                  <a:cubicBezTo>
                    <a:pt x="647700" y="529859"/>
                    <a:pt x="647700" y="529859"/>
                    <a:pt x="647700" y="529859"/>
                  </a:cubicBezTo>
                  <a:cubicBezTo>
                    <a:pt x="647700" y="526074"/>
                    <a:pt x="640292" y="522288"/>
                    <a:pt x="636588" y="522288"/>
                  </a:cubicBezTo>
                  <a:close/>
                  <a:moveTo>
                    <a:pt x="598805" y="522288"/>
                  </a:moveTo>
                  <a:cubicBezTo>
                    <a:pt x="591185" y="522288"/>
                    <a:pt x="587375" y="526074"/>
                    <a:pt x="587375" y="529859"/>
                  </a:cubicBezTo>
                  <a:cubicBezTo>
                    <a:pt x="587375" y="669926"/>
                    <a:pt x="587375" y="669926"/>
                    <a:pt x="587375" y="669926"/>
                  </a:cubicBezTo>
                  <a:lnTo>
                    <a:pt x="606425" y="669926"/>
                  </a:lnTo>
                  <a:cubicBezTo>
                    <a:pt x="606425" y="529859"/>
                    <a:pt x="606425" y="529859"/>
                    <a:pt x="606425" y="529859"/>
                  </a:cubicBezTo>
                  <a:cubicBezTo>
                    <a:pt x="606425" y="526074"/>
                    <a:pt x="602615" y="522288"/>
                    <a:pt x="598805" y="522288"/>
                  </a:cubicBezTo>
                  <a:close/>
                  <a:moveTo>
                    <a:pt x="151130" y="522288"/>
                  </a:moveTo>
                  <a:cubicBezTo>
                    <a:pt x="143510" y="522288"/>
                    <a:pt x="139700" y="526074"/>
                    <a:pt x="139700" y="529859"/>
                  </a:cubicBezTo>
                  <a:cubicBezTo>
                    <a:pt x="139700" y="669926"/>
                    <a:pt x="139700" y="669926"/>
                    <a:pt x="139700" y="669926"/>
                  </a:cubicBezTo>
                  <a:lnTo>
                    <a:pt x="158750" y="669926"/>
                  </a:lnTo>
                  <a:cubicBezTo>
                    <a:pt x="158750" y="529859"/>
                    <a:pt x="158750" y="529859"/>
                    <a:pt x="158750" y="529859"/>
                  </a:cubicBezTo>
                  <a:cubicBezTo>
                    <a:pt x="158750" y="526074"/>
                    <a:pt x="154940" y="522288"/>
                    <a:pt x="151130" y="522288"/>
                  </a:cubicBezTo>
                  <a:close/>
                  <a:moveTo>
                    <a:pt x="109220" y="522288"/>
                  </a:moveTo>
                  <a:cubicBezTo>
                    <a:pt x="105410" y="522288"/>
                    <a:pt x="101600" y="526074"/>
                    <a:pt x="101600" y="529859"/>
                  </a:cubicBezTo>
                  <a:cubicBezTo>
                    <a:pt x="101600" y="669926"/>
                    <a:pt x="101600" y="669926"/>
                    <a:pt x="101600" y="669926"/>
                  </a:cubicBezTo>
                  <a:lnTo>
                    <a:pt x="120650" y="669926"/>
                  </a:lnTo>
                  <a:cubicBezTo>
                    <a:pt x="120650" y="529859"/>
                    <a:pt x="120650" y="529859"/>
                    <a:pt x="120650" y="529859"/>
                  </a:cubicBezTo>
                  <a:cubicBezTo>
                    <a:pt x="120650" y="526074"/>
                    <a:pt x="116840" y="522288"/>
                    <a:pt x="109220" y="522288"/>
                  </a:cubicBezTo>
                  <a:close/>
                  <a:moveTo>
                    <a:pt x="71755" y="522288"/>
                  </a:moveTo>
                  <a:cubicBezTo>
                    <a:pt x="64135" y="522288"/>
                    <a:pt x="60325" y="526074"/>
                    <a:pt x="60325" y="529859"/>
                  </a:cubicBezTo>
                  <a:cubicBezTo>
                    <a:pt x="60325" y="669926"/>
                    <a:pt x="60325" y="669926"/>
                    <a:pt x="60325" y="669926"/>
                  </a:cubicBezTo>
                  <a:lnTo>
                    <a:pt x="79375" y="669926"/>
                  </a:lnTo>
                  <a:cubicBezTo>
                    <a:pt x="79375" y="529859"/>
                    <a:pt x="79375" y="529859"/>
                    <a:pt x="79375" y="529859"/>
                  </a:cubicBezTo>
                  <a:cubicBezTo>
                    <a:pt x="79375" y="526074"/>
                    <a:pt x="75565" y="522288"/>
                    <a:pt x="71755" y="522288"/>
                  </a:cubicBezTo>
                  <a:close/>
                  <a:moveTo>
                    <a:pt x="0" y="461963"/>
                  </a:moveTo>
                  <a:lnTo>
                    <a:pt x="749300" y="461963"/>
                  </a:lnTo>
                  <a:lnTo>
                    <a:pt x="749300" y="462567"/>
                  </a:lnTo>
                  <a:lnTo>
                    <a:pt x="749300" y="696913"/>
                  </a:lnTo>
                  <a:lnTo>
                    <a:pt x="523359" y="696913"/>
                  </a:lnTo>
                  <a:lnTo>
                    <a:pt x="523359" y="462567"/>
                  </a:lnTo>
                  <a:lnTo>
                    <a:pt x="523359" y="462344"/>
                  </a:lnTo>
                  <a:lnTo>
                    <a:pt x="514215" y="462344"/>
                  </a:lnTo>
                  <a:lnTo>
                    <a:pt x="514215" y="696913"/>
                  </a:lnTo>
                  <a:lnTo>
                    <a:pt x="242698" y="696913"/>
                  </a:lnTo>
                  <a:lnTo>
                    <a:pt x="242698" y="462344"/>
                  </a:lnTo>
                  <a:lnTo>
                    <a:pt x="233554" y="462344"/>
                  </a:lnTo>
                  <a:lnTo>
                    <a:pt x="233554" y="696913"/>
                  </a:lnTo>
                  <a:lnTo>
                    <a:pt x="0" y="696913"/>
                  </a:lnTo>
                  <a:lnTo>
                    <a:pt x="0" y="462567"/>
                  </a:lnTo>
                  <a:close/>
                  <a:moveTo>
                    <a:pt x="519113" y="421894"/>
                  </a:moveTo>
                  <a:lnTo>
                    <a:pt x="749301" y="421894"/>
                  </a:lnTo>
                  <a:lnTo>
                    <a:pt x="749301" y="453423"/>
                  </a:lnTo>
                  <a:lnTo>
                    <a:pt x="519113" y="453423"/>
                  </a:lnTo>
                  <a:close/>
                  <a:moveTo>
                    <a:pt x="0" y="421894"/>
                  </a:moveTo>
                  <a:lnTo>
                    <a:pt x="233363" y="421894"/>
                  </a:lnTo>
                  <a:lnTo>
                    <a:pt x="233363" y="453423"/>
                  </a:lnTo>
                  <a:lnTo>
                    <a:pt x="0" y="453423"/>
                  </a:lnTo>
                  <a:close/>
                  <a:moveTo>
                    <a:pt x="636588" y="292100"/>
                  </a:moveTo>
                  <a:cubicBezTo>
                    <a:pt x="613728" y="292100"/>
                    <a:pt x="598488" y="307181"/>
                    <a:pt x="598488" y="329803"/>
                  </a:cubicBezTo>
                  <a:lnTo>
                    <a:pt x="598488" y="382588"/>
                  </a:lnTo>
                  <a:lnTo>
                    <a:pt x="674688" y="382588"/>
                  </a:lnTo>
                  <a:lnTo>
                    <a:pt x="674688" y="329803"/>
                  </a:lnTo>
                  <a:cubicBezTo>
                    <a:pt x="674688" y="307181"/>
                    <a:pt x="655638" y="292100"/>
                    <a:pt x="636588" y="292100"/>
                  </a:cubicBezTo>
                  <a:close/>
                  <a:moveTo>
                    <a:pt x="116682" y="292100"/>
                  </a:moveTo>
                  <a:cubicBezTo>
                    <a:pt x="94298" y="292100"/>
                    <a:pt x="79375" y="307181"/>
                    <a:pt x="79375" y="329803"/>
                  </a:cubicBezTo>
                  <a:lnTo>
                    <a:pt x="79375" y="382588"/>
                  </a:lnTo>
                  <a:lnTo>
                    <a:pt x="153988" y="382588"/>
                  </a:lnTo>
                  <a:lnTo>
                    <a:pt x="153988" y="329803"/>
                  </a:lnTo>
                  <a:cubicBezTo>
                    <a:pt x="153988" y="307181"/>
                    <a:pt x="135335" y="292100"/>
                    <a:pt x="116682" y="292100"/>
                  </a:cubicBezTo>
                  <a:close/>
                  <a:moveTo>
                    <a:pt x="519113" y="269685"/>
                  </a:moveTo>
                  <a:lnTo>
                    <a:pt x="749301" y="269685"/>
                  </a:lnTo>
                  <a:lnTo>
                    <a:pt x="749301" y="412750"/>
                  </a:lnTo>
                  <a:lnTo>
                    <a:pt x="519113" y="412750"/>
                  </a:lnTo>
                  <a:close/>
                  <a:moveTo>
                    <a:pt x="0" y="269685"/>
                  </a:moveTo>
                  <a:lnTo>
                    <a:pt x="233363" y="269685"/>
                  </a:lnTo>
                  <a:lnTo>
                    <a:pt x="233363" y="412750"/>
                  </a:lnTo>
                  <a:lnTo>
                    <a:pt x="0" y="412750"/>
                  </a:lnTo>
                  <a:close/>
                  <a:moveTo>
                    <a:pt x="625475" y="155575"/>
                  </a:moveTo>
                  <a:lnTo>
                    <a:pt x="625475" y="207963"/>
                  </a:lnTo>
                  <a:lnTo>
                    <a:pt x="647700" y="207963"/>
                  </a:lnTo>
                  <a:lnTo>
                    <a:pt x="647700" y="155575"/>
                  </a:lnTo>
                  <a:close/>
                  <a:moveTo>
                    <a:pt x="104775" y="155575"/>
                  </a:moveTo>
                  <a:lnTo>
                    <a:pt x="104775" y="207963"/>
                  </a:lnTo>
                  <a:lnTo>
                    <a:pt x="128588" y="207963"/>
                  </a:lnTo>
                  <a:lnTo>
                    <a:pt x="128588" y="155575"/>
                  </a:lnTo>
                  <a:close/>
                  <a:moveTo>
                    <a:pt x="519113" y="52388"/>
                  </a:moveTo>
                  <a:lnTo>
                    <a:pt x="557213" y="52388"/>
                  </a:lnTo>
                  <a:lnTo>
                    <a:pt x="557213" y="207963"/>
                  </a:lnTo>
                  <a:lnTo>
                    <a:pt x="595313" y="98425"/>
                  </a:lnTo>
                  <a:lnTo>
                    <a:pt x="674688" y="98425"/>
                  </a:lnTo>
                  <a:lnTo>
                    <a:pt x="708819" y="200817"/>
                  </a:lnTo>
                  <a:lnTo>
                    <a:pt x="708819" y="52388"/>
                  </a:lnTo>
                  <a:lnTo>
                    <a:pt x="750094" y="52388"/>
                  </a:lnTo>
                  <a:lnTo>
                    <a:pt x="750094" y="219076"/>
                  </a:lnTo>
                  <a:lnTo>
                    <a:pt x="749301" y="219076"/>
                  </a:lnTo>
                  <a:lnTo>
                    <a:pt x="749301" y="260541"/>
                  </a:lnTo>
                  <a:lnTo>
                    <a:pt x="519113" y="260541"/>
                  </a:lnTo>
                  <a:lnTo>
                    <a:pt x="519113" y="219076"/>
                  </a:lnTo>
                  <a:lnTo>
                    <a:pt x="519113" y="207963"/>
                  </a:lnTo>
                  <a:close/>
                  <a:moveTo>
                    <a:pt x="0" y="52388"/>
                  </a:moveTo>
                  <a:lnTo>
                    <a:pt x="38100" y="52388"/>
                  </a:lnTo>
                  <a:lnTo>
                    <a:pt x="38100" y="207963"/>
                  </a:lnTo>
                  <a:lnTo>
                    <a:pt x="79375" y="98425"/>
                  </a:lnTo>
                  <a:lnTo>
                    <a:pt x="153988" y="98425"/>
                  </a:lnTo>
                  <a:lnTo>
                    <a:pt x="192088" y="207963"/>
                  </a:lnTo>
                  <a:lnTo>
                    <a:pt x="192088" y="52388"/>
                  </a:lnTo>
                  <a:lnTo>
                    <a:pt x="233363" y="52388"/>
                  </a:lnTo>
                  <a:lnTo>
                    <a:pt x="233363" y="207963"/>
                  </a:lnTo>
                  <a:lnTo>
                    <a:pt x="233363" y="219076"/>
                  </a:lnTo>
                  <a:lnTo>
                    <a:pt x="233363" y="260541"/>
                  </a:lnTo>
                  <a:lnTo>
                    <a:pt x="0" y="260541"/>
                  </a:lnTo>
                  <a:lnTo>
                    <a:pt x="0" y="219076"/>
                  </a:lnTo>
                  <a:lnTo>
                    <a:pt x="0" y="207963"/>
                  </a:lnTo>
                  <a:close/>
                  <a:moveTo>
                    <a:pt x="729457" y="0"/>
                  </a:moveTo>
                  <a:lnTo>
                    <a:pt x="750094" y="46038"/>
                  </a:lnTo>
                  <a:lnTo>
                    <a:pt x="708819" y="46038"/>
                  </a:lnTo>
                  <a:close/>
                  <a:moveTo>
                    <a:pt x="538163" y="0"/>
                  </a:moveTo>
                  <a:lnTo>
                    <a:pt x="557213" y="46038"/>
                  </a:lnTo>
                  <a:lnTo>
                    <a:pt x="519113" y="46038"/>
                  </a:lnTo>
                  <a:close/>
                  <a:moveTo>
                    <a:pt x="212726" y="0"/>
                  </a:moveTo>
                  <a:lnTo>
                    <a:pt x="233363" y="46038"/>
                  </a:lnTo>
                  <a:lnTo>
                    <a:pt x="192088" y="46038"/>
                  </a:lnTo>
                  <a:close/>
                  <a:moveTo>
                    <a:pt x="19050" y="0"/>
                  </a:moveTo>
                  <a:lnTo>
                    <a:pt x="38100" y="46038"/>
                  </a:lnTo>
                  <a:lnTo>
                    <a:pt x="0" y="46038"/>
                  </a:ln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0" name="Group 9"/>
          <p:cNvGrpSpPr/>
          <p:nvPr userDrawn="1"/>
        </p:nvGrpSpPr>
        <p:grpSpPr>
          <a:xfrm>
            <a:off x="3" y="6346336"/>
            <a:ext cx="412155" cy="518690"/>
            <a:chOff x="775477" y="6365126"/>
            <a:chExt cx="436122" cy="518690"/>
          </a:xfrm>
        </p:grpSpPr>
        <p:sp>
          <p:nvSpPr>
            <p:cNvPr id="90" name="Rectangle 9"/>
            <p:cNvSpPr>
              <a:spLocks noChangeArrowheads="1"/>
            </p:cNvSpPr>
            <p:nvPr userDrawn="1"/>
          </p:nvSpPr>
          <p:spPr bwMode="auto">
            <a:xfrm flipH="1">
              <a:off x="901444" y="6531319"/>
              <a:ext cx="310155" cy="35249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1" name="Rectangle 10"/>
            <p:cNvSpPr>
              <a:spLocks noChangeArrowheads="1"/>
            </p:cNvSpPr>
            <p:nvPr userDrawn="1"/>
          </p:nvSpPr>
          <p:spPr bwMode="auto">
            <a:xfrm flipH="1">
              <a:off x="775477" y="6365126"/>
              <a:ext cx="310155" cy="5186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61" name="Group 60"/>
          <p:cNvGrpSpPr/>
          <p:nvPr userDrawn="1"/>
        </p:nvGrpSpPr>
        <p:grpSpPr>
          <a:xfrm>
            <a:off x="206148" y="6604615"/>
            <a:ext cx="321537" cy="239408"/>
            <a:chOff x="65126" y="5946374"/>
            <a:chExt cx="1933593" cy="1049475"/>
          </a:xfrm>
        </p:grpSpPr>
        <p:sp>
          <p:nvSpPr>
            <p:cNvPr id="62" name="Rectangle 61"/>
            <p:cNvSpPr/>
            <p:nvPr/>
          </p:nvSpPr>
          <p:spPr bwMode="auto">
            <a:xfrm>
              <a:off x="984310" y="6438791"/>
              <a:ext cx="1014409" cy="55705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Rectangle 62"/>
            <p:cNvSpPr/>
            <p:nvPr/>
          </p:nvSpPr>
          <p:spPr bwMode="auto">
            <a:xfrm>
              <a:off x="708253" y="5946374"/>
              <a:ext cx="1011238" cy="1049475"/>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4" name="Group 63"/>
            <p:cNvGrpSpPr/>
            <p:nvPr/>
          </p:nvGrpSpPr>
          <p:grpSpPr>
            <a:xfrm>
              <a:off x="65126" y="5985566"/>
              <a:ext cx="1215988" cy="1008283"/>
              <a:chOff x="10096311" y="5303965"/>
              <a:chExt cx="1215988" cy="1672317"/>
            </a:xfrm>
          </p:grpSpPr>
          <p:sp>
            <p:nvSpPr>
              <p:cNvPr id="65" name="Rectangle 64"/>
              <p:cNvSpPr>
                <a:spLocks noChangeArrowheads="1"/>
              </p:cNvSpPr>
              <p:nvPr/>
            </p:nvSpPr>
            <p:spPr bwMode="auto">
              <a:xfrm flipH="1">
                <a:off x="10096311" y="5528711"/>
                <a:ext cx="1155661" cy="1447571"/>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6" name="Rectangle 65"/>
              <p:cNvSpPr>
                <a:spLocks noChangeArrowheads="1"/>
              </p:cNvSpPr>
              <p:nvPr/>
            </p:nvSpPr>
            <p:spPr bwMode="auto">
              <a:xfrm flipH="1">
                <a:off x="10096312" y="5484938"/>
                <a:ext cx="1215987" cy="75829"/>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7" name="Rectangle 66"/>
              <p:cNvSpPr>
                <a:spLocks noChangeArrowheads="1"/>
              </p:cNvSpPr>
              <p:nvPr/>
            </p:nvSpPr>
            <p:spPr bwMode="auto">
              <a:xfrm flipH="1">
                <a:off x="10459811" y="6681007"/>
                <a:ext cx="152400" cy="295275"/>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8" name="Rectangle 67"/>
              <p:cNvSpPr>
                <a:spLocks noChangeArrowheads="1"/>
              </p:cNvSpPr>
              <p:nvPr/>
            </p:nvSpPr>
            <p:spPr bwMode="auto">
              <a:xfrm flipH="1">
                <a:off x="10724923" y="6681007"/>
                <a:ext cx="152400" cy="295275"/>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9" name="Rectangle 108"/>
              <p:cNvSpPr>
                <a:spLocks noChangeArrowheads="1"/>
              </p:cNvSpPr>
              <p:nvPr/>
            </p:nvSpPr>
            <p:spPr bwMode="auto">
              <a:xfrm flipH="1">
                <a:off x="10196285" y="5653895"/>
                <a:ext cx="941388" cy="152400"/>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0" name="Rectangle 109"/>
              <p:cNvSpPr>
                <a:spLocks noChangeArrowheads="1"/>
              </p:cNvSpPr>
              <p:nvPr/>
            </p:nvSpPr>
            <p:spPr bwMode="auto">
              <a:xfrm flipH="1">
                <a:off x="10196285" y="5912657"/>
                <a:ext cx="941388" cy="152400"/>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1" name="Rectangle 110"/>
              <p:cNvSpPr>
                <a:spLocks noChangeArrowheads="1"/>
              </p:cNvSpPr>
              <p:nvPr/>
            </p:nvSpPr>
            <p:spPr bwMode="auto">
              <a:xfrm flipH="1">
                <a:off x="10196285" y="6176182"/>
                <a:ext cx="941388" cy="149225"/>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2" name="Rectangle 111"/>
              <p:cNvSpPr>
                <a:spLocks noChangeArrowheads="1"/>
              </p:cNvSpPr>
              <p:nvPr/>
            </p:nvSpPr>
            <p:spPr bwMode="auto">
              <a:xfrm flipH="1">
                <a:off x="10196285" y="6436532"/>
                <a:ext cx="941388" cy="152400"/>
              </a:xfrm>
              <a:prstGeom prst="rect">
                <a:avLst/>
              </a:prstGeom>
              <a:solidFill>
                <a:srgbClr val="00BEA7"/>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3" name="Rectangle 22"/>
              <p:cNvSpPr>
                <a:spLocks noChangeArrowheads="1"/>
              </p:cNvSpPr>
              <p:nvPr/>
            </p:nvSpPr>
            <p:spPr bwMode="auto">
              <a:xfrm flipH="1">
                <a:off x="10278836" y="5303965"/>
                <a:ext cx="139700" cy="180975"/>
              </a:xfrm>
              <a:prstGeom prst="rect">
                <a:avLst/>
              </a:prstGeom>
              <a:solidFill>
                <a:schemeClr val="tx2">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Rectangle 23"/>
              <p:cNvSpPr>
                <a:spLocks noChangeArrowheads="1"/>
              </p:cNvSpPr>
              <p:nvPr/>
            </p:nvSpPr>
            <p:spPr bwMode="auto">
              <a:xfrm flipH="1">
                <a:off x="10466161" y="5303965"/>
                <a:ext cx="139700" cy="180975"/>
              </a:xfrm>
              <a:prstGeom prst="rect">
                <a:avLst/>
              </a:prstGeom>
              <a:solidFill>
                <a:schemeClr val="tx2">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80" name="Rectangle 79"/>
          <p:cNvSpPr/>
          <p:nvPr/>
        </p:nvSpPr>
        <p:spPr bwMode="auto">
          <a:xfrm>
            <a:off x="9518470" y="4546711"/>
            <a:ext cx="722812" cy="7770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Freeform 51"/>
          <p:cNvSpPr>
            <a:spLocks/>
          </p:cNvSpPr>
          <p:nvPr userDrawn="1"/>
        </p:nvSpPr>
        <p:spPr bwMode="auto">
          <a:xfrm>
            <a:off x="10474621" y="6643865"/>
            <a:ext cx="1961854" cy="360519"/>
          </a:xfrm>
          <a:custGeom>
            <a:avLst/>
            <a:gdLst>
              <a:gd name="connsiteX0" fmla="*/ 1961854 w 1961854"/>
              <a:gd name="connsiteY0" fmla="*/ 0 h 360519"/>
              <a:gd name="connsiteX1" fmla="*/ 1961854 w 1961854"/>
              <a:gd name="connsiteY1" fmla="*/ 360519 h 360519"/>
              <a:gd name="connsiteX2" fmla="*/ 1784289 w 1961854"/>
              <a:gd name="connsiteY2" fmla="*/ 360519 h 360519"/>
              <a:gd name="connsiteX3" fmla="*/ 0 w 1961854"/>
              <a:gd name="connsiteY3" fmla="*/ 360519 h 360519"/>
              <a:gd name="connsiteX4" fmla="*/ 1407916 w 1961854"/>
              <a:gd name="connsiteY4" fmla="*/ 27861 h 360519"/>
              <a:gd name="connsiteX5" fmla="*/ 1746487 w 1961854"/>
              <a:gd name="connsiteY5" fmla="*/ 4106 h 36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1854" h="360519">
                <a:moveTo>
                  <a:pt x="1961854" y="0"/>
                </a:moveTo>
                <a:lnTo>
                  <a:pt x="1961854" y="360519"/>
                </a:lnTo>
                <a:lnTo>
                  <a:pt x="1784289" y="360519"/>
                </a:lnTo>
                <a:cubicBezTo>
                  <a:pt x="1307915" y="360519"/>
                  <a:pt x="721608" y="360519"/>
                  <a:pt x="0" y="360519"/>
                </a:cubicBezTo>
                <a:cubicBezTo>
                  <a:pt x="402457" y="188354"/>
                  <a:pt x="892226" y="78051"/>
                  <a:pt x="1407916" y="27861"/>
                </a:cubicBezTo>
                <a:cubicBezTo>
                  <a:pt x="1519785" y="17064"/>
                  <a:pt x="1632848" y="9149"/>
                  <a:pt x="1746487" y="4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noAutofit/>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54" name="Freeform 53"/>
          <p:cNvSpPr>
            <a:spLocks/>
          </p:cNvSpPr>
          <p:nvPr userDrawn="1"/>
        </p:nvSpPr>
        <p:spPr bwMode="auto">
          <a:xfrm>
            <a:off x="12078719" y="6840436"/>
            <a:ext cx="357758" cy="104005"/>
          </a:xfrm>
          <a:custGeom>
            <a:avLst/>
            <a:gdLst>
              <a:gd name="connsiteX0" fmla="*/ 357758 w 357758"/>
              <a:gd name="connsiteY0" fmla="*/ 0 h 104005"/>
              <a:gd name="connsiteX1" fmla="*/ 357758 w 357758"/>
              <a:gd name="connsiteY1" fmla="*/ 104005 h 104005"/>
              <a:gd name="connsiteX2" fmla="*/ 264904 w 357758"/>
              <a:gd name="connsiteY2" fmla="*/ 104005 h 104005"/>
              <a:gd name="connsiteX3" fmla="*/ 0 w 357758"/>
              <a:gd name="connsiteY3" fmla="*/ 104005 h 104005"/>
              <a:gd name="connsiteX4" fmla="*/ 268357 w 357758"/>
              <a:gd name="connsiteY4" fmla="*/ 17888 h 104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58" h="104005">
                <a:moveTo>
                  <a:pt x="357758" y="0"/>
                </a:moveTo>
                <a:lnTo>
                  <a:pt x="357758" y="104005"/>
                </a:lnTo>
                <a:lnTo>
                  <a:pt x="264904" y="104005"/>
                </a:lnTo>
                <a:cubicBezTo>
                  <a:pt x="188097" y="104005"/>
                  <a:pt x="100319" y="104005"/>
                  <a:pt x="0" y="104005"/>
                </a:cubicBezTo>
                <a:cubicBezTo>
                  <a:pt x="83263" y="70889"/>
                  <a:pt x="173311" y="42187"/>
                  <a:pt x="268357" y="17888"/>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noAutofit/>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12" name="Group 11"/>
          <p:cNvGrpSpPr/>
          <p:nvPr userDrawn="1"/>
        </p:nvGrpSpPr>
        <p:grpSpPr>
          <a:xfrm>
            <a:off x="11707535" y="6458266"/>
            <a:ext cx="279985" cy="234998"/>
            <a:chOff x="2872989" y="6602395"/>
            <a:chExt cx="279985" cy="234998"/>
          </a:xfrm>
        </p:grpSpPr>
        <p:sp>
          <p:nvSpPr>
            <p:cNvPr id="88" name="Rectangle 7"/>
            <p:cNvSpPr>
              <a:spLocks noChangeArrowheads="1"/>
            </p:cNvSpPr>
            <p:nvPr userDrawn="1"/>
          </p:nvSpPr>
          <p:spPr bwMode="auto">
            <a:xfrm flipH="1">
              <a:off x="2952909" y="6676493"/>
              <a:ext cx="200065" cy="160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9" name="Rectangle 8"/>
            <p:cNvSpPr>
              <a:spLocks noChangeArrowheads="1"/>
            </p:cNvSpPr>
            <p:nvPr userDrawn="1"/>
          </p:nvSpPr>
          <p:spPr bwMode="auto">
            <a:xfrm flipH="1">
              <a:off x="2872989" y="6602395"/>
              <a:ext cx="198478" cy="23499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92" name="Freeform 11"/>
          <p:cNvSpPr>
            <a:spLocks/>
          </p:cNvSpPr>
          <p:nvPr userDrawn="1"/>
        </p:nvSpPr>
        <p:spPr bwMode="auto">
          <a:xfrm flipH="1">
            <a:off x="2455077" y="6926127"/>
            <a:ext cx="8597622" cy="75191"/>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 name="connsiteX0" fmla="*/ 6172 w 10000"/>
              <a:gd name="connsiteY0" fmla="*/ 1037 h 9424"/>
              <a:gd name="connsiteX1" fmla="*/ 6172 w 10000"/>
              <a:gd name="connsiteY1" fmla="*/ 1037 h 9424"/>
              <a:gd name="connsiteX2" fmla="*/ 6056 w 10000"/>
              <a:gd name="connsiteY2" fmla="*/ 526 h 9424"/>
              <a:gd name="connsiteX3" fmla="*/ 0 w 10000"/>
              <a:gd name="connsiteY3" fmla="*/ 9424 h 9424"/>
              <a:gd name="connsiteX4" fmla="*/ 3540 w 10000"/>
              <a:gd name="connsiteY4" fmla="*/ 9424 h 9424"/>
              <a:gd name="connsiteX5" fmla="*/ 10000 w 10000"/>
              <a:gd name="connsiteY5" fmla="*/ 9424 h 9424"/>
              <a:gd name="connsiteX6" fmla="*/ 6172 w 10000"/>
              <a:gd name="connsiteY6" fmla="*/ 1037 h 9424"/>
              <a:gd name="connsiteX0" fmla="*/ 10000 w 10036"/>
              <a:gd name="connsiteY0" fmla="*/ 10347 h 10347"/>
              <a:gd name="connsiteX1" fmla="*/ 6172 w 10036"/>
              <a:gd name="connsiteY1" fmla="*/ 1447 h 10347"/>
              <a:gd name="connsiteX2" fmla="*/ 6056 w 10036"/>
              <a:gd name="connsiteY2" fmla="*/ 905 h 10347"/>
              <a:gd name="connsiteX3" fmla="*/ 0 w 10036"/>
              <a:gd name="connsiteY3" fmla="*/ 10347 h 10347"/>
              <a:gd name="connsiteX4" fmla="*/ 3540 w 10036"/>
              <a:gd name="connsiteY4" fmla="*/ 10347 h 10347"/>
              <a:gd name="connsiteX5" fmla="*/ 10000 w 10036"/>
              <a:gd name="connsiteY5" fmla="*/ 10347 h 10347"/>
              <a:gd name="connsiteX0" fmla="*/ 10000 w 10043"/>
              <a:gd name="connsiteY0" fmla="*/ 9442 h 9442"/>
              <a:gd name="connsiteX1" fmla="*/ 6056 w 10043"/>
              <a:gd name="connsiteY1" fmla="*/ 0 h 9442"/>
              <a:gd name="connsiteX2" fmla="*/ 0 w 10043"/>
              <a:gd name="connsiteY2" fmla="*/ 9442 h 9442"/>
              <a:gd name="connsiteX3" fmla="*/ 3540 w 10043"/>
              <a:gd name="connsiteY3" fmla="*/ 9442 h 9442"/>
              <a:gd name="connsiteX4" fmla="*/ 10000 w 10043"/>
              <a:gd name="connsiteY4" fmla="*/ 9442 h 9442"/>
              <a:gd name="connsiteX0" fmla="*/ 9957 w 10000"/>
              <a:gd name="connsiteY0" fmla="*/ 10567 h 10567"/>
              <a:gd name="connsiteX1" fmla="*/ 6030 w 10000"/>
              <a:gd name="connsiteY1" fmla="*/ 567 h 10567"/>
              <a:gd name="connsiteX2" fmla="*/ 0 w 10000"/>
              <a:gd name="connsiteY2" fmla="*/ 10567 h 10567"/>
              <a:gd name="connsiteX3" fmla="*/ 3525 w 10000"/>
              <a:gd name="connsiteY3" fmla="*/ 10567 h 10567"/>
              <a:gd name="connsiteX4" fmla="*/ 9957 w 10000"/>
              <a:gd name="connsiteY4" fmla="*/ 10567 h 10567"/>
              <a:gd name="connsiteX0" fmla="*/ 9957 w 9999"/>
              <a:gd name="connsiteY0" fmla="*/ 6058 h 6058"/>
              <a:gd name="connsiteX1" fmla="*/ 5941 w 9999"/>
              <a:gd name="connsiteY1" fmla="*/ 865 h 6058"/>
              <a:gd name="connsiteX2" fmla="*/ 0 w 9999"/>
              <a:gd name="connsiteY2" fmla="*/ 6058 h 6058"/>
              <a:gd name="connsiteX3" fmla="*/ 3525 w 9999"/>
              <a:gd name="connsiteY3" fmla="*/ 6058 h 6058"/>
              <a:gd name="connsiteX4" fmla="*/ 9957 w 9999"/>
              <a:gd name="connsiteY4" fmla="*/ 6058 h 6058"/>
              <a:gd name="connsiteX0" fmla="*/ 9958 w 9999"/>
              <a:gd name="connsiteY0" fmla="*/ 4818 h 4818"/>
              <a:gd name="connsiteX1" fmla="*/ 5909 w 9999"/>
              <a:gd name="connsiteY1" fmla="*/ 2349 h 4818"/>
              <a:gd name="connsiteX2" fmla="*/ 0 w 9999"/>
              <a:gd name="connsiteY2" fmla="*/ 4818 h 4818"/>
              <a:gd name="connsiteX3" fmla="*/ 3525 w 9999"/>
              <a:gd name="connsiteY3" fmla="*/ 4818 h 4818"/>
              <a:gd name="connsiteX4" fmla="*/ 9958 w 9999"/>
              <a:gd name="connsiteY4" fmla="*/ 4818 h 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99" h="4818">
                <a:moveTo>
                  <a:pt x="9958" y="4818"/>
                </a:moveTo>
                <a:cubicBezTo>
                  <a:pt x="10375" y="2066"/>
                  <a:pt x="7569" y="2349"/>
                  <a:pt x="5909" y="2349"/>
                </a:cubicBezTo>
                <a:cubicBezTo>
                  <a:pt x="-124" y="-2991"/>
                  <a:pt x="417" y="2066"/>
                  <a:pt x="0" y="4818"/>
                </a:cubicBezTo>
                <a:lnTo>
                  <a:pt x="3525" y="4818"/>
                </a:lnTo>
                <a:lnTo>
                  <a:pt x="9958" y="4818"/>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5" name="AutoShape 3"/>
          <p:cNvSpPr>
            <a:spLocks noChangeAspect="1" noChangeArrowheads="1" noTextEdit="1"/>
          </p:cNvSpPr>
          <p:nvPr userDrawn="1"/>
        </p:nvSpPr>
        <p:spPr bwMode="auto">
          <a:xfrm flipH="1">
            <a:off x="-1728" y="6216331"/>
            <a:ext cx="2438895" cy="794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96" name="Group 95"/>
          <p:cNvGrpSpPr/>
          <p:nvPr userDrawn="1"/>
        </p:nvGrpSpPr>
        <p:grpSpPr>
          <a:xfrm flipH="1">
            <a:off x="426214" y="6617974"/>
            <a:ext cx="106860" cy="207117"/>
            <a:chOff x="6229350" y="5232400"/>
            <a:chExt cx="539750" cy="1046162"/>
          </a:xfrm>
        </p:grpSpPr>
        <p:sp>
          <p:nvSpPr>
            <p:cNvPr id="10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9" name="Group 8"/>
          <p:cNvGrpSpPr/>
          <p:nvPr userDrawn="1"/>
        </p:nvGrpSpPr>
        <p:grpSpPr>
          <a:xfrm>
            <a:off x="3" y="6765079"/>
            <a:ext cx="1427527" cy="183904"/>
            <a:chOff x="-5287" y="6660315"/>
            <a:chExt cx="2646956" cy="340999"/>
          </a:xfrm>
        </p:grpSpPr>
        <p:sp>
          <p:nvSpPr>
            <p:cNvPr id="93" name="Freeform 18"/>
            <p:cNvSpPr>
              <a:spLocks/>
            </p:cNvSpPr>
            <p:nvPr userDrawn="1"/>
          </p:nvSpPr>
          <p:spPr bwMode="auto">
            <a:xfrm flipH="1">
              <a:off x="-1730" y="6660315"/>
              <a:ext cx="2643399" cy="34099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4" name="Freeform 29"/>
            <p:cNvSpPr>
              <a:spLocks/>
            </p:cNvSpPr>
            <p:nvPr userDrawn="1"/>
          </p:nvSpPr>
          <p:spPr bwMode="auto">
            <a:xfrm flipH="1">
              <a:off x="243194" y="6758377"/>
              <a:ext cx="1895232" cy="242937"/>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8" name="Freeform 17"/>
            <p:cNvSpPr>
              <a:spLocks/>
            </p:cNvSpPr>
            <p:nvPr userDrawn="1"/>
          </p:nvSpPr>
          <p:spPr bwMode="auto">
            <a:xfrm flipH="1">
              <a:off x="-5287" y="6668930"/>
              <a:ext cx="820375" cy="332384"/>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83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lvl1pPr>
              <a:defRPr>
                <a:solidFill>
                  <a:schemeClr val="tx2"/>
                </a:solidFill>
              </a:defRPr>
            </a:lvl1pPr>
          </a:lstStyle>
          <a:p>
            <a:pPr>
              <a:defRPr/>
            </a:pPr>
            <a:r>
              <a:rPr lang="en-IN">
                <a:solidFill>
                  <a:srgbClr val="505050"/>
                </a:solidFill>
              </a:rPr>
              <a:t>Microsoft confidential 2015</a:t>
            </a:r>
            <a:endParaRPr lang="en-IN" dirty="0">
              <a:solidFill>
                <a:srgbClr val="505050"/>
              </a:solidFill>
            </a:endParaRPr>
          </a:p>
        </p:txBody>
      </p:sp>
      <p:sp>
        <p:nvSpPr>
          <p:cNvPr id="4" name="Slide Number Placeholder 3"/>
          <p:cNvSpPr>
            <a:spLocks noGrp="1"/>
          </p:cNvSpPr>
          <p:nvPr userDrawn="1">
            <p:ph type="sldNum" sz="quarter" idx="11"/>
          </p:nvPr>
        </p:nvSpPr>
        <p:spPr/>
        <p:txBody>
          <a:bodyPr/>
          <a:lstStyle>
            <a:lvl1pPr>
              <a:defRPr>
                <a:solidFill>
                  <a:schemeClr val="bg1"/>
                </a:solidFill>
              </a:defRPr>
            </a:lvl1pPr>
          </a:lstStyle>
          <a:p>
            <a:pPr defTabSz="932539">
              <a:defRPr/>
            </a:pPr>
            <a:fld id="{27258FFF-F925-446B-8502-81C933981705}" type="slidenum">
              <a:rPr lang="en-US" smtClean="0">
                <a:solidFill>
                  <a:srgbClr val="FFFFFF"/>
                </a:solidFill>
              </a:rPr>
              <a:pPr defTabSz="932539">
                <a:defRPr/>
              </a:pPr>
              <a:t>‹#›</a:t>
            </a:fld>
            <a:endParaRPr lang="en-US" dirty="0">
              <a:solidFill>
                <a:srgbClr val="FFFFFF"/>
              </a:solidFill>
            </a:endParaRPr>
          </a:p>
        </p:txBody>
      </p:sp>
      <p:sp>
        <p:nvSpPr>
          <p:cNvPr id="7" name="Title 1"/>
          <p:cNvSpPr>
            <a:spLocks noGrp="1"/>
          </p:cNvSpPr>
          <p:nvPr userDrawn="1">
            <p:ph type="title" hasCustomPrompt="1"/>
          </p:nvPr>
        </p:nvSpPr>
        <p:spPr>
          <a:xfrm>
            <a:off x="585216" y="264964"/>
            <a:ext cx="11226195" cy="1097302"/>
          </a:xfrm>
        </p:spPr>
        <p:txBody>
          <a:bodyPr lIns="0" tIns="91440" rIns="146304" bIns="91440"/>
          <a:lstStyle>
            <a:lvl1pPr>
              <a:lnSpc>
                <a:spcPts val="4899"/>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49" name="Rectangle 33"/>
          <p:cNvSpPr>
            <a:spLocks noChangeArrowheads="1"/>
          </p:cNvSpPr>
          <p:nvPr userDrawn="1"/>
        </p:nvSpPr>
        <p:spPr bwMode="auto">
          <a:xfrm>
            <a:off x="0" y="6942989"/>
            <a:ext cx="12436475" cy="5153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6" name="Freeform 55"/>
          <p:cNvSpPr>
            <a:spLocks/>
          </p:cNvSpPr>
          <p:nvPr userDrawn="1"/>
        </p:nvSpPr>
        <p:spPr bwMode="auto">
          <a:xfrm>
            <a:off x="5650312" y="6734626"/>
            <a:ext cx="3531343" cy="209175"/>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193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55" name="Freeform 54"/>
          <p:cNvSpPr>
            <a:spLocks/>
          </p:cNvSpPr>
          <p:nvPr userDrawn="1"/>
        </p:nvSpPr>
        <p:spPr bwMode="auto">
          <a:xfrm>
            <a:off x="3642601" y="6852771"/>
            <a:ext cx="3072596" cy="10208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 name="connsiteX0" fmla="*/ 9320 w 10000"/>
              <a:gd name="connsiteY0" fmla="*/ 173 h 15187"/>
              <a:gd name="connsiteX1" fmla="*/ 0 w 10000"/>
              <a:gd name="connsiteY1" fmla="*/ 15187 h 15187"/>
              <a:gd name="connsiteX2" fmla="*/ 3540 w 10000"/>
              <a:gd name="connsiteY2" fmla="*/ 15187 h 15187"/>
              <a:gd name="connsiteX3" fmla="*/ 10000 w 10000"/>
              <a:gd name="connsiteY3" fmla="*/ 15187 h 15187"/>
              <a:gd name="connsiteX4" fmla="*/ 9320 w 10000"/>
              <a:gd name="connsiteY4" fmla="*/ 173 h 15187"/>
              <a:gd name="connsiteX0" fmla="*/ 9320 w 10000"/>
              <a:gd name="connsiteY0" fmla="*/ 173 h 15187"/>
              <a:gd name="connsiteX1" fmla="*/ 0 w 10000"/>
              <a:gd name="connsiteY1" fmla="*/ 15187 h 15187"/>
              <a:gd name="connsiteX2" fmla="*/ 3540 w 10000"/>
              <a:gd name="connsiteY2" fmla="*/ 15187 h 15187"/>
              <a:gd name="connsiteX3" fmla="*/ 10000 w 10000"/>
              <a:gd name="connsiteY3" fmla="*/ 15187 h 15187"/>
              <a:gd name="connsiteX4" fmla="*/ 9320 w 10000"/>
              <a:gd name="connsiteY4" fmla="*/ 173 h 15187"/>
              <a:gd name="connsiteX0" fmla="*/ 9320 w 11101"/>
              <a:gd name="connsiteY0" fmla="*/ 173 h 16735"/>
              <a:gd name="connsiteX1" fmla="*/ 0 w 11101"/>
              <a:gd name="connsiteY1" fmla="*/ 15187 h 16735"/>
              <a:gd name="connsiteX2" fmla="*/ 3540 w 11101"/>
              <a:gd name="connsiteY2" fmla="*/ 15187 h 16735"/>
              <a:gd name="connsiteX3" fmla="*/ 11101 w 11101"/>
              <a:gd name="connsiteY3" fmla="*/ 16735 h 16735"/>
              <a:gd name="connsiteX4" fmla="*/ 9320 w 11101"/>
              <a:gd name="connsiteY4" fmla="*/ 173 h 16735"/>
              <a:gd name="connsiteX0" fmla="*/ 9320 w 11101"/>
              <a:gd name="connsiteY0" fmla="*/ 173 h 16735"/>
              <a:gd name="connsiteX1" fmla="*/ 0 w 11101"/>
              <a:gd name="connsiteY1" fmla="*/ 15187 h 16735"/>
              <a:gd name="connsiteX2" fmla="*/ 3540 w 11101"/>
              <a:gd name="connsiteY2" fmla="*/ 15187 h 16735"/>
              <a:gd name="connsiteX3" fmla="*/ 11101 w 11101"/>
              <a:gd name="connsiteY3" fmla="*/ 16735 h 16735"/>
              <a:gd name="connsiteX4" fmla="*/ 9320 w 11101"/>
              <a:gd name="connsiteY4" fmla="*/ 173 h 16735"/>
              <a:gd name="connsiteX0" fmla="*/ 9320 w 11101"/>
              <a:gd name="connsiteY0" fmla="*/ 33 h 16595"/>
              <a:gd name="connsiteX1" fmla="*/ 0 w 11101"/>
              <a:gd name="connsiteY1" fmla="*/ 15047 h 16595"/>
              <a:gd name="connsiteX2" fmla="*/ 3540 w 11101"/>
              <a:gd name="connsiteY2" fmla="*/ 15047 h 16595"/>
              <a:gd name="connsiteX3" fmla="*/ 11101 w 11101"/>
              <a:gd name="connsiteY3" fmla="*/ 16595 h 16595"/>
              <a:gd name="connsiteX4" fmla="*/ 9320 w 11101"/>
              <a:gd name="connsiteY4" fmla="*/ 33 h 1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1" h="16595">
                <a:moveTo>
                  <a:pt x="9320" y="33"/>
                </a:moveTo>
                <a:cubicBezTo>
                  <a:pt x="8398" y="-594"/>
                  <a:pt x="1686" y="7858"/>
                  <a:pt x="0" y="15047"/>
                </a:cubicBezTo>
                <a:lnTo>
                  <a:pt x="3540" y="15047"/>
                </a:lnTo>
                <a:lnTo>
                  <a:pt x="11101" y="16595"/>
                </a:lnTo>
                <a:cubicBezTo>
                  <a:pt x="10913" y="10051"/>
                  <a:pt x="10242" y="660"/>
                  <a:pt x="9320" y="33"/>
                </a:cubicBezTo>
                <a:close/>
              </a:path>
            </a:pathLst>
          </a:cu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5" tIns="45707" rIns="91415" bIns="45707"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97" name="Group 96"/>
          <p:cNvGrpSpPr/>
          <p:nvPr userDrawn="1"/>
        </p:nvGrpSpPr>
        <p:grpSpPr>
          <a:xfrm flipH="1">
            <a:off x="10264636" y="6736875"/>
            <a:ext cx="106860" cy="207117"/>
            <a:chOff x="6229350" y="5232400"/>
            <a:chExt cx="539750" cy="1046162"/>
          </a:xfrm>
        </p:grpSpPr>
        <p:sp>
          <p:nvSpPr>
            <p:cNvPr id="103"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4"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5"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16" name="Group 115"/>
          <p:cNvGrpSpPr/>
          <p:nvPr userDrawn="1"/>
        </p:nvGrpSpPr>
        <p:grpSpPr>
          <a:xfrm flipH="1">
            <a:off x="11966294" y="6051545"/>
            <a:ext cx="470182" cy="620621"/>
            <a:chOff x="10027859" y="5966057"/>
            <a:chExt cx="779166" cy="1028469"/>
          </a:xfrm>
        </p:grpSpPr>
        <p:sp>
          <p:nvSpPr>
            <p:cNvPr id="117" name="Rectangle 10"/>
            <p:cNvSpPr>
              <a:spLocks noChangeArrowheads="1"/>
            </p:cNvSpPr>
            <p:nvPr/>
          </p:nvSpPr>
          <p:spPr bwMode="auto">
            <a:xfrm>
              <a:off x="10063027" y="6104385"/>
              <a:ext cx="708830" cy="89014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8" name="Rectangle 11"/>
            <p:cNvSpPr>
              <a:spLocks noChangeArrowheads="1"/>
            </p:cNvSpPr>
            <p:nvPr/>
          </p:nvSpPr>
          <p:spPr bwMode="auto">
            <a:xfrm>
              <a:off x="10027859" y="6077032"/>
              <a:ext cx="779166" cy="27353"/>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9" name="Rectangle 12"/>
            <p:cNvSpPr>
              <a:spLocks noChangeArrowheads="1"/>
            </p:cNvSpPr>
            <p:nvPr/>
          </p:nvSpPr>
          <p:spPr bwMode="auto">
            <a:xfrm>
              <a:off x="10129455" y="6185662"/>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0" name="Rectangle 13"/>
            <p:cNvSpPr>
              <a:spLocks noChangeArrowheads="1"/>
            </p:cNvSpPr>
            <p:nvPr/>
          </p:nvSpPr>
          <p:spPr bwMode="auto">
            <a:xfrm>
              <a:off x="10129455" y="6185662"/>
              <a:ext cx="92218" cy="46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1" name="Rectangle 14"/>
            <p:cNvSpPr>
              <a:spLocks noChangeArrowheads="1"/>
            </p:cNvSpPr>
            <p:nvPr/>
          </p:nvSpPr>
          <p:spPr bwMode="auto">
            <a:xfrm>
              <a:off x="10289665" y="6185662"/>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2" name="Rectangle 15"/>
            <p:cNvSpPr>
              <a:spLocks noChangeArrowheads="1"/>
            </p:cNvSpPr>
            <p:nvPr/>
          </p:nvSpPr>
          <p:spPr bwMode="auto">
            <a:xfrm>
              <a:off x="10448311" y="6185662"/>
              <a:ext cx="93000"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3" name="Rectangle 16"/>
            <p:cNvSpPr>
              <a:spLocks noChangeArrowheads="1"/>
            </p:cNvSpPr>
            <p:nvPr/>
          </p:nvSpPr>
          <p:spPr bwMode="auto">
            <a:xfrm>
              <a:off x="10289665" y="6813997"/>
              <a:ext cx="92218" cy="18052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4" name="Rectangle 17"/>
            <p:cNvSpPr>
              <a:spLocks noChangeArrowheads="1"/>
            </p:cNvSpPr>
            <p:nvPr/>
          </p:nvSpPr>
          <p:spPr bwMode="auto">
            <a:xfrm>
              <a:off x="10448311" y="6813997"/>
              <a:ext cx="93000" cy="18052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5" name="Rectangle 18"/>
            <p:cNvSpPr>
              <a:spLocks noChangeArrowheads="1"/>
            </p:cNvSpPr>
            <p:nvPr/>
          </p:nvSpPr>
          <p:spPr bwMode="auto">
            <a:xfrm>
              <a:off x="10609302" y="6185662"/>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6" name="Rectangle 19"/>
            <p:cNvSpPr>
              <a:spLocks noChangeArrowheads="1"/>
            </p:cNvSpPr>
            <p:nvPr/>
          </p:nvSpPr>
          <p:spPr bwMode="auto">
            <a:xfrm>
              <a:off x="10129455" y="6344309"/>
              <a:ext cx="92218" cy="930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7" name="Rectangle 20"/>
            <p:cNvSpPr>
              <a:spLocks noChangeArrowheads="1"/>
            </p:cNvSpPr>
            <p:nvPr/>
          </p:nvSpPr>
          <p:spPr bwMode="auto">
            <a:xfrm>
              <a:off x="10289665" y="6344309"/>
              <a:ext cx="92218" cy="9300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8" name="Rectangle 21"/>
            <p:cNvSpPr>
              <a:spLocks noChangeArrowheads="1"/>
            </p:cNvSpPr>
            <p:nvPr/>
          </p:nvSpPr>
          <p:spPr bwMode="auto">
            <a:xfrm>
              <a:off x="10448311" y="6344309"/>
              <a:ext cx="93000" cy="9300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9" name="Rectangle 22"/>
            <p:cNvSpPr>
              <a:spLocks noChangeArrowheads="1"/>
            </p:cNvSpPr>
            <p:nvPr/>
          </p:nvSpPr>
          <p:spPr bwMode="auto">
            <a:xfrm>
              <a:off x="10609302" y="6344309"/>
              <a:ext cx="92218" cy="930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0" name="Rectangle 23"/>
            <p:cNvSpPr>
              <a:spLocks noChangeArrowheads="1"/>
            </p:cNvSpPr>
            <p:nvPr/>
          </p:nvSpPr>
          <p:spPr bwMode="auto">
            <a:xfrm>
              <a:off x="10129455" y="6505300"/>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1" name="Rectangle 24"/>
            <p:cNvSpPr>
              <a:spLocks noChangeArrowheads="1"/>
            </p:cNvSpPr>
            <p:nvPr/>
          </p:nvSpPr>
          <p:spPr bwMode="auto">
            <a:xfrm>
              <a:off x="10289665" y="6505300"/>
              <a:ext cx="92218"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2" name="Rectangle 25"/>
            <p:cNvSpPr>
              <a:spLocks noChangeArrowheads="1"/>
            </p:cNvSpPr>
            <p:nvPr/>
          </p:nvSpPr>
          <p:spPr bwMode="auto">
            <a:xfrm>
              <a:off x="10448311" y="6505300"/>
              <a:ext cx="93000"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3" name="Rectangle 26"/>
            <p:cNvSpPr>
              <a:spLocks noChangeArrowheads="1"/>
            </p:cNvSpPr>
            <p:nvPr/>
          </p:nvSpPr>
          <p:spPr bwMode="auto">
            <a:xfrm>
              <a:off x="10609302" y="6505300"/>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4" name="Rectangle 27"/>
            <p:cNvSpPr>
              <a:spLocks noChangeArrowheads="1"/>
            </p:cNvSpPr>
            <p:nvPr/>
          </p:nvSpPr>
          <p:spPr bwMode="auto">
            <a:xfrm>
              <a:off x="10129455" y="6663947"/>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5" name="Rectangle 28"/>
            <p:cNvSpPr>
              <a:spLocks noChangeArrowheads="1"/>
            </p:cNvSpPr>
            <p:nvPr/>
          </p:nvSpPr>
          <p:spPr bwMode="auto">
            <a:xfrm>
              <a:off x="10289665" y="6663947"/>
              <a:ext cx="92218"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6" name="Rectangle 29"/>
            <p:cNvSpPr>
              <a:spLocks noChangeArrowheads="1"/>
            </p:cNvSpPr>
            <p:nvPr/>
          </p:nvSpPr>
          <p:spPr bwMode="auto">
            <a:xfrm>
              <a:off x="10448311" y="6663947"/>
              <a:ext cx="93000"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7" name="Rectangle 30"/>
            <p:cNvSpPr>
              <a:spLocks noChangeArrowheads="1"/>
            </p:cNvSpPr>
            <p:nvPr/>
          </p:nvSpPr>
          <p:spPr bwMode="auto">
            <a:xfrm>
              <a:off x="10609302" y="6663947"/>
              <a:ext cx="92218" cy="9221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8" name="Rectangle 31"/>
            <p:cNvSpPr>
              <a:spLocks noChangeArrowheads="1"/>
            </p:cNvSpPr>
            <p:nvPr/>
          </p:nvSpPr>
          <p:spPr bwMode="auto">
            <a:xfrm>
              <a:off x="10129455" y="6505300"/>
              <a:ext cx="92218" cy="46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9" name="Rectangle 32"/>
            <p:cNvSpPr>
              <a:spLocks noChangeArrowheads="1"/>
            </p:cNvSpPr>
            <p:nvPr/>
          </p:nvSpPr>
          <p:spPr bwMode="auto">
            <a:xfrm>
              <a:off x="10609302" y="6505300"/>
              <a:ext cx="92218" cy="46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0" name="Rectangle 33"/>
            <p:cNvSpPr>
              <a:spLocks noChangeArrowheads="1"/>
            </p:cNvSpPr>
            <p:nvPr/>
          </p:nvSpPr>
          <p:spPr bwMode="auto">
            <a:xfrm>
              <a:off x="10609302" y="6344309"/>
              <a:ext cx="92218" cy="46891"/>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1" name="Rectangle 41"/>
            <p:cNvSpPr>
              <a:spLocks noChangeArrowheads="1"/>
            </p:cNvSpPr>
            <p:nvPr/>
          </p:nvSpPr>
          <p:spPr bwMode="auto">
            <a:xfrm>
              <a:off x="10381881" y="5966057"/>
              <a:ext cx="273529" cy="110975"/>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99" name="Group 98"/>
          <p:cNvGrpSpPr/>
          <p:nvPr userDrawn="1"/>
        </p:nvGrpSpPr>
        <p:grpSpPr>
          <a:xfrm flipH="1">
            <a:off x="11929786" y="6514415"/>
            <a:ext cx="106860" cy="207117"/>
            <a:chOff x="6229350" y="5232400"/>
            <a:chExt cx="539750" cy="1046162"/>
          </a:xfrm>
        </p:grpSpPr>
        <p:sp>
          <p:nvSpPr>
            <p:cNvPr id="10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6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64467664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939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9" y="2142640"/>
            <a:ext cx="11228387" cy="1720381"/>
          </a:xfrm>
        </p:spPr>
        <p:txBody>
          <a:bodyPr/>
          <a:lstStyle>
            <a:lvl1pPr>
              <a:defRPr sz="8797">
                <a:solidFill>
                  <a:schemeClr val="bg1"/>
                </a:solidFill>
              </a:defRPr>
            </a:lvl1pPr>
          </a:lstStyle>
          <a:p>
            <a:r>
              <a:rPr lang="en-US" dirty="0"/>
              <a:t>Title</a:t>
            </a:r>
          </a:p>
        </p:txBody>
      </p:sp>
    </p:spTree>
    <p:extLst>
      <p:ext uri="{BB962C8B-B14F-4D97-AF65-F5344CB8AC3E}">
        <p14:creationId xmlns:p14="http://schemas.microsoft.com/office/powerpoint/2010/main" val="196146279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041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Title 1"/>
          <p:cNvSpPr>
            <a:spLocks noGrp="1"/>
          </p:cNvSpPr>
          <p:nvPr>
            <p:ph type="ctrTitle" hasCustomPrompt="1"/>
          </p:nvPr>
        </p:nvSpPr>
        <p:spPr>
          <a:xfrm>
            <a:off x="585219" y="2142640"/>
            <a:ext cx="11228387" cy="1720381"/>
          </a:xfrm>
        </p:spPr>
        <p:txBody>
          <a:bodyPr/>
          <a:lstStyle>
            <a:lvl1pPr>
              <a:defRPr sz="8797">
                <a:solidFill>
                  <a:schemeClr val="bg1"/>
                </a:solidFill>
              </a:defRPr>
            </a:lvl1pPr>
          </a:lstStyle>
          <a:p>
            <a:r>
              <a:rPr lang="en-US" dirty="0"/>
              <a:t>Title</a:t>
            </a:r>
          </a:p>
        </p:txBody>
      </p:sp>
    </p:spTree>
    <p:extLst>
      <p:ext uri="{BB962C8B-B14F-4D97-AF65-F5344CB8AC3E}">
        <p14:creationId xmlns:p14="http://schemas.microsoft.com/office/powerpoint/2010/main" val="24561303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4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7" y="2698812"/>
            <a:ext cx="4223512" cy="1553592"/>
          </a:xfrm>
          <a:prstGeom prst="rect">
            <a:avLst/>
          </a:prstGeom>
        </p:spPr>
      </p:pic>
    </p:spTree>
    <p:extLst>
      <p:ext uri="{BB962C8B-B14F-4D97-AF65-F5344CB8AC3E}">
        <p14:creationId xmlns:p14="http://schemas.microsoft.com/office/powerpoint/2010/main" val="39402172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6"/>
            <a:ext cx="11887200" cy="1831975"/>
          </a:xfrm>
          <a:noFill/>
        </p:spPr>
        <p:txBody>
          <a:bodyPr tIns="91440" bIns="91440" anchor="t" anchorCtr="0"/>
          <a:lstStyle>
            <a:lvl1pPr>
              <a:defRPr sz="8797" spc="-101" baseline="0">
                <a:gradFill>
                  <a:gsLst>
                    <a:gs pos="96552">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08165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6"/>
            <a:ext cx="11887200" cy="1831975"/>
          </a:xfrm>
          <a:noFill/>
        </p:spPr>
        <p:txBody>
          <a:bodyPr tIns="91440" bIns="91440" anchor="t" anchorCtr="0"/>
          <a:lstStyle>
            <a:lvl1pPr>
              <a:defRPr sz="8797"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9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Template 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246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3599" baseline="0">
                <a:solidFill>
                  <a:schemeClr val="accent1"/>
                </a:solidFill>
              </a:defRPr>
            </a:lvl1pPr>
          </a:lstStyle>
          <a:p>
            <a:r>
              <a:rPr lang="en-US" dirty="0"/>
              <a:t>Lorem ipsum dolor sit.</a:t>
            </a:r>
          </a:p>
        </p:txBody>
      </p:sp>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603504" y="1545465"/>
            <a:ext cx="11226196" cy="4663068"/>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5005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itle no photo">
    <p:spTree>
      <p:nvGrpSpPr>
        <p:cNvPr id="1" name=""/>
        <p:cNvGrpSpPr/>
        <p:nvPr/>
      </p:nvGrpSpPr>
      <p:grpSpPr>
        <a:xfrm>
          <a:off x="0" y="0"/>
          <a:ext cx="0" cy="0"/>
          <a:chOff x="0" y="0"/>
          <a:chExt cx="0" cy="0"/>
        </a:xfrm>
      </p:grpSpPr>
      <p:sp>
        <p:nvSpPr>
          <p:cNvPr id="2" name="Rectangle 1"/>
          <p:cNvSpPr/>
          <p:nvPr userDrawn="1"/>
        </p:nvSpPr>
        <p:spPr>
          <a:xfrm>
            <a:off x="2" y="0"/>
            <a:ext cx="12436475" cy="6994525"/>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32" tIns="87432" rIns="87432" bIns="87432" numCol="1" spcCol="0" rtlCol="0" fromWordArt="0" anchor="b" anchorCtr="0" forceAA="0" compatLnSpc="1">
            <a:prstTxWarp prst="textNoShape">
              <a:avLst/>
            </a:prstTxWarp>
            <a:noAutofit/>
          </a:bodyPr>
          <a:lstStyle/>
          <a:p>
            <a:pPr marL="0" marR="0" lvl="0" indent="0" algn="r" defTabSz="1040398" rtl="0" eaLnBrk="1" fontAlgn="auto" latinLnBrk="0" hangingPunct="1">
              <a:lnSpc>
                <a:spcPct val="100000"/>
              </a:lnSpc>
              <a:spcBef>
                <a:spcPts val="0"/>
              </a:spcBef>
              <a:spcAft>
                <a:spcPts val="0"/>
              </a:spcAft>
              <a:buClrTx/>
              <a:buSzTx/>
              <a:buFontTx/>
              <a:buNone/>
              <a:tabLst/>
              <a:defRPr/>
            </a:pPr>
            <a:endParaRPr kumimoji="0" lang="en-US" sz="1147" b="0" i="0" u="none" strike="noStrike" kern="1200" cap="none" spc="0" normalizeH="0" baseline="0" noProof="0" dirty="0">
              <a:ln>
                <a:noFill/>
              </a:ln>
              <a:solidFill>
                <a:prstClr val="white"/>
              </a:solidFill>
              <a:effectLst/>
              <a:uLnTx/>
              <a:uFillTx/>
              <a:latin typeface="Segoe UI"/>
              <a:ea typeface="+mn-ea"/>
              <a:cs typeface="+mn-cs"/>
            </a:endParaRPr>
          </a:p>
        </p:txBody>
      </p:sp>
      <p:sp>
        <p:nvSpPr>
          <p:cNvPr id="13" name="Rectangle 12"/>
          <p:cNvSpPr/>
          <p:nvPr userDrawn="1"/>
        </p:nvSpPr>
        <p:spPr bwMode="gray">
          <a:xfrm>
            <a:off x="153878" y="2098358"/>
            <a:ext cx="5597871" cy="373041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401" tIns="137120" rIns="171401" bIns="137120" numCol="1" spcCol="0" rtlCol="0" fromWordArt="0" anchor="t" anchorCtr="0" forceAA="0" compatLnSpc="1">
            <a:prstTxWarp prst="textNoShape">
              <a:avLst/>
            </a:prstTxWarp>
            <a:noAutofit/>
          </a:bodyPr>
          <a:lstStyle/>
          <a:p>
            <a:pPr marL="0" marR="0" lvl="0" indent="0" algn="ctr" defTabSz="873935" rtl="0" eaLnBrk="1" fontAlgn="base" latinLnBrk="0" hangingPunct="1">
              <a:lnSpc>
                <a:spcPct val="90000"/>
              </a:lnSpc>
              <a:spcBef>
                <a:spcPct val="0"/>
              </a:spcBef>
              <a:spcAft>
                <a:spcPct val="0"/>
              </a:spcAft>
              <a:buClrTx/>
              <a:buSzTx/>
              <a:buFontTx/>
              <a:buNone/>
              <a:tabLst/>
              <a:defRPr/>
            </a:pPr>
            <a:endParaRPr kumimoji="0" lang="en-US" sz="22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82880" rIns="146304" bIns="91440" rtlCol="0" anchor="t" anchorCtr="0">
            <a:normAutofit/>
          </a:bodyPr>
          <a:lstStyle>
            <a:lvl1pPr>
              <a:defRPr lang="en-US" sz="4207" spc="-94"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vert="horz" lIns="137160" tIns="91440" rIns="182880" bIns="45720" rtlCol="0">
            <a:noAutofit/>
          </a:bodyPr>
          <a:lstStyle>
            <a:lvl1pPr>
              <a:defRPr lang="en-US" sz="1912" dirty="0">
                <a:solidFill>
                  <a:schemeClr val="bg1"/>
                </a:solidFill>
              </a:defRPr>
            </a:lvl1pPr>
          </a:lstStyle>
          <a:p>
            <a:pPr lvl="0">
              <a:spcBef>
                <a:spcPts val="0"/>
              </a:spcBef>
            </a:pPr>
            <a:r>
              <a:rPr lang="en-US" dirty="0"/>
              <a:t>Speaker Name</a:t>
            </a:r>
          </a:p>
        </p:txBody>
      </p:sp>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61145" y="6192677"/>
            <a:ext cx="1984796" cy="683589"/>
          </a:xfrm>
          <a:prstGeom prst="rect">
            <a:avLst/>
          </a:prstGeom>
          <a:noFill/>
          <a:ln>
            <a:noFill/>
          </a:ln>
        </p:spPr>
      </p:pic>
      <p:sp>
        <p:nvSpPr>
          <p:cNvPr id="18" name="Rectangle 17"/>
          <p:cNvSpPr/>
          <p:nvPr userDrawn="1"/>
        </p:nvSpPr>
        <p:spPr>
          <a:xfrm>
            <a:off x="153877" y="655737"/>
            <a:ext cx="1549180" cy="1442621"/>
          </a:xfrm>
          <a:prstGeom prst="rect">
            <a:avLst/>
          </a:prstGeom>
          <a:solidFill>
            <a:srgbClr val="0072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32" tIns="87432" rIns="87432" bIns="87432" numCol="1" spcCol="0" rtlCol="0" fromWordArt="0" anchor="t" anchorCtr="0" forceAA="0" compatLnSpc="1">
            <a:prstTxWarp prst="textNoShape">
              <a:avLst/>
            </a:prstTxWarp>
            <a:noAutofit/>
          </a:bodyPr>
          <a:lstStyle/>
          <a:p>
            <a:pPr marL="0" marR="0" lvl="0" indent="0" algn="l" defTabSz="1040398" rtl="0" eaLnBrk="1" fontAlgn="auto" latinLnBrk="0" hangingPunct="1">
              <a:lnSpc>
                <a:spcPct val="100000"/>
              </a:lnSpc>
              <a:spcBef>
                <a:spcPts val="0"/>
              </a:spcBef>
              <a:spcAft>
                <a:spcPts val="0"/>
              </a:spcAft>
              <a:buClrTx/>
              <a:buSzTx/>
              <a:buFontTx/>
              <a:buNone/>
              <a:tabLst/>
              <a:defRPr/>
            </a:pPr>
            <a:r>
              <a:rPr kumimoji="0" lang="en-US" sz="1722" b="0" i="0" u="none" strike="noStrike" kern="1200" cap="none" spc="0" normalizeH="0" baseline="0" noProof="0" dirty="0">
                <a:ln>
                  <a:noFill/>
                </a:ln>
                <a:solidFill>
                  <a:prstClr val="white"/>
                </a:solidFill>
                <a:effectLst/>
                <a:uLnTx/>
                <a:uFillTx/>
                <a:latin typeface="Segoe UI Light"/>
                <a:ea typeface="+mn-ea"/>
                <a:cs typeface="+mn-cs"/>
              </a:rPr>
              <a:t>Microsoft Technology </a:t>
            </a:r>
            <a:br>
              <a:rPr kumimoji="0" lang="en-US" sz="1722" b="0" i="0" u="none" strike="noStrike" kern="1200" cap="none" spc="0" normalizeH="0" baseline="0" noProof="0" dirty="0">
                <a:ln>
                  <a:noFill/>
                </a:ln>
                <a:solidFill>
                  <a:prstClr val="white"/>
                </a:solidFill>
                <a:effectLst/>
                <a:uLnTx/>
                <a:uFillTx/>
                <a:latin typeface="Segoe UI Light"/>
                <a:ea typeface="+mn-ea"/>
                <a:cs typeface="+mn-cs"/>
              </a:rPr>
            </a:br>
            <a:r>
              <a:rPr kumimoji="0" lang="en-US" sz="1722" b="0" i="0" u="none" strike="noStrike" kern="1200" cap="none" spc="0" normalizeH="0" baseline="0" noProof="0" dirty="0">
                <a:ln>
                  <a:noFill/>
                </a:ln>
                <a:solidFill>
                  <a:prstClr val="white"/>
                </a:solidFill>
                <a:effectLst/>
                <a:uLnTx/>
                <a:uFillTx/>
                <a:latin typeface="Segoe UI Light"/>
                <a:ea typeface="+mn-ea"/>
                <a:cs typeface="+mn-cs"/>
              </a:rPr>
              <a:t>Centers</a:t>
            </a:r>
          </a:p>
        </p:txBody>
      </p:sp>
    </p:spTree>
    <p:extLst>
      <p:ext uri="{BB962C8B-B14F-4D97-AF65-F5344CB8AC3E}">
        <p14:creationId xmlns:p14="http://schemas.microsoft.com/office/powerpoint/2010/main" val="25721451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itle 1">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3238"/>
            <a:ext cx="12439715" cy="70026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2" name="Rectangle 11"/>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401" tIns="137120" rIns="171401" bIns="137120" numCol="1" spcCol="0" rtlCol="0" fromWordArt="0" anchor="t" anchorCtr="0" forceAA="0" compatLnSpc="1">
            <a:prstTxWarp prst="textNoShape">
              <a:avLst/>
            </a:prstTxWarp>
            <a:noAutofit/>
          </a:bodyPr>
          <a:lstStyle/>
          <a:p>
            <a:pPr marL="0" marR="0" lvl="0" indent="0" algn="ctr" defTabSz="873935" rtl="0" eaLnBrk="1" fontAlgn="base" latinLnBrk="0" hangingPunct="1">
              <a:lnSpc>
                <a:spcPct val="90000"/>
              </a:lnSpc>
              <a:spcBef>
                <a:spcPct val="0"/>
              </a:spcBef>
              <a:spcAft>
                <a:spcPct val="0"/>
              </a:spcAft>
              <a:buClrTx/>
              <a:buSzTx/>
              <a:buFontTx/>
              <a:buNone/>
              <a:tabLst/>
              <a:defRPr/>
            </a:pPr>
            <a:endParaRPr kumimoji="0" lang="en-US" sz="22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82880" rIns="146304" bIns="91440" rtlCol="0" anchor="t" anchorCtr="0">
            <a:normAutofit/>
          </a:bodyPr>
          <a:lstStyle>
            <a:lvl1pPr>
              <a:defRPr lang="en-US" sz="4207" spc="-94"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91440">
            <a:noAutofit/>
          </a:bodyPr>
          <a:lstStyle>
            <a:lvl1pPr marL="0" indent="0">
              <a:spcBef>
                <a:spcPts val="0"/>
              </a:spcBef>
              <a:buNone/>
              <a:defRPr sz="1912">
                <a:solidFill>
                  <a:schemeClr val="bg1"/>
                </a:solidFill>
              </a:defRPr>
            </a:lvl1pPr>
            <a:lvl2pPr marL="269324" indent="0">
              <a:buNone/>
              <a:defRPr sz="1912">
                <a:solidFill>
                  <a:schemeClr val="bg1"/>
                </a:solidFill>
              </a:defRPr>
            </a:lvl2pPr>
            <a:lvl3pPr marL="562675" indent="0">
              <a:buNone/>
              <a:defRPr sz="1912">
                <a:solidFill>
                  <a:schemeClr val="bg1"/>
                </a:solidFill>
              </a:defRPr>
            </a:lvl3pPr>
            <a:lvl4pPr marL="832000" indent="0">
              <a:buNone/>
              <a:defRPr sz="1912">
                <a:solidFill>
                  <a:schemeClr val="bg1"/>
                </a:solidFill>
              </a:defRPr>
            </a:lvl4pPr>
            <a:lvl5pPr marL="1057069" indent="0">
              <a:buNone/>
              <a:defRPr sz="1912">
                <a:solidFill>
                  <a:schemeClr val="bg1"/>
                </a:solidFill>
              </a:defRPr>
            </a:lvl5pPr>
          </a:lstStyle>
          <a:p>
            <a:pPr lvl="0"/>
            <a:r>
              <a:rPr lang="en-US" dirty="0"/>
              <a:t>Speaker Name</a:t>
            </a:r>
          </a:p>
        </p:txBody>
      </p:sp>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61145" y="6192677"/>
            <a:ext cx="1982856" cy="683154"/>
          </a:xfrm>
          <a:prstGeom prst="rect">
            <a:avLst/>
          </a:prstGeom>
          <a:noFill/>
          <a:ln>
            <a:noFill/>
          </a:ln>
        </p:spPr>
      </p:pic>
      <p:sp>
        <p:nvSpPr>
          <p:cNvPr id="7" name="Rectangle 6"/>
          <p:cNvSpPr/>
          <p:nvPr userDrawn="1"/>
        </p:nvSpPr>
        <p:spPr>
          <a:xfrm>
            <a:off x="153877" y="655737"/>
            <a:ext cx="1549180" cy="1442621"/>
          </a:xfrm>
          <a:prstGeom prst="rect">
            <a:avLst/>
          </a:prstGeom>
          <a:solidFill>
            <a:srgbClr val="0072B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32" tIns="87432" rIns="87432" bIns="87432" numCol="1" spcCol="0" rtlCol="0" fromWordArt="0" anchor="t" anchorCtr="0" forceAA="0" compatLnSpc="1">
            <a:prstTxWarp prst="textNoShape">
              <a:avLst/>
            </a:prstTxWarp>
            <a:noAutofit/>
          </a:bodyPr>
          <a:lstStyle/>
          <a:p>
            <a:pPr marL="0" marR="0" lvl="0" indent="0" algn="l" defTabSz="1040398" rtl="0" eaLnBrk="1" fontAlgn="auto" latinLnBrk="0" hangingPunct="1">
              <a:lnSpc>
                <a:spcPct val="100000"/>
              </a:lnSpc>
              <a:spcBef>
                <a:spcPts val="0"/>
              </a:spcBef>
              <a:spcAft>
                <a:spcPts val="0"/>
              </a:spcAft>
              <a:buClrTx/>
              <a:buSzTx/>
              <a:buFontTx/>
              <a:buNone/>
              <a:tabLst/>
              <a:defRPr/>
            </a:pPr>
            <a:r>
              <a:rPr kumimoji="0" lang="en-US" sz="1722" b="0" i="0" u="none" strike="noStrike" kern="1200" cap="none" spc="0" normalizeH="0" baseline="0" noProof="0" dirty="0">
                <a:ln>
                  <a:noFill/>
                </a:ln>
                <a:solidFill>
                  <a:prstClr val="white"/>
                </a:solidFill>
                <a:effectLst/>
                <a:uLnTx/>
                <a:uFillTx/>
                <a:latin typeface="Segoe UI Light"/>
                <a:ea typeface="+mn-ea"/>
                <a:cs typeface="+mn-cs"/>
              </a:rPr>
              <a:t>Microsoft Technology </a:t>
            </a:r>
            <a:br>
              <a:rPr kumimoji="0" lang="en-US" sz="1722" b="0" i="0" u="none" strike="noStrike" kern="1200" cap="none" spc="0" normalizeH="0" baseline="0" noProof="0" dirty="0">
                <a:ln>
                  <a:noFill/>
                </a:ln>
                <a:solidFill>
                  <a:prstClr val="white"/>
                </a:solidFill>
                <a:effectLst/>
                <a:uLnTx/>
                <a:uFillTx/>
                <a:latin typeface="Segoe UI Light"/>
                <a:ea typeface="+mn-ea"/>
                <a:cs typeface="+mn-cs"/>
              </a:rPr>
            </a:br>
            <a:r>
              <a:rPr kumimoji="0" lang="en-US" sz="1722" b="0" i="0" u="none" strike="noStrike" kern="1200" cap="none" spc="0" normalizeH="0" baseline="0" noProof="0" dirty="0">
                <a:ln>
                  <a:noFill/>
                </a:ln>
                <a:solidFill>
                  <a:prstClr val="white"/>
                </a:solidFill>
                <a:effectLst/>
                <a:uLnTx/>
                <a:uFillTx/>
                <a:latin typeface="Segoe UI Light"/>
                <a:ea typeface="+mn-ea"/>
                <a:cs typeface="+mn-cs"/>
              </a:rPr>
              <a:t>Centers</a:t>
            </a:r>
          </a:p>
        </p:txBody>
      </p:sp>
    </p:spTree>
    <p:extLst>
      <p:ext uri="{BB962C8B-B14F-4D97-AF65-F5344CB8AC3E}">
        <p14:creationId xmlns:p14="http://schemas.microsoft.com/office/powerpoint/2010/main" val="332591634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2_Title 1">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8096"/>
            <a:ext cx="12439715" cy="70107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2" name="Rectangle 11"/>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401" tIns="137120" rIns="171401" bIns="137120" numCol="1" spcCol="0" rtlCol="0" fromWordArt="0" anchor="t" anchorCtr="0" forceAA="0" compatLnSpc="1">
            <a:prstTxWarp prst="textNoShape">
              <a:avLst/>
            </a:prstTxWarp>
            <a:noAutofit/>
          </a:bodyPr>
          <a:lstStyle/>
          <a:p>
            <a:pPr marL="0" marR="0" lvl="0" indent="0" algn="ctr" defTabSz="873935" rtl="0" eaLnBrk="1" fontAlgn="base" latinLnBrk="0" hangingPunct="1">
              <a:lnSpc>
                <a:spcPct val="90000"/>
              </a:lnSpc>
              <a:spcBef>
                <a:spcPct val="0"/>
              </a:spcBef>
              <a:spcAft>
                <a:spcPct val="0"/>
              </a:spcAft>
              <a:buClrTx/>
              <a:buSzTx/>
              <a:buFontTx/>
              <a:buNone/>
              <a:tabLst/>
              <a:defRPr/>
            </a:pPr>
            <a:endParaRPr kumimoji="0" lang="en-US" sz="22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82880" rIns="146304" bIns="91440" rtlCol="0" anchor="t" anchorCtr="0">
            <a:normAutofit/>
          </a:bodyPr>
          <a:lstStyle>
            <a:lvl1pPr>
              <a:defRPr lang="en-US" sz="4207" spc="-94"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91440">
            <a:noAutofit/>
          </a:bodyPr>
          <a:lstStyle>
            <a:lvl1pPr marL="0" indent="0">
              <a:spcBef>
                <a:spcPts val="0"/>
              </a:spcBef>
              <a:buNone/>
              <a:defRPr sz="1912">
                <a:solidFill>
                  <a:schemeClr val="bg1"/>
                </a:solidFill>
              </a:defRPr>
            </a:lvl1pPr>
            <a:lvl2pPr marL="269324" indent="0">
              <a:buNone/>
              <a:defRPr sz="1912">
                <a:solidFill>
                  <a:schemeClr val="bg1"/>
                </a:solidFill>
              </a:defRPr>
            </a:lvl2pPr>
            <a:lvl3pPr marL="562675" indent="0">
              <a:buNone/>
              <a:defRPr sz="1912">
                <a:solidFill>
                  <a:schemeClr val="bg1"/>
                </a:solidFill>
              </a:defRPr>
            </a:lvl3pPr>
            <a:lvl4pPr marL="832000" indent="0">
              <a:buNone/>
              <a:defRPr sz="1912">
                <a:solidFill>
                  <a:schemeClr val="bg1"/>
                </a:solidFill>
              </a:defRPr>
            </a:lvl4pPr>
            <a:lvl5pPr marL="1057069" indent="0">
              <a:buNone/>
              <a:defRPr sz="1912">
                <a:solidFill>
                  <a:schemeClr val="bg1"/>
                </a:solidFill>
              </a:defRPr>
            </a:lvl5pPr>
          </a:lstStyle>
          <a:p>
            <a:pPr lvl="0"/>
            <a:r>
              <a:rPr lang="en-US" dirty="0"/>
              <a:t>Speaker Name</a:t>
            </a:r>
          </a:p>
        </p:txBody>
      </p:sp>
      <p:sp>
        <p:nvSpPr>
          <p:cNvPr id="7" name="Rectangle 6"/>
          <p:cNvSpPr/>
          <p:nvPr userDrawn="1"/>
        </p:nvSpPr>
        <p:spPr>
          <a:xfrm>
            <a:off x="153877" y="655737"/>
            <a:ext cx="1549180" cy="1442621"/>
          </a:xfrm>
          <a:prstGeom prst="rect">
            <a:avLst/>
          </a:prstGeom>
          <a:solidFill>
            <a:srgbClr val="0072B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32" tIns="87432" rIns="87432" bIns="87432" numCol="1" spcCol="0" rtlCol="0" fromWordArt="0" anchor="t" anchorCtr="0" forceAA="0" compatLnSpc="1">
            <a:prstTxWarp prst="textNoShape">
              <a:avLst/>
            </a:prstTxWarp>
            <a:noAutofit/>
          </a:bodyPr>
          <a:lstStyle/>
          <a:p>
            <a:pPr marL="0" marR="0" lvl="0" indent="0" algn="l" defTabSz="1040398" rtl="0" eaLnBrk="1" fontAlgn="auto" latinLnBrk="0" hangingPunct="1">
              <a:lnSpc>
                <a:spcPct val="100000"/>
              </a:lnSpc>
              <a:spcBef>
                <a:spcPts val="0"/>
              </a:spcBef>
              <a:spcAft>
                <a:spcPts val="0"/>
              </a:spcAft>
              <a:buClrTx/>
              <a:buSzTx/>
              <a:buFontTx/>
              <a:buNone/>
              <a:tabLst/>
              <a:defRPr/>
            </a:pPr>
            <a:r>
              <a:rPr kumimoji="0" lang="en-US" sz="1722" b="0" i="0" u="none" strike="noStrike" kern="1200" cap="none" spc="0" normalizeH="0" baseline="0" noProof="0" dirty="0">
                <a:ln>
                  <a:noFill/>
                </a:ln>
                <a:solidFill>
                  <a:prstClr val="white"/>
                </a:solidFill>
                <a:effectLst/>
                <a:uLnTx/>
                <a:uFillTx/>
                <a:latin typeface="Segoe UI Light"/>
                <a:ea typeface="+mn-ea"/>
                <a:cs typeface="+mn-cs"/>
              </a:rPr>
              <a:t>Microsoft Technology </a:t>
            </a:r>
            <a:br>
              <a:rPr kumimoji="0" lang="en-US" sz="1722" b="0" i="0" u="none" strike="noStrike" kern="1200" cap="none" spc="0" normalizeH="0" baseline="0" noProof="0" dirty="0">
                <a:ln>
                  <a:noFill/>
                </a:ln>
                <a:solidFill>
                  <a:prstClr val="white"/>
                </a:solidFill>
                <a:effectLst/>
                <a:uLnTx/>
                <a:uFillTx/>
                <a:latin typeface="Segoe UI Light"/>
                <a:ea typeface="+mn-ea"/>
                <a:cs typeface="+mn-cs"/>
              </a:rPr>
            </a:br>
            <a:r>
              <a:rPr kumimoji="0" lang="en-US" sz="1722" b="0" i="0" u="none" strike="noStrike" kern="1200" cap="none" spc="0" normalizeH="0" baseline="0" noProof="0" dirty="0">
                <a:ln>
                  <a:noFill/>
                </a:ln>
                <a:solidFill>
                  <a:prstClr val="white"/>
                </a:solidFill>
                <a:effectLst/>
                <a:uLnTx/>
                <a:uFillTx/>
                <a:latin typeface="Segoe UI Light"/>
                <a:ea typeface="+mn-ea"/>
                <a:cs typeface="+mn-cs"/>
              </a:rPr>
              <a:t>Centers</a:t>
            </a: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61145" y="6192677"/>
            <a:ext cx="1982856" cy="683154"/>
          </a:xfrm>
          <a:prstGeom prst="rect">
            <a:avLst/>
          </a:prstGeom>
          <a:noFill/>
          <a:ln>
            <a:noFill/>
          </a:ln>
        </p:spPr>
      </p:pic>
    </p:spTree>
    <p:extLst>
      <p:ext uri="{BB962C8B-B14F-4D97-AF65-F5344CB8AC3E}">
        <p14:creationId xmlns:p14="http://schemas.microsoft.com/office/powerpoint/2010/main" val="415512761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3_Title 1">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8096"/>
            <a:ext cx="12439715" cy="70107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2" name="Rectangle 11"/>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401" tIns="137120" rIns="171401" bIns="137120" numCol="1" spcCol="0" rtlCol="0" fromWordArt="0" anchor="t" anchorCtr="0" forceAA="0" compatLnSpc="1">
            <a:prstTxWarp prst="textNoShape">
              <a:avLst/>
            </a:prstTxWarp>
            <a:noAutofit/>
          </a:bodyPr>
          <a:lstStyle/>
          <a:p>
            <a:pPr marL="0" marR="0" lvl="0" indent="0" algn="ctr" defTabSz="873935" rtl="0" eaLnBrk="1" fontAlgn="base" latinLnBrk="0" hangingPunct="1">
              <a:lnSpc>
                <a:spcPct val="90000"/>
              </a:lnSpc>
              <a:spcBef>
                <a:spcPct val="0"/>
              </a:spcBef>
              <a:spcAft>
                <a:spcPct val="0"/>
              </a:spcAft>
              <a:buClrTx/>
              <a:buSzTx/>
              <a:buFontTx/>
              <a:buNone/>
              <a:tabLst/>
              <a:defRPr/>
            </a:pPr>
            <a:endParaRPr kumimoji="0" lang="en-US" sz="22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82880" rIns="146304" bIns="91440" rtlCol="0" anchor="t" anchorCtr="0">
            <a:normAutofit/>
          </a:bodyPr>
          <a:lstStyle>
            <a:lvl1pPr>
              <a:defRPr lang="en-US" sz="4207" spc="-94"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91440">
            <a:noAutofit/>
          </a:bodyPr>
          <a:lstStyle>
            <a:lvl1pPr marL="0" indent="0">
              <a:spcBef>
                <a:spcPts val="0"/>
              </a:spcBef>
              <a:buNone/>
              <a:defRPr sz="1912">
                <a:solidFill>
                  <a:schemeClr val="bg1"/>
                </a:solidFill>
              </a:defRPr>
            </a:lvl1pPr>
            <a:lvl2pPr marL="269324" indent="0">
              <a:buNone/>
              <a:defRPr sz="1912">
                <a:solidFill>
                  <a:schemeClr val="bg1"/>
                </a:solidFill>
              </a:defRPr>
            </a:lvl2pPr>
            <a:lvl3pPr marL="562675" indent="0">
              <a:buNone/>
              <a:defRPr sz="1912">
                <a:solidFill>
                  <a:schemeClr val="bg1"/>
                </a:solidFill>
              </a:defRPr>
            </a:lvl3pPr>
            <a:lvl4pPr marL="832000" indent="0">
              <a:buNone/>
              <a:defRPr sz="1912">
                <a:solidFill>
                  <a:schemeClr val="bg1"/>
                </a:solidFill>
              </a:defRPr>
            </a:lvl4pPr>
            <a:lvl5pPr marL="1057069" indent="0">
              <a:buNone/>
              <a:defRPr sz="1912">
                <a:solidFill>
                  <a:schemeClr val="bg1"/>
                </a:solidFill>
              </a:defRPr>
            </a:lvl5pPr>
          </a:lstStyle>
          <a:p>
            <a:pPr lvl="0"/>
            <a:r>
              <a:rPr lang="en-US" dirty="0"/>
              <a:t>Speaker Name</a:t>
            </a:r>
          </a:p>
        </p:txBody>
      </p:sp>
      <p:sp>
        <p:nvSpPr>
          <p:cNvPr id="7" name="Rectangle 6"/>
          <p:cNvSpPr/>
          <p:nvPr userDrawn="1"/>
        </p:nvSpPr>
        <p:spPr>
          <a:xfrm>
            <a:off x="153877" y="655737"/>
            <a:ext cx="1549180" cy="1442621"/>
          </a:xfrm>
          <a:prstGeom prst="rect">
            <a:avLst/>
          </a:prstGeom>
          <a:solidFill>
            <a:srgbClr val="0072B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32" tIns="87432" rIns="87432" bIns="87432" numCol="1" spcCol="0" rtlCol="0" fromWordArt="0" anchor="t" anchorCtr="0" forceAA="0" compatLnSpc="1">
            <a:prstTxWarp prst="textNoShape">
              <a:avLst/>
            </a:prstTxWarp>
            <a:noAutofit/>
          </a:bodyPr>
          <a:lstStyle/>
          <a:p>
            <a:pPr marL="0" marR="0" lvl="0" indent="0" algn="l" defTabSz="1040398" rtl="0" eaLnBrk="1" fontAlgn="auto" latinLnBrk="0" hangingPunct="1">
              <a:lnSpc>
                <a:spcPct val="100000"/>
              </a:lnSpc>
              <a:spcBef>
                <a:spcPts val="0"/>
              </a:spcBef>
              <a:spcAft>
                <a:spcPts val="0"/>
              </a:spcAft>
              <a:buClrTx/>
              <a:buSzTx/>
              <a:buFontTx/>
              <a:buNone/>
              <a:tabLst/>
              <a:defRPr/>
            </a:pPr>
            <a:r>
              <a:rPr kumimoji="0" lang="en-US" sz="1722" b="0" i="0" u="none" strike="noStrike" kern="1200" cap="none" spc="0" normalizeH="0" baseline="0" noProof="0" dirty="0">
                <a:ln>
                  <a:noFill/>
                </a:ln>
                <a:solidFill>
                  <a:prstClr val="white"/>
                </a:solidFill>
                <a:effectLst/>
                <a:uLnTx/>
                <a:uFillTx/>
                <a:latin typeface="Segoe UI Light"/>
                <a:ea typeface="+mn-ea"/>
                <a:cs typeface="+mn-cs"/>
              </a:rPr>
              <a:t>Microsoft Technology </a:t>
            </a:r>
            <a:br>
              <a:rPr kumimoji="0" lang="en-US" sz="1722" b="0" i="0" u="none" strike="noStrike" kern="1200" cap="none" spc="0" normalizeH="0" baseline="0" noProof="0" dirty="0">
                <a:ln>
                  <a:noFill/>
                </a:ln>
                <a:solidFill>
                  <a:prstClr val="white"/>
                </a:solidFill>
                <a:effectLst/>
                <a:uLnTx/>
                <a:uFillTx/>
                <a:latin typeface="Segoe UI Light"/>
                <a:ea typeface="+mn-ea"/>
                <a:cs typeface="+mn-cs"/>
              </a:rPr>
            </a:br>
            <a:r>
              <a:rPr kumimoji="0" lang="en-US" sz="1722" b="0" i="0" u="none" strike="noStrike" kern="1200" cap="none" spc="0" normalizeH="0" baseline="0" noProof="0" dirty="0">
                <a:ln>
                  <a:noFill/>
                </a:ln>
                <a:solidFill>
                  <a:prstClr val="white"/>
                </a:solidFill>
                <a:effectLst/>
                <a:uLnTx/>
                <a:uFillTx/>
                <a:latin typeface="Segoe UI Light"/>
                <a:ea typeface="+mn-ea"/>
                <a:cs typeface="+mn-cs"/>
              </a:rPr>
              <a:t>Centers</a:t>
            </a: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61145" y="6192677"/>
            <a:ext cx="1982856" cy="683154"/>
          </a:xfrm>
          <a:prstGeom prst="rect">
            <a:avLst/>
          </a:prstGeom>
          <a:noFill/>
          <a:ln>
            <a:noFill/>
          </a:ln>
        </p:spPr>
      </p:pic>
    </p:spTree>
    <p:extLst>
      <p:ext uri="{BB962C8B-B14F-4D97-AF65-F5344CB8AC3E}">
        <p14:creationId xmlns:p14="http://schemas.microsoft.com/office/powerpoint/2010/main" val="198796870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4_Title 1">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8096"/>
            <a:ext cx="12439715" cy="70107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2" name="Rectangle 11"/>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401" tIns="137120" rIns="171401" bIns="137120" numCol="1" spcCol="0" rtlCol="0" fromWordArt="0" anchor="t" anchorCtr="0" forceAA="0" compatLnSpc="1">
            <a:prstTxWarp prst="textNoShape">
              <a:avLst/>
            </a:prstTxWarp>
            <a:noAutofit/>
          </a:bodyPr>
          <a:lstStyle/>
          <a:p>
            <a:pPr marL="0" marR="0" lvl="0" indent="0" algn="ctr" defTabSz="873935" rtl="0" eaLnBrk="1" fontAlgn="base" latinLnBrk="0" hangingPunct="1">
              <a:lnSpc>
                <a:spcPct val="90000"/>
              </a:lnSpc>
              <a:spcBef>
                <a:spcPct val="0"/>
              </a:spcBef>
              <a:spcAft>
                <a:spcPct val="0"/>
              </a:spcAft>
              <a:buClrTx/>
              <a:buSzTx/>
              <a:buFontTx/>
              <a:buNone/>
              <a:tabLst/>
              <a:defRPr/>
            </a:pPr>
            <a:endParaRPr kumimoji="0" lang="en-US" sz="22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82880" rIns="146304" bIns="91440" rtlCol="0" anchor="t" anchorCtr="0">
            <a:normAutofit/>
          </a:bodyPr>
          <a:lstStyle>
            <a:lvl1pPr>
              <a:defRPr lang="en-US" sz="4207" spc="-94"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91440">
            <a:noAutofit/>
          </a:bodyPr>
          <a:lstStyle>
            <a:lvl1pPr marL="0" indent="0">
              <a:spcBef>
                <a:spcPts val="0"/>
              </a:spcBef>
              <a:buNone/>
              <a:defRPr sz="1912">
                <a:solidFill>
                  <a:schemeClr val="bg1"/>
                </a:solidFill>
              </a:defRPr>
            </a:lvl1pPr>
            <a:lvl2pPr marL="269324" indent="0">
              <a:buNone/>
              <a:defRPr sz="1912">
                <a:solidFill>
                  <a:schemeClr val="bg1"/>
                </a:solidFill>
              </a:defRPr>
            </a:lvl2pPr>
            <a:lvl3pPr marL="562675" indent="0">
              <a:buNone/>
              <a:defRPr sz="1912">
                <a:solidFill>
                  <a:schemeClr val="bg1"/>
                </a:solidFill>
              </a:defRPr>
            </a:lvl3pPr>
            <a:lvl4pPr marL="832000" indent="0">
              <a:buNone/>
              <a:defRPr sz="1912">
                <a:solidFill>
                  <a:schemeClr val="bg1"/>
                </a:solidFill>
              </a:defRPr>
            </a:lvl4pPr>
            <a:lvl5pPr marL="1057069" indent="0">
              <a:buNone/>
              <a:defRPr sz="1912">
                <a:solidFill>
                  <a:schemeClr val="bg1"/>
                </a:solidFill>
              </a:defRPr>
            </a:lvl5pPr>
          </a:lstStyle>
          <a:p>
            <a:pPr lvl="0"/>
            <a:r>
              <a:rPr lang="en-US" dirty="0"/>
              <a:t>Speaker Name</a:t>
            </a:r>
          </a:p>
        </p:txBody>
      </p:sp>
      <p:sp>
        <p:nvSpPr>
          <p:cNvPr id="7" name="Rectangle 6"/>
          <p:cNvSpPr/>
          <p:nvPr userDrawn="1"/>
        </p:nvSpPr>
        <p:spPr>
          <a:xfrm>
            <a:off x="153877" y="655737"/>
            <a:ext cx="1549180" cy="1442621"/>
          </a:xfrm>
          <a:prstGeom prst="rect">
            <a:avLst/>
          </a:prstGeom>
          <a:solidFill>
            <a:srgbClr val="0072B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32" tIns="87432" rIns="87432" bIns="87432" numCol="1" spcCol="0" rtlCol="0" fromWordArt="0" anchor="t" anchorCtr="0" forceAA="0" compatLnSpc="1">
            <a:prstTxWarp prst="textNoShape">
              <a:avLst/>
            </a:prstTxWarp>
            <a:noAutofit/>
          </a:bodyPr>
          <a:lstStyle/>
          <a:p>
            <a:pPr marL="0" marR="0" lvl="0" indent="0" algn="l" defTabSz="1040398" rtl="0" eaLnBrk="1" fontAlgn="auto" latinLnBrk="0" hangingPunct="1">
              <a:lnSpc>
                <a:spcPct val="100000"/>
              </a:lnSpc>
              <a:spcBef>
                <a:spcPts val="0"/>
              </a:spcBef>
              <a:spcAft>
                <a:spcPts val="0"/>
              </a:spcAft>
              <a:buClrTx/>
              <a:buSzTx/>
              <a:buFontTx/>
              <a:buNone/>
              <a:tabLst/>
              <a:defRPr/>
            </a:pPr>
            <a:r>
              <a:rPr kumimoji="0" lang="en-US" sz="1722" b="0" i="0" u="none" strike="noStrike" kern="1200" cap="none" spc="0" normalizeH="0" baseline="0" noProof="0" dirty="0">
                <a:ln>
                  <a:noFill/>
                </a:ln>
                <a:solidFill>
                  <a:prstClr val="white"/>
                </a:solidFill>
                <a:effectLst/>
                <a:uLnTx/>
                <a:uFillTx/>
                <a:latin typeface="Segoe UI Light"/>
                <a:ea typeface="+mn-ea"/>
                <a:cs typeface="+mn-cs"/>
              </a:rPr>
              <a:t>Microsoft Technology </a:t>
            </a:r>
            <a:br>
              <a:rPr kumimoji="0" lang="en-US" sz="1722" b="0" i="0" u="none" strike="noStrike" kern="1200" cap="none" spc="0" normalizeH="0" baseline="0" noProof="0" dirty="0">
                <a:ln>
                  <a:noFill/>
                </a:ln>
                <a:solidFill>
                  <a:prstClr val="white"/>
                </a:solidFill>
                <a:effectLst/>
                <a:uLnTx/>
                <a:uFillTx/>
                <a:latin typeface="Segoe UI Light"/>
                <a:ea typeface="+mn-ea"/>
                <a:cs typeface="+mn-cs"/>
              </a:rPr>
            </a:br>
            <a:r>
              <a:rPr kumimoji="0" lang="en-US" sz="1722" b="0" i="0" u="none" strike="noStrike" kern="1200" cap="none" spc="0" normalizeH="0" baseline="0" noProof="0" dirty="0">
                <a:ln>
                  <a:noFill/>
                </a:ln>
                <a:solidFill>
                  <a:prstClr val="white"/>
                </a:solidFill>
                <a:effectLst/>
                <a:uLnTx/>
                <a:uFillTx/>
                <a:latin typeface="Segoe UI Light"/>
                <a:ea typeface="+mn-ea"/>
                <a:cs typeface="+mn-cs"/>
              </a:rPr>
              <a:t>Centers</a:t>
            </a: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61145" y="6192677"/>
            <a:ext cx="1982856" cy="683154"/>
          </a:xfrm>
          <a:prstGeom prst="rect">
            <a:avLst/>
          </a:prstGeom>
          <a:noFill/>
          <a:ln>
            <a:noFill/>
          </a:ln>
        </p:spPr>
      </p:pic>
    </p:spTree>
    <p:extLst>
      <p:ext uri="{BB962C8B-B14F-4D97-AF65-F5344CB8AC3E}">
        <p14:creationId xmlns:p14="http://schemas.microsoft.com/office/powerpoint/2010/main" val="156563361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853611" y="558438"/>
            <a:ext cx="11582866" cy="380490"/>
          </a:xfrm>
          <a:prstGeom prst="rect">
            <a:avLst/>
          </a:prstGeom>
        </p:spPr>
        <p:txBody>
          <a:bodyPr lIns="320040" tIns="53325" rIns="53325" bIns="53325">
            <a:noAutofit/>
          </a:bodyPr>
          <a:lstStyle>
            <a:lvl1pPr marL="0" indent="0">
              <a:buNone/>
              <a:defRPr sz="2677">
                <a:solidFill>
                  <a:schemeClr val="tx2"/>
                </a:solidFill>
                <a:latin typeface="Segoe UI Light" pitchFamily="34" charset="0"/>
              </a:defRPr>
            </a:lvl1pPr>
            <a:lvl2pPr marL="269324" indent="0">
              <a:buNone/>
              <a:defRPr/>
            </a:lvl2pPr>
            <a:lvl3pPr marL="562675" indent="0">
              <a:buNone/>
              <a:defRPr/>
            </a:lvl3pPr>
            <a:lvl4pPr marL="832000" indent="0">
              <a:buNone/>
              <a:defRPr/>
            </a:lvl4pPr>
            <a:lvl5pPr marL="1057069"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4668167"/>
          </a:xfr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15"/>
          </p:nvPr>
        </p:nvSpPr>
        <p:spPr/>
        <p:txBody>
          <a:bodyPr/>
          <a:lstStyle/>
          <a:p>
            <a:pPr defTabSz="1040398"/>
            <a:fld id="{FAADACFB-7C71-4E89-89D2-7BBA40B7BFA9}" type="slidenum">
              <a:rPr lang="en-US" smtClean="0">
                <a:solidFill>
                  <a:srgbClr val="0078D7"/>
                </a:solidFill>
              </a:rPr>
              <a:pPr defTabSz="1040398"/>
              <a:t>‹#›</a:t>
            </a:fld>
            <a:endParaRPr lang="en-US" dirty="0">
              <a:solidFill>
                <a:srgbClr val="0078D7"/>
              </a:solidFill>
            </a:endParaRPr>
          </a:p>
        </p:txBody>
      </p:sp>
      <p:sp>
        <p:nvSpPr>
          <p:cNvPr id="20" name="Footer Placeholder 19"/>
          <p:cNvSpPr>
            <a:spLocks noGrp="1"/>
          </p:cNvSpPr>
          <p:nvPr>
            <p:ph type="ftr" sz="quarter" idx="16"/>
          </p:nvPr>
        </p:nvSpPr>
        <p:spPr/>
        <p:txBody>
          <a:bodyPr/>
          <a:lstStyle/>
          <a:p>
            <a:pPr defTabSz="1040398"/>
            <a:endParaRPr lang="en-US" dirty="0">
              <a:solidFill>
                <a:srgbClr val="0078D7"/>
              </a:solidFill>
            </a:endParaRPr>
          </a:p>
        </p:txBody>
      </p:sp>
    </p:spTree>
    <p:extLst>
      <p:ext uri="{BB962C8B-B14F-4D97-AF65-F5344CB8AC3E}">
        <p14:creationId xmlns:p14="http://schemas.microsoft.com/office/powerpoint/2010/main" val="202679704"/>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pPr defTabSz="1040398"/>
            <a:endParaRPr lang="en-US" dirty="0">
              <a:solidFill>
                <a:srgbClr val="0078D7"/>
              </a:solidFill>
            </a:endParaRPr>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pPr defTabSz="1040398"/>
            <a:fld id="{6A4C1A4A-E5E6-4CC1-B72C-A20A4EB3E2D2}" type="slidenum">
              <a:rPr lang="en-US" smtClean="0">
                <a:solidFill>
                  <a:srgbClr val="0078D7"/>
                </a:solidFill>
              </a:rPr>
              <a:pPr defTabSz="1040398"/>
              <a:t>‹#›</a:t>
            </a:fld>
            <a:endParaRPr lang="en-US" dirty="0">
              <a:solidFill>
                <a:srgbClr val="0078D7"/>
              </a:solidFill>
            </a:endParaRPr>
          </a:p>
        </p:txBody>
      </p:sp>
      <p:sp>
        <p:nvSpPr>
          <p:cNvPr id="6" name="Text Placeholder 5"/>
          <p:cNvSpPr>
            <a:spLocks noGrp="1"/>
          </p:cNvSpPr>
          <p:nvPr>
            <p:ph type="body" sz="quarter" idx="13" hasCustomPrompt="1"/>
          </p:nvPr>
        </p:nvSpPr>
        <p:spPr>
          <a:xfrm>
            <a:off x="853611" y="560280"/>
            <a:ext cx="11582866" cy="380490"/>
          </a:xfrm>
          <a:prstGeom prst="rect">
            <a:avLst/>
          </a:prstGeom>
        </p:spPr>
        <p:txBody>
          <a:bodyPr lIns="320040" tIns="53325" rIns="53325" bIns="53325">
            <a:noAutofit/>
          </a:bodyPr>
          <a:lstStyle>
            <a:lvl1pPr marL="0" indent="0">
              <a:buNone/>
              <a:defRPr sz="2677">
                <a:solidFill>
                  <a:schemeClr val="tx2"/>
                </a:solidFill>
                <a:latin typeface="Segoe UI Light" pitchFamily="34" charset="0"/>
              </a:defRPr>
            </a:lvl1pPr>
            <a:lvl2pPr marL="269324" indent="0">
              <a:buNone/>
              <a:defRPr/>
            </a:lvl2pPr>
            <a:lvl3pPr marL="562675" indent="0">
              <a:buNone/>
              <a:defRPr/>
            </a:lvl3pPr>
            <a:lvl4pPr marL="832000" indent="0">
              <a:buNone/>
              <a:defRPr/>
            </a:lvl4pPr>
            <a:lvl5pPr marL="1057069" indent="0">
              <a:buNone/>
              <a:defRPr/>
            </a:lvl5pPr>
          </a:lstStyle>
          <a:p>
            <a:pPr lvl="0"/>
            <a:r>
              <a:rPr lang="en-US" dirty="0"/>
              <a:t>Click to add subtitle</a:t>
            </a:r>
          </a:p>
        </p:txBody>
      </p:sp>
    </p:spTree>
    <p:extLst>
      <p:ext uri="{BB962C8B-B14F-4D97-AF65-F5344CB8AC3E}">
        <p14:creationId xmlns:p14="http://schemas.microsoft.com/office/powerpoint/2010/main" val="1645379690"/>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pPr defTabSz="1040398"/>
            <a:endParaRPr lang="en-US" dirty="0">
              <a:solidFill>
                <a:srgbClr val="0078D7"/>
              </a:solidFill>
            </a:endParaRPr>
          </a:p>
        </p:txBody>
      </p:sp>
      <p:sp>
        <p:nvSpPr>
          <p:cNvPr id="3" name="Slide Number Placeholder 2"/>
          <p:cNvSpPr>
            <a:spLocks noGrp="1"/>
          </p:cNvSpPr>
          <p:nvPr>
            <p:ph type="sldNum" sz="quarter" idx="16"/>
          </p:nvPr>
        </p:nvSpPr>
        <p:spPr/>
        <p:txBody>
          <a:bodyPr/>
          <a:lstStyle/>
          <a:p>
            <a:pPr defTabSz="1040398"/>
            <a:fld id="{FAADACFB-7C71-4E89-89D2-7BBA40B7BFA9}" type="slidenum">
              <a:rPr lang="en-US" smtClean="0">
                <a:solidFill>
                  <a:srgbClr val="0078D7"/>
                </a:solidFill>
              </a:rPr>
              <a:pPr defTabSz="1040398"/>
              <a:t>‹#›</a:t>
            </a:fld>
            <a:endParaRPr lang="en-US" dirty="0">
              <a:solidFill>
                <a:srgbClr val="0078D7"/>
              </a:solidFill>
            </a:endParaRPr>
          </a:p>
        </p:txBody>
      </p:sp>
    </p:spTree>
    <p:extLst>
      <p:ext uri="{BB962C8B-B14F-4D97-AF65-F5344CB8AC3E}">
        <p14:creationId xmlns:p14="http://schemas.microsoft.com/office/powerpoint/2010/main" val="945063730"/>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3879" y="1476622"/>
            <a:ext cx="5831115" cy="4740734"/>
          </a:xfrm>
        </p:spPr>
        <p:txBody>
          <a:bodyPr>
            <a:normAutofit/>
          </a:bodyPr>
          <a:lstStyle>
            <a:lvl1pPr>
              <a:buClr>
                <a:schemeClr val="tx2"/>
              </a:buClr>
              <a:defRPr sz="1912">
                <a:solidFill>
                  <a:schemeClr val="tx2"/>
                </a:solidFill>
              </a:defRPr>
            </a:lvl1pPr>
            <a:lvl2pPr>
              <a:buClr>
                <a:schemeClr val="tx2"/>
              </a:buClr>
              <a:defRPr sz="1530">
                <a:solidFill>
                  <a:schemeClr val="tx2"/>
                </a:solidFill>
              </a:defRPr>
            </a:lvl2pPr>
            <a:lvl3pPr>
              <a:buClr>
                <a:schemeClr val="tx2"/>
              </a:buClr>
              <a:defRPr sz="1339">
                <a:solidFill>
                  <a:schemeClr val="tx2"/>
                </a:solidFill>
              </a:defRPr>
            </a:lvl3pPr>
            <a:lvl4pPr>
              <a:buClr>
                <a:schemeClr val="tx2"/>
              </a:buClr>
              <a:defRPr sz="1147">
                <a:solidFill>
                  <a:schemeClr val="tx2"/>
                </a:solidFill>
              </a:defRPr>
            </a:lvl4pPr>
            <a:lvl5pPr>
              <a:buClr>
                <a:schemeClr val="tx2"/>
              </a:buClr>
              <a:defRPr sz="1147">
                <a:solidFill>
                  <a:schemeClr val="tx2"/>
                </a:solidFill>
              </a:defRPr>
            </a:lvl5pPr>
            <a:lvl6pPr>
              <a:defRPr sz="2295"/>
            </a:lvl6pPr>
            <a:lvl7pPr>
              <a:defRPr sz="2295"/>
            </a:lvl7pPr>
            <a:lvl8pPr>
              <a:defRPr sz="2295"/>
            </a:lvl8pPr>
            <a:lvl9pPr>
              <a:defRPr sz="2295"/>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18239" y="1487724"/>
            <a:ext cx="5831115" cy="4740734"/>
          </a:xfrm>
        </p:spPr>
        <p:txBody>
          <a:bodyPr>
            <a:normAutofit/>
          </a:bodyPr>
          <a:lstStyle>
            <a:lvl1pPr>
              <a:buClr>
                <a:schemeClr val="tx2"/>
              </a:buClr>
              <a:defRPr sz="1912">
                <a:solidFill>
                  <a:schemeClr val="tx2"/>
                </a:solidFill>
              </a:defRPr>
            </a:lvl1pPr>
            <a:lvl2pPr>
              <a:buClr>
                <a:schemeClr val="tx2"/>
              </a:buClr>
              <a:defRPr sz="1530">
                <a:solidFill>
                  <a:schemeClr val="tx2"/>
                </a:solidFill>
              </a:defRPr>
            </a:lvl2pPr>
            <a:lvl3pPr>
              <a:buClr>
                <a:schemeClr val="tx2"/>
              </a:buClr>
              <a:defRPr sz="1339">
                <a:solidFill>
                  <a:schemeClr val="tx2"/>
                </a:solidFill>
              </a:defRPr>
            </a:lvl3pPr>
            <a:lvl4pPr>
              <a:buClr>
                <a:schemeClr val="tx2"/>
              </a:buClr>
              <a:defRPr sz="1147">
                <a:solidFill>
                  <a:schemeClr val="tx2"/>
                </a:solidFill>
              </a:defRPr>
            </a:lvl4pPr>
            <a:lvl5pPr>
              <a:buClr>
                <a:schemeClr val="tx2"/>
              </a:buClr>
              <a:defRPr sz="1147">
                <a:solidFill>
                  <a:schemeClr val="tx2"/>
                </a:solidFill>
              </a:defRPr>
            </a:lvl5pPr>
            <a:lvl6pPr>
              <a:defRPr sz="2295"/>
            </a:lvl6pPr>
            <a:lvl7pPr>
              <a:defRPr sz="2295"/>
            </a:lvl7pPr>
            <a:lvl8pPr>
              <a:defRPr sz="2295"/>
            </a:lvl8pPr>
            <a:lvl9pPr>
              <a:defRPr sz="22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pPr defTabSz="1040398"/>
            <a:endParaRPr lang="en-US" dirty="0">
              <a:solidFill>
                <a:srgbClr val="0078D7"/>
              </a:solidFill>
            </a:endParaRPr>
          </a:p>
        </p:txBody>
      </p:sp>
      <p:sp>
        <p:nvSpPr>
          <p:cNvPr id="7" name="Slide Number Placeholder 6"/>
          <p:cNvSpPr>
            <a:spLocks noGrp="1"/>
          </p:cNvSpPr>
          <p:nvPr>
            <p:ph type="sldNum" sz="quarter" idx="12"/>
          </p:nvPr>
        </p:nvSpPr>
        <p:spPr/>
        <p:txBody>
          <a:bodyPr/>
          <a:lstStyle/>
          <a:p>
            <a:pPr defTabSz="1040398"/>
            <a:fld id="{5E113079-038D-43AB-AFBE-1C093F2AF2BA}" type="slidenum">
              <a:rPr lang="en-US" smtClean="0">
                <a:solidFill>
                  <a:srgbClr val="0078D7"/>
                </a:solidFill>
              </a:rPr>
              <a:pPr defTabSz="1040398"/>
              <a:t>‹#›</a:t>
            </a:fld>
            <a:endParaRPr lang="en-US" dirty="0">
              <a:solidFill>
                <a:srgbClr val="0078D7"/>
              </a:solidFill>
            </a:endParaRPr>
          </a:p>
        </p:txBody>
      </p:sp>
    </p:spTree>
    <p:extLst>
      <p:ext uri="{BB962C8B-B14F-4D97-AF65-F5344CB8AC3E}">
        <p14:creationId xmlns:p14="http://schemas.microsoft.com/office/powerpoint/2010/main" val="361329535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53877" y="1092895"/>
            <a:ext cx="5807301" cy="1136612"/>
          </a:xfrm>
          <a:solidFill>
            <a:schemeClr val="tx1"/>
          </a:solidFill>
        </p:spPr>
        <p:txBody>
          <a:bodyPr anchor="b">
            <a:normAutofit/>
          </a:bodyPr>
          <a:lstStyle>
            <a:lvl1pPr marL="0" indent="0">
              <a:buNone/>
              <a:defRPr sz="2295" b="1">
                <a:solidFill>
                  <a:schemeClr val="bg1"/>
                </a:solidFill>
                <a:latin typeface="+mj-lt"/>
              </a:defRPr>
            </a:lvl1pPr>
            <a:lvl2pPr marL="582771" indent="0">
              <a:buNone/>
              <a:defRPr sz="2581" b="1"/>
            </a:lvl2pPr>
            <a:lvl3pPr marL="1165542" indent="0">
              <a:buNone/>
              <a:defRPr sz="2295" b="1"/>
            </a:lvl3pPr>
            <a:lvl4pPr marL="1748313" indent="0">
              <a:buNone/>
              <a:defRPr sz="2008" b="1"/>
            </a:lvl4pPr>
            <a:lvl5pPr marL="2331083" indent="0">
              <a:buNone/>
              <a:defRPr sz="2008" b="1"/>
            </a:lvl5pPr>
            <a:lvl6pPr marL="2913854" indent="0">
              <a:buNone/>
              <a:defRPr sz="2008" b="1"/>
            </a:lvl6pPr>
            <a:lvl7pPr marL="3496625" indent="0">
              <a:buNone/>
              <a:defRPr sz="2008" b="1"/>
            </a:lvl7pPr>
            <a:lvl8pPr marL="4079396" indent="0">
              <a:buNone/>
              <a:defRPr sz="2008" b="1"/>
            </a:lvl8pPr>
            <a:lvl9pPr marL="4662167" indent="0">
              <a:buNone/>
              <a:defRPr sz="2008" b="1"/>
            </a:lvl9pPr>
          </a:lstStyle>
          <a:p>
            <a:pPr lvl="0"/>
            <a:r>
              <a:rPr lang="en-US"/>
              <a:t>Click to edit Master text styles</a:t>
            </a:r>
          </a:p>
        </p:txBody>
      </p:sp>
      <p:sp>
        <p:nvSpPr>
          <p:cNvPr id="4" name="Content Placeholder 3"/>
          <p:cNvSpPr>
            <a:spLocks noGrp="1"/>
          </p:cNvSpPr>
          <p:nvPr>
            <p:ph sz="half" idx="2"/>
          </p:nvPr>
        </p:nvSpPr>
        <p:spPr>
          <a:xfrm>
            <a:off x="153877" y="2229506"/>
            <a:ext cx="5807301" cy="4029948"/>
          </a:xfrm>
        </p:spPr>
        <p:txBody>
          <a:bodyPr>
            <a:normAutofit/>
          </a:bodyPr>
          <a:lstStyle>
            <a:lvl1pPr>
              <a:buClr>
                <a:schemeClr val="tx2"/>
              </a:buClr>
              <a:defRPr sz="1722">
                <a:solidFill>
                  <a:schemeClr val="tx2"/>
                </a:solidFill>
              </a:defRPr>
            </a:lvl1pPr>
            <a:lvl2pPr>
              <a:buClr>
                <a:schemeClr val="tx2"/>
              </a:buClr>
              <a:defRPr sz="1530">
                <a:solidFill>
                  <a:schemeClr val="tx2"/>
                </a:solidFill>
              </a:defRPr>
            </a:lvl2pPr>
            <a:lvl3pPr>
              <a:buClr>
                <a:schemeClr val="tx2"/>
              </a:buClr>
              <a:defRPr sz="1339">
                <a:solidFill>
                  <a:schemeClr val="tx2"/>
                </a:solidFill>
              </a:defRPr>
            </a:lvl3pPr>
            <a:lvl4pPr>
              <a:buClr>
                <a:schemeClr val="tx2"/>
              </a:buClr>
              <a:defRPr sz="1339">
                <a:solidFill>
                  <a:schemeClr val="tx2"/>
                </a:solidFill>
              </a:defRPr>
            </a:lvl4pPr>
            <a:lvl5pPr>
              <a:buClr>
                <a:schemeClr val="tx2"/>
              </a:buClr>
              <a:defRPr sz="1339">
                <a:solidFill>
                  <a:schemeClr val="tx2"/>
                </a:solidFill>
              </a:defRPr>
            </a:lvl5pPr>
            <a:lvl6pPr>
              <a:defRPr sz="2008"/>
            </a:lvl6pPr>
            <a:lvl7pPr>
              <a:defRPr sz="2008"/>
            </a:lvl7pPr>
            <a:lvl8pPr>
              <a:defRPr sz="2008"/>
            </a:lvl8pPr>
            <a:lvl9pPr>
              <a:defRPr sz="2008"/>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218240" y="1092895"/>
            <a:ext cx="5809582" cy="1136612"/>
          </a:xfrm>
          <a:solidFill>
            <a:schemeClr val="tx1"/>
          </a:solidFill>
        </p:spPr>
        <p:txBody>
          <a:bodyPr anchor="b">
            <a:normAutofit/>
          </a:bodyPr>
          <a:lstStyle>
            <a:lvl1pPr marL="0" indent="0">
              <a:buNone/>
              <a:defRPr sz="2295" b="1">
                <a:solidFill>
                  <a:schemeClr val="bg1"/>
                </a:solidFill>
                <a:latin typeface="+mj-lt"/>
              </a:defRPr>
            </a:lvl1pPr>
            <a:lvl2pPr marL="582771" indent="0">
              <a:buNone/>
              <a:defRPr sz="2581" b="1"/>
            </a:lvl2pPr>
            <a:lvl3pPr marL="1165542" indent="0">
              <a:buNone/>
              <a:defRPr sz="2295" b="1"/>
            </a:lvl3pPr>
            <a:lvl4pPr marL="1748313" indent="0">
              <a:buNone/>
              <a:defRPr sz="2008" b="1"/>
            </a:lvl4pPr>
            <a:lvl5pPr marL="2331083" indent="0">
              <a:buNone/>
              <a:defRPr sz="2008" b="1"/>
            </a:lvl5pPr>
            <a:lvl6pPr marL="2913854" indent="0">
              <a:buNone/>
              <a:defRPr sz="2008" b="1"/>
            </a:lvl6pPr>
            <a:lvl7pPr marL="3496625" indent="0">
              <a:buNone/>
              <a:defRPr sz="2008" b="1"/>
            </a:lvl7pPr>
            <a:lvl8pPr marL="4079396" indent="0">
              <a:buNone/>
              <a:defRPr sz="2008" b="1"/>
            </a:lvl8pPr>
            <a:lvl9pPr marL="4662167" indent="0">
              <a:buNone/>
              <a:defRPr sz="2008" b="1"/>
            </a:lvl9pPr>
          </a:lstStyle>
          <a:p>
            <a:pPr lvl="0"/>
            <a:r>
              <a:rPr lang="en-US"/>
              <a:t>Click to edit Master text styles</a:t>
            </a:r>
          </a:p>
        </p:txBody>
      </p:sp>
      <p:sp>
        <p:nvSpPr>
          <p:cNvPr id="6" name="Content Placeholder 5"/>
          <p:cNvSpPr>
            <a:spLocks noGrp="1"/>
          </p:cNvSpPr>
          <p:nvPr>
            <p:ph sz="quarter" idx="4"/>
          </p:nvPr>
        </p:nvSpPr>
        <p:spPr>
          <a:xfrm>
            <a:off x="6218240" y="2229506"/>
            <a:ext cx="5809582" cy="4029948"/>
          </a:xfrm>
        </p:spPr>
        <p:txBody>
          <a:bodyPr>
            <a:normAutofit/>
          </a:bodyPr>
          <a:lstStyle>
            <a:lvl1pPr>
              <a:buClr>
                <a:schemeClr val="tx2"/>
              </a:buClr>
              <a:defRPr sz="1722">
                <a:solidFill>
                  <a:schemeClr val="tx2"/>
                </a:solidFill>
              </a:defRPr>
            </a:lvl1pPr>
            <a:lvl2pPr>
              <a:buClr>
                <a:schemeClr val="tx2"/>
              </a:buClr>
              <a:defRPr sz="1530">
                <a:solidFill>
                  <a:schemeClr val="tx2"/>
                </a:solidFill>
              </a:defRPr>
            </a:lvl2pPr>
            <a:lvl3pPr>
              <a:buClr>
                <a:schemeClr val="tx2"/>
              </a:buClr>
              <a:defRPr sz="1339">
                <a:solidFill>
                  <a:schemeClr val="tx2"/>
                </a:solidFill>
              </a:defRPr>
            </a:lvl3pPr>
            <a:lvl4pPr>
              <a:buClr>
                <a:schemeClr val="tx2"/>
              </a:buClr>
              <a:defRPr sz="1339">
                <a:solidFill>
                  <a:schemeClr val="tx2"/>
                </a:solidFill>
              </a:defRPr>
            </a:lvl4pPr>
            <a:lvl5pPr>
              <a:buClr>
                <a:schemeClr val="tx2"/>
              </a:buClr>
              <a:defRPr sz="1339">
                <a:solidFill>
                  <a:schemeClr val="tx2"/>
                </a:solidFill>
              </a:defRPr>
            </a:lvl5pPr>
            <a:lvl6pPr>
              <a:defRPr sz="2008"/>
            </a:lvl6pPr>
            <a:lvl7pPr>
              <a:defRPr sz="2008"/>
            </a:lvl7pPr>
            <a:lvl8pPr>
              <a:defRPr sz="2008"/>
            </a:lvl8pPr>
            <a:lvl9pPr>
              <a:defRPr sz="200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pPr defTabSz="1040398"/>
            <a:endParaRPr lang="en-US" dirty="0">
              <a:solidFill>
                <a:srgbClr val="0078D7"/>
              </a:solidFill>
            </a:endParaRPr>
          </a:p>
        </p:txBody>
      </p:sp>
      <p:sp>
        <p:nvSpPr>
          <p:cNvPr id="9" name="Slide Number Placeholder 8"/>
          <p:cNvSpPr>
            <a:spLocks noGrp="1"/>
          </p:cNvSpPr>
          <p:nvPr>
            <p:ph type="sldNum" sz="quarter" idx="12"/>
          </p:nvPr>
        </p:nvSpPr>
        <p:spPr/>
        <p:txBody>
          <a:bodyPr/>
          <a:lstStyle/>
          <a:p>
            <a:pPr defTabSz="1040398"/>
            <a:fld id="{5E113079-038D-43AB-AFBE-1C093F2AF2BA}" type="slidenum">
              <a:rPr lang="en-US" smtClean="0">
                <a:solidFill>
                  <a:srgbClr val="0078D7"/>
                </a:solidFill>
              </a:rPr>
              <a:pPr defTabSz="1040398"/>
              <a:t>‹#›</a:t>
            </a:fld>
            <a:endParaRPr lang="en-US" dirty="0">
              <a:solidFill>
                <a:srgbClr val="0078D7"/>
              </a:solidFill>
            </a:endParaRPr>
          </a:p>
        </p:txBody>
      </p:sp>
    </p:spTree>
    <p:extLst>
      <p:ext uri="{BB962C8B-B14F-4D97-AF65-F5344CB8AC3E}">
        <p14:creationId xmlns:p14="http://schemas.microsoft.com/office/powerpoint/2010/main" val="269228253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401" tIns="137120" rIns="171401" bIns="137120" numCol="1" spcCol="0" rtlCol="0" fromWordArt="0" anchor="t" anchorCtr="0" forceAA="0" compatLnSpc="1">
            <a:prstTxWarp prst="textNoShape">
              <a:avLst/>
            </a:prstTxWarp>
            <a:noAutofit/>
          </a:bodyPr>
          <a:lstStyle/>
          <a:p>
            <a:pPr marL="0" marR="0" lvl="0" indent="0" algn="ctr" defTabSz="873935" rtl="0" eaLnBrk="1" fontAlgn="base" latinLnBrk="0" hangingPunct="1">
              <a:lnSpc>
                <a:spcPct val="90000"/>
              </a:lnSpc>
              <a:spcBef>
                <a:spcPct val="0"/>
              </a:spcBef>
              <a:spcAft>
                <a:spcPct val="0"/>
              </a:spcAft>
              <a:buClrTx/>
              <a:buSzTx/>
              <a:buFontTx/>
              <a:buNone/>
              <a:tabLst/>
              <a:defRPr/>
            </a:pPr>
            <a:endParaRPr kumimoji="0" lang="en-US" sz="22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153877" y="1165753"/>
            <a:ext cx="10262764" cy="40751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401" tIns="137120" rIns="171401" bIns="137120" numCol="1" spcCol="0" rtlCol="0" fromWordArt="0" anchor="t" anchorCtr="0" forceAA="0" compatLnSpc="1">
            <a:prstTxWarp prst="textNoShape">
              <a:avLst/>
            </a:prstTxWarp>
            <a:noAutofit/>
          </a:bodyPr>
          <a:lstStyle/>
          <a:p>
            <a:pPr marL="0" marR="0" lvl="0" indent="0" algn="ctr" defTabSz="873935" rtl="0" eaLnBrk="1" fontAlgn="base" latinLnBrk="0" hangingPunct="1">
              <a:lnSpc>
                <a:spcPct val="90000"/>
              </a:lnSpc>
              <a:spcBef>
                <a:spcPct val="0"/>
              </a:spcBef>
              <a:spcAft>
                <a:spcPct val="0"/>
              </a:spcAft>
              <a:buClrTx/>
              <a:buSzTx/>
              <a:buFontTx/>
              <a:buNone/>
              <a:tabLst/>
              <a:defRPr/>
            </a:pPr>
            <a:endParaRPr kumimoji="0" lang="en-US" sz="22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153880" y="1165755"/>
            <a:ext cx="10262763" cy="1502301"/>
          </a:xfrm>
          <a:noFill/>
        </p:spPr>
        <p:txBody>
          <a:bodyPr lIns="137160" tIns="137160" rIns="137160" bIns="137160" anchor="t" anchorCtr="0"/>
          <a:lstStyle>
            <a:lvl1pPr>
              <a:defRPr sz="6788" spc="-94"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8" y="3954464"/>
            <a:ext cx="10262765" cy="1874307"/>
          </a:xfrm>
          <a:noFill/>
        </p:spPr>
        <p:txBody>
          <a:bodyPr lIns="137160" tIns="137160" rIns="137160" bIns="137160">
            <a:noAutofit/>
          </a:bodyPr>
          <a:lstStyle>
            <a:lvl1pPr marL="0" indent="0">
              <a:spcBef>
                <a:spcPts val="0"/>
              </a:spcBef>
              <a:buNone/>
              <a:defRPr sz="2677" spc="0" baseline="0">
                <a:solidFill>
                  <a:schemeClr val="tx2"/>
                </a:solidFill>
                <a:latin typeface="+mn-lt"/>
              </a:defRPr>
            </a:lvl1pPr>
          </a:lstStyle>
          <a:p>
            <a:pPr lvl="0"/>
            <a:r>
              <a:rPr lang="en-US" dirty="0"/>
              <a:t>Speaker Name</a:t>
            </a:r>
          </a:p>
        </p:txBody>
      </p:sp>
    </p:spTree>
    <p:extLst>
      <p:ext uri="{BB962C8B-B14F-4D97-AF65-F5344CB8AC3E}">
        <p14:creationId xmlns:p14="http://schemas.microsoft.com/office/powerpoint/2010/main" val="1608834044"/>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80"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401" tIns="137120" rIns="171401" bIns="137120" numCol="1" spcCol="0" rtlCol="0" fromWordArt="0" anchor="t" anchorCtr="0" forceAA="0" compatLnSpc="1">
            <a:prstTxWarp prst="textNoShape">
              <a:avLst/>
            </a:prstTxWarp>
            <a:noAutofit/>
          </a:bodyPr>
          <a:lstStyle/>
          <a:p>
            <a:pPr marL="0" marR="0" lvl="0" indent="0" algn="ctr" defTabSz="873935" rtl="0" eaLnBrk="1" fontAlgn="base" latinLnBrk="0" hangingPunct="1">
              <a:lnSpc>
                <a:spcPct val="90000"/>
              </a:lnSpc>
              <a:spcBef>
                <a:spcPct val="0"/>
              </a:spcBef>
              <a:spcAft>
                <a:spcPct val="0"/>
              </a:spcAft>
              <a:buClrTx/>
              <a:buSzTx/>
              <a:buFontTx/>
              <a:buNone/>
              <a:tabLst/>
              <a:defRPr/>
            </a:pPr>
            <a:endParaRPr kumimoji="0" lang="en-US" sz="22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153880"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401" tIns="137120" rIns="171401" bIns="137120" numCol="1" spcCol="0" rtlCol="0" fromWordArt="0" anchor="t" anchorCtr="0" forceAA="0" compatLnSpc="1">
            <a:prstTxWarp prst="textNoShape">
              <a:avLst/>
            </a:prstTxWarp>
            <a:noAutofit/>
          </a:bodyPr>
          <a:lstStyle/>
          <a:p>
            <a:pPr marL="0" marR="0" lvl="0" indent="0" algn="ctr" defTabSz="873935" rtl="0" eaLnBrk="1" fontAlgn="base" latinLnBrk="0" hangingPunct="1">
              <a:lnSpc>
                <a:spcPct val="90000"/>
              </a:lnSpc>
              <a:spcBef>
                <a:spcPct val="0"/>
              </a:spcBef>
              <a:spcAft>
                <a:spcPct val="0"/>
              </a:spcAft>
              <a:buClrTx/>
              <a:buSzTx/>
              <a:buFontTx/>
              <a:buNone/>
              <a:tabLst/>
              <a:defRPr/>
            </a:pPr>
            <a:endParaRPr kumimoji="0" lang="en-US" sz="22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153880" y="1165755"/>
            <a:ext cx="10262763" cy="2788709"/>
          </a:xfrm>
          <a:noFill/>
        </p:spPr>
        <p:txBody>
          <a:bodyPr lIns="137160" tIns="137160" rIns="137160" bIns="137160" anchor="t" anchorCtr="0"/>
          <a:lstStyle>
            <a:lvl1pPr>
              <a:defRPr sz="6788" spc="-94"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677" spc="0" baseline="0">
                <a:solidFill>
                  <a:schemeClr val="tx2"/>
                </a:solidFill>
                <a:latin typeface="+mn-lt"/>
              </a:defRPr>
            </a:lvl1pPr>
          </a:lstStyle>
          <a:p>
            <a:pPr lvl="0"/>
            <a:r>
              <a:rPr lang="en-US" dirty="0"/>
              <a:t>Speaker Name</a:t>
            </a:r>
          </a:p>
        </p:txBody>
      </p:sp>
    </p:spTree>
    <p:extLst>
      <p:ext uri="{BB962C8B-B14F-4D97-AF65-F5344CB8AC3E}">
        <p14:creationId xmlns:p14="http://schemas.microsoft.com/office/powerpoint/2010/main" val="3049263931"/>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60"/>
            <a:ext cx="12128721" cy="1859279"/>
          </a:xfrm>
          <a:noFill/>
        </p:spPr>
        <p:txBody>
          <a:bodyPr lIns="137160" tIns="137160" rIns="137160" bIns="137160" anchor="t" anchorCtr="0"/>
          <a:lstStyle>
            <a:lvl1pPr>
              <a:defRPr sz="8223" spc="-94"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231625" y="3963564"/>
            <a:ext cx="6530850" cy="2642376"/>
          </a:xfrm>
          <a:prstGeom prst="rect">
            <a:avLst/>
          </a:prstGeom>
        </p:spPr>
        <p:txBody>
          <a:bodyPr lIns="137160" tIns="137160" rIns="137160" bIns="137160">
            <a:noAutofit/>
          </a:bodyPr>
          <a:lstStyle>
            <a:lvl1pPr marL="0" indent="0">
              <a:lnSpc>
                <a:spcPct val="80000"/>
              </a:lnSpc>
              <a:buNone/>
              <a:defRPr lang="en-US" sz="1912" kern="1200" dirty="0">
                <a:solidFill>
                  <a:srgbClr val="FFFFFF"/>
                </a:solidFill>
                <a:latin typeface="Segoe UI" pitchFamily="34" charset="0"/>
                <a:ea typeface="Segoe UI" pitchFamily="34" charset="0"/>
                <a:cs typeface="Segoe UI" pitchFamily="34" charset="0"/>
              </a:defRPr>
            </a:lvl1pPr>
          </a:lstStyle>
          <a:p>
            <a:pPr marL="0" lvl="0" indent="0" algn="l" defTabSz="104039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0412774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Section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60"/>
            <a:ext cx="12128721" cy="1859279"/>
          </a:xfrm>
          <a:noFill/>
        </p:spPr>
        <p:txBody>
          <a:bodyPr lIns="137160" tIns="137160" rIns="137160" bIns="137160" anchor="t" anchorCtr="0"/>
          <a:lstStyle>
            <a:lvl1pPr>
              <a:defRPr sz="8223" spc="-94"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231625" y="3963564"/>
            <a:ext cx="6530850" cy="2642376"/>
          </a:xfrm>
          <a:prstGeom prst="rect">
            <a:avLst/>
          </a:prstGeom>
        </p:spPr>
        <p:txBody>
          <a:bodyPr lIns="137160" tIns="137160" rIns="137160" bIns="137160">
            <a:noAutofit/>
          </a:bodyPr>
          <a:lstStyle>
            <a:lvl1pPr marL="182079" indent="-182079">
              <a:lnSpc>
                <a:spcPct val="80000"/>
              </a:lnSpc>
              <a:buNone/>
              <a:defRPr lang="en-US" sz="1912" kern="1200" dirty="0">
                <a:solidFill>
                  <a:srgbClr val="FFFFFF"/>
                </a:solidFill>
                <a:latin typeface="Segoe UI" pitchFamily="34" charset="0"/>
                <a:ea typeface="Segoe UI" pitchFamily="34" charset="0"/>
                <a:cs typeface="Segoe UI" pitchFamily="34" charset="0"/>
              </a:defRPr>
            </a:lvl1pPr>
          </a:lstStyle>
          <a:p>
            <a:pPr marL="0" lvl="0" indent="0" algn="l" defTabSz="104039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108060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Section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60"/>
            <a:ext cx="12128721" cy="1859279"/>
          </a:xfrm>
          <a:noFill/>
        </p:spPr>
        <p:txBody>
          <a:bodyPr lIns="137160" tIns="137160" rIns="137160" bIns="137160" anchor="t" anchorCtr="0"/>
          <a:lstStyle>
            <a:lvl1pPr>
              <a:defRPr sz="8223" spc="-94"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231625" y="3963564"/>
            <a:ext cx="6530850" cy="2642376"/>
          </a:xfrm>
          <a:prstGeom prst="rect">
            <a:avLst/>
          </a:prstGeom>
        </p:spPr>
        <p:txBody>
          <a:bodyPr lIns="137160" tIns="137160" rIns="137160" bIns="137160">
            <a:noAutofit/>
          </a:bodyPr>
          <a:lstStyle>
            <a:lvl1pPr marL="182079" indent="-182079">
              <a:lnSpc>
                <a:spcPct val="80000"/>
              </a:lnSpc>
              <a:buNone/>
              <a:defRPr lang="en-US" sz="1912" kern="1200" dirty="0">
                <a:solidFill>
                  <a:schemeClr val="tx1"/>
                </a:solidFill>
                <a:latin typeface="Segoe UI" pitchFamily="34" charset="0"/>
                <a:ea typeface="Segoe UI" pitchFamily="34" charset="0"/>
                <a:cs typeface="Segoe UI" pitchFamily="34" charset="0"/>
              </a:defRPr>
            </a:lvl1pPr>
          </a:lstStyle>
          <a:p>
            <a:pPr marL="0" lvl="0" indent="0" algn="l" defTabSz="104039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0254169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Section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60"/>
            <a:ext cx="12128721" cy="1859279"/>
          </a:xfrm>
          <a:noFill/>
        </p:spPr>
        <p:txBody>
          <a:bodyPr lIns="137160" tIns="137160" rIns="137160" bIns="137160" anchor="t" anchorCtr="0"/>
          <a:lstStyle>
            <a:lvl1pPr>
              <a:defRPr sz="8223" spc="-94"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231625" y="3963564"/>
            <a:ext cx="6530850" cy="2642376"/>
          </a:xfrm>
          <a:prstGeom prst="rect">
            <a:avLst/>
          </a:prstGeom>
        </p:spPr>
        <p:txBody>
          <a:bodyPr lIns="137160" tIns="137160" rIns="137160" bIns="137160">
            <a:noAutofit/>
          </a:bodyPr>
          <a:lstStyle>
            <a:lvl1pPr marL="182079" indent="-182079">
              <a:lnSpc>
                <a:spcPct val="80000"/>
              </a:lnSpc>
              <a:buNone/>
              <a:defRPr lang="en-US" sz="1912" kern="1200" dirty="0">
                <a:solidFill>
                  <a:schemeClr val="tx1"/>
                </a:solidFill>
                <a:latin typeface="Segoe UI" pitchFamily="34" charset="0"/>
                <a:ea typeface="Segoe UI" pitchFamily="34" charset="0"/>
                <a:cs typeface="Segoe UI" pitchFamily="34" charset="0"/>
              </a:defRPr>
            </a:lvl1pPr>
          </a:lstStyle>
          <a:p>
            <a:pPr marL="0" lvl="0" indent="0" algn="l" defTabSz="104039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969273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Section 5">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60"/>
            <a:ext cx="12128721" cy="1859279"/>
          </a:xfrm>
          <a:noFill/>
        </p:spPr>
        <p:txBody>
          <a:bodyPr lIns="137160" tIns="137160" rIns="137160" bIns="137160" anchor="t" anchorCtr="0"/>
          <a:lstStyle>
            <a:lvl1pPr>
              <a:defRPr sz="8223" spc="-94"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231625" y="3963564"/>
            <a:ext cx="6530850" cy="2642376"/>
          </a:xfrm>
          <a:prstGeom prst="rect">
            <a:avLst/>
          </a:prstGeom>
        </p:spPr>
        <p:txBody>
          <a:bodyPr lIns="137160" tIns="137160" rIns="137160" bIns="137160">
            <a:noAutofit/>
          </a:bodyPr>
          <a:lstStyle>
            <a:lvl1pPr marL="182079" indent="-182079">
              <a:lnSpc>
                <a:spcPct val="80000"/>
              </a:lnSpc>
              <a:buNone/>
              <a:defRPr lang="en-US" sz="1912" kern="1200" dirty="0">
                <a:solidFill>
                  <a:schemeClr val="tx1"/>
                </a:solidFill>
                <a:latin typeface="Segoe UI" pitchFamily="34" charset="0"/>
                <a:ea typeface="Segoe UI" pitchFamily="34" charset="0"/>
                <a:cs typeface="Segoe UI" pitchFamily="34" charset="0"/>
              </a:defRPr>
            </a:lvl1pPr>
          </a:lstStyle>
          <a:p>
            <a:pPr marL="0" lvl="0" indent="0" algn="l" defTabSz="104039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746503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2"/>
                </a:solidFill>
                <a:latin typeface="Courier New" pitchFamily="49" charset="0"/>
                <a:cs typeface="Courier New" pitchFamily="49" charset="0"/>
              </a:defRPr>
            </a:lvl1pPr>
            <a:lvl2pPr marL="269324" indent="0">
              <a:buNone/>
              <a:defRPr>
                <a:solidFill>
                  <a:schemeClr val="tx2"/>
                </a:solidFill>
                <a:latin typeface="Courier New" pitchFamily="49" charset="0"/>
                <a:cs typeface="Courier New" pitchFamily="49" charset="0"/>
              </a:defRPr>
            </a:lvl2pPr>
            <a:lvl3pPr marL="562675" indent="0">
              <a:buNone/>
              <a:defRPr>
                <a:solidFill>
                  <a:schemeClr val="tx2"/>
                </a:solidFill>
                <a:latin typeface="Courier New" pitchFamily="49" charset="0"/>
                <a:cs typeface="Courier New" pitchFamily="49" charset="0"/>
              </a:defRPr>
            </a:lvl3pPr>
            <a:lvl4pPr marL="832000" indent="0">
              <a:buNone/>
              <a:defRPr>
                <a:solidFill>
                  <a:schemeClr val="tx2"/>
                </a:solidFill>
                <a:latin typeface="Courier New" pitchFamily="49" charset="0"/>
                <a:cs typeface="Courier New" pitchFamily="49" charset="0"/>
              </a:defRPr>
            </a:lvl4pPr>
            <a:lvl5pPr marL="1057069" indent="0">
              <a:buNone/>
              <a:defRPr>
                <a:solidFill>
                  <a:schemeClr val="tx2"/>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853611" y="585024"/>
            <a:ext cx="11582866" cy="380490"/>
          </a:xfrm>
          <a:prstGeom prst="rect">
            <a:avLst/>
          </a:prstGeom>
        </p:spPr>
        <p:txBody>
          <a:bodyPr lIns="320040" tIns="53325" rIns="53325" bIns="53325">
            <a:noAutofit/>
          </a:bodyPr>
          <a:lstStyle>
            <a:lvl1pPr marL="0" indent="0">
              <a:buNone/>
              <a:defRPr sz="2677">
                <a:solidFill>
                  <a:schemeClr val="tx2"/>
                </a:solidFill>
                <a:latin typeface="Segoe UI Light" pitchFamily="34" charset="0"/>
              </a:defRPr>
            </a:lvl1pPr>
            <a:lvl2pPr marL="269324" indent="0">
              <a:buNone/>
              <a:defRPr/>
            </a:lvl2pPr>
            <a:lvl3pPr marL="562675" indent="0">
              <a:buNone/>
              <a:defRPr/>
            </a:lvl3pPr>
            <a:lvl4pPr marL="832000" indent="0">
              <a:buNone/>
              <a:defRPr/>
            </a:lvl4pPr>
            <a:lvl5pPr marL="1057069"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pPr defTabSz="1040398"/>
            <a:endParaRPr lang="en-US" dirty="0">
              <a:solidFill>
                <a:srgbClr val="0078D7"/>
              </a:solidFill>
            </a:endParaRPr>
          </a:p>
        </p:txBody>
      </p:sp>
      <p:sp>
        <p:nvSpPr>
          <p:cNvPr id="10" name="Slide Number Placeholder 9"/>
          <p:cNvSpPr>
            <a:spLocks noGrp="1"/>
          </p:cNvSpPr>
          <p:nvPr>
            <p:ph type="sldNum" sz="quarter" idx="17"/>
          </p:nvPr>
        </p:nvSpPr>
        <p:spPr/>
        <p:txBody>
          <a:bodyPr/>
          <a:lstStyle/>
          <a:p>
            <a:pPr defTabSz="1040398"/>
            <a:fld id="{FAADACFB-7C71-4E89-89D2-7BBA40B7BFA9}" type="slidenum">
              <a:rPr lang="en-US" smtClean="0">
                <a:solidFill>
                  <a:srgbClr val="0078D7"/>
                </a:solidFill>
              </a:rPr>
              <a:pPr defTabSz="1040398"/>
              <a:t>‹#›</a:t>
            </a:fld>
            <a:endParaRPr lang="en-US" dirty="0">
              <a:solidFill>
                <a:srgbClr val="0078D7"/>
              </a:solidFill>
            </a:endParaRPr>
          </a:p>
        </p:txBody>
      </p:sp>
    </p:spTree>
    <p:extLst>
      <p:ext uri="{BB962C8B-B14F-4D97-AF65-F5344CB8AC3E}">
        <p14:creationId xmlns:p14="http://schemas.microsoft.com/office/powerpoint/2010/main" val="3084219754"/>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 y="2"/>
            <a:ext cx="12436475" cy="658903"/>
          </a:xfrm>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4663017"/>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538" spc="-57"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052782587"/>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2"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840" tIns="36419" rIns="72840" bIns="36419" rtlCol="0" anchor="ctr"/>
          <a:lstStyle/>
          <a:p>
            <a:pPr marL="0" marR="0" lvl="0" indent="0" algn="ctr" defTabSz="1040398" rtl="0" eaLnBrk="1" fontAlgn="auto" latinLnBrk="0" hangingPunct="1">
              <a:lnSpc>
                <a:spcPct val="100000"/>
              </a:lnSpc>
              <a:spcBef>
                <a:spcPts val="0"/>
              </a:spcBef>
              <a:spcAft>
                <a:spcPts val="0"/>
              </a:spcAft>
              <a:buClrTx/>
              <a:buSzTx/>
              <a:buFontTx/>
              <a:buNone/>
              <a:tabLst/>
              <a:defRPr/>
            </a:pPr>
            <a:endParaRPr kumimoji="0" lang="en-US" sz="2104" b="0" i="0" u="none" strike="noStrike" kern="1200" cap="none" spc="0" normalizeH="0" baseline="0" noProof="0" dirty="0">
              <a:ln>
                <a:noFill/>
              </a:ln>
              <a:solidFill>
                <a:prstClr val="white"/>
              </a:solidFill>
              <a:effectLst/>
              <a:uLnTx/>
              <a:uFillTx/>
              <a:latin typeface="Segoe UI"/>
              <a:ea typeface="+mn-ea"/>
              <a:cs typeface="+mn-cs"/>
            </a:endParaRPr>
          </a:p>
        </p:txBody>
      </p:sp>
      <p:sp>
        <p:nvSpPr>
          <p:cNvPr id="4" name="Rectangle 3"/>
          <p:cNvSpPr/>
          <p:nvPr/>
        </p:nvSpPr>
        <p:spPr>
          <a:xfrm>
            <a:off x="2"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840" tIns="36419" rIns="72840" bIns="36419" rtlCol="0" anchor="ctr"/>
          <a:lstStyle/>
          <a:p>
            <a:pPr marL="0" marR="0" lvl="0" indent="0" algn="ctr" defTabSz="1040398" rtl="0" eaLnBrk="1" fontAlgn="auto" latinLnBrk="0" hangingPunct="1">
              <a:lnSpc>
                <a:spcPct val="100000"/>
              </a:lnSpc>
              <a:spcBef>
                <a:spcPts val="0"/>
              </a:spcBef>
              <a:spcAft>
                <a:spcPts val="0"/>
              </a:spcAft>
              <a:buClrTx/>
              <a:buSzTx/>
              <a:buFontTx/>
              <a:buNone/>
              <a:tabLst/>
              <a:defRPr/>
            </a:pPr>
            <a:endParaRPr kumimoji="0" lang="en-US" sz="2104" b="0" i="0" u="none" strike="noStrike" kern="1200" cap="none" spc="0" normalizeH="0" baseline="0" noProof="0" dirty="0">
              <a:ln>
                <a:noFill/>
              </a:ln>
              <a:solidFill>
                <a:prstClr val="white"/>
              </a:solidFill>
              <a:effectLst/>
              <a:uLnTx/>
              <a:uFillTx/>
              <a:latin typeface="Segoe UI"/>
              <a:ea typeface="+mn-ea"/>
              <a:cs typeface="+mn-cs"/>
            </a:endParaRPr>
          </a:p>
        </p:txBody>
      </p:sp>
      <p:sp>
        <p:nvSpPr>
          <p:cNvPr id="8" name="Rectangle 7"/>
          <p:cNvSpPr/>
          <p:nvPr/>
        </p:nvSpPr>
        <p:spPr>
          <a:xfrm>
            <a:off x="2"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840" tIns="36419" rIns="72840" bIns="36419" rtlCol="0" anchor="ctr"/>
          <a:lstStyle/>
          <a:p>
            <a:pPr marL="0" marR="0" lvl="0" indent="0" algn="ctr" defTabSz="1040398" rtl="0" eaLnBrk="1" fontAlgn="auto" latinLnBrk="0" hangingPunct="1">
              <a:lnSpc>
                <a:spcPct val="100000"/>
              </a:lnSpc>
              <a:spcBef>
                <a:spcPts val="0"/>
              </a:spcBef>
              <a:spcAft>
                <a:spcPts val="0"/>
              </a:spcAft>
              <a:buClrTx/>
              <a:buSzTx/>
              <a:buFontTx/>
              <a:buNone/>
              <a:tabLst/>
              <a:defRPr/>
            </a:pPr>
            <a:endParaRPr kumimoji="0" lang="en-US" sz="2104"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5"/>
            <a:ext cx="2938889" cy="1080617"/>
          </a:xfrm>
          <a:prstGeom prst="rect">
            <a:avLst/>
          </a:prstGeom>
        </p:spPr>
      </p:pic>
      <p:sp>
        <p:nvSpPr>
          <p:cNvPr id="6" name="Rectangle 5"/>
          <p:cNvSpPr/>
          <p:nvPr/>
        </p:nvSpPr>
        <p:spPr>
          <a:xfrm>
            <a:off x="2"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840" tIns="36419" rIns="72840" bIns="36419" rtlCol="0" anchor="ctr"/>
          <a:lstStyle/>
          <a:p>
            <a:pPr marL="0" marR="0" lvl="0" indent="0" algn="ctr" defTabSz="1040398" rtl="0" eaLnBrk="1" fontAlgn="auto" latinLnBrk="0" hangingPunct="1">
              <a:lnSpc>
                <a:spcPct val="100000"/>
              </a:lnSpc>
              <a:spcBef>
                <a:spcPts val="0"/>
              </a:spcBef>
              <a:spcAft>
                <a:spcPts val="0"/>
              </a:spcAft>
              <a:buClrTx/>
              <a:buSzTx/>
              <a:buFontTx/>
              <a:buNone/>
              <a:tabLst/>
              <a:defRPr/>
            </a:pPr>
            <a:endParaRPr kumimoji="0" lang="en-US" sz="2104" b="0" i="0" u="none" strike="noStrike" kern="1200" cap="none" spc="0" normalizeH="0" baseline="0" noProof="0" dirty="0">
              <a:ln>
                <a:noFill/>
              </a:ln>
              <a:solidFill>
                <a:prstClr val="white"/>
              </a:solidFill>
              <a:effectLst/>
              <a:uLnTx/>
              <a:uFillTx/>
              <a:latin typeface="Segoe UI"/>
              <a:ea typeface="+mn-ea"/>
              <a:cs typeface="+mn-cs"/>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5"/>
            <a:ext cx="2938889" cy="1080617"/>
          </a:xfrm>
          <a:prstGeom prst="rect">
            <a:avLst/>
          </a:prstGeom>
        </p:spPr>
      </p:pic>
      <p:sp>
        <p:nvSpPr>
          <p:cNvPr id="9" name="Rectangle 8"/>
          <p:cNvSpPr/>
          <p:nvPr userDrawn="1"/>
        </p:nvSpPr>
        <p:spPr>
          <a:xfrm>
            <a:off x="2"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840" tIns="36419" rIns="72840" bIns="36419" rtlCol="0" anchor="ctr"/>
          <a:lstStyle/>
          <a:p>
            <a:pPr marL="0" marR="0" lvl="0" indent="0" algn="ctr" defTabSz="1040398" rtl="0" eaLnBrk="1" fontAlgn="auto" latinLnBrk="0" hangingPunct="1">
              <a:lnSpc>
                <a:spcPct val="100000"/>
              </a:lnSpc>
              <a:spcBef>
                <a:spcPts val="0"/>
              </a:spcBef>
              <a:spcAft>
                <a:spcPts val="0"/>
              </a:spcAft>
              <a:buClrTx/>
              <a:buSzTx/>
              <a:buFontTx/>
              <a:buNone/>
              <a:tabLst/>
              <a:defRPr/>
            </a:pPr>
            <a:endParaRPr kumimoji="0" lang="en-US" sz="2104"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5180" y="2956955"/>
            <a:ext cx="2945125" cy="1011069"/>
          </a:xfrm>
          <a:prstGeom prst="rect">
            <a:avLst/>
          </a:prstGeom>
          <a:noFill/>
          <a:ln>
            <a:noFill/>
          </a:ln>
        </p:spPr>
      </p:pic>
    </p:spTree>
    <p:extLst>
      <p:ext uri="{BB962C8B-B14F-4D97-AF65-F5344CB8AC3E}">
        <p14:creationId xmlns:p14="http://schemas.microsoft.com/office/powerpoint/2010/main" val="161256213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type="title">
  <p:cSld name="red">
    <p:bg>
      <p:bgPr>
        <a:blipFill>
          <a:blip r:embed="rId2" cstate="email">
            <a:alphaModFix/>
            <a:extLst>
              <a:ext uri="{28A0092B-C50C-407E-A947-70E740481C1C}">
                <a14:useLocalDpi xmlns:a14="http://schemas.microsoft.com/office/drawing/2010/main"/>
              </a:ext>
            </a:extLst>
          </a:blip>
          <a:stretch>
            <a:fillRect/>
          </a:stretch>
        </a:blipFill>
        <a:effectLst/>
      </p:bgPr>
    </p:bg>
    <p:spTree>
      <p:nvGrpSpPr>
        <p:cNvPr id="1" name="Shape 32"/>
        <p:cNvGrpSpPr/>
        <p:nvPr/>
      </p:nvGrpSpPr>
      <p:grpSpPr>
        <a:xfrm>
          <a:off x="0" y="0"/>
          <a:ext cx="0" cy="0"/>
          <a:chOff x="0" y="0"/>
          <a:chExt cx="0" cy="0"/>
        </a:xfrm>
      </p:grpSpPr>
      <p:sp>
        <p:nvSpPr>
          <p:cNvPr id="33" name="Shape 33"/>
          <p:cNvSpPr txBox="1">
            <a:spLocks noGrp="1"/>
          </p:cNvSpPr>
          <p:nvPr>
            <p:ph type="title"/>
          </p:nvPr>
        </p:nvSpPr>
        <p:spPr>
          <a:xfrm>
            <a:off x="2477809" y="2953245"/>
            <a:ext cx="8083707" cy="932602"/>
          </a:xfrm>
          <a:prstGeom prst="rect">
            <a:avLst/>
          </a:prstGeom>
          <a:noFill/>
          <a:ln>
            <a:noFill/>
          </a:ln>
        </p:spPr>
        <p:txBody>
          <a:bodyPr lIns="91425" tIns="91425" rIns="91425" bIns="91425" anchor="b" anchorCtr="0"/>
          <a:lstStyle>
            <a:lvl1pPr lvl="0" rtl="0">
              <a:spcBef>
                <a:spcPts val="0"/>
              </a:spcBef>
              <a:buNone/>
              <a:defRPr sz="3264" b="1">
                <a:solidFill>
                  <a:schemeClr val="lt1"/>
                </a:solidFill>
                <a:latin typeface="Proxima Nova"/>
                <a:ea typeface="Proxima Nova"/>
                <a:cs typeface="Proxima Nova"/>
                <a:sym typeface="Proxima Nova"/>
              </a:defRPr>
            </a:lvl1pPr>
            <a:lvl2pPr lvl="1" rtl="0">
              <a:spcBef>
                <a:spcPts val="0"/>
              </a:spcBef>
              <a:buNone/>
              <a:defRPr sz="3264" b="1">
                <a:solidFill>
                  <a:schemeClr val="lt1"/>
                </a:solidFill>
                <a:latin typeface="Proxima Nova"/>
                <a:ea typeface="Proxima Nova"/>
                <a:cs typeface="Proxima Nova"/>
                <a:sym typeface="Proxima Nova"/>
              </a:defRPr>
            </a:lvl2pPr>
            <a:lvl3pPr lvl="2" rtl="0">
              <a:spcBef>
                <a:spcPts val="0"/>
              </a:spcBef>
              <a:buNone/>
              <a:defRPr sz="3264" b="1">
                <a:solidFill>
                  <a:schemeClr val="lt1"/>
                </a:solidFill>
                <a:latin typeface="Proxima Nova"/>
                <a:ea typeface="Proxima Nova"/>
                <a:cs typeface="Proxima Nova"/>
                <a:sym typeface="Proxima Nova"/>
              </a:defRPr>
            </a:lvl3pPr>
            <a:lvl4pPr lvl="3" rtl="0">
              <a:spcBef>
                <a:spcPts val="0"/>
              </a:spcBef>
              <a:buNone/>
              <a:defRPr sz="3264" b="1">
                <a:solidFill>
                  <a:schemeClr val="lt1"/>
                </a:solidFill>
                <a:latin typeface="Proxima Nova"/>
                <a:ea typeface="Proxima Nova"/>
                <a:cs typeface="Proxima Nova"/>
                <a:sym typeface="Proxima Nova"/>
              </a:defRPr>
            </a:lvl4pPr>
            <a:lvl5pPr lvl="4" rtl="0">
              <a:spcBef>
                <a:spcPts val="0"/>
              </a:spcBef>
              <a:buNone/>
              <a:defRPr sz="3264" b="1">
                <a:solidFill>
                  <a:schemeClr val="lt1"/>
                </a:solidFill>
                <a:latin typeface="Proxima Nova"/>
                <a:ea typeface="Proxima Nova"/>
                <a:cs typeface="Proxima Nova"/>
                <a:sym typeface="Proxima Nova"/>
              </a:defRPr>
            </a:lvl5pPr>
            <a:lvl6pPr lvl="5" rtl="0">
              <a:spcBef>
                <a:spcPts val="0"/>
              </a:spcBef>
              <a:buNone/>
              <a:defRPr sz="3264" b="1">
                <a:solidFill>
                  <a:schemeClr val="lt1"/>
                </a:solidFill>
                <a:latin typeface="Proxima Nova"/>
                <a:ea typeface="Proxima Nova"/>
                <a:cs typeface="Proxima Nova"/>
                <a:sym typeface="Proxima Nova"/>
              </a:defRPr>
            </a:lvl6pPr>
            <a:lvl7pPr lvl="6" rtl="0">
              <a:spcBef>
                <a:spcPts val="0"/>
              </a:spcBef>
              <a:buNone/>
              <a:defRPr sz="3264" b="1">
                <a:solidFill>
                  <a:schemeClr val="lt1"/>
                </a:solidFill>
                <a:latin typeface="Proxima Nova"/>
                <a:ea typeface="Proxima Nova"/>
                <a:cs typeface="Proxima Nova"/>
                <a:sym typeface="Proxima Nova"/>
              </a:defRPr>
            </a:lvl7pPr>
            <a:lvl8pPr lvl="7" rtl="0">
              <a:spcBef>
                <a:spcPts val="0"/>
              </a:spcBef>
              <a:buNone/>
              <a:defRPr sz="3264" b="1">
                <a:solidFill>
                  <a:schemeClr val="lt1"/>
                </a:solidFill>
                <a:latin typeface="Proxima Nova"/>
                <a:ea typeface="Proxima Nova"/>
                <a:cs typeface="Proxima Nova"/>
                <a:sym typeface="Proxima Nova"/>
              </a:defRPr>
            </a:lvl8pPr>
            <a:lvl9pPr lvl="8" rtl="0">
              <a:spcBef>
                <a:spcPts val="0"/>
              </a:spcBef>
              <a:buNone/>
              <a:defRPr sz="3264" b="1">
                <a:solidFill>
                  <a:schemeClr val="lt1"/>
                </a:solidFill>
                <a:latin typeface="Proxima Nova"/>
                <a:ea typeface="Proxima Nova"/>
                <a:cs typeface="Proxima Nova"/>
                <a:sym typeface="Proxima Nova"/>
              </a:defRPr>
            </a:lvl9pPr>
          </a:lstStyle>
          <a:p>
            <a:endParaRPr/>
          </a:p>
        </p:txBody>
      </p:sp>
      <p:sp>
        <p:nvSpPr>
          <p:cNvPr id="34" name="Shape 34"/>
          <p:cNvSpPr txBox="1">
            <a:spLocks noGrp="1"/>
          </p:cNvSpPr>
          <p:nvPr>
            <p:ph type="subTitle" idx="1"/>
          </p:nvPr>
        </p:nvSpPr>
        <p:spPr>
          <a:xfrm>
            <a:off x="2477809" y="4144905"/>
            <a:ext cx="6840060" cy="388787"/>
          </a:xfrm>
          <a:prstGeom prst="rect">
            <a:avLst/>
          </a:prstGeom>
          <a:noFill/>
          <a:ln>
            <a:noFill/>
          </a:ln>
        </p:spPr>
        <p:txBody>
          <a:bodyPr lIns="91425" tIns="91425" rIns="91425" bIns="91425" anchor="ctr" anchorCtr="0"/>
          <a:lstStyle>
            <a:lvl1pPr lvl="0" rtl="0">
              <a:spcBef>
                <a:spcPts val="0"/>
              </a:spcBef>
              <a:buNone/>
              <a:defRPr sz="2176">
                <a:solidFill>
                  <a:srgbClr val="FFFFFF"/>
                </a:solidFill>
                <a:latin typeface="Proxima Nova"/>
                <a:ea typeface="Proxima Nova"/>
                <a:cs typeface="Proxima Nova"/>
                <a:sym typeface="Proxima Nova"/>
              </a:defRPr>
            </a:lvl1pPr>
            <a:lvl2pPr lvl="1" rtl="0">
              <a:spcBef>
                <a:spcPts val="0"/>
              </a:spcBef>
              <a:buNone/>
              <a:defRPr sz="2176">
                <a:latin typeface="Proxima Nova"/>
                <a:ea typeface="Proxima Nova"/>
                <a:cs typeface="Proxima Nova"/>
                <a:sym typeface="Proxima Nova"/>
              </a:defRPr>
            </a:lvl2pPr>
            <a:lvl3pPr lvl="2" rtl="0">
              <a:spcBef>
                <a:spcPts val="0"/>
              </a:spcBef>
              <a:buNone/>
              <a:defRPr sz="2176">
                <a:latin typeface="Proxima Nova"/>
                <a:ea typeface="Proxima Nova"/>
                <a:cs typeface="Proxima Nova"/>
                <a:sym typeface="Proxima Nova"/>
              </a:defRPr>
            </a:lvl3pPr>
            <a:lvl4pPr lvl="3" rtl="0">
              <a:spcBef>
                <a:spcPts val="0"/>
              </a:spcBef>
              <a:buNone/>
              <a:defRPr sz="2176">
                <a:latin typeface="Proxima Nova"/>
                <a:ea typeface="Proxima Nova"/>
                <a:cs typeface="Proxima Nova"/>
                <a:sym typeface="Proxima Nova"/>
              </a:defRPr>
            </a:lvl4pPr>
            <a:lvl5pPr lvl="4" rtl="0">
              <a:spcBef>
                <a:spcPts val="0"/>
              </a:spcBef>
              <a:buNone/>
              <a:defRPr sz="2176">
                <a:latin typeface="Proxima Nova"/>
                <a:ea typeface="Proxima Nova"/>
                <a:cs typeface="Proxima Nova"/>
                <a:sym typeface="Proxima Nova"/>
              </a:defRPr>
            </a:lvl5pPr>
            <a:lvl6pPr lvl="5" rtl="0">
              <a:spcBef>
                <a:spcPts val="0"/>
              </a:spcBef>
              <a:buNone/>
              <a:defRPr sz="2176">
                <a:latin typeface="Proxima Nova"/>
                <a:ea typeface="Proxima Nova"/>
                <a:cs typeface="Proxima Nova"/>
                <a:sym typeface="Proxima Nova"/>
              </a:defRPr>
            </a:lvl6pPr>
            <a:lvl7pPr lvl="6" rtl="0">
              <a:spcBef>
                <a:spcPts val="0"/>
              </a:spcBef>
              <a:buNone/>
              <a:defRPr sz="2176">
                <a:latin typeface="Proxima Nova"/>
                <a:ea typeface="Proxima Nova"/>
                <a:cs typeface="Proxima Nova"/>
                <a:sym typeface="Proxima Nova"/>
              </a:defRPr>
            </a:lvl7pPr>
            <a:lvl8pPr lvl="7" rtl="0">
              <a:spcBef>
                <a:spcPts val="0"/>
              </a:spcBef>
              <a:buNone/>
              <a:defRPr sz="2176">
                <a:latin typeface="Proxima Nova"/>
                <a:ea typeface="Proxima Nova"/>
                <a:cs typeface="Proxima Nova"/>
                <a:sym typeface="Proxima Nova"/>
              </a:defRPr>
            </a:lvl8pPr>
            <a:lvl9pPr lvl="8" rtl="0">
              <a:spcBef>
                <a:spcPts val="0"/>
              </a:spcBef>
              <a:buNone/>
              <a:defRPr sz="2176">
                <a:latin typeface="Proxima Nova"/>
                <a:ea typeface="Proxima Nova"/>
                <a:cs typeface="Proxima Nova"/>
                <a:sym typeface="Proxima Nova"/>
              </a:defRPr>
            </a:lvl9pPr>
          </a:lstStyle>
          <a:p>
            <a:endParaRPr/>
          </a:p>
        </p:txBody>
      </p:sp>
      <p:sp>
        <p:nvSpPr>
          <p:cNvPr id="35" name="Shape 35"/>
          <p:cNvSpPr txBox="1">
            <a:spLocks noGrp="1"/>
          </p:cNvSpPr>
          <p:nvPr>
            <p:ph type="subTitle" idx="2"/>
          </p:nvPr>
        </p:nvSpPr>
        <p:spPr>
          <a:xfrm>
            <a:off x="2477808" y="4766639"/>
            <a:ext cx="6218238" cy="1631852"/>
          </a:xfrm>
          <a:prstGeom prst="rect">
            <a:avLst/>
          </a:prstGeom>
          <a:noFill/>
          <a:ln>
            <a:noFill/>
          </a:ln>
        </p:spPr>
        <p:txBody>
          <a:bodyPr lIns="91425" tIns="91425" rIns="91425" bIns="91425" anchor="t" anchorCtr="0"/>
          <a:lstStyle>
            <a:lvl1pPr lvl="0" rtl="0">
              <a:spcBef>
                <a:spcPts val="0"/>
              </a:spcBef>
              <a:buNone/>
              <a:defRPr sz="1632">
                <a:solidFill>
                  <a:srgbClr val="FFFFFF"/>
                </a:solidFill>
                <a:latin typeface="Proxima Nova"/>
                <a:ea typeface="Proxima Nova"/>
                <a:cs typeface="Proxima Nova"/>
                <a:sym typeface="Proxima Nova"/>
              </a:defRPr>
            </a:lvl1pPr>
            <a:lvl2pPr lvl="1" rtl="0">
              <a:spcBef>
                <a:spcPts val="0"/>
              </a:spcBef>
              <a:buNone/>
              <a:defRPr sz="1632">
                <a:latin typeface="Proxima Nova"/>
                <a:ea typeface="Proxima Nova"/>
                <a:cs typeface="Proxima Nova"/>
                <a:sym typeface="Proxima Nova"/>
              </a:defRPr>
            </a:lvl2pPr>
            <a:lvl3pPr lvl="2" rtl="0">
              <a:spcBef>
                <a:spcPts val="0"/>
              </a:spcBef>
              <a:buNone/>
              <a:defRPr sz="1632">
                <a:latin typeface="Proxima Nova"/>
                <a:ea typeface="Proxima Nova"/>
                <a:cs typeface="Proxima Nova"/>
                <a:sym typeface="Proxima Nova"/>
              </a:defRPr>
            </a:lvl3pPr>
            <a:lvl4pPr lvl="3" rtl="0">
              <a:spcBef>
                <a:spcPts val="0"/>
              </a:spcBef>
              <a:buNone/>
              <a:defRPr sz="1632">
                <a:latin typeface="Proxima Nova"/>
                <a:ea typeface="Proxima Nova"/>
                <a:cs typeface="Proxima Nova"/>
                <a:sym typeface="Proxima Nova"/>
              </a:defRPr>
            </a:lvl4pPr>
            <a:lvl5pPr lvl="4" rtl="0">
              <a:spcBef>
                <a:spcPts val="0"/>
              </a:spcBef>
              <a:buNone/>
              <a:defRPr sz="1632">
                <a:latin typeface="Proxima Nova"/>
                <a:ea typeface="Proxima Nova"/>
                <a:cs typeface="Proxima Nova"/>
                <a:sym typeface="Proxima Nova"/>
              </a:defRPr>
            </a:lvl5pPr>
            <a:lvl6pPr lvl="5" rtl="0">
              <a:spcBef>
                <a:spcPts val="0"/>
              </a:spcBef>
              <a:buNone/>
              <a:defRPr sz="1632">
                <a:latin typeface="Proxima Nova"/>
                <a:ea typeface="Proxima Nova"/>
                <a:cs typeface="Proxima Nova"/>
                <a:sym typeface="Proxima Nova"/>
              </a:defRPr>
            </a:lvl6pPr>
            <a:lvl7pPr lvl="6" rtl="0">
              <a:spcBef>
                <a:spcPts val="0"/>
              </a:spcBef>
              <a:buNone/>
              <a:defRPr sz="1632">
                <a:latin typeface="Proxima Nova"/>
                <a:ea typeface="Proxima Nova"/>
                <a:cs typeface="Proxima Nova"/>
                <a:sym typeface="Proxima Nova"/>
              </a:defRPr>
            </a:lvl7pPr>
            <a:lvl8pPr lvl="7" rtl="0">
              <a:spcBef>
                <a:spcPts val="0"/>
              </a:spcBef>
              <a:buNone/>
              <a:defRPr sz="1632">
                <a:latin typeface="Proxima Nova"/>
                <a:ea typeface="Proxima Nova"/>
                <a:cs typeface="Proxima Nova"/>
                <a:sym typeface="Proxima Nova"/>
              </a:defRPr>
            </a:lvl8pPr>
            <a:lvl9pPr lvl="8" rtl="0">
              <a:spcBef>
                <a:spcPts val="0"/>
              </a:spcBef>
              <a:buNone/>
              <a:defRPr sz="1632">
                <a:latin typeface="Proxima Nova"/>
                <a:ea typeface="Proxima Nova"/>
                <a:cs typeface="Proxima Nova"/>
                <a:sym typeface="Proxima Nova"/>
              </a:defRPr>
            </a:lvl9pPr>
          </a:lstStyle>
          <a:p>
            <a:endParaRPr/>
          </a:p>
        </p:txBody>
      </p:sp>
    </p:spTree>
    <p:extLst>
      <p:ext uri="{BB962C8B-B14F-4D97-AF65-F5344CB8AC3E}">
        <p14:creationId xmlns:p14="http://schemas.microsoft.com/office/powerpoint/2010/main" val="286051850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cSld name="structure">
    <p:bg>
      <p:bgPr>
        <a:blipFill>
          <a:blip r:embed="rId2" cstate="email">
            <a:alphaModFix/>
            <a:extLst>
              <a:ext uri="{28A0092B-C50C-407E-A947-70E740481C1C}">
                <a14:useLocalDpi xmlns:a14="http://schemas.microsoft.com/office/drawing/2010/main"/>
              </a:ext>
            </a:extLst>
          </a:blip>
          <a:stretch>
            <a:fillRect/>
          </a:stretch>
        </a:blipFill>
        <a:effectLst/>
      </p:bgPr>
    </p:bg>
    <p:spTree>
      <p:nvGrpSpPr>
        <p:cNvPr id="1" name="Shape 36"/>
        <p:cNvGrpSpPr/>
        <p:nvPr/>
      </p:nvGrpSpPr>
      <p:grpSpPr>
        <a:xfrm>
          <a:off x="0" y="0"/>
          <a:ext cx="0" cy="0"/>
          <a:chOff x="0" y="0"/>
          <a:chExt cx="0" cy="0"/>
        </a:xfrm>
      </p:grpSpPr>
      <p:sp>
        <p:nvSpPr>
          <p:cNvPr id="37" name="Shape 37"/>
          <p:cNvSpPr txBox="1">
            <a:spLocks noGrp="1"/>
          </p:cNvSpPr>
          <p:nvPr>
            <p:ph type="title"/>
          </p:nvPr>
        </p:nvSpPr>
        <p:spPr>
          <a:xfrm>
            <a:off x="2477809" y="2953245"/>
            <a:ext cx="8083707" cy="932602"/>
          </a:xfrm>
          <a:prstGeom prst="rect">
            <a:avLst/>
          </a:prstGeom>
          <a:noFill/>
          <a:ln>
            <a:noFill/>
          </a:ln>
        </p:spPr>
        <p:txBody>
          <a:bodyPr lIns="91425" tIns="91425" rIns="91425" bIns="91425" anchor="b" anchorCtr="0"/>
          <a:lstStyle>
            <a:lvl1pPr lvl="0" rtl="0">
              <a:spcBef>
                <a:spcPts val="0"/>
              </a:spcBef>
              <a:buNone/>
              <a:defRPr sz="3264" b="1">
                <a:solidFill>
                  <a:schemeClr val="lt1"/>
                </a:solidFill>
                <a:latin typeface="Proxima Nova"/>
                <a:ea typeface="Proxima Nova"/>
                <a:cs typeface="Proxima Nova"/>
                <a:sym typeface="Proxima Nova"/>
              </a:defRPr>
            </a:lvl1pPr>
            <a:lvl2pPr lvl="1" rtl="0">
              <a:spcBef>
                <a:spcPts val="0"/>
              </a:spcBef>
              <a:buNone/>
              <a:defRPr sz="3264" b="1">
                <a:solidFill>
                  <a:schemeClr val="lt1"/>
                </a:solidFill>
                <a:latin typeface="Proxima Nova"/>
                <a:ea typeface="Proxima Nova"/>
                <a:cs typeface="Proxima Nova"/>
                <a:sym typeface="Proxima Nova"/>
              </a:defRPr>
            </a:lvl2pPr>
            <a:lvl3pPr lvl="2" rtl="0">
              <a:spcBef>
                <a:spcPts val="0"/>
              </a:spcBef>
              <a:buNone/>
              <a:defRPr sz="3264" b="1">
                <a:solidFill>
                  <a:schemeClr val="lt1"/>
                </a:solidFill>
                <a:latin typeface="Proxima Nova"/>
                <a:ea typeface="Proxima Nova"/>
                <a:cs typeface="Proxima Nova"/>
                <a:sym typeface="Proxima Nova"/>
              </a:defRPr>
            </a:lvl3pPr>
            <a:lvl4pPr lvl="3" rtl="0">
              <a:spcBef>
                <a:spcPts val="0"/>
              </a:spcBef>
              <a:buNone/>
              <a:defRPr sz="3264" b="1">
                <a:solidFill>
                  <a:schemeClr val="lt1"/>
                </a:solidFill>
                <a:latin typeface="Proxima Nova"/>
                <a:ea typeface="Proxima Nova"/>
                <a:cs typeface="Proxima Nova"/>
                <a:sym typeface="Proxima Nova"/>
              </a:defRPr>
            </a:lvl4pPr>
            <a:lvl5pPr lvl="4" rtl="0">
              <a:spcBef>
                <a:spcPts val="0"/>
              </a:spcBef>
              <a:buNone/>
              <a:defRPr sz="3264" b="1">
                <a:solidFill>
                  <a:schemeClr val="lt1"/>
                </a:solidFill>
                <a:latin typeface="Proxima Nova"/>
                <a:ea typeface="Proxima Nova"/>
                <a:cs typeface="Proxima Nova"/>
                <a:sym typeface="Proxima Nova"/>
              </a:defRPr>
            </a:lvl5pPr>
            <a:lvl6pPr lvl="5" rtl="0">
              <a:spcBef>
                <a:spcPts val="0"/>
              </a:spcBef>
              <a:buNone/>
              <a:defRPr sz="3264" b="1">
                <a:solidFill>
                  <a:schemeClr val="lt1"/>
                </a:solidFill>
                <a:latin typeface="Proxima Nova"/>
                <a:ea typeface="Proxima Nova"/>
                <a:cs typeface="Proxima Nova"/>
                <a:sym typeface="Proxima Nova"/>
              </a:defRPr>
            </a:lvl6pPr>
            <a:lvl7pPr lvl="6" rtl="0">
              <a:spcBef>
                <a:spcPts val="0"/>
              </a:spcBef>
              <a:buNone/>
              <a:defRPr sz="3264" b="1">
                <a:solidFill>
                  <a:schemeClr val="lt1"/>
                </a:solidFill>
                <a:latin typeface="Proxima Nova"/>
                <a:ea typeface="Proxima Nova"/>
                <a:cs typeface="Proxima Nova"/>
                <a:sym typeface="Proxima Nova"/>
              </a:defRPr>
            </a:lvl7pPr>
            <a:lvl8pPr lvl="7" rtl="0">
              <a:spcBef>
                <a:spcPts val="0"/>
              </a:spcBef>
              <a:buNone/>
              <a:defRPr sz="3264" b="1">
                <a:solidFill>
                  <a:schemeClr val="lt1"/>
                </a:solidFill>
                <a:latin typeface="Proxima Nova"/>
                <a:ea typeface="Proxima Nova"/>
                <a:cs typeface="Proxima Nova"/>
                <a:sym typeface="Proxima Nova"/>
              </a:defRPr>
            </a:lvl8pPr>
            <a:lvl9pPr lvl="8" rtl="0">
              <a:spcBef>
                <a:spcPts val="0"/>
              </a:spcBef>
              <a:buNone/>
              <a:defRPr sz="3264" b="1">
                <a:solidFill>
                  <a:schemeClr val="lt1"/>
                </a:solidFill>
                <a:latin typeface="Proxima Nova"/>
                <a:ea typeface="Proxima Nova"/>
                <a:cs typeface="Proxima Nova"/>
                <a:sym typeface="Proxima Nova"/>
              </a:defRPr>
            </a:lvl9pPr>
          </a:lstStyle>
          <a:p>
            <a:endParaRPr/>
          </a:p>
        </p:txBody>
      </p:sp>
      <p:sp>
        <p:nvSpPr>
          <p:cNvPr id="38" name="Shape 38"/>
          <p:cNvSpPr txBox="1">
            <a:spLocks noGrp="1"/>
          </p:cNvSpPr>
          <p:nvPr>
            <p:ph type="subTitle" idx="1"/>
          </p:nvPr>
        </p:nvSpPr>
        <p:spPr>
          <a:xfrm>
            <a:off x="2477809" y="4144905"/>
            <a:ext cx="6840060" cy="388787"/>
          </a:xfrm>
          <a:prstGeom prst="rect">
            <a:avLst/>
          </a:prstGeom>
          <a:noFill/>
          <a:ln>
            <a:noFill/>
          </a:ln>
        </p:spPr>
        <p:txBody>
          <a:bodyPr lIns="91425" tIns="91425" rIns="91425" bIns="91425" anchor="ctr" anchorCtr="0"/>
          <a:lstStyle>
            <a:lvl1pPr lvl="0" rtl="0">
              <a:spcBef>
                <a:spcPts val="0"/>
              </a:spcBef>
              <a:buNone/>
              <a:defRPr sz="2176">
                <a:solidFill>
                  <a:srgbClr val="FFFFFF"/>
                </a:solidFill>
                <a:latin typeface="Proxima Nova"/>
                <a:ea typeface="Proxima Nova"/>
                <a:cs typeface="Proxima Nova"/>
                <a:sym typeface="Proxima Nova"/>
              </a:defRPr>
            </a:lvl1pPr>
            <a:lvl2pPr lvl="1" rtl="0">
              <a:spcBef>
                <a:spcPts val="0"/>
              </a:spcBef>
              <a:buNone/>
              <a:defRPr sz="2176">
                <a:latin typeface="Proxima Nova"/>
                <a:ea typeface="Proxima Nova"/>
                <a:cs typeface="Proxima Nova"/>
                <a:sym typeface="Proxima Nova"/>
              </a:defRPr>
            </a:lvl2pPr>
            <a:lvl3pPr lvl="2" rtl="0">
              <a:spcBef>
                <a:spcPts val="0"/>
              </a:spcBef>
              <a:buNone/>
              <a:defRPr sz="2176">
                <a:latin typeface="Proxima Nova"/>
                <a:ea typeface="Proxima Nova"/>
                <a:cs typeface="Proxima Nova"/>
                <a:sym typeface="Proxima Nova"/>
              </a:defRPr>
            </a:lvl3pPr>
            <a:lvl4pPr lvl="3" rtl="0">
              <a:spcBef>
                <a:spcPts val="0"/>
              </a:spcBef>
              <a:buNone/>
              <a:defRPr sz="2176">
                <a:latin typeface="Proxima Nova"/>
                <a:ea typeface="Proxima Nova"/>
                <a:cs typeface="Proxima Nova"/>
                <a:sym typeface="Proxima Nova"/>
              </a:defRPr>
            </a:lvl4pPr>
            <a:lvl5pPr lvl="4" rtl="0">
              <a:spcBef>
                <a:spcPts val="0"/>
              </a:spcBef>
              <a:buNone/>
              <a:defRPr sz="2176">
                <a:latin typeface="Proxima Nova"/>
                <a:ea typeface="Proxima Nova"/>
                <a:cs typeface="Proxima Nova"/>
                <a:sym typeface="Proxima Nova"/>
              </a:defRPr>
            </a:lvl5pPr>
            <a:lvl6pPr lvl="5" rtl="0">
              <a:spcBef>
                <a:spcPts val="0"/>
              </a:spcBef>
              <a:buNone/>
              <a:defRPr sz="2176">
                <a:latin typeface="Proxima Nova"/>
                <a:ea typeface="Proxima Nova"/>
                <a:cs typeface="Proxima Nova"/>
                <a:sym typeface="Proxima Nova"/>
              </a:defRPr>
            </a:lvl6pPr>
            <a:lvl7pPr lvl="6" rtl="0">
              <a:spcBef>
                <a:spcPts val="0"/>
              </a:spcBef>
              <a:buNone/>
              <a:defRPr sz="2176">
                <a:latin typeface="Proxima Nova"/>
                <a:ea typeface="Proxima Nova"/>
                <a:cs typeface="Proxima Nova"/>
                <a:sym typeface="Proxima Nova"/>
              </a:defRPr>
            </a:lvl7pPr>
            <a:lvl8pPr lvl="7" rtl="0">
              <a:spcBef>
                <a:spcPts val="0"/>
              </a:spcBef>
              <a:buNone/>
              <a:defRPr sz="2176">
                <a:latin typeface="Proxima Nova"/>
                <a:ea typeface="Proxima Nova"/>
                <a:cs typeface="Proxima Nova"/>
                <a:sym typeface="Proxima Nova"/>
              </a:defRPr>
            </a:lvl8pPr>
            <a:lvl9pPr lvl="8" rtl="0">
              <a:spcBef>
                <a:spcPts val="0"/>
              </a:spcBef>
              <a:buNone/>
              <a:defRPr sz="2176">
                <a:latin typeface="Proxima Nova"/>
                <a:ea typeface="Proxima Nova"/>
                <a:cs typeface="Proxima Nova"/>
                <a:sym typeface="Proxima Nova"/>
              </a:defRPr>
            </a:lvl9pPr>
          </a:lstStyle>
          <a:p>
            <a:endParaRPr/>
          </a:p>
        </p:txBody>
      </p:sp>
      <p:sp>
        <p:nvSpPr>
          <p:cNvPr id="39" name="Shape 39"/>
          <p:cNvSpPr txBox="1">
            <a:spLocks noGrp="1"/>
          </p:cNvSpPr>
          <p:nvPr>
            <p:ph type="subTitle" idx="2"/>
          </p:nvPr>
        </p:nvSpPr>
        <p:spPr>
          <a:xfrm>
            <a:off x="2477808" y="4766639"/>
            <a:ext cx="6218238" cy="1631852"/>
          </a:xfrm>
          <a:prstGeom prst="rect">
            <a:avLst/>
          </a:prstGeom>
          <a:noFill/>
          <a:ln>
            <a:noFill/>
          </a:ln>
        </p:spPr>
        <p:txBody>
          <a:bodyPr lIns="91425" tIns="91425" rIns="91425" bIns="91425" anchor="t" anchorCtr="0"/>
          <a:lstStyle>
            <a:lvl1pPr lvl="0" rtl="0">
              <a:spcBef>
                <a:spcPts val="0"/>
              </a:spcBef>
              <a:buNone/>
              <a:defRPr sz="1632">
                <a:solidFill>
                  <a:srgbClr val="FFFFFF"/>
                </a:solidFill>
                <a:latin typeface="Proxima Nova"/>
                <a:ea typeface="Proxima Nova"/>
                <a:cs typeface="Proxima Nova"/>
                <a:sym typeface="Proxima Nova"/>
              </a:defRPr>
            </a:lvl1pPr>
            <a:lvl2pPr lvl="1" rtl="0">
              <a:spcBef>
                <a:spcPts val="0"/>
              </a:spcBef>
              <a:buNone/>
              <a:defRPr sz="1632">
                <a:latin typeface="Proxima Nova"/>
                <a:ea typeface="Proxima Nova"/>
                <a:cs typeface="Proxima Nova"/>
                <a:sym typeface="Proxima Nova"/>
              </a:defRPr>
            </a:lvl2pPr>
            <a:lvl3pPr lvl="2" rtl="0">
              <a:spcBef>
                <a:spcPts val="0"/>
              </a:spcBef>
              <a:buNone/>
              <a:defRPr sz="1632">
                <a:latin typeface="Proxima Nova"/>
                <a:ea typeface="Proxima Nova"/>
                <a:cs typeface="Proxima Nova"/>
                <a:sym typeface="Proxima Nova"/>
              </a:defRPr>
            </a:lvl3pPr>
            <a:lvl4pPr lvl="3" rtl="0">
              <a:spcBef>
                <a:spcPts val="0"/>
              </a:spcBef>
              <a:buNone/>
              <a:defRPr sz="1632">
                <a:latin typeface="Proxima Nova"/>
                <a:ea typeface="Proxima Nova"/>
                <a:cs typeface="Proxima Nova"/>
                <a:sym typeface="Proxima Nova"/>
              </a:defRPr>
            </a:lvl4pPr>
            <a:lvl5pPr lvl="4" rtl="0">
              <a:spcBef>
                <a:spcPts val="0"/>
              </a:spcBef>
              <a:buNone/>
              <a:defRPr sz="1632">
                <a:latin typeface="Proxima Nova"/>
                <a:ea typeface="Proxima Nova"/>
                <a:cs typeface="Proxima Nova"/>
                <a:sym typeface="Proxima Nova"/>
              </a:defRPr>
            </a:lvl5pPr>
            <a:lvl6pPr lvl="5" rtl="0">
              <a:spcBef>
                <a:spcPts val="0"/>
              </a:spcBef>
              <a:buNone/>
              <a:defRPr sz="1632">
                <a:latin typeface="Proxima Nova"/>
                <a:ea typeface="Proxima Nova"/>
                <a:cs typeface="Proxima Nova"/>
                <a:sym typeface="Proxima Nova"/>
              </a:defRPr>
            </a:lvl6pPr>
            <a:lvl7pPr lvl="6" rtl="0">
              <a:spcBef>
                <a:spcPts val="0"/>
              </a:spcBef>
              <a:buNone/>
              <a:defRPr sz="1632">
                <a:latin typeface="Proxima Nova"/>
                <a:ea typeface="Proxima Nova"/>
                <a:cs typeface="Proxima Nova"/>
                <a:sym typeface="Proxima Nova"/>
              </a:defRPr>
            </a:lvl7pPr>
            <a:lvl8pPr lvl="7" rtl="0">
              <a:spcBef>
                <a:spcPts val="0"/>
              </a:spcBef>
              <a:buNone/>
              <a:defRPr sz="1632">
                <a:latin typeface="Proxima Nova"/>
                <a:ea typeface="Proxima Nova"/>
                <a:cs typeface="Proxima Nova"/>
                <a:sym typeface="Proxima Nova"/>
              </a:defRPr>
            </a:lvl8pPr>
            <a:lvl9pPr lvl="8" rtl="0">
              <a:spcBef>
                <a:spcPts val="0"/>
              </a:spcBef>
              <a:buNone/>
              <a:defRPr sz="1632">
                <a:latin typeface="Proxima Nova"/>
                <a:ea typeface="Proxima Nova"/>
                <a:cs typeface="Proxima Nova"/>
                <a:sym typeface="Proxima Nova"/>
              </a:defRPr>
            </a:lvl9pPr>
          </a:lstStyle>
          <a:p>
            <a:endParaRPr/>
          </a:p>
        </p:txBody>
      </p:sp>
    </p:spTree>
    <p:extLst>
      <p:ext uri="{BB962C8B-B14F-4D97-AF65-F5344CB8AC3E}">
        <p14:creationId xmlns:p14="http://schemas.microsoft.com/office/powerpoint/2010/main" val="400655894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cSld name="nature">
    <p:bg>
      <p:bgPr>
        <a:blipFill>
          <a:blip r:embed="rId2" cstate="email">
            <a:alphaModFix/>
            <a:extLst>
              <a:ext uri="{28A0092B-C50C-407E-A947-70E740481C1C}">
                <a14:useLocalDpi xmlns:a14="http://schemas.microsoft.com/office/drawing/2010/main"/>
              </a:ext>
            </a:extLst>
          </a:blip>
          <a:stretch>
            <a:fillRect/>
          </a:stretch>
        </a:blipFill>
        <a:effectLst/>
      </p:bgPr>
    </p:bg>
    <p:spTree>
      <p:nvGrpSpPr>
        <p:cNvPr id="1" name="Shape 40"/>
        <p:cNvGrpSpPr/>
        <p:nvPr/>
      </p:nvGrpSpPr>
      <p:grpSpPr>
        <a:xfrm>
          <a:off x="0" y="0"/>
          <a:ext cx="0" cy="0"/>
          <a:chOff x="0" y="0"/>
          <a:chExt cx="0" cy="0"/>
        </a:xfrm>
      </p:grpSpPr>
      <p:sp>
        <p:nvSpPr>
          <p:cNvPr id="41" name="Shape 41"/>
          <p:cNvSpPr txBox="1">
            <a:spLocks noGrp="1"/>
          </p:cNvSpPr>
          <p:nvPr>
            <p:ph type="title"/>
          </p:nvPr>
        </p:nvSpPr>
        <p:spPr>
          <a:xfrm>
            <a:off x="2477809" y="2953245"/>
            <a:ext cx="8083707" cy="932602"/>
          </a:xfrm>
          <a:prstGeom prst="rect">
            <a:avLst/>
          </a:prstGeom>
          <a:noFill/>
          <a:ln>
            <a:noFill/>
          </a:ln>
        </p:spPr>
        <p:txBody>
          <a:bodyPr lIns="91425" tIns="91425" rIns="91425" bIns="91425" anchor="b" anchorCtr="0"/>
          <a:lstStyle>
            <a:lvl1pPr lvl="0" rtl="0">
              <a:spcBef>
                <a:spcPts val="0"/>
              </a:spcBef>
              <a:buNone/>
              <a:defRPr sz="3264" b="1">
                <a:solidFill>
                  <a:schemeClr val="lt1"/>
                </a:solidFill>
                <a:latin typeface="Proxima Nova"/>
                <a:ea typeface="Proxima Nova"/>
                <a:cs typeface="Proxima Nova"/>
                <a:sym typeface="Proxima Nova"/>
              </a:defRPr>
            </a:lvl1pPr>
            <a:lvl2pPr lvl="1" rtl="0">
              <a:spcBef>
                <a:spcPts val="0"/>
              </a:spcBef>
              <a:buNone/>
              <a:defRPr sz="3264" b="1">
                <a:solidFill>
                  <a:schemeClr val="lt1"/>
                </a:solidFill>
                <a:latin typeface="Proxima Nova"/>
                <a:ea typeface="Proxima Nova"/>
                <a:cs typeface="Proxima Nova"/>
                <a:sym typeface="Proxima Nova"/>
              </a:defRPr>
            </a:lvl2pPr>
            <a:lvl3pPr lvl="2" rtl="0">
              <a:spcBef>
                <a:spcPts val="0"/>
              </a:spcBef>
              <a:buNone/>
              <a:defRPr sz="3264" b="1">
                <a:solidFill>
                  <a:schemeClr val="lt1"/>
                </a:solidFill>
                <a:latin typeface="Proxima Nova"/>
                <a:ea typeface="Proxima Nova"/>
                <a:cs typeface="Proxima Nova"/>
                <a:sym typeface="Proxima Nova"/>
              </a:defRPr>
            </a:lvl3pPr>
            <a:lvl4pPr lvl="3" rtl="0">
              <a:spcBef>
                <a:spcPts val="0"/>
              </a:spcBef>
              <a:buNone/>
              <a:defRPr sz="3264" b="1">
                <a:solidFill>
                  <a:schemeClr val="lt1"/>
                </a:solidFill>
                <a:latin typeface="Proxima Nova"/>
                <a:ea typeface="Proxima Nova"/>
                <a:cs typeface="Proxima Nova"/>
                <a:sym typeface="Proxima Nova"/>
              </a:defRPr>
            </a:lvl4pPr>
            <a:lvl5pPr lvl="4" rtl="0">
              <a:spcBef>
                <a:spcPts val="0"/>
              </a:spcBef>
              <a:buNone/>
              <a:defRPr sz="3264" b="1">
                <a:solidFill>
                  <a:schemeClr val="lt1"/>
                </a:solidFill>
                <a:latin typeface="Proxima Nova"/>
                <a:ea typeface="Proxima Nova"/>
                <a:cs typeface="Proxima Nova"/>
                <a:sym typeface="Proxima Nova"/>
              </a:defRPr>
            </a:lvl5pPr>
            <a:lvl6pPr lvl="5" rtl="0">
              <a:spcBef>
                <a:spcPts val="0"/>
              </a:spcBef>
              <a:buNone/>
              <a:defRPr sz="3264" b="1">
                <a:solidFill>
                  <a:schemeClr val="lt1"/>
                </a:solidFill>
                <a:latin typeface="Proxima Nova"/>
                <a:ea typeface="Proxima Nova"/>
                <a:cs typeface="Proxima Nova"/>
                <a:sym typeface="Proxima Nova"/>
              </a:defRPr>
            </a:lvl6pPr>
            <a:lvl7pPr lvl="6" rtl="0">
              <a:spcBef>
                <a:spcPts val="0"/>
              </a:spcBef>
              <a:buNone/>
              <a:defRPr sz="3264" b="1">
                <a:solidFill>
                  <a:schemeClr val="lt1"/>
                </a:solidFill>
                <a:latin typeface="Proxima Nova"/>
                <a:ea typeface="Proxima Nova"/>
                <a:cs typeface="Proxima Nova"/>
                <a:sym typeface="Proxima Nova"/>
              </a:defRPr>
            </a:lvl7pPr>
            <a:lvl8pPr lvl="7" rtl="0">
              <a:spcBef>
                <a:spcPts val="0"/>
              </a:spcBef>
              <a:buNone/>
              <a:defRPr sz="3264" b="1">
                <a:solidFill>
                  <a:schemeClr val="lt1"/>
                </a:solidFill>
                <a:latin typeface="Proxima Nova"/>
                <a:ea typeface="Proxima Nova"/>
                <a:cs typeface="Proxima Nova"/>
                <a:sym typeface="Proxima Nova"/>
              </a:defRPr>
            </a:lvl8pPr>
            <a:lvl9pPr lvl="8" rtl="0">
              <a:spcBef>
                <a:spcPts val="0"/>
              </a:spcBef>
              <a:buNone/>
              <a:defRPr sz="3264" b="1">
                <a:solidFill>
                  <a:schemeClr val="lt1"/>
                </a:solidFill>
                <a:latin typeface="Proxima Nova"/>
                <a:ea typeface="Proxima Nova"/>
                <a:cs typeface="Proxima Nova"/>
                <a:sym typeface="Proxima Nova"/>
              </a:defRPr>
            </a:lvl9pPr>
          </a:lstStyle>
          <a:p>
            <a:endParaRPr/>
          </a:p>
        </p:txBody>
      </p:sp>
      <p:sp>
        <p:nvSpPr>
          <p:cNvPr id="42" name="Shape 42"/>
          <p:cNvSpPr txBox="1">
            <a:spLocks noGrp="1"/>
          </p:cNvSpPr>
          <p:nvPr>
            <p:ph type="subTitle" idx="1"/>
          </p:nvPr>
        </p:nvSpPr>
        <p:spPr>
          <a:xfrm>
            <a:off x="2477809" y="4144905"/>
            <a:ext cx="6840060" cy="388787"/>
          </a:xfrm>
          <a:prstGeom prst="rect">
            <a:avLst/>
          </a:prstGeom>
          <a:noFill/>
          <a:ln>
            <a:noFill/>
          </a:ln>
        </p:spPr>
        <p:txBody>
          <a:bodyPr lIns="91425" tIns="91425" rIns="91425" bIns="91425" anchor="ctr" anchorCtr="0"/>
          <a:lstStyle>
            <a:lvl1pPr lvl="0" rtl="0">
              <a:spcBef>
                <a:spcPts val="0"/>
              </a:spcBef>
              <a:buNone/>
              <a:defRPr sz="2176">
                <a:solidFill>
                  <a:srgbClr val="FFFFFF"/>
                </a:solidFill>
                <a:latin typeface="Proxima Nova"/>
                <a:ea typeface="Proxima Nova"/>
                <a:cs typeface="Proxima Nova"/>
                <a:sym typeface="Proxima Nova"/>
              </a:defRPr>
            </a:lvl1pPr>
            <a:lvl2pPr lvl="1" rtl="0">
              <a:spcBef>
                <a:spcPts val="0"/>
              </a:spcBef>
              <a:buNone/>
              <a:defRPr sz="2176">
                <a:latin typeface="Proxima Nova"/>
                <a:ea typeface="Proxima Nova"/>
                <a:cs typeface="Proxima Nova"/>
                <a:sym typeface="Proxima Nova"/>
              </a:defRPr>
            </a:lvl2pPr>
            <a:lvl3pPr lvl="2" rtl="0">
              <a:spcBef>
                <a:spcPts val="0"/>
              </a:spcBef>
              <a:buNone/>
              <a:defRPr sz="2176">
                <a:latin typeface="Proxima Nova"/>
                <a:ea typeface="Proxima Nova"/>
                <a:cs typeface="Proxima Nova"/>
                <a:sym typeface="Proxima Nova"/>
              </a:defRPr>
            </a:lvl3pPr>
            <a:lvl4pPr lvl="3" rtl="0">
              <a:spcBef>
                <a:spcPts val="0"/>
              </a:spcBef>
              <a:buNone/>
              <a:defRPr sz="2176">
                <a:latin typeface="Proxima Nova"/>
                <a:ea typeface="Proxima Nova"/>
                <a:cs typeface="Proxima Nova"/>
                <a:sym typeface="Proxima Nova"/>
              </a:defRPr>
            </a:lvl4pPr>
            <a:lvl5pPr lvl="4" rtl="0">
              <a:spcBef>
                <a:spcPts val="0"/>
              </a:spcBef>
              <a:buNone/>
              <a:defRPr sz="2176">
                <a:latin typeface="Proxima Nova"/>
                <a:ea typeface="Proxima Nova"/>
                <a:cs typeface="Proxima Nova"/>
                <a:sym typeface="Proxima Nova"/>
              </a:defRPr>
            </a:lvl5pPr>
            <a:lvl6pPr lvl="5" rtl="0">
              <a:spcBef>
                <a:spcPts val="0"/>
              </a:spcBef>
              <a:buNone/>
              <a:defRPr sz="2176">
                <a:latin typeface="Proxima Nova"/>
                <a:ea typeface="Proxima Nova"/>
                <a:cs typeface="Proxima Nova"/>
                <a:sym typeface="Proxima Nova"/>
              </a:defRPr>
            </a:lvl6pPr>
            <a:lvl7pPr lvl="6" rtl="0">
              <a:spcBef>
                <a:spcPts val="0"/>
              </a:spcBef>
              <a:buNone/>
              <a:defRPr sz="2176">
                <a:latin typeface="Proxima Nova"/>
                <a:ea typeface="Proxima Nova"/>
                <a:cs typeface="Proxima Nova"/>
                <a:sym typeface="Proxima Nova"/>
              </a:defRPr>
            </a:lvl7pPr>
            <a:lvl8pPr lvl="7" rtl="0">
              <a:spcBef>
                <a:spcPts val="0"/>
              </a:spcBef>
              <a:buNone/>
              <a:defRPr sz="2176">
                <a:latin typeface="Proxima Nova"/>
                <a:ea typeface="Proxima Nova"/>
                <a:cs typeface="Proxima Nova"/>
                <a:sym typeface="Proxima Nova"/>
              </a:defRPr>
            </a:lvl8pPr>
            <a:lvl9pPr lvl="8" rtl="0">
              <a:spcBef>
                <a:spcPts val="0"/>
              </a:spcBef>
              <a:buNone/>
              <a:defRPr sz="2176">
                <a:latin typeface="Proxima Nova"/>
                <a:ea typeface="Proxima Nova"/>
                <a:cs typeface="Proxima Nova"/>
                <a:sym typeface="Proxima Nova"/>
              </a:defRPr>
            </a:lvl9pPr>
          </a:lstStyle>
          <a:p>
            <a:endParaRPr/>
          </a:p>
        </p:txBody>
      </p:sp>
      <p:sp>
        <p:nvSpPr>
          <p:cNvPr id="43" name="Shape 43"/>
          <p:cNvSpPr txBox="1">
            <a:spLocks noGrp="1"/>
          </p:cNvSpPr>
          <p:nvPr>
            <p:ph type="subTitle" idx="2"/>
          </p:nvPr>
        </p:nvSpPr>
        <p:spPr>
          <a:xfrm>
            <a:off x="2477808" y="4766639"/>
            <a:ext cx="6218238" cy="1631852"/>
          </a:xfrm>
          <a:prstGeom prst="rect">
            <a:avLst/>
          </a:prstGeom>
          <a:noFill/>
          <a:ln>
            <a:noFill/>
          </a:ln>
        </p:spPr>
        <p:txBody>
          <a:bodyPr lIns="91425" tIns="91425" rIns="91425" bIns="91425" anchor="t" anchorCtr="0"/>
          <a:lstStyle>
            <a:lvl1pPr lvl="0" rtl="0">
              <a:spcBef>
                <a:spcPts val="0"/>
              </a:spcBef>
              <a:buNone/>
              <a:defRPr sz="1632">
                <a:solidFill>
                  <a:srgbClr val="FFFFFF"/>
                </a:solidFill>
                <a:latin typeface="Proxima Nova"/>
                <a:ea typeface="Proxima Nova"/>
                <a:cs typeface="Proxima Nova"/>
                <a:sym typeface="Proxima Nova"/>
              </a:defRPr>
            </a:lvl1pPr>
            <a:lvl2pPr lvl="1" rtl="0">
              <a:spcBef>
                <a:spcPts val="0"/>
              </a:spcBef>
              <a:buNone/>
              <a:defRPr sz="1632">
                <a:latin typeface="Proxima Nova"/>
                <a:ea typeface="Proxima Nova"/>
                <a:cs typeface="Proxima Nova"/>
                <a:sym typeface="Proxima Nova"/>
              </a:defRPr>
            </a:lvl2pPr>
            <a:lvl3pPr lvl="2" rtl="0">
              <a:spcBef>
                <a:spcPts val="0"/>
              </a:spcBef>
              <a:buNone/>
              <a:defRPr sz="1632">
                <a:latin typeface="Proxima Nova"/>
                <a:ea typeface="Proxima Nova"/>
                <a:cs typeface="Proxima Nova"/>
                <a:sym typeface="Proxima Nova"/>
              </a:defRPr>
            </a:lvl3pPr>
            <a:lvl4pPr lvl="3" rtl="0">
              <a:spcBef>
                <a:spcPts val="0"/>
              </a:spcBef>
              <a:buNone/>
              <a:defRPr sz="1632">
                <a:latin typeface="Proxima Nova"/>
                <a:ea typeface="Proxima Nova"/>
                <a:cs typeface="Proxima Nova"/>
                <a:sym typeface="Proxima Nova"/>
              </a:defRPr>
            </a:lvl4pPr>
            <a:lvl5pPr lvl="4" rtl="0">
              <a:spcBef>
                <a:spcPts val="0"/>
              </a:spcBef>
              <a:buNone/>
              <a:defRPr sz="1632">
                <a:latin typeface="Proxima Nova"/>
                <a:ea typeface="Proxima Nova"/>
                <a:cs typeface="Proxima Nova"/>
                <a:sym typeface="Proxima Nova"/>
              </a:defRPr>
            </a:lvl5pPr>
            <a:lvl6pPr lvl="5" rtl="0">
              <a:spcBef>
                <a:spcPts val="0"/>
              </a:spcBef>
              <a:buNone/>
              <a:defRPr sz="1632">
                <a:latin typeface="Proxima Nova"/>
                <a:ea typeface="Proxima Nova"/>
                <a:cs typeface="Proxima Nova"/>
                <a:sym typeface="Proxima Nova"/>
              </a:defRPr>
            </a:lvl6pPr>
            <a:lvl7pPr lvl="6" rtl="0">
              <a:spcBef>
                <a:spcPts val="0"/>
              </a:spcBef>
              <a:buNone/>
              <a:defRPr sz="1632">
                <a:latin typeface="Proxima Nova"/>
                <a:ea typeface="Proxima Nova"/>
                <a:cs typeface="Proxima Nova"/>
                <a:sym typeface="Proxima Nova"/>
              </a:defRPr>
            </a:lvl7pPr>
            <a:lvl8pPr lvl="7" rtl="0">
              <a:spcBef>
                <a:spcPts val="0"/>
              </a:spcBef>
              <a:buNone/>
              <a:defRPr sz="1632">
                <a:latin typeface="Proxima Nova"/>
                <a:ea typeface="Proxima Nova"/>
                <a:cs typeface="Proxima Nova"/>
                <a:sym typeface="Proxima Nova"/>
              </a:defRPr>
            </a:lvl8pPr>
            <a:lvl9pPr lvl="8" rtl="0">
              <a:spcBef>
                <a:spcPts val="0"/>
              </a:spcBef>
              <a:buNone/>
              <a:defRPr sz="1632">
                <a:latin typeface="Proxima Nova"/>
                <a:ea typeface="Proxima Nova"/>
                <a:cs typeface="Proxima Nova"/>
                <a:sym typeface="Proxima Nova"/>
              </a:defRPr>
            </a:lvl9pPr>
          </a:lstStyle>
          <a:p>
            <a:endParaRPr/>
          </a:p>
        </p:txBody>
      </p:sp>
    </p:spTree>
    <p:extLst>
      <p:ext uri="{BB962C8B-B14F-4D97-AF65-F5344CB8AC3E}">
        <p14:creationId xmlns:p14="http://schemas.microsoft.com/office/powerpoint/2010/main" val="128651819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48"/>
        <p:cNvGrpSpPr/>
        <p:nvPr/>
      </p:nvGrpSpPr>
      <p:grpSpPr>
        <a:xfrm>
          <a:off x="0" y="0"/>
          <a:ext cx="0" cy="0"/>
          <a:chOff x="0" y="0"/>
          <a:chExt cx="0" cy="0"/>
        </a:xfrm>
      </p:grpSpPr>
      <p:sp>
        <p:nvSpPr>
          <p:cNvPr id="49" name="Shape 49"/>
          <p:cNvSpPr txBox="1">
            <a:spLocks noGrp="1"/>
          </p:cNvSpPr>
          <p:nvPr>
            <p:ph type="sldNum" idx="12"/>
          </p:nvPr>
        </p:nvSpPr>
        <p:spPr>
          <a:xfrm>
            <a:off x="11523130" y="6341398"/>
            <a:ext cx="746270" cy="535247"/>
          </a:xfrm>
          <a:prstGeom prst="rect">
            <a:avLst/>
          </a:prstGeom>
        </p:spPr>
        <p:txBody>
          <a:bodyPr lIns="91425" tIns="91425" rIns="91425" bIns="91425" anchor="ctr" anchorCtr="0">
            <a:noAutofit/>
          </a:bodyPr>
          <a:lstStyle/>
          <a:p>
            <a:fld id="{00000000-1234-1234-1234-123412341234}" type="slidenum">
              <a:rPr lang="en" smtClean="0"/>
              <a:pPr/>
              <a:t>‹#›</a:t>
            </a:fld>
            <a:endParaRPr lang="en"/>
          </a:p>
        </p:txBody>
      </p:sp>
      <p:pic>
        <p:nvPicPr>
          <p:cNvPr id="50" name="Shape 50"/>
          <p:cNvPicPr preferRelativeResize="0"/>
          <p:nvPr/>
        </p:nvPicPr>
        <p:blipFill>
          <a:blip r:embed="rId2">
            <a:alphaModFix/>
          </a:blip>
          <a:stretch>
            <a:fillRect/>
          </a:stretch>
        </p:blipFill>
        <p:spPr>
          <a:xfrm>
            <a:off x="0" y="0"/>
            <a:ext cx="12436475" cy="6994525"/>
          </a:xfrm>
          <a:prstGeom prst="rect">
            <a:avLst/>
          </a:prstGeom>
          <a:noFill/>
          <a:ln>
            <a:noFill/>
          </a:ln>
        </p:spPr>
      </p:pic>
    </p:spTree>
    <p:extLst>
      <p:ext uri="{BB962C8B-B14F-4D97-AF65-F5344CB8AC3E}">
        <p14:creationId xmlns:p14="http://schemas.microsoft.com/office/powerpoint/2010/main" val="311585302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Shape 51"/>
        <p:cNvGrpSpPr/>
        <p:nvPr/>
      </p:nvGrpSpPr>
      <p:grpSpPr>
        <a:xfrm>
          <a:off x="0" y="0"/>
          <a:ext cx="0" cy="0"/>
          <a:chOff x="0" y="0"/>
          <a:chExt cx="0" cy="0"/>
        </a:xfrm>
      </p:grpSpPr>
      <p:pic>
        <p:nvPicPr>
          <p:cNvPr id="52" name="Shape 52"/>
          <p:cNvPicPr preferRelativeResize="0"/>
          <p:nvPr/>
        </p:nvPicPr>
        <p:blipFill>
          <a:blip r:embed="rId2">
            <a:alphaModFix/>
          </a:blip>
          <a:stretch>
            <a:fillRect/>
          </a:stretch>
        </p:blipFill>
        <p:spPr>
          <a:xfrm>
            <a:off x="0" y="0"/>
            <a:ext cx="12436475" cy="6994525"/>
          </a:xfrm>
          <a:prstGeom prst="rect">
            <a:avLst/>
          </a:prstGeom>
          <a:noFill/>
          <a:ln>
            <a:noFill/>
          </a:ln>
        </p:spPr>
      </p:pic>
    </p:spTree>
    <p:extLst>
      <p:ext uri="{BB962C8B-B14F-4D97-AF65-F5344CB8AC3E}">
        <p14:creationId xmlns:p14="http://schemas.microsoft.com/office/powerpoint/2010/main" val="362900720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53"/>
        <p:cNvGrpSpPr/>
        <p:nvPr/>
      </p:nvGrpSpPr>
      <p:grpSpPr>
        <a:xfrm>
          <a:off x="0" y="0"/>
          <a:ext cx="0" cy="0"/>
          <a:chOff x="0" y="0"/>
          <a:chExt cx="0" cy="0"/>
        </a:xfrm>
      </p:grpSpPr>
      <p:pic>
        <p:nvPicPr>
          <p:cNvPr id="54" name="Shape 54"/>
          <p:cNvPicPr preferRelativeResize="0"/>
          <p:nvPr/>
        </p:nvPicPr>
        <p:blipFill>
          <a:blip r:embed="rId2">
            <a:alphaModFix/>
          </a:blip>
          <a:stretch>
            <a:fillRect/>
          </a:stretch>
        </p:blipFill>
        <p:spPr>
          <a:xfrm>
            <a:off x="0" y="0"/>
            <a:ext cx="12436475" cy="6994525"/>
          </a:xfrm>
          <a:prstGeom prst="rect">
            <a:avLst/>
          </a:prstGeom>
          <a:noFill/>
          <a:ln>
            <a:noFill/>
          </a:ln>
        </p:spPr>
      </p:pic>
    </p:spTree>
    <p:extLst>
      <p:ext uri="{BB962C8B-B14F-4D97-AF65-F5344CB8AC3E}">
        <p14:creationId xmlns:p14="http://schemas.microsoft.com/office/powerpoint/2010/main" val="354599729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55"/>
        <p:cNvGrpSpPr/>
        <p:nvPr/>
      </p:nvGrpSpPr>
      <p:grpSpPr>
        <a:xfrm>
          <a:off x="0" y="0"/>
          <a:ext cx="0" cy="0"/>
          <a:chOff x="0" y="0"/>
          <a:chExt cx="0" cy="0"/>
        </a:xfrm>
      </p:grpSpPr>
      <p:pic>
        <p:nvPicPr>
          <p:cNvPr id="56" name="Shape 56"/>
          <p:cNvPicPr preferRelativeResize="0"/>
          <p:nvPr/>
        </p:nvPicPr>
        <p:blipFill>
          <a:blip r:embed="rId2">
            <a:alphaModFix/>
          </a:blip>
          <a:stretch>
            <a:fillRect/>
          </a:stretch>
        </p:blipFill>
        <p:spPr>
          <a:xfrm>
            <a:off x="0" y="0"/>
            <a:ext cx="12436475" cy="6994525"/>
          </a:xfrm>
          <a:prstGeom prst="rect">
            <a:avLst/>
          </a:prstGeom>
          <a:noFill/>
          <a:ln>
            <a:noFill/>
          </a:ln>
        </p:spPr>
      </p:pic>
    </p:spTree>
    <p:extLst>
      <p:ext uri="{BB962C8B-B14F-4D97-AF65-F5344CB8AC3E}">
        <p14:creationId xmlns:p14="http://schemas.microsoft.com/office/powerpoint/2010/main" val="408789929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57"/>
        <p:cNvGrpSpPr/>
        <p:nvPr/>
      </p:nvGrpSpPr>
      <p:grpSpPr>
        <a:xfrm>
          <a:off x="0" y="0"/>
          <a:ext cx="0" cy="0"/>
          <a:chOff x="0" y="0"/>
          <a:chExt cx="0" cy="0"/>
        </a:xfrm>
      </p:grpSpPr>
      <p:pic>
        <p:nvPicPr>
          <p:cNvPr id="58" name="Shape 58"/>
          <p:cNvPicPr preferRelativeResize="0"/>
          <p:nvPr/>
        </p:nvPicPr>
        <p:blipFill>
          <a:blip r:embed="rId2">
            <a:alphaModFix/>
          </a:blip>
          <a:stretch>
            <a:fillRect/>
          </a:stretch>
        </p:blipFill>
        <p:spPr>
          <a:xfrm>
            <a:off x="0" y="0"/>
            <a:ext cx="12436475" cy="6994525"/>
          </a:xfrm>
          <a:prstGeom prst="rect">
            <a:avLst/>
          </a:prstGeom>
          <a:noFill/>
          <a:ln>
            <a:noFill/>
          </a:ln>
        </p:spPr>
      </p:pic>
    </p:spTree>
    <p:extLst>
      <p:ext uri="{BB962C8B-B14F-4D97-AF65-F5344CB8AC3E}">
        <p14:creationId xmlns:p14="http://schemas.microsoft.com/office/powerpoint/2010/main" val="285639746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Content + Image Slide">
    <p:spTree>
      <p:nvGrpSpPr>
        <p:cNvPr id="1" name="Shape 131"/>
        <p:cNvGrpSpPr/>
        <p:nvPr/>
      </p:nvGrpSpPr>
      <p:grpSpPr>
        <a:xfrm>
          <a:off x="0" y="0"/>
          <a:ext cx="0" cy="0"/>
          <a:chOff x="0" y="0"/>
          <a:chExt cx="0" cy="0"/>
        </a:xfrm>
      </p:grpSpPr>
      <p:sp>
        <p:nvSpPr>
          <p:cNvPr id="132" name="Shape 132"/>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Clr>
                <a:srgbClr val="000000"/>
              </a:buClr>
              <a:buSzPct val="25000"/>
            </a:pPr>
            <a:fld id="{00000000-1234-1234-1234-123412341234}" type="slidenum">
              <a:rPr lang="en" sz="1904" smtClean="0">
                <a:solidFill>
                  <a:srgbClr val="000000"/>
                </a:solidFill>
                <a:latin typeface="Quattrocento Sans"/>
                <a:ea typeface="Quattrocento Sans"/>
                <a:cs typeface="Quattrocento Sans"/>
                <a:sym typeface="Quattrocento Sans"/>
              </a:rPr>
              <a:pPr algn="r">
                <a:buClr>
                  <a:srgbClr val="000000"/>
                </a:buClr>
                <a:buSzPct val="25000"/>
              </a:pPr>
              <a:t>‹#›</a:t>
            </a:fld>
            <a:endParaRPr lang="en" sz="1904">
              <a:solidFill>
                <a:srgbClr val="000000"/>
              </a:solidFill>
              <a:latin typeface="Quattrocento Sans"/>
              <a:ea typeface="Quattrocento Sans"/>
              <a:cs typeface="Quattrocento Sans"/>
              <a:sym typeface="Quattrocento Sans"/>
            </a:endParaRPr>
          </a:p>
        </p:txBody>
      </p:sp>
      <p:sp>
        <p:nvSpPr>
          <p:cNvPr id="133" name="Shape 133"/>
          <p:cNvSpPr txBox="1">
            <a:spLocks noGrp="1"/>
          </p:cNvSpPr>
          <p:nvPr>
            <p:ph type="title"/>
          </p:nvPr>
        </p:nvSpPr>
        <p:spPr>
          <a:xfrm>
            <a:off x="233184" y="233151"/>
            <a:ext cx="11970107" cy="652741"/>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134" name="Shape 134"/>
          <p:cNvSpPr>
            <a:spLocks noGrp="1"/>
          </p:cNvSpPr>
          <p:nvPr>
            <p:ph type="pic" idx="2"/>
          </p:nvPr>
        </p:nvSpPr>
        <p:spPr>
          <a:xfrm>
            <a:off x="391748" y="1861967"/>
            <a:ext cx="5682914" cy="4516150"/>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61111"/>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35" name="Shape 135"/>
          <p:cNvSpPr txBox="1">
            <a:spLocks noGrp="1"/>
          </p:cNvSpPr>
          <p:nvPr>
            <p:ph type="body" idx="1"/>
          </p:nvPr>
        </p:nvSpPr>
        <p:spPr>
          <a:xfrm>
            <a:off x="6295965" y="1861967"/>
            <a:ext cx="5907326" cy="4516150"/>
          </a:xfrm>
          <a:prstGeom prst="rect">
            <a:avLst/>
          </a:prstGeom>
          <a:noFill/>
          <a:ln>
            <a:noFill/>
          </a:ln>
        </p:spPr>
        <p:txBody>
          <a:bodyPr lIns="68575" tIns="68575" rIns="68575" bIns="68575" anchor="t" anchorCtr="0"/>
          <a:lstStyle>
            <a:lvl1pPr marL="0" marR="0" lvl="0" indent="0" algn="l" rtl="0">
              <a:lnSpc>
                <a:spcPct val="100000"/>
              </a:lnSpc>
              <a:spcBef>
                <a:spcPts val="680"/>
              </a:spcBef>
              <a:spcAft>
                <a:spcPts val="0"/>
              </a:spcAft>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742641" marR="0" lvl="1" indent="-172707" algn="l" rtl="0">
              <a:lnSpc>
                <a:spcPct val="100000"/>
              </a:lnSpc>
              <a:spcBef>
                <a:spcPts val="680"/>
              </a:spcBef>
              <a:buClr>
                <a:schemeClr val="dk2"/>
              </a:buClr>
              <a:buSzPct val="73333"/>
              <a:buFont typeface="Noto Sans Symbols"/>
              <a:buChar char="▪"/>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36" name="Shape 136"/>
          <p:cNvSpPr txBox="1">
            <a:spLocks noGrp="1"/>
          </p:cNvSpPr>
          <p:nvPr>
            <p:ph type="body" idx="3"/>
          </p:nvPr>
        </p:nvSpPr>
        <p:spPr>
          <a:xfrm>
            <a:off x="233184" y="93260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70583840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Divider Slide 2_Animated">
    <p:spTree>
      <p:nvGrpSpPr>
        <p:cNvPr id="1" name="Shape 137"/>
        <p:cNvGrpSpPr/>
        <p:nvPr/>
      </p:nvGrpSpPr>
      <p:grpSpPr>
        <a:xfrm>
          <a:off x="0" y="0"/>
          <a:ext cx="0" cy="0"/>
          <a:chOff x="0" y="0"/>
          <a:chExt cx="0" cy="0"/>
        </a:xfrm>
      </p:grpSpPr>
      <p:sp>
        <p:nvSpPr>
          <p:cNvPr id="138" name="Shape 138"/>
          <p:cNvSpPr/>
          <p:nvPr/>
        </p:nvSpPr>
        <p:spPr>
          <a:xfrm>
            <a:off x="967621" y="1"/>
            <a:ext cx="11468650" cy="6994525"/>
          </a:xfrm>
          <a:custGeom>
            <a:avLst/>
            <a:gdLst/>
            <a:ahLst/>
            <a:cxnLst/>
            <a:rect l="0" t="0" r="0" b="0"/>
            <a:pathLst>
              <a:path w="120000" h="120000" extrusionOk="0">
                <a:moveTo>
                  <a:pt x="15558" y="0"/>
                </a:moveTo>
                <a:lnTo>
                  <a:pt x="72829" y="0"/>
                </a:lnTo>
                <a:lnTo>
                  <a:pt x="72829" y="0"/>
                </a:lnTo>
                <a:lnTo>
                  <a:pt x="120000" y="0"/>
                </a:lnTo>
                <a:lnTo>
                  <a:pt x="120000" y="119999"/>
                </a:lnTo>
                <a:lnTo>
                  <a:pt x="72829" y="119999"/>
                </a:lnTo>
                <a:lnTo>
                  <a:pt x="0" y="119999"/>
                </a:lnTo>
                <a:close/>
              </a:path>
            </a:pathLst>
          </a:custGeom>
          <a:solidFill>
            <a:schemeClr val="accent1"/>
          </a:solidFill>
          <a:ln>
            <a:noFill/>
          </a:ln>
        </p:spPr>
        <p:txBody>
          <a:bodyPr lIns="93220" tIns="46610" rIns="93220" bIns="46610" anchor="t" anchorCtr="0">
            <a:noAutofit/>
          </a:bodyPr>
          <a:lstStyle/>
          <a:p>
            <a:pPr marL="0" marR="0" lvl="0" indent="0" algn="l" rtl="0">
              <a:lnSpc>
                <a:spcPct val="100000"/>
              </a:lnSpc>
              <a:spcBef>
                <a:spcPts val="0"/>
              </a:spcBef>
              <a:spcAft>
                <a:spcPts val="0"/>
              </a:spcAft>
              <a:buClr>
                <a:schemeClr val="dk1"/>
              </a:buClr>
              <a:buFont typeface="Calibri"/>
              <a:buNone/>
            </a:pPr>
            <a:endParaRPr sz="1768" b="0" i="0" u="none" strike="noStrike" cap="none">
              <a:solidFill>
                <a:srgbClr val="000000"/>
              </a:solidFill>
              <a:latin typeface="Quattrocento Sans"/>
              <a:ea typeface="Quattrocento Sans"/>
              <a:cs typeface="Quattrocento Sans"/>
              <a:sym typeface="Quattrocento Sans"/>
            </a:endParaRPr>
          </a:p>
        </p:txBody>
      </p:sp>
      <p:sp>
        <p:nvSpPr>
          <p:cNvPr id="139" name="Shape 139"/>
          <p:cNvSpPr txBox="1">
            <a:spLocks noGrp="1"/>
          </p:cNvSpPr>
          <p:nvPr>
            <p:ph type="body" idx="1"/>
          </p:nvPr>
        </p:nvSpPr>
        <p:spPr>
          <a:xfrm>
            <a:off x="2826707" y="4453275"/>
            <a:ext cx="9143339" cy="574820"/>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lt1"/>
              </a:buClr>
              <a:buFont typeface="Arial"/>
              <a:buNone/>
              <a:defRPr sz="2856" b="0" i="0" u="none" strike="noStrike" cap="none">
                <a:solidFill>
                  <a:schemeClr val="lt1"/>
                </a:solidFill>
                <a:latin typeface="Calibri"/>
                <a:ea typeface="Calibri"/>
                <a:cs typeface="Calibri"/>
                <a:sym typeface="Calibri"/>
              </a:defRPr>
            </a:lvl1pPr>
            <a:lvl2pPr marL="0" marR="0" lvl="1" indent="0" algn="l" rtl="0">
              <a:lnSpc>
                <a:spcPct val="100000"/>
              </a:lnSpc>
              <a:spcBef>
                <a:spcPts val="1088"/>
              </a:spcBef>
              <a:buClr>
                <a:schemeClr val="lt1"/>
              </a:buClr>
              <a:buFont typeface="Arial"/>
              <a:buNone/>
              <a:defRPr sz="3128" b="0" i="0" u="none" strike="noStrike" cap="none">
                <a:solidFill>
                  <a:schemeClr val="lt1"/>
                </a:solidFill>
                <a:latin typeface="Calibri"/>
                <a:ea typeface="Calibri"/>
                <a:cs typeface="Calibri"/>
                <a:sym typeface="Calibri"/>
              </a:defRPr>
            </a:lvl2pPr>
            <a:lvl3pPr marL="0" marR="0" lvl="2" indent="0" algn="l" rtl="0">
              <a:lnSpc>
                <a:spcPct val="100000"/>
              </a:lnSpc>
              <a:spcBef>
                <a:spcPts val="1088"/>
              </a:spcBef>
              <a:buClr>
                <a:schemeClr val="lt1"/>
              </a:buClr>
              <a:buFont typeface="Arial"/>
              <a:buNone/>
              <a:defRPr sz="3128" b="0" i="0" u="none" strike="noStrike" cap="none">
                <a:solidFill>
                  <a:schemeClr val="lt1"/>
                </a:solidFill>
                <a:latin typeface="Calibri"/>
                <a:ea typeface="Calibri"/>
                <a:cs typeface="Calibri"/>
                <a:sym typeface="Calibri"/>
              </a:defRPr>
            </a:lvl3pPr>
            <a:lvl4pPr marL="0" marR="0" lvl="3" indent="0" algn="l" rtl="0">
              <a:lnSpc>
                <a:spcPct val="100000"/>
              </a:lnSpc>
              <a:spcBef>
                <a:spcPts val="1088"/>
              </a:spcBef>
              <a:buClr>
                <a:schemeClr val="lt1"/>
              </a:buClr>
              <a:buFont typeface="Arial"/>
              <a:buNone/>
              <a:defRPr sz="3128" b="0" i="0" u="none" strike="noStrike" cap="none">
                <a:solidFill>
                  <a:schemeClr val="lt1"/>
                </a:solidFill>
                <a:latin typeface="Calibri"/>
                <a:ea typeface="Calibri"/>
                <a:cs typeface="Calibri"/>
                <a:sym typeface="Calibri"/>
              </a:defRPr>
            </a:lvl4pPr>
            <a:lvl5pPr marL="0" marR="0" lvl="4" indent="0" algn="l" rtl="0">
              <a:lnSpc>
                <a:spcPct val="100000"/>
              </a:lnSpc>
              <a:spcBef>
                <a:spcPts val="1088"/>
              </a:spcBef>
              <a:buClr>
                <a:schemeClr val="lt1"/>
              </a:buClr>
              <a:buFont typeface="Arial"/>
              <a:buNone/>
              <a:defRPr sz="3128" b="0" i="0" u="none" strike="noStrike" cap="none">
                <a:solidFill>
                  <a:schemeClr val="lt1"/>
                </a:solidFill>
                <a:latin typeface="Calibri"/>
                <a:ea typeface="Calibri"/>
                <a:cs typeface="Calibri"/>
                <a:sym typeface="Calibri"/>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40" name="Shape 140"/>
          <p:cNvSpPr txBox="1">
            <a:spLocks noGrp="1"/>
          </p:cNvSpPr>
          <p:nvPr>
            <p:ph type="title"/>
          </p:nvPr>
        </p:nvSpPr>
        <p:spPr>
          <a:xfrm>
            <a:off x="2826387" y="3497261"/>
            <a:ext cx="9143747" cy="946474"/>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lt1"/>
              </a:buClr>
              <a:buFont typeface="Quattrocento Sans"/>
              <a:buNone/>
              <a:defRPr sz="5440" b="0" i="0" u="none" strike="noStrike" cap="none">
                <a:solidFill>
                  <a:schemeClr val="l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Tree>
    <p:extLst>
      <p:ext uri="{BB962C8B-B14F-4D97-AF65-F5344CB8AC3E}">
        <p14:creationId xmlns:p14="http://schemas.microsoft.com/office/powerpoint/2010/main" val="2650426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Slide Number Placeholder 4"/>
          <p:cNvSpPr>
            <a:spLocks noGrp="1"/>
          </p:cNvSpPr>
          <p:nvPr>
            <p:ph type="sldNum" sz="quarter" idx="12"/>
          </p:nvPr>
        </p:nvSpPr>
        <p:spPr>
          <a:xfrm>
            <a:off x="11659196" y="6607563"/>
            <a:ext cx="777278" cy="386966"/>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6A4C1A4A-E5E6-4CC1-B72C-A20A4EB3E2D2}" type="slidenum">
              <a:rPr kumimoji="0" 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Text Placeholder 5"/>
          <p:cNvSpPr>
            <a:spLocks noGrp="1"/>
          </p:cNvSpPr>
          <p:nvPr>
            <p:ph type="body" sz="quarter" idx="13" hasCustomPrompt="1"/>
          </p:nvPr>
        </p:nvSpPr>
        <p:spPr>
          <a:xfrm>
            <a:off x="2" y="585026"/>
            <a:ext cx="12436475" cy="380490"/>
          </a:xfrm>
          <a:prstGeom prst="rect">
            <a:avLst/>
          </a:prstGeom>
        </p:spPr>
        <p:txBody>
          <a:bodyPr lIns="320040" tIns="53325" rIns="53325" bIns="53325">
            <a:noAutofit/>
          </a:bodyPr>
          <a:lstStyle>
            <a:lvl1pPr marL="0" indent="0">
              <a:buNone/>
              <a:defRPr sz="2855">
                <a:solidFill>
                  <a:schemeClr val="tx1"/>
                </a:solidFill>
                <a:latin typeface="Segoe UI Light" pitchFamily="34" charset="0"/>
              </a:defRPr>
            </a:lvl1pPr>
            <a:lvl2pPr marL="287193" indent="0">
              <a:buNone/>
              <a:defRPr/>
            </a:lvl2pPr>
            <a:lvl3pPr marL="600006" indent="0">
              <a:buNone/>
              <a:defRPr/>
            </a:lvl3pPr>
            <a:lvl4pPr marL="887200" indent="0">
              <a:buNone/>
              <a:defRPr/>
            </a:lvl4pPr>
            <a:lvl5pPr marL="1127202" indent="0">
              <a:buNone/>
              <a:defRPr/>
            </a:lvl5pPr>
          </a:lstStyle>
          <a:p>
            <a:pPr lvl="0"/>
            <a:r>
              <a:rPr lang="en-US" dirty="0"/>
              <a:t>Click to add subtitle</a:t>
            </a:r>
          </a:p>
        </p:txBody>
      </p:sp>
    </p:spTree>
    <p:extLst>
      <p:ext uri="{BB962C8B-B14F-4D97-AF65-F5344CB8AC3E}">
        <p14:creationId xmlns:p14="http://schemas.microsoft.com/office/powerpoint/2010/main" val="2056898609"/>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Shape 141"/>
        <p:cNvGrpSpPr/>
        <p:nvPr/>
      </p:nvGrpSpPr>
      <p:grpSpPr>
        <a:xfrm>
          <a:off x="0" y="0"/>
          <a:ext cx="0" cy="0"/>
          <a:chOff x="0" y="0"/>
          <a:chExt cx="0" cy="0"/>
        </a:xfrm>
      </p:grpSpPr>
      <p:sp>
        <p:nvSpPr>
          <p:cNvPr id="142" name="Shape 142"/>
          <p:cNvSpPr txBox="1">
            <a:spLocks noGrp="1"/>
          </p:cNvSpPr>
          <p:nvPr>
            <p:ph type="title"/>
          </p:nvPr>
        </p:nvSpPr>
        <p:spPr>
          <a:xfrm>
            <a:off x="233184" y="233151"/>
            <a:ext cx="11970107" cy="652741"/>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143" name="Shape 143"/>
          <p:cNvSpPr txBox="1">
            <a:spLocks noGrp="1"/>
          </p:cNvSpPr>
          <p:nvPr>
            <p:ph type="body" idx="1"/>
          </p:nvPr>
        </p:nvSpPr>
        <p:spPr>
          <a:xfrm>
            <a:off x="274637" y="1212850"/>
            <a:ext cx="11887279" cy="2025127"/>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2245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44903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690829" marR="0" lvl="4" indent="-17271"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28323915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cSld name="Introduction">
    <p:spTree>
      <p:nvGrpSpPr>
        <p:cNvPr id="1" name="Shape 144"/>
        <p:cNvGrpSpPr/>
        <p:nvPr/>
      </p:nvGrpSpPr>
      <p:grpSpPr>
        <a:xfrm>
          <a:off x="0" y="0"/>
          <a:ext cx="0" cy="0"/>
          <a:chOff x="0" y="0"/>
          <a:chExt cx="0" cy="0"/>
        </a:xfrm>
      </p:grpSpPr>
      <p:sp>
        <p:nvSpPr>
          <p:cNvPr id="145" name="Shape 145"/>
          <p:cNvSpPr>
            <a:spLocks noGrp="1"/>
          </p:cNvSpPr>
          <p:nvPr>
            <p:ph type="pic" idx="2"/>
          </p:nvPr>
        </p:nvSpPr>
        <p:spPr>
          <a:xfrm>
            <a:off x="6140509" y="1585424"/>
            <a:ext cx="6062782" cy="3730413"/>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61111"/>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46" name="Shape 146"/>
          <p:cNvSpPr txBox="1">
            <a:spLocks noGrp="1"/>
          </p:cNvSpPr>
          <p:nvPr>
            <p:ph type="body" idx="1"/>
          </p:nvPr>
        </p:nvSpPr>
        <p:spPr>
          <a:xfrm>
            <a:off x="233182" y="3107197"/>
            <a:ext cx="5689851" cy="2238085"/>
          </a:xfrm>
          <a:prstGeom prst="rect">
            <a:avLst/>
          </a:prstGeom>
          <a:noFill/>
          <a:ln>
            <a:noFill/>
          </a:ln>
        </p:spPr>
        <p:txBody>
          <a:bodyPr lIns="68575" tIns="68575" rIns="68575" bIns="68575" anchor="t" anchorCtr="0"/>
          <a:lstStyle>
            <a:lvl1pPr marL="0" marR="0" lvl="0" indent="0" algn="l" rtl="0">
              <a:lnSpc>
                <a:spcPct val="100000"/>
              </a:lnSpc>
              <a:spcBef>
                <a:spcPts val="544"/>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0" marR="0" lvl="1" indent="0" algn="l" rtl="0">
              <a:lnSpc>
                <a:spcPct val="100000"/>
              </a:lnSpc>
              <a:spcBef>
                <a:spcPts val="544"/>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2pPr>
            <a:lvl3pPr marL="0" marR="0" lvl="2" indent="0" algn="l" rtl="0">
              <a:lnSpc>
                <a:spcPct val="100000"/>
              </a:lnSpc>
              <a:spcBef>
                <a:spcPts val="544"/>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0" marR="0" lvl="3" indent="0" algn="l" rtl="0">
              <a:lnSpc>
                <a:spcPct val="100000"/>
              </a:lnSpc>
              <a:spcBef>
                <a:spcPts val="544"/>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4pPr>
            <a:lvl5pPr marL="0" marR="0" lvl="4" indent="0" algn="l" rtl="0">
              <a:lnSpc>
                <a:spcPct val="100000"/>
              </a:lnSpc>
              <a:spcBef>
                <a:spcPts val="544"/>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47" name="Shape 147"/>
          <p:cNvSpPr txBox="1">
            <a:spLocks noGrp="1"/>
          </p:cNvSpPr>
          <p:nvPr>
            <p:ph type="body" idx="3"/>
          </p:nvPr>
        </p:nvSpPr>
        <p:spPr>
          <a:xfrm>
            <a:off x="233182" y="1585425"/>
            <a:ext cx="5689851" cy="1305480"/>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accent1"/>
              </a:buClr>
              <a:buFont typeface="Arial"/>
              <a:buNone/>
              <a:defRPr sz="3672" b="0" i="0" u="none" strike="noStrike" cap="none">
                <a:solidFill>
                  <a:schemeClr val="accent1"/>
                </a:solidFill>
                <a:latin typeface="Quattrocento Sans"/>
                <a:ea typeface="Quattrocento Sans"/>
                <a:cs typeface="Quattrocento Sans"/>
                <a:sym typeface="Quattrocento Sans"/>
              </a:defRPr>
            </a:lvl1pPr>
            <a:lvl2pPr marL="0" marR="0" lvl="1" indent="0" algn="l" rtl="0">
              <a:lnSpc>
                <a:spcPct val="100000"/>
              </a:lnSpc>
              <a:spcBef>
                <a:spcPts val="0"/>
              </a:spcBef>
              <a:buClr>
                <a:schemeClr val="dk2"/>
              </a:buClr>
              <a:buFont typeface="Arial"/>
              <a:buNone/>
              <a:defRPr sz="2856"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48" name="Shape 148"/>
          <p:cNvSpPr/>
          <p:nvPr/>
        </p:nvSpPr>
        <p:spPr>
          <a:xfrm rot="5400000">
            <a:off x="-329222" y="1853248"/>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374812258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cSld name="Transition">
    <p:spTree>
      <p:nvGrpSpPr>
        <p:cNvPr id="1" name="Shape 149"/>
        <p:cNvGrpSpPr/>
        <p:nvPr/>
      </p:nvGrpSpPr>
      <p:grpSpPr>
        <a:xfrm>
          <a:off x="0" y="0"/>
          <a:ext cx="0" cy="0"/>
          <a:chOff x="0" y="0"/>
          <a:chExt cx="0" cy="0"/>
        </a:xfrm>
      </p:grpSpPr>
      <p:sp>
        <p:nvSpPr>
          <p:cNvPr id="150" name="Shape 150"/>
          <p:cNvSpPr txBox="1">
            <a:spLocks noGrp="1"/>
          </p:cNvSpPr>
          <p:nvPr>
            <p:ph type="body" idx="1"/>
          </p:nvPr>
        </p:nvSpPr>
        <p:spPr>
          <a:xfrm>
            <a:off x="233182" y="3107197"/>
            <a:ext cx="5689851" cy="2238085"/>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51" name="Shape 151"/>
          <p:cNvSpPr>
            <a:spLocks noGrp="1"/>
          </p:cNvSpPr>
          <p:nvPr>
            <p:ph type="pic" idx="2"/>
          </p:nvPr>
        </p:nvSpPr>
        <p:spPr>
          <a:xfrm>
            <a:off x="6140509" y="1585424"/>
            <a:ext cx="6062782" cy="3730413"/>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61111"/>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52" name="Shape 152"/>
          <p:cNvSpPr txBox="1">
            <a:spLocks noGrp="1"/>
          </p:cNvSpPr>
          <p:nvPr>
            <p:ph type="body" idx="3"/>
          </p:nvPr>
        </p:nvSpPr>
        <p:spPr>
          <a:xfrm>
            <a:off x="233182" y="1585425"/>
            <a:ext cx="5689851" cy="1305480"/>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accent1"/>
              </a:buClr>
              <a:buFont typeface="Arial"/>
              <a:buNone/>
              <a:defRPr sz="3672" b="0" i="0" u="none" strike="noStrike" cap="none">
                <a:solidFill>
                  <a:schemeClr val="accent1"/>
                </a:solidFill>
                <a:latin typeface="Quattrocento Sans"/>
                <a:ea typeface="Quattrocento Sans"/>
                <a:cs typeface="Quattrocento Sans"/>
                <a:sym typeface="Quattrocento Sans"/>
              </a:defRPr>
            </a:lvl1pPr>
            <a:lvl2pPr marL="0" marR="0" lvl="1" indent="0" algn="l" rtl="0">
              <a:lnSpc>
                <a:spcPct val="100000"/>
              </a:lnSpc>
              <a:spcBef>
                <a:spcPts val="0"/>
              </a:spcBef>
              <a:buClr>
                <a:schemeClr val="dk2"/>
              </a:buClr>
              <a:buFont typeface="Arial"/>
              <a:buNone/>
              <a:defRPr sz="2856"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53" name="Shape 153"/>
          <p:cNvSpPr/>
          <p:nvPr/>
        </p:nvSpPr>
        <p:spPr>
          <a:xfrm rot="5400000">
            <a:off x="-329222" y="1853248"/>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279133342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Agenda">
    <p:spTree>
      <p:nvGrpSpPr>
        <p:cNvPr id="1" name="Shape 154"/>
        <p:cNvGrpSpPr/>
        <p:nvPr/>
      </p:nvGrpSpPr>
      <p:grpSpPr>
        <a:xfrm>
          <a:off x="0" y="0"/>
          <a:ext cx="0" cy="0"/>
          <a:chOff x="0" y="0"/>
          <a:chExt cx="0" cy="0"/>
        </a:xfrm>
      </p:grpSpPr>
      <p:sp>
        <p:nvSpPr>
          <p:cNvPr id="155" name="Shape 155"/>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156" name="Shape 156"/>
          <p:cNvSpPr txBox="1">
            <a:spLocks noGrp="1"/>
          </p:cNvSpPr>
          <p:nvPr>
            <p:ph type="body" idx="1"/>
          </p:nvPr>
        </p:nvSpPr>
        <p:spPr>
          <a:xfrm>
            <a:off x="2972464" y="1585424"/>
            <a:ext cx="8907911" cy="3730413"/>
          </a:xfrm>
          <a:prstGeom prst="rect">
            <a:avLst/>
          </a:prstGeom>
          <a:noFill/>
          <a:ln>
            <a:noFill/>
          </a:ln>
        </p:spPr>
        <p:txBody>
          <a:bodyPr lIns="68575" tIns="68575" rIns="68575" bIns="68575" anchor="t" anchorCtr="0"/>
          <a:lstStyle>
            <a:lvl1pPr marL="0" marR="0" lvl="0" indent="0" algn="l" rtl="0">
              <a:lnSpc>
                <a:spcPct val="100000"/>
              </a:lnSpc>
              <a:spcBef>
                <a:spcPts val="1904"/>
              </a:spcBef>
              <a:spcAft>
                <a:spcPts val="0"/>
              </a:spcAft>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656288" marR="0" lvl="1" indent="-103624" algn="l" rtl="0">
              <a:lnSpc>
                <a:spcPct val="100000"/>
              </a:lnSpc>
              <a:spcBef>
                <a:spcPts val="1088"/>
              </a:spcBef>
              <a:buClr>
                <a:schemeClr val="dk2"/>
              </a:buClr>
              <a:buSzPct val="71428"/>
              <a:buFont typeface="Noto Sans Symbols"/>
              <a:buChar char="▪"/>
              <a:defRPr sz="1904"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57" name="Shape 157"/>
          <p:cNvSpPr txBox="1">
            <a:spLocks noGrp="1"/>
          </p:cNvSpPr>
          <p:nvPr>
            <p:ph type="body" idx="2"/>
          </p:nvPr>
        </p:nvSpPr>
        <p:spPr>
          <a:xfrm>
            <a:off x="233183" y="1585425"/>
            <a:ext cx="2564819" cy="1305480"/>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accent1"/>
              </a:buClr>
              <a:buFont typeface="Arial"/>
              <a:buNone/>
              <a:defRPr sz="3672" b="0" i="0" u="none" strike="noStrike" cap="none">
                <a:solidFill>
                  <a:schemeClr val="accent1"/>
                </a:solidFill>
                <a:latin typeface="Quattrocento Sans"/>
                <a:ea typeface="Quattrocento Sans"/>
                <a:cs typeface="Quattrocento Sans"/>
                <a:sym typeface="Quattrocento Sans"/>
              </a:defRPr>
            </a:lvl1pPr>
            <a:lvl2pPr marL="0" marR="0" lvl="1" indent="0" algn="l" rtl="0">
              <a:lnSpc>
                <a:spcPct val="100000"/>
              </a:lnSpc>
              <a:spcBef>
                <a:spcPts val="0"/>
              </a:spcBef>
              <a:buClr>
                <a:schemeClr val="dk2"/>
              </a:buClr>
              <a:buFont typeface="Arial"/>
              <a:buNone/>
              <a:defRPr sz="2856"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58" name="Shape 158"/>
          <p:cNvSpPr/>
          <p:nvPr/>
        </p:nvSpPr>
        <p:spPr>
          <a:xfrm rot="5400000">
            <a:off x="-329222" y="1853248"/>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264496688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Agenda 2">
    <p:spTree>
      <p:nvGrpSpPr>
        <p:cNvPr id="1" name="Shape 159"/>
        <p:cNvGrpSpPr/>
        <p:nvPr/>
      </p:nvGrpSpPr>
      <p:grpSpPr>
        <a:xfrm>
          <a:off x="0" y="0"/>
          <a:ext cx="0" cy="0"/>
          <a:chOff x="0" y="0"/>
          <a:chExt cx="0" cy="0"/>
        </a:xfrm>
      </p:grpSpPr>
      <p:sp>
        <p:nvSpPr>
          <p:cNvPr id="160" name="Shape 160"/>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161" name="Shape 161"/>
          <p:cNvSpPr txBox="1">
            <a:spLocks noGrp="1"/>
          </p:cNvSpPr>
          <p:nvPr>
            <p:ph type="body" idx="1"/>
          </p:nvPr>
        </p:nvSpPr>
        <p:spPr>
          <a:xfrm>
            <a:off x="233184" y="1585424"/>
            <a:ext cx="3788881" cy="4792341"/>
          </a:xfrm>
          <a:prstGeom prst="rect">
            <a:avLst/>
          </a:prstGeom>
          <a:noFill/>
          <a:ln>
            <a:noFill/>
          </a:ln>
        </p:spPr>
        <p:txBody>
          <a:bodyPr lIns="68575" tIns="68575" rIns="68575" bIns="68575" anchor="t" anchorCtr="0"/>
          <a:lstStyle>
            <a:lvl1pPr marL="0" marR="0" lvl="0" indent="0" algn="l" rtl="0">
              <a:lnSpc>
                <a:spcPct val="100000"/>
              </a:lnSpc>
              <a:spcBef>
                <a:spcPts val="1904"/>
              </a:spcBef>
              <a:spcAft>
                <a:spcPts val="0"/>
              </a:spcAft>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656288" marR="0" lvl="1" indent="-103624" algn="l" rtl="0">
              <a:lnSpc>
                <a:spcPct val="100000"/>
              </a:lnSpc>
              <a:spcBef>
                <a:spcPts val="1088"/>
              </a:spcBef>
              <a:buClr>
                <a:schemeClr val="dk2"/>
              </a:buClr>
              <a:buSzPct val="71428"/>
              <a:buFont typeface="Noto Sans Symbols"/>
              <a:buChar char="▪"/>
              <a:defRPr sz="1904"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62" name="Shape 162"/>
          <p:cNvSpPr txBox="1">
            <a:spLocks noGrp="1"/>
          </p:cNvSpPr>
          <p:nvPr>
            <p:ph type="title"/>
          </p:nvPr>
        </p:nvSpPr>
        <p:spPr>
          <a:xfrm>
            <a:off x="233184" y="233151"/>
            <a:ext cx="11970107" cy="1305481"/>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163" name="Shape 163"/>
          <p:cNvSpPr txBox="1">
            <a:spLocks noGrp="1"/>
          </p:cNvSpPr>
          <p:nvPr>
            <p:ph type="body" idx="2"/>
          </p:nvPr>
        </p:nvSpPr>
        <p:spPr>
          <a:xfrm>
            <a:off x="4323895" y="1585424"/>
            <a:ext cx="3788881" cy="4792341"/>
          </a:xfrm>
          <a:prstGeom prst="rect">
            <a:avLst/>
          </a:prstGeom>
          <a:noFill/>
          <a:ln>
            <a:noFill/>
          </a:ln>
        </p:spPr>
        <p:txBody>
          <a:bodyPr lIns="68575" tIns="68575" rIns="68575" bIns="68575" anchor="t" anchorCtr="0"/>
          <a:lstStyle>
            <a:lvl1pPr marL="0" marR="0" lvl="0" indent="0" algn="l" rtl="0">
              <a:lnSpc>
                <a:spcPct val="100000"/>
              </a:lnSpc>
              <a:spcBef>
                <a:spcPts val="1904"/>
              </a:spcBef>
              <a:spcAft>
                <a:spcPts val="0"/>
              </a:spcAft>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656288" marR="0" lvl="1" indent="-103624" algn="l" rtl="0">
              <a:lnSpc>
                <a:spcPct val="100000"/>
              </a:lnSpc>
              <a:spcBef>
                <a:spcPts val="1088"/>
              </a:spcBef>
              <a:buClr>
                <a:schemeClr val="dk2"/>
              </a:buClr>
              <a:buSzPct val="71428"/>
              <a:buFont typeface="Noto Sans Symbols"/>
              <a:buChar char="▪"/>
              <a:defRPr sz="1904"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64" name="Shape 164"/>
          <p:cNvSpPr txBox="1">
            <a:spLocks noGrp="1"/>
          </p:cNvSpPr>
          <p:nvPr>
            <p:ph type="body" idx="3"/>
          </p:nvPr>
        </p:nvSpPr>
        <p:spPr>
          <a:xfrm>
            <a:off x="8414607" y="1585424"/>
            <a:ext cx="3788881" cy="4792341"/>
          </a:xfrm>
          <a:prstGeom prst="rect">
            <a:avLst/>
          </a:prstGeom>
          <a:noFill/>
          <a:ln>
            <a:noFill/>
          </a:ln>
        </p:spPr>
        <p:txBody>
          <a:bodyPr lIns="68575" tIns="68575" rIns="68575" bIns="68575" anchor="t" anchorCtr="0"/>
          <a:lstStyle>
            <a:lvl1pPr marL="0" marR="0" lvl="0" indent="0" algn="l" rtl="0">
              <a:lnSpc>
                <a:spcPct val="100000"/>
              </a:lnSpc>
              <a:spcBef>
                <a:spcPts val="1904"/>
              </a:spcBef>
              <a:spcAft>
                <a:spcPts val="0"/>
              </a:spcAft>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656288" marR="0" lvl="1" indent="-103624" algn="l" rtl="0">
              <a:lnSpc>
                <a:spcPct val="100000"/>
              </a:lnSpc>
              <a:spcBef>
                <a:spcPts val="1088"/>
              </a:spcBef>
              <a:buClr>
                <a:schemeClr val="dk2"/>
              </a:buClr>
              <a:buSzPct val="71428"/>
              <a:buFont typeface="Noto Sans Symbols"/>
              <a:buChar char="▪"/>
              <a:defRPr sz="1904"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65" name="Shape 165"/>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190962101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cSld name="Content">
    <p:spTree>
      <p:nvGrpSpPr>
        <p:cNvPr id="1" name="Shape 166"/>
        <p:cNvGrpSpPr/>
        <p:nvPr/>
      </p:nvGrpSpPr>
      <p:grpSpPr>
        <a:xfrm>
          <a:off x="0" y="0"/>
          <a:ext cx="0" cy="0"/>
          <a:chOff x="0" y="0"/>
          <a:chExt cx="0" cy="0"/>
        </a:xfrm>
      </p:grpSpPr>
      <p:sp>
        <p:nvSpPr>
          <p:cNvPr id="167" name="Shape 167"/>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168" name="Shape 168"/>
          <p:cNvSpPr txBox="1">
            <a:spLocks noGrp="1"/>
          </p:cNvSpPr>
          <p:nvPr>
            <p:ph type="title"/>
          </p:nvPr>
        </p:nvSpPr>
        <p:spPr>
          <a:xfrm>
            <a:off x="233183"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169" name="Shape 169"/>
          <p:cNvSpPr txBox="1">
            <a:spLocks noGrp="1"/>
          </p:cNvSpPr>
          <p:nvPr>
            <p:ph type="body" idx="1"/>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70" name="Shape 170"/>
          <p:cNvSpPr txBox="1">
            <a:spLocks noGrp="1"/>
          </p:cNvSpPr>
          <p:nvPr>
            <p:ph type="body" idx="2"/>
          </p:nvPr>
        </p:nvSpPr>
        <p:spPr>
          <a:xfrm>
            <a:off x="233183" y="1585424"/>
            <a:ext cx="11970107" cy="4516150"/>
          </a:xfrm>
          <a:prstGeom prst="rect">
            <a:avLst/>
          </a:prstGeom>
          <a:noFill/>
          <a:ln>
            <a:noFill/>
          </a:ln>
        </p:spPr>
        <p:txBody>
          <a:bodyPr lIns="68575" tIns="68575" rIns="68575" bIns="68575" anchor="t" anchorCtr="0"/>
          <a:lstStyle>
            <a:lvl1pPr marL="0" marR="0" lvl="0" indent="0" algn="l" rtl="0">
              <a:lnSpc>
                <a:spcPct val="100000"/>
              </a:lnSpc>
              <a:spcBef>
                <a:spcPts val="680"/>
              </a:spcBef>
              <a:spcAft>
                <a:spcPts val="0"/>
              </a:spcAft>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742641" marR="0" lvl="1" indent="-172707" algn="l" rtl="0">
              <a:lnSpc>
                <a:spcPct val="100000"/>
              </a:lnSpc>
              <a:spcBef>
                <a:spcPts val="680"/>
              </a:spcBef>
              <a:buClr>
                <a:schemeClr val="dk2"/>
              </a:buClr>
              <a:buSzPct val="73333"/>
              <a:buFont typeface="Noto Sans Symbols"/>
              <a:buChar char="▪"/>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71" name="Shape 171"/>
          <p:cNvSpPr txBox="1">
            <a:spLocks noGrp="1"/>
          </p:cNvSpPr>
          <p:nvPr>
            <p:ph type="body" idx="3"/>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72" name="Shape 172"/>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976961057"/>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Content &amp; Content">
    <p:spTree>
      <p:nvGrpSpPr>
        <p:cNvPr id="1" name="Shape 173"/>
        <p:cNvGrpSpPr/>
        <p:nvPr/>
      </p:nvGrpSpPr>
      <p:grpSpPr>
        <a:xfrm>
          <a:off x="0" y="0"/>
          <a:ext cx="0" cy="0"/>
          <a:chOff x="0" y="0"/>
          <a:chExt cx="0" cy="0"/>
        </a:xfrm>
      </p:grpSpPr>
      <p:sp>
        <p:nvSpPr>
          <p:cNvPr id="174" name="Shape 174"/>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175" name="Shape 175"/>
          <p:cNvSpPr txBox="1">
            <a:spLocks noGrp="1"/>
          </p:cNvSpPr>
          <p:nvPr>
            <p:ph type="title"/>
          </p:nvPr>
        </p:nvSpPr>
        <p:spPr>
          <a:xfrm>
            <a:off x="233184"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176" name="Shape 176"/>
          <p:cNvSpPr txBox="1">
            <a:spLocks noGrp="1"/>
          </p:cNvSpPr>
          <p:nvPr>
            <p:ph type="body" idx="1"/>
          </p:nvPr>
        </p:nvSpPr>
        <p:spPr>
          <a:xfrm>
            <a:off x="6295965" y="1585424"/>
            <a:ext cx="5907326" cy="4516150"/>
          </a:xfrm>
          <a:prstGeom prst="rect">
            <a:avLst/>
          </a:prstGeom>
          <a:solidFill>
            <a:schemeClr val="lt2"/>
          </a:solidFill>
          <a:ln>
            <a:noFill/>
          </a:ln>
        </p:spPr>
        <p:txBody>
          <a:bodyPr lIns="68575" tIns="68575" rIns="68575" bIns="68575" anchor="t" anchorCtr="0"/>
          <a:lstStyle>
            <a:lvl1pPr marL="0" marR="0" lvl="0" indent="0" algn="l" rtl="0">
              <a:lnSpc>
                <a:spcPct val="100000"/>
              </a:lnSpc>
              <a:spcBef>
                <a:spcPts val="680"/>
              </a:spcBef>
              <a:spcAft>
                <a:spcPts val="0"/>
              </a:spcAft>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742641" marR="0" lvl="1" indent="-172707" algn="l" rtl="0">
              <a:lnSpc>
                <a:spcPct val="100000"/>
              </a:lnSpc>
              <a:spcBef>
                <a:spcPts val="680"/>
              </a:spcBef>
              <a:buClr>
                <a:schemeClr val="dk2"/>
              </a:buClr>
              <a:buSzPct val="73333"/>
              <a:buFont typeface="Noto Sans Symbols"/>
              <a:buChar char="▪"/>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77" name="Shape 177"/>
          <p:cNvSpPr txBox="1">
            <a:spLocks noGrp="1"/>
          </p:cNvSpPr>
          <p:nvPr>
            <p:ph type="body" idx="2"/>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78" name="Shape 178"/>
          <p:cNvSpPr txBox="1">
            <a:spLocks noGrp="1"/>
          </p:cNvSpPr>
          <p:nvPr>
            <p:ph type="body" idx="3"/>
          </p:nvPr>
        </p:nvSpPr>
        <p:spPr>
          <a:xfrm>
            <a:off x="233184" y="1585424"/>
            <a:ext cx="5841634" cy="4516150"/>
          </a:xfrm>
          <a:prstGeom prst="rect">
            <a:avLst/>
          </a:prstGeom>
          <a:solidFill>
            <a:schemeClr val="lt2"/>
          </a:solidFill>
          <a:ln>
            <a:noFill/>
          </a:ln>
        </p:spPr>
        <p:txBody>
          <a:bodyPr lIns="68575" tIns="68575" rIns="68575" bIns="68575" anchor="t" anchorCtr="0"/>
          <a:lstStyle>
            <a:lvl1pPr marL="0" marR="0" lvl="0" indent="0" algn="l" rtl="0">
              <a:lnSpc>
                <a:spcPct val="100000"/>
              </a:lnSpc>
              <a:spcBef>
                <a:spcPts val="680"/>
              </a:spcBef>
              <a:spcAft>
                <a:spcPts val="0"/>
              </a:spcAft>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742641" marR="0" lvl="1" indent="-172707" algn="l" rtl="0">
              <a:lnSpc>
                <a:spcPct val="100000"/>
              </a:lnSpc>
              <a:spcBef>
                <a:spcPts val="680"/>
              </a:spcBef>
              <a:buClr>
                <a:schemeClr val="dk2"/>
              </a:buClr>
              <a:buSzPct val="73333"/>
              <a:buFont typeface="Noto Sans Symbols"/>
              <a:buChar char="▪"/>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79" name="Shape 179"/>
          <p:cNvSpPr txBox="1">
            <a:spLocks noGrp="1"/>
          </p:cNvSpPr>
          <p:nvPr>
            <p:ph type="body" idx="4"/>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80" name="Shape 180"/>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372721901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cSld name="Content &amp; Image">
    <p:spTree>
      <p:nvGrpSpPr>
        <p:cNvPr id="1" name="Shape 181"/>
        <p:cNvGrpSpPr/>
        <p:nvPr/>
      </p:nvGrpSpPr>
      <p:grpSpPr>
        <a:xfrm>
          <a:off x="0" y="0"/>
          <a:ext cx="0" cy="0"/>
          <a:chOff x="0" y="0"/>
          <a:chExt cx="0" cy="0"/>
        </a:xfrm>
      </p:grpSpPr>
      <p:sp>
        <p:nvSpPr>
          <p:cNvPr id="182" name="Shape 182"/>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183" name="Shape 183"/>
          <p:cNvSpPr txBox="1">
            <a:spLocks noGrp="1"/>
          </p:cNvSpPr>
          <p:nvPr>
            <p:ph type="title"/>
          </p:nvPr>
        </p:nvSpPr>
        <p:spPr>
          <a:xfrm>
            <a:off x="233184"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184" name="Shape 184"/>
          <p:cNvSpPr>
            <a:spLocks noGrp="1"/>
          </p:cNvSpPr>
          <p:nvPr>
            <p:ph type="pic" idx="2"/>
          </p:nvPr>
        </p:nvSpPr>
        <p:spPr>
          <a:xfrm>
            <a:off x="233184" y="1585424"/>
            <a:ext cx="5841634" cy="4516150"/>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61111"/>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85" name="Shape 185"/>
          <p:cNvSpPr txBox="1">
            <a:spLocks noGrp="1"/>
          </p:cNvSpPr>
          <p:nvPr>
            <p:ph type="body" idx="1"/>
          </p:nvPr>
        </p:nvSpPr>
        <p:spPr>
          <a:xfrm>
            <a:off x="6295965" y="1585424"/>
            <a:ext cx="5907326" cy="4516150"/>
          </a:xfrm>
          <a:prstGeom prst="rect">
            <a:avLst/>
          </a:prstGeom>
          <a:noFill/>
          <a:ln>
            <a:noFill/>
          </a:ln>
        </p:spPr>
        <p:txBody>
          <a:bodyPr lIns="68575" tIns="68575" rIns="68575" bIns="68575" anchor="t" anchorCtr="0"/>
          <a:lstStyle>
            <a:lvl1pPr marL="0" marR="0" lvl="0" indent="0" algn="l" rtl="0">
              <a:lnSpc>
                <a:spcPct val="100000"/>
              </a:lnSpc>
              <a:spcBef>
                <a:spcPts val="680"/>
              </a:spcBef>
              <a:spcAft>
                <a:spcPts val="0"/>
              </a:spcAft>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742641" marR="0" lvl="1" indent="-172707" algn="l" rtl="0">
              <a:lnSpc>
                <a:spcPct val="100000"/>
              </a:lnSpc>
              <a:spcBef>
                <a:spcPts val="680"/>
              </a:spcBef>
              <a:buClr>
                <a:schemeClr val="dk2"/>
              </a:buClr>
              <a:buSzPct val="73333"/>
              <a:buFont typeface="Noto Sans Symbols"/>
              <a:buChar char="▪"/>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86" name="Shape 186"/>
          <p:cNvSpPr txBox="1">
            <a:spLocks noGrp="1"/>
          </p:cNvSpPr>
          <p:nvPr>
            <p:ph type="body" idx="3"/>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87" name="Shape 187"/>
          <p:cNvSpPr txBox="1">
            <a:spLocks noGrp="1"/>
          </p:cNvSpPr>
          <p:nvPr>
            <p:ph type="body" idx="4"/>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88" name="Shape 188"/>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172094377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cSld name="Image">
    <p:spTree>
      <p:nvGrpSpPr>
        <p:cNvPr id="1" name="Shape 189"/>
        <p:cNvGrpSpPr/>
        <p:nvPr/>
      </p:nvGrpSpPr>
      <p:grpSpPr>
        <a:xfrm>
          <a:off x="0" y="0"/>
          <a:ext cx="0" cy="0"/>
          <a:chOff x="0" y="0"/>
          <a:chExt cx="0" cy="0"/>
        </a:xfrm>
      </p:grpSpPr>
      <p:sp>
        <p:nvSpPr>
          <p:cNvPr id="190" name="Shape 190"/>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191" name="Shape 191"/>
          <p:cNvSpPr>
            <a:spLocks noGrp="1"/>
          </p:cNvSpPr>
          <p:nvPr>
            <p:ph type="pic" idx="2"/>
          </p:nvPr>
        </p:nvSpPr>
        <p:spPr>
          <a:xfrm>
            <a:off x="233184" y="1585424"/>
            <a:ext cx="11970107" cy="4516150"/>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61111"/>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92" name="Shape 192"/>
          <p:cNvSpPr txBox="1">
            <a:spLocks noGrp="1"/>
          </p:cNvSpPr>
          <p:nvPr>
            <p:ph type="title"/>
          </p:nvPr>
        </p:nvSpPr>
        <p:spPr>
          <a:xfrm>
            <a:off x="233184"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193" name="Shape 193"/>
          <p:cNvSpPr txBox="1">
            <a:spLocks noGrp="1"/>
          </p:cNvSpPr>
          <p:nvPr>
            <p:ph type="body" idx="1"/>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94" name="Shape 194"/>
          <p:cNvSpPr txBox="1">
            <a:spLocks noGrp="1"/>
          </p:cNvSpPr>
          <p:nvPr>
            <p:ph type="body" idx="3"/>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95" name="Shape 195"/>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419699626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cSld name="Photo 1">
    <p:spTree>
      <p:nvGrpSpPr>
        <p:cNvPr id="1" name="Shape 196"/>
        <p:cNvGrpSpPr/>
        <p:nvPr/>
      </p:nvGrpSpPr>
      <p:grpSpPr>
        <a:xfrm>
          <a:off x="0" y="0"/>
          <a:ext cx="0" cy="0"/>
          <a:chOff x="0" y="0"/>
          <a:chExt cx="0" cy="0"/>
        </a:xfrm>
      </p:grpSpPr>
      <p:sp>
        <p:nvSpPr>
          <p:cNvPr id="197" name="Shape 197"/>
          <p:cNvSpPr txBox="1">
            <a:spLocks noGrp="1"/>
          </p:cNvSpPr>
          <p:nvPr>
            <p:ph type="title"/>
          </p:nvPr>
        </p:nvSpPr>
        <p:spPr>
          <a:xfrm>
            <a:off x="233184" y="233151"/>
            <a:ext cx="5829394"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198" name="Shape 198"/>
          <p:cNvSpPr>
            <a:spLocks noGrp="1"/>
          </p:cNvSpPr>
          <p:nvPr>
            <p:ph type="pic" idx="2"/>
          </p:nvPr>
        </p:nvSpPr>
        <p:spPr>
          <a:xfrm>
            <a:off x="6295965" y="0"/>
            <a:ext cx="6140714" cy="6994525"/>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61111"/>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199" name="Shape 199"/>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lt1"/>
                </a:solidFill>
                <a:latin typeface="Quattrocento Sans"/>
                <a:ea typeface="Quattrocento Sans"/>
                <a:cs typeface="Quattrocento Sans"/>
                <a:sym typeface="Quattrocento Sans"/>
              </a:rPr>
              <a:pPr algn="r">
                <a:buSzPct val="25000"/>
              </a:pPr>
              <a:t>‹#›</a:t>
            </a:fld>
            <a:endParaRPr lang="en" sz="1224">
              <a:solidFill>
                <a:schemeClr val="lt1"/>
              </a:solidFill>
              <a:latin typeface="Quattrocento Sans"/>
              <a:ea typeface="Quattrocento Sans"/>
              <a:cs typeface="Quattrocento Sans"/>
              <a:sym typeface="Quattrocento Sans"/>
            </a:endParaRPr>
          </a:p>
        </p:txBody>
      </p:sp>
      <p:sp>
        <p:nvSpPr>
          <p:cNvPr id="200" name="Shape 200"/>
          <p:cNvSpPr txBox="1">
            <a:spLocks noGrp="1"/>
          </p:cNvSpPr>
          <p:nvPr>
            <p:ph type="body" idx="1"/>
          </p:nvPr>
        </p:nvSpPr>
        <p:spPr>
          <a:xfrm>
            <a:off x="233184" y="1585424"/>
            <a:ext cx="5829394" cy="4516150"/>
          </a:xfrm>
          <a:prstGeom prst="rect">
            <a:avLst/>
          </a:prstGeom>
          <a:noFill/>
          <a:ln>
            <a:noFill/>
          </a:ln>
        </p:spPr>
        <p:txBody>
          <a:bodyPr lIns="68575" tIns="68575" rIns="68575" bIns="68575" anchor="t" anchorCtr="0"/>
          <a:lstStyle>
            <a:lvl1pPr marL="0" marR="0" lvl="0" indent="0" algn="l" rtl="0">
              <a:lnSpc>
                <a:spcPct val="100000"/>
              </a:lnSpc>
              <a:spcBef>
                <a:spcPts val="680"/>
              </a:spcBef>
              <a:spcAft>
                <a:spcPts val="0"/>
              </a:spcAft>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742641" marR="0" lvl="1" indent="-172707" algn="l" rtl="0">
              <a:lnSpc>
                <a:spcPct val="100000"/>
              </a:lnSpc>
              <a:spcBef>
                <a:spcPts val="680"/>
              </a:spcBef>
              <a:buClr>
                <a:schemeClr val="dk2"/>
              </a:buClr>
              <a:buSzPct val="73333"/>
              <a:buFont typeface="Noto Sans Symbols"/>
              <a:buChar char="▪"/>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01" name="Shape 201"/>
          <p:cNvSpPr txBox="1">
            <a:spLocks noGrp="1"/>
          </p:cNvSpPr>
          <p:nvPr>
            <p:ph type="body" idx="3"/>
          </p:nvPr>
        </p:nvSpPr>
        <p:spPr>
          <a:xfrm>
            <a:off x="233184" y="746083"/>
            <a:ext cx="5829394"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02" name="Shape 202"/>
          <p:cNvSpPr txBox="1">
            <a:spLocks noGrp="1"/>
          </p:cNvSpPr>
          <p:nvPr>
            <p:ph type="body" idx="4"/>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03" name="Shape 203"/>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9068596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6" name="Rectangle 5"/>
          <p:cNvSpPr/>
          <p:nvPr userDrawn="1"/>
        </p:nvSpPr>
        <p:spPr>
          <a:xfrm>
            <a:off x="1" y="6299931"/>
            <a:ext cx="12436475" cy="694592"/>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47" rtl="0" eaLnBrk="1" fontAlgn="auto" latinLnBrk="0" hangingPunct="1">
              <a:lnSpc>
                <a:spcPct val="100000"/>
              </a:lnSpc>
              <a:spcBef>
                <a:spcPts val="0"/>
              </a:spcBef>
              <a:spcAft>
                <a:spcPts val="0"/>
              </a:spcAft>
              <a:buClrTx/>
              <a:buSzTx/>
              <a:buFontTx/>
              <a:buNone/>
              <a:tabLst/>
              <a:defRPr/>
            </a:pPr>
            <a:endParaRPr kumimoji="0" lang="en-US" sz="2497"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247" rtl="0" eaLnBrk="1" fontAlgn="auto" latinLnBrk="0" hangingPunct="1">
              <a:lnSpc>
                <a:spcPct val="100000"/>
              </a:lnSpc>
              <a:spcBef>
                <a:spcPts val="0"/>
              </a:spcBef>
              <a:spcAft>
                <a:spcPts val="0"/>
              </a:spcAft>
              <a:buClrTx/>
              <a:buSzTx/>
              <a:buFontTx/>
              <a:buNone/>
              <a:tabLst/>
              <a:defRPr/>
            </a:pPr>
            <a:fld id="{AB84CF51-2BBE-AE4B-BA9E-A68DD7F7C8A7}" type="slidenum">
              <a:rPr kumimoji="0" lang="en-US" sz="1801" b="0" i="0" u="none" strike="noStrike" kern="0" cap="none" spc="0" normalizeH="0" baseline="0" noProof="0" smtClean="0">
                <a:ln>
                  <a:noFill/>
                </a:ln>
                <a:solidFill>
                  <a:sysClr val="windowText" lastClr="000000"/>
                </a:solidFill>
                <a:effectLst/>
                <a:uLnTx/>
                <a:uFillTx/>
                <a:latin typeface="Segoe UI"/>
                <a:ea typeface="+mn-ea"/>
                <a:cs typeface="+mn-cs"/>
              </a:rPr>
              <a:pPr marL="0" marR="0" lvl="0" indent="0" algn="l" defTabSz="914247" rtl="0" eaLnBrk="1" fontAlgn="auto" latinLnBrk="0" hangingPunct="1">
                <a:lnSpc>
                  <a:spcPct val="100000"/>
                </a:lnSpc>
                <a:spcBef>
                  <a:spcPts val="0"/>
                </a:spcBef>
                <a:spcAft>
                  <a:spcPts val="0"/>
                </a:spcAft>
                <a:buClrTx/>
                <a:buSzTx/>
                <a:buFontTx/>
                <a:buNone/>
                <a:tabLst/>
                <a:defRPr/>
              </a:pPr>
              <a:t>‹#›</a:t>
            </a:fld>
            <a:endParaRPr kumimoji="0" lang="en-US" sz="180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 name="TextBox 12"/>
          <p:cNvSpPr txBox="1"/>
          <p:nvPr userDrawn="1"/>
        </p:nvSpPr>
        <p:spPr>
          <a:xfrm>
            <a:off x="1855431" y="6447545"/>
            <a:ext cx="2726428" cy="385362"/>
          </a:xfrm>
          <a:prstGeom prst="rect">
            <a:avLst/>
          </a:prstGeom>
          <a:noFill/>
        </p:spPr>
        <p:txBody>
          <a:bodyPr wrap="square" rtlCol="0">
            <a:spAutoFit/>
          </a:bodyPr>
          <a:lstStyle/>
          <a:p>
            <a:pPr marL="0" marR="0" lvl="0" indent="0" algn="l" defTabSz="914247" rtl="0" eaLnBrk="1" fontAlgn="auto" latinLnBrk="0" hangingPunct="1">
              <a:lnSpc>
                <a:spcPct val="100000"/>
              </a:lnSpc>
              <a:spcBef>
                <a:spcPts val="0"/>
              </a:spcBef>
              <a:spcAft>
                <a:spcPts val="0"/>
              </a:spcAft>
              <a:buClrTx/>
              <a:buSzTx/>
              <a:buFontTx/>
              <a:buNone/>
              <a:tabLst/>
              <a:defRPr/>
            </a:pPr>
            <a:r>
              <a:rPr kumimoji="0" lang="en-US" sz="1904" b="0" i="0" u="none" strike="noStrike" kern="0" cap="none" spc="0" normalizeH="0" baseline="0" noProof="0" dirty="0">
                <a:ln>
                  <a:noFill/>
                </a:ln>
                <a:solidFill>
                  <a:srgbClr val="FFFFFF"/>
                </a:solidFill>
                <a:effectLst/>
                <a:uLnTx/>
                <a:uFillTx/>
                <a:latin typeface="Segoe UI Light" charset="0"/>
                <a:ea typeface="Segoe UI Light" charset="0"/>
                <a:cs typeface="Segoe UI Light" charset="0"/>
              </a:rPr>
              <a:t>Go-To-Market Services</a:t>
            </a: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0386" y="6420764"/>
            <a:ext cx="1291556" cy="475024"/>
          </a:xfrm>
          <a:prstGeom prst="rect">
            <a:avLst/>
          </a:prstGeom>
        </p:spPr>
      </p:pic>
      <p:cxnSp>
        <p:nvCxnSpPr>
          <p:cNvPr id="15" name="Straight Connector 14"/>
          <p:cNvCxnSpPr/>
          <p:nvPr userDrawn="1"/>
        </p:nvCxnSpPr>
        <p:spPr>
          <a:xfrm>
            <a:off x="1814771" y="6476684"/>
            <a:ext cx="0" cy="36319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1003646"/>
      </p:ext>
    </p:extLst>
  </p:cSld>
  <p:clrMapOvr>
    <a:masterClrMapping/>
  </p:clrMapOvr>
  <mc:AlternateContent xmlns:mc="http://schemas.openxmlformats.org/markup-compatibility/2006" xmlns:p14="http://schemas.microsoft.com/office/powerpoint/2010/main">
    <mc:Choice Requires="p14">
      <p:transition spd="slow" p14:dur="1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cSld name="Photo 2">
    <p:spTree>
      <p:nvGrpSpPr>
        <p:cNvPr id="1" name="Shape 204"/>
        <p:cNvGrpSpPr/>
        <p:nvPr/>
      </p:nvGrpSpPr>
      <p:grpSpPr>
        <a:xfrm>
          <a:off x="0" y="0"/>
          <a:ext cx="0" cy="0"/>
          <a:chOff x="0" y="0"/>
          <a:chExt cx="0" cy="0"/>
        </a:xfrm>
      </p:grpSpPr>
      <p:sp>
        <p:nvSpPr>
          <p:cNvPr id="205" name="Shape 205"/>
          <p:cNvSpPr txBox="1">
            <a:spLocks noGrp="1"/>
          </p:cNvSpPr>
          <p:nvPr>
            <p:ph type="title"/>
          </p:nvPr>
        </p:nvSpPr>
        <p:spPr>
          <a:xfrm>
            <a:off x="6373693" y="233151"/>
            <a:ext cx="5829392"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206" name="Shape 206"/>
          <p:cNvSpPr>
            <a:spLocks noGrp="1"/>
          </p:cNvSpPr>
          <p:nvPr>
            <p:ph type="pic" idx="2"/>
          </p:nvPr>
        </p:nvSpPr>
        <p:spPr>
          <a:xfrm>
            <a:off x="0" y="0"/>
            <a:ext cx="6140714" cy="6994525"/>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61111"/>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07" name="Shape 207"/>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2"/>
                </a:solidFill>
                <a:latin typeface="Quattrocento Sans"/>
                <a:ea typeface="Quattrocento Sans"/>
                <a:cs typeface="Quattrocento Sans"/>
                <a:sym typeface="Quattrocento Sans"/>
              </a:rPr>
              <a:pPr algn="r">
                <a:buSzPct val="25000"/>
              </a:pPr>
              <a:t>‹#›</a:t>
            </a:fld>
            <a:endParaRPr lang="en" sz="1224">
              <a:solidFill>
                <a:schemeClr val="dk2"/>
              </a:solidFill>
              <a:latin typeface="Quattrocento Sans"/>
              <a:ea typeface="Quattrocento Sans"/>
              <a:cs typeface="Quattrocento Sans"/>
              <a:sym typeface="Quattrocento Sans"/>
            </a:endParaRPr>
          </a:p>
        </p:txBody>
      </p:sp>
      <p:sp>
        <p:nvSpPr>
          <p:cNvPr id="208" name="Shape 208"/>
          <p:cNvSpPr txBox="1">
            <a:spLocks noGrp="1"/>
          </p:cNvSpPr>
          <p:nvPr>
            <p:ph type="body" idx="1"/>
          </p:nvPr>
        </p:nvSpPr>
        <p:spPr>
          <a:xfrm>
            <a:off x="6373693" y="1585424"/>
            <a:ext cx="5829392" cy="4516150"/>
          </a:xfrm>
          <a:prstGeom prst="rect">
            <a:avLst/>
          </a:prstGeom>
          <a:noFill/>
          <a:ln>
            <a:noFill/>
          </a:ln>
        </p:spPr>
        <p:txBody>
          <a:bodyPr lIns="68575" tIns="68575" rIns="68575" bIns="68575" anchor="t" anchorCtr="0"/>
          <a:lstStyle>
            <a:lvl1pPr marL="0" marR="0" lvl="0" indent="0" algn="l" rtl="0">
              <a:lnSpc>
                <a:spcPct val="100000"/>
              </a:lnSpc>
              <a:spcBef>
                <a:spcPts val="680"/>
              </a:spcBef>
              <a:spcAft>
                <a:spcPts val="0"/>
              </a:spcAft>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742641" marR="0" lvl="1" indent="-172707" algn="l" rtl="0">
              <a:lnSpc>
                <a:spcPct val="100000"/>
              </a:lnSpc>
              <a:spcBef>
                <a:spcPts val="680"/>
              </a:spcBef>
              <a:buClr>
                <a:schemeClr val="dk2"/>
              </a:buClr>
              <a:buSzPct val="73333"/>
              <a:buFont typeface="Noto Sans Symbols"/>
              <a:buChar char="▪"/>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09" name="Shape 209"/>
          <p:cNvSpPr txBox="1">
            <a:spLocks noGrp="1"/>
          </p:cNvSpPr>
          <p:nvPr>
            <p:ph type="body" idx="3"/>
          </p:nvPr>
        </p:nvSpPr>
        <p:spPr>
          <a:xfrm>
            <a:off x="6373693" y="746083"/>
            <a:ext cx="5829392"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10" name="Shape 210"/>
          <p:cNvSpPr txBox="1">
            <a:spLocks noGrp="1"/>
          </p:cNvSpPr>
          <p:nvPr>
            <p:ph type="body" idx="4"/>
          </p:nvPr>
        </p:nvSpPr>
        <p:spPr>
          <a:xfrm>
            <a:off x="233184"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11" name="Shape 211"/>
          <p:cNvSpPr/>
          <p:nvPr/>
        </p:nvSpPr>
        <p:spPr>
          <a:xfrm rot="5400000">
            <a:off x="6035724" y="-329043"/>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187885470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cSld name="Photo 3">
    <p:spTree>
      <p:nvGrpSpPr>
        <p:cNvPr id="1" name="Shape 212"/>
        <p:cNvGrpSpPr/>
        <p:nvPr/>
      </p:nvGrpSpPr>
      <p:grpSpPr>
        <a:xfrm>
          <a:off x="0" y="0"/>
          <a:ext cx="0" cy="0"/>
          <a:chOff x="0" y="0"/>
          <a:chExt cx="0" cy="0"/>
        </a:xfrm>
      </p:grpSpPr>
      <p:sp>
        <p:nvSpPr>
          <p:cNvPr id="213" name="Shape 213"/>
          <p:cNvSpPr txBox="1">
            <a:spLocks noGrp="1"/>
          </p:cNvSpPr>
          <p:nvPr>
            <p:ph type="body" idx="1"/>
          </p:nvPr>
        </p:nvSpPr>
        <p:spPr>
          <a:xfrm>
            <a:off x="233184" y="1861967"/>
            <a:ext cx="5829394" cy="3270639"/>
          </a:xfrm>
          <a:prstGeom prst="rect">
            <a:avLst/>
          </a:prstGeom>
          <a:noFill/>
          <a:ln>
            <a:noFill/>
          </a:ln>
        </p:spPr>
        <p:txBody>
          <a:bodyPr lIns="68575" tIns="68575" rIns="68575" bIns="68575" anchor="ctr" anchorCtr="0"/>
          <a:lstStyle>
            <a:lvl1pPr marL="0" marR="0" lvl="0" indent="0" algn="ctr" rtl="0">
              <a:lnSpc>
                <a:spcPct val="100000"/>
              </a:lnSpc>
              <a:spcBef>
                <a:spcPts val="0"/>
              </a:spcBef>
              <a:spcAft>
                <a:spcPts val="1088"/>
              </a:spcAft>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0" marR="0" lvl="1" indent="0" algn="ctr"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14" name="Shape 214"/>
          <p:cNvSpPr>
            <a:spLocks noGrp="1"/>
          </p:cNvSpPr>
          <p:nvPr>
            <p:ph type="pic" idx="2"/>
          </p:nvPr>
        </p:nvSpPr>
        <p:spPr>
          <a:xfrm>
            <a:off x="6295965" y="0"/>
            <a:ext cx="6140714" cy="6994525"/>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61111"/>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15" name="Shape 215"/>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lt1"/>
                </a:solidFill>
                <a:latin typeface="Quattrocento Sans"/>
                <a:ea typeface="Quattrocento Sans"/>
                <a:cs typeface="Quattrocento Sans"/>
                <a:sym typeface="Quattrocento Sans"/>
              </a:rPr>
              <a:pPr algn="r">
                <a:buSzPct val="25000"/>
              </a:pPr>
              <a:t>‹#›</a:t>
            </a:fld>
            <a:endParaRPr lang="en" sz="1224">
              <a:solidFill>
                <a:schemeClr val="lt1"/>
              </a:solidFill>
              <a:latin typeface="Quattrocento Sans"/>
              <a:ea typeface="Quattrocento Sans"/>
              <a:cs typeface="Quattrocento Sans"/>
              <a:sym typeface="Quattrocento Sans"/>
            </a:endParaRPr>
          </a:p>
        </p:txBody>
      </p:sp>
      <p:sp>
        <p:nvSpPr>
          <p:cNvPr id="216" name="Shape 216"/>
          <p:cNvSpPr txBox="1">
            <a:spLocks noGrp="1"/>
          </p:cNvSpPr>
          <p:nvPr>
            <p:ph type="body" idx="3"/>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17" name="Shape 217"/>
          <p:cNvSpPr/>
          <p:nvPr/>
        </p:nvSpPr>
        <p:spPr>
          <a:xfrm>
            <a:off x="2588340" y="-65282"/>
            <a:ext cx="1119201" cy="65274"/>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chemeClr val="lt1"/>
              </a:solidFill>
              <a:latin typeface="Calibri"/>
              <a:ea typeface="Calibri"/>
              <a:cs typeface="Calibri"/>
              <a:sym typeface="Calibri"/>
            </a:endParaRPr>
          </a:p>
        </p:txBody>
      </p:sp>
      <p:sp>
        <p:nvSpPr>
          <p:cNvPr id="218" name="Shape 218"/>
          <p:cNvSpPr/>
          <p:nvPr/>
        </p:nvSpPr>
        <p:spPr>
          <a:xfrm>
            <a:off x="2588340" y="6994525"/>
            <a:ext cx="1119201" cy="65274"/>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414299535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cSld name="Content &amp; Chart">
    <p:spTree>
      <p:nvGrpSpPr>
        <p:cNvPr id="1" name="Shape 219"/>
        <p:cNvGrpSpPr/>
        <p:nvPr/>
      </p:nvGrpSpPr>
      <p:grpSpPr>
        <a:xfrm>
          <a:off x="0" y="0"/>
          <a:ext cx="0" cy="0"/>
          <a:chOff x="0" y="0"/>
          <a:chExt cx="0" cy="0"/>
        </a:xfrm>
      </p:grpSpPr>
      <p:sp>
        <p:nvSpPr>
          <p:cNvPr id="220" name="Shape 220"/>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221" name="Shape 221"/>
          <p:cNvSpPr txBox="1">
            <a:spLocks noGrp="1"/>
          </p:cNvSpPr>
          <p:nvPr>
            <p:ph type="title"/>
          </p:nvPr>
        </p:nvSpPr>
        <p:spPr>
          <a:xfrm>
            <a:off x="233184"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222" name="Shape 222"/>
          <p:cNvSpPr>
            <a:spLocks noGrp="1"/>
          </p:cNvSpPr>
          <p:nvPr>
            <p:ph type="chart" idx="2"/>
          </p:nvPr>
        </p:nvSpPr>
        <p:spPr>
          <a:xfrm>
            <a:off x="6251550" y="1585425"/>
            <a:ext cx="5951799" cy="3816901"/>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61111"/>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23" name="Shape 223"/>
          <p:cNvSpPr txBox="1">
            <a:spLocks noGrp="1"/>
          </p:cNvSpPr>
          <p:nvPr>
            <p:ph type="body" idx="1"/>
          </p:nvPr>
        </p:nvSpPr>
        <p:spPr>
          <a:xfrm>
            <a:off x="6251548" y="5635142"/>
            <a:ext cx="5951800"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accent1"/>
              </a:buClr>
              <a:buFont typeface="Arial"/>
              <a:buNone/>
              <a:defRPr sz="1632" b="0" i="0" u="none" strike="noStrike" cap="none">
                <a:solidFill>
                  <a:schemeClr val="accen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24" name="Shape 224"/>
          <p:cNvSpPr txBox="1">
            <a:spLocks noGrp="1"/>
          </p:cNvSpPr>
          <p:nvPr>
            <p:ph type="body" idx="3"/>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25" name="Shape 225"/>
          <p:cNvSpPr txBox="1">
            <a:spLocks noGrp="1"/>
          </p:cNvSpPr>
          <p:nvPr>
            <p:ph type="body" idx="4"/>
          </p:nvPr>
        </p:nvSpPr>
        <p:spPr>
          <a:xfrm>
            <a:off x="233184" y="1585424"/>
            <a:ext cx="5782879" cy="4516150"/>
          </a:xfrm>
          <a:prstGeom prst="rect">
            <a:avLst/>
          </a:prstGeom>
          <a:noFill/>
          <a:ln>
            <a:noFill/>
          </a:ln>
        </p:spPr>
        <p:txBody>
          <a:bodyPr lIns="68575" tIns="68575" rIns="68575" bIns="68575" anchor="t" anchorCtr="0"/>
          <a:lstStyle>
            <a:lvl1pPr marL="0" marR="0" lvl="0" indent="0" algn="l" rtl="0">
              <a:lnSpc>
                <a:spcPct val="100000"/>
              </a:lnSpc>
              <a:spcBef>
                <a:spcPts val="680"/>
              </a:spcBef>
              <a:spcAft>
                <a:spcPts val="0"/>
              </a:spcAft>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742641" marR="0" lvl="1" indent="-172707" algn="l" rtl="0">
              <a:lnSpc>
                <a:spcPct val="100000"/>
              </a:lnSpc>
              <a:spcBef>
                <a:spcPts val="680"/>
              </a:spcBef>
              <a:buClr>
                <a:schemeClr val="dk2"/>
              </a:buClr>
              <a:buSzPct val="73333"/>
              <a:buFont typeface="Noto Sans Symbols"/>
              <a:buChar char="▪"/>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26" name="Shape 226"/>
          <p:cNvSpPr txBox="1">
            <a:spLocks noGrp="1"/>
          </p:cNvSpPr>
          <p:nvPr>
            <p:ph type="body" idx="5"/>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27" name="Shape 227"/>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281871642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cSld name="Chart">
    <p:spTree>
      <p:nvGrpSpPr>
        <p:cNvPr id="1" name="Shape 228"/>
        <p:cNvGrpSpPr/>
        <p:nvPr/>
      </p:nvGrpSpPr>
      <p:grpSpPr>
        <a:xfrm>
          <a:off x="0" y="0"/>
          <a:ext cx="0" cy="0"/>
          <a:chOff x="0" y="0"/>
          <a:chExt cx="0" cy="0"/>
        </a:xfrm>
      </p:grpSpPr>
      <p:sp>
        <p:nvSpPr>
          <p:cNvPr id="229" name="Shape 229"/>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230" name="Shape 230"/>
          <p:cNvSpPr txBox="1">
            <a:spLocks noGrp="1"/>
          </p:cNvSpPr>
          <p:nvPr>
            <p:ph type="title"/>
          </p:nvPr>
        </p:nvSpPr>
        <p:spPr>
          <a:xfrm>
            <a:off x="233183"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231" name="Shape 231"/>
          <p:cNvSpPr txBox="1">
            <a:spLocks noGrp="1"/>
          </p:cNvSpPr>
          <p:nvPr>
            <p:ph type="body" idx="1"/>
          </p:nvPr>
        </p:nvSpPr>
        <p:spPr>
          <a:xfrm>
            <a:off x="233183" y="5696165"/>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accent1"/>
              </a:buClr>
              <a:buFont typeface="Arial"/>
              <a:buNone/>
              <a:defRPr sz="1632" b="0" i="0" u="none" strike="noStrike" cap="none">
                <a:solidFill>
                  <a:schemeClr val="accen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32" name="Shape 232"/>
          <p:cNvSpPr txBox="1">
            <a:spLocks noGrp="1"/>
          </p:cNvSpPr>
          <p:nvPr>
            <p:ph type="body" idx="2"/>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33" name="Shape 233"/>
          <p:cNvSpPr txBox="1">
            <a:spLocks noGrp="1"/>
          </p:cNvSpPr>
          <p:nvPr>
            <p:ph type="body" idx="3"/>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34" name="Shape 234"/>
          <p:cNvSpPr>
            <a:spLocks noGrp="1"/>
          </p:cNvSpPr>
          <p:nvPr>
            <p:ph type="chart" idx="4"/>
          </p:nvPr>
        </p:nvSpPr>
        <p:spPr>
          <a:xfrm>
            <a:off x="233183" y="1585425"/>
            <a:ext cx="11970107" cy="3816901"/>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61111"/>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35" name="Shape 235"/>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135521830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cSld name="Content &amp; Table">
    <p:spTree>
      <p:nvGrpSpPr>
        <p:cNvPr id="1" name="Shape 236"/>
        <p:cNvGrpSpPr/>
        <p:nvPr/>
      </p:nvGrpSpPr>
      <p:grpSpPr>
        <a:xfrm>
          <a:off x="0" y="0"/>
          <a:ext cx="0" cy="0"/>
          <a:chOff x="0" y="0"/>
          <a:chExt cx="0" cy="0"/>
        </a:xfrm>
      </p:grpSpPr>
      <p:sp>
        <p:nvSpPr>
          <p:cNvPr id="237" name="Shape 237"/>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238" name="Shape 238"/>
          <p:cNvSpPr txBox="1">
            <a:spLocks noGrp="1"/>
          </p:cNvSpPr>
          <p:nvPr>
            <p:ph type="title"/>
          </p:nvPr>
        </p:nvSpPr>
        <p:spPr>
          <a:xfrm>
            <a:off x="233183"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239" name="Shape 239"/>
          <p:cNvSpPr txBox="1">
            <a:spLocks noGrp="1"/>
          </p:cNvSpPr>
          <p:nvPr>
            <p:ph type="body" idx="1"/>
          </p:nvPr>
        </p:nvSpPr>
        <p:spPr>
          <a:xfrm>
            <a:off x="6251547" y="5635142"/>
            <a:ext cx="5951799"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accent1"/>
              </a:buClr>
              <a:buFont typeface="Arial"/>
              <a:buNone/>
              <a:defRPr sz="1632" b="0" i="0" u="none" strike="noStrike" cap="none">
                <a:solidFill>
                  <a:schemeClr val="accen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40" name="Shape 240"/>
          <p:cNvSpPr txBox="1">
            <a:spLocks noGrp="1"/>
          </p:cNvSpPr>
          <p:nvPr>
            <p:ph type="body" idx="2"/>
          </p:nvPr>
        </p:nvSpPr>
        <p:spPr>
          <a:xfrm>
            <a:off x="233181" y="1585424"/>
            <a:ext cx="5782879" cy="4516150"/>
          </a:xfrm>
          <a:prstGeom prst="rect">
            <a:avLst/>
          </a:prstGeom>
          <a:noFill/>
          <a:ln>
            <a:noFill/>
          </a:ln>
        </p:spPr>
        <p:txBody>
          <a:bodyPr lIns="68575" tIns="68575" rIns="68575" bIns="68575" anchor="t" anchorCtr="0"/>
          <a:lstStyle>
            <a:lvl1pPr marL="0" marR="0" lvl="0" indent="0" algn="l" rtl="0">
              <a:lnSpc>
                <a:spcPct val="100000"/>
              </a:lnSpc>
              <a:spcBef>
                <a:spcPts val="680"/>
              </a:spcBef>
              <a:spcAft>
                <a:spcPts val="0"/>
              </a:spcAft>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742641" marR="0" lvl="1" indent="-172707" algn="l" rtl="0">
              <a:lnSpc>
                <a:spcPct val="100000"/>
              </a:lnSpc>
              <a:spcBef>
                <a:spcPts val="680"/>
              </a:spcBef>
              <a:buClr>
                <a:schemeClr val="dk2"/>
              </a:buClr>
              <a:buSzPct val="73333"/>
              <a:buFont typeface="Noto Sans Symbols"/>
              <a:buChar char="▪"/>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41" name="Shape 241"/>
          <p:cNvSpPr txBox="1">
            <a:spLocks noGrp="1"/>
          </p:cNvSpPr>
          <p:nvPr>
            <p:ph type="body" idx="3"/>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42" name="Shape 242"/>
          <p:cNvSpPr txBox="1">
            <a:spLocks noGrp="1"/>
          </p:cNvSpPr>
          <p:nvPr>
            <p:ph type="body" idx="4"/>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43" name="Shape 243"/>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340336886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cSld name="Table">
    <p:spTree>
      <p:nvGrpSpPr>
        <p:cNvPr id="1" name="Shape 244"/>
        <p:cNvGrpSpPr/>
        <p:nvPr/>
      </p:nvGrpSpPr>
      <p:grpSpPr>
        <a:xfrm>
          <a:off x="0" y="0"/>
          <a:ext cx="0" cy="0"/>
          <a:chOff x="0" y="0"/>
          <a:chExt cx="0" cy="0"/>
        </a:xfrm>
      </p:grpSpPr>
      <p:sp>
        <p:nvSpPr>
          <p:cNvPr id="245" name="Shape 245"/>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246" name="Shape 246"/>
          <p:cNvSpPr txBox="1">
            <a:spLocks noGrp="1"/>
          </p:cNvSpPr>
          <p:nvPr>
            <p:ph type="title"/>
          </p:nvPr>
        </p:nvSpPr>
        <p:spPr>
          <a:xfrm>
            <a:off x="233184"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247" name="Shape 247"/>
          <p:cNvSpPr txBox="1">
            <a:spLocks noGrp="1"/>
          </p:cNvSpPr>
          <p:nvPr>
            <p:ph type="body" idx="1"/>
          </p:nvPr>
        </p:nvSpPr>
        <p:spPr>
          <a:xfrm>
            <a:off x="233184" y="564850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accent1"/>
              </a:buClr>
              <a:buFont typeface="Arial"/>
              <a:buNone/>
              <a:defRPr sz="1632" b="0" i="0" u="none" strike="noStrike" cap="none">
                <a:solidFill>
                  <a:schemeClr val="accen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48" name="Shape 248"/>
          <p:cNvSpPr txBox="1">
            <a:spLocks noGrp="1"/>
          </p:cNvSpPr>
          <p:nvPr>
            <p:ph type="body" idx="2"/>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49" name="Shape 249"/>
          <p:cNvSpPr txBox="1">
            <a:spLocks noGrp="1"/>
          </p:cNvSpPr>
          <p:nvPr>
            <p:ph type="body" idx="3"/>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50" name="Shape 250"/>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1327684953"/>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cSld name="Content &amp; Quote">
    <p:spTree>
      <p:nvGrpSpPr>
        <p:cNvPr id="1" name="Shape 251"/>
        <p:cNvGrpSpPr/>
        <p:nvPr/>
      </p:nvGrpSpPr>
      <p:grpSpPr>
        <a:xfrm>
          <a:off x="0" y="0"/>
          <a:ext cx="0" cy="0"/>
          <a:chOff x="0" y="0"/>
          <a:chExt cx="0" cy="0"/>
        </a:xfrm>
      </p:grpSpPr>
      <p:sp>
        <p:nvSpPr>
          <p:cNvPr id="252" name="Shape 252"/>
          <p:cNvSpPr txBox="1">
            <a:spLocks noGrp="1"/>
          </p:cNvSpPr>
          <p:nvPr>
            <p:ph type="body" idx="1"/>
          </p:nvPr>
        </p:nvSpPr>
        <p:spPr>
          <a:xfrm>
            <a:off x="0" y="4103455"/>
            <a:ext cx="12436475" cy="209366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2856" b="0" i="0" u="none" strike="noStrike" cap="none">
                <a:solidFill>
                  <a:schemeClr val="lt1"/>
                </a:solidFill>
                <a:latin typeface="Quattrocento Sans"/>
                <a:ea typeface="Quattrocento Sans"/>
                <a:cs typeface="Quattrocento Sans"/>
                <a:sym typeface="Quattrocento Sans"/>
              </a:defRPr>
            </a:lvl1pPr>
            <a:lvl2pPr marL="0" marR="0" lvl="1" indent="0" algn="ctr" rtl="0">
              <a:lnSpc>
                <a:spcPct val="100000"/>
              </a:lnSpc>
              <a:spcBef>
                <a:spcPts val="1088"/>
              </a:spcBef>
              <a:buClr>
                <a:schemeClr val="dk2"/>
              </a:buClr>
              <a:buFont typeface="Noto Sans Symbols"/>
              <a:buNone/>
              <a:defRPr sz="1904" b="0" i="0" u="none" strike="noStrike" cap="none">
                <a:solidFill>
                  <a:schemeClr val="lt1"/>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53" name="Shape 253"/>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254" name="Shape 254"/>
          <p:cNvSpPr txBox="1">
            <a:spLocks noGrp="1"/>
          </p:cNvSpPr>
          <p:nvPr>
            <p:ph type="title"/>
          </p:nvPr>
        </p:nvSpPr>
        <p:spPr>
          <a:xfrm>
            <a:off x="233184"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255" name="Shape 255"/>
          <p:cNvSpPr txBox="1">
            <a:spLocks noGrp="1"/>
          </p:cNvSpPr>
          <p:nvPr>
            <p:ph type="body" idx="2"/>
          </p:nvPr>
        </p:nvSpPr>
        <p:spPr>
          <a:xfrm>
            <a:off x="233184" y="1585424"/>
            <a:ext cx="11970107" cy="2331508"/>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656288" marR="0" lvl="1" indent="-207249" algn="l" rtl="0">
              <a:lnSpc>
                <a:spcPct val="100000"/>
              </a:lnSpc>
              <a:spcBef>
                <a:spcPts val="1088"/>
              </a:spcBef>
              <a:buClr>
                <a:schemeClr val="dk2"/>
              </a:buClr>
              <a:buSzPct val="71428"/>
              <a:buFont typeface="Noto Sans Symbols"/>
              <a:buChar char="▪"/>
              <a:defRPr sz="1904"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56" name="Shape 256"/>
          <p:cNvSpPr txBox="1">
            <a:spLocks noGrp="1"/>
          </p:cNvSpPr>
          <p:nvPr>
            <p:ph type="body" idx="3"/>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57" name="Shape 257"/>
          <p:cNvSpPr txBox="1">
            <a:spLocks noGrp="1"/>
          </p:cNvSpPr>
          <p:nvPr>
            <p:ph type="body" idx="4"/>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58" name="Shape 258"/>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247918961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cSld name="Quote">
    <p:spTree>
      <p:nvGrpSpPr>
        <p:cNvPr id="1" name="Shape 259"/>
        <p:cNvGrpSpPr/>
        <p:nvPr/>
      </p:nvGrpSpPr>
      <p:grpSpPr>
        <a:xfrm>
          <a:off x="0" y="0"/>
          <a:ext cx="0" cy="0"/>
          <a:chOff x="0" y="0"/>
          <a:chExt cx="0" cy="0"/>
        </a:xfrm>
      </p:grpSpPr>
      <p:sp>
        <p:nvSpPr>
          <p:cNvPr id="260" name="Shape 260"/>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261" name="Shape 261"/>
          <p:cNvSpPr txBox="1">
            <a:spLocks noGrp="1"/>
          </p:cNvSpPr>
          <p:nvPr>
            <p:ph type="body" idx="1"/>
          </p:nvPr>
        </p:nvSpPr>
        <p:spPr>
          <a:xfrm>
            <a:off x="2574739" y="0"/>
            <a:ext cx="7286844" cy="6994525"/>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Font typeface="Arial"/>
              <a:buNone/>
              <a:defRPr sz="2856" b="0" i="0" u="none" strike="noStrike" cap="none">
                <a:solidFill>
                  <a:schemeClr val="dk2"/>
                </a:solidFill>
                <a:latin typeface="Quattrocento Sans"/>
                <a:ea typeface="Quattrocento Sans"/>
                <a:cs typeface="Quattrocento Sans"/>
                <a:sym typeface="Quattrocento Sans"/>
              </a:defRPr>
            </a:lvl1pPr>
            <a:lvl2pPr marL="0" marR="0" lvl="1" indent="0" algn="ctr" rtl="0">
              <a:lnSpc>
                <a:spcPct val="100000"/>
              </a:lnSpc>
              <a:spcBef>
                <a:spcPts val="1224"/>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24681097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cSld name="Six Quote">
    <p:spTree>
      <p:nvGrpSpPr>
        <p:cNvPr id="1" name="Shape 262"/>
        <p:cNvGrpSpPr/>
        <p:nvPr/>
      </p:nvGrpSpPr>
      <p:grpSpPr>
        <a:xfrm>
          <a:off x="0" y="0"/>
          <a:ext cx="0" cy="0"/>
          <a:chOff x="0" y="0"/>
          <a:chExt cx="0" cy="0"/>
        </a:xfrm>
      </p:grpSpPr>
      <p:sp>
        <p:nvSpPr>
          <p:cNvPr id="263" name="Shape 263"/>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264" name="Shape 264"/>
          <p:cNvSpPr txBox="1">
            <a:spLocks noGrp="1"/>
          </p:cNvSpPr>
          <p:nvPr>
            <p:ph type="body" idx="1"/>
          </p:nvPr>
        </p:nvSpPr>
        <p:spPr>
          <a:xfrm>
            <a:off x="1114373" y="1026276"/>
            <a:ext cx="2856554" cy="1539244"/>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65" name="Shape 265"/>
          <p:cNvSpPr txBox="1">
            <a:spLocks noGrp="1"/>
          </p:cNvSpPr>
          <p:nvPr>
            <p:ph type="body" idx="2"/>
          </p:nvPr>
        </p:nvSpPr>
        <p:spPr>
          <a:xfrm>
            <a:off x="1114373" y="2565732"/>
            <a:ext cx="2856554" cy="725766"/>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66" name="Shape 266"/>
          <p:cNvSpPr txBox="1">
            <a:spLocks noGrp="1"/>
          </p:cNvSpPr>
          <p:nvPr>
            <p:ph type="body" idx="3"/>
          </p:nvPr>
        </p:nvSpPr>
        <p:spPr>
          <a:xfrm>
            <a:off x="1114373" y="3625273"/>
            <a:ext cx="2856554" cy="1539244"/>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67" name="Shape 267"/>
          <p:cNvSpPr txBox="1">
            <a:spLocks noGrp="1"/>
          </p:cNvSpPr>
          <p:nvPr>
            <p:ph type="body" idx="4"/>
          </p:nvPr>
        </p:nvSpPr>
        <p:spPr>
          <a:xfrm>
            <a:off x="1114373" y="5164730"/>
            <a:ext cx="2856554" cy="725766"/>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68" name="Shape 268"/>
          <p:cNvSpPr txBox="1">
            <a:spLocks noGrp="1"/>
          </p:cNvSpPr>
          <p:nvPr>
            <p:ph type="body" idx="5"/>
          </p:nvPr>
        </p:nvSpPr>
        <p:spPr>
          <a:xfrm>
            <a:off x="4789841" y="1026276"/>
            <a:ext cx="2856554" cy="1539244"/>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69" name="Shape 269"/>
          <p:cNvSpPr txBox="1">
            <a:spLocks noGrp="1"/>
          </p:cNvSpPr>
          <p:nvPr>
            <p:ph type="body" idx="6"/>
          </p:nvPr>
        </p:nvSpPr>
        <p:spPr>
          <a:xfrm>
            <a:off x="4789841" y="2565732"/>
            <a:ext cx="2856554" cy="725766"/>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70" name="Shape 270"/>
          <p:cNvSpPr txBox="1">
            <a:spLocks noGrp="1"/>
          </p:cNvSpPr>
          <p:nvPr>
            <p:ph type="body" idx="7"/>
          </p:nvPr>
        </p:nvSpPr>
        <p:spPr>
          <a:xfrm>
            <a:off x="4789841" y="3625273"/>
            <a:ext cx="2856554" cy="1539244"/>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71" name="Shape 271"/>
          <p:cNvSpPr txBox="1">
            <a:spLocks noGrp="1"/>
          </p:cNvSpPr>
          <p:nvPr>
            <p:ph type="body" idx="8"/>
          </p:nvPr>
        </p:nvSpPr>
        <p:spPr>
          <a:xfrm>
            <a:off x="4789841" y="5164730"/>
            <a:ext cx="2856554" cy="725766"/>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72" name="Shape 272"/>
          <p:cNvSpPr txBox="1">
            <a:spLocks noGrp="1"/>
          </p:cNvSpPr>
          <p:nvPr>
            <p:ph type="body" idx="9"/>
          </p:nvPr>
        </p:nvSpPr>
        <p:spPr>
          <a:xfrm>
            <a:off x="8465308" y="1026276"/>
            <a:ext cx="2856552" cy="1539244"/>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73" name="Shape 273"/>
          <p:cNvSpPr txBox="1">
            <a:spLocks noGrp="1"/>
          </p:cNvSpPr>
          <p:nvPr>
            <p:ph type="body" idx="13"/>
          </p:nvPr>
        </p:nvSpPr>
        <p:spPr>
          <a:xfrm>
            <a:off x="8465308" y="2565732"/>
            <a:ext cx="2856552" cy="725766"/>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74" name="Shape 274"/>
          <p:cNvSpPr txBox="1">
            <a:spLocks noGrp="1"/>
          </p:cNvSpPr>
          <p:nvPr>
            <p:ph type="body" idx="14"/>
          </p:nvPr>
        </p:nvSpPr>
        <p:spPr>
          <a:xfrm>
            <a:off x="8465308" y="3625273"/>
            <a:ext cx="2856552" cy="1539244"/>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75" name="Shape 275"/>
          <p:cNvSpPr txBox="1">
            <a:spLocks noGrp="1"/>
          </p:cNvSpPr>
          <p:nvPr>
            <p:ph type="body" idx="15"/>
          </p:nvPr>
        </p:nvSpPr>
        <p:spPr>
          <a:xfrm>
            <a:off x="8465308" y="5164730"/>
            <a:ext cx="2856552" cy="725766"/>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43412860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cSld name="3 Row">
    <p:spTree>
      <p:nvGrpSpPr>
        <p:cNvPr id="1" name="Shape 276"/>
        <p:cNvGrpSpPr/>
        <p:nvPr/>
      </p:nvGrpSpPr>
      <p:grpSpPr>
        <a:xfrm>
          <a:off x="0" y="0"/>
          <a:ext cx="0" cy="0"/>
          <a:chOff x="0" y="0"/>
          <a:chExt cx="0" cy="0"/>
        </a:xfrm>
      </p:grpSpPr>
      <p:sp>
        <p:nvSpPr>
          <p:cNvPr id="277" name="Shape 277"/>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278" name="Shape 278"/>
          <p:cNvSpPr txBox="1">
            <a:spLocks noGrp="1"/>
          </p:cNvSpPr>
          <p:nvPr>
            <p:ph type="title"/>
          </p:nvPr>
        </p:nvSpPr>
        <p:spPr>
          <a:xfrm>
            <a:off x="233183"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279" name="Shape 279"/>
          <p:cNvSpPr txBox="1">
            <a:spLocks noGrp="1"/>
          </p:cNvSpPr>
          <p:nvPr>
            <p:ph type="body" idx="1"/>
          </p:nvPr>
        </p:nvSpPr>
        <p:spPr>
          <a:xfrm>
            <a:off x="3038792" y="1585424"/>
            <a:ext cx="9024605" cy="1492329"/>
          </a:xfrm>
          <a:prstGeom prst="rect">
            <a:avLst/>
          </a:prstGeom>
          <a:solidFill>
            <a:schemeClr val="lt2"/>
          </a:solidFill>
          <a:ln>
            <a:noFill/>
          </a:ln>
        </p:spPr>
        <p:txBody>
          <a:bodyPr lIns="68575" tIns="68575" rIns="68575" bIns="68575" anchor="ctr" anchorCtr="0"/>
          <a:lstStyle>
            <a:lvl1pPr marL="0" marR="0" lvl="0" indent="0" algn="l" rtl="0">
              <a:lnSpc>
                <a:spcPct val="100000"/>
              </a:lnSpc>
              <a:spcBef>
                <a:spcPts val="680"/>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120895" algn="l" rtl="0">
              <a:lnSpc>
                <a:spcPct val="100000"/>
              </a:lnSpc>
              <a:spcBef>
                <a:spcPts val="680"/>
              </a:spcBef>
              <a:buClr>
                <a:schemeClr val="dk2"/>
              </a:buClr>
              <a:buSzPct val="72727"/>
              <a:buFont typeface="Noto Sans Symbols"/>
              <a:buChar char="▪"/>
              <a:defRPr sz="1496"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80" name="Shape 280"/>
          <p:cNvSpPr txBox="1">
            <a:spLocks noGrp="1"/>
          </p:cNvSpPr>
          <p:nvPr>
            <p:ph type="body" idx="2"/>
          </p:nvPr>
        </p:nvSpPr>
        <p:spPr>
          <a:xfrm>
            <a:off x="3038792" y="3145277"/>
            <a:ext cx="9024605" cy="1492327"/>
          </a:xfrm>
          <a:prstGeom prst="rect">
            <a:avLst/>
          </a:prstGeom>
          <a:solidFill>
            <a:schemeClr val="lt2"/>
          </a:solidFill>
          <a:ln>
            <a:noFill/>
          </a:ln>
        </p:spPr>
        <p:txBody>
          <a:bodyPr lIns="68575" tIns="68575" rIns="68575" bIns="68575" anchor="ctr" anchorCtr="0"/>
          <a:lstStyle>
            <a:lvl1pPr marL="0" marR="0" lvl="0" indent="0" algn="l" rtl="0">
              <a:lnSpc>
                <a:spcPct val="100000"/>
              </a:lnSpc>
              <a:spcBef>
                <a:spcPts val="680"/>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120895" algn="l" rtl="0">
              <a:lnSpc>
                <a:spcPct val="100000"/>
              </a:lnSpc>
              <a:spcBef>
                <a:spcPts val="680"/>
              </a:spcBef>
              <a:buClr>
                <a:schemeClr val="dk2"/>
              </a:buClr>
              <a:buSzPct val="72727"/>
              <a:buFont typeface="Noto Sans Symbols"/>
              <a:buChar char="▪"/>
              <a:defRPr sz="1496"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81" name="Shape 281"/>
          <p:cNvSpPr txBox="1">
            <a:spLocks noGrp="1"/>
          </p:cNvSpPr>
          <p:nvPr>
            <p:ph type="body" idx="3"/>
          </p:nvPr>
        </p:nvSpPr>
        <p:spPr>
          <a:xfrm>
            <a:off x="3038792" y="4705129"/>
            <a:ext cx="9024605" cy="1492329"/>
          </a:xfrm>
          <a:prstGeom prst="rect">
            <a:avLst/>
          </a:prstGeom>
          <a:solidFill>
            <a:schemeClr val="lt2"/>
          </a:solidFill>
          <a:ln>
            <a:noFill/>
          </a:ln>
        </p:spPr>
        <p:txBody>
          <a:bodyPr lIns="68575" tIns="68575" rIns="68575" bIns="68575" anchor="ctr" anchorCtr="0"/>
          <a:lstStyle>
            <a:lvl1pPr marL="0" marR="0" lvl="0" indent="0" algn="l" rtl="0">
              <a:lnSpc>
                <a:spcPct val="100000"/>
              </a:lnSpc>
              <a:spcBef>
                <a:spcPts val="680"/>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120895" algn="l" rtl="0">
              <a:lnSpc>
                <a:spcPct val="100000"/>
              </a:lnSpc>
              <a:spcBef>
                <a:spcPts val="680"/>
              </a:spcBef>
              <a:buClr>
                <a:schemeClr val="dk2"/>
              </a:buClr>
              <a:buSzPct val="72727"/>
              <a:buFont typeface="Noto Sans Symbols"/>
              <a:buChar char="▪"/>
              <a:defRPr sz="1496"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82" name="Shape 282"/>
          <p:cNvSpPr txBox="1">
            <a:spLocks noGrp="1"/>
          </p:cNvSpPr>
          <p:nvPr>
            <p:ph type="body" idx="4"/>
          </p:nvPr>
        </p:nvSpPr>
        <p:spPr>
          <a:xfrm>
            <a:off x="373094" y="1585424"/>
            <a:ext cx="2665600" cy="1492329"/>
          </a:xfrm>
          <a:prstGeom prst="rect">
            <a:avLst/>
          </a:prstGeom>
          <a:solidFill>
            <a:schemeClr val="accent1"/>
          </a:solidFill>
          <a:ln>
            <a:noFill/>
          </a:ln>
        </p:spPr>
        <p:txBody>
          <a:bodyPr lIns="68575" tIns="68575" rIns="68575" bIns="68575" anchor="ctr" anchorCtr="0"/>
          <a:lstStyle>
            <a:lvl1pPr marL="0" marR="0" lvl="0" indent="0" algn="l"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83" name="Shape 283"/>
          <p:cNvSpPr txBox="1">
            <a:spLocks noGrp="1"/>
          </p:cNvSpPr>
          <p:nvPr>
            <p:ph type="body" idx="5"/>
          </p:nvPr>
        </p:nvSpPr>
        <p:spPr>
          <a:xfrm>
            <a:off x="373094" y="3145277"/>
            <a:ext cx="2665600" cy="1492327"/>
          </a:xfrm>
          <a:prstGeom prst="rect">
            <a:avLst/>
          </a:prstGeom>
          <a:solidFill>
            <a:schemeClr val="accent1"/>
          </a:solidFill>
          <a:ln>
            <a:noFill/>
          </a:ln>
        </p:spPr>
        <p:txBody>
          <a:bodyPr lIns="68575" tIns="68575" rIns="68575" bIns="68575" anchor="ctr" anchorCtr="0"/>
          <a:lstStyle>
            <a:lvl1pPr marL="0" marR="0" lvl="0" indent="0" algn="l"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84" name="Shape 284"/>
          <p:cNvSpPr txBox="1">
            <a:spLocks noGrp="1"/>
          </p:cNvSpPr>
          <p:nvPr>
            <p:ph type="body" idx="6"/>
          </p:nvPr>
        </p:nvSpPr>
        <p:spPr>
          <a:xfrm>
            <a:off x="373094" y="4705129"/>
            <a:ext cx="2665600" cy="1492329"/>
          </a:xfrm>
          <a:prstGeom prst="rect">
            <a:avLst/>
          </a:prstGeom>
          <a:solidFill>
            <a:schemeClr val="accent1"/>
          </a:solidFill>
          <a:ln>
            <a:noFill/>
          </a:ln>
        </p:spPr>
        <p:txBody>
          <a:bodyPr lIns="68575" tIns="68575" rIns="68575" bIns="68575" anchor="ctr" anchorCtr="0"/>
          <a:lstStyle>
            <a:lvl1pPr marL="0" marR="0" lvl="0" indent="0" algn="l"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85" name="Shape 285"/>
          <p:cNvSpPr txBox="1">
            <a:spLocks noGrp="1"/>
          </p:cNvSpPr>
          <p:nvPr>
            <p:ph type="body" idx="7"/>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86" name="Shape 286"/>
          <p:cNvSpPr txBox="1">
            <a:spLocks noGrp="1"/>
          </p:cNvSpPr>
          <p:nvPr>
            <p:ph type="body" idx="8"/>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87" name="Shape 287"/>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11125761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910"/>
            <a:ext cx="12436605" cy="6992775"/>
          </a:xfrm>
          <a:prstGeom prst="rect">
            <a:avLst/>
          </a:prstGeom>
        </p:spPr>
      </p:pic>
      <p:pic>
        <p:nvPicPr>
          <p:cNvPr id="18" name="Pictur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2798942" cy="2331513"/>
          </a:xfrm>
          <a:prstGeom prst="rect">
            <a:avLst/>
          </a:prstGeom>
        </p:spPr>
      </p:pic>
      <p:sp>
        <p:nvSpPr>
          <p:cNvPr id="2" name="Title 1"/>
          <p:cNvSpPr>
            <a:spLocks noGrp="1"/>
          </p:cNvSpPr>
          <p:nvPr>
            <p:ph type="ctrTitle"/>
          </p:nvPr>
        </p:nvSpPr>
        <p:spPr bwMode="gray">
          <a:xfrm>
            <a:off x="1603922" y="2637848"/>
            <a:ext cx="9228567" cy="1499289"/>
          </a:xfrm>
        </p:spPr>
        <p:txBody>
          <a:bodyPr wrap="square" lIns="91521" tIns="45761" rIns="0" bIns="45761">
            <a:noAutofit/>
          </a:bodyPr>
          <a:lstStyle>
            <a:lvl1pPr algn="l">
              <a:lnSpc>
                <a:spcPct val="95000"/>
              </a:lnSpc>
              <a:defRPr sz="4488" b="0">
                <a:solidFill>
                  <a:schemeClr val="tx1"/>
                </a:solidFill>
              </a:defRPr>
            </a:lvl1pPr>
          </a:lstStyle>
          <a:p>
            <a:r>
              <a:rPr lang="en-US" dirty="0"/>
              <a:t>Click to edit Master title style</a:t>
            </a:r>
          </a:p>
        </p:txBody>
      </p:sp>
      <p:sp>
        <p:nvSpPr>
          <p:cNvPr id="25" name="Text Placeholder 24"/>
          <p:cNvSpPr>
            <a:spLocks noGrp="1"/>
          </p:cNvSpPr>
          <p:nvPr>
            <p:ph type="body" sz="quarter" idx="10"/>
          </p:nvPr>
        </p:nvSpPr>
        <p:spPr bwMode="gray">
          <a:xfrm>
            <a:off x="1603921" y="4164716"/>
            <a:ext cx="9228438" cy="2049791"/>
          </a:xfrm>
        </p:spPr>
        <p:txBody>
          <a:bodyPr wrap="square" lIns="91521" tIns="45761" rIns="0" bIns="45761">
            <a:noAutofit/>
          </a:bodyPr>
          <a:lstStyle>
            <a:lvl1pPr marL="0" indent="0">
              <a:lnSpc>
                <a:spcPct val="85000"/>
              </a:lnSpc>
              <a:spcAft>
                <a:spcPts val="1633"/>
              </a:spcAft>
              <a:buFont typeface="Arial" panose="020B0604020202020204" pitchFamily="34" charset="0"/>
              <a:buChar char="​"/>
              <a:defRPr sz="2652" b="0">
                <a:solidFill>
                  <a:schemeClr val="accent1"/>
                </a:solidFill>
              </a:defRPr>
            </a:lvl1pPr>
            <a:lvl2pPr marL="0" indent="0">
              <a:lnSpc>
                <a:spcPct val="85000"/>
              </a:lnSpc>
              <a:spcBef>
                <a:spcPts val="4488"/>
              </a:spcBef>
              <a:buFont typeface="Arial" panose="020B0604020202020204" pitchFamily="34" charset="0"/>
              <a:buChar char="​"/>
              <a:defRPr sz="1836" b="0">
                <a:solidFill>
                  <a:schemeClr val="tx1"/>
                </a:solidFill>
              </a:defRPr>
            </a:lvl2pPr>
            <a:lvl3pPr marL="0" indent="0">
              <a:lnSpc>
                <a:spcPct val="85000"/>
              </a:lnSpc>
              <a:buFont typeface="Arial" panose="020B0604020202020204" pitchFamily="34" charset="0"/>
              <a:buChar char="​"/>
              <a:defRPr sz="1836" b="0">
                <a:solidFill>
                  <a:schemeClr val="tx1"/>
                </a:solidFill>
              </a:defRPr>
            </a:lvl3pPr>
            <a:lvl4pPr marL="0" indent="0">
              <a:lnSpc>
                <a:spcPct val="85000"/>
              </a:lnSpc>
              <a:buFont typeface="Arial" panose="020B0604020202020204" pitchFamily="34" charset="0"/>
              <a:buChar char="​"/>
              <a:defRPr sz="1632" b="0">
                <a:solidFill>
                  <a:schemeClr val="bg2"/>
                </a:solidFill>
              </a:defRPr>
            </a:lvl4pPr>
            <a:lvl5pPr marL="0" indent="0">
              <a:lnSpc>
                <a:spcPct val="85000"/>
              </a:lnSpc>
              <a:buFont typeface="Arial" panose="020B0604020202020204" pitchFamily="34" charset="0"/>
              <a:buChar char="​"/>
              <a:defRPr sz="1632" b="0">
                <a:solidFill>
                  <a:schemeClr val="bg2"/>
                </a:solidFill>
              </a:defRPr>
            </a:lvl5pPr>
          </a:lstStyle>
          <a:p>
            <a:pPr lvl="0"/>
            <a:r>
              <a:rPr lang="en-US" dirty="0"/>
              <a:t>Click to edit Master text styles</a:t>
            </a:r>
          </a:p>
          <a:p>
            <a:pPr lvl="1"/>
            <a:r>
              <a:rPr lang="en-US" dirty="0"/>
              <a:t>Second level</a:t>
            </a:r>
          </a:p>
          <a:p>
            <a:pPr lvl="2"/>
            <a:r>
              <a:rPr lang="en-US" dirty="0"/>
              <a:t>Third level</a:t>
            </a:r>
          </a:p>
        </p:txBody>
      </p:sp>
      <p:sp>
        <p:nvSpPr>
          <p:cNvPr id="9" name="Footer Placeholder 4"/>
          <p:cNvSpPr>
            <a:spLocks noGrp="1"/>
          </p:cNvSpPr>
          <p:nvPr>
            <p:ph type="ftr" sz="quarter" idx="3"/>
          </p:nvPr>
        </p:nvSpPr>
        <p:spPr>
          <a:xfrm>
            <a:off x="907244" y="6601589"/>
            <a:ext cx="6671614" cy="245277"/>
          </a:xfrm>
          <a:prstGeom prst="rect">
            <a:avLst/>
          </a:prstGeom>
        </p:spPr>
        <p:txBody>
          <a:bodyPr vert="horz" wrap="square" lIns="91521" tIns="45761" rIns="91521" bIns="45761" rtlCol="0" anchor="b">
            <a:noAutofit/>
          </a:bodyPr>
          <a:lstStyle>
            <a:lvl1pPr>
              <a:defRPr lang="en-US" sz="816" smtClean="0">
                <a:solidFill>
                  <a:schemeClr val="bg2"/>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dirty="0">
                <a:ln>
                  <a:noFill/>
                </a:ln>
                <a:solidFill>
                  <a:srgbClr val="EAEAEA"/>
                </a:solidFill>
                <a:effectLst/>
                <a:uLnTx/>
                <a:uFillTx/>
                <a:latin typeface="Segoe UI"/>
                <a:ea typeface="+mn-ea"/>
                <a:cs typeface="+mn-cs"/>
              </a:rPr>
              <a:t>© 2016 NetApp, Inc. All rights reserved. </a:t>
            </a:r>
          </a:p>
        </p:txBody>
      </p:sp>
      <p:sp>
        <p:nvSpPr>
          <p:cNvPr id="10" name="Slide Number Placeholder 5"/>
          <p:cNvSpPr>
            <a:spLocks noGrp="1"/>
          </p:cNvSpPr>
          <p:nvPr>
            <p:ph type="sldNum" sz="quarter" idx="4"/>
          </p:nvPr>
        </p:nvSpPr>
        <p:spPr>
          <a:xfrm>
            <a:off x="300395" y="6591227"/>
            <a:ext cx="457650" cy="266001"/>
          </a:xfrm>
          <a:prstGeom prst="rect">
            <a:avLst/>
          </a:prstGeom>
        </p:spPr>
        <p:txBody>
          <a:bodyPr vert="horz" wrap="square" lIns="91521" tIns="45761" rIns="91521" bIns="45761" rtlCol="0" anchor="b">
            <a:noAutofit/>
          </a:bodyPr>
          <a:lstStyle>
            <a:lvl1pPr>
              <a:defRPr lang="en-US" sz="1071" b="1" smtClean="0">
                <a:solidFill>
                  <a:schemeClr val="bg2">
                    <a:lumMod val="50000"/>
                  </a:schemeClr>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fld id="{B071A5F3-A4FF-4CEE-8215-C08835B585C1}" type="slidenum">
              <a:rPr kumimoji="0" lang="en-US" sz="1071" b="1" i="0" u="none" strike="noStrike" kern="1200" cap="none" spc="0" normalizeH="0" baseline="0" noProof="0" smtClean="0">
                <a:ln>
                  <a:noFill/>
                </a:ln>
                <a:solidFill>
                  <a:srgbClr val="EAEAEA">
                    <a:lumMod val="50000"/>
                  </a:srgbClr>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071" b="1" i="0" u="none" strike="noStrike" kern="1200" cap="none" spc="0" normalizeH="0" baseline="0" noProof="0" dirty="0">
              <a:ln>
                <a:noFill/>
              </a:ln>
              <a:solidFill>
                <a:srgbClr val="EAEAEA">
                  <a:lumMod val="50000"/>
                </a:srgbClr>
              </a:solidFill>
              <a:effectLst/>
              <a:uLnTx/>
              <a:uFillTx/>
              <a:latin typeface="Segoe UI"/>
              <a:ea typeface="+mn-ea"/>
              <a:cs typeface="+mn-cs"/>
            </a:endParaRPr>
          </a:p>
        </p:txBody>
      </p:sp>
      <p:pic>
        <p:nvPicPr>
          <p:cNvPr id="13" name="Picture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990020" y="6624481"/>
            <a:ext cx="1065387" cy="194276"/>
          </a:xfrm>
          <a:prstGeom prst="rect">
            <a:avLst/>
          </a:prstGeom>
        </p:spPr>
      </p:pic>
    </p:spTree>
    <p:extLst>
      <p:ext uri="{BB962C8B-B14F-4D97-AF65-F5344CB8AC3E}">
        <p14:creationId xmlns:p14="http://schemas.microsoft.com/office/powerpoint/2010/main" val="2624272434"/>
      </p:ext>
    </p:extLst>
  </p:cSld>
  <p:clrMapOvr>
    <a:masterClrMapping/>
  </p:clrMapOvr>
  <p:transition spd="med">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cSld name="4 Row Slide">
    <p:spTree>
      <p:nvGrpSpPr>
        <p:cNvPr id="1" name="Shape 288"/>
        <p:cNvGrpSpPr/>
        <p:nvPr/>
      </p:nvGrpSpPr>
      <p:grpSpPr>
        <a:xfrm>
          <a:off x="0" y="0"/>
          <a:ext cx="0" cy="0"/>
          <a:chOff x="0" y="0"/>
          <a:chExt cx="0" cy="0"/>
        </a:xfrm>
      </p:grpSpPr>
      <p:sp>
        <p:nvSpPr>
          <p:cNvPr id="289" name="Shape 289"/>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290" name="Shape 290"/>
          <p:cNvSpPr txBox="1">
            <a:spLocks noGrp="1"/>
          </p:cNvSpPr>
          <p:nvPr>
            <p:ph type="title"/>
          </p:nvPr>
        </p:nvSpPr>
        <p:spPr>
          <a:xfrm>
            <a:off x="233183"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291" name="Shape 291"/>
          <p:cNvSpPr txBox="1">
            <a:spLocks noGrp="1"/>
          </p:cNvSpPr>
          <p:nvPr>
            <p:ph type="body" idx="1"/>
          </p:nvPr>
        </p:nvSpPr>
        <p:spPr>
          <a:xfrm>
            <a:off x="3178702" y="1585425"/>
            <a:ext cx="8884654" cy="1119042"/>
          </a:xfrm>
          <a:prstGeom prst="rect">
            <a:avLst/>
          </a:prstGeom>
          <a:solidFill>
            <a:schemeClr val="lt2"/>
          </a:solidFill>
          <a:ln>
            <a:noFill/>
          </a:ln>
        </p:spPr>
        <p:txBody>
          <a:bodyPr lIns="68575" tIns="68575" rIns="68575" bIns="68575" anchor="ctr" anchorCtr="0"/>
          <a:lstStyle>
            <a:lvl1pPr marL="0" marR="0" lvl="0" indent="0" algn="l" rtl="0">
              <a:lnSpc>
                <a:spcPct val="100000"/>
              </a:lnSpc>
              <a:spcBef>
                <a:spcPts val="272"/>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1pPr>
            <a:lvl2pPr marL="466310" marR="0" lvl="1" indent="-138166" algn="l" rtl="0">
              <a:lnSpc>
                <a:spcPct val="100000"/>
              </a:lnSpc>
              <a:spcBef>
                <a:spcPts val="272"/>
              </a:spcBef>
              <a:buClr>
                <a:schemeClr val="dk2"/>
              </a:buClr>
              <a:buSzPct val="77777"/>
              <a:buFont typeface="Noto Sans Symbols"/>
              <a:buChar char="▪"/>
              <a:defRPr sz="1224"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92" name="Shape 292"/>
          <p:cNvSpPr txBox="1">
            <a:spLocks noGrp="1"/>
          </p:cNvSpPr>
          <p:nvPr>
            <p:ph type="body" idx="2"/>
          </p:nvPr>
        </p:nvSpPr>
        <p:spPr>
          <a:xfrm>
            <a:off x="3178702" y="2749673"/>
            <a:ext cx="8884654" cy="1119042"/>
          </a:xfrm>
          <a:prstGeom prst="rect">
            <a:avLst/>
          </a:prstGeom>
          <a:solidFill>
            <a:schemeClr val="lt2"/>
          </a:solidFill>
          <a:ln>
            <a:noFill/>
          </a:ln>
        </p:spPr>
        <p:txBody>
          <a:bodyPr lIns="68575" tIns="68575" rIns="68575" bIns="68575" anchor="ctr" anchorCtr="0"/>
          <a:lstStyle>
            <a:lvl1pPr marL="0" marR="0" lvl="0" indent="0" algn="l" rtl="0">
              <a:lnSpc>
                <a:spcPct val="100000"/>
              </a:lnSpc>
              <a:spcBef>
                <a:spcPts val="272"/>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1pPr>
            <a:lvl2pPr marL="466310" marR="0" lvl="1" indent="-138166" algn="l" rtl="0">
              <a:lnSpc>
                <a:spcPct val="100000"/>
              </a:lnSpc>
              <a:spcBef>
                <a:spcPts val="272"/>
              </a:spcBef>
              <a:buClr>
                <a:schemeClr val="dk2"/>
              </a:buClr>
              <a:buSzPct val="77777"/>
              <a:buFont typeface="Noto Sans Symbols"/>
              <a:buChar char="▪"/>
              <a:defRPr sz="1224"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93" name="Shape 293"/>
          <p:cNvSpPr txBox="1">
            <a:spLocks noGrp="1"/>
          </p:cNvSpPr>
          <p:nvPr>
            <p:ph type="body" idx="3"/>
          </p:nvPr>
        </p:nvSpPr>
        <p:spPr>
          <a:xfrm>
            <a:off x="3178702" y="3913923"/>
            <a:ext cx="8884654" cy="1119041"/>
          </a:xfrm>
          <a:prstGeom prst="rect">
            <a:avLst/>
          </a:prstGeom>
          <a:solidFill>
            <a:schemeClr val="lt2"/>
          </a:solidFill>
          <a:ln>
            <a:noFill/>
          </a:ln>
        </p:spPr>
        <p:txBody>
          <a:bodyPr lIns="68575" tIns="68575" rIns="68575" bIns="68575" anchor="ctr" anchorCtr="0"/>
          <a:lstStyle>
            <a:lvl1pPr marL="0" marR="0" lvl="0" indent="0" algn="l" rtl="0">
              <a:lnSpc>
                <a:spcPct val="100000"/>
              </a:lnSpc>
              <a:spcBef>
                <a:spcPts val="272"/>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1pPr>
            <a:lvl2pPr marL="466310" marR="0" lvl="1" indent="-138166" algn="l" rtl="0">
              <a:lnSpc>
                <a:spcPct val="100000"/>
              </a:lnSpc>
              <a:spcBef>
                <a:spcPts val="272"/>
              </a:spcBef>
              <a:buClr>
                <a:schemeClr val="dk2"/>
              </a:buClr>
              <a:buSzPct val="77777"/>
              <a:buFont typeface="Noto Sans Symbols"/>
              <a:buChar char="▪"/>
              <a:defRPr sz="1224"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94" name="Shape 294"/>
          <p:cNvSpPr txBox="1">
            <a:spLocks noGrp="1"/>
          </p:cNvSpPr>
          <p:nvPr>
            <p:ph type="body" idx="4"/>
          </p:nvPr>
        </p:nvSpPr>
        <p:spPr>
          <a:xfrm>
            <a:off x="3178702" y="5078171"/>
            <a:ext cx="8884654" cy="1119042"/>
          </a:xfrm>
          <a:prstGeom prst="rect">
            <a:avLst/>
          </a:prstGeom>
          <a:solidFill>
            <a:schemeClr val="lt2"/>
          </a:solidFill>
          <a:ln>
            <a:noFill/>
          </a:ln>
        </p:spPr>
        <p:txBody>
          <a:bodyPr lIns="68575" tIns="68575" rIns="68575" bIns="68575" anchor="ctr" anchorCtr="0"/>
          <a:lstStyle>
            <a:lvl1pPr marL="0" marR="0" lvl="0" indent="0" algn="l" rtl="0">
              <a:lnSpc>
                <a:spcPct val="100000"/>
              </a:lnSpc>
              <a:spcBef>
                <a:spcPts val="272"/>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1pPr>
            <a:lvl2pPr marL="466310" marR="0" lvl="1" indent="-138166" algn="l" rtl="0">
              <a:lnSpc>
                <a:spcPct val="100000"/>
              </a:lnSpc>
              <a:spcBef>
                <a:spcPts val="272"/>
              </a:spcBef>
              <a:buClr>
                <a:schemeClr val="dk2"/>
              </a:buClr>
              <a:buSzPct val="77777"/>
              <a:buFont typeface="Noto Sans Symbols"/>
              <a:buChar char="▪"/>
              <a:defRPr sz="1224"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95" name="Shape 295"/>
          <p:cNvSpPr txBox="1">
            <a:spLocks noGrp="1"/>
          </p:cNvSpPr>
          <p:nvPr>
            <p:ph type="body" idx="5"/>
          </p:nvPr>
        </p:nvSpPr>
        <p:spPr>
          <a:xfrm>
            <a:off x="373094" y="1585425"/>
            <a:ext cx="2805551" cy="1119042"/>
          </a:xfrm>
          <a:prstGeom prst="rect">
            <a:avLst/>
          </a:prstGeom>
          <a:solidFill>
            <a:schemeClr val="accent1"/>
          </a:solidFill>
          <a:ln>
            <a:noFill/>
          </a:ln>
        </p:spPr>
        <p:txBody>
          <a:bodyPr lIns="68575" tIns="68575" rIns="68575" bIns="68575" anchor="ctr" anchorCtr="0"/>
          <a:lstStyle>
            <a:lvl1pPr marL="0" marR="0" lvl="0" indent="0" algn="l"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96" name="Shape 296"/>
          <p:cNvSpPr txBox="1">
            <a:spLocks noGrp="1"/>
          </p:cNvSpPr>
          <p:nvPr>
            <p:ph type="body" idx="6"/>
          </p:nvPr>
        </p:nvSpPr>
        <p:spPr>
          <a:xfrm>
            <a:off x="373094" y="2749673"/>
            <a:ext cx="2805551" cy="1119042"/>
          </a:xfrm>
          <a:prstGeom prst="rect">
            <a:avLst/>
          </a:prstGeom>
          <a:solidFill>
            <a:schemeClr val="accent1"/>
          </a:solidFill>
          <a:ln>
            <a:noFill/>
          </a:ln>
        </p:spPr>
        <p:txBody>
          <a:bodyPr lIns="68575" tIns="68575" rIns="68575" bIns="68575" anchor="ctr" anchorCtr="0"/>
          <a:lstStyle>
            <a:lvl1pPr marL="0" marR="0" lvl="0" indent="0" algn="l"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97" name="Shape 297"/>
          <p:cNvSpPr txBox="1">
            <a:spLocks noGrp="1"/>
          </p:cNvSpPr>
          <p:nvPr>
            <p:ph type="body" idx="7"/>
          </p:nvPr>
        </p:nvSpPr>
        <p:spPr>
          <a:xfrm>
            <a:off x="373094" y="3913923"/>
            <a:ext cx="2805551" cy="1119041"/>
          </a:xfrm>
          <a:prstGeom prst="rect">
            <a:avLst/>
          </a:prstGeom>
          <a:solidFill>
            <a:schemeClr val="accent1"/>
          </a:solidFill>
          <a:ln>
            <a:noFill/>
          </a:ln>
        </p:spPr>
        <p:txBody>
          <a:bodyPr lIns="68575" tIns="68575" rIns="68575" bIns="68575" anchor="ctr" anchorCtr="0"/>
          <a:lstStyle>
            <a:lvl1pPr marL="0" marR="0" lvl="0" indent="0" algn="l"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98" name="Shape 298"/>
          <p:cNvSpPr txBox="1">
            <a:spLocks noGrp="1"/>
          </p:cNvSpPr>
          <p:nvPr>
            <p:ph type="body" idx="8"/>
          </p:nvPr>
        </p:nvSpPr>
        <p:spPr>
          <a:xfrm>
            <a:off x="373094" y="5078171"/>
            <a:ext cx="2805551" cy="1119042"/>
          </a:xfrm>
          <a:prstGeom prst="rect">
            <a:avLst/>
          </a:prstGeom>
          <a:solidFill>
            <a:schemeClr val="accent1"/>
          </a:solidFill>
          <a:ln>
            <a:noFill/>
          </a:ln>
        </p:spPr>
        <p:txBody>
          <a:bodyPr lIns="68575" tIns="68575" rIns="68575" bIns="68575" anchor="ctr" anchorCtr="0"/>
          <a:lstStyle>
            <a:lvl1pPr marL="0" marR="0" lvl="0" indent="0" algn="l"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299" name="Shape 299"/>
          <p:cNvSpPr txBox="1">
            <a:spLocks noGrp="1"/>
          </p:cNvSpPr>
          <p:nvPr>
            <p:ph type="body" idx="9"/>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00" name="Shape 300"/>
          <p:cNvSpPr txBox="1">
            <a:spLocks noGrp="1"/>
          </p:cNvSpPr>
          <p:nvPr>
            <p:ph type="body" idx="13"/>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01" name="Shape 301"/>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109652221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cSld name="3 Pillar">
    <p:spTree>
      <p:nvGrpSpPr>
        <p:cNvPr id="1" name="Shape 302"/>
        <p:cNvGrpSpPr/>
        <p:nvPr/>
      </p:nvGrpSpPr>
      <p:grpSpPr>
        <a:xfrm>
          <a:off x="0" y="0"/>
          <a:ext cx="0" cy="0"/>
          <a:chOff x="0" y="0"/>
          <a:chExt cx="0" cy="0"/>
        </a:xfrm>
      </p:grpSpPr>
      <p:sp>
        <p:nvSpPr>
          <p:cNvPr id="303" name="Shape 303"/>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304" name="Shape 304"/>
          <p:cNvSpPr txBox="1">
            <a:spLocks noGrp="1"/>
          </p:cNvSpPr>
          <p:nvPr>
            <p:ph type="title"/>
          </p:nvPr>
        </p:nvSpPr>
        <p:spPr>
          <a:xfrm>
            <a:off x="233183"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305" name="Shape 305"/>
          <p:cNvSpPr txBox="1">
            <a:spLocks noGrp="1"/>
          </p:cNvSpPr>
          <p:nvPr>
            <p:ph type="body" idx="1"/>
          </p:nvPr>
        </p:nvSpPr>
        <p:spPr>
          <a:xfrm>
            <a:off x="373094" y="2984327"/>
            <a:ext cx="3771745" cy="3213115"/>
          </a:xfrm>
          <a:prstGeom prst="rect">
            <a:avLst/>
          </a:prstGeom>
          <a:solidFill>
            <a:schemeClr val="lt2"/>
          </a:solidFill>
          <a:ln>
            <a:noFill/>
          </a:ln>
        </p:spPr>
        <p:txBody>
          <a:bodyPr lIns="68575" tIns="68575" rIns="68575" bIns="68575" anchor="t" anchorCtr="0"/>
          <a:lstStyle>
            <a:lvl1pPr marL="0" marR="0" lvl="0" indent="0" algn="l" rtl="0">
              <a:lnSpc>
                <a:spcPct val="100000"/>
              </a:lnSpc>
              <a:spcBef>
                <a:spcPts val="1224"/>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120895" algn="l" rtl="0">
              <a:lnSpc>
                <a:spcPct val="100000"/>
              </a:lnSpc>
              <a:spcBef>
                <a:spcPts val="1224"/>
              </a:spcBef>
              <a:buClr>
                <a:schemeClr val="dk2"/>
              </a:buClr>
              <a:buSzPct val="75000"/>
              <a:buFont typeface="Noto Sans Symbols"/>
              <a:buChar char="▪"/>
              <a:defRPr sz="1632"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06" name="Shape 306"/>
          <p:cNvSpPr txBox="1">
            <a:spLocks noGrp="1"/>
          </p:cNvSpPr>
          <p:nvPr>
            <p:ph type="body" idx="2"/>
          </p:nvPr>
        </p:nvSpPr>
        <p:spPr>
          <a:xfrm>
            <a:off x="4332279" y="2984327"/>
            <a:ext cx="3771745" cy="3213115"/>
          </a:xfrm>
          <a:prstGeom prst="rect">
            <a:avLst/>
          </a:prstGeom>
          <a:solidFill>
            <a:schemeClr val="lt2"/>
          </a:solidFill>
          <a:ln>
            <a:noFill/>
          </a:ln>
        </p:spPr>
        <p:txBody>
          <a:bodyPr lIns="68575" tIns="68575" rIns="68575" bIns="68575" anchor="t" anchorCtr="0"/>
          <a:lstStyle>
            <a:lvl1pPr marL="0" marR="0" lvl="0" indent="0" algn="l" rtl="0">
              <a:lnSpc>
                <a:spcPct val="100000"/>
              </a:lnSpc>
              <a:spcBef>
                <a:spcPts val="1224"/>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120895" algn="l" rtl="0">
              <a:lnSpc>
                <a:spcPct val="100000"/>
              </a:lnSpc>
              <a:spcBef>
                <a:spcPts val="1088"/>
              </a:spcBef>
              <a:buClr>
                <a:schemeClr val="dk2"/>
              </a:buClr>
              <a:buSzPct val="75000"/>
              <a:buFont typeface="Noto Sans Symbols"/>
              <a:buChar char="▪"/>
              <a:defRPr sz="1632"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07" name="Shape 307"/>
          <p:cNvSpPr txBox="1">
            <a:spLocks noGrp="1"/>
          </p:cNvSpPr>
          <p:nvPr>
            <p:ph type="body" idx="3"/>
          </p:nvPr>
        </p:nvSpPr>
        <p:spPr>
          <a:xfrm>
            <a:off x="8291467" y="2984327"/>
            <a:ext cx="3771745" cy="3213115"/>
          </a:xfrm>
          <a:prstGeom prst="rect">
            <a:avLst/>
          </a:prstGeom>
          <a:solidFill>
            <a:schemeClr val="lt2"/>
          </a:solidFill>
          <a:ln>
            <a:noFill/>
          </a:ln>
        </p:spPr>
        <p:txBody>
          <a:bodyPr lIns="68575" tIns="68575" rIns="68575" bIns="68575" anchor="t" anchorCtr="0"/>
          <a:lstStyle>
            <a:lvl1pPr marL="0" marR="0" lvl="0" indent="0" algn="l" rtl="0">
              <a:lnSpc>
                <a:spcPct val="100000"/>
              </a:lnSpc>
              <a:spcBef>
                <a:spcPts val="1224"/>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120895" algn="l" rtl="0">
              <a:lnSpc>
                <a:spcPct val="100000"/>
              </a:lnSpc>
              <a:spcBef>
                <a:spcPts val="1088"/>
              </a:spcBef>
              <a:buClr>
                <a:schemeClr val="dk2"/>
              </a:buClr>
              <a:buSzPct val="75000"/>
              <a:buFont typeface="Noto Sans Symbols"/>
              <a:buChar char="▪"/>
              <a:defRPr sz="1632"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08" name="Shape 308"/>
          <p:cNvSpPr txBox="1">
            <a:spLocks noGrp="1"/>
          </p:cNvSpPr>
          <p:nvPr>
            <p:ph type="body" idx="4"/>
          </p:nvPr>
        </p:nvSpPr>
        <p:spPr>
          <a:xfrm>
            <a:off x="373094" y="1585424"/>
            <a:ext cx="3771745" cy="1398905"/>
          </a:xfrm>
          <a:prstGeom prst="rect">
            <a:avLst/>
          </a:prstGeom>
          <a:solidFill>
            <a:schemeClr val="accent1"/>
          </a:solidFill>
          <a:ln>
            <a:noFill/>
          </a:ln>
        </p:spPr>
        <p:txBody>
          <a:bodyPr lIns="68575" tIns="68575" rIns="68575" bIns="68575" anchor="ctr" anchorCtr="0"/>
          <a:lstStyle>
            <a:lvl1pPr marL="0" marR="0" lvl="0" indent="0" algn="l"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09" name="Shape 309"/>
          <p:cNvSpPr txBox="1">
            <a:spLocks noGrp="1"/>
          </p:cNvSpPr>
          <p:nvPr>
            <p:ph type="body" idx="5"/>
          </p:nvPr>
        </p:nvSpPr>
        <p:spPr>
          <a:xfrm>
            <a:off x="4332279" y="1585424"/>
            <a:ext cx="3771745" cy="1398905"/>
          </a:xfrm>
          <a:prstGeom prst="rect">
            <a:avLst/>
          </a:prstGeom>
          <a:solidFill>
            <a:schemeClr val="accent1"/>
          </a:solidFill>
          <a:ln>
            <a:noFill/>
          </a:ln>
        </p:spPr>
        <p:txBody>
          <a:bodyPr lIns="68575" tIns="68575" rIns="68575" bIns="68575" anchor="ctr" anchorCtr="0"/>
          <a:lstStyle>
            <a:lvl1pPr marL="0" marR="0" lvl="0" indent="0" algn="l"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10" name="Shape 310"/>
          <p:cNvSpPr txBox="1">
            <a:spLocks noGrp="1"/>
          </p:cNvSpPr>
          <p:nvPr>
            <p:ph type="body" idx="6"/>
          </p:nvPr>
        </p:nvSpPr>
        <p:spPr>
          <a:xfrm>
            <a:off x="8291467" y="1585424"/>
            <a:ext cx="3771745" cy="1398905"/>
          </a:xfrm>
          <a:prstGeom prst="rect">
            <a:avLst/>
          </a:prstGeom>
          <a:solidFill>
            <a:schemeClr val="accent1"/>
          </a:solidFill>
          <a:ln>
            <a:noFill/>
          </a:ln>
        </p:spPr>
        <p:txBody>
          <a:bodyPr lIns="68575" tIns="68575" rIns="68575" bIns="68575" anchor="ctr" anchorCtr="0"/>
          <a:lstStyle>
            <a:lvl1pPr marL="0" marR="0" lvl="0" indent="0" algn="l"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11" name="Shape 311"/>
          <p:cNvSpPr txBox="1">
            <a:spLocks noGrp="1"/>
          </p:cNvSpPr>
          <p:nvPr>
            <p:ph type="body" idx="7"/>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12" name="Shape 312"/>
          <p:cNvSpPr txBox="1">
            <a:spLocks noGrp="1"/>
          </p:cNvSpPr>
          <p:nvPr>
            <p:ph type="body" idx="8"/>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13" name="Shape 313"/>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187928919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cSld name="4 Pillar">
    <p:spTree>
      <p:nvGrpSpPr>
        <p:cNvPr id="1" name="Shape 314"/>
        <p:cNvGrpSpPr/>
        <p:nvPr/>
      </p:nvGrpSpPr>
      <p:grpSpPr>
        <a:xfrm>
          <a:off x="0" y="0"/>
          <a:ext cx="0" cy="0"/>
          <a:chOff x="0" y="0"/>
          <a:chExt cx="0" cy="0"/>
        </a:xfrm>
      </p:grpSpPr>
      <p:sp>
        <p:nvSpPr>
          <p:cNvPr id="315" name="Shape 315"/>
          <p:cNvSpPr txBox="1">
            <a:spLocks noGrp="1"/>
          </p:cNvSpPr>
          <p:nvPr>
            <p:ph type="title"/>
          </p:nvPr>
        </p:nvSpPr>
        <p:spPr>
          <a:xfrm>
            <a:off x="233183"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316" name="Shape 316"/>
          <p:cNvSpPr txBox="1">
            <a:spLocks noGrp="1"/>
          </p:cNvSpPr>
          <p:nvPr>
            <p:ph type="body" idx="1"/>
          </p:nvPr>
        </p:nvSpPr>
        <p:spPr>
          <a:xfrm>
            <a:off x="373094" y="3260868"/>
            <a:ext cx="2813304" cy="2936516"/>
          </a:xfrm>
          <a:prstGeom prst="rect">
            <a:avLst/>
          </a:prstGeom>
          <a:solidFill>
            <a:schemeClr val="lt2"/>
          </a:solidFill>
          <a:ln>
            <a:noFill/>
          </a:ln>
        </p:spPr>
        <p:txBody>
          <a:bodyPr lIns="68575" tIns="68575" rIns="68575" bIns="68575" anchor="t" anchorCtr="0"/>
          <a:lstStyle>
            <a:lvl1pPr marL="0" marR="0" lvl="0" indent="0" algn="l" rtl="0">
              <a:lnSpc>
                <a:spcPct val="100000"/>
              </a:lnSpc>
              <a:spcBef>
                <a:spcPts val="1224"/>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120895" algn="l" rtl="0">
              <a:lnSpc>
                <a:spcPct val="100000"/>
              </a:lnSpc>
              <a:spcBef>
                <a:spcPts val="1088"/>
              </a:spcBef>
              <a:buClr>
                <a:schemeClr val="dk2"/>
              </a:buClr>
              <a:buSzPct val="75000"/>
              <a:buFont typeface="Noto Sans Symbols"/>
              <a:buChar char="▪"/>
              <a:defRPr sz="1632"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17" name="Shape 317"/>
          <p:cNvSpPr txBox="1">
            <a:spLocks noGrp="1"/>
          </p:cNvSpPr>
          <p:nvPr>
            <p:ph type="body" idx="2"/>
          </p:nvPr>
        </p:nvSpPr>
        <p:spPr>
          <a:xfrm>
            <a:off x="3331973" y="3260868"/>
            <a:ext cx="2813304" cy="2936516"/>
          </a:xfrm>
          <a:prstGeom prst="rect">
            <a:avLst/>
          </a:prstGeom>
          <a:solidFill>
            <a:schemeClr val="lt2"/>
          </a:solidFill>
          <a:ln>
            <a:noFill/>
          </a:ln>
        </p:spPr>
        <p:txBody>
          <a:bodyPr lIns="68575" tIns="68575" rIns="68575" bIns="68575" anchor="t" anchorCtr="0"/>
          <a:lstStyle>
            <a:lvl1pPr marL="0" marR="0" lvl="0" indent="0" algn="l" rtl="0">
              <a:lnSpc>
                <a:spcPct val="100000"/>
              </a:lnSpc>
              <a:spcBef>
                <a:spcPts val="1224"/>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120895" algn="l" rtl="0">
              <a:lnSpc>
                <a:spcPct val="100000"/>
              </a:lnSpc>
              <a:spcBef>
                <a:spcPts val="1088"/>
              </a:spcBef>
              <a:buClr>
                <a:schemeClr val="dk2"/>
              </a:buClr>
              <a:buSzPct val="75000"/>
              <a:buFont typeface="Noto Sans Symbols"/>
              <a:buChar char="▪"/>
              <a:defRPr sz="1632"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18" name="Shape 318"/>
          <p:cNvSpPr txBox="1">
            <a:spLocks noGrp="1"/>
          </p:cNvSpPr>
          <p:nvPr>
            <p:ph type="body" idx="3"/>
          </p:nvPr>
        </p:nvSpPr>
        <p:spPr>
          <a:xfrm>
            <a:off x="6290851" y="3260868"/>
            <a:ext cx="2813304" cy="2936516"/>
          </a:xfrm>
          <a:prstGeom prst="rect">
            <a:avLst/>
          </a:prstGeom>
          <a:solidFill>
            <a:schemeClr val="lt2"/>
          </a:solidFill>
          <a:ln>
            <a:noFill/>
          </a:ln>
        </p:spPr>
        <p:txBody>
          <a:bodyPr lIns="68575" tIns="68575" rIns="68575" bIns="68575" anchor="t" anchorCtr="0"/>
          <a:lstStyle>
            <a:lvl1pPr marL="0" marR="0" lvl="0" indent="0" algn="l" rtl="0">
              <a:lnSpc>
                <a:spcPct val="100000"/>
              </a:lnSpc>
              <a:spcBef>
                <a:spcPts val="1224"/>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120895" algn="l" rtl="0">
              <a:lnSpc>
                <a:spcPct val="100000"/>
              </a:lnSpc>
              <a:spcBef>
                <a:spcPts val="1088"/>
              </a:spcBef>
              <a:buClr>
                <a:schemeClr val="dk2"/>
              </a:buClr>
              <a:buSzPct val="75000"/>
              <a:buFont typeface="Noto Sans Symbols"/>
              <a:buChar char="▪"/>
              <a:defRPr sz="1632"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19" name="Shape 319"/>
          <p:cNvSpPr txBox="1">
            <a:spLocks noGrp="1"/>
          </p:cNvSpPr>
          <p:nvPr>
            <p:ph type="body" idx="4"/>
          </p:nvPr>
        </p:nvSpPr>
        <p:spPr>
          <a:xfrm>
            <a:off x="373094" y="1585424"/>
            <a:ext cx="2813304" cy="1675504"/>
          </a:xfrm>
          <a:prstGeom prst="rect">
            <a:avLst/>
          </a:prstGeom>
          <a:solidFill>
            <a:schemeClr val="accent1"/>
          </a:solidFill>
          <a:ln>
            <a:noFill/>
          </a:ln>
        </p:spPr>
        <p:txBody>
          <a:bodyPr lIns="68575" tIns="68575" rIns="68575" bIns="68575" anchor="ctr" anchorCtr="0"/>
          <a:lstStyle>
            <a:lvl1pPr marL="0" marR="0" lvl="0" indent="0" algn="l"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20" name="Shape 320"/>
          <p:cNvSpPr txBox="1">
            <a:spLocks noGrp="1"/>
          </p:cNvSpPr>
          <p:nvPr>
            <p:ph type="body" idx="5"/>
          </p:nvPr>
        </p:nvSpPr>
        <p:spPr>
          <a:xfrm>
            <a:off x="3331973" y="1585424"/>
            <a:ext cx="2813304" cy="1675504"/>
          </a:xfrm>
          <a:prstGeom prst="rect">
            <a:avLst/>
          </a:prstGeom>
          <a:solidFill>
            <a:schemeClr val="accent1"/>
          </a:solidFill>
          <a:ln>
            <a:noFill/>
          </a:ln>
        </p:spPr>
        <p:txBody>
          <a:bodyPr lIns="68575" tIns="68575" rIns="68575" bIns="68575" anchor="ctr" anchorCtr="0"/>
          <a:lstStyle>
            <a:lvl1pPr marL="0" marR="0" lvl="0" indent="0" algn="l"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21" name="Shape 321"/>
          <p:cNvSpPr txBox="1">
            <a:spLocks noGrp="1"/>
          </p:cNvSpPr>
          <p:nvPr>
            <p:ph type="body" idx="6"/>
          </p:nvPr>
        </p:nvSpPr>
        <p:spPr>
          <a:xfrm>
            <a:off x="6290851" y="1585424"/>
            <a:ext cx="2813304" cy="1675504"/>
          </a:xfrm>
          <a:prstGeom prst="rect">
            <a:avLst/>
          </a:prstGeom>
          <a:solidFill>
            <a:schemeClr val="accent1"/>
          </a:solidFill>
          <a:ln>
            <a:noFill/>
          </a:ln>
        </p:spPr>
        <p:txBody>
          <a:bodyPr lIns="68575" tIns="68575" rIns="68575" bIns="68575" anchor="ctr" anchorCtr="0"/>
          <a:lstStyle>
            <a:lvl1pPr marL="0" marR="0" lvl="0" indent="0" algn="l"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22" name="Shape 322"/>
          <p:cNvSpPr txBox="1">
            <a:spLocks noGrp="1"/>
          </p:cNvSpPr>
          <p:nvPr>
            <p:ph type="body" idx="7"/>
          </p:nvPr>
        </p:nvSpPr>
        <p:spPr>
          <a:xfrm>
            <a:off x="9249733" y="1585424"/>
            <a:ext cx="2813304" cy="1675504"/>
          </a:xfrm>
          <a:prstGeom prst="rect">
            <a:avLst/>
          </a:prstGeom>
          <a:solidFill>
            <a:schemeClr val="accent1"/>
          </a:solidFill>
          <a:ln>
            <a:noFill/>
          </a:ln>
        </p:spPr>
        <p:txBody>
          <a:bodyPr lIns="68575" tIns="68575" rIns="68575" bIns="68575" anchor="ctr" anchorCtr="0"/>
          <a:lstStyle>
            <a:lvl1pPr marL="0" marR="0" lvl="0" indent="0" algn="l"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23" name="Shape 323"/>
          <p:cNvSpPr txBox="1">
            <a:spLocks noGrp="1"/>
          </p:cNvSpPr>
          <p:nvPr>
            <p:ph type="body" idx="8"/>
          </p:nvPr>
        </p:nvSpPr>
        <p:spPr>
          <a:xfrm>
            <a:off x="9249733" y="3260868"/>
            <a:ext cx="2813304" cy="2936516"/>
          </a:xfrm>
          <a:prstGeom prst="rect">
            <a:avLst/>
          </a:prstGeom>
          <a:solidFill>
            <a:schemeClr val="lt2"/>
          </a:solidFill>
          <a:ln>
            <a:noFill/>
          </a:ln>
        </p:spPr>
        <p:txBody>
          <a:bodyPr lIns="68575" tIns="68575" rIns="68575" bIns="68575" anchor="t" anchorCtr="0"/>
          <a:lstStyle>
            <a:lvl1pPr marL="0" marR="0" lvl="0" indent="0" algn="l" rtl="0">
              <a:lnSpc>
                <a:spcPct val="100000"/>
              </a:lnSpc>
              <a:spcBef>
                <a:spcPts val="1224"/>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120895" algn="l" rtl="0">
              <a:lnSpc>
                <a:spcPct val="100000"/>
              </a:lnSpc>
              <a:spcBef>
                <a:spcPts val="1088"/>
              </a:spcBef>
              <a:buClr>
                <a:schemeClr val="dk2"/>
              </a:buClr>
              <a:buSzPct val="75000"/>
              <a:buFont typeface="Noto Sans Symbols"/>
              <a:buChar char="▪"/>
              <a:defRPr sz="1632"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24" name="Shape 324"/>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325" name="Shape 325"/>
          <p:cNvSpPr txBox="1">
            <a:spLocks noGrp="1"/>
          </p:cNvSpPr>
          <p:nvPr>
            <p:ph type="body" idx="9"/>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26" name="Shape 326"/>
          <p:cNvSpPr txBox="1">
            <a:spLocks noGrp="1"/>
          </p:cNvSpPr>
          <p:nvPr>
            <p:ph type="body" idx="13"/>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27" name="Shape 327"/>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1394182240"/>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cSld name="Case Study 1">
    <p:spTree>
      <p:nvGrpSpPr>
        <p:cNvPr id="1" name="Shape 328"/>
        <p:cNvGrpSpPr/>
        <p:nvPr/>
      </p:nvGrpSpPr>
      <p:grpSpPr>
        <a:xfrm>
          <a:off x="0" y="0"/>
          <a:ext cx="0" cy="0"/>
          <a:chOff x="0" y="0"/>
          <a:chExt cx="0" cy="0"/>
        </a:xfrm>
      </p:grpSpPr>
      <p:sp>
        <p:nvSpPr>
          <p:cNvPr id="329" name="Shape 329"/>
          <p:cNvSpPr txBox="1">
            <a:spLocks noGrp="1"/>
          </p:cNvSpPr>
          <p:nvPr>
            <p:ph type="title"/>
          </p:nvPr>
        </p:nvSpPr>
        <p:spPr>
          <a:xfrm>
            <a:off x="233183"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330" name="Shape 330"/>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331" name="Shape 331"/>
          <p:cNvSpPr>
            <a:spLocks noGrp="1"/>
          </p:cNvSpPr>
          <p:nvPr>
            <p:ph type="pic" idx="2"/>
          </p:nvPr>
        </p:nvSpPr>
        <p:spPr>
          <a:xfrm>
            <a:off x="373094" y="1585424"/>
            <a:ext cx="5373634" cy="2331508"/>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61111"/>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32" name="Shape 332"/>
          <p:cNvSpPr txBox="1">
            <a:spLocks noGrp="1"/>
          </p:cNvSpPr>
          <p:nvPr>
            <p:ph type="body" idx="1"/>
          </p:nvPr>
        </p:nvSpPr>
        <p:spPr>
          <a:xfrm>
            <a:off x="5953961" y="1585424"/>
            <a:ext cx="6249247" cy="2331508"/>
          </a:xfrm>
          <a:prstGeom prst="rect">
            <a:avLst/>
          </a:prstGeom>
          <a:noFill/>
          <a:ln>
            <a:noFill/>
          </a:ln>
        </p:spPr>
        <p:txBody>
          <a:bodyPr lIns="68575" tIns="68575" rIns="68575" bIns="68575" anchor="t" anchorCtr="0"/>
          <a:lstStyle>
            <a:lvl1pPr marL="0" marR="0" lvl="0" indent="0" algn="l" rtl="0">
              <a:lnSpc>
                <a:spcPct val="100000"/>
              </a:lnSpc>
              <a:spcBef>
                <a:spcPts val="680"/>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1pPr>
            <a:lvl2pPr marL="742641" marR="0" lvl="1" indent="-189978" algn="l" rtl="0">
              <a:lnSpc>
                <a:spcPct val="100000"/>
              </a:lnSpc>
              <a:spcBef>
                <a:spcPts val="680"/>
              </a:spcBef>
              <a:buClr>
                <a:schemeClr val="dk2"/>
              </a:buClr>
              <a:buSzPct val="71428"/>
              <a:buFont typeface="Noto Sans Symbols"/>
              <a:buChar char="▪"/>
              <a:defRPr sz="1904"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680"/>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680"/>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680"/>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33" name="Shape 333"/>
          <p:cNvSpPr txBox="1">
            <a:spLocks noGrp="1"/>
          </p:cNvSpPr>
          <p:nvPr>
            <p:ph type="body" idx="3"/>
          </p:nvPr>
        </p:nvSpPr>
        <p:spPr>
          <a:xfrm>
            <a:off x="0" y="4103455"/>
            <a:ext cx="12436475" cy="1949246"/>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34" name="Shape 334"/>
          <p:cNvSpPr txBox="1">
            <a:spLocks noGrp="1"/>
          </p:cNvSpPr>
          <p:nvPr>
            <p:ph type="body" idx="4"/>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35" name="Shape 335"/>
          <p:cNvSpPr txBox="1">
            <a:spLocks noGrp="1"/>
          </p:cNvSpPr>
          <p:nvPr>
            <p:ph type="body" idx="5"/>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36" name="Shape 336"/>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2781081554"/>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cSld name="Case Study 2">
    <p:spTree>
      <p:nvGrpSpPr>
        <p:cNvPr id="1" name="Shape 337"/>
        <p:cNvGrpSpPr/>
        <p:nvPr/>
      </p:nvGrpSpPr>
      <p:grpSpPr>
        <a:xfrm>
          <a:off x="0" y="0"/>
          <a:ext cx="0" cy="0"/>
          <a:chOff x="0" y="0"/>
          <a:chExt cx="0" cy="0"/>
        </a:xfrm>
      </p:grpSpPr>
      <p:sp>
        <p:nvSpPr>
          <p:cNvPr id="338" name="Shape 338"/>
          <p:cNvSpPr txBox="1">
            <a:spLocks noGrp="1"/>
          </p:cNvSpPr>
          <p:nvPr>
            <p:ph type="title"/>
          </p:nvPr>
        </p:nvSpPr>
        <p:spPr>
          <a:xfrm>
            <a:off x="233184"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339" name="Shape 339"/>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340" name="Shape 340"/>
          <p:cNvSpPr>
            <a:spLocks noGrp="1"/>
          </p:cNvSpPr>
          <p:nvPr>
            <p:ph type="pic" idx="2"/>
          </p:nvPr>
        </p:nvSpPr>
        <p:spPr>
          <a:xfrm>
            <a:off x="373094" y="1707945"/>
            <a:ext cx="4588602" cy="4344398"/>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61111"/>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41" name="Shape 341"/>
          <p:cNvSpPr txBox="1">
            <a:spLocks noGrp="1"/>
          </p:cNvSpPr>
          <p:nvPr>
            <p:ph type="body" idx="1"/>
          </p:nvPr>
        </p:nvSpPr>
        <p:spPr>
          <a:xfrm>
            <a:off x="5138901" y="1707946"/>
            <a:ext cx="7064473" cy="1958629"/>
          </a:xfrm>
          <a:prstGeom prst="rect">
            <a:avLst/>
          </a:prstGeom>
          <a:noFill/>
          <a:ln>
            <a:noFill/>
          </a:ln>
        </p:spPr>
        <p:txBody>
          <a:bodyPr lIns="68575" tIns="68575" rIns="68575" bIns="68575" anchor="t" anchorCtr="0"/>
          <a:lstStyle>
            <a:lvl1pPr marL="0" marR="0" lvl="0" indent="0" algn="l" rtl="0">
              <a:lnSpc>
                <a:spcPct val="100000"/>
              </a:lnSpc>
              <a:spcBef>
                <a:spcPts val="680"/>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1pPr>
            <a:lvl2pPr marL="742641" marR="0" lvl="1" indent="-189978" algn="l" rtl="0">
              <a:lnSpc>
                <a:spcPct val="100000"/>
              </a:lnSpc>
              <a:spcBef>
                <a:spcPts val="680"/>
              </a:spcBef>
              <a:buClr>
                <a:schemeClr val="dk2"/>
              </a:buClr>
              <a:buSzPct val="71428"/>
              <a:buFont typeface="Noto Sans Symbols"/>
              <a:buChar char="▪"/>
              <a:defRPr sz="1904"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680"/>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680"/>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680"/>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42" name="Shape 342"/>
          <p:cNvSpPr txBox="1">
            <a:spLocks noGrp="1"/>
          </p:cNvSpPr>
          <p:nvPr>
            <p:ph type="body" idx="3"/>
          </p:nvPr>
        </p:nvSpPr>
        <p:spPr>
          <a:xfrm>
            <a:off x="5138901" y="3855125"/>
            <a:ext cx="7064473" cy="2197289"/>
          </a:xfrm>
          <a:prstGeom prst="rect">
            <a:avLst/>
          </a:prstGeom>
          <a:solidFill>
            <a:schemeClr val="accent1"/>
          </a:solidFill>
          <a:ln>
            <a:noFill/>
          </a:ln>
        </p:spPr>
        <p:txBody>
          <a:bodyPr lIns="68575" tIns="68575" rIns="68575" bIns="68575" anchor="ctr" anchorCtr="0"/>
          <a:lstStyle>
            <a:lvl1pPr marL="0" marR="0" lvl="0" indent="0" algn="l"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43" name="Shape 343"/>
          <p:cNvSpPr txBox="1">
            <a:spLocks noGrp="1"/>
          </p:cNvSpPr>
          <p:nvPr>
            <p:ph type="body" idx="4"/>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44" name="Shape 344"/>
          <p:cNvSpPr txBox="1">
            <a:spLocks noGrp="1"/>
          </p:cNvSpPr>
          <p:nvPr>
            <p:ph type="body" idx="5"/>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345" name="Shape 345"/>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216031646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cSld name="Global Footprint">
    <p:spTree>
      <p:nvGrpSpPr>
        <p:cNvPr id="1" name="Shape 346"/>
        <p:cNvGrpSpPr/>
        <p:nvPr/>
      </p:nvGrpSpPr>
      <p:grpSpPr>
        <a:xfrm>
          <a:off x="0" y="0"/>
          <a:ext cx="0" cy="0"/>
          <a:chOff x="0" y="0"/>
          <a:chExt cx="0" cy="0"/>
        </a:xfrm>
      </p:grpSpPr>
      <p:sp>
        <p:nvSpPr>
          <p:cNvPr id="347" name="Shape 347"/>
          <p:cNvSpPr txBox="1">
            <a:spLocks noGrp="1"/>
          </p:cNvSpPr>
          <p:nvPr>
            <p:ph type="title"/>
          </p:nvPr>
        </p:nvSpPr>
        <p:spPr>
          <a:xfrm>
            <a:off x="233183" y="233151"/>
            <a:ext cx="11970107" cy="509954"/>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348" name="Shape 348"/>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grpSp>
        <p:nvGrpSpPr>
          <p:cNvPr id="349" name="Shape 349"/>
          <p:cNvGrpSpPr/>
          <p:nvPr/>
        </p:nvGrpSpPr>
        <p:grpSpPr>
          <a:xfrm>
            <a:off x="1496262" y="1853567"/>
            <a:ext cx="9010168" cy="4384868"/>
            <a:chOff x="740" y="1162"/>
            <a:chExt cx="5989" cy="2915"/>
          </a:xfrm>
        </p:grpSpPr>
        <p:sp>
          <p:nvSpPr>
            <p:cNvPr id="350" name="Shape 350"/>
            <p:cNvSpPr/>
            <p:nvPr/>
          </p:nvSpPr>
          <p:spPr>
            <a:xfrm>
              <a:off x="4117" y="3139"/>
              <a:ext cx="0" cy="0"/>
            </a:xfrm>
            <a:custGeom>
              <a:avLst/>
              <a:gdLst/>
              <a:ahLst/>
              <a:cxnLst/>
              <a:rect l="0" t="0" r="0" b="0"/>
              <a:pathLst>
                <a:path w="120000" h="120000" extrusionOk="0">
                  <a:moveTo>
                    <a:pt x="118333" y="43943"/>
                  </a:moveTo>
                  <a:lnTo>
                    <a:pt x="118333" y="41408"/>
                  </a:lnTo>
                  <a:lnTo>
                    <a:pt x="118333" y="38028"/>
                  </a:lnTo>
                  <a:lnTo>
                    <a:pt x="120000" y="32112"/>
                  </a:lnTo>
                  <a:lnTo>
                    <a:pt x="120000" y="27887"/>
                  </a:lnTo>
                  <a:lnTo>
                    <a:pt x="118333" y="23661"/>
                  </a:lnTo>
                  <a:lnTo>
                    <a:pt x="118333" y="21971"/>
                  </a:lnTo>
                  <a:lnTo>
                    <a:pt x="120000" y="19436"/>
                  </a:lnTo>
                  <a:lnTo>
                    <a:pt x="120000" y="17746"/>
                  </a:lnTo>
                  <a:lnTo>
                    <a:pt x="118333" y="17746"/>
                  </a:lnTo>
                  <a:lnTo>
                    <a:pt x="118333" y="17746"/>
                  </a:lnTo>
                  <a:lnTo>
                    <a:pt x="115833" y="17746"/>
                  </a:lnTo>
                  <a:lnTo>
                    <a:pt x="114166" y="16056"/>
                  </a:lnTo>
                  <a:lnTo>
                    <a:pt x="112500" y="13521"/>
                  </a:lnTo>
                  <a:lnTo>
                    <a:pt x="108333" y="13521"/>
                  </a:lnTo>
                  <a:lnTo>
                    <a:pt x="104166" y="13521"/>
                  </a:lnTo>
                  <a:lnTo>
                    <a:pt x="100000" y="10140"/>
                  </a:lnTo>
                  <a:lnTo>
                    <a:pt x="96666" y="7605"/>
                  </a:lnTo>
                  <a:lnTo>
                    <a:pt x="96666" y="7605"/>
                  </a:lnTo>
                  <a:lnTo>
                    <a:pt x="94166" y="5915"/>
                  </a:lnTo>
                  <a:lnTo>
                    <a:pt x="88333" y="5915"/>
                  </a:lnTo>
                  <a:lnTo>
                    <a:pt x="85000" y="5915"/>
                  </a:lnTo>
                  <a:lnTo>
                    <a:pt x="80833" y="5915"/>
                  </a:lnTo>
                  <a:lnTo>
                    <a:pt x="80833" y="5915"/>
                  </a:lnTo>
                  <a:lnTo>
                    <a:pt x="80833" y="1690"/>
                  </a:lnTo>
                  <a:lnTo>
                    <a:pt x="80833" y="0"/>
                  </a:lnTo>
                  <a:lnTo>
                    <a:pt x="78333" y="0"/>
                  </a:lnTo>
                  <a:lnTo>
                    <a:pt x="75000" y="0"/>
                  </a:lnTo>
                  <a:lnTo>
                    <a:pt x="70833" y="0"/>
                  </a:lnTo>
                  <a:lnTo>
                    <a:pt x="66666" y="0"/>
                  </a:lnTo>
                  <a:lnTo>
                    <a:pt x="63333" y="1690"/>
                  </a:lnTo>
                  <a:lnTo>
                    <a:pt x="60833" y="3380"/>
                  </a:lnTo>
                  <a:lnTo>
                    <a:pt x="59166" y="3380"/>
                  </a:lnTo>
                  <a:lnTo>
                    <a:pt x="57500" y="5915"/>
                  </a:lnTo>
                  <a:lnTo>
                    <a:pt x="57500" y="5915"/>
                  </a:lnTo>
                  <a:lnTo>
                    <a:pt x="57500" y="7605"/>
                  </a:lnTo>
                  <a:lnTo>
                    <a:pt x="57500" y="11830"/>
                  </a:lnTo>
                  <a:lnTo>
                    <a:pt x="57500" y="13521"/>
                  </a:lnTo>
                  <a:lnTo>
                    <a:pt x="55000" y="16056"/>
                  </a:lnTo>
                  <a:lnTo>
                    <a:pt x="55000" y="16056"/>
                  </a:lnTo>
                  <a:lnTo>
                    <a:pt x="49166" y="17746"/>
                  </a:lnTo>
                  <a:lnTo>
                    <a:pt x="45000" y="19436"/>
                  </a:lnTo>
                  <a:lnTo>
                    <a:pt x="43333" y="21971"/>
                  </a:lnTo>
                  <a:lnTo>
                    <a:pt x="39166" y="23661"/>
                  </a:lnTo>
                  <a:lnTo>
                    <a:pt x="37500" y="27887"/>
                  </a:lnTo>
                  <a:lnTo>
                    <a:pt x="35833" y="32112"/>
                  </a:lnTo>
                  <a:lnTo>
                    <a:pt x="31666" y="35492"/>
                  </a:lnTo>
                  <a:lnTo>
                    <a:pt x="27500" y="39718"/>
                  </a:lnTo>
                  <a:lnTo>
                    <a:pt x="23333" y="41408"/>
                  </a:lnTo>
                  <a:lnTo>
                    <a:pt x="21666" y="41408"/>
                  </a:lnTo>
                  <a:lnTo>
                    <a:pt x="17500" y="39718"/>
                  </a:lnTo>
                  <a:lnTo>
                    <a:pt x="14166" y="39718"/>
                  </a:lnTo>
                  <a:lnTo>
                    <a:pt x="11666" y="39718"/>
                  </a:lnTo>
                  <a:lnTo>
                    <a:pt x="10000" y="39718"/>
                  </a:lnTo>
                  <a:lnTo>
                    <a:pt x="8333" y="38028"/>
                  </a:lnTo>
                  <a:lnTo>
                    <a:pt x="8333" y="38028"/>
                  </a:lnTo>
                  <a:lnTo>
                    <a:pt x="5833" y="38028"/>
                  </a:lnTo>
                  <a:lnTo>
                    <a:pt x="4166" y="38028"/>
                  </a:lnTo>
                  <a:lnTo>
                    <a:pt x="2500" y="38028"/>
                  </a:lnTo>
                  <a:lnTo>
                    <a:pt x="0" y="38028"/>
                  </a:lnTo>
                  <a:lnTo>
                    <a:pt x="0" y="39718"/>
                  </a:lnTo>
                  <a:lnTo>
                    <a:pt x="0" y="39718"/>
                  </a:lnTo>
                  <a:lnTo>
                    <a:pt x="2500" y="41408"/>
                  </a:lnTo>
                  <a:lnTo>
                    <a:pt x="2500" y="43943"/>
                  </a:lnTo>
                  <a:lnTo>
                    <a:pt x="4166" y="43943"/>
                  </a:lnTo>
                  <a:lnTo>
                    <a:pt x="4166" y="45633"/>
                  </a:lnTo>
                  <a:lnTo>
                    <a:pt x="4166" y="47323"/>
                  </a:lnTo>
                  <a:lnTo>
                    <a:pt x="5833" y="49859"/>
                  </a:lnTo>
                  <a:lnTo>
                    <a:pt x="8333" y="54084"/>
                  </a:lnTo>
                  <a:lnTo>
                    <a:pt x="10000" y="54084"/>
                  </a:lnTo>
                  <a:lnTo>
                    <a:pt x="10000" y="55774"/>
                  </a:lnTo>
                  <a:lnTo>
                    <a:pt x="11666" y="57464"/>
                  </a:lnTo>
                  <a:lnTo>
                    <a:pt x="11666" y="60000"/>
                  </a:lnTo>
                  <a:lnTo>
                    <a:pt x="11666" y="60000"/>
                  </a:lnTo>
                  <a:lnTo>
                    <a:pt x="14166" y="65915"/>
                  </a:lnTo>
                  <a:lnTo>
                    <a:pt x="14166" y="67605"/>
                  </a:lnTo>
                  <a:lnTo>
                    <a:pt x="15833" y="69295"/>
                  </a:lnTo>
                  <a:lnTo>
                    <a:pt x="20000" y="71830"/>
                  </a:lnTo>
                  <a:lnTo>
                    <a:pt x="21666" y="76056"/>
                  </a:lnTo>
                  <a:lnTo>
                    <a:pt x="25833" y="77746"/>
                  </a:lnTo>
                  <a:lnTo>
                    <a:pt x="27500" y="77746"/>
                  </a:lnTo>
                  <a:lnTo>
                    <a:pt x="30000" y="77746"/>
                  </a:lnTo>
                  <a:lnTo>
                    <a:pt x="30000" y="79436"/>
                  </a:lnTo>
                  <a:lnTo>
                    <a:pt x="31666" y="81971"/>
                  </a:lnTo>
                  <a:lnTo>
                    <a:pt x="31666" y="83661"/>
                  </a:lnTo>
                  <a:lnTo>
                    <a:pt x="31666" y="85352"/>
                  </a:lnTo>
                  <a:lnTo>
                    <a:pt x="33333" y="85352"/>
                  </a:lnTo>
                  <a:lnTo>
                    <a:pt x="35833" y="85352"/>
                  </a:lnTo>
                  <a:lnTo>
                    <a:pt x="37500" y="85352"/>
                  </a:lnTo>
                  <a:lnTo>
                    <a:pt x="37500" y="85352"/>
                  </a:lnTo>
                  <a:lnTo>
                    <a:pt x="37500" y="87887"/>
                  </a:lnTo>
                  <a:lnTo>
                    <a:pt x="37500" y="89577"/>
                  </a:lnTo>
                  <a:lnTo>
                    <a:pt x="37500" y="89577"/>
                  </a:lnTo>
                  <a:lnTo>
                    <a:pt x="37500" y="91267"/>
                  </a:lnTo>
                  <a:lnTo>
                    <a:pt x="37500" y="93802"/>
                  </a:lnTo>
                  <a:lnTo>
                    <a:pt x="37500" y="95492"/>
                  </a:lnTo>
                  <a:lnTo>
                    <a:pt x="37500" y="98028"/>
                  </a:lnTo>
                  <a:lnTo>
                    <a:pt x="39166" y="99718"/>
                  </a:lnTo>
                  <a:lnTo>
                    <a:pt x="39166" y="101408"/>
                  </a:lnTo>
                  <a:lnTo>
                    <a:pt x="41666" y="103943"/>
                  </a:lnTo>
                  <a:lnTo>
                    <a:pt x="41666" y="103943"/>
                  </a:lnTo>
                  <a:lnTo>
                    <a:pt x="41666" y="105633"/>
                  </a:lnTo>
                  <a:lnTo>
                    <a:pt x="43333" y="105633"/>
                  </a:lnTo>
                  <a:lnTo>
                    <a:pt x="49166" y="105633"/>
                  </a:lnTo>
                  <a:lnTo>
                    <a:pt x="53333" y="107323"/>
                  </a:lnTo>
                  <a:lnTo>
                    <a:pt x="55000" y="107323"/>
                  </a:lnTo>
                  <a:lnTo>
                    <a:pt x="57500" y="107323"/>
                  </a:lnTo>
                  <a:lnTo>
                    <a:pt x="57500" y="109859"/>
                  </a:lnTo>
                  <a:lnTo>
                    <a:pt x="57500" y="109859"/>
                  </a:lnTo>
                  <a:lnTo>
                    <a:pt x="57500" y="111549"/>
                  </a:lnTo>
                  <a:lnTo>
                    <a:pt x="57500" y="111549"/>
                  </a:lnTo>
                  <a:lnTo>
                    <a:pt x="57500" y="113239"/>
                  </a:lnTo>
                  <a:lnTo>
                    <a:pt x="57500" y="113239"/>
                  </a:lnTo>
                  <a:lnTo>
                    <a:pt x="59166" y="113239"/>
                  </a:lnTo>
                  <a:lnTo>
                    <a:pt x="60833" y="113239"/>
                  </a:lnTo>
                  <a:lnTo>
                    <a:pt x="60833" y="115774"/>
                  </a:lnTo>
                  <a:lnTo>
                    <a:pt x="60833" y="115774"/>
                  </a:lnTo>
                  <a:lnTo>
                    <a:pt x="63333" y="115774"/>
                  </a:lnTo>
                  <a:lnTo>
                    <a:pt x="66666" y="115774"/>
                  </a:lnTo>
                  <a:lnTo>
                    <a:pt x="70833" y="115774"/>
                  </a:lnTo>
                  <a:lnTo>
                    <a:pt x="75000" y="117464"/>
                  </a:lnTo>
                  <a:lnTo>
                    <a:pt x="78333" y="117464"/>
                  </a:lnTo>
                  <a:lnTo>
                    <a:pt x="82500" y="117464"/>
                  </a:lnTo>
                  <a:lnTo>
                    <a:pt x="85000" y="117464"/>
                  </a:lnTo>
                  <a:lnTo>
                    <a:pt x="88333" y="117464"/>
                  </a:lnTo>
                  <a:lnTo>
                    <a:pt x="90833" y="120000"/>
                  </a:lnTo>
                  <a:lnTo>
                    <a:pt x="90833" y="120000"/>
                  </a:lnTo>
                  <a:lnTo>
                    <a:pt x="92500" y="117464"/>
                  </a:lnTo>
                  <a:lnTo>
                    <a:pt x="96666" y="115774"/>
                  </a:lnTo>
                  <a:lnTo>
                    <a:pt x="98333" y="111549"/>
                  </a:lnTo>
                  <a:lnTo>
                    <a:pt x="100000" y="109859"/>
                  </a:lnTo>
                  <a:lnTo>
                    <a:pt x="102500" y="107323"/>
                  </a:lnTo>
                  <a:lnTo>
                    <a:pt x="105833" y="103943"/>
                  </a:lnTo>
                  <a:lnTo>
                    <a:pt x="108333" y="101408"/>
                  </a:lnTo>
                  <a:lnTo>
                    <a:pt x="108333" y="99718"/>
                  </a:lnTo>
                  <a:lnTo>
                    <a:pt x="108333" y="99718"/>
                  </a:lnTo>
                  <a:lnTo>
                    <a:pt x="108333" y="98028"/>
                  </a:lnTo>
                  <a:lnTo>
                    <a:pt x="110000" y="93802"/>
                  </a:lnTo>
                  <a:lnTo>
                    <a:pt x="110000" y="91267"/>
                  </a:lnTo>
                  <a:lnTo>
                    <a:pt x="110000" y="89577"/>
                  </a:lnTo>
                  <a:lnTo>
                    <a:pt x="110000" y="87887"/>
                  </a:lnTo>
                  <a:lnTo>
                    <a:pt x="110000" y="87887"/>
                  </a:lnTo>
                  <a:lnTo>
                    <a:pt x="114166" y="85352"/>
                  </a:lnTo>
                  <a:lnTo>
                    <a:pt x="114166" y="83661"/>
                  </a:lnTo>
                  <a:lnTo>
                    <a:pt x="115833" y="81971"/>
                  </a:lnTo>
                  <a:lnTo>
                    <a:pt x="118333" y="76056"/>
                  </a:lnTo>
                  <a:lnTo>
                    <a:pt x="118333" y="76056"/>
                  </a:lnTo>
                  <a:lnTo>
                    <a:pt x="118333" y="73521"/>
                  </a:lnTo>
                  <a:lnTo>
                    <a:pt x="118333" y="73521"/>
                  </a:lnTo>
                  <a:lnTo>
                    <a:pt x="115833" y="71830"/>
                  </a:lnTo>
                  <a:lnTo>
                    <a:pt x="115833" y="69295"/>
                  </a:lnTo>
                  <a:lnTo>
                    <a:pt x="115833" y="65915"/>
                  </a:lnTo>
                  <a:lnTo>
                    <a:pt x="115833" y="63380"/>
                  </a:lnTo>
                  <a:lnTo>
                    <a:pt x="115833" y="61690"/>
                  </a:lnTo>
                  <a:lnTo>
                    <a:pt x="115833" y="61690"/>
                  </a:lnTo>
                  <a:lnTo>
                    <a:pt x="115833" y="60000"/>
                  </a:lnTo>
                  <a:lnTo>
                    <a:pt x="115833" y="60000"/>
                  </a:lnTo>
                  <a:lnTo>
                    <a:pt x="114166" y="60000"/>
                  </a:lnTo>
                  <a:lnTo>
                    <a:pt x="114166" y="57464"/>
                  </a:lnTo>
                  <a:lnTo>
                    <a:pt x="114166" y="55774"/>
                  </a:lnTo>
                  <a:lnTo>
                    <a:pt x="114166" y="55774"/>
                  </a:lnTo>
                  <a:lnTo>
                    <a:pt x="115833" y="55774"/>
                  </a:lnTo>
                  <a:lnTo>
                    <a:pt x="118333" y="54084"/>
                  </a:lnTo>
                  <a:lnTo>
                    <a:pt x="118333" y="54084"/>
                  </a:lnTo>
                  <a:lnTo>
                    <a:pt x="118333" y="51549"/>
                  </a:lnTo>
                  <a:lnTo>
                    <a:pt x="118333" y="49859"/>
                  </a:lnTo>
                  <a:lnTo>
                    <a:pt x="120000" y="47323"/>
                  </a:lnTo>
                  <a:lnTo>
                    <a:pt x="120000" y="47323"/>
                  </a:lnTo>
                  <a:lnTo>
                    <a:pt x="120000" y="45633"/>
                  </a:lnTo>
                  <a:lnTo>
                    <a:pt x="118333" y="43943"/>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51" name="Shape 351"/>
            <p:cNvSpPr/>
            <p:nvPr/>
          </p:nvSpPr>
          <p:spPr>
            <a:xfrm>
              <a:off x="4058" y="2980"/>
              <a:ext cx="300" cy="299"/>
            </a:xfrm>
            <a:custGeom>
              <a:avLst/>
              <a:gdLst/>
              <a:ahLst/>
              <a:cxnLst/>
              <a:rect l="0" t="0" r="0" b="0"/>
              <a:pathLst>
                <a:path w="120000" h="120000" extrusionOk="0">
                  <a:moveTo>
                    <a:pt x="116164" y="32884"/>
                  </a:moveTo>
                  <a:lnTo>
                    <a:pt x="117808" y="31730"/>
                  </a:lnTo>
                  <a:lnTo>
                    <a:pt x="117808" y="31730"/>
                  </a:lnTo>
                  <a:lnTo>
                    <a:pt x="120000" y="30000"/>
                  </a:lnTo>
                  <a:lnTo>
                    <a:pt x="120000" y="28846"/>
                  </a:lnTo>
                  <a:lnTo>
                    <a:pt x="118904" y="28846"/>
                  </a:lnTo>
                  <a:lnTo>
                    <a:pt x="118904" y="27692"/>
                  </a:lnTo>
                  <a:lnTo>
                    <a:pt x="118904" y="25961"/>
                  </a:lnTo>
                  <a:lnTo>
                    <a:pt x="118904" y="24807"/>
                  </a:lnTo>
                  <a:lnTo>
                    <a:pt x="117808" y="24807"/>
                  </a:lnTo>
                  <a:lnTo>
                    <a:pt x="117808" y="23076"/>
                  </a:lnTo>
                  <a:lnTo>
                    <a:pt x="116164" y="23076"/>
                  </a:lnTo>
                  <a:lnTo>
                    <a:pt x="116164" y="21923"/>
                  </a:lnTo>
                  <a:lnTo>
                    <a:pt x="116164" y="20769"/>
                  </a:lnTo>
                  <a:lnTo>
                    <a:pt x="116164" y="20769"/>
                  </a:lnTo>
                  <a:lnTo>
                    <a:pt x="115068" y="19038"/>
                  </a:lnTo>
                  <a:lnTo>
                    <a:pt x="115068" y="17884"/>
                  </a:lnTo>
                  <a:lnTo>
                    <a:pt x="115068" y="17884"/>
                  </a:lnTo>
                  <a:lnTo>
                    <a:pt x="115068" y="17884"/>
                  </a:lnTo>
                  <a:lnTo>
                    <a:pt x="113972" y="17884"/>
                  </a:lnTo>
                  <a:lnTo>
                    <a:pt x="113972" y="17884"/>
                  </a:lnTo>
                  <a:lnTo>
                    <a:pt x="113972" y="17884"/>
                  </a:lnTo>
                  <a:lnTo>
                    <a:pt x="112328" y="17884"/>
                  </a:lnTo>
                  <a:lnTo>
                    <a:pt x="112328" y="17884"/>
                  </a:lnTo>
                  <a:lnTo>
                    <a:pt x="112328" y="16730"/>
                  </a:lnTo>
                  <a:lnTo>
                    <a:pt x="112328" y="16730"/>
                  </a:lnTo>
                  <a:lnTo>
                    <a:pt x="112328" y="15000"/>
                  </a:lnTo>
                  <a:lnTo>
                    <a:pt x="112328" y="15000"/>
                  </a:lnTo>
                  <a:lnTo>
                    <a:pt x="111232" y="15000"/>
                  </a:lnTo>
                  <a:lnTo>
                    <a:pt x="111232" y="13846"/>
                  </a:lnTo>
                  <a:lnTo>
                    <a:pt x="110136" y="13846"/>
                  </a:lnTo>
                  <a:lnTo>
                    <a:pt x="108493" y="12692"/>
                  </a:lnTo>
                  <a:lnTo>
                    <a:pt x="107397" y="12692"/>
                  </a:lnTo>
                  <a:lnTo>
                    <a:pt x="106301" y="12692"/>
                  </a:lnTo>
                  <a:lnTo>
                    <a:pt x="104657" y="12692"/>
                  </a:lnTo>
                  <a:lnTo>
                    <a:pt x="104657" y="10961"/>
                  </a:lnTo>
                  <a:lnTo>
                    <a:pt x="103561" y="10961"/>
                  </a:lnTo>
                  <a:lnTo>
                    <a:pt x="101917" y="10961"/>
                  </a:lnTo>
                  <a:lnTo>
                    <a:pt x="101917" y="10961"/>
                  </a:lnTo>
                  <a:lnTo>
                    <a:pt x="101917" y="9807"/>
                  </a:lnTo>
                  <a:lnTo>
                    <a:pt x="101917" y="9807"/>
                  </a:lnTo>
                  <a:lnTo>
                    <a:pt x="100821" y="9807"/>
                  </a:lnTo>
                  <a:lnTo>
                    <a:pt x="100821" y="9807"/>
                  </a:lnTo>
                  <a:lnTo>
                    <a:pt x="99726" y="9807"/>
                  </a:lnTo>
                  <a:lnTo>
                    <a:pt x="99726" y="9807"/>
                  </a:lnTo>
                  <a:lnTo>
                    <a:pt x="99726" y="8076"/>
                  </a:lnTo>
                  <a:lnTo>
                    <a:pt x="98082" y="8076"/>
                  </a:lnTo>
                  <a:lnTo>
                    <a:pt x="98082" y="6923"/>
                  </a:lnTo>
                  <a:lnTo>
                    <a:pt x="96986" y="5769"/>
                  </a:lnTo>
                  <a:lnTo>
                    <a:pt x="96986" y="5769"/>
                  </a:lnTo>
                  <a:lnTo>
                    <a:pt x="94246" y="5769"/>
                  </a:lnTo>
                  <a:lnTo>
                    <a:pt x="93150" y="5769"/>
                  </a:lnTo>
                  <a:lnTo>
                    <a:pt x="93150" y="4038"/>
                  </a:lnTo>
                  <a:lnTo>
                    <a:pt x="92054" y="4038"/>
                  </a:lnTo>
                  <a:lnTo>
                    <a:pt x="92054" y="2884"/>
                  </a:lnTo>
                  <a:lnTo>
                    <a:pt x="90410" y="1730"/>
                  </a:lnTo>
                  <a:lnTo>
                    <a:pt x="90410" y="0"/>
                  </a:lnTo>
                  <a:lnTo>
                    <a:pt x="89315" y="0"/>
                  </a:lnTo>
                  <a:lnTo>
                    <a:pt x="86575" y="1730"/>
                  </a:lnTo>
                  <a:lnTo>
                    <a:pt x="83835" y="1730"/>
                  </a:lnTo>
                  <a:lnTo>
                    <a:pt x="80000" y="2884"/>
                  </a:lnTo>
                  <a:lnTo>
                    <a:pt x="77808" y="2884"/>
                  </a:lnTo>
                  <a:lnTo>
                    <a:pt x="75068" y="2884"/>
                  </a:lnTo>
                  <a:lnTo>
                    <a:pt x="72328" y="4038"/>
                  </a:lnTo>
                  <a:lnTo>
                    <a:pt x="71232" y="4038"/>
                  </a:lnTo>
                  <a:lnTo>
                    <a:pt x="72328" y="5769"/>
                  </a:lnTo>
                  <a:lnTo>
                    <a:pt x="72328" y="6923"/>
                  </a:lnTo>
                  <a:lnTo>
                    <a:pt x="71232" y="6923"/>
                  </a:lnTo>
                  <a:lnTo>
                    <a:pt x="71232" y="8076"/>
                  </a:lnTo>
                  <a:lnTo>
                    <a:pt x="70136" y="9807"/>
                  </a:lnTo>
                  <a:lnTo>
                    <a:pt x="70136" y="10961"/>
                  </a:lnTo>
                  <a:lnTo>
                    <a:pt x="68493" y="10961"/>
                  </a:lnTo>
                  <a:lnTo>
                    <a:pt x="67397" y="12692"/>
                  </a:lnTo>
                  <a:lnTo>
                    <a:pt x="65753" y="12692"/>
                  </a:lnTo>
                  <a:lnTo>
                    <a:pt x="65753" y="13846"/>
                  </a:lnTo>
                  <a:lnTo>
                    <a:pt x="68493" y="16730"/>
                  </a:lnTo>
                  <a:lnTo>
                    <a:pt x="68493" y="17884"/>
                  </a:lnTo>
                  <a:lnTo>
                    <a:pt x="68493" y="20769"/>
                  </a:lnTo>
                  <a:lnTo>
                    <a:pt x="68493" y="21923"/>
                  </a:lnTo>
                  <a:lnTo>
                    <a:pt x="68493" y="23076"/>
                  </a:lnTo>
                  <a:lnTo>
                    <a:pt x="68493" y="25961"/>
                  </a:lnTo>
                  <a:lnTo>
                    <a:pt x="68493" y="27692"/>
                  </a:lnTo>
                  <a:lnTo>
                    <a:pt x="68493" y="28846"/>
                  </a:lnTo>
                  <a:lnTo>
                    <a:pt x="68493" y="30000"/>
                  </a:lnTo>
                  <a:lnTo>
                    <a:pt x="67397" y="31730"/>
                  </a:lnTo>
                  <a:lnTo>
                    <a:pt x="67397" y="34038"/>
                  </a:lnTo>
                  <a:lnTo>
                    <a:pt x="67397" y="35769"/>
                  </a:lnTo>
                  <a:lnTo>
                    <a:pt x="65753" y="38076"/>
                  </a:lnTo>
                  <a:lnTo>
                    <a:pt x="65753" y="40961"/>
                  </a:lnTo>
                  <a:lnTo>
                    <a:pt x="65753" y="40961"/>
                  </a:lnTo>
                  <a:lnTo>
                    <a:pt x="65753" y="42692"/>
                  </a:lnTo>
                  <a:lnTo>
                    <a:pt x="65753" y="42692"/>
                  </a:lnTo>
                  <a:lnTo>
                    <a:pt x="67397" y="43846"/>
                  </a:lnTo>
                  <a:lnTo>
                    <a:pt x="67397" y="45000"/>
                  </a:lnTo>
                  <a:lnTo>
                    <a:pt x="67397" y="45000"/>
                  </a:lnTo>
                  <a:lnTo>
                    <a:pt x="70136" y="47884"/>
                  </a:lnTo>
                  <a:lnTo>
                    <a:pt x="71232" y="47884"/>
                  </a:lnTo>
                  <a:lnTo>
                    <a:pt x="72328" y="49038"/>
                  </a:lnTo>
                  <a:lnTo>
                    <a:pt x="72328" y="50769"/>
                  </a:lnTo>
                  <a:lnTo>
                    <a:pt x="73972" y="50769"/>
                  </a:lnTo>
                  <a:lnTo>
                    <a:pt x="75068" y="51923"/>
                  </a:lnTo>
                  <a:lnTo>
                    <a:pt x="76164" y="51923"/>
                  </a:lnTo>
                  <a:lnTo>
                    <a:pt x="77808" y="51923"/>
                  </a:lnTo>
                  <a:lnTo>
                    <a:pt x="77808" y="51923"/>
                  </a:lnTo>
                  <a:lnTo>
                    <a:pt x="77808" y="50769"/>
                  </a:lnTo>
                  <a:lnTo>
                    <a:pt x="77808" y="50769"/>
                  </a:lnTo>
                  <a:lnTo>
                    <a:pt x="77808" y="49038"/>
                  </a:lnTo>
                  <a:lnTo>
                    <a:pt x="77808" y="49038"/>
                  </a:lnTo>
                  <a:lnTo>
                    <a:pt x="78904" y="49038"/>
                  </a:lnTo>
                  <a:lnTo>
                    <a:pt x="80000" y="49038"/>
                  </a:lnTo>
                  <a:lnTo>
                    <a:pt x="80000" y="49038"/>
                  </a:lnTo>
                  <a:lnTo>
                    <a:pt x="80000" y="50769"/>
                  </a:lnTo>
                  <a:lnTo>
                    <a:pt x="80000" y="51923"/>
                  </a:lnTo>
                  <a:lnTo>
                    <a:pt x="80000" y="54807"/>
                  </a:lnTo>
                  <a:lnTo>
                    <a:pt x="80000" y="57692"/>
                  </a:lnTo>
                  <a:lnTo>
                    <a:pt x="80000" y="58846"/>
                  </a:lnTo>
                  <a:lnTo>
                    <a:pt x="80000" y="61730"/>
                  </a:lnTo>
                  <a:lnTo>
                    <a:pt x="80000" y="62884"/>
                  </a:lnTo>
                  <a:lnTo>
                    <a:pt x="80000" y="64038"/>
                  </a:lnTo>
                  <a:lnTo>
                    <a:pt x="80000" y="64038"/>
                  </a:lnTo>
                  <a:lnTo>
                    <a:pt x="78904" y="64038"/>
                  </a:lnTo>
                  <a:lnTo>
                    <a:pt x="78904" y="64038"/>
                  </a:lnTo>
                  <a:lnTo>
                    <a:pt x="78904" y="62884"/>
                  </a:lnTo>
                  <a:lnTo>
                    <a:pt x="78904" y="62884"/>
                  </a:lnTo>
                  <a:lnTo>
                    <a:pt x="77808" y="61730"/>
                  </a:lnTo>
                  <a:lnTo>
                    <a:pt x="77808" y="61730"/>
                  </a:lnTo>
                  <a:lnTo>
                    <a:pt x="76164" y="61730"/>
                  </a:lnTo>
                  <a:lnTo>
                    <a:pt x="76164" y="62884"/>
                  </a:lnTo>
                  <a:lnTo>
                    <a:pt x="75068" y="62884"/>
                  </a:lnTo>
                  <a:lnTo>
                    <a:pt x="73972" y="64038"/>
                  </a:lnTo>
                  <a:lnTo>
                    <a:pt x="72328" y="64038"/>
                  </a:lnTo>
                  <a:lnTo>
                    <a:pt x="72328" y="62884"/>
                  </a:lnTo>
                  <a:lnTo>
                    <a:pt x="71232" y="62884"/>
                  </a:lnTo>
                  <a:lnTo>
                    <a:pt x="71232" y="61730"/>
                  </a:lnTo>
                  <a:lnTo>
                    <a:pt x="71232" y="60000"/>
                  </a:lnTo>
                  <a:lnTo>
                    <a:pt x="70136" y="58846"/>
                  </a:lnTo>
                  <a:lnTo>
                    <a:pt x="70136" y="57692"/>
                  </a:lnTo>
                  <a:lnTo>
                    <a:pt x="68493" y="57692"/>
                  </a:lnTo>
                  <a:lnTo>
                    <a:pt x="68493" y="57692"/>
                  </a:lnTo>
                  <a:lnTo>
                    <a:pt x="67397" y="57692"/>
                  </a:lnTo>
                  <a:lnTo>
                    <a:pt x="67397" y="55961"/>
                  </a:lnTo>
                  <a:lnTo>
                    <a:pt x="67397" y="54807"/>
                  </a:lnTo>
                  <a:lnTo>
                    <a:pt x="65753" y="53076"/>
                  </a:lnTo>
                  <a:lnTo>
                    <a:pt x="65753" y="53076"/>
                  </a:lnTo>
                  <a:lnTo>
                    <a:pt x="65753" y="51923"/>
                  </a:lnTo>
                  <a:lnTo>
                    <a:pt x="64657" y="51923"/>
                  </a:lnTo>
                  <a:lnTo>
                    <a:pt x="61917" y="50769"/>
                  </a:lnTo>
                  <a:lnTo>
                    <a:pt x="60821" y="50769"/>
                  </a:lnTo>
                  <a:lnTo>
                    <a:pt x="59726" y="50769"/>
                  </a:lnTo>
                  <a:lnTo>
                    <a:pt x="58082" y="50769"/>
                  </a:lnTo>
                  <a:lnTo>
                    <a:pt x="58082" y="49038"/>
                  </a:lnTo>
                  <a:lnTo>
                    <a:pt x="56986" y="49038"/>
                  </a:lnTo>
                  <a:lnTo>
                    <a:pt x="56986" y="47884"/>
                  </a:lnTo>
                  <a:lnTo>
                    <a:pt x="55890" y="46730"/>
                  </a:lnTo>
                  <a:lnTo>
                    <a:pt x="54246" y="43846"/>
                  </a:lnTo>
                  <a:lnTo>
                    <a:pt x="54246" y="42692"/>
                  </a:lnTo>
                  <a:lnTo>
                    <a:pt x="53150" y="40961"/>
                  </a:lnTo>
                  <a:lnTo>
                    <a:pt x="53150" y="42692"/>
                  </a:lnTo>
                  <a:lnTo>
                    <a:pt x="53150" y="42692"/>
                  </a:lnTo>
                  <a:lnTo>
                    <a:pt x="52054" y="42692"/>
                  </a:lnTo>
                  <a:lnTo>
                    <a:pt x="52054" y="45000"/>
                  </a:lnTo>
                  <a:lnTo>
                    <a:pt x="52054" y="45000"/>
                  </a:lnTo>
                  <a:lnTo>
                    <a:pt x="52054" y="45000"/>
                  </a:lnTo>
                  <a:lnTo>
                    <a:pt x="50410" y="46730"/>
                  </a:lnTo>
                  <a:lnTo>
                    <a:pt x="50410" y="46730"/>
                  </a:lnTo>
                  <a:lnTo>
                    <a:pt x="49315" y="46730"/>
                  </a:lnTo>
                  <a:lnTo>
                    <a:pt x="47671" y="46730"/>
                  </a:lnTo>
                  <a:lnTo>
                    <a:pt x="46575" y="46730"/>
                  </a:lnTo>
                  <a:lnTo>
                    <a:pt x="45479" y="46730"/>
                  </a:lnTo>
                  <a:lnTo>
                    <a:pt x="42739" y="45000"/>
                  </a:lnTo>
                  <a:lnTo>
                    <a:pt x="42739" y="45000"/>
                  </a:lnTo>
                  <a:lnTo>
                    <a:pt x="41643" y="45000"/>
                  </a:lnTo>
                  <a:lnTo>
                    <a:pt x="40000" y="45000"/>
                  </a:lnTo>
                  <a:lnTo>
                    <a:pt x="37808" y="43846"/>
                  </a:lnTo>
                  <a:lnTo>
                    <a:pt x="36164" y="43846"/>
                  </a:lnTo>
                  <a:lnTo>
                    <a:pt x="36164" y="42692"/>
                  </a:lnTo>
                  <a:lnTo>
                    <a:pt x="36164" y="42692"/>
                  </a:lnTo>
                  <a:lnTo>
                    <a:pt x="35068" y="42692"/>
                  </a:lnTo>
                  <a:lnTo>
                    <a:pt x="35068" y="40961"/>
                  </a:lnTo>
                  <a:lnTo>
                    <a:pt x="35068" y="39807"/>
                  </a:lnTo>
                  <a:lnTo>
                    <a:pt x="35068" y="38076"/>
                  </a:lnTo>
                  <a:lnTo>
                    <a:pt x="35068" y="36923"/>
                  </a:lnTo>
                  <a:lnTo>
                    <a:pt x="35068" y="36923"/>
                  </a:lnTo>
                  <a:lnTo>
                    <a:pt x="33972" y="36923"/>
                  </a:lnTo>
                  <a:lnTo>
                    <a:pt x="33972" y="36923"/>
                  </a:lnTo>
                  <a:lnTo>
                    <a:pt x="32328" y="38076"/>
                  </a:lnTo>
                  <a:lnTo>
                    <a:pt x="31232" y="38076"/>
                  </a:lnTo>
                  <a:lnTo>
                    <a:pt x="30136" y="38076"/>
                  </a:lnTo>
                  <a:lnTo>
                    <a:pt x="28493" y="38076"/>
                  </a:lnTo>
                  <a:lnTo>
                    <a:pt x="28493" y="38076"/>
                  </a:lnTo>
                  <a:lnTo>
                    <a:pt x="27397" y="39807"/>
                  </a:lnTo>
                  <a:lnTo>
                    <a:pt x="25753" y="39807"/>
                  </a:lnTo>
                  <a:lnTo>
                    <a:pt x="25753" y="39807"/>
                  </a:lnTo>
                  <a:lnTo>
                    <a:pt x="24657" y="39807"/>
                  </a:lnTo>
                  <a:lnTo>
                    <a:pt x="25753" y="38076"/>
                  </a:lnTo>
                  <a:lnTo>
                    <a:pt x="25753" y="38076"/>
                  </a:lnTo>
                  <a:lnTo>
                    <a:pt x="25753" y="35769"/>
                  </a:lnTo>
                  <a:lnTo>
                    <a:pt x="24657" y="35769"/>
                  </a:lnTo>
                  <a:lnTo>
                    <a:pt x="23561" y="35769"/>
                  </a:lnTo>
                  <a:lnTo>
                    <a:pt x="23561" y="34038"/>
                  </a:lnTo>
                  <a:lnTo>
                    <a:pt x="23561" y="34038"/>
                  </a:lnTo>
                  <a:lnTo>
                    <a:pt x="21917" y="32884"/>
                  </a:lnTo>
                  <a:lnTo>
                    <a:pt x="21917" y="32884"/>
                  </a:lnTo>
                  <a:lnTo>
                    <a:pt x="20821" y="32884"/>
                  </a:lnTo>
                  <a:lnTo>
                    <a:pt x="21917" y="34038"/>
                  </a:lnTo>
                  <a:lnTo>
                    <a:pt x="21917" y="36923"/>
                  </a:lnTo>
                  <a:lnTo>
                    <a:pt x="21917" y="38076"/>
                  </a:lnTo>
                  <a:lnTo>
                    <a:pt x="21917" y="39807"/>
                  </a:lnTo>
                  <a:lnTo>
                    <a:pt x="21917" y="39807"/>
                  </a:lnTo>
                  <a:lnTo>
                    <a:pt x="21917" y="39807"/>
                  </a:lnTo>
                  <a:lnTo>
                    <a:pt x="21917" y="40961"/>
                  </a:lnTo>
                  <a:lnTo>
                    <a:pt x="21917" y="40961"/>
                  </a:lnTo>
                  <a:lnTo>
                    <a:pt x="20821" y="42692"/>
                  </a:lnTo>
                  <a:lnTo>
                    <a:pt x="21917" y="43846"/>
                  </a:lnTo>
                  <a:lnTo>
                    <a:pt x="20821" y="45000"/>
                  </a:lnTo>
                  <a:lnTo>
                    <a:pt x="20821" y="46730"/>
                  </a:lnTo>
                  <a:lnTo>
                    <a:pt x="20821" y="47884"/>
                  </a:lnTo>
                  <a:lnTo>
                    <a:pt x="21917" y="50769"/>
                  </a:lnTo>
                  <a:lnTo>
                    <a:pt x="20821" y="51923"/>
                  </a:lnTo>
                  <a:lnTo>
                    <a:pt x="20821" y="53076"/>
                  </a:lnTo>
                  <a:lnTo>
                    <a:pt x="20821" y="54807"/>
                  </a:lnTo>
                  <a:lnTo>
                    <a:pt x="20821" y="55961"/>
                  </a:lnTo>
                  <a:lnTo>
                    <a:pt x="20821" y="55961"/>
                  </a:lnTo>
                  <a:lnTo>
                    <a:pt x="20821" y="58846"/>
                  </a:lnTo>
                  <a:lnTo>
                    <a:pt x="20821" y="58846"/>
                  </a:lnTo>
                  <a:lnTo>
                    <a:pt x="20821" y="58846"/>
                  </a:lnTo>
                  <a:lnTo>
                    <a:pt x="19726" y="58846"/>
                  </a:lnTo>
                  <a:lnTo>
                    <a:pt x="1643" y="58846"/>
                  </a:lnTo>
                  <a:lnTo>
                    <a:pt x="1643" y="60000"/>
                  </a:lnTo>
                  <a:lnTo>
                    <a:pt x="1643" y="64038"/>
                  </a:lnTo>
                  <a:lnTo>
                    <a:pt x="1643" y="68653"/>
                  </a:lnTo>
                  <a:lnTo>
                    <a:pt x="1643" y="72692"/>
                  </a:lnTo>
                  <a:lnTo>
                    <a:pt x="1643" y="76730"/>
                  </a:lnTo>
                  <a:lnTo>
                    <a:pt x="0" y="80769"/>
                  </a:lnTo>
                  <a:lnTo>
                    <a:pt x="0" y="84807"/>
                  </a:lnTo>
                  <a:lnTo>
                    <a:pt x="0" y="88846"/>
                  </a:lnTo>
                  <a:lnTo>
                    <a:pt x="0" y="91730"/>
                  </a:lnTo>
                  <a:lnTo>
                    <a:pt x="0" y="94038"/>
                  </a:lnTo>
                  <a:lnTo>
                    <a:pt x="1643" y="98653"/>
                  </a:lnTo>
                  <a:lnTo>
                    <a:pt x="2739" y="102692"/>
                  </a:lnTo>
                  <a:lnTo>
                    <a:pt x="2739" y="102692"/>
                  </a:lnTo>
                  <a:lnTo>
                    <a:pt x="3835" y="103846"/>
                  </a:lnTo>
                  <a:lnTo>
                    <a:pt x="5479" y="105000"/>
                  </a:lnTo>
                  <a:lnTo>
                    <a:pt x="6575" y="106730"/>
                  </a:lnTo>
                  <a:lnTo>
                    <a:pt x="7671" y="107884"/>
                  </a:lnTo>
                  <a:lnTo>
                    <a:pt x="10410" y="110769"/>
                  </a:lnTo>
                  <a:lnTo>
                    <a:pt x="13150" y="113653"/>
                  </a:lnTo>
                  <a:lnTo>
                    <a:pt x="14246" y="115961"/>
                  </a:lnTo>
                  <a:lnTo>
                    <a:pt x="16986" y="114807"/>
                  </a:lnTo>
                  <a:lnTo>
                    <a:pt x="18082" y="114807"/>
                  </a:lnTo>
                  <a:lnTo>
                    <a:pt x="20821" y="113653"/>
                  </a:lnTo>
                  <a:lnTo>
                    <a:pt x="23561" y="113653"/>
                  </a:lnTo>
                  <a:lnTo>
                    <a:pt x="23561" y="113653"/>
                  </a:lnTo>
                  <a:lnTo>
                    <a:pt x="28493" y="113653"/>
                  </a:lnTo>
                  <a:lnTo>
                    <a:pt x="30136" y="114807"/>
                  </a:lnTo>
                  <a:lnTo>
                    <a:pt x="31232" y="114807"/>
                  </a:lnTo>
                  <a:lnTo>
                    <a:pt x="31232" y="114807"/>
                  </a:lnTo>
                  <a:lnTo>
                    <a:pt x="33972" y="117692"/>
                  </a:lnTo>
                  <a:lnTo>
                    <a:pt x="35068" y="117692"/>
                  </a:lnTo>
                  <a:lnTo>
                    <a:pt x="36164" y="117692"/>
                  </a:lnTo>
                  <a:lnTo>
                    <a:pt x="37808" y="117692"/>
                  </a:lnTo>
                  <a:lnTo>
                    <a:pt x="37808" y="117692"/>
                  </a:lnTo>
                  <a:lnTo>
                    <a:pt x="38904" y="118846"/>
                  </a:lnTo>
                  <a:lnTo>
                    <a:pt x="40000" y="118846"/>
                  </a:lnTo>
                  <a:lnTo>
                    <a:pt x="41643" y="118846"/>
                  </a:lnTo>
                  <a:lnTo>
                    <a:pt x="43835" y="118846"/>
                  </a:lnTo>
                  <a:lnTo>
                    <a:pt x="46575" y="120000"/>
                  </a:lnTo>
                  <a:lnTo>
                    <a:pt x="47671" y="120000"/>
                  </a:lnTo>
                  <a:lnTo>
                    <a:pt x="50410" y="118846"/>
                  </a:lnTo>
                  <a:lnTo>
                    <a:pt x="53150" y="115961"/>
                  </a:lnTo>
                  <a:lnTo>
                    <a:pt x="55890" y="113653"/>
                  </a:lnTo>
                  <a:lnTo>
                    <a:pt x="56986" y="110769"/>
                  </a:lnTo>
                  <a:lnTo>
                    <a:pt x="58082" y="107884"/>
                  </a:lnTo>
                  <a:lnTo>
                    <a:pt x="60821" y="106730"/>
                  </a:lnTo>
                  <a:lnTo>
                    <a:pt x="61917" y="105000"/>
                  </a:lnTo>
                  <a:lnTo>
                    <a:pt x="64657" y="103846"/>
                  </a:lnTo>
                  <a:lnTo>
                    <a:pt x="68493" y="102692"/>
                  </a:lnTo>
                  <a:lnTo>
                    <a:pt x="68493" y="102692"/>
                  </a:lnTo>
                  <a:lnTo>
                    <a:pt x="70136" y="100961"/>
                  </a:lnTo>
                  <a:lnTo>
                    <a:pt x="70136" y="99807"/>
                  </a:lnTo>
                  <a:lnTo>
                    <a:pt x="70136" y="96923"/>
                  </a:lnTo>
                  <a:lnTo>
                    <a:pt x="70136" y="95769"/>
                  </a:lnTo>
                  <a:lnTo>
                    <a:pt x="70136" y="95769"/>
                  </a:lnTo>
                  <a:lnTo>
                    <a:pt x="71232" y="94038"/>
                  </a:lnTo>
                  <a:lnTo>
                    <a:pt x="72328" y="94038"/>
                  </a:lnTo>
                  <a:lnTo>
                    <a:pt x="73972" y="92884"/>
                  </a:lnTo>
                  <a:lnTo>
                    <a:pt x="76164" y="91730"/>
                  </a:lnTo>
                  <a:lnTo>
                    <a:pt x="78904" y="91730"/>
                  </a:lnTo>
                  <a:lnTo>
                    <a:pt x="81643" y="91730"/>
                  </a:lnTo>
                  <a:lnTo>
                    <a:pt x="83835" y="91730"/>
                  </a:lnTo>
                  <a:lnTo>
                    <a:pt x="85479" y="91730"/>
                  </a:lnTo>
                  <a:lnTo>
                    <a:pt x="85479" y="88846"/>
                  </a:lnTo>
                  <a:lnTo>
                    <a:pt x="85479" y="87692"/>
                  </a:lnTo>
                  <a:lnTo>
                    <a:pt x="83835" y="87692"/>
                  </a:lnTo>
                  <a:lnTo>
                    <a:pt x="83835" y="85961"/>
                  </a:lnTo>
                  <a:lnTo>
                    <a:pt x="83835" y="84807"/>
                  </a:lnTo>
                  <a:lnTo>
                    <a:pt x="83835" y="83653"/>
                  </a:lnTo>
                  <a:lnTo>
                    <a:pt x="83835" y="83653"/>
                  </a:lnTo>
                  <a:lnTo>
                    <a:pt x="86575" y="81923"/>
                  </a:lnTo>
                  <a:lnTo>
                    <a:pt x="86575" y="81923"/>
                  </a:lnTo>
                  <a:lnTo>
                    <a:pt x="88219" y="80769"/>
                  </a:lnTo>
                  <a:lnTo>
                    <a:pt x="90410" y="80769"/>
                  </a:lnTo>
                  <a:lnTo>
                    <a:pt x="93150" y="79038"/>
                  </a:lnTo>
                  <a:lnTo>
                    <a:pt x="95890" y="79038"/>
                  </a:lnTo>
                  <a:lnTo>
                    <a:pt x="96986" y="77884"/>
                  </a:lnTo>
                  <a:lnTo>
                    <a:pt x="98082" y="77884"/>
                  </a:lnTo>
                  <a:lnTo>
                    <a:pt x="99726" y="76730"/>
                  </a:lnTo>
                  <a:lnTo>
                    <a:pt x="101917" y="76730"/>
                  </a:lnTo>
                  <a:lnTo>
                    <a:pt x="101917" y="75000"/>
                  </a:lnTo>
                  <a:lnTo>
                    <a:pt x="103561" y="75000"/>
                  </a:lnTo>
                  <a:lnTo>
                    <a:pt x="104657" y="75000"/>
                  </a:lnTo>
                  <a:lnTo>
                    <a:pt x="107397" y="73846"/>
                  </a:lnTo>
                  <a:lnTo>
                    <a:pt x="111232" y="72692"/>
                  </a:lnTo>
                  <a:lnTo>
                    <a:pt x="112328" y="72692"/>
                  </a:lnTo>
                  <a:lnTo>
                    <a:pt x="113972" y="70961"/>
                  </a:lnTo>
                  <a:lnTo>
                    <a:pt x="113972" y="69807"/>
                  </a:lnTo>
                  <a:lnTo>
                    <a:pt x="113972" y="70961"/>
                  </a:lnTo>
                  <a:lnTo>
                    <a:pt x="112328" y="70961"/>
                  </a:lnTo>
                  <a:lnTo>
                    <a:pt x="112328" y="70961"/>
                  </a:lnTo>
                  <a:lnTo>
                    <a:pt x="112328" y="70961"/>
                  </a:lnTo>
                  <a:lnTo>
                    <a:pt x="112328" y="70961"/>
                  </a:lnTo>
                  <a:lnTo>
                    <a:pt x="112328" y="70961"/>
                  </a:lnTo>
                  <a:lnTo>
                    <a:pt x="111232" y="69807"/>
                  </a:lnTo>
                  <a:lnTo>
                    <a:pt x="111232" y="68653"/>
                  </a:lnTo>
                  <a:lnTo>
                    <a:pt x="110136" y="68653"/>
                  </a:lnTo>
                  <a:lnTo>
                    <a:pt x="110136" y="68653"/>
                  </a:lnTo>
                  <a:lnTo>
                    <a:pt x="110136" y="68653"/>
                  </a:lnTo>
                  <a:lnTo>
                    <a:pt x="110136" y="66923"/>
                  </a:lnTo>
                  <a:lnTo>
                    <a:pt x="110136" y="66923"/>
                  </a:lnTo>
                  <a:lnTo>
                    <a:pt x="110136" y="66923"/>
                  </a:lnTo>
                  <a:lnTo>
                    <a:pt x="108493" y="66923"/>
                  </a:lnTo>
                  <a:lnTo>
                    <a:pt x="108493" y="65769"/>
                  </a:lnTo>
                  <a:lnTo>
                    <a:pt x="110136" y="65769"/>
                  </a:lnTo>
                  <a:lnTo>
                    <a:pt x="110136" y="65769"/>
                  </a:lnTo>
                  <a:lnTo>
                    <a:pt x="111232" y="64038"/>
                  </a:lnTo>
                  <a:lnTo>
                    <a:pt x="111232" y="62884"/>
                  </a:lnTo>
                  <a:lnTo>
                    <a:pt x="111232" y="61730"/>
                  </a:lnTo>
                  <a:lnTo>
                    <a:pt x="112328" y="61730"/>
                  </a:lnTo>
                  <a:lnTo>
                    <a:pt x="112328" y="61730"/>
                  </a:lnTo>
                  <a:lnTo>
                    <a:pt x="112328" y="60000"/>
                  </a:lnTo>
                  <a:lnTo>
                    <a:pt x="112328" y="58846"/>
                  </a:lnTo>
                  <a:lnTo>
                    <a:pt x="112328" y="57692"/>
                  </a:lnTo>
                  <a:lnTo>
                    <a:pt x="112328" y="57692"/>
                  </a:lnTo>
                  <a:lnTo>
                    <a:pt x="112328" y="55961"/>
                  </a:lnTo>
                  <a:lnTo>
                    <a:pt x="112328" y="54807"/>
                  </a:lnTo>
                  <a:lnTo>
                    <a:pt x="112328" y="54807"/>
                  </a:lnTo>
                  <a:lnTo>
                    <a:pt x="115068" y="53076"/>
                  </a:lnTo>
                  <a:lnTo>
                    <a:pt x="116164" y="53076"/>
                  </a:lnTo>
                  <a:lnTo>
                    <a:pt x="116164" y="51923"/>
                  </a:lnTo>
                  <a:lnTo>
                    <a:pt x="117808" y="51923"/>
                  </a:lnTo>
                  <a:lnTo>
                    <a:pt x="117808" y="50769"/>
                  </a:lnTo>
                  <a:lnTo>
                    <a:pt x="117808" y="50769"/>
                  </a:lnTo>
                  <a:lnTo>
                    <a:pt x="116164" y="50769"/>
                  </a:lnTo>
                  <a:lnTo>
                    <a:pt x="116164" y="50769"/>
                  </a:lnTo>
                  <a:lnTo>
                    <a:pt x="115068" y="47884"/>
                  </a:lnTo>
                  <a:lnTo>
                    <a:pt x="116164" y="45000"/>
                  </a:lnTo>
                  <a:lnTo>
                    <a:pt x="116164" y="43846"/>
                  </a:lnTo>
                  <a:lnTo>
                    <a:pt x="116164" y="42692"/>
                  </a:lnTo>
                  <a:lnTo>
                    <a:pt x="115068" y="42692"/>
                  </a:lnTo>
                  <a:lnTo>
                    <a:pt x="115068" y="40961"/>
                  </a:lnTo>
                  <a:lnTo>
                    <a:pt x="115068" y="40961"/>
                  </a:lnTo>
                  <a:lnTo>
                    <a:pt x="115068" y="39807"/>
                  </a:lnTo>
                  <a:lnTo>
                    <a:pt x="115068" y="39807"/>
                  </a:lnTo>
                  <a:lnTo>
                    <a:pt x="116164" y="36923"/>
                  </a:lnTo>
                  <a:lnTo>
                    <a:pt x="116164" y="36923"/>
                  </a:lnTo>
                  <a:lnTo>
                    <a:pt x="116164" y="35769"/>
                  </a:lnTo>
                  <a:lnTo>
                    <a:pt x="116164" y="34038"/>
                  </a:lnTo>
                  <a:lnTo>
                    <a:pt x="115068" y="32884"/>
                  </a:lnTo>
                  <a:lnTo>
                    <a:pt x="115068" y="32884"/>
                  </a:lnTo>
                  <a:lnTo>
                    <a:pt x="116164" y="32884"/>
                  </a:lnTo>
                  <a:lnTo>
                    <a:pt x="116164" y="32884"/>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52" name="Shape 352"/>
            <p:cNvSpPr/>
            <p:nvPr/>
          </p:nvSpPr>
          <p:spPr>
            <a:xfrm>
              <a:off x="4440" y="2406"/>
              <a:ext cx="300" cy="0"/>
            </a:xfrm>
            <a:custGeom>
              <a:avLst/>
              <a:gdLst/>
              <a:ahLst/>
              <a:cxnLst/>
              <a:rect l="0" t="0" r="0" b="0"/>
              <a:pathLst>
                <a:path w="120000" h="120000" extrusionOk="0">
                  <a:moveTo>
                    <a:pt x="116216" y="113239"/>
                  </a:moveTo>
                  <a:lnTo>
                    <a:pt x="113513" y="113239"/>
                  </a:lnTo>
                  <a:lnTo>
                    <a:pt x="111891" y="113239"/>
                  </a:lnTo>
                  <a:lnTo>
                    <a:pt x="111891" y="113239"/>
                  </a:lnTo>
                  <a:lnTo>
                    <a:pt x="110810" y="113239"/>
                  </a:lnTo>
                  <a:lnTo>
                    <a:pt x="109729" y="113239"/>
                  </a:lnTo>
                  <a:lnTo>
                    <a:pt x="108108" y="113239"/>
                  </a:lnTo>
                  <a:lnTo>
                    <a:pt x="108108" y="113239"/>
                  </a:lnTo>
                  <a:lnTo>
                    <a:pt x="108108" y="115774"/>
                  </a:lnTo>
                  <a:lnTo>
                    <a:pt x="107027" y="115774"/>
                  </a:lnTo>
                  <a:lnTo>
                    <a:pt x="109729" y="117464"/>
                  </a:lnTo>
                  <a:lnTo>
                    <a:pt x="109729" y="120000"/>
                  </a:lnTo>
                  <a:lnTo>
                    <a:pt x="110810" y="120000"/>
                  </a:lnTo>
                  <a:lnTo>
                    <a:pt x="116216" y="120000"/>
                  </a:lnTo>
                  <a:lnTo>
                    <a:pt x="117297" y="117464"/>
                  </a:lnTo>
                  <a:lnTo>
                    <a:pt x="118378" y="117464"/>
                  </a:lnTo>
                  <a:lnTo>
                    <a:pt x="118378" y="115774"/>
                  </a:lnTo>
                  <a:lnTo>
                    <a:pt x="120000" y="115774"/>
                  </a:lnTo>
                  <a:lnTo>
                    <a:pt x="116216" y="113239"/>
                  </a:lnTo>
                  <a:close/>
                  <a:moveTo>
                    <a:pt x="102162" y="38028"/>
                  </a:moveTo>
                  <a:lnTo>
                    <a:pt x="100540" y="35492"/>
                  </a:lnTo>
                  <a:lnTo>
                    <a:pt x="99459" y="33802"/>
                  </a:lnTo>
                  <a:lnTo>
                    <a:pt x="99459" y="32112"/>
                  </a:lnTo>
                  <a:lnTo>
                    <a:pt x="99459" y="32112"/>
                  </a:lnTo>
                  <a:lnTo>
                    <a:pt x="98378" y="29577"/>
                  </a:lnTo>
                  <a:lnTo>
                    <a:pt x="98378" y="27887"/>
                  </a:lnTo>
                  <a:lnTo>
                    <a:pt x="96756" y="25352"/>
                  </a:lnTo>
                  <a:lnTo>
                    <a:pt x="96756" y="23661"/>
                  </a:lnTo>
                  <a:lnTo>
                    <a:pt x="96756" y="21971"/>
                  </a:lnTo>
                  <a:lnTo>
                    <a:pt x="95675" y="19436"/>
                  </a:lnTo>
                  <a:lnTo>
                    <a:pt x="95675" y="17746"/>
                  </a:lnTo>
                  <a:lnTo>
                    <a:pt x="94594" y="16056"/>
                  </a:lnTo>
                  <a:lnTo>
                    <a:pt x="94594" y="16056"/>
                  </a:lnTo>
                  <a:lnTo>
                    <a:pt x="94594" y="13521"/>
                  </a:lnTo>
                  <a:lnTo>
                    <a:pt x="92972" y="11830"/>
                  </a:lnTo>
                  <a:lnTo>
                    <a:pt x="92972" y="10140"/>
                  </a:lnTo>
                  <a:lnTo>
                    <a:pt x="91891" y="7605"/>
                  </a:lnTo>
                  <a:lnTo>
                    <a:pt x="91891" y="5915"/>
                  </a:lnTo>
                  <a:lnTo>
                    <a:pt x="91891" y="3380"/>
                  </a:lnTo>
                  <a:lnTo>
                    <a:pt x="90270" y="1690"/>
                  </a:lnTo>
                  <a:lnTo>
                    <a:pt x="90270" y="0"/>
                  </a:lnTo>
                  <a:lnTo>
                    <a:pt x="88108" y="1690"/>
                  </a:lnTo>
                  <a:lnTo>
                    <a:pt x="85405" y="1690"/>
                  </a:lnTo>
                  <a:lnTo>
                    <a:pt x="82702" y="1690"/>
                  </a:lnTo>
                  <a:lnTo>
                    <a:pt x="80540" y="3380"/>
                  </a:lnTo>
                  <a:lnTo>
                    <a:pt x="77837" y="3380"/>
                  </a:lnTo>
                  <a:lnTo>
                    <a:pt x="74054" y="3380"/>
                  </a:lnTo>
                  <a:lnTo>
                    <a:pt x="71351" y="5915"/>
                  </a:lnTo>
                  <a:lnTo>
                    <a:pt x="68648" y="5915"/>
                  </a:lnTo>
                  <a:lnTo>
                    <a:pt x="64864" y="5915"/>
                  </a:lnTo>
                  <a:lnTo>
                    <a:pt x="62702" y="7605"/>
                  </a:lnTo>
                  <a:lnTo>
                    <a:pt x="61081" y="7605"/>
                  </a:lnTo>
                  <a:lnTo>
                    <a:pt x="60000" y="10140"/>
                  </a:lnTo>
                  <a:lnTo>
                    <a:pt x="57297" y="11830"/>
                  </a:lnTo>
                  <a:lnTo>
                    <a:pt x="54594" y="13521"/>
                  </a:lnTo>
                  <a:lnTo>
                    <a:pt x="53513" y="16056"/>
                  </a:lnTo>
                  <a:lnTo>
                    <a:pt x="52432" y="19436"/>
                  </a:lnTo>
                  <a:lnTo>
                    <a:pt x="50810" y="19436"/>
                  </a:lnTo>
                  <a:lnTo>
                    <a:pt x="49729" y="23661"/>
                  </a:lnTo>
                  <a:lnTo>
                    <a:pt x="48648" y="25352"/>
                  </a:lnTo>
                  <a:lnTo>
                    <a:pt x="47027" y="27887"/>
                  </a:lnTo>
                  <a:lnTo>
                    <a:pt x="47027" y="29577"/>
                  </a:lnTo>
                  <a:lnTo>
                    <a:pt x="45945" y="33802"/>
                  </a:lnTo>
                  <a:lnTo>
                    <a:pt x="45945" y="35492"/>
                  </a:lnTo>
                  <a:lnTo>
                    <a:pt x="44864" y="35492"/>
                  </a:lnTo>
                  <a:lnTo>
                    <a:pt x="43243" y="38028"/>
                  </a:lnTo>
                  <a:lnTo>
                    <a:pt x="42162" y="38028"/>
                  </a:lnTo>
                  <a:lnTo>
                    <a:pt x="41081" y="35492"/>
                  </a:lnTo>
                  <a:lnTo>
                    <a:pt x="39459" y="32112"/>
                  </a:lnTo>
                  <a:lnTo>
                    <a:pt x="39459" y="32112"/>
                  </a:lnTo>
                  <a:lnTo>
                    <a:pt x="38378" y="32112"/>
                  </a:lnTo>
                  <a:lnTo>
                    <a:pt x="36756" y="32112"/>
                  </a:lnTo>
                  <a:lnTo>
                    <a:pt x="35675" y="32112"/>
                  </a:lnTo>
                  <a:lnTo>
                    <a:pt x="32972" y="32112"/>
                  </a:lnTo>
                  <a:lnTo>
                    <a:pt x="30810" y="32112"/>
                  </a:lnTo>
                  <a:lnTo>
                    <a:pt x="28108" y="32112"/>
                  </a:lnTo>
                  <a:lnTo>
                    <a:pt x="27027" y="29577"/>
                  </a:lnTo>
                  <a:lnTo>
                    <a:pt x="24324" y="29577"/>
                  </a:lnTo>
                  <a:lnTo>
                    <a:pt x="24324" y="27887"/>
                  </a:lnTo>
                  <a:lnTo>
                    <a:pt x="23243" y="27887"/>
                  </a:lnTo>
                  <a:lnTo>
                    <a:pt x="21621" y="27887"/>
                  </a:lnTo>
                  <a:lnTo>
                    <a:pt x="18918" y="27887"/>
                  </a:lnTo>
                  <a:lnTo>
                    <a:pt x="17837" y="29577"/>
                  </a:lnTo>
                  <a:lnTo>
                    <a:pt x="15135" y="29577"/>
                  </a:lnTo>
                  <a:lnTo>
                    <a:pt x="14054" y="29577"/>
                  </a:lnTo>
                  <a:lnTo>
                    <a:pt x="12972" y="29577"/>
                  </a:lnTo>
                  <a:lnTo>
                    <a:pt x="12972" y="29577"/>
                  </a:lnTo>
                  <a:lnTo>
                    <a:pt x="11351" y="29577"/>
                  </a:lnTo>
                  <a:lnTo>
                    <a:pt x="11351" y="29577"/>
                  </a:lnTo>
                  <a:lnTo>
                    <a:pt x="11351" y="29577"/>
                  </a:lnTo>
                  <a:lnTo>
                    <a:pt x="10270" y="29577"/>
                  </a:lnTo>
                  <a:lnTo>
                    <a:pt x="9189" y="29577"/>
                  </a:lnTo>
                  <a:lnTo>
                    <a:pt x="9189" y="27887"/>
                  </a:lnTo>
                  <a:lnTo>
                    <a:pt x="7567" y="27887"/>
                  </a:lnTo>
                  <a:lnTo>
                    <a:pt x="7567" y="27887"/>
                  </a:lnTo>
                  <a:lnTo>
                    <a:pt x="6486" y="27887"/>
                  </a:lnTo>
                  <a:lnTo>
                    <a:pt x="6486" y="27887"/>
                  </a:lnTo>
                  <a:lnTo>
                    <a:pt x="5405" y="27887"/>
                  </a:lnTo>
                  <a:lnTo>
                    <a:pt x="5405" y="27887"/>
                  </a:lnTo>
                  <a:lnTo>
                    <a:pt x="3783" y="29577"/>
                  </a:lnTo>
                  <a:lnTo>
                    <a:pt x="3783" y="29577"/>
                  </a:lnTo>
                  <a:lnTo>
                    <a:pt x="5405" y="32112"/>
                  </a:lnTo>
                  <a:lnTo>
                    <a:pt x="5405" y="32112"/>
                  </a:lnTo>
                  <a:lnTo>
                    <a:pt x="3783" y="32112"/>
                  </a:lnTo>
                  <a:lnTo>
                    <a:pt x="3783" y="33802"/>
                  </a:lnTo>
                  <a:lnTo>
                    <a:pt x="3783" y="35492"/>
                  </a:lnTo>
                  <a:lnTo>
                    <a:pt x="3783" y="38028"/>
                  </a:lnTo>
                  <a:lnTo>
                    <a:pt x="3783" y="39718"/>
                  </a:lnTo>
                  <a:lnTo>
                    <a:pt x="3783" y="39718"/>
                  </a:lnTo>
                  <a:lnTo>
                    <a:pt x="3783" y="39718"/>
                  </a:lnTo>
                  <a:lnTo>
                    <a:pt x="3783" y="41408"/>
                  </a:lnTo>
                  <a:lnTo>
                    <a:pt x="3783" y="41408"/>
                  </a:lnTo>
                  <a:lnTo>
                    <a:pt x="3783" y="43943"/>
                  </a:lnTo>
                  <a:lnTo>
                    <a:pt x="2702" y="43943"/>
                  </a:lnTo>
                  <a:lnTo>
                    <a:pt x="2702" y="45633"/>
                  </a:lnTo>
                  <a:lnTo>
                    <a:pt x="1081" y="47323"/>
                  </a:lnTo>
                  <a:lnTo>
                    <a:pt x="1081" y="54084"/>
                  </a:lnTo>
                  <a:lnTo>
                    <a:pt x="0" y="60000"/>
                  </a:lnTo>
                  <a:lnTo>
                    <a:pt x="1081" y="65915"/>
                  </a:lnTo>
                  <a:lnTo>
                    <a:pt x="1081" y="65915"/>
                  </a:lnTo>
                  <a:lnTo>
                    <a:pt x="1081" y="67605"/>
                  </a:lnTo>
                  <a:lnTo>
                    <a:pt x="0" y="65915"/>
                  </a:lnTo>
                  <a:lnTo>
                    <a:pt x="0" y="65915"/>
                  </a:lnTo>
                  <a:lnTo>
                    <a:pt x="0" y="67605"/>
                  </a:lnTo>
                  <a:lnTo>
                    <a:pt x="1081" y="69295"/>
                  </a:lnTo>
                  <a:lnTo>
                    <a:pt x="2702" y="71830"/>
                  </a:lnTo>
                  <a:lnTo>
                    <a:pt x="2702" y="73521"/>
                  </a:lnTo>
                  <a:lnTo>
                    <a:pt x="2702" y="73521"/>
                  </a:lnTo>
                  <a:lnTo>
                    <a:pt x="2702" y="73521"/>
                  </a:lnTo>
                  <a:lnTo>
                    <a:pt x="2702" y="76056"/>
                  </a:lnTo>
                  <a:lnTo>
                    <a:pt x="2702" y="76056"/>
                  </a:lnTo>
                  <a:lnTo>
                    <a:pt x="3783" y="79436"/>
                  </a:lnTo>
                  <a:lnTo>
                    <a:pt x="3783" y="79436"/>
                  </a:lnTo>
                  <a:lnTo>
                    <a:pt x="3783" y="81971"/>
                  </a:lnTo>
                  <a:lnTo>
                    <a:pt x="3783" y="83661"/>
                  </a:lnTo>
                  <a:lnTo>
                    <a:pt x="5405" y="85352"/>
                  </a:lnTo>
                  <a:lnTo>
                    <a:pt x="5405" y="89577"/>
                  </a:lnTo>
                  <a:lnTo>
                    <a:pt x="6486" y="91267"/>
                  </a:lnTo>
                  <a:lnTo>
                    <a:pt x="6486" y="95492"/>
                  </a:lnTo>
                  <a:lnTo>
                    <a:pt x="6486" y="95492"/>
                  </a:lnTo>
                  <a:lnTo>
                    <a:pt x="6486" y="103943"/>
                  </a:lnTo>
                  <a:lnTo>
                    <a:pt x="9189" y="109859"/>
                  </a:lnTo>
                  <a:lnTo>
                    <a:pt x="9189" y="113239"/>
                  </a:lnTo>
                  <a:lnTo>
                    <a:pt x="10270" y="111549"/>
                  </a:lnTo>
                  <a:lnTo>
                    <a:pt x="12972" y="113239"/>
                  </a:lnTo>
                  <a:lnTo>
                    <a:pt x="14054" y="113239"/>
                  </a:lnTo>
                  <a:lnTo>
                    <a:pt x="14054" y="113239"/>
                  </a:lnTo>
                  <a:lnTo>
                    <a:pt x="15135" y="113239"/>
                  </a:lnTo>
                  <a:lnTo>
                    <a:pt x="16756" y="113239"/>
                  </a:lnTo>
                  <a:lnTo>
                    <a:pt x="17837" y="113239"/>
                  </a:lnTo>
                  <a:lnTo>
                    <a:pt x="20540" y="111549"/>
                  </a:lnTo>
                  <a:lnTo>
                    <a:pt x="21621" y="111549"/>
                  </a:lnTo>
                  <a:lnTo>
                    <a:pt x="23243" y="111549"/>
                  </a:lnTo>
                  <a:lnTo>
                    <a:pt x="24324" y="111549"/>
                  </a:lnTo>
                  <a:lnTo>
                    <a:pt x="25405" y="109859"/>
                  </a:lnTo>
                  <a:lnTo>
                    <a:pt x="25405" y="107323"/>
                  </a:lnTo>
                  <a:lnTo>
                    <a:pt x="28108" y="105633"/>
                  </a:lnTo>
                  <a:lnTo>
                    <a:pt x="29189" y="103943"/>
                  </a:lnTo>
                  <a:lnTo>
                    <a:pt x="30810" y="101408"/>
                  </a:lnTo>
                  <a:lnTo>
                    <a:pt x="32972" y="99718"/>
                  </a:lnTo>
                  <a:lnTo>
                    <a:pt x="35675" y="99718"/>
                  </a:lnTo>
                  <a:lnTo>
                    <a:pt x="39459" y="99718"/>
                  </a:lnTo>
                  <a:lnTo>
                    <a:pt x="41081" y="99718"/>
                  </a:lnTo>
                  <a:lnTo>
                    <a:pt x="42162" y="99718"/>
                  </a:lnTo>
                  <a:lnTo>
                    <a:pt x="43243" y="98028"/>
                  </a:lnTo>
                  <a:lnTo>
                    <a:pt x="45945" y="98028"/>
                  </a:lnTo>
                  <a:lnTo>
                    <a:pt x="48648" y="95492"/>
                  </a:lnTo>
                  <a:lnTo>
                    <a:pt x="49729" y="91267"/>
                  </a:lnTo>
                  <a:lnTo>
                    <a:pt x="52432" y="89577"/>
                  </a:lnTo>
                  <a:lnTo>
                    <a:pt x="52432" y="89577"/>
                  </a:lnTo>
                  <a:lnTo>
                    <a:pt x="53513" y="89577"/>
                  </a:lnTo>
                  <a:lnTo>
                    <a:pt x="56216" y="89577"/>
                  </a:lnTo>
                  <a:lnTo>
                    <a:pt x="58918" y="89577"/>
                  </a:lnTo>
                  <a:lnTo>
                    <a:pt x="60000" y="89577"/>
                  </a:lnTo>
                  <a:lnTo>
                    <a:pt x="60000" y="89577"/>
                  </a:lnTo>
                  <a:lnTo>
                    <a:pt x="61081" y="87887"/>
                  </a:lnTo>
                  <a:lnTo>
                    <a:pt x="62702" y="85352"/>
                  </a:lnTo>
                  <a:lnTo>
                    <a:pt x="63783" y="83661"/>
                  </a:lnTo>
                  <a:lnTo>
                    <a:pt x="63783" y="81971"/>
                  </a:lnTo>
                  <a:lnTo>
                    <a:pt x="64864" y="81971"/>
                  </a:lnTo>
                  <a:lnTo>
                    <a:pt x="66486" y="77746"/>
                  </a:lnTo>
                  <a:lnTo>
                    <a:pt x="68648" y="77746"/>
                  </a:lnTo>
                  <a:lnTo>
                    <a:pt x="72432" y="76056"/>
                  </a:lnTo>
                  <a:lnTo>
                    <a:pt x="75135" y="73521"/>
                  </a:lnTo>
                  <a:lnTo>
                    <a:pt x="76756" y="73521"/>
                  </a:lnTo>
                  <a:lnTo>
                    <a:pt x="77837" y="71830"/>
                  </a:lnTo>
                  <a:lnTo>
                    <a:pt x="82702" y="69295"/>
                  </a:lnTo>
                  <a:lnTo>
                    <a:pt x="86486" y="67605"/>
                  </a:lnTo>
                  <a:lnTo>
                    <a:pt x="89189" y="65915"/>
                  </a:lnTo>
                  <a:lnTo>
                    <a:pt x="89189" y="65915"/>
                  </a:lnTo>
                  <a:lnTo>
                    <a:pt x="90270" y="63380"/>
                  </a:lnTo>
                  <a:lnTo>
                    <a:pt x="90270" y="63380"/>
                  </a:lnTo>
                  <a:lnTo>
                    <a:pt x="91891" y="61690"/>
                  </a:lnTo>
                  <a:lnTo>
                    <a:pt x="92972" y="61690"/>
                  </a:lnTo>
                  <a:lnTo>
                    <a:pt x="94594" y="60000"/>
                  </a:lnTo>
                  <a:lnTo>
                    <a:pt x="94594" y="57464"/>
                  </a:lnTo>
                  <a:lnTo>
                    <a:pt x="94594" y="55774"/>
                  </a:lnTo>
                  <a:lnTo>
                    <a:pt x="94594" y="51549"/>
                  </a:lnTo>
                  <a:lnTo>
                    <a:pt x="95675" y="49859"/>
                  </a:lnTo>
                  <a:lnTo>
                    <a:pt x="96756" y="47323"/>
                  </a:lnTo>
                  <a:lnTo>
                    <a:pt x="98378" y="45633"/>
                  </a:lnTo>
                  <a:lnTo>
                    <a:pt x="103243" y="41408"/>
                  </a:lnTo>
                  <a:lnTo>
                    <a:pt x="102162" y="39718"/>
                  </a:lnTo>
                  <a:lnTo>
                    <a:pt x="102162" y="38028"/>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53" name="Shape 353"/>
            <p:cNvSpPr/>
            <p:nvPr/>
          </p:nvSpPr>
          <p:spPr>
            <a:xfrm>
              <a:off x="3343" y="2224"/>
              <a:ext cx="300" cy="0"/>
            </a:xfrm>
            <a:custGeom>
              <a:avLst/>
              <a:gdLst/>
              <a:ahLst/>
              <a:cxnLst/>
              <a:rect l="0" t="0" r="0" b="0"/>
              <a:pathLst>
                <a:path w="120000" h="120000" extrusionOk="0">
                  <a:moveTo>
                    <a:pt x="118500" y="0"/>
                  </a:moveTo>
                  <a:lnTo>
                    <a:pt x="118500" y="0"/>
                  </a:lnTo>
                  <a:lnTo>
                    <a:pt x="118500" y="0"/>
                  </a:lnTo>
                  <a:lnTo>
                    <a:pt x="118500" y="1666"/>
                  </a:lnTo>
                  <a:lnTo>
                    <a:pt x="118500" y="3333"/>
                  </a:lnTo>
                  <a:lnTo>
                    <a:pt x="118500" y="3333"/>
                  </a:lnTo>
                  <a:lnTo>
                    <a:pt x="118500" y="5833"/>
                  </a:lnTo>
                  <a:lnTo>
                    <a:pt x="118500" y="5833"/>
                  </a:lnTo>
                  <a:lnTo>
                    <a:pt x="118500" y="7500"/>
                  </a:lnTo>
                  <a:lnTo>
                    <a:pt x="118500" y="7500"/>
                  </a:lnTo>
                  <a:lnTo>
                    <a:pt x="118500" y="9166"/>
                  </a:lnTo>
                  <a:lnTo>
                    <a:pt x="118500" y="9166"/>
                  </a:lnTo>
                  <a:lnTo>
                    <a:pt x="117000" y="9166"/>
                  </a:lnTo>
                  <a:lnTo>
                    <a:pt x="114750" y="9166"/>
                  </a:lnTo>
                  <a:lnTo>
                    <a:pt x="113250" y="9166"/>
                  </a:lnTo>
                  <a:lnTo>
                    <a:pt x="111750" y="9166"/>
                  </a:lnTo>
                  <a:lnTo>
                    <a:pt x="111750" y="9166"/>
                  </a:lnTo>
                  <a:lnTo>
                    <a:pt x="109500" y="9166"/>
                  </a:lnTo>
                  <a:lnTo>
                    <a:pt x="109500" y="9166"/>
                  </a:lnTo>
                  <a:lnTo>
                    <a:pt x="108000" y="9166"/>
                  </a:lnTo>
                  <a:lnTo>
                    <a:pt x="108000" y="11666"/>
                  </a:lnTo>
                  <a:lnTo>
                    <a:pt x="106500" y="13333"/>
                  </a:lnTo>
                  <a:lnTo>
                    <a:pt x="104250" y="13333"/>
                  </a:lnTo>
                  <a:lnTo>
                    <a:pt x="104250" y="13333"/>
                  </a:lnTo>
                  <a:lnTo>
                    <a:pt x="102750" y="13333"/>
                  </a:lnTo>
                  <a:lnTo>
                    <a:pt x="101250" y="13333"/>
                  </a:lnTo>
                  <a:lnTo>
                    <a:pt x="101250" y="13333"/>
                  </a:lnTo>
                  <a:lnTo>
                    <a:pt x="101250" y="13333"/>
                  </a:lnTo>
                  <a:lnTo>
                    <a:pt x="99000" y="13333"/>
                  </a:lnTo>
                  <a:lnTo>
                    <a:pt x="99000" y="13333"/>
                  </a:lnTo>
                  <a:lnTo>
                    <a:pt x="97500" y="13333"/>
                  </a:lnTo>
                  <a:lnTo>
                    <a:pt x="97500" y="13333"/>
                  </a:lnTo>
                  <a:lnTo>
                    <a:pt x="95250" y="11666"/>
                  </a:lnTo>
                  <a:lnTo>
                    <a:pt x="93750" y="11666"/>
                  </a:lnTo>
                  <a:lnTo>
                    <a:pt x="92250" y="11666"/>
                  </a:lnTo>
                  <a:lnTo>
                    <a:pt x="92250" y="11666"/>
                  </a:lnTo>
                  <a:lnTo>
                    <a:pt x="90000" y="11666"/>
                  </a:lnTo>
                  <a:lnTo>
                    <a:pt x="88500" y="11666"/>
                  </a:lnTo>
                  <a:lnTo>
                    <a:pt x="87000" y="11666"/>
                  </a:lnTo>
                  <a:lnTo>
                    <a:pt x="84750" y="11666"/>
                  </a:lnTo>
                  <a:lnTo>
                    <a:pt x="84750" y="13333"/>
                  </a:lnTo>
                  <a:lnTo>
                    <a:pt x="83250" y="13333"/>
                  </a:lnTo>
                  <a:lnTo>
                    <a:pt x="83250" y="15833"/>
                  </a:lnTo>
                  <a:lnTo>
                    <a:pt x="83250" y="15833"/>
                  </a:lnTo>
                  <a:lnTo>
                    <a:pt x="83250" y="17500"/>
                  </a:lnTo>
                  <a:lnTo>
                    <a:pt x="83250" y="17500"/>
                  </a:lnTo>
                  <a:lnTo>
                    <a:pt x="81750" y="19166"/>
                  </a:lnTo>
                  <a:lnTo>
                    <a:pt x="81750" y="19166"/>
                  </a:lnTo>
                  <a:lnTo>
                    <a:pt x="81750" y="21666"/>
                  </a:lnTo>
                  <a:lnTo>
                    <a:pt x="79500" y="21666"/>
                  </a:lnTo>
                  <a:lnTo>
                    <a:pt x="79500" y="23333"/>
                  </a:lnTo>
                  <a:lnTo>
                    <a:pt x="78000" y="23333"/>
                  </a:lnTo>
                  <a:lnTo>
                    <a:pt x="78000" y="25000"/>
                  </a:lnTo>
                  <a:lnTo>
                    <a:pt x="78000" y="25000"/>
                  </a:lnTo>
                  <a:lnTo>
                    <a:pt x="78000" y="27500"/>
                  </a:lnTo>
                  <a:lnTo>
                    <a:pt x="76500" y="27500"/>
                  </a:lnTo>
                  <a:lnTo>
                    <a:pt x="76500" y="27500"/>
                  </a:lnTo>
                  <a:lnTo>
                    <a:pt x="74250" y="27500"/>
                  </a:lnTo>
                  <a:lnTo>
                    <a:pt x="72750" y="29166"/>
                  </a:lnTo>
                  <a:lnTo>
                    <a:pt x="72750" y="29166"/>
                  </a:lnTo>
                  <a:lnTo>
                    <a:pt x="72750" y="29166"/>
                  </a:lnTo>
                  <a:lnTo>
                    <a:pt x="72750" y="30833"/>
                  </a:lnTo>
                  <a:lnTo>
                    <a:pt x="72750" y="30833"/>
                  </a:lnTo>
                  <a:lnTo>
                    <a:pt x="72750" y="30833"/>
                  </a:lnTo>
                  <a:lnTo>
                    <a:pt x="70500" y="33333"/>
                  </a:lnTo>
                  <a:lnTo>
                    <a:pt x="70500" y="35000"/>
                  </a:lnTo>
                  <a:lnTo>
                    <a:pt x="70500" y="37500"/>
                  </a:lnTo>
                  <a:lnTo>
                    <a:pt x="70500" y="39166"/>
                  </a:lnTo>
                  <a:lnTo>
                    <a:pt x="69000" y="40833"/>
                  </a:lnTo>
                  <a:lnTo>
                    <a:pt x="69000" y="45000"/>
                  </a:lnTo>
                  <a:lnTo>
                    <a:pt x="67500" y="46666"/>
                  </a:lnTo>
                  <a:lnTo>
                    <a:pt x="67500" y="49166"/>
                  </a:lnTo>
                  <a:lnTo>
                    <a:pt x="67500" y="49166"/>
                  </a:lnTo>
                  <a:lnTo>
                    <a:pt x="65250" y="50833"/>
                  </a:lnTo>
                  <a:lnTo>
                    <a:pt x="65250" y="50833"/>
                  </a:lnTo>
                  <a:lnTo>
                    <a:pt x="63750" y="52500"/>
                  </a:lnTo>
                  <a:lnTo>
                    <a:pt x="63750" y="52500"/>
                  </a:lnTo>
                  <a:lnTo>
                    <a:pt x="62250" y="55000"/>
                  </a:lnTo>
                  <a:lnTo>
                    <a:pt x="60000" y="55000"/>
                  </a:lnTo>
                  <a:lnTo>
                    <a:pt x="60000" y="55000"/>
                  </a:lnTo>
                  <a:lnTo>
                    <a:pt x="58500" y="56666"/>
                  </a:lnTo>
                  <a:lnTo>
                    <a:pt x="58500" y="56666"/>
                  </a:lnTo>
                  <a:lnTo>
                    <a:pt x="57000" y="59166"/>
                  </a:lnTo>
                  <a:lnTo>
                    <a:pt x="57000" y="60833"/>
                  </a:lnTo>
                  <a:lnTo>
                    <a:pt x="54750" y="62500"/>
                  </a:lnTo>
                  <a:lnTo>
                    <a:pt x="54750" y="65000"/>
                  </a:lnTo>
                  <a:lnTo>
                    <a:pt x="54750" y="65000"/>
                  </a:lnTo>
                  <a:lnTo>
                    <a:pt x="53250" y="65000"/>
                  </a:lnTo>
                  <a:lnTo>
                    <a:pt x="51750" y="66666"/>
                  </a:lnTo>
                  <a:lnTo>
                    <a:pt x="51750" y="66666"/>
                  </a:lnTo>
                  <a:lnTo>
                    <a:pt x="49500" y="66666"/>
                  </a:lnTo>
                  <a:lnTo>
                    <a:pt x="48000" y="68333"/>
                  </a:lnTo>
                  <a:lnTo>
                    <a:pt x="48000" y="68333"/>
                  </a:lnTo>
                  <a:lnTo>
                    <a:pt x="45750" y="70833"/>
                  </a:lnTo>
                  <a:lnTo>
                    <a:pt x="45750" y="70833"/>
                  </a:lnTo>
                  <a:lnTo>
                    <a:pt x="44250" y="72500"/>
                  </a:lnTo>
                  <a:lnTo>
                    <a:pt x="44250" y="74166"/>
                  </a:lnTo>
                  <a:lnTo>
                    <a:pt x="44250" y="76666"/>
                  </a:lnTo>
                  <a:lnTo>
                    <a:pt x="42750" y="80833"/>
                  </a:lnTo>
                  <a:lnTo>
                    <a:pt x="42750" y="82500"/>
                  </a:lnTo>
                  <a:lnTo>
                    <a:pt x="42750" y="84166"/>
                  </a:lnTo>
                  <a:lnTo>
                    <a:pt x="42750" y="86666"/>
                  </a:lnTo>
                  <a:lnTo>
                    <a:pt x="40500" y="88333"/>
                  </a:lnTo>
                  <a:lnTo>
                    <a:pt x="40500" y="92500"/>
                  </a:lnTo>
                  <a:lnTo>
                    <a:pt x="40500" y="92500"/>
                  </a:lnTo>
                  <a:lnTo>
                    <a:pt x="40500" y="94166"/>
                  </a:lnTo>
                  <a:lnTo>
                    <a:pt x="40500" y="94166"/>
                  </a:lnTo>
                  <a:lnTo>
                    <a:pt x="39000" y="96666"/>
                  </a:lnTo>
                  <a:lnTo>
                    <a:pt x="39000" y="98333"/>
                  </a:lnTo>
                  <a:lnTo>
                    <a:pt x="37500" y="98333"/>
                  </a:lnTo>
                  <a:lnTo>
                    <a:pt x="37500" y="98333"/>
                  </a:lnTo>
                  <a:lnTo>
                    <a:pt x="37500" y="100000"/>
                  </a:lnTo>
                  <a:lnTo>
                    <a:pt x="35250" y="100000"/>
                  </a:lnTo>
                  <a:lnTo>
                    <a:pt x="35250" y="102500"/>
                  </a:lnTo>
                  <a:lnTo>
                    <a:pt x="35250" y="102500"/>
                  </a:lnTo>
                  <a:lnTo>
                    <a:pt x="35250" y="104166"/>
                  </a:lnTo>
                  <a:lnTo>
                    <a:pt x="35250" y="104166"/>
                  </a:lnTo>
                  <a:lnTo>
                    <a:pt x="33750" y="105833"/>
                  </a:lnTo>
                  <a:lnTo>
                    <a:pt x="33750" y="108333"/>
                  </a:lnTo>
                  <a:lnTo>
                    <a:pt x="32250" y="110000"/>
                  </a:lnTo>
                  <a:lnTo>
                    <a:pt x="30000" y="110000"/>
                  </a:lnTo>
                  <a:lnTo>
                    <a:pt x="28500" y="110000"/>
                  </a:lnTo>
                  <a:lnTo>
                    <a:pt x="27000" y="110000"/>
                  </a:lnTo>
                  <a:lnTo>
                    <a:pt x="23250" y="110000"/>
                  </a:lnTo>
                  <a:lnTo>
                    <a:pt x="21000" y="108333"/>
                  </a:lnTo>
                  <a:lnTo>
                    <a:pt x="19500" y="108333"/>
                  </a:lnTo>
                  <a:lnTo>
                    <a:pt x="18000" y="108333"/>
                  </a:lnTo>
                  <a:lnTo>
                    <a:pt x="15750" y="108333"/>
                  </a:lnTo>
                  <a:lnTo>
                    <a:pt x="14250" y="108333"/>
                  </a:lnTo>
                  <a:lnTo>
                    <a:pt x="9000" y="108333"/>
                  </a:lnTo>
                  <a:lnTo>
                    <a:pt x="5250" y="108333"/>
                  </a:lnTo>
                  <a:lnTo>
                    <a:pt x="3750" y="110000"/>
                  </a:lnTo>
                  <a:lnTo>
                    <a:pt x="2250" y="110000"/>
                  </a:lnTo>
                  <a:lnTo>
                    <a:pt x="2250" y="110000"/>
                  </a:lnTo>
                  <a:lnTo>
                    <a:pt x="2250" y="110000"/>
                  </a:lnTo>
                  <a:lnTo>
                    <a:pt x="0" y="120000"/>
                  </a:lnTo>
                  <a:lnTo>
                    <a:pt x="2250" y="120000"/>
                  </a:lnTo>
                  <a:lnTo>
                    <a:pt x="2250" y="118333"/>
                  </a:lnTo>
                  <a:lnTo>
                    <a:pt x="2250" y="115833"/>
                  </a:lnTo>
                  <a:lnTo>
                    <a:pt x="2250" y="114166"/>
                  </a:lnTo>
                  <a:lnTo>
                    <a:pt x="3750" y="111666"/>
                  </a:lnTo>
                  <a:lnTo>
                    <a:pt x="5250" y="111666"/>
                  </a:lnTo>
                  <a:lnTo>
                    <a:pt x="7500" y="111666"/>
                  </a:lnTo>
                  <a:lnTo>
                    <a:pt x="10500" y="111666"/>
                  </a:lnTo>
                  <a:lnTo>
                    <a:pt x="14250" y="111666"/>
                  </a:lnTo>
                  <a:lnTo>
                    <a:pt x="18000" y="111666"/>
                  </a:lnTo>
                  <a:lnTo>
                    <a:pt x="19500" y="111666"/>
                  </a:lnTo>
                  <a:lnTo>
                    <a:pt x="23250" y="111666"/>
                  </a:lnTo>
                  <a:lnTo>
                    <a:pt x="27000" y="111666"/>
                  </a:lnTo>
                  <a:lnTo>
                    <a:pt x="30000" y="111666"/>
                  </a:lnTo>
                  <a:lnTo>
                    <a:pt x="32250" y="111666"/>
                  </a:lnTo>
                  <a:lnTo>
                    <a:pt x="35250" y="111666"/>
                  </a:lnTo>
                  <a:lnTo>
                    <a:pt x="39000" y="111666"/>
                  </a:lnTo>
                  <a:lnTo>
                    <a:pt x="42750" y="111666"/>
                  </a:lnTo>
                  <a:lnTo>
                    <a:pt x="45750" y="111666"/>
                  </a:lnTo>
                  <a:lnTo>
                    <a:pt x="48000" y="111666"/>
                  </a:lnTo>
                  <a:lnTo>
                    <a:pt x="51750" y="111666"/>
                  </a:lnTo>
                  <a:lnTo>
                    <a:pt x="54750" y="111666"/>
                  </a:lnTo>
                  <a:lnTo>
                    <a:pt x="57000" y="111666"/>
                  </a:lnTo>
                  <a:lnTo>
                    <a:pt x="57000" y="108333"/>
                  </a:lnTo>
                  <a:lnTo>
                    <a:pt x="57000" y="105833"/>
                  </a:lnTo>
                  <a:lnTo>
                    <a:pt x="57000" y="104166"/>
                  </a:lnTo>
                  <a:lnTo>
                    <a:pt x="57000" y="102500"/>
                  </a:lnTo>
                  <a:lnTo>
                    <a:pt x="57000" y="100000"/>
                  </a:lnTo>
                  <a:lnTo>
                    <a:pt x="57000" y="96666"/>
                  </a:lnTo>
                  <a:lnTo>
                    <a:pt x="57000" y="94166"/>
                  </a:lnTo>
                  <a:lnTo>
                    <a:pt x="57000" y="92500"/>
                  </a:lnTo>
                  <a:lnTo>
                    <a:pt x="57000" y="90000"/>
                  </a:lnTo>
                  <a:lnTo>
                    <a:pt x="57000" y="90000"/>
                  </a:lnTo>
                  <a:lnTo>
                    <a:pt x="54750" y="86666"/>
                  </a:lnTo>
                  <a:lnTo>
                    <a:pt x="54750" y="86666"/>
                  </a:lnTo>
                  <a:lnTo>
                    <a:pt x="54750" y="84166"/>
                  </a:lnTo>
                  <a:lnTo>
                    <a:pt x="57000" y="84166"/>
                  </a:lnTo>
                  <a:lnTo>
                    <a:pt x="57000" y="82500"/>
                  </a:lnTo>
                  <a:lnTo>
                    <a:pt x="60000" y="80833"/>
                  </a:lnTo>
                  <a:lnTo>
                    <a:pt x="62250" y="78333"/>
                  </a:lnTo>
                  <a:lnTo>
                    <a:pt x="63750" y="76666"/>
                  </a:lnTo>
                  <a:lnTo>
                    <a:pt x="63750" y="76666"/>
                  </a:lnTo>
                  <a:lnTo>
                    <a:pt x="67500" y="76666"/>
                  </a:lnTo>
                  <a:lnTo>
                    <a:pt x="69000" y="74166"/>
                  </a:lnTo>
                  <a:lnTo>
                    <a:pt x="70500" y="74166"/>
                  </a:lnTo>
                  <a:lnTo>
                    <a:pt x="70500" y="74166"/>
                  </a:lnTo>
                  <a:lnTo>
                    <a:pt x="72750" y="72500"/>
                  </a:lnTo>
                  <a:lnTo>
                    <a:pt x="72750" y="68333"/>
                  </a:lnTo>
                  <a:lnTo>
                    <a:pt x="72750" y="66666"/>
                  </a:lnTo>
                  <a:lnTo>
                    <a:pt x="72750" y="65000"/>
                  </a:lnTo>
                  <a:lnTo>
                    <a:pt x="72750" y="62500"/>
                  </a:lnTo>
                  <a:lnTo>
                    <a:pt x="72750" y="60833"/>
                  </a:lnTo>
                  <a:lnTo>
                    <a:pt x="72750" y="56666"/>
                  </a:lnTo>
                  <a:lnTo>
                    <a:pt x="72750" y="55000"/>
                  </a:lnTo>
                  <a:lnTo>
                    <a:pt x="72750" y="52500"/>
                  </a:lnTo>
                  <a:lnTo>
                    <a:pt x="72750" y="50833"/>
                  </a:lnTo>
                  <a:lnTo>
                    <a:pt x="72750" y="49166"/>
                  </a:lnTo>
                  <a:lnTo>
                    <a:pt x="72750" y="45000"/>
                  </a:lnTo>
                  <a:lnTo>
                    <a:pt x="72750" y="43333"/>
                  </a:lnTo>
                  <a:lnTo>
                    <a:pt x="72750" y="40833"/>
                  </a:lnTo>
                  <a:lnTo>
                    <a:pt x="72750" y="39166"/>
                  </a:lnTo>
                  <a:lnTo>
                    <a:pt x="72750" y="35000"/>
                  </a:lnTo>
                  <a:lnTo>
                    <a:pt x="72750" y="33333"/>
                  </a:lnTo>
                  <a:lnTo>
                    <a:pt x="72750" y="30833"/>
                  </a:lnTo>
                  <a:lnTo>
                    <a:pt x="72750" y="29166"/>
                  </a:lnTo>
                  <a:lnTo>
                    <a:pt x="83250" y="29166"/>
                  </a:lnTo>
                  <a:lnTo>
                    <a:pt x="84750" y="29166"/>
                  </a:lnTo>
                  <a:lnTo>
                    <a:pt x="102750" y="29166"/>
                  </a:lnTo>
                  <a:lnTo>
                    <a:pt x="106500" y="29166"/>
                  </a:lnTo>
                  <a:lnTo>
                    <a:pt x="118500" y="29166"/>
                  </a:lnTo>
                  <a:lnTo>
                    <a:pt x="118500" y="27500"/>
                  </a:lnTo>
                  <a:lnTo>
                    <a:pt x="118500" y="23333"/>
                  </a:lnTo>
                  <a:lnTo>
                    <a:pt x="118500" y="19166"/>
                  </a:lnTo>
                  <a:lnTo>
                    <a:pt x="118500" y="15833"/>
                  </a:lnTo>
                  <a:lnTo>
                    <a:pt x="118500" y="13333"/>
                  </a:lnTo>
                  <a:lnTo>
                    <a:pt x="118500" y="9166"/>
                  </a:lnTo>
                  <a:lnTo>
                    <a:pt x="118500" y="5833"/>
                  </a:lnTo>
                  <a:lnTo>
                    <a:pt x="120000" y="3333"/>
                  </a:lnTo>
                  <a:lnTo>
                    <a:pt x="120000" y="0"/>
                  </a:lnTo>
                  <a:lnTo>
                    <a:pt x="118500" y="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54" name="Shape 354"/>
            <p:cNvSpPr/>
            <p:nvPr/>
          </p:nvSpPr>
          <p:spPr>
            <a:xfrm>
              <a:off x="5515" y="2316"/>
              <a:ext cx="300" cy="300"/>
            </a:xfrm>
            <a:custGeom>
              <a:avLst/>
              <a:gdLst/>
              <a:ahLst/>
              <a:cxnLst/>
              <a:rect l="0" t="0" r="0" b="0"/>
              <a:pathLst>
                <a:path w="120000" h="120000" extrusionOk="0">
                  <a:moveTo>
                    <a:pt x="47250" y="106064"/>
                  </a:moveTo>
                  <a:lnTo>
                    <a:pt x="47250" y="105290"/>
                  </a:lnTo>
                  <a:lnTo>
                    <a:pt x="47250" y="105290"/>
                  </a:lnTo>
                  <a:lnTo>
                    <a:pt x="47250" y="105290"/>
                  </a:lnTo>
                  <a:lnTo>
                    <a:pt x="45750" y="105290"/>
                  </a:lnTo>
                  <a:lnTo>
                    <a:pt x="45750" y="105290"/>
                  </a:lnTo>
                  <a:lnTo>
                    <a:pt x="45750" y="106064"/>
                  </a:lnTo>
                  <a:lnTo>
                    <a:pt x="45750" y="107225"/>
                  </a:lnTo>
                  <a:lnTo>
                    <a:pt x="47250" y="108000"/>
                  </a:lnTo>
                  <a:lnTo>
                    <a:pt x="47250" y="108000"/>
                  </a:lnTo>
                  <a:lnTo>
                    <a:pt x="47250" y="108000"/>
                  </a:lnTo>
                  <a:lnTo>
                    <a:pt x="47250" y="107225"/>
                  </a:lnTo>
                  <a:lnTo>
                    <a:pt x="47250" y="106064"/>
                  </a:lnTo>
                  <a:close/>
                  <a:moveTo>
                    <a:pt x="90000" y="105290"/>
                  </a:moveTo>
                  <a:lnTo>
                    <a:pt x="90000" y="105290"/>
                  </a:lnTo>
                  <a:lnTo>
                    <a:pt x="90000" y="106064"/>
                  </a:lnTo>
                  <a:lnTo>
                    <a:pt x="91500" y="105290"/>
                  </a:lnTo>
                  <a:lnTo>
                    <a:pt x="91500" y="105290"/>
                  </a:lnTo>
                  <a:lnTo>
                    <a:pt x="91500" y="105290"/>
                  </a:lnTo>
                  <a:lnTo>
                    <a:pt x="90000" y="105290"/>
                  </a:lnTo>
                  <a:close/>
                  <a:moveTo>
                    <a:pt x="118500" y="85935"/>
                  </a:moveTo>
                  <a:lnTo>
                    <a:pt x="118500" y="86709"/>
                  </a:lnTo>
                  <a:lnTo>
                    <a:pt x="120000" y="87870"/>
                  </a:lnTo>
                  <a:lnTo>
                    <a:pt x="120000" y="85935"/>
                  </a:lnTo>
                  <a:lnTo>
                    <a:pt x="118500" y="84000"/>
                  </a:lnTo>
                  <a:lnTo>
                    <a:pt x="118500" y="84000"/>
                  </a:lnTo>
                  <a:lnTo>
                    <a:pt x="116250" y="82451"/>
                  </a:lnTo>
                  <a:lnTo>
                    <a:pt x="116250" y="81290"/>
                  </a:lnTo>
                  <a:lnTo>
                    <a:pt x="116250" y="80516"/>
                  </a:lnTo>
                  <a:lnTo>
                    <a:pt x="114750" y="79741"/>
                  </a:lnTo>
                  <a:lnTo>
                    <a:pt x="114750" y="76645"/>
                  </a:lnTo>
                  <a:lnTo>
                    <a:pt x="116250" y="77806"/>
                  </a:lnTo>
                  <a:lnTo>
                    <a:pt x="116250" y="76645"/>
                  </a:lnTo>
                  <a:lnTo>
                    <a:pt x="114750" y="75870"/>
                  </a:lnTo>
                  <a:lnTo>
                    <a:pt x="114750" y="75096"/>
                  </a:lnTo>
                  <a:lnTo>
                    <a:pt x="114750" y="75096"/>
                  </a:lnTo>
                  <a:lnTo>
                    <a:pt x="113250" y="73935"/>
                  </a:lnTo>
                  <a:lnTo>
                    <a:pt x="113250" y="73161"/>
                  </a:lnTo>
                  <a:lnTo>
                    <a:pt x="111000" y="71225"/>
                  </a:lnTo>
                  <a:lnTo>
                    <a:pt x="111000" y="70451"/>
                  </a:lnTo>
                  <a:lnTo>
                    <a:pt x="109500" y="69677"/>
                  </a:lnTo>
                  <a:lnTo>
                    <a:pt x="109500" y="67741"/>
                  </a:lnTo>
                  <a:lnTo>
                    <a:pt x="108000" y="65806"/>
                  </a:lnTo>
                  <a:lnTo>
                    <a:pt x="105750" y="65032"/>
                  </a:lnTo>
                  <a:lnTo>
                    <a:pt x="105750" y="63870"/>
                  </a:lnTo>
                  <a:lnTo>
                    <a:pt x="104250" y="63870"/>
                  </a:lnTo>
                  <a:lnTo>
                    <a:pt x="102750" y="63096"/>
                  </a:lnTo>
                  <a:lnTo>
                    <a:pt x="100500" y="61161"/>
                  </a:lnTo>
                  <a:lnTo>
                    <a:pt x="99000" y="60387"/>
                  </a:lnTo>
                  <a:lnTo>
                    <a:pt x="96750" y="59612"/>
                  </a:lnTo>
                  <a:lnTo>
                    <a:pt x="96750" y="59612"/>
                  </a:lnTo>
                  <a:lnTo>
                    <a:pt x="96750" y="58451"/>
                  </a:lnTo>
                  <a:lnTo>
                    <a:pt x="96750" y="58451"/>
                  </a:lnTo>
                  <a:lnTo>
                    <a:pt x="96750" y="58451"/>
                  </a:lnTo>
                  <a:lnTo>
                    <a:pt x="95250" y="58451"/>
                  </a:lnTo>
                  <a:lnTo>
                    <a:pt x="95250" y="57677"/>
                  </a:lnTo>
                  <a:lnTo>
                    <a:pt x="93750" y="56516"/>
                  </a:lnTo>
                  <a:lnTo>
                    <a:pt x="93750" y="56516"/>
                  </a:lnTo>
                  <a:lnTo>
                    <a:pt x="91500" y="56516"/>
                  </a:lnTo>
                  <a:lnTo>
                    <a:pt x="91500" y="56516"/>
                  </a:lnTo>
                  <a:lnTo>
                    <a:pt x="91500" y="56516"/>
                  </a:lnTo>
                  <a:lnTo>
                    <a:pt x="90000" y="56516"/>
                  </a:lnTo>
                  <a:lnTo>
                    <a:pt x="90000" y="55741"/>
                  </a:lnTo>
                  <a:lnTo>
                    <a:pt x="86250" y="54967"/>
                  </a:lnTo>
                  <a:lnTo>
                    <a:pt x="86250" y="54967"/>
                  </a:lnTo>
                  <a:lnTo>
                    <a:pt x="86250" y="53806"/>
                  </a:lnTo>
                  <a:lnTo>
                    <a:pt x="83250" y="53032"/>
                  </a:lnTo>
                  <a:lnTo>
                    <a:pt x="81000" y="52258"/>
                  </a:lnTo>
                  <a:lnTo>
                    <a:pt x="79500" y="51096"/>
                  </a:lnTo>
                  <a:lnTo>
                    <a:pt x="75750" y="49548"/>
                  </a:lnTo>
                  <a:lnTo>
                    <a:pt x="74250" y="48387"/>
                  </a:lnTo>
                  <a:lnTo>
                    <a:pt x="70500" y="45677"/>
                  </a:lnTo>
                  <a:lnTo>
                    <a:pt x="66750" y="45677"/>
                  </a:lnTo>
                  <a:lnTo>
                    <a:pt x="66750" y="44903"/>
                  </a:lnTo>
                  <a:lnTo>
                    <a:pt x="69000" y="45677"/>
                  </a:lnTo>
                  <a:lnTo>
                    <a:pt x="69000" y="43741"/>
                  </a:lnTo>
                  <a:lnTo>
                    <a:pt x="69000" y="43741"/>
                  </a:lnTo>
                  <a:lnTo>
                    <a:pt x="66750" y="42967"/>
                  </a:lnTo>
                  <a:lnTo>
                    <a:pt x="65250" y="41032"/>
                  </a:lnTo>
                  <a:lnTo>
                    <a:pt x="63750" y="41032"/>
                  </a:lnTo>
                  <a:lnTo>
                    <a:pt x="61500" y="40258"/>
                  </a:lnTo>
                  <a:lnTo>
                    <a:pt x="60000" y="39483"/>
                  </a:lnTo>
                  <a:lnTo>
                    <a:pt x="58500" y="38322"/>
                  </a:lnTo>
                  <a:lnTo>
                    <a:pt x="58500" y="38322"/>
                  </a:lnTo>
                  <a:lnTo>
                    <a:pt x="56250" y="37548"/>
                  </a:lnTo>
                  <a:lnTo>
                    <a:pt x="56250" y="36387"/>
                  </a:lnTo>
                  <a:lnTo>
                    <a:pt x="54750" y="35612"/>
                  </a:lnTo>
                  <a:lnTo>
                    <a:pt x="54750" y="34838"/>
                  </a:lnTo>
                  <a:lnTo>
                    <a:pt x="56250" y="33677"/>
                  </a:lnTo>
                  <a:lnTo>
                    <a:pt x="56250" y="32903"/>
                  </a:lnTo>
                  <a:lnTo>
                    <a:pt x="56250" y="32129"/>
                  </a:lnTo>
                  <a:lnTo>
                    <a:pt x="56250" y="30967"/>
                  </a:lnTo>
                  <a:lnTo>
                    <a:pt x="56250" y="30193"/>
                  </a:lnTo>
                  <a:lnTo>
                    <a:pt x="58500" y="27483"/>
                  </a:lnTo>
                  <a:lnTo>
                    <a:pt x="58500" y="27483"/>
                  </a:lnTo>
                  <a:lnTo>
                    <a:pt x="60000" y="27483"/>
                  </a:lnTo>
                  <a:lnTo>
                    <a:pt x="63750" y="25548"/>
                  </a:lnTo>
                  <a:lnTo>
                    <a:pt x="63750" y="24774"/>
                  </a:lnTo>
                  <a:lnTo>
                    <a:pt x="65250" y="23612"/>
                  </a:lnTo>
                  <a:lnTo>
                    <a:pt x="63750" y="22838"/>
                  </a:lnTo>
                  <a:lnTo>
                    <a:pt x="66750" y="20903"/>
                  </a:lnTo>
                  <a:lnTo>
                    <a:pt x="66750" y="20129"/>
                  </a:lnTo>
                  <a:lnTo>
                    <a:pt x="65250" y="19354"/>
                  </a:lnTo>
                  <a:lnTo>
                    <a:pt x="65250" y="19354"/>
                  </a:lnTo>
                  <a:lnTo>
                    <a:pt x="65250" y="19354"/>
                  </a:lnTo>
                  <a:lnTo>
                    <a:pt x="65250" y="19354"/>
                  </a:lnTo>
                  <a:lnTo>
                    <a:pt x="66750" y="19354"/>
                  </a:lnTo>
                  <a:lnTo>
                    <a:pt x="66750" y="19354"/>
                  </a:lnTo>
                  <a:lnTo>
                    <a:pt x="69000" y="19354"/>
                  </a:lnTo>
                  <a:lnTo>
                    <a:pt x="69000" y="19354"/>
                  </a:lnTo>
                  <a:lnTo>
                    <a:pt x="69000" y="19354"/>
                  </a:lnTo>
                  <a:lnTo>
                    <a:pt x="70500" y="19354"/>
                  </a:lnTo>
                  <a:lnTo>
                    <a:pt x="70500" y="19354"/>
                  </a:lnTo>
                  <a:lnTo>
                    <a:pt x="72000" y="19354"/>
                  </a:lnTo>
                  <a:lnTo>
                    <a:pt x="74250" y="18193"/>
                  </a:lnTo>
                  <a:lnTo>
                    <a:pt x="74250" y="17419"/>
                  </a:lnTo>
                  <a:lnTo>
                    <a:pt x="74250" y="17419"/>
                  </a:lnTo>
                  <a:lnTo>
                    <a:pt x="74250" y="16258"/>
                  </a:lnTo>
                  <a:lnTo>
                    <a:pt x="75750" y="16258"/>
                  </a:lnTo>
                  <a:lnTo>
                    <a:pt x="78000" y="15483"/>
                  </a:lnTo>
                  <a:lnTo>
                    <a:pt x="78000" y="15483"/>
                  </a:lnTo>
                  <a:lnTo>
                    <a:pt x="79500" y="14709"/>
                  </a:lnTo>
                  <a:lnTo>
                    <a:pt x="81000" y="14709"/>
                  </a:lnTo>
                  <a:lnTo>
                    <a:pt x="81000" y="14709"/>
                  </a:lnTo>
                  <a:lnTo>
                    <a:pt x="81000" y="14709"/>
                  </a:lnTo>
                  <a:lnTo>
                    <a:pt x="79500" y="13548"/>
                  </a:lnTo>
                  <a:lnTo>
                    <a:pt x="78000" y="13548"/>
                  </a:lnTo>
                  <a:lnTo>
                    <a:pt x="75750" y="13548"/>
                  </a:lnTo>
                  <a:lnTo>
                    <a:pt x="74250" y="13548"/>
                  </a:lnTo>
                  <a:lnTo>
                    <a:pt x="74250" y="13548"/>
                  </a:lnTo>
                  <a:lnTo>
                    <a:pt x="72000" y="13548"/>
                  </a:lnTo>
                  <a:lnTo>
                    <a:pt x="70500" y="12774"/>
                  </a:lnTo>
                  <a:lnTo>
                    <a:pt x="70500" y="12774"/>
                  </a:lnTo>
                  <a:lnTo>
                    <a:pt x="69000" y="12000"/>
                  </a:lnTo>
                  <a:lnTo>
                    <a:pt x="66750" y="12000"/>
                  </a:lnTo>
                  <a:lnTo>
                    <a:pt x="66750" y="12000"/>
                  </a:lnTo>
                  <a:lnTo>
                    <a:pt x="66750" y="10838"/>
                  </a:lnTo>
                  <a:lnTo>
                    <a:pt x="66750" y="10838"/>
                  </a:lnTo>
                  <a:lnTo>
                    <a:pt x="65250" y="10838"/>
                  </a:lnTo>
                  <a:lnTo>
                    <a:pt x="63750" y="10838"/>
                  </a:lnTo>
                  <a:lnTo>
                    <a:pt x="63750" y="10838"/>
                  </a:lnTo>
                  <a:lnTo>
                    <a:pt x="63750" y="10838"/>
                  </a:lnTo>
                  <a:lnTo>
                    <a:pt x="61500" y="10838"/>
                  </a:lnTo>
                  <a:lnTo>
                    <a:pt x="61500" y="10064"/>
                  </a:lnTo>
                  <a:lnTo>
                    <a:pt x="61500" y="9290"/>
                  </a:lnTo>
                  <a:lnTo>
                    <a:pt x="61500" y="8129"/>
                  </a:lnTo>
                  <a:lnTo>
                    <a:pt x="61500" y="8129"/>
                  </a:lnTo>
                  <a:lnTo>
                    <a:pt x="60000" y="8129"/>
                  </a:lnTo>
                  <a:lnTo>
                    <a:pt x="60000" y="8129"/>
                  </a:lnTo>
                  <a:lnTo>
                    <a:pt x="60000" y="7354"/>
                  </a:lnTo>
                  <a:lnTo>
                    <a:pt x="60000" y="6193"/>
                  </a:lnTo>
                  <a:lnTo>
                    <a:pt x="60000" y="5419"/>
                  </a:lnTo>
                  <a:lnTo>
                    <a:pt x="60000" y="5419"/>
                  </a:lnTo>
                  <a:lnTo>
                    <a:pt x="61500" y="5419"/>
                  </a:lnTo>
                  <a:lnTo>
                    <a:pt x="61500" y="4645"/>
                  </a:lnTo>
                  <a:lnTo>
                    <a:pt x="61500" y="4645"/>
                  </a:lnTo>
                  <a:lnTo>
                    <a:pt x="60000" y="3483"/>
                  </a:lnTo>
                  <a:lnTo>
                    <a:pt x="58500" y="3483"/>
                  </a:lnTo>
                  <a:lnTo>
                    <a:pt x="58500" y="3483"/>
                  </a:lnTo>
                  <a:lnTo>
                    <a:pt x="56250" y="3483"/>
                  </a:lnTo>
                  <a:lnTo>
                    <a:pt x="54750" y="3483"/>
                  </a:lnTo>
                  <a:lnTo>
                    <a:pt x="54750" y="3483"/>
                  </a:lnTo>
                  <a:lnTo>
                    <a:pt x="53250" y="2709"/>
                  </a:lnTo>
                  <a:lnTo>
                    <a:pt x="53250" y="2709"/>
                  </a:lnTo>
                  <a:lnTo>
                    <a:pt x="51000" y="2709"/>
                  </a:lnTo>
                  <a:lnTo>
                    <a:pt x="51000" y="2709"/>
                  </a:lnTo>
                  <a:lnTo>
                    <a:pt x="51000" y="2709"/>
                  </a:lnTo>
                  <a:lnTo>
                    <a:pt x="49500" y="2709"/>
                  </a:lnTo>
                  <a:lnTo>
                    <a:pt x="49500" y="2709"/>
                  </a:lnTo>
                  <a:lnTo>
                    <a:pt x="47250" y="2709"/>
                  </a:lnTo>
                  <a:lnTo>
                    <a:pt x="45750" y="1935"/>
                  </a:lnTo>
                  <a:lnTo>
                    <a:pt x="44250" y="1935"/>
                  </a:lnTo>
                  <a:lnTo>
                    <a:pt x="44250" y="1935"/>
                  </a:lnTo>
                  <a:lnTo>
                    <a:pt x="44250" y="774"/>
                  </a:lnTo>
                  <a:lnTo>
                    <a:pt x="42000" y="774"/>
                  </a:lnTo>
                  <a:lnTo>
                    <a:pt x="40500" y="0"/>
                  </a:lnTo>
                  <a:lnTo>
                    <a:pt x="40500" y="0"/>
                  </a:lnTo>
                  <a:lnTo>
                    <a:pt x="40500" y="0"/>
                  </a:lnTo>
                  <a:lnTo>
                    <a:pt x="39000" y="0"/>
                  </a:lnTo>
                  <a:lnTo>
                    <a:pt x="36750" y="774"/>
                  </a:lnTo>
                  <a:lnTo>
                    <a:pt x="35250" y="774"/>
                  </a:lnTo>
                  <a:lnTo>
                    <a:pt x="35250" y="774"/>
                  </a:lnTo>
                  <a:lnTo>
                    <a:pt x="35250" y="1935"/>
                  </a:lnTo>
                  <a:lnTo>
                    <a:pt x="35250" y="2709"/>
                  </a:lnTo>
                  <a:lnTo>
                    <a:pt x="35250" y="2709"/>
                  </a:lnTo>
                  <a:lnTo>
                    <a:pt x="33750" y="3483"/>
                  </a:lnTo>
                  <a:lnTo>
                    <a:pt x="33750" y="3483"/>
                  </a:lnTo>
                  <a:lnTo>
                    <a:pt x="33750" y="3483"/>
                  </a:lnTo>
                  <a:lnTo>
                    <a:pt x="31500" y="3483"/>
                  </a:lnTo>
                  <a:lnTo>
                    <a:pt x="31500" y="3483"/>
                  </a:lnTo>
                  <a:lnTo>
                    <a:pt x="30000" y="4645"/>
                  </a:lnTo>
                  <a:lnTo>
                    <a:pt x="28500" y="4645"/>
                  </a:lnTo>
                  <a:lnTo>
                    <a:pt x="28500" y="4645"/>
                  </a:lnTo>
                  <a:lnTo>
                    <a:pt x="26250" y="3483"/>
                  </a:lnTo>
                  <a:lnTo>
                    <a:pt x="26250" y="3483"/>
                  </a:lnTo>
                  <a:lnTo>
                    <a:pt x="24750" y="4645"/>
                  </a:lnTo>
                  <a:lnTo>
                    <a:pt x="24750" y="5419"/>
                  </a:lnTo>
                  <a:lnTo>
                    <a:pt x="24750" y="5419"/>
                  </a:lnTo>
                  <a:lnTo>
                    <a:pt x="24750" y="6193"/>
                  </a:lnTo>
                  <a:lnTo>
                    <a:pt x="24750" y="6193"/>
                  </a:lnTo>
                  <a:lnTo>
                    <a:pt x="22500" y="6193"/>
                  </a:lnTo>
                  <a:lnTo>
                    <a:pt x="19500" y="4645"/>
                  </a:lnTo>
                  <a:lnTo>
                    <a:pt x="19500" y="4645"/>
                  </a:lnTo>
                  <a:lnTo>
                    <a:pt x="19500" y="4645"/>
                  </a:lnTo>
                  <a:lnTo>
                    <a:pt x="17250" y="5419"/>
                  </a:lnTo>
                  <a:lnTo>
                    <a:pt x="17250" y="5419"/>
                  </a:lnTo>
                  <a:lnTo>
                    <a:pt x="17250" y="5419"/>
                  </a:lnTo>
                  <a:lnTo>
                    <a:pt x="15750" y="4645"/>
                  </a:lnTo>
                  <a:lnTo>
                    <a:pt x="15750" y="4645"/>
                  </a:lnTo>
                  <a:lnTo>
                    <a:pt x="14250" y="4645"/>
                  </a:lnTo>
                  <a:lnTo>
                    <a:pt x="14250" y="4645"/>
                  </a:lnTo>
                  <a:lnTo>
                    <a:pt x="14250" y="5419"/>
                  </a:lnTo>
                  <a:lnTo>
                    <a:pt x="12000" y="5419"/>
                  </a:lnTo>
                  <a:lnTo>
                    <a:pt x="12000" y="6193"/>
                  </a:lnTo>
                  <a:lnTo>
                    <a:pt x="12000" y="6193"/>
                  </a:lnTo>
                  <a:lnTo>
                    <a:pt x="12000" y="7354"/>
                  </a:lnTo>
                  <a:lnTo>
                    <a:pt x="10500" y="7354"/>
                  </a:lnTo>
                  <a:lnTo>
                    <a:pt x="10500" y="6193"/>
                  </a:lnTo>
                  <a:lnTo>
                    <a:pt x="9000" y="6193"/>
                  </a:lnTo>
                  <a:lnTo>
                    <a:pt x="9000" y="5419"/>
                  </a:lnTo>
                  <a:lnTo>
                    <a:pt x="6750" y="5419"/>
                  </a:lnTo>
                  <a:lnTo>
                    <a:pt x="5250" y="4645"/>
                  </a:lnTo>
                  <a:lnTo>
                    <a:pt x="3750" y="4645"/>
                  </a:lnTo>
                  <a:lnTo>
                    <a:pt x="3750" y="4645"/>
                  </a:lnTo>
                  <a:lnTo>
                    <a:pt x="3750" y="4645"/>
                  </a:lnTo>
                  <a:lnTo>
                    <a:pt x="3750" y="4645"/>
                  </a:lnTo>
                  <a:lnTo>
                    <a:pt x="1500" y="5419"/>
                  </a:lnTo>
                  <a:lnTo>
                    <a:pt x="1500" y="6193"/>
                  </a:lnTo>
                  <a:lnTo>
                    <a:pt x="1500" y="6193"/>
                  </a:lnTo>
                  <a:lnTo>
                    <a:pt x="0" y="7354"/>
                  </a:lnTo>
                  <a:lnTo>
                    <a:pt x="0" y="7354"/>
                  </a:lnTo>
                  <a:lnTo>
                    <a:pt x="0" y="8129"/>
                  </a:lnTo>
                  <a:lnTo>
                    <a:pt x="1500" y="9290"/>
                  </a:lnTo>
                  <a:lnTo>
                    <a:pt x="5250" y="10064"/>
                  </a:lnTo>
                  <a:lnTo>
                    <a:pt x="5250" y="10838"/>
                  </a:lnTo>
                  <a:lnTo>
                    <a:pt x="6750" y="10838"/>
                  </a:lnTo>
                  <a:lnTo>
                    <a:pt x="6750" y="12000"/>
                  </a:lnTo>
                  <a:lnTo>
                    <a:pt x="9000" y="12774"/>
                  </a:lnTo>
                  <a:lnTo>
                    <a:pt x="9000" y="12774"/>
                  </a:lnTo>
                  <a:lnTo>
                    <a:pt x="9000" y="13548"/>
                  </a:lnTo>
                  <a:lnTo>
                    <a:pt x="9000" y="13548"/>
                  </a:lnTo>
                  <a:lnTo>
                    <a:pt x="9000" y="12774"/>
                  </a:lnTo>
                  <a:lnTo>
                    <a:pt x="10500" y="12774"/>
                  </a:lnTo>
                  <a:lnTo>
                    <a:pt x="10500" y="12000"/>
                  </a:lnTo>
                  <a:lnTo>
                    <a:pt x="10500" y="12000"/>
                  </a:lnTo>
                  <a:lnTo>
                    <a:pt x="10500" y="12774"/>
                  </a:lnTo>
                  <a:lnTo>
                    <a:pt x="12000" y="12774"/>
                  </a:lnTo>
                  <a:lnTo>
                    <a:pt x="12000" y="12774"/>
                  </a:lnTo>
                  <a:lnTo>
                    <a:pt x="12000" y="12774"/>
                  </a:lnTo>
                  <a:lnTo>
                    <a:pt x="12000" y="13548"/>
                  </a:lnTo>
                  <a:lnTo>
                    <a:pt x="12000" y="13548"/>
                  </a:lnTo>
                  <a:lnTo>
                    <a:pt x="12000" y="14709"/>
                  </a:lnTo>
                  <a:lnTo>
                    <a:pt x="12000" y="15483"/>
                  </a:lnTo>
                  <a:lnTo>
                    <a:pt x="12000" y="16258"/>
                  </a:lnTo>
                  <a:lnTo>
                    <a:pt x="12000" y="16258"/>
                  </a:lnTo>
                  <a:lnTo>
                    <a:pt x="12000" y="17419"/>
                  </a:lnTo>
                  <a:lnTo>
                    <a:pt x="15750" y="20129"/>
                  </a:lnTo>
                  <a:lnTo>
                    <a:pt x="17250" y="20129"/>
                  </a:lnTo>
                  <a:lnTo>
                    <a:pt x="21000" y="20903"/>
                  </a:lnTo>
                  <a:lnTo>
                    <a:pt x="22500" y="20903"/>
                  </a:lnTo>
                  <a:lnTo>
                    <a:pt x="24750" y="20903"/>
                  </a:lnTo>
                  <a:lnTo>
                    <a:pt x="24750" y="20903"/>
                  </a:lnTo>
                  <a:lnTo>
                    <a:pt x="26250" y="20129"/>
                  </a:lnTo>
                  <a:lnTo>
                    <a:pt x="26250" y="20129"/>
                  </a:lnTo>
                  <a:lnTo>
                    <a:pt x="30000" y="19354"/>
                  </a:lnTo>
                  <a:lnTo>
                    <a:pt x="30000" y="19354"/>
                  </a:lnTo>
                  <a:lnTo>
                    <a:pt x="31500" y="19354"/>
                  </a:lnTo>
                  <a:lnTo>
                    <a:pt x="33750" y="20129"/>
                  </a:lnTo>
                  <a:lnTo>
                    <a:pt x="35250" y="20903"/>
                  </a:lnTo>
                  <a:lnTo>
                    <a:pt x="36750" y="20903"/>
                  </a:lnTo>
                  <a:lnTo>
                    <a:pt x="36750" y="22064"/>
                  </a:lnTo>
                  <a:lnTo>
                    <a:pt x="36750" y="22064"/>
                  </a:lnTo>
                  <a:lnTo>
                    <a:pt x="36750" y="22838"/>
                  </a:lnTo>
                  <a:lnTo>
                    <a:pt x="35250" y="22838"/>
                  </a:lnTo>
                  <a:lnTo>
                    <a:pt x="35250" y="22838"/>
                  </a:lnTo>
                  <a:lnTo>
                    <a:pt x="35250" y="23612"/>
                  </a:lnTo>
                  <a:lnTo>
                    <a:pt x="35250" y="23612"/>
                  </a:lnTo>
                  <a:lnTo>
                    <a:pt x="36750" y="23612"/>
                  </a:lnTo>
                  <a:lnTo>
                    <a:pt x="39000" y="23612"/>
                  </a:lnTo>
                  <a:lnTo>
                    <a:pt x="39000" y="24774"/>
                  </a:lnTo>
                  <a:lnTo>
                    <a:pt x="39000" y="24774"/>
                  </a:lnTo>
                  <a:lnTo>
                    <a:pt x="39000" y="24774"/>
                  </a:lnTo>
                  <a:lnTo>
                    <a:pt x="39000" y="25548"/>
                  </a:lnTo>
                  <a:lnTo>
                    <a:pt x="40500" y="25548"/>
                  </a:lnTo>
                  <a:lnTo>
                    <a:pt x="42000" y="25548"/>
                  </a:lnTo>
                  <a:lnTo>
                    <a:pt x="42000" y="25548"/>
                  </a:lnTo>
                  <a:lnTo>
                    <a:pt x="42000" y="26322"/>
                  </a:lnTo>
                  <a:lnTo>
                    <a:pt x="42000" y="26322"/>
                  </a:lnTo>
                  <a:lnTo>
                    <a:pt x="42000" y="27483"/>
                  </a:lnTo>
                  <a:lnTo>
                    <a:pt x="42000" y="27483"/>
                  </a:lnTo>
                  <a:lnTo>
                    <a:pt x="42000" y="28258"/>
                  </a:lnTo>
                  <a:lnTo>
                    <a:pt x="40500" y="29419"/>
                  </a:lnTo>
                  <a:lnTo>
                    <a:pt x="39000" y="30193"/>
                  </a:lnTo>
                  <a:lnTo>
                    <a:pt x="39000" y="30193"/>
                  </a:lnTo>
                  <a:lnTo>
                    <a:pt x="35250" y="29419"/>
                  </a:lnTo>
                  <a:lnTo>
                    <a:pt x="33750" y="29419"/>
                  </a:lnTo>
                  <a:lnTo>
                    <a:pt x="31500" y="29419"/>
                  </a:lnTo>
                  <a:lnTo>
                    <a:pt x="31500" y="29419"/>
                  </a:lnTo>
                  <a:lnTo>
                    <a:pt x="31500" y="30193"/>
                  </a:lnTo>
                  <a:lnTo>
                    <a:pt x="31500" y="30193"/>
                  </a:lnTo>
                  <a:lnTo>
                    <a:pt x="31500" y="30967"/>
                  </a:lnTo>
                  <a:lnTo>
                    <a:pt x="31500" y="32129"/>
                  </a:lnTo>
                  <a:lnTo>
                    <a:pt x="31500" y="32129"/>
                  </a:lnTo>
                  <a:lnTo>
                    <a:pt x="30000" y="32129"/>
                  </a:lnTo>
                  <a:lnTo>
                    <a:pt x="30000" y="32903"/>
                  </a:lnTo>
                  <a:lnTo>
                    <a:pt x="31500" y="32903"/>
                  </a:lnTo>
                  <a:lnTo>
                    <a:pt x="31500" y="32903"/>
                  </a:lnTo>
                  <a:lnTo>
                    <a:pt x="33750" y="33677"/>
                  </a:lnTo>
                  <a:lnTo>
                    <a:pt x="39000" y="35612"/>
                  </a:lnTo>
                  <a:lnTo>
                    <a:pt x="40500" y="35612"/>
                  </a:lnTo>
                  <a:lnTo>
                    <a:pt x="40500" y="36387"/>
                  </a:lnTo>
                  <a:lnTo>
                    <a:pt x="42000" y="36387"/>
                  </a:lnTo>
                  <a:lnTo>
                    <a:pt x="47250" y="37548"/>
                  </a:lnTo>
                  <a:lnTo>
                    <a:pt x="49500" y="37548"/>
                  </a:lnTo>
                  <a:lnTo>
                    <a:pt x="49500" y="38322"/>
                  </a:lnTo>
                  <a:lnTo>
                    <a:pt x="49500" y="38322"/>
                  </a:lnTo>
                  <a:lnTo>
                    <a:pt x="49500" y="38322"/>
                  </a:lnTo>
                  <a:lnTo>
                    <a:pt x="49500" y="39483"/>
                  </a:lnTo>
                  <a:lnTo>
                    <a:pt x="49500" y="39483"/>
                  </a:lnTo>
                  <a:lnTo>
                    <a:pt x="49500" y="40258"/>
                  </a:lnTo>
                  <a:lnTo>
                    <a:pt x="49500" y="40258"/>
                  </a:lnTo>
                  <a:lnTo>
                    <a:pt x="51000" y="41032"/>
                  </a:lnTo>
                  <a:lnTo>
                    <a:pt x="53250" y="42193"/>
                  </a:lnTo>
                  <a:lnTo>
                    <a:pt x="53250" y="42193"/>
                  </a:lnTo>
                  <a:lnTo>
                    <a:pt x="54750" y="42193"/>
                  </a:lnTo>
                  <a:lnTo>
                    <a:pt x="54750" y="42967"/>
                  </a:lnTo>
                  <a:lnTo>
                    <a:pt x="56250" y="42967"/>
                  </a:lnTo>
                  <a:lnTo>
                    <a:pt x="56250" y="43741"/>
                  </a:lnTo>
                  <a:lnTo>
                    <a:pt x="58500" y="44903"/>
                  </a:lnTo>
                  <a:lnTo>
                    <a:pt x="58500" y="45677"/>
                  </a:lnTo>
                  <a:lnTo>
                    <a:pt x="60000" y="45677"/>
                  </a:lnTo>
                  <a:lnTo>
                    <a:pt x="61500" y="47612"/>
                  </a:lnTo>
                  <a:lnTo>
                    <a:pt x="63750" y="47612"/>
                  </a:lnTo>
                  <a:lnTo>
                    <a:pt x="63750" y="48387"/>
                  </a:lnTo>
                  <a:lnTo>
                    <a:pt x="66750" y="49548"/>
                  </a:lnTo>
                  <a:lnTo>
                    <a:pt x="69000" y="50322"/>
                  </a:lnTo>
                  <a:lnTo>
                    <a:pt x="70500" y="51096"/>
                  </a:lnTo>
                  <a:lnTo>
                    <a:pt x="70500" y="51096"/>
                  </a:lnTo>
                  <a:lnTo>
                    <a:pt x="70500" y="52258"/>
                  </a:lnTo>
                  <a:lnTo>
                    <a:pt x="72000" y="52258"/>
                  </a:lnTo>
                  <a:lnTo>
                    <a:pt x="72000" y="53032"/>
                  </a:lnTo>
                  <a:lnTo>
                    <a:pt x="72000" y="53806"/>
                  </a:lnTo>
                  <a:lnTo>
                    <a:pt x="74250" y="54967"/>
                  </a:lnTo>
                  <a:lnTo>
                    <a:pt x="74250" y="54967"/>
                  </a:lnTo>
                  <a:lnTo>
                    <a:pt x="74250" y="55741"/>
                  </a:lnTo>
                  <a:lnTo>
                    <a:pt x="75750" y="55741"/>
                  </a:lnTo>
                  <a:lnTo>
                    <a:pt x="75750" y="55741"/>
                  </a:lnTo>
                  <a:lnTo>
                    <a:pt x="75750" y="55741"/>
                  </a:lnTo>
                  <a:lnTo>
                    <a:pt x="78000" y="54967"/>
                  </a:lnTo>
                  <a:lnTo>
                    <a:pt x="78000" y="55741"/>
                  </a:lnTo>
                  <a:lnTo>
                    <a:pt x="78000" y="56516"/>
                  </a:lnTo>
                  <a:lnTo>
                    <a:pt x="78000" y="56516"/>
                  </a:lnTo>
                  <a:lnTo>
                    <a:pt x="79500" y="56516"/>
                  </a:lnTo>
                  <a:lnTo>
                    <a:pt x="81000" y="57677"/>
                  </a:lnTo>
                  <a:lnTo>
                    <a:pt x="83250" y="58451"/>
                  </a:lnTo>
                  <a:lnTo>
                    <a:pt x="84750" y="58451"/>
                  </a:lnTo>
                  <a:lnTo>
                    <a:pt x="84750" y="59612"/>
                  </a:lnTo>
                  <a:lnTo>
                    <a:pt x="84750" y="59612"/>
                  </a:lnTo>
                  <a:lnTo>
                    <a:pt x="86250" y="59612"/>
                  </a:lnTo>
                  <a:lnTo>
                    <a:pt x="86250" y="60387"/>
                  </a:lnTo>
                  <a:lnTo>
                    <a:pt x="84750" y="60387"/>
                  </a:lnTo>
                  <a:lnTo>
                    <a:pt x="83250" y="61161"/>
                  </a:lnTo>
                  <a:lnTo>
                    <a:pt x="83250" y="61161"/>
                  </a:lnTo>
                  <a:lnTo>
                    <a:pt x="83250" y="61161"/>
                  </a:lnTo>
                  <a:lnTo>
                    <a:pt x="84750" y="62322"/>
                  </a:lnTo>
                  <a:lnTo>
                    <a:pt x="84750" y="63096"/>
                  </a:lnTo>
                  <a:lnTo>
                    <a:pt x="86250" y="63096"/>
                  </a:lnTo>
                  <a:lnTo>
                    <a:pt x="88500" y="63870"/>
                  </a:lnTo>
                  <a:lnTo>
                    <a:pt x="88500" y="65032"/>
                  </a:lnTo>
                  <a:lnTo>
                    <a:pt x="90000" y="65032"/>
                  </a:lnTo>
                  <a:lnTo>
                    <a:pt x="90000" y="65806"/>
                  </a:lnTo>
                  <a:lnTo>
                    <a:pt x="90000" y="65806"/>
                  </a:lnTo>
                  <a:lnTo>
                    <a:pt x="90000" y="66580"/>
                  </a:lnTo>
                  <a:lnTo>
                    <a:pt x="90000" y="67741"/>
                  </a:lnTo>
                  <a:lnTo>
                    <a:pt x="88500" y="67741"/>
                  </a:lnTo>
                  <a:lnTo>
                    <a:pt x="88500" y="67741"/>
                  </a:lnTo>
                  <a:lnTo>
                    <a:pt x="90000" y="68516"/>
                  </a:lnTo>
                  <a:lnTo>
                    <a:pt x="90000" y="68516"/>
                  </a:lnTo>
                  <a:lnTo>
                    <a:pt x="90000" y="69677"/>
                  </a:lnTo>
                  <a:lnTo>
                    <a:pt x="90000" y="70451"/>
                  </a:lnTo>
                  <a:lnTo>
                    <a:pt x="90000" y="70451"/>
                  </a:lnTo>
                  <a:lnTo>
                    <a:pt x="90000" y="71225"/>
                  </a:lnTo>
                  <a:lnTo>
                    <a:pt x="90000" y="72387"/>
                  </a:lnTo>
                  <a:lnTo>
                    <a:pt x="88500" y="73161"/>
                  </a:lnTo>
                  <a:lnTo>
                    <a:pt x="88500" y="73161"/>
                  </a:lnTo>
                  <a:lnTo>
                    <a:pt x="88500" y="75096"/>
                  </a:lnTo>
                  <a:lnTo>
                    <a:pt x="88500" y="75096"/>
                  </a:lnTo>
                  <a:lnTo>
                    <a:pt x="88500" y="75870"/>
                  </a:lnTo>
                  <a:lnTo>
                    <a:pt x="90000" y="75870"/>
                  </a:lnTo>
                  <a:lnTo>
                    <a:pt x="90000" y="77806"/>
                  </a:lnTo>
                  <a:lnTo>
                    <a:pt x="91500" y="78580"/>
                  </a:lnTo>
                  <a:lnTo>
                    <a:pt x="93750" y="79741"/>
                  </a:lnTo>
                  <a:lnTo>
                    <a:pt x="93750" y="80516"/>
                  </a:lnTo>
                  <a:lnTo>
                    <a:pt x="91500" y="82451"/>
                  </a:lnTo>
                  <a:lnTo>
                    <a:pt x="91500" y="84000"/>
                  </a:lnTo>
                  <a:lnTo>
                    <a:pt x="91500" y="85161"/>
                  </a:lnTo>
                  <a:lnTo>
                    <a:pt x="93750" y="85161"/>
                  </a:lnTo>
                  <a:lnTo>
                    <a:pt x="93750" y="86709"/>
                  </a:lnTo>
                  <a:lnTo>
                    <a:pt x="93750" y="87870"/>
                  </a:lnTo>
                  <a:lnTo>
                    <a:pt x="93750" y="88645"/>
                  </a:lnTo>
                  <a:lnTo>
                    <a:pt x="93750" y="89806"/>
                  </a:lnTo>
                  <a:lnTo>
                    <a:pt x="91500" y="89806"/>
                  </a:lnTo>
                  <a:lnTo>
                    <a:pt x="91500" y="90580"/>
                  </a:lnTo>
                  <a:lnTo>
                    <a:pt x="91500" y="89806"/>
                  </a:lnTo>
                  <a:lnTo>
                    <a:pt x="90000" y="89806"/>
                  </a:lnTo>
                  <a:lnTo>
                    <a:pt x="90000" y="89806"/>
                  </a:lnTo>
                  <a:lnTo>
                    <a:pt x="88500" y="89806"/>
                  </a:lnTo>
                  <a:lnTo>
                    <a:pt x="86250" y="90580"/>
                  </a:lnTo>
                  <a:lnTo>
                    <a:pt x="86250" y="91354"/>
                  </a:lnTo>
                  <a:lnTo>
                    <a:pt x="83250" y="91354"/>
                  </a:lnTo>
                  <a:lnTo>
                    <a:pt x="83250" y="92516"/>
                  </a:lnTo>
                  <a:lnTo>
                    <a:pt x="81000" y="92516"/>
                  </a:lnTo>
                  <a:lnTo>
                    <a:pt x="79500" y="92516"/>
                  </a:lnTo>
                  <a:lnTo>
                    <a:pt x="79500" y="92516"/>
                  </a:lnTo>
                  <a:lnTo>
                    <a:pt x="79500" y="93290"/>
                  </a:lnTo>
                  <a:lnTo>
                    <a:pt x="79500" y="94064"/>
                  </a:lnTo>
                  <a:lnTo>
                    <a:pt x="79500" y="95225"/>
                  </a:lnTo>
                  <a:lnTo>
                    <a:pt x="79500" y="95225"/>
                  </a:lnTo>
                  <a:lnTo>
                    <a:pt x="78000" y="95225"/>
                  </a:lnTo>
                  <a:lnTo>
                    <a:pt x="75750" y="94064"/>
                  </a:lnTo>
                  <a:lnTo>
                    <a:pt x="74250" y="94064"/>
                  </a:lnTo>
                  <a:lnTo>
                    <a:pt x="74250" y="94064"/>
                  </a:lnTo>
                  <a:lnTo>
                    <a:pt x="72000" y="95225"/>
                  </a:lnTo>
                  <a:lnTo>
                    <a:pt x="72000" y="95225"/>
                  </a:lnTo>
                  <a:lnTo>
                    <a:pt x="72000" y="95225"/>
                  </a:lnTo>
                  <a:lnTo>
                    <a:pt x="70500" y="95225"/>
                  </a:lnTo>
                  <a:lnTo>
                    <a:pt x="70500" y="95225"/>
                  </a:lnTo>
                  <a:lnTo>
                    <a:pt x="70500" y="96000"/>
                  </a:lnTo>
                  <a:lnTo>
                    <a:pt x="72000" y="96000"/>
                  </a:lnTo>
                  <a:lnTo>
                    <a:pt x="72000" y="96774"/>
                  </a:lnTo>
                  <a:lnTo>
                    <a:pt x="72000" y="97935"/>
                  </a:lnTo>
                  <a:lnTo>
                    <a:pt x="72000" y="98709"/>
                  </a:lnTo>
                  <a:lnTo>
                    <a:pt x="75750" y="99870"/>
                  </a:lnTo>
                  <a:lnTo>
                    <a:pt x="75750" y="99870"/>
                  </a:lnTo>
                  <a:lnTo>
                    <a:pt x="75750" y="100645"/>
                  </a:lnTo>
                  <a:lnTo>
                    <a:pt x="75750" y="101419"/>
                  </a:lnTo>
                  <a:lnTo>
                    <a:pt x="75750" y="102580"/>
                  </a:lnTo>
                  <a:lnTo>
                    <a:pt x="75750" y="102580"/>
                  </a:lnTo>
                  <a:lnTo>
                    <a:pt x="74250" y="101419"/>
                  </a:lnTo>
                  <a:lnTo>
                    <a:pt x="74250" y="101419"/>
                  </a:lnTo>
                  <a:lnTo>
                    <a:pt x="72000" y="101419"/>
                  </a:lnTo>
                  <a:lnTo>
                    <a:pt x="72000" y="101419"/>
                  </a:lnTo>
                  <a:lnTo>
                    <a:pt x="72000" y="100645"/>
                  </a:lnTo>
                  <a:lnTo>
                    <a:pt x="70500" y="100645"/>
                  </a:lnTo>
                  <a:lnTo>
                    <a:pt x="70500" y="100645"/>
                  </a:lnTo>
                  <a:lnTo>
                    <a:pt x="69000" y="100645"/>
                  </a:lnTo>
                  <a:lnTo>
                    <a:pt x="66750" y="100645"/>
                  </a:lnTo>
                  <a:lnTo>
                    <a:pt x="65250" y="100645"/>
                  </a:lnTo>
                  <a:lnTo>
                    <a:pt x="65250" y="100645"/>
                  </a:lnTo>
                  <a:lnTo>
                    <a:pt x="65250" y="101419"/>
                  </a:lnTo>
                  <a:lnTo>
                    <a:pt x="65250" y="101419"/>
                  </a:lnTo>
                  <a:lnTo>
                    <a:pt x="63750" y="101419"/>
                  </a:lnTo>
                  <a:lnTo>
                    <a:pt x="61500" y="101419"/>
                  </a:lnTo>
                  <a:lnTo>
                    <a:pt x="60000" y="101419"/>
                  </a:lnTo>
                  <a:lnTo>
                    <a:pt x="61500" y="102580"/>
                  </a:lnTo>
                  <a:lnTo>
                    <a:pt x="61500" y="102580"/>
                  </a:lnTo>
                  <a:lnTo>
                    <a:pt x="61500" y="102580"/>
                  </a:lnTo>
                  <a:lnTo>
                    <a:pt x="60000" y="103354"/>
                  </a:lnTo>
                  <a:lnTo>
                    <a:pt x="60000" y="103354"/>
                  </a:lnTo>
                  <a:lnTo>
                    <a:pt x="58500" y="104129"/>
                  </a:lnTo>
                  <a:lnTo>
                    <a:pt x="58500" y="104129"/>
                  </a:lnTo>
                  <a:lnTo>
                    <a:pt x="56250" y="104129"/>
                  </a:lnTo>
                  <a:lnTo>
                    <a:pt x="54750" y="104129"/>
                  </a:lnTo>
                  <a:lnTo>
                    <a:pt x="54750" y="105290"/>
                  </a:lnTo>
                  <a:lnTo>
                    <a:pt x="53250" y="105290"/>
                  </a:lnTo>
                  <a:lnTo>
                    <a:pt x="53250" y="105290"/>
                  </a:lnTo>
                  <a:lnTo>
                    <a:pt x="54750" y="106064"/>
                  </a:lnTo>
                  <a:lnTo>
                    <a:pt x="56250" y="106064"/>
                  </a:lnTo>
                  <a:lnTo>
                    <a:pt x="56250" y="107225"/>
                  </a:lnTo>
                  <a:lnTo>
                    <a:pt x="56250" y="107225"/>
                  </a:lnTo>
                  <a:lnTo>
                    <a:pt x="58500" y="107225"/>
                  </a:lnTo>
                  <a:lnTo>
                    <a:pt x="58500" y="107225"/>
                  </a:lnTo>
                  <a:lnTo>
                    <a:pt x="60000" y="108000"/>
                  </a:lnTo>
                  <a:lnTo>
                    <a:pt x="61500" y="108000"/>
                  </a:lnTo>
                  <a:lnTo>
                    <a:pt x="61500" y="108000"/>
                  </a:lnTo>
                  <a:lnTo>
                    <a:pt x="63750" y="108774"/>
                  </a:lnTo>
                  <a:lnTo>
                    <a:pt x="63750" y="108774"/>
                  </a:lnTo>
                  <a:lnTo>
                    <a:pt x="63750" y="109935"/>
                  </a:lnTo>
                  <a:lnTo>
                    <a:pt x="61500" y="109935"/>
                  </a:lnTo>
                  <a:lnTo>
                    <a:pt x="60000" y="109935"/>
                  </a:lnTo>
                  <a:lnTo>
                    <a:pt x="60000" y="111483"/>
                  </a:lnTo>
                  <a:lnTo>
                    <a:pt x="60000" y="115354"/>
                  </a:lnTo>
                  <a:lnTo>
                    <a:pt x="60000" y="118064"/>
                  </a:lnTo>
                  <a:lnTo>
                    <a:pt x="61500" y="118838"/>
                  </a:lnTo>
                  <a:lnTo>
                    <a:pt x="60000" y="120000"/>
                  </a:lnTo>
                  <a:lnTo>
                    <a:pt x="61500" y="120000"/>
                  </a:lnTo>
                  <a:lnTo>
                    <a:pt x="65250" y="120000"/>
                  </a:lnTo>
                  <a:lnTo>
                    <a:pt x="65250" y="118838"/>
                  </a:lnTo>
                  <a:lnTo>
                    <a:pt x="66750" y="118064"/>
                  </a:lnTo>
                  <a:lnTo>
                    <a:pt x="69000" y="117290"/>
                  </a:lnTo>
                  <a:lnTo>
                    <a:pt x="69000" y="116129"/>
                  </a:lnTo>
                  <a:lnTo>
                    <a:pt x="78000" y="113419"/>
                  </a:lnTo>
                  <a:lnTo>
                    <a:pt x="79500" y="113419"/>
                  </a:lnTo>
                  <a:lnTo>
                    <a:pt x="79500" y="112645"/>
                  </a:lnTo>
                  <a:lnTo>
                    <a:pt x="78000" y="111483"/>
                  </a:lnTo>
                  <a:lnTo>
                    <a:pt x="78000" y="111483"/>
                  </a:lnTo>
                  <a:lnTo>
                    <a:pt x="72000" y="108774"/>
                  </a:lnTo>
                  <a:lnTo>
                    <a:pt x="74250" y="108774"/>
                  </a:lnTo>
                  <a:lnTo>
                    <a:pt x="79500" y="111483"/>
                  </a:lnTo>
                  <a:lnTo>
                    <a:pt x="81000" y="112645"/>
                  </a:lnTo>
                  <a:lnTo>
                    <a:pt x="83250" y="112645"/>
                  </a:lnTo>
                  <a:lnTo>
                    <a:pt x="83250" y="111483"/>
                  </a:lnTo>
                  <a:lnTo>
                    <a:pt x="83250" y="111483"/>
                  </a:lnTo>
                  <a:lnTo>
                    <a:pt x="83250" y="110709"/>
                  </a:lnTo>
                  <a:lnTo>
                    <a:pt x="83250" y="109935"/>
                  </a:lnTo>
                  <a:lnTo>
                    <a:pt x="78000" y="107225"/>
                  </a:lnTo>
                  <a:lnTo>
                    <a:pt x="78000" y="107225"/>
                  </a:lnTo>
                  <a:lnTo>
                    <a:pt x="81000" y="108774"/>
                  </a:lnTo>
                  <a:lnTo>
                    <a:pt x="83250" y="109935"/>
                  </a:lnTo>
                  <a:lnTo>
                    <a:pt x="83250" y="109935"/>
                  </a:lnTo>
                  <a:lnTo>
                    <a:pt x="84750" y="109935"/>
                  </a:lnTo>
                  <a:lnTo>
                    <a:pt x="84750" y="108774"/>
                  </a:lnTo>
                  <a:lnTo>
                    <a:pt x="84750" y="108774"/>
                  </a:lnTo>
                  <a:lnTo>
                    <a:pt x="84750" y="108000"/>
                  </a:lnTo>
                  <a:lnTo>
                    <a:pt x="86250" y="108000"/>
                  </a:lnTo>
                  <a:lnTo>
                    <a:pt x="86250" y="107225"/>
                  </a:lnTo>
                  <a:lnTo>
                    <a:pt x="84750" y="107225"/>
                  </a:lnTo>
                  <a:lnTo>
                    <a:pt x="83250" y="107225"/>
                  </a:lnTo>
                  <a:lnTo>
                    <a:pt x="81000" y="106064"/>
                  </a:lnTo>
                  <a:lnTo>
                    <a:pt x="81000" y="106064"/>
                  </a:lnTo>
                  <a:lnTo>
                    <a:pt x="84750" y="106064"/>
                  </a:lnTo>
                  <a:lnTo>
                    <a:pt x="84750" y="106064"/>
                  </a:lnTo>
                  <a:lnTo>
                    <a:pt x="86250" y="106064"/>
                  </a:lnTo>
                  <a:lnTo>
                    <a:pt x="86250" y="105290"/>
                  </a:lnTo>
                  <a:lnTo>
                    <a:pt x="84750" y="105290"/>
                  </a:lnTo>
                  <a:lnTo>
                    <a:pt x="84750" y="105290"/>
                  </a:lnTo>
                  <a:lnTo>
                    <a:pt x="83250" y="105290"/>
                  </a:lnTo>
                  <a:lnTo>
                    <a:pt x="83250" y="105290"/>
                  </a:lnTo>
                  <a:lnTo>
                    <a:pt x="84750" y="104129"/>
                  </a:lnTo>
                  <a:lnTo>
                    <a:pt x="86250" y="105290"/>
                  </a:lnTo>
                  <a:lnTo>
                    <a:pt x="88500" y="105290"/>
                  </a:lnTo>
                  <a:lnTo>
                    <a:pt x="88500" y="105290"/>
                  </a:lnTo>
                  <a:lnTo>
                    <a:pt x="88500" y="105290"/>
                  </a:lnTo>
                  <a:lnTo>
                    <a:pt x="88500" y="103354"/>
                  </a:lnTo>
                  <a:lnTo>
                    <a:pt x="88500" y="103354"/>
                  </a:lnTo>
                  <a:lnTo>
                    <a:pt x="88500" y="103354"/>
                  </a:lnTo>
                  <a:lnTo>
                    <a:pt x="88500" y="104129"/>
                  </a:lnTo>
                  <a:lnTo>
                    <a:pt x="90000" y="104129"/>
                  </a:lnTo>
                  <a:lnTo>
                    <a:pt x="91500" y="105290"/>
                  </a:lnTo>
                  <a:lnTo>
                    <a:pt x="91500" y="105290"/>
                  </a:lnTo>
                  <a:lnTo>
                    <a:pt x="91500" y="105290"/>
                  </a:lnTo>
                  <a:lnTo>
                    <a:pt x="93750" y="105290"/>
                  </a:lnTo>
                  <a:lnTo>
                    <a:pt x="95250" y="104129"/>
                  </a:lnTo>
                  <a:lnTo>
                    <a:pt x="96750" y="104129"/>
                  </a:lnTo>
                  <a:lnTo>
                    <a:pt x="100500" y="102580"/>
                  </a:lnTo>
                  <a:lnTo>
                    <a:pt x="102750" y="102580"/>
                  </a:lnTo>
                  <a:lnTo>
                    <a:pt x="104250" y="101419"/>
                  </a:lnTo>
                  <a:lnTo>
                    <a:pt x="104250" y="101419"/>
                  </a:lnTo>
                  <a:lnTo>
                    <a:pt x="105750" y="100645"/>
                  </a:lnTo>
                  <a:lnTo>
                    <a:pt x="108000" y="99870"/>
                  </a:lnTo>
                  <a:lnTo>
                    <a:pt x="109500" y="98709"/>
                  </a:lnTo>
                  <a:lnTo>
                    <a:pt x="111000" y="98709"/>
                  </a:lnTo>
                  <a:lnTo>
                    <a:pt x="113250" y="97935"/>
                  </a:lnTo>
                  <a:lnTo>
                    <a:pt x="114750" y="97935"/>
                  </a:lnTo>
                  <a:lnTo>
                    <a:pt x="114750" y="96774"/>
                  </a:lnTo>
                  <a:lnTo>
                    <a:pt x="114750" y="96000"/>
                  </a:lnTo>
                  <a:lnTo>
                    <a:pt x="116250" y="95225"/>
                  </a:lnTo>
                  <a:lnTo>
                    <a:pt x="116250" y="95225"/>
                  </a:lnTo>
                  <a:lnTo>
                    <a:pt x="118500" y="94064"/>
                  </a:lnTo>
                  <a:lnTo>
                    <a:pt x="118500" y="94064"/>
                  </a:lnTo>
                  <a:lnTo>
                    <a:pt x="116250" y="93290"/>
                  </a:lnTo>
                  <a:lnTo>
                    <a:pt x="116250" y="93290"/>
                  </a:lnTo>
                  <a:lnTo>
                    <a:pt x="116250" y="92516"/>
                  </a:lnTo>
                  <a:lnTo>
                    <a:pt x="116250" y="92516"/>
                  </a:lnTo>
                  <a:lnTo>
                    <a:pt x="118500" y="92516"/>
                  </a:lnTo>
                  <a:lnTo>
                    <a:pt x="118500" y="92516"/>
                  </a:lnTo>
                  <a:lnTo>
                    <a:pt x="118500" y="93290"/>
                  </a:lnTo>
                  <a:lnTo>
                    <a:pt x="118500" y="92516"/>
                  </a:lnTo>
                  <a:lnTo>
                    <a:pt x="118500" y="92516"/>
                  </a:lnTo>
                  <a:lnTo>
                    <a:pt x="116250" y="91354"/>
                  </a:lnTo>
                  <a:lnTo>
                    <a:pt x="116250" y="88645"/>
                  </a:lnTo>
                  <a:lnTo>
                    <a:pt x="118500" y="88645"/>
                  </a:lnTo>
                  <a:lnTo>
                    <a:pt x="116250" y="86709"/>
                  </a:lnTo>
                  <a:lnTo>
                    <a:pt x="116250" y="86709"/>
                  </a:lnTo>
                  <a:lnTo>
                    <a:pt x="118500" y="85935"/>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55" name="Shape 355"/>
            <p:cNvSpPr/>
            <p:nvPr/>
          </p:nvSpPr>
          <p:spPr>
            <a:xfrm>
              <a:off x="2295" y="2550"/>
              <a:ext cx="300" cy="300"/>
            </a:xfrm>
            <a:custGeom>
              <a:avLst/>
              <a:gdLst/>
              <a:ahLst/>
              <a:cxnLst/>
              <a:rect l="0" t="0" r="0" b="0"/>
              <a:pathLst>
                <a:path w="120000" h="120000" extrusionOk="0">
                  <a:moveTo>
                    <a:pt x="110880" y="32592"/>
                  </a:moveTo>
                  <a:lnTo>
                    <a:pt x="109920" y="32592"/>
                  </a:lnTo>
                  <a:lnTo>
                    <a:pt x="108960" y="34074"/>
                  </a:lnTo>
                  <a:lnTo>
                    <a:pt x="108960" y="34074"/>
                  </a:lnTo>
                  <a:lnTo>
                    <a:pt x="108960" y="35061"/>
                  </a:lnTo>
                  <a:lnTo>
                    <a:pt x="109920" y="35061"/>
                  </a:lnTo>
                  <a:lnTo>
                    <a:pt x="109920" y="35061"/>
                  </a:lnTo>
                  <a:lnTo>
                    <a:pt x="110880" y="34074"/>
                  </a:lnTo>
                  <a:lnTo>
                    <a:pt x="110880" y="34074"/>
                  </a:lnTo>
                  <a:lnTo>
                    <a:pt x="110880" y="32592"/>
                  </a:lnTo>
                  <a:lnTo>
                    <a:pt x="110880" y="32592"/>
                  </a:lnTo>
                  <a:lnTo>
                    <a:pt x="110880" y="32592"/>
                  </a:lnTo>
                  <a:close/>
                  <a:moveTo>
                    <a:pt x="110880" y="31604"/>
                  </a:moveTo>
                  <a:lnTo>
                    <a:pt x="110880" y="31604"/>
                  </a:lnTo>
                  <a:lnTo>
                    <a:pt x="109920" y="31604"/>
                  </a:lnTo>
                  <a:lnTo>
                    <a:pt x="109920" y="32592"/>
                  </a:lnTo>
                  <a:lnTo>
                    <a:pt x="110880" y="31604"/>
                  </a:lnTo>
                  <a:lnTo>
                    <a:pt x="112320" y="31604"/>
                  </a:lnTo>
                  <a:lnTo>
                    <a:pt x="112320" y="31604"/>
                  </a:lnTo>
                  <a:lnTo>
                    <a:pt x="112320" y="31604"/>
                  </a:lnTo>
                  <a:lnTo>
                    <a:pt x="112320" y="31604"/>
                  </a:lnTo>
                  <a:lnTo>
                    <a:pt x="110880" y="31604"/>
                  </a:lnTo>
                  <a:lnTo>
                    <a:pt x="110880" y="31604"/>
                  </a:lnTo>
                  <a:close/>
                  <a:moveTo>
                    <a:pt x="82560" y="12839"/>
                  </a:moveTo>
                  <a:lnTo>
                    <a:pt x="82560" y="12839"/>
                  </a:lnTo>
                  <a:lnTo>
                    <a:pt x="82560" y="13827"/>
                  </a:lnTo>
                  <a:lnTo>
                    <a:pt x="84000" y="13827"/>
                  </a:lnTo>
                  <a:lnTo>
                    <a:pt x="84000" y="13827"/>
                  </a:lnTo>
                  <a:lnTo>
                    <a:pt x="84960" y="13827"/>
                  </a:lnTo>
                  <a:lnTo>
                    <a:pt x="86400" y="12839"/>
                  </a:lnTo>
                  <a:lnTo>
                    <a:pt x="86400" y="12839"/>
                  </a:lnTo>
                  <a:lnTo>
                    <a:pt x="86400" y="11851"/>
                  </a:lnTo>
                  <a:lnTo>
                    <a:pt x="84960" y="10370"/>
                  </a:lnTo>
                  <a:lnTo>
                    <a:pt x="84000" y="11851"/>
                  </a:lnTo>
                  <a:lnTo>
                    <a:pt x="84000" y="12839"/>
                  </a:lnTo>
                  <a:lnTo>
                    <a:pt x="82560" y="12839"/>
                  </a:lnTo>
                  <a:lnTo>
                    <a:pt x="82560" y="11851"/>
                  </a:lnTo>
                  <a:lnTo>
                    <a:pt x="82560" y="11851"/>
                  </a:lnTo>
                  <a:lnTo>
                    <a:pt x="81600" y="11851"/>
                  </a:lnTo>
                  <a:lnTo>
                    <a:pt x="81600" y="11851"/>
                  </a:lnTo>
                  <a:lnTo>
                    <a:pt x="80640" y="12839"/>
                  </a:lnTo>
                  <a:lnTo>
                    <a:pt x="80640" y="12839"/>
                  </a:lnTo>
                  <a:lnTo>
                    <a:pt x="82560" y="12839"/>
                  </a:lnTo>
                  <a:close/>
                  <a:moveTo>
                    <a:pt x="120000" y="40987"/>
                  </a:moveTo>
                  <a:lnTo>
                    <a:pt x="118080" y="38518"/>
                  </a:lnTo>
                  <a:lnTo>
                    <a:pt x="116640" y="37530"/>
                  </a:lnTo>
                  <a:lnTo>
                    <a:pt x="115680" y="37530"/>
                  </a:lnTo>
                  <a:lnTo>
                    <a:pt x="114240" y="37530"/>
                  </a:lnTo>
                  <a:lnTo>
                    <a:pt x="114240" y="38518"/>
                  </a:lnTo>
                  <a:lnTo>
                    <a:pt x="110880" y="37530"/>
                  </a:lnTo>
                  <a:lnTo>
                    <a:pt x="110880" y="37530"/>
                  </a:lnTo>
                  <a:lnTo>
                    <a:pt x="108960" y="38518"/>
                  </a:lnTo>
                  <a:lnTo>
                    <a:pt x="107520" y="38518"/>
                  </a:lnTo>
                  <a:lnTo>
                    <a:pt x="106560" y="39506"/>
                  </a:lnTo>
                  <a:lnTo>
                    <a:pt x="105600" y="38518"/>
                  </a:lnTo>
                  <a:lnTo>
                    <a:pt x="105600" y="38518"/>
                  </a:lnTo>
                  <a:lnTo>
                    <a:pt x="104160" y="37530"/>
                  </a:lnTo>
                  <a:lnTo>
                    <a:pt x="107520" y="37530"/>
                  </a:lnTo>
                  <a:lnTo>
                    <a:pt x="107520" y="36049"/>
                  </a:lnTo>
                  <a:lnTo>
                    <a:pt x="108960" y="35061"/>
                  </a:lnTo>
                  <a:lnTo>
                    <a:pt x="108960" y="34074"/>
                  </a:lnTo>
                  <a:lnTo>
                    <a:pt x="108960" y="34074"/>
                  </a:lnTo>
                  <a:lnTo>
                    <a:pt x="108960" y="32592"/>
                  </a:lnTo>
                  <a:lnTo>
                    <a:pt x="109920" y="32592"/>
                  </a:lnTo>
                  <a:lnTo>
                    <a:pt x="109920" y="31604"/>
                  </a:lnTo>
                  <a:lnTo>
                    <a:pt x="109920" y="31604"/>
                  </a:lnTo>
                  <a:lnTo>
                    <a:pt x="110880" y="30123"/>
                  </a:lnTo>
                  <a:lnTo>
                    <a:pt x="112320" y="29135"/>
                  </a:lnTo>
                  <a:lnTo>
                    <a:pt x="110880" y="29135"/>
                  </a:lnTo>
                  <a:lnTo>
                    <a:pt x="109920" y="28148"/>
                  </a:lnTo>
                  <a:lnTo>
                    <a:pt x="107520" y="26666"/>
                  </a:lnTo>
                  <a:lnTo>
                    <a:pt x="107520" y="26666"/>
                  </a:lnTo>
                  <a:lnTo>
                    <a:pt x="105600" y="24691"/>
                  </a:lnTo>
                  <a:lnTo>
                    <a:pt x="105600" y="24691"/>
                  </a:lnTo>
                  <a:lnTo>
                    <a:pt x="104160" y="24691"/>
                  </a:lnTo>
                  <a:lnTo>
                    <a:pt x="103200" y="24691"/>
                  </a:lnTo>
                  <a:lnTo>
                    <a:pt x="103200" y="25679"/>
                  </a:lnTo>
                  <a:lnTo>
                    <a:pt x="103200" y="25679"/>
                  </a:lnTo>
                  <a:lnTo>
                    <a:pt x="103200" y="26666"/>
                  </a:lnTo>
                  <a:lnTo>
                    <a:pt x="103200" y="26666"/>
                  </a:lnTo>
                  <a:lnTo>
                    <a:pt x="103200" y="25679"/>
                  </a:lnTo>
                  <a:lnTo>
                    <a:pt x="103200" y="25679"/>
                  </a:lnTo>
                  <a:lnTo>
                    <a:pt x="103200" y="25679"/>
                  </a:lnTo>
                  <a:lnTo>
                    <a:pt x="102240" y="24691"/>
                  </a:lnTo>
                  <a:lnTo>
                    <a:pt x="100800" y="23209"/>
                  </a:lnTo>
                  <a:lnTo>
                    <a:pt x="100800" y="23209"/>
                  </a:lnTo>
                  <a:lnTo>
                    <a:pt x="100800" y="23209"/>
                  </a:lnTo>
                  <a:lnTo>
                    <a:pt x="99840" y="23209"/>
                  </a:lnTo>
                  <a:lnTo>
                    <a:pt x="99840" y="23209"/>
                  </a:lnTo>
                  <a:lnTo>
                    <a:pt x="99840" y="24691"/>
                  </a:lnTo>
                  <a:lnTo>
                    <a:pt x="99840" y="24691"/>
                  </a:lnTo>
                  <a:lnTo>
                    <a:pt x="99840" y="24691"/>
                  </a:lnTo>
                  <a:lnTo>
                    <a:pt x="99840" y="24691"/>
                  </a:lnTo>
                  <a:lnTo>
                    <a:pt x="99840" y="24691"/>
                  </a:lnTo>
                  <a:lnTo>
                    <a:pt x="98400" y="24691"/>
                  </a:lnTo>
                  <a:lnTo>
                    <a:pt x="98400" y="25679"/>
                  </a:lnTo>
                  <a:lnTo>
                    <a:pt x="98400" y="25679"/>
                  </a:lnTo>
                  <a:lnTo>
                    <a:pt x="98400" y="25679"/>
                  </a:lnTo>
                  <a:lnTo>
                    <a:pt x="97440" y="23209"/>
                  </a:lnTo>
                  <a:lnTo>
                    <a:pt x="97440" y="21234"/>
                  </a:lnTo>
                  <a:lnTo>
                    <a:pt x="96480" y="21234"/>
                  </a:lnTo>
                  <a:lnTo>
                    <a:pt x="96480" y="21234"/>
                  </a:lnTo>
                  <a:lnTo>
                    <a:pt x="96480" y="21234"/>
                  </a:lnTo>
                  <a:lnTo>
                    <a:pt x="96480" y="22222"/>
                  </a:lnTo>
                  <a:lnTo>
                    <a:pt x="95040" y="22222"/>
                  </a:lnTo>
                  <a:lnTo>
                    <a:pt x="95040" y="22222"/>
                  </a:lnTo>
                  <a:lnTo>
                    <a:pt x="95040" y="22222"/>
                  </a:lnTo>
                  <a:lnTo>
                    <a:pt x="95040" y="21234"/>
                  </a:lnTo>
                  <a:lnTo>
                    <a:pt x="95040" y="19753"/>
                  </a:lnTo>
                  <a:lnTo>
                    <a:pt x="95040" y="19753"/>
                  </a:lnTo>
                  <a:lnTo>
                    <a:pt x="95040" y="18765"/>
                  </a:lnTo>
                  <a:lnTo>
                    <a:pt x="94080" y="18765"/>
                  </a:lnTo>
                  <a:lnTo>
                    <a:pt x="94080" y="18765"/>
                  </a:lnTo>
                  <a:lnTo>
                    <a:pt x="94080" y="17283"/>
                  </a:lnTo>
                  <a:lnTo>
                    <a:pt x="94080" y="17283"/>
                  </a:lnTo>
                  <a:lnTo>
                    <a:pt x="95040" y="17283"/>
                  </a:lnTo>
                  <a:lnTo>
                    <a:pt x="98400" y="17283"/>
                  </a:lnTo>
                  <a:lnTo>
                    <a:pt x="99840" y="16296"/>
                  </a:lnTo>
                  <a:lnTo>
                    <a:pt x="100800" y="16296"/>
                  </a:lnTo>
                  <a:lnTo>
                    <a:pt x="102240" y="16296"/>
                  </a:lnTo>
                  <a:lnTo>
                    <a:pt x="103200" y="15308"/>
                  </a:lnTo>
                  <a:lnTo>
                    <a:pt x="99840" y="16296"/>
                  </a:lnTo>
                  <a:lnTo>
                    <a:pt x="95040" y="15308"/>
                  </a:lnTo>
                  <a:lnTo>
                    <a:pt x="93120" y="15308"/>
                  </a:lnTo>
                  <a:lnTo>
                    <a:pt x="93120" y="15308"/>
                  </a:lnTo>
                  <a:lnTo>
                    <a:pt x="90720" y="15308"/>
                  </a:lnTo>
                  <a:lnTo>
                    <a:pt x="88320" y="16296"/>
                  </a:lnTo>
                  <a:lnTo>
                    <a:pt x="84960" y="16296"/>
                  </a:lnTo>
                  <a:lnTo>
                    <a:pt x="82560" y="16296"/>
                  </a:lnTo>
                  <a:lnTo>
                    <a:pt x="81600" y="16296"/>
                  </a:lnTo>
                  <a:lnTo>
                    <a:pt x="81600" y="17283"/>
                  </a:lnTo>
                  <a:lnTo>
                    <a:pt x="82560" y="17283"/>
                  </a:lnTo>
                  <a:lnTo>
                    <a:pt x="84960" y="17283"/>
                  </a:lnTo>
                  <a:lnTo>
                    <a:pt x="86400" y="17283"/>
                  </a:lnTo>
                  <a:lnTo>
                    <a:pt x="86400" y="18765"/>
                  </a:lnTo>
                  <a:lnTo>
                    <a:pt x="84960" y="18765"/>
                  </a:lnTo>
                  <a:lnTo>
                    <a:pt x="82560" y="18765"/>
                  </a:lnTo>
                  <a:lnTo>
                    <a:pt x="75840" y="22222"/>
                  </a:lnTo>
                  <a:lnTo>
                    <a:pt x="74880" y="22222"/>
                  </a:lnTo>
                  <a:lnTo>
                    <a:pt x="74880" y="22222"/>
                  </a:lnTo>
                  <a:lnTo>
                    <a:pt x="73920" y="22222"/>
                  </a:lnTo>
                  <a:lnTo>
                    <a:pt x="71520" y="22222"/>
                  </a:lnTo>
                  <a:lnTo>
                    <a:pt x="70560" y="21234"/>
                  </a:lnTo>
                  <a:lnTo>
                    <a:pt x="69120" y="21234"/>
                  </a:lnTo>
                  <a:lnTo>
                    <a:pt x="66720" y="19753"/>
                  </a:lnTo>
                  <a:lnTo>
                    <a:pt x="65760" y="18765"/>
                  </a:lnTo>
                  <a:lnTo>
                    <a:pt x="65760" y="17283"/>
                  </a:lnTo>
                  <a:lnTo>
                    <a:pt x="65760" y="17283"/>
                  </a:lnTo>
                  <a:lnTo>
                    <a:pt x="63360" y="16296"/>
                  </a:lnTo>
                  <a:lnTo>
                    <a:pt x="58080" y="16296"/>
                  </a:lnTo>
                  <a:lnTo>
                    <a:pt x="55680" y="17283"/>
                  </a:lnTo>
                  <a:lnTo>
                    <a:pt x="52320" y="17283"/>
                  </a:lnTo>
                  <a:lnTo>
                    <a:pt x="49920" y="18765"/>
                  </a:lnTo>
                  <a:lnTo>
                    <a:pt x="47520" y="17283"/>
                  </a:lnTo>
                  <a:lnTo>
                    <a:pt x="46560" y="17283"/>
                  </a:lnTo>
                  <a:lnTo>
                    <a:pt x="45600" y="16296"/>
                  </a:lnTo>
                  <a:lnTo>
                    <a:pt x="45600" y="15308"/>
                  </a:lnTo>
                  <a:lnTo>
                    <a:pt x="46560" y="13827"/>
                  </a:lnTo>
                  <a:lnTo>
                    <a:pt x="45600" y="12839"/>
                  </a:lnTo>
                  <a:lnTo>
                    <a:pt x="45600" y="11851"/>
                  </a:lnTo>
                  <a:lnTo>
                    <a:pt x="45600" y="10370"/>
                  </a:lnTo>
                  <a:lnTo>
                    <a:pt x="43200" y="9382"/>
                  </a:lnTo>
                  <a:lnTo>
                    <a:pt x="42240" y="7901"/>
                  </a:lnTo>
                  <a:lnTo>
                    <a:pt x="39840" y="7901"/>
                  </a:lnTo>
                  <a:lnTo>
                    <a:pt x="38880" y="6913"/>
                  </a:lnTo>
                  <a:lnTo>
                    <a:pt x="35040" y="6913"/>
                  </a:lnTo>
                  <a:lnTo>
                    <a:pt x="35040" y="6913"/>
                  </a:lnTo>
                  <a:lnTo>
                    <a:pt x="34080" y="7901"/>
                  </a:lnTo>
                  <a:lnTo>
                    <a:pt x="34080" y="6913"/>
                  </a:lnTo>
                  <a:lnTo>
                    <a:pt x="33120" y="5925"/>
                  </a:lnTo>
                  <a:lnTo>
                    <a:pt x="33120" y="3456"/>
                  </a:lnTo>
                  <a:lnTo>
                    <a:pt x="33120" y="2469"/>
                  </a:lnTo>
                  <a:lnTo>
                    <a:pt x="33120" y="987"/>
                  </a:lnTo>
                  <a:lnTo>
                    <a:pt x="33120" y="987"/>
                  </a:lnTo>
                  <a:lnTo>
                    <a:pt x="31680" y="0"/>
                  </a:lnTo>
                  <a:lnTo>
                    <a:pt x="30720" y="987"/>
                  </a:lnTo>
                  <a:lnTo>
                    <a:pt x="29760" y="987"/>
                  </a:lnTo>
                  <a:lnTo>
                    <a:pt x="29760" y="2469"/>
                  </a:lnTo>
                  <a:lnTo>
                    <a:pt x="29760" y="3456"/>
                  </a:lnTo>
                  <a:lnTo>
                    <a:pt x="29760" y="4444"/>
                  </a:lnTo>
                  <a:lnTo>
                    <a:pt x="29760" y="5925"/>
                  </a:lnTo>
                  <a:lnTo>
                    <a:pt x="29760" y="5925"/>
                  </a:lnTo>
                  <a:lnTo>
                    <a:pt x="31680" y="5925"/>
                  </a:lnTo>
                  <a:lnTo>
                    <a:pt x="33120" y="5925"/>
                  </a:lnTo>
                  <a:lnTo>
                    <a:pt x="33120" y="6913"/>
                  </a:lnTo>
                  <a:lnTo>
                    <a:pt x="33120" y="7901"/>
                  </a:lnTo>
                  <a:lnTo>
                    <a:pt x="31680" y="7901"/>
                  </a:lnTo>
                  <a:lnTo>
                    <a:pt x="30720" y="6913"/>
                  </a:lnTo>
                  <a:lnTo>
                    <a:pt x="30720" y="6913"/>
                  </a:lnTo>
                  <a:lnTo>
                    <a:pt x="29760" y="7901"/>
                  </a:lnTo>
                  <a:lnTo>
                    <a:pt x="29760" y="7901"/>
                  </a:lnTo>
                  <a:lnTo>
                    <a:pt x="26400" y="9382"/>
                  </a:lnTo>
                  <a:lnTo>
                    <a:pt x="24000" y="10370"/>
                  </a:lnTo>
                  <a:lnTo>
                    <a:pt x="19200" y="12839"/>
                  </a:lnTo>
                  <a:lnTo>
                    <a:pt x="18240" y="12839"/>
                  </a:lnTo>
                  <a:lnTo>
                    <a:pt x="18240" y="13827"/>
                  </a:lnTo>
                  <a:lnTo>
                    <a:pt x="17280" y="15308"/>
                  </a:lnTo>
                  <a:lnTo>
                    <a:pt x="17280" y="16296"/>
                  </a:lnTo>
                  <a:lnTo>
                    <a:pt x="17280" y="17283"/>
                  </a:lnTo>
                  <a:lnTo>
                    <a:pt x="17280" y="18765"/>
                  </a:lnTo>
                  <a:lnTo>
                    <a:pt x="18240" y="19753"/>
                  </a:lnTo>
                  <a:lnTo>
                    <a:pt x="19200" y="21234"/>
                  </a:lnTo>
                  <a:lnTo>
                    <a:pt x="19200" y="23209"/>
                  </a:lnTo>
                  <a:lnTo>
                    <a:pt x="20640" y="24691"/>
                  </a:lnTo>
                  <a:lnTo>
                    <a:pt x="20640" y="25679"/>
                  </a:lnTo>
                  <a:lnTo>
                    <a:pt x="20640" y="28148"/>
                  </a:lnTo>
                  <a:lnTo>
                    <a:pt x="20640" y="30123"/>
                  </a:lnTo>
                  <a:lnTo>
                    <a:pt x="19200" y="31604"/>
                  </a:lnTo>
                  <a:lnTo>
                    <a:pt x="18240" y="31604"/>
                  </a:lnTo>
                  <a:lnTo>
                    <a:pt x="18240" y="32592"/>
                  </a:lnTo>
                  <a:lnTo>
                    <a:pt x="15840" y="32592"/>
                  </a:lnTo>
                  <a:lnTo>
                    <a:pt x="14880" y="32592"/>
                  </a:lnTo>
                  <a:lnTo>
                    <a:pt x="14880" y="32592"/>
                  </a:lnTo>
                  <a:lnTo>
                    <a:pt x="14880" y="31604"/>
                  </a:lnTo>
                  <a:lnTo>
                    <a:pt x="13920" y="30123"/>
                  </a:lnTo>
                  <a:lnTo>
                    <a:pt x="13920" y="30123"/>
                  </a:lnTo>
                  <a:lnTo>
                    <a:pt x="13920" y="29135"/>
                  </a:lnTo>
                  <a:lnTo>
                    <a:pt x="13920" y="29135"/>
                  </a:lnTo>
                  <a:lnTo>
                    <a:pt x="12480" y="28148"/>
                  </a:lnTo>
                  <a:lnTo>
                    <a:pt x="12480" y="26666"/>
                  </a:lnTo>
                  <a:lnTo>
                    <a:pt x="11520" y="24691"/>
                  </a:lnTo>
                  <a:lnTo>
                    <a:pt x="12480" y="22222"/>
                  </a:lnTo>
                  <a:lnTo>
                    <a:pt x="13920" y="21234"/>
                  </a:lnTo>
                  <a:lnTo>
                    <a:pt x="14880" y="19753"/>
                  </a:lnTo>
                  <a:lnTo>
                    <a:pt x="15840" y="18765"/>
                  </a:lnTo>
                  <a:lnTo>
                    <a:pt x="17280" y="16296"/>
                  </a:lnTo>
                  <a:lnTo>
                    <a:pt x="17280" y="15308"/>
                  </a:lnTo>
                  <a:lnTo>
                    <a:pt x="15840" y="13827"/>
                  </a:lnTo>
                  <a:lnTo>
                    <a:pt x="15840" y="12839"/>
                  </a:lnTo>
                  <a:lnTo>
                    <a:pt x="15840" y="12839"/>
                  </a:lnTo>
                  <a:lnTo>
                    <a:pt x="15840" y="12839"/>
                  </a:lnTo>
                  <a:lnTo>
                    <a:pt x="14880" y="11851"/>
                  </a:lnTo>
                  <a:lnTo>
                    <a:pt x="14880" y="10370"/>
                  </a:lnTo>
                  <a:lnTo>
                    <a:pt x="13920" y="7901"/>
                  </a:lnTo>
                  <a:lnTo>
                    <a:pt x="13920" y="7901"/>
                  </a:lnTo>
                  <a:lnTo>
                    <a:pt x="13920" y="6913"/>
                  </a:lnTo>
                  <a:lnTo>
                    <a:pt x="14880" y="5925"/>
                  </a:lnTo>
                  <a:lnTo>
                    <a:pt x="14880" y="5925"/>
                  </a:lnTo>
                  <a:lnTo>
                    <a:pt x="18240" y="4444"/>
                  </a:lnTo>
                  <a:lnTo>
                    <a:pt x="19200" y="4444"/>
                  </a:lnTo>
                  <a:lnTo>
                    <a:pt x="19200" y="4444"/>
                  </a:lnTo>
                  <a:lnTo>
                    <a:pt x="19200" y="3456"/>
                  </a:lnTo>
                  <a:lnTo>
                    <a:pt x="19200" y="3456"/>
                  </a:lnTo>
                  <a:lnTo>
                    <a:pt x="19200" y="3456"/>
                  </a:lnTo>
                  <a:lnTo>
                    <a:pt x="18240" y="4444"/>
                  </a:lnTo>
                  <a:lnTo>
                    <a:pt x="15840" y="4444"/>
                  </a:lnTo>
                  <a:lnTo>
                    <a:pt x="13920" y="5925"/>
                  </a:lnTo>
                  <a:lnTo>
                    <a:pt x="13920" y="5925"/>
                  </a:lnTo>
                  <a:lnTo>
                    <a:pt x="11520" y="10370"/>
                  </a:lnTo>
                  <a:lnTo>
                    <a:pt x="9120" y="11851"/>
                  </a:lnTo>
                  <a:lnTo>
                    <a:pt x="8160" y="11851"/>
                  </a:lnTo>
                  <a:lnTo>
                    <a:pt x="8160" y="12839"/>
                  </a:lnTo>
                  <a:lnTo>
                    <a:pt x="7200" y="13827"/>
                  </a:lnTo>
                  <a:lnTo>
                    <a:pt x="7200" y="15308"/>
                  </a:lnTo>
                  <a:lnTo>
                    <a:pt x="4800" y="17283"/>
                  </a:lnTo>
                  <a:lnTo>
                    <a:pt x="4800" y="21234"/>
                  </a:lnTo>
                  <a:lnTo>
                    <a:pt x="3360" y="22222"/>
                  </a:lnTo>
                  <a:lnTo>
                    <a:pt x="3360" y="25679"/>
                  </a:lnTo>
                  <a:lnTo>
                    <a:pt x="2400" y="26666"/>
                  </a:lnTo>
                  <a:lnTo>
                    <a:pt x="2400" y="28148"/>
                  </a:lnTo>
                  <a:lnTo>
                    <a:pt x="1440" y="29135"/>
                  </a:lnTo>
                  <a:lnTo>
                    <a:pt x="0" y="30123"/>
                  </a:lnTo>
                  <a:lnTo>
                    <a:pt x="0" y="31604"/>
                  </a:lnTo>
                  <a:lnTo>
                    <a:pt x="0" y="31604"/>
                  </a:lnTo>
                  <a:lnTo>
                    <a:pt x="0" y="31604"/>
                  </a:lnTo>
                  <a:lnTo>
                    <a:pt x="1440" y="31604"/>
                  </a:lnTo>
                  <a:lnTo>
                    <a:pt x="2400" y="31604"/>
                  </a:lnTo>
                  <a:lnTo>
                    <a:pt x="2400" y="30123"/>
                  </a:lnTo>
                  <a:lnTo>
                    <a:pt x="3360" y="31604"/>
                  </a:lnTo>
                  <a:lnTo>
                    <a:pt x="3360" y="31604"/>
                  </a:lnTo>
                  <a:lnTo>
                    <a:pt x="3360" y="32592"/>
                  </a:lnTo>
                  <a:lnTo>
                    <a:pt x="4800" y="31604"/>
                  </a:lnTo>
                  <a:lnTo>
                    <a:pt x="4800" y="32592"/>
                  </a:lnTo>
                  <a:lnTo>
                    <a:pt x="5760" y="35061"/>
                  </a:lnTo>
                  <a:lnTo>
                    <a:pt x="5760" y="37530"/>
                  </a:lnTo>
                  <a:lnTo>
                    <a:pt x="7200" y="38518"/>
                  </a:lnTo>
                  <a:lnTo>
                    <a:pt x="8160" y="39506"/>
                  </a:lnTo>
                  <a:lnTo>
                    <a:pt x="8160" y="40987"/>
                  </a:lnTo>
                  <a:lnTo>
                    <a:pt x="8160" y="41975"/>
                  </a:lnTo>
                  <a:lnTo>
                    <a:pt x="8160" y="42962"/>
                  </a:lnTo>
                  <a:lnTo>
                    <a:pt x="8160" y="42962"/>
                  </a:lnTo>
                  <a:lnTo>
                    <a:pt x="7200" y="44444"/>
                  </a:lnTo>
                  <a:lnTo>
                    <a:pt x="7200" y="45432"/>
                  </a:lnTo>
                  <a:lnTo>
                    <a:pt x="7200" y="46913"/>
                  </a:lnTo>
                  <a:lnTo>
                    <a:pt x="7200" y="47901"/>
                  </a:lnTo>
                  <a:lnTo>
                    <a:pt x="7200" y="48888"/>
                  </a:lnTo>
                  <a:lnTo>
                    <a:pt x="7200" y="48888"/>
                  </a:lnTo>
                  <a:lnTo>
                    <a:pt x="8160" y="50370"/>
                  </a:lnTo>
                  <a:lnTo>
                    <a:pt x="8160" y="50370"/>
                  </a:lnTo>
                  <a:lnTo>
                    <a:pt x="9120" y="50370"/>
                  </a:lnTo>
                  <a:lnTo>
                    <a:pt x="9120" y="51358"/>
                  </a:lnTo>
                  <a:lnTo>
                    <a:pt x="10560" y="53827"/>
                  </a:lnTo>
                  <a:lnTo>
                    <a:pt x="11520" y="53827"/>
                  </a:lnTo>
                  <a:lnTo>
                    <a:pt x="11520" y="54814"/>
                  </a:lnTo>
                  <a:lnTo>
                    <a:pt x="12480" y="53827"/>
                  </a:lnTo>
                  <a:lnTo>
                    <a:pt x="14880" y="53827"/>
                  </a:lnTo>
                  <a:lnTo>
                    <a:pt x="15840" y="53827"/>
                  </a:lnTo>
                  <a:lnTo>
                    <a:pt x="18240" y="54814"/>
                  </a:lnTo>
                  <a:lnTo>
                    <a:pt x="18240" y="54814"/>
                  </a:lnTo>
                  <a:lnTo>
                    <a:pt x="19200" y="54814"/>
                  </a:lnTo>
                  <a:lnTo>
                    <a:pt x="21600" y="53827"/>
                  </a:lnTo>
                  <a:lnTo>
                    <a:pt x="23040" y="53827"/>
                  </a:lnTo>
                  <a:lnTo>
                    <a:pt x="23040" y="53827"/>
                  </a:lnTo>
                  <a:lnTo>
                    <a:pt x="24000" y="53827"/>
                  </a:lnTo>
                  <a:lnTo>
                    <a:pt x="24960" y="53827"/>
                  </a:lnTo>
                  <a:lnTo>
                    <a:pt x="24960" y="54814"/>
                  </a:lnTo>
                  <a:lnTo>
                    <a:pt x="26400" y="54814"/>
                  </a:lnTo>
                  <a:lnTo>
                    <a:pt x="27360" y="54814"/>
                  </a:lnTo>
                  <a:lnTo>
                    <a:pt x="27360" y="54814"/>
                  </a:lnTo>
                  <a:lnTo>
                    <a:pt x="28320" y="54814"/>
                  </a:lnTo>
                  <a:lnTo>
                    <a:pt x="29760" y="57283"/>
                  </a:lnTo>
                  <a:lnTo>
                    <a:pt x="30720" y="59753"/>
                  </a:lnTo>
                  <a:lnTo>
                    <a:pt x="31680" y="61728"/>
                  </a:lnTo>
                  <a:lnTo>
                    <a:pt x="33120" y="63209"/>
                  </a:lnTo>
                  <a:lnTo>
                    <a:pt x="33120" y="63209"/>
                  </a:lnTo>
                  <a:lnTo>
                    <a:pt x="34080" y="63209"/>
                  </a:lnTo>
                  <a:lnTo>
                    <a:pt x="34080" y="63209"/>
                  </a:lnTo>
                  <a:lnTo>
                    <a:pt x="35040" y="64197"/>
                  </a:lnTo>
                  <a:lnTo>
                    <a:pt x="35040" y="63209"/>
                  </a:lnTo>
                  <a:lnTo>
                    <a:pt x="36480" y="63209"/>
                  </a:lnTo>
                  <a:lnTo>
                    <a:pt x="37440" y="63209"/>
                  </a:lnTo>
                  <a:lnTo>
                    <a:pt x="39840" y="63209"/>
                  </a:lnTo>
                  <a:lnTo>
                    <a:pt x="42240" y="63209"/>
                  </a:lnTo>
                  <a:lnTo>
                    <a:pt x="45600" y="63209"/>
                  </a:lnTo>
                  <a:lnTo>
                    <a:pt x="46560" y="61728"/>
                  </a:lnTo>
                  <a:lnTo>
                    <a:pt x="47520" y="61728"/>
                  </a:lnTo>
                  <a:lnTo>
                    <a:pt x="48960" y="61728"/>
                  </a:lnTo>
                  <a:lnTo>
                    <a:pt x="49920" y="61728"/>
                  </a:lnTo>
                  <a:lnTo>
                    <a:pt x="50880" y="63209"/>
                  </a:lnTo>
                  <a:lnTo>
                    <a:pt x="50880" y="63209"/>
                  </a:lnTo>
                  <a:lnTo>
                    <a:pt x="50880" y="64197"/>
                  </a:lnTo>
                  <a:lnTo>
                    <a:pt x="50880" y="65185"/>
                  </a:lnTo>
                  <a:lnTo>
                    <a:pt x="49920" y="66666"/>
                  </a:lnTo>
                  <a:lnTo>
                    <a:pt x="48960" y="67654"/>
                  </a:lnTo>
                  <a:lnTo>
                    <a:pt x="48960" y="68641"/>
                  </a:lnTo>
                  <a:lnTo>
                    <a:pt x="48960" y="70123"/>
                  </a:lnTo>
                  <a:lnTo>
                    <a:pt x="47520" y="71111"/>
                  </a:lnTo>
                  <a:lnTo>
                    <a:pt x="47520" y="72592"/>
                  </a:lnTo>
                  <a:lnTo>
                    <a:pt x="47520" y="73580"/>
                  </a:lnTo>
                  <a:lnTo>
                    <a:pt x="47520" y="76049"/>
                  </a:lnTo>
                  <a:lnTo>
                    <a:pt x="46560" y="78024"/>
                  </a:lnTo>
                  <a:lnTo>
                    <a:pt x="46560" y="80493"/>
                  </a:lnTo>
                  <a:lnTo>
                    <a:pt x="47520" y="80493"/>
                  </a:lnTo>
                  <a:lnTo>
                    <a:pt x="47520" y="81481"/>
                  </a:lnTo>
                  <a:lnTo>
                    <a:pt x="47520" y="82962"/>
                  </a:lnTo>
                  <a:lnTo>
                    <a:pt x="47520" y="83950"/>
                  </a:lnTo>
                  <a:lnTo>
                    <a:pt x="47520" y="85432"/>
                  </a:lnTo>
                  <a:lnTo>
                    <a:pt x="48960" y="87407"/>
                  </a:lnTo>
                  <a:lnTo>
                    <a:pt x="48960" y="87407"/>
                  </a:lnTo>
                  <a:lnTo>
                    <a:pt x="49920" y="88888"/>
                  </a:lnTo>
                  <a:lnTo>
                    <a:pt x="49920" y="88888"/>
                  </a:lnTo>
                  <a:lnTo>
                    <a:pt x="50880" y="90864"/>
                  </a:lnTo>
                  <a:lnTo>
                    <a:pt x="50880" y="92345"/>
                  </a:lnTo>
                  <a:lnTo>
                    <a:pt x="50880" y="92345"/>
                  </a:lnTo>
                  <a:lnTo>
                    <a:pt x="50880" y="92345"/>
                  </a:lnTo>
                  <a:lnTo>
                    <a:pt x="50880" y="92345"/>
                  </a:lnTo>
                  <a:lnTo>
                    <a:pt x="49920" y="94320"/>
                  </a:lnTo>
                  <a:lnTo>
                    <a:pt x="46560" y="96790"/>
                  </a:lnTo>
                  <a:lnTo>
                    <a:pt x="46560" y="98271"/>
                  </a:lnTo>
                  <a:lnTo>
                    <a:pt x="46560" y="98271"/>
                  </a:lnTo>
                  <a:lnTo>
                    <a:pt x="47520" y="98271"/>
                  </a:lnTo>
                  <a:lnTo>
                    <a:pt x="47520" y="98271"/>
                  </a:lnTo>
                  <a:lnTo>
                    <a:pt x="48960" y="98271"/>
                  </a:lnTo>
                  <a:lnTo>
                    <a:pt x="48960" y="98271"/>
                  </a:lnTo>
                  <a:lnTo>
                    <a:pt x="48960" y="99259"/>
                  </a:lnTo>
                  <a:lnTo>
                    <a:pt x="48960" y="99259"/>
                  </a:lnTo>
                  <a:lnTo>
                    <a:pt x="49920" y="99259"/>
                  </a:lnTo>
                  <a:lnTo>
                    <a:pt x="50880" y="100246"/>
                  </a:lnTo>
                  <a:lnTo>
                    <a:pt x="50880" y="101728"/>
                  </a:lnTo>
                  <a:lnTo>
                    <a:pt x="52320" y="101728"/>
                  </a:lnTo>
                  <a:lnTo>
                    <a:pt x="52320" y="102716"/>
                  </a:lnTo>
                  <a:lnTo>
                    <a:pt x="52320" y="102716"/>
                  </a:lnTo>
                  <a:lnTo>
                    <a:pt x="52320" y="103703"/>
                  </a:lnTo>
                  <a:lnTo>
                    <a:pt x="52320" y="105185"/>
                  </a:lnTo>
                  <a:lnTo>
                    <a:pt x="53280" y="105185"/>
                  </a:lnTo>
                  <a:lnTo>
                    <a:pt x="53280" y="106172"/>
                  </a:lnTo>
                  <a:lnTo>
                    <a:pt x="53280" y="106172"/>
                  </a:lnTo>
                  <a:lnTo>
                    <a:pt x="53280" y="107160"/>
                  </a:lnTo>
                  <a:lnTo>
                    <a:pt x="53280" y="108641"/>
                  </a:lnTo>
                  <a:lnTo>
                    <a:pt x="54720" y="109629"/>
                  </a:lnTo>
                  <a:lnTo>
                    <a:pt x="54720" y="111111"/>
                  </a:lnTo>
                  <a:lnTo>
                    <a:pt x="54720" y="111111"/>
                  </a:lnTo>
                  <a:lnTo>
                    <a:pt x="54720" y="112098"/>
                  </a:lnTo>
                  <a:lnTo>
                    <a:pt x="54720" y="113086"/>
                  </a:lnTo>
                  <a:lnTo>
                    <a:pt x="54720" y="114567"/>
                  </a:lnTo>
                  <a:lnTo>
                    <a:pt x="54720" y="114567"/>
                  </a:lnTo>
                  <a:lnTo>
                    <a:pt x="56640" y="116543"/>
                  </a:lnTo>
                  <a:lnTo>
                    <a:pt x="59040" y="119012"/>
                  </a:lnTo>
                  <a:lnTo>
                    <a:pt x="60000" y="119012"/>
                  </a:lnTo>
                  <a:lnTo>
                    <a:pt x="60000" y="119012"/>
                  </a:lnTo>
                  <a:lnTo>
                    <a:pt x="61440" y="119012"/>
                  </a:lnTo>
                  <a:lnTo>
                    <a:pt x="62400" y="119012"/>
                  </a:lnTo>
                  <a:lnTo>
                    <a:pt x="62400" y="119012"/>
                  </a:lnTo>
                  <a:lnTo>
                    <a:pt x="63360" y="118024"/>
                  </a:lnTo>
                  <a:lnTo>
                    <a:pt x="64800" y="118024"/>
                  </a:lnTo>
                  <a:lnTo>
                    <a:pt x="65760" y="116543"/>
                  </a:lnTo>
                  <a:lnTo>
                    <a:pt x="65760" y="116543"/>
                  </a:lnTo>
                  <a:lnTo>
                    <a:pt x="65760" y="116543"/>
                  </a:lnTo>
                  <a:lnTo>
                    <a:pt x="66720" y="118024"/>
                  </a:lnTo>
                  <a:lnTo>
                    <a:pt x="66720" y="119012"/>
                  </a:lnTo>
                  <a:lnTo>
                    <a:pt x="66720" y="119012"/>
                  </a:lnTo>
                  <a:lnTo>
                    <a:pt x="66720" y="120000"/>
                  </a:lnTo>
                  <a:lnTo>
                    <a:pt x="66720" y="120000"/>
                  </a:lnTo>
                  <a:lnTo>
                    <a:pt x="68160" y="119012"/>
                  </a:lnTo>
                  <a:lnTo>
                    <a:pt x="68160" y="118024"/>
                  </a:lnTo>
                  <a:lnTo>
                    <a:pt x="69120" y="118024"/>
                  </a:lnTo>
                  <a:lnTo>
                    <a:pt x="70560" y="116543"/>
                  </a:lnTo>
                  <a:lnTo>
                    <a:pt x="70560" y="115555"/>
                  </a:lnTo>
                  <a:lnTo>
                    <a:pt x="71520" y="115555"/>
                  </a:lnTo>
                  <a:lnTo>
                    <a:pt x="72480" y="114567"/>
                  </a:lnTo>
                  <a:lnTo>
                    <a:pt x="73920" y="114567"/>
                  </a:lnTo>
                  <a:lnTo>
                    <a:pt x="73920" y="114567"/>
                  </a:lnTo>
                  <a:lnTo>
                    <a:pt x="74880" y="113086"/>
                  </a:lnTo>
                  <a:lnTo>
                    <a:pt x="75840" y="113086"/>
                  </a:lnTo>
                  <a:lnTo>
                    <a:pt x="75840" y="112098"/>
                  </a:lnTo>
                  <a:lnTo>
                    <a:pt x="75840" y="112098"/>
                  </a:lnTo>
                  <a:lnTo>
                    <a:pt x="77280" y="112098"/>
                  </a:lnTo>
                  <a:lnTo>
                    <a:pt x="78240" y="112098"/>
                  </a:lnTo>
                  <a:lnTo>
                    <a:pt x="79200" y="111111"/>
                  </a:lnTo>
                  <a:lnTo>
                    <a:pt x="79200" y="111111"/>
                  </a:lnTo>
                  <a:lnTo>
                    <a:pt x="80640" y="108641"/>
                  </a:lnTo>
                  <a:lnTo>
                    <a:pt x="80640" y="107160"/>
                  </a:lnTo>
                  <a:lnTo>
                    <a:pt x="80640" y="107160"/>
                  </a:lnTo>
                  <a:lnTo>
                    <a:pt x="80640" y="107160"/>
                  </a:lnTo>
                  <a:lnTo>
                    <a:pt x="81600" y="106172"/>
                  </a:lnTo>
                  <a:lnTo>
                    <a:pt x="81600" y="106172"/>
                  </a:lnTo>
                  <a:lnTo>
                    <a:pt x="84000" y="106172"/>
                  </a:lnTo>
                  <a:lnTo>
                    <a:pt x="84960" y="105185"/>
                  </a:lnTo>
                  <a:lnTo>
                    <a:pt x="84960" y="105185"/>
                  </a:lnTo>
                  <a:lnTo>
                    <a:pt x="86400" y="105185"/>
                  </a:lnTo>
                  <a:lnTo>
                    <a:pt x="86400" y="103703"/>
                  </a:lnTo>
                  <a:lnTo>
                    <a:pt x="86400" y="102716"/>
                  </a:lnTo>
                  <a:lnTo>
                    <a:pt x="86400" y="101728"/>
                  </a:lnTo>
                  <a:lnTo>
                    <a:pt x="84960" y="101728"/>
                  </a:lnTo>
                  <a:lnTo>
                    <a:pt x="84000" y="101728"/>
                  </a:lnTo>
                  <a:lnTo>
                    <a:pt x="81600" y="101728"/>
                  </a:lnTo>
                  <a:lnTo>
                    <a:pt x="80640" y="101728"/>
                  </a:lnTo>
                  <a:lnTo>
                    <a:pt x="80640" y="101728"/>
                  </a:lnTo>
                  <a:lnTo>
                    <a:pt x="80640" y="100246"/>
                  </a:lnTo>
                  <a:lnTo>
                    <a:pt x="80640" y="100246"/>
                  </a:lnTo>
                  <a:lnTo>
                    <a:pt x="80640" y="99259"/>
                  </a:lnTo>
                  <a:lnTo>
                    <a:pt x="80640" y="98271"/>
                  </a:lnTo>
                  <a:lnTo>
                    <a:pt x="79200" y="95802"/>
                  </a:lnTo>
                  <a:lnTo>
                    <a:pt x="79200" y="93333"/>
                  </a:lnTo>
                  <a:lnTo>
                    <a:pt x="79200" y="92345"/>
                  </a:lnTo>
                  <a:lnTo>
                    <a:pt x="79200" y="90864"/>
                  </a:lnTo>
                  <a:lnTo>
                    <a:pt x="79200" y="89876"/>
                  </a:lnTo>
                  <a:lnTo>
                    <a:pt x="78240" y="88888"/>
                  </a:lnTo>
                  <a:lnTo>
                    <a:pt x="75840" y="86419"/>
                  </a:lnTo>
                  <a:lnTo>
                    <a:pt x="74880" y="85432"/>
                  </a:lnTo>
                  <a:lnTo>
                    <a:pt x="74880" y="85432"/>
                  </a:lnTo>
                  <a:lnTo>
                    <a:pt x="73920" y="82962"/>
                  </a:lnTo>
                  <a:lnTo>
                    <a:pt x="73920" y="82962"/>
                  </a:lnTo>
                  <a:lnTo>
                    <a:pt x="74880" y="82962"/>
                  </a:lnTo>
                  <a:lnTo>
                    <a:pt x="74880" y="82962"/>
                  </a:lnTo>
                  <a:lnTo>
                    <a:pt x="75840" y="83950"/>
                  </a:lnTo>
                  <a:lnTo>
                    <a:pt x="75840" y="83950"/>
                  </a:lnTo>
                  <a:lnTo>
                    <a:pt x="75840" y="83950"/>
                  </a:lnTo>
                  <a:lnTo>
                    <a:pt x="79200" y="83950"/>
                  </a:lnTo>
                  <a:lnTo>
                    <a:pt x="79200" y="83950"/>
                  </a:lnTo>
                  <a:lnTo>
                    <a:pt x="79200" y="83950"/>
                  </a:lnTo>
                  <a:lnTo>
                    <a:pt x="80640" y="85432"/>
                  </a:lnTo>
                  <a:lnTo>
                    <a:pt x="80640" y="86419"/>
                  </a:lnTo>
                  <a:lnTo>
                    <a:pt x="80640" y="86419"/>
                  </a:lnTo>
                  <a:lnTo>
                    <a:pt x="81600" y="86419"/>
                  </a:lnTo>
                  <a:lnTo>
                    <a:pt x="84000" y="86419"/>
                  </a:lnTo>
                  <a:lnTo>
                    <a:pt x="84000" y="86419"/>
                  </a:lnTo>
                  <a:lnTo>
                    <a:pt x="84960" y="86419"/>
                  </a:lnTo>
                  <a:lnTo>
                    <a:pt x="84960" y="86419"/>
                  </a:lnTo>
                  <a:lnTo>
                    <a:pt x="86400" y="86419"/>
                  </a:lnTo>
                  <a:lnTo>
                    <a:pt x="87360" y="86419"/>
                  </a:lnTo>
                  <a:lnTo>
                    <a:pt x="87360" y="86419"/>
                  </a:lnTo>
                  <a:lnTo>
                    <a:pt x="88320" y="87407"/>
                  </a:lnTo>
                  <a:lnTo>
                    <a:pt x="89760" y="88888"/>
                  </a:lnTo>
                  <a:lnTo>
                    <a:pt x="90720" y="89876"/>
                  </a:lnTo>
                  <a:lnTo>
                    <a:pt x="91680" y="89876"/>
                  </a:lnTo>
                  <a:lnTo>
                    <a:pt x="91680" y="88888"/>
                  </a:lnTo>
                  <a:lnTo>
                    <a:pt x="93120" y="86419"/>
                  </a:lnTo>
                  <a:lnTo>
                    <a:pt x="93120" y="85432"/>
                  </a:lnTo>
                  <a:lnTo>
                    <a:pt x="93120" y="85432"/>
                  </a:lnTo>
                  <a:lnTo>
                    <a:pt x="94080" y="85432"/>
                  </a:lnTo>
                  <a:lnTo>
                    <a:pt x="94080" y="85432"/>
                  </a:lnTo>
                  <a:lnTo>
                    <a:pt x="95040" y="83950"/>
                  </a:lnTo>
                  <a:lnTo>
                    <a:pt x="95040" y="83950"/>
                  </a:lnTo>
                  <a:lnTo>
                    <a:pt x="97440" y="83950"/>
                  </a:lnTo>
                  <a:lnTo>
                    <a:pt x="98400" y="83950"/>
                  </a:lnTo>
                  <a:lnTo>
                    <a:pt x="100800" y="83950"/>
                  </a:lnTo>
                  <a:lnTo>
                    <a:pt x="103200" y="82962"/>
                  </a:lnTo>
                  <a:lnTo>
                    <a:pt x="104160" y="81481"/>
                  </a:lnTo>
                  <a:lnTo>
                    <a:pt x="104160" y="80493"/>
                  </a:lnTo>
                  <a:lnTo>
                    <a:pt x="105600" y="80493"/>
                  </a:lnTo>
                  <a:lnTo>
                    <a:pt x="106560" y="80493"/>
                  </a:lnTo>
                  <a:lnTo>
                    <a:pt x="107520" y="80493"/>
                  </a:lnTo>
                  <a:lnTo>
                    <a:pt x="107520" y="80493"/>
                  </a:lnTo>
                  <a:lnTo>
                    <a:pt x="107520" y="80493"/>
                  </a:lnTo>
                  <a:lnTo>
                    <a:pt x="108960" y="79506"/>
                  </a:lnTo>
                  <a:lnTo>
                    <a:pt x="108960" y="78024"/>
                  </a:lnTo>
                  <a:lnTo>
                    <a:pt x="109920" y="78024"/>
                  </a:lnTo>
                  <a:lnTo>
                    <a:pt x="109920" y="77037"/>
                  </a:lnTo>
                  <a:lnTo>
                    <a:pt x="110880" y="77037"/>
                  </a:lnTo>
                  <a:lnTo>
                    <a:pt x="110880" y="76049"/>
                  </a:lnTo>
                  <a:lnTo>
                    <a:pt x="112320" y="76049"/>
                  </a:lnTo>
                  <a:lnTo>
                    <a:pt x="112320" y="74567"/>
                  </a:lnTo>
                  <a:lnTo>
                    <a:pt x="110880" y="74567"/>
                  </a:lnTo>
                  <a:lnTo>
                    <a:pt x="110880" y="73580"/>
                  </a:lnTo>
                  <a:lnTo>
                    <a:pt x="110880" y="73580"/>
                  </a:lnTo>
                  <a:lnTo>
                    <a:pt x="110880" y="73580"/>
                  </a:lnTo>
                  <a:lnTo>
                    <a:pt x="108960" y="70123"/>
                  </a:lnTo>
                  <a:lnTo>
                    <a:pt x="106560" y="67654"/>
                  </a:lnTo>
                  <a:lnTo>
                    <a:pt x="105600" y="65185"/>
                  </a:lnTo>
                  <a:lnTo>
                    <a:pt x="105600" y="65185"/>
                  </a:lnTo>
                  <a:lnTo>
                    <a:pt x="105600" y="64197"/>
                  </a:lnTo>
                  <a:lnTo>
                    <a:pt x="106560" y="63209"/>
                  </a:lnTo>
                  <a:lnTo>
                    <a:pt x="107520" y="63209"/>
                  </a:lnTo>
                  <a:lnTo>
                    <a:pt x="107520" y="63209"/>
                  </a:lnTo>
                  <a:lnTo>
                    <a:pt x="107520" y="60740"/>
                  </a:lnTo>
                  <a:lnTo>
                    <a:pt x="107520" y="59753"/>
                  </a:lnTo>
                  <a:lnTo>
                    <a:pt x="107520" y="59753"/>
                  </a:lnTo>
                  <a:lnTo>
                    <a:pt x="106560" y="58271"/>
                  </a:lnTo>
                  <a:lnTo>
                    <a:pt x="107520" y="58271"/>
                  </a:lnTo>
                  <a:lnTo>
                    <a:pt x="107520" y="57283"/>
                  </a:lnTo>
                  <a:lnTo>
                    <a:pt x="107520" y="57283"/>
                  </a:lnTo>
                  <a:lnTo>
                    <a:pt x="108960" y="57283"/>
                  </a:lnTo>
                  <a:lnTo>
                    <a:pt x="109920" y="57283"/>
                  </a:lnTo>
                  <a:lnTo>
                    <a:pt x="109920" y="57283"/>
                  </a:lnTo>
                  <a:lnTo>
                    <a:pt x="109920" y="55802"/>
                  </a:lnTo>
                  <a:lnTo>
                    <a:pt x="109920" y="55802"/>
                  </a:lnTo>
                  <a:lnTo>
                    <a:pt x="110880" y="57283"/>
                  </a:lnTo>
                  <a:lnTo>
                    <a:pt x="112320" y="55802"/>
                  </a:lnTo>
                  <a:lnTo>
                    <a:pt x="112320" y="55802"/>
                  </a:lnTo>
                  <a:lnTo>
                    <a:pt x="114240" y="54814"/>
                  </a:lnTo>
                  <a:lnTo>
                    <a:pt x="114240" y="54814"/>
                  </a:lnTo>
                  <a:lnTo>
                    <a:pt x="114240" y="53827"/>
                  </a:lnTo>
                  <a:lnTo>
                    <a:pt x="114240" y="52345"/>
                  </a:lnTo>
                  <a:lnTo>
                    <a:pt x="114240" y="52345"/>
                  </a:lnTo>
                  <a:lnTo>
                    <a:pt x="114240" y="52345"/>
                  </a:lnTo>
                  <a:lnTo>
                    <a:pt x="113280" y="52345"/>
                  </a:lnTo>
                  <a:lnTo>
                    <a:pt x="113280" y="52345"/>
                  </a:lnTo>
                  <a:lnTo>
                    <a:pt x="112320" y="52345"/>
                  </a:lnTo>
                  <a:lnTo>
                    <a:pt x="112320" y="52345"/>
                  </a:lnTo>
                  <a:lnTo>
                    <a:pt x="112320" y="51358"/>
                  </a:lnTo>
                  <a:lnTo>
                    <a:pt x="112320" y="51358"/>
                  </a:lnTo>
                  <a:lnTo>
                    <a:pt x="112320" y="50370"/>
                  </a:lnTo>
                  <a:lnTo>
                    <a:pt x="112320" y="48888"/>
                  </a:lnTo>
                  <a:lnTo>
                    <a:pt x="112320" y="48888"/>
                  </a:lnTo>
                  <a:lnTo>
                    <a:pt x="112320" y="47901"/>
                  </a:lnTo>
                  <a:lnTo>
                    <a:pt x="112320" y="47901"/>
                  </a:lnTo>
                  <a:lnTo>
                    <a:pt x="113280" y="46913"/>
                  </a:lnTo>
                  <a:lnTo>
                    <a:pt x="113280" y="45432"/>
                  </a:lnTo>
                  <a:lnTo>
                    <a:pt x="114240" y="45432"/>
                  </a:lnTo>
                  <a:lnTo>
                    <a:pt x="115680" y="45432"/>
                  </a:lnTo>
                  <a:lnTo>
                    <a:pt x="115680" y="44444"/>
                  </a:lnTo>
                  <a:lnTo>
                    <a:pt x="116640" y="44444"/>
                  </a:lnTo>
                  <a:lnTo>
                    <a:pt x="118080" y="42962"/>
                  </a:lnTo>
                  <a:lnTo>
                    <a:pt x="118080" y="41975"/>
                  </a:lnTo>
                  <a:lnTo>
                    <a:pt x="119040" y="41975"/>
                  </a:lnTo>
                  <a:lnTo>
                    <a:pt x="120000" y="40987"/>
                  </a:lnTo>
                  <a:lnTo>
                    <a:pt x="120000" y="40987"/>
                  </a:lnTo>
                  <a:lnTo>
                    <a:pt x="120000" y="40987"/>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56" name="Shape 356"/>
            <p:cNvSpPr/>
            <p:nvPr/>
          </p:nvSpPr>
          <p:spPr>
            <a:xfrm>
              <a:off x="3882" y="1923"/>
              <a:ext cx="0" cy="0"/>
            </a:xfrm>
            <a:custGeom>
              <a:avLst/>
              <a:gdLst/>
              <a:ahLst/>
              <a:cxnLst/>
              <a:rect l="0" t="0" r="0" b="0"/>
              <a:pathLst>
                <a:path w="120000" h="120000" extrusionOk="0">
                  <a:moveTo>
                    <a:pt x="0" y="0"/>
                  </a:moveTo>
                  <a:lnTo>
                    <a:pt x="0" y="0"/>
                  </a:lnTo>
                  <a:lnTo>
                    <a:pt x="0" y="0"/>
                  </a:lnTo>
                  <a:lnTo>
                    <a:pt x="0" y="0"/>
                  </a:lnTo>
                  <a:lnTo>
                    <a:pt x="0" y="0"/>
                  </a:lnTo>
                  <a:lnTo>
                    <a:pt x="0" y="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57" name="Shape 357"/>
            <p:cNvSpPr/>
            <p:nvPr/>
          </p:nvSpPr>
          <p:spPr>
            <a:xfrm>
              <a:off x="4607" y="1848"/>
              <a:ext cx="300" cy="300"/>
            </a:xfrm>
            <a:custGeom>
              <a:avLst/>
              <a:gdLst/>
              <a:ahLst/>
              <a:cxnLst/>
              <a:rect l="0" t="0" r="0" b="0"/>
              <a:pathLst>
                <a:path w="120000" h="120000" extrusionOk="0">
                  <a:moveTo>
                    <a:pt x="112692" y="77485"/>
                  </a:moveTo>
                  <a:lnTo>
                    <a:pt x="111538" y="77485"/>
                  </a:lnTo>
                  <a:lnTo>
                    <a:pt x="111538" y="79542"/>
                  </a:lnTo>
                  <a:lnTo>
                    <a:pt x="111538" y="79542"/>
                  </a:lnTo>
                  <a:lnTo>
                    <a:pt x="111538" y="79542"/>
                  </a:lnTo>
                  <a:lnTo>
                    <a:pt x="112692" y="79542"/>
                  </a:lnTo>
                  <a:lnTo>
                    <a:pt x="112692" y="79542"/>
                  </a:lnTo>
                  <a:lnTo>
                    <a:pt x="112692" y="77485"/>
                  </a:lnTo>
                  <a:lnTo>
                    <a:pt x="112692" y="77485"/>
                  </a:lnTo>
                  <a:close/>
                  <a:moveTo>
                    <a:pt x="108076" y="79542"/>
                  </a:moveTo>
                  <a:lnTo>
                    <a:pt x="108076" y="79542"/>
                  </a:lnTo>
                  <a:lnTo>
                    <a:pt x="108846" y="79542"/>
                  </a:lnTo>
                  <a:lnTo>
                    <a:pt x="108076" y="79542"/>
                  </a:lnTo>
                  <a:close/>
                  <a:moveTo>
                    <a:pt x="108076" y="79542"/>
                  </a:moveTo>
                  <a:lnTo>
                    <a:pt x="107307" y="77485"/>
                  </a:lnTo>
                  <a:lnTo>
                    <a:pt x="107307" y="77485"/>
                  </a:lnTo>
                  <a:lnTo>
                    <a:pt x="107307" y="77485"/>
                  </a:lnTo>
                  <a:lnTo>
                    <a:pt x="106153" y="77485"/>
                  </a:lnTo>
                  <a:lnTo>
                    <a:pt x="106153" y="77485"/>
                  </a:lnTo>
                  <a:lnTo>
                    <a:pt x="107307" y="79542"/>
                  </a:lnTo>
                  <a:lnTo>
                    <a:pt x="107307" y="79542"/>
                  </a:lnTo>
                  <a:lnTo>
                    <a:pt x="107307" y="77485"/>
                  </a:lnTo>
                  <a:lnTo>
                    <a:pt x="107307" y="77485"/>
                  </a:lnTo>
                  <a:lnTo>
                    <a:pt x="107307" y="79542"/>
                  </a:lnTo>
                  <a:lnTo>
                    <a:pt x="107307" y="79542"/>
                  </a:lnTo>
                  <a:lnTo>
                    <a:pt x="108076" y="79542"/>
                  </a:lnTo>
                  <a:lnTo>
                    <a:pt x="108076" y="79542"/>
                  </a:lnTo>
                  <a:lnTo>
                    <a:pt x="108846" y="79542"/>
                  </a:lnTo>
                  <a:lnTo>
                    <a:pt x="108846" y="79542"/>
                  </a:lnTo>
                  <a:lnTo>
                    <a:pt x="108076" y="79542"/>
                  </a:lnTo>
                  <a:lnTo>
                    <a:pt x="108076" y="79542"/>
                  </a:lnTo>
                  <a:close/>
                  <a:moveTo>
                    <a:pt x="120000" y="67885"/>
                  </a:moveTo>
                  <a:lnTo>
                    <a:pt x="118076" y="66514"/>
                  </a:lnTo>
                  <a:lnTo>
                    <a:pt x="118076" y="67885"/>
                  </a:lnTo>
                  <a:lnTo>
                    <a:pt x="118076" y="67885"/>
                  </a:lnTo>
                  <a:lnTo>
                    <a:pt x="116923" y="66514"/>
                  </a:lnTo>
                  <a:lnTo>
                    <a:pt x="116153" y="66514"/>
                  </a:lnTo>
                  <a:lnTo>
                    <a:pt x="116153" y="66514"/>
                  </a:lnTo>
                  <a:lnTo>
                    <a:pt x="115384" y="64457"/>
                  </a:lnTo>
                  <a:lnTo>
                    <a:pt x="114230" y="64457"/>
                  </a:lnTo>
                  <a:lnTo>
                    <a:pt x="113461" y="64457"/>
                  </a:lnTo>
                  <a:lnTo>
                    <a:pt x="113461" y="64457"/>
                  </a:lnTo>
                  <a:lnTo>
                    <a:pt x="112692" y="64457"/>
                  </a:lnTo>
                  <a:lnTo>
                    <a:pt x="112692" y="64457"/>
                  </a:lnTo>
                  <a:lnTo>
                    <a:pt x="112692" y="64457"/>
                  </a:lnTo>
                  <a:lnTo>
                    <a:pt x="112692" y="63085"/>
                  </a:lnTo>
                  <a:lnTo>
                    <a:pt x="112692" y="63085"/>
                  </a:lnTo>
                  <a:lnTo>
                    <a:pt x="111538" y="63085"/>
                  </a:lnTo>
                  <a:lnTo>
                    <a:pt x="111538" y="63085"/>
                  </a:lnTo>
                  <a:lnTo>
                    <a:pt x="110769" y="63085"/>
                  </a:lnTo>
                  <a:lnTo>
                    <a:pt x="110769" y="63085"/>
                  </a:lnTo>
                  <a:lnTo>
                    <a:pt x="110000" y="61714"/>
                  </a:lnTo>
                  <a:lnTo>
                    <a:pt x="110000" y="59657"/>
                  </a:lnTo>
                  <a:lnTo>
                    <a:pt x="108846" y="59657"/>
                  </a:lnTo>
                  <a:lnTo>
                    <a:pt x="108846" y="58285"/>
                  </a:lnTo>
                  <a:lnTo>
                    <a:pt x="108846" y="58285"/>
                  </a:lnTo>
                  <a:lnTo>
                    <a:pt x="108846" y="58285"/>
                  </a:lnTo>
                  <a:lnTo>
                    <a:pt x="108076" y="58285"/>
                  </a:lnTo>
                  <a:lnTo>
                    <a:pt x="108076" y="58285"/>
                  </a:lnTo>
                  <a:lnTo>
                    <a:pt x="108076" y="58285"/>
                  </a:lnTo>
                  <a:lnTo>
                    <a:pt x="108076" y="58285"/>
                  </a:lnTo>
                  <a:lnTo>
                    <a:pt x="108076" y="58285"/>
                  </a:lnTo>
                  <a:lnTo>
                    <a:pt x="108076" y="59657"/>
                  </a:lnTo>
                  <a:lnTo>
                    <a:pt x="108076" y="59657"/>
                  </a:lnTo>
                  <a:lnTo>
                    <a:pt x="108076" y="61714"/>
                  </a:lnTo>
                  <a:lnTo>
                    <a:pt x="108076" y="61714"/>
                  </a:lnTo>
                  <a:lnTo>
                    <a:pt x="107307" y="59657"/>
                  </a:lnTo>
                  <a:lnTo>
                    <a:pt x="107307" y="63085"/>
                  </a:lnTo>
                  <a:lnTo>
                    <a:pt x="107307" y="63085"/>
                  </a:lnTo>
                  <a:lnTo>
                    <a:pt x="106153" y="63085"/>
                  </a:lnTo>
                  <a:lnTo>
                    <a:pt x="106153" y="63085"/>
                  </a:lnTo>
                  <a:lnTo>
                    <a:pt x="105384" y="63085"/>
                  </a:lnTo>
                  <a:lnTo>
                    <a:pt x="104230" y="63085"/>
                  </a:lnTo>
                  <a:lnTo>
                    <a:pt x="104230" y="63085"/>
                  </a:lnTo>
                  <a:lnTo>
                    <a:pt x="103461" y="61714"/>
                  </a:lnTo>
                  <a:lnTo>
                    <a:pt x="103461" y="61714"/>
                  </a:lnTo>
                  <a:lnTo>
                    <a:pt x="102692" y="59657"/>
                  </a:lnTo>
                  <a:lnTo>
                    <a:pt x="101538" y="58285"/>
                  </a:lnTo>
                  <a:lnTo>
                    <a:pt x="101538" y="58285"/>
                  </a:lnTo>
                  <a:lnTo>
                    <a:pt x="100769" y="59657"/>
                  </a:lnTo>
                  <a:lnTo>
                    <a:pt x="100000" y="58285"/>
                  </a:lnTo>
                  <a:lnTo>
                    <a:pt x="98846" y="58285"/>
                  </a:lnTo>
                  <a:lnTo>
                    <a:pt x="98846" y="58285"/>
                  </a:lnTo>
                  <a:lnTo>
                    <a:pt x="98076" y="58285"/>
                  </a:lnTo>
                  <a:lnTo>
                    <a:pt x="98076" y="56228"/>
                  </a:lnTo>
                  <a:lnTo>
                    <a:pt x="100000" y="54857"/>
                  </a:lnTo>
                  <a:lnTo>
                    <a:pt x="100769" y="53485"/>
                  </a:lnTo>
                  <a:lnTo>
                    <a:pt x="100769" y="53485"/>
                  </a:lnTo>
                  <a:lnTo>
                    <a:pt x="101538" y="51428"/>
                  </a:lnTo>
                  <a:lnTo>
                    <a:pt x="101538" y="51428"/>
                  </a:lnTo>
                  <a:lnTo>
                    <a:pt x="101538" y="50057"/>
                  </a:lnTo>
                  <a:lnTo>
                    <a:pt x="101538" y="50057"/>
                  </a:lnTo>
                  <a:lnTo>
                    <a:pt x="102692" y="50057"/>
                  </a:lnTo>
                  <a:lnTo>
                    <a:pt x="102692" y="50057"/>
                  </a:lnTo>
                  <a:lnTo>
                    <a:pt x="104230" y="48685"/>
                  </a:lnTo>
                  <a:lnTo>
                    <a:pt x="104230" y="48685"/>
                  </a:lnTo>
                  <a:lnTo>
                    <a:pt x="103461" y="48685"/>
                  </a:lnTo>
                  <a:lnTo>
                    <a:pt x="103461" y="46628"/>
                  </a:lnTo>
                  <a:lnTo>
                    <a:pt x="102692" y="46628"/>
                  </a:lnTo>
                  <a:lnTo>
                    <a:pt x="102692" y="46628"/>
                  </a:lnTo>
                  <a:lnTo>
                    <a:pt x="101538" y="46628"/>
                  </a:lnTo>
                  <a:lnTo>
                    <a:pt x="101538" y="48685"/>
                  </a:lnTo>
                  <a:lnTo>
                    <a:pt x="100769" y="48685"/>
                  </a:lnTo>
                  <a:lnTo>
                    <a:pt x="100769" y="48685"/>
                  </a:lnTo>
                  <a:lnTo>
                    <a:pt x="100769" y="50057"/>
                  </a:lnTo>
                  <a:lnTo>
                    <a:pt x="100000" y="50057"/>
                  </a:lnTo>
                  <a:lnTo>
                    <a:pt x="100000" y="50057"/>
                  </a:lnTo>
                  <a:lnTo>
                    <a:pt x="100000" y="50057"/>
                  </a:lnTo>
                  <a:lnTo>
                    <a:pt x="98846" y="50057"/>
                  </a:lnTo>
                  <a:lnTo>
                    <a:pt x="98846" y="50057"/>
                  </a:lnTo>
                  <a:lnTo>
                    <a:pt x="98076" y="50057"/>
                  </a:lnTo>
                  <a:lnTo>
                    <a:pt x="98076" y="51428"/>
                  </a:lnTo>
                  <a:lnTo>
                    <a:pt x="97307" y="53485"/>
                  </a:lnTo>
                  <a:lnTo>
                    <a:pt x="96153" y="54857"/>
                  </a:lnTo>
                  <a:lnTo>
                    <a:pt x="95384" y="54857"/>
                  </a:lnTo>
                  <a:lnTo>
                    <a:pt x="94615" y="54857"/>
                  </a:lnTo>
                  <a:lnTo>
                    <a:pt x="94615" y="56228"/>
                  </a:lnTo>
                  <a:lnTo>
                    <a:pt x="93461" y="58285"/>
                  </a:lnTo>
                  <a:lnTo>
                    <a:pt x="93461" y="58285"/>
                  </a:lnTo>
                  <a:lnTo>
                    <a:pt x="92692" y="58285"/>
                  </a:lnTo>
                  <a:lnTo>
                    <a:pt x="91538" y="59657"/>
                  </a:lnTo>
                  <a:lnTo>
                    <a:pt x="91538" y="59657"/>
                  </a:lnTo>
                  <a:lnTo>
                    <a:pt x="91538" y="61714"/>
                  </a:lnTo>
                  <a:lnTo>
                    <a:pt x="91538" y="61714"/>
                  </a:lnTo>
                  <a:lnTo>
                    <a:pt x="90769" y="63085"/>
                  </a:lnTo>
                  <a:lnTo>
                    <a:pt x="90000" y="64457"/>
                  </a:lnTo>
                  <a:lnTo>
                    <a:pt x="90000" y="66514"/>
                  </a:lnTo>
                  <a:lnTo>
                    <a:pt x="88846" y="66514"/>
                  </a:lnTo>
                  <a:lnTo>
                    <a:pt x="88846" y="67885"/>
                  </a:lnTo>
                  <a:lnTo>
                    <a:pt x="90000" y="67885"/>
                  </a:lnTo>
                  <a:lnTo>
                    <a:pt x="90000" y="69257"/>
                  </a:lnTo>
                  <a:lnTo>
                    <a:pt x="90000" y="69257"/>
                  </a:lnTo>
                  <a:lnTo>
                    <a:pt x="90000" y="71314"/>
                  </a:lnTo>
                  <a:lnTo>
                    <a:pt x="88846" y="71314"/>
                  </a:lnTo>
                  <a:lnTo>
                    <a:pt x="88846" y="71314"/>
                  </a:lnTo>
                  <a:lnTo>
                    <a:pt x="88076" y="69257"/>
                  </a:lnTo>
                  <a:lnTo>
                    <a:pt x="87307" y="69257"/>
                  </a:lnTo>
                  <a:lnTo>
                    <a:pt x="86153" y="67885"/>
                  </a:lnTo>
                  <a:lnTo>
                    <a:pt x="86153" y="67885"/>
                  </a:lnTo>
                  <a:lnTo>
                    <a:pt x="86153" y="66514"/>
                  </a:lnTo>
                  <a:lnTo>
                    <a:pt x="86153" y="66514"/>
                  </a:lnTo>
                  <a:lnTo>
                    <a:pt x="86153" y="64457"/>
                  </a:lnTo>
                  <a:lnTo>
                    <a:pt x="85384" y="64457"/>
                  </a:lnTo>
                  <a:lnTo>
                    <a:pt x="85384" y="63085"/>
                  </a:lnTo>
                  <a:lnTo>
                    <a:pt x="85384" y="63085"/>
                  </a:lnTo>
                  <a:lnTo>
                    <a:pt x="84615" y="63085"/>
                  </a:lnTo>
                  <a:lnTo>
                    <a:pt x="84615" y="63085"/>
                  </a:lnTo>
                  <a:lnTo>
                    <a:pt x="83461" y="63085"/>
                  </a:lnTo>
                  <a:lnTo>
                    <a:pt x="83461" y="63085"/>
                  </a:lnTo>
                  <a:lnTo>
                    <a:pt x="81923" y="63085"/>
                  </a:lnTo>
                  <a:lnTo>
                    <a:pt x="80769" y="63085"/>
                  </a:lnTo>
                  <a:lnTo>
                    <a:pt x="80000" y="63085"/>
                  </a:lnTo>
                  <a:lnTo>
                    <a:pt x="78846" y="63085"/>
                  </a:lnTo>
                  <a:lnTo>
                    <a:pt x="77307" y="63085"/>
                  </a:lnTo>
                  <a:lnTo>
                    <a:pt x="77307" y="63085"/>
                  </a:lnTo>
                  <a:lnTo>
                    <a:pt x="76153" y="63085"/>
                  </a:lnTo>
                  <a:lnTo>
                    <a:pt x="76153" y="61714"/>
                  </a:lnTo>
                  <a:lnTo>
                    <a:pt x="75384" y="59657"/>
                  </a:lnTo>
                  <a:lnTo>
                    <a:pt x="75384" y="58285"/>
                  </a:lnTo>
                  <a:lnTo>
                    <a:pt x="74615" y="56228"/>
                  </a:lnTo>
                  <a:lnTo>
                    <a:pt x="74615" y="54857"/>
                  </a:lnTo>
                  <a:lnTo>
                    <a:pt x="73461" y="51428"/>
                  </a:lnTo>
                  <a:lnTo>
                    <a:pt x="73461" y="51428"/>
                  </a:lnTo>
                  <a:lnTo>
                    <a:pt x="72692" y="51428"/>
                  </a:lnTo>
                  <a:lnTo>
                    <a:pt x="71923" y="51428"/>
                  </a:lnTo>
                  <a:lnTo>
                    <a:pt x="70000" y="50057"/>
                  </a:lnTo>
                  <a:lnTo>
                    <a:pt x="70000" y="50057"/>
                  </a:lnTo>
                  <a:lnTo>
                    <a:pt x="70000" y="48685"/>
                  </a:lnTo>
                  <a:lnTo>
                    <a:pt x="70000" y="46628"/>
                  </a:lnTo>
                  <a:lnTo>
                    <a:pt x="70000" y="43885"/>
                  </a:lnTo>
                  <a:lnTo>
                    <a:pt x="69230" y="41828"/>
                  </a:lnTo>
                  <a:lnTo>
                    <a:pt x="69230" y="40457"/>
                  </a:lnTo>
                  <a:lnTo>
                    <a:pt x="69230" y="38400"/>
                  </a:lnTo>
                  <a:lnTo>
                    <a:pt x="69230" y="37028"/>
                  </a:lnTo>
                  <a:lnTo>
                    <a:pt x="68076" y="37028"/>
                  </a:lnTo>
                  <a:lnTo>
                    <a:pt x="68076" y="38400"/>
                  </a:lnTo>
                  <a:lnTo>
                    <a:pt x="67307" y="38400"/>
                  </a:lnTo>
                  <a:lnTo>
                    <a:pt x="66153" y="37028"/>
                  </a:lnTo>
                  <a:lnTo>
                    <a:pt x="66153" y="35657"/>
                  </a:lnTo>
                  <a:lnTo>
                    <a:pt x="65384" y="33600"/>
                  </a:lnTo>
                  <a:lnTo>
                    <a:pt x="64615" y="32228"/>
                  </a:lnTo>
                  <a:lnTo>
                    <a:pt x="63461" y="32228"/>
                  </a:lnTo>
                  <a:lnTo>
                    <a:pt x="62692" y="30857"/>
                  </a:lnTo>
                  <a:lnTo>
                    <a:pt x="61923" y="30857"/>
                  </a:lnTo>
                  <a:lnTo>
                    <a:pt x="60769" y="28799"/>
                  </a:lnTo>
                  <a:lnTo>
                    <a:pt x="60769" y="27428"/>
                  </a:lnTo>
                  <a:lnTo>
                    <a:pt x="60000" y="27428"/>
                  </a:lnTo>
                  <a:lnTo>
                    <a:pt x="59230" y="27428"/>
                  </a:lnTo>
                  <a:lnTo>
                    <a:pt x="58076" y="27428"/>
                  </a:lnTo>
                  <a:lnTo>
                    <a:pt x="58076" y="28799"/>
                  </a:lnTo>
                  <a:lnTo>
                    <a:pt x="57307" y="28799"/>
                  </a:lnTo>
                  <a:lnTo>
                    <a:pt x="57307" y="28799"/>
                  </a:lnTo>
                  <a:lnTo>
                    <a:pt x="56538" y="28799"/>
                  </a:lnTo>
                  <a:lnTo>
                    <a:pt x="55384" y="28799"/>
                  </a:lnTo>
                  <a:lnTo>
                    <a:pt x="54615" y="28799"/>
                  </a:lnTo>
                  <a:lnTo>
                    <a:pt x="52692" y="28799"/>
                  </a:lnTo>
                  <a:lnTo>
                    <a:pt x="51923" y="28799"/>
                  </a:lnTo>
                  <a:lnTo>
                    <a:pt x="50769" y="28799"/>
                  </a:lnTo>
                  <a:lnTo>
                    <a:pt x="49230" y="27428"/>
                  </a:lnTo>
                  <a:lnTo>
                    <a:pt x="48076" y="28799"/>
                  </a:lnTo>
                  <a:lnTo>
                    <a:pt x="46538" y="28799"/>
                  </a:lnTo>
                  <a:lnTo>
                    <a:pt x="45384" y="28799"/>
                  </a:lnTo>
                  <a:lnTo>
                    <a:pt x="44615" y="28799"/>
                  </a:lnTo>
                  <a:lnTo>
                    <a:pt x="42692" y="28799"/>
                  </a:lnTo>
                  <a:lnTo>
                    <a:pt x="41923" y="30857"/>
                  </a:lnTo>
                  <a:lnTo>
                    <a:pt x="40769" y="30857"/>
                  </a:lnTo>
                  <a:lnTo>
                    <a:pt x="40769" y="28799"/>
                  </a:lnTo>
                  <a:lnTo>
                    <a:pt x="39230" y="27428"/>
                  </a:lnTo>
                  <a:lnTo>
                    <a:pt x="38076" y="26057"/>
                  </a:lnTo>
                  <a:lnTo>
                    <a:pt x="37307" y="24000"/>
                  </a:lnTo>
                  <a:lnTo>
                    <a:pt x="36538" y="22628"/>
                  </a:lnTo>
                  <a:lnTo>
                    <a:pt x="35384" y="22628"/>
                  </a:lnTo>
                  <a:lnTo>
                    <a:pt x="34615" y="20571"/>
                  </a:lnTo>
                  <a:lnTo>
                    <a:pt x="33846" y="19200"/>
                  </a:lnTo>
                  <a:lnTo>
                    <a:pt x="33846" y="17828"/>
                  </a:lnTo>
                  <a:lnTo>
                    <a:pt x="33846" y="17828"/>
                  </a:lnTo>
                  <a:lnTo>
                    <a:pt x="32692" y="15771"/>
                  </a:lnTo>
                  <a:lnTo>
                    <a:pt x="31153" y="15771"/>
                  </a:lnTo>
                  <a:lnTo>
                    <a:pt x="30000" y="14399"/>
                  </a:lnTo>
                  <a:lnTo>
                    <a:pt x="29230" y="14399"/>
                  </a:lnTo>
                  <a:lnTo>
                    <a:pt x="28076" y="13028"/>
                  </a:lnTo>
                  <a:lnTo>
                    <a:pt x="27307" y="10971"/>
                  </a:lnTo>
                  <a:lnTo>
                    <a:pt x="26538" y="10971"/>
                  </a:lnTo>
                  <a:lnTo>
                    <a:pt x="25384" y="9600"/>
                  </a:lnTo>
                  <a:lnTo>
                    <a:pt x="24615" y="9600"/>
                  </a:lnTo>
                  <a:lnTo>
                    <a:pt x="22692" y="6171"/>
                  </a:lnTo>
                  <a:lnTo>
                    <a:pt x="21923" y="6171"/>
                  </a:lnTo>
                  <a:lnTo>
                    <a:pt x="21153" y="4800"/>
                  </a:lnTo>
                  <a:lnTo>
                    <a:pt x="20000" y="4800"/>
                  </a:lnTo>
                  <a:lnTo>
                    <a:pt x="19230" y="2742"/>
                  </a:lnTo>
                  <a:lnTo>
                    <a:pt x="18461" y="2742"/>
                  </a:lnTo>
                  <a:lnTo>
                    <a:pt x="17307" y="1371"/>
                  </a:lnTo>
                  <a:lnTo>
                    <a:pt x="16538" y="1371"/>
                  </a:lnTo>
                  <a:lnTo>
                    <a:pt x="15384" y="0"/>
                  </a:lnTo>
                  <a:lnTo>
                    <a:pt x="14615" y="0"/>
                  </a:lnTo>
                  <a:lnTo>
                    <a:pt x="13846" y="0"/>
                  </a:lnTo>
                  <a:lnTo>
                    <a:pt x="12692" y="1371"/>
                  </a:lnTo>
                  <a:lnTo>
                    <a:pt x="11923" y="1371"/>
                  </a:lnTo>
                  <a:lnTo>
                    <a:pt x="10000" y="2742"/>
                  </a:lnTo>
                  <a:lnTo>
                    <a:pt x="9230" y="2742"/>
                  </a:lnTo>
                  <a:lnTo>
                    <a:pt x="8461" y="2742"/>
                  </a:lnTo>
                  <a:lnTo>
                    <a:pt x="7307" y="4800"/>
                  </a:lnTo>
                  <a:lnTo>
                    <a:pt x="5769" y="4800"/>
                  </a:lnTo>
                  <a:lnTo>
                    <a:pt x="4615" y="4800"/>
                  </a:lnTo>
                  <a:lnTo>
                    <a:pt x="3846" y="6171"/>
                  </a:lnTo>
                  <a:lnTo>
                    <a:pt x="3076" y="6171"/>
                  </a:lnTo>
                  <a:lnTo>
                    <a:pt x="1923" y="6171"/>
                  </a:lnTo>
                  <a:lnTo>
                    <a:pt x="1153" y="8228"/>
                  </a:lnTo>
                  <a:lnTo>
                    <a:pt x="0" y="9600"/>
                  </a:lnTo>
                  <a:lnTo>
                    <a:pt x="0" y="13028"/>
                  </a:lnTo>
                  <a:lnTo>
                    <a:pt x="1153" y="15771"/>
                  </a:lnTo>
                  <a:lnTo>
                    <a:pt x="1153" y="19200"/>
                  </a:lnTo>
                  <a:lnTo>
                    <a:pt x="1153" y="22628"/>
                  </a:lnTo>
                  <a:lnTo>
                    <a:pt x="1923" y="26057"/>
                  </a:lnTo>
                  <a:lnTo>
                    <a:pt x="1923" y="28799"/>
                  </a:lnTo>
                  <a:lnTo>
                    <a:pt x="3076" y="32228"/>
                  </a:lnTo>
                  <a:lnTo>
                    <a:pt x="3076" y="35657"/>
                  </a:lnTo>
                  <a:lnTo>
                    <a:pt x="3846" y="37028"/>
                  </a:lnTo>
                  <a:lnTo>
                    <a:pt x="3846" y="40457"/>
                  </a:lnTo>
                  <a:lnTo>
                    <a:pt x="3846" y="43885"/>
                  </a:lnTo>
                  <a:lnTo>
                    <a:pt x="4615" y="46628"/>
                  </a:lnTo>
                  <a:lnTo>
                    <a:pt x="4615" y="50057"/>
                  </a:lnTo>
                  <a:lnTo>
                    <a:pt x="5769" y="53485"/>
                  </a:lnTo>
                  <a:lnTo>
                    <a:pt x="5769" y="56228"/>
                  </a:lnTo>
                  <a:lnTo>
                    <a:pt x="5769" y="59657"/>
                  </a:lnTo>
                  <a:lnTo>
                    <a:pt x="7307" y="61714"/>
                  </a:lnTo>
                  <a:lnTo>
                    <a:pt x="9230" y="61714"/>
                  </a:lnTo>
                  <a:lnTo>
                    <a:pt x="11153" y="61714"/>
                  </a:lnTo>
                  <a:lnTo>
                    <a:pt x="11923" y="61714"/>
                  </a:lnTo>
                  <a:lnTo>
                    <a:pt x="12692" y="61714"/>
                  </a:lnTo>
                  <a:lnTo>
                    <a:pt x="12692" y="61714"/>
                  </a:lnTo>
                  <a:lnTo>
                    <a:pt x="12692" y="61714"/>
                  </a:lnTo>
                  <a:lnTo>
                    <a:pt x="13846" y="59657"/>
                  </a:lnTo>
                  <a:lnTo>
                    <a:pt x="13846" y="59657"/>
                  </a:lnTo>
                  <a:lnTo>
                    <a:pt x="13846" y="59657"/>
                  </a:lnTo>
                  <a:lnTo>
                    <a:pt x="12692" y="59657"/>
                  </a:lnTo>
                  <a:lnTo>
                    <a:pt x="12692" y="58285"/>
                  </a:lnTo>
                  <a:lnTo>
                    <a:pt x="11923" y="54857"/>
                  </a:lnTo>
                  <a:lnTo>
                    <a:pt x="11923" y="53485"/>
                  </a:lnTo>
                  <a:lnTo>
                    <a:pt x="11923" y="51428"/>
                  </a:lnTo>
                  <a:lnTo>
                    <a:pt x="12692" y="51428"/>
                  </a:lnTo>
                  <a:lnTo>
                    <a:pt x="12692" y="50057"/>
                  </a:lnTo>
                  <a:lnTo>
                    <a:pt x="12692" y="48685"/>
                  </a:lnTo>
                  <a:lnTo>
                    <a:pt x="13846" y="48685"/>
                  </a:lnTo>
                  <a:lnTo>
                    <a:pt x="15384" y="48685"/>
                  </a:lnTo>
                  <a:lnTo>
                    <a:pt x="16538" y="48685"/>
                  </a:lnTo>
                  <a:lnTo>
                    <a:pt x="16538" y="48685"/>
                  </a:lnTo>
                  <a:lnTo>
                    <a:pt x="17307" y="46628"/>
                  </a:lnTo>
                  <a:lnTo>
                    <a:pt x="17307" y="45257"/>
                  </a:lnTo>
                  <a:lnTo>
                    <a:pt x="17307" y="45257"/>
                  </a:lnTo>
                  <a:lnTo>
                    <a:pt x="17307" y="43885"/>
                  </a:lnTo>
                  <a:lnTo>
                    <a:pt x="17307" y="43885"/>
                  </a:lnTo>
                  <a:lnTo>
                    <a:pt x="18461" y="45257"/>
                  </a:lnTo>
                  <a:lnTo>
                    <a:pt x="19230" y="45257"/>
                  </a:lnTo>
                  <a:lnTo>
                    <a:pt x="19230" y="45257"/>
                  </a:lnTo>
                  <a:lnTo>
                    <a:pt x="19230" y="45257"/>
                  </a:lnTo>
                  <a:lnTo>
                    <a:pt x="20000" y="46628"/>
                  </a:lnTo>
                  <a:lnTo>
                    <a:pt x="20000" y="46628"/>
                  </a:lnTo>
                  <a:lnTo>
                    <a:pt x="20000" y="46628"/>
                  </a:lnTo>
                  <a:lnTo>
                    <a:pt x="20000" y="46628"/>
                  </a:lnTo>
                  <a:lnTo>
                    <a:pt x="21153" y="46628"/>
                  </a:lnTo>
                  <a:lnTo>
                    <a:pt x="21153" y="46628"/>
                  </a:lnTo>
                  <a:lnTo>
                    <a:pt x="21153" y="46628"/>
                  </a:lnTo>
                  <a:lnTo>
                    <a:pt x="21153" y="46628"/>
                  </a:lnTo>
                  <a:lnTo>
                    <a:pt x="20000" y="45257"/>
                  </a:lnTo>
                  <a:lnTo>
                    <a:pt x="19230" y="43885"/>
                  </a:lnTo>
                  <a:lnTo>
                    <a:pt x="18461" y="43885"/>
                  </a:lnTo>
                  <a:lnTo>
                    <a:pt x="18461" y="41828"/>
                  </a:lnTo>
                  <a:lnTo>
                    <a:pt x="18461" y="41828"/>
                  </a:lnTo>
                  <a:lnTo>
                    <a:pt x="18461" y="41828"/>
                  </a:lnTo>
                  <a:lnTo>
                    <a:pt x="18461" y="41828"/>
                  </a:lnTo>
                  <a:lnTo>
                    <a:pt x="19230" y="41828"/>
                  </a:lnTo>
                  <a:lnTo>
                    <a:pt x="20000" y="41828"/>
                  </a:lnTo>
                  <a:lnTo>
                    <a:pt x="20000" y="41828"/>
                  </a:lnTo>
                  <a:lnTo>
                    <a:pt x="21153" y="40457"/>
                  </a:lnTo>
                  <a:lnTo>
                    <a:pt x="21923" y="41828"/>
                  </a:lnTo>
                  <a:lnTo>
                    <a:pt x="22692" y="43885"/>
                  </a:lnTo>
                  <a:lnTo>
                    <a:pt x="22692" y="43885"/>
                  </a:lnTo>
                  <a:lnTo>
                    <a:pt x="23846" y="43885"/>
                  </a:lnTo>
                  <a:lnTo>
                    <a:pt x="24615" y="43885"/>
                  </a:lnTo>
                  <a:lnTo>
                    <a:pt x="24615" y="43885"/>
                  </a:lnTo>
                  <a:lnTo>
                    <a:pt x="25384" y="43885"/>
                  </a:lnTo>
                  <a:lnTo>
                    <a:pt x="25384" y="45257"/>
                  </a:lnTo>
                  <a:lnTo>
                    <a:pt x="26538" y="46628"/>
                  </a:lnTo>
                  <a:lnTo>
                    <a:pt x="27307" y="46628"/>
                  </a:lnTo>
                  <a:lnTo>
                    <a:pt x="29230" y="46628"/>
                  </a:lnTo>
                  <a:lnTo>
                    <a:pt x="30000" y="46628"/>
                  </a:lnTo>
                  <a:lnTo>
                    <a:pt x="30000" y="46628"/>
                  </a:lnTo>
                  <a:lnTo>
                    <a:pt x="31153" y="48685"/>
                  </a:lnTo>
                  <a:lnTo>
                    <a:pt x="31153" y="48685"/>
                  </a:lnTo>
                  <a:lnTo>
                    <a:pt x="31153" y="48685"/>
                  </a:lnTo>
                  <a:lnTo>
                    <a:pt x="31153" y="48685"/>
                  </a:lnTo>
                  <a:lnTo>
                    <a:pt x="31153" y="50057"/>
                  </a:lnTo>
                  <a:lnTo>
                    <a:pt x="31153" y="50057"/>
                  </a:lnTo>
                  <a:lnTo>
                    <a:pt x="31153" y="51428"/>
                  </a:lnTo>
                  <a:lnTo>
                    <a:pt x="31153" y="51428"/>
                  </a:lnTo>
                  <a:lnTo>
                    <a:pt x="31153" y="51428"/>
                  </a:lnTo>
                  <a:lnTo>
                    <a:pt x="31923" y="51428"/>
                  </a:lnTo>
                  <a:lnTo>
                    <a:pt x="32692" y="53485"/>
                  </a:lnTo>
                  <a:lnTo>
                    <a:pt x="32692" y="53485"/>
                  </a:lnTo>
                  <a:lnTo>
                    <a:pt x="32692" y="53485"/>
                  </a:lnTo>
                  <a:lnTo>
                    <a:pt x="32692" y="53485"/>
                  </a:lnTo>
                  <a:lnTo>
                    <a:pt x="31923" y="53485"/>
                  </a:lnTo>
                  <a:lnTo>
                    <a:pt x="31923" y="54857"/>
                  </a:lnTo>
                  <a:lnTo>
                    <a:pt x="31923" y="54857"/>
                  </a:lnTo>
                  <a:lnTo>
                    <a:pt x="32692" y="56228"/>
                  </a:lnTo>
                  <a:lnTo>
                    <a:pt x="32692" y="56228"/>
                  </a:lnTo>
                  <a:lnTo>
                    <a:pt x="32692" y="56228"/>
                  </a:lnTo>
                  <a:lnTo>
                    <a:pt x="32692" y="58285"/>
                  </a:lnTo>
                  <a:lnTo>
                    <a:pt x="32692" y="59657"/>
                  </a:lnTo>
                  <a:lnTo>
                    <a:pt x="32692" y="59657"/>
                  </a:lnTo>
                  <a:lnTo>
                    <a:pt x="33846" y="59657"/>
                  </a:lnTo>
                  <a:lnTo>
                    <a:pt x="35384" y="61714"/>
                  </a:lnTo>
                  <a:lnTo>
                    <a:pt x="35384" y="61714"/>
                  </a:lnTo>
                  <a:lnTo>
                    <a:pt x="37307" y="61714"/>
                  </a:lnTo>
                  <a:lnTo>
                    <a:pt x="38076" y="61714"/>
                  </a:lnTo>
                  <a:lnTo>
                    <a:pt x="38076" y="61714"/>
                  </a:lnTo>
                  <a:lnTo>
                    <a:pt x="40000" y="61714"/>
                  </a:lnTo>
                  <a:lnTo>
                    <a:pt x="40000" y="63085"/>
                  </a:lnTo>
                  <a:lnTo>
                    <a:pt x="40769" y="63085"/>
                  </a:lnTo>
                  <a:lnTo>
                    <a:pt x="40769" y="63085"/>
                  </a:lnTo>
                  <a:lnTo>
                    <a:pt x="41923" y="61714"/>
                  </a:lnTo>
                  <a:lnTo>
                    <a:pt x="41923" y="61714"/>
                  </a:lnTo>
                  <a:lnTo>
                    <a:pt x="41923" y="61714"/>
                  </a:lnTo>
                  <a:lnTo>
                    <a:pt x="41923" y="61714"/>
                  </a:lnTo>
                  <a:lnTo>
                    <a:pt x="43846" y="61714"/>
                  </a:lnTo>
                  <a:lnTo>
                    <a:pt x="44615" y="63085"/>
                  </a:lnTo>
                  <a:lnTo>
                    <a:pt x="45384" y="63085"/>
                  </a:lnTo>
                  <a:lnTo>
                    <a:pt x="45384" y="64457"/>
                  </a:lnTo>
                  <a:lnTo>
                    <a:pt x="46538" y="66514"/>
                  </a:lnTo>
                  <a:lnTo>
                    <a:pt x="47307" y="69257"/>
                  </a:lnTo>
                  <a:lnTo>
                    <a:pt x="48076" y="71314"/>
                  </a:lnTo>
                  <a:lnTo>
                    <a:pt x="49230" y="72685"/>
                  </a:lnTo>
                  <a:lnTo>
                    <a:pt x="50000" y="74057"/>
                  </a:lnTo>
                  <a:lnTo>
                    <a:pt x="50769" y="79542"/>
                  </a:lnTo>
                  <a:lnTo>
                    <a:pt x="50769" y="79542"/>
                  </a:lnTo>
                  <a:lnTo>
                    <a:pt x="50769" y="79542"/>
                  </a:lnTo>
                  <a:lnTo>
                    <a:pt x="52692" y="80914"/>
                  </a:lnTo>
                  <a:lnTo>
                    <a:pt x="54615" y="82285"/>
                  </a:lnTo>
                  <a:lnTo>
                    <a:pt x="55384" y="84342"/>
                  </a:lnTo>
                  <a:lnTo>
                    <a:pt x="57307" y="85714"/>
                  </a:lnTo>
                  <a:lnTo>
                    <a:pt x="59230" y="87085"/>
                  </a:lnTo>
                  <a:lnTo>
                    <a:pt x="60769" y="90514"/>
                  </a:lnTo>
                  <a:lnTo>
                    <a:pt x="60769" y="90514"/>
                  </a:lnTo>
                  <a:lnTo>
                    <a:pt x="62692" y="91885"/>
                  </a:lnTo>
                  <a:lnTo>
                    <a:pt x="63461" y="93942"/>
                  </a:lnTo>
                  <a:lnTo>
                    <a:pt x="64615" y="91885"/>
                  </a:lnTo>
                  <a:lnTo>
                    <a:pt x="66153" y="95314"/>
                  </a:lnTo>
                  <a:lnTo>
                    <a:pt x="67307" y="95314"/>
                  </a:lnTo>
                  <a:lnTo>
                    <a:pt x="67307" y="97371"/>
                  </a:lnTo>
                  <a:lnTo>
                    <a:pt x="69230" y="97371"/>
                  </a:lnTo>
                  <a:lnTo>
                    <a:pt x="70769" y="98742"/>
                  </a:lnTo>
                  <a:lnTo>
                    <a:pt x="72692" y="102171"/>
                  </a:lnTo>
                  <a:lnTo>
                    <a:pt x="74615" y="103542"/>
                  </a:lnTo>
                  <a:lnTo>
                    <a:pt x="75384" y="103542"/>
                  </a:lnTo>
                  <a:lnTo>
                    <a:pt x="75384" y="103542"/>
                  </a:lnTo>
                  <a:lnTo>
                    <a:pt x="75384" y="103542"/>
                  </a:lnTo>
                  <a:lnTo>
                    <a:pt x="76153" y="103542"/>
                  </a:lnTo>
                  <a:lnTo>
                    <a:pt x="77307" y="103542"/>
                  </a:lnTo>
                  <a:lnTo>
                    <a:pt x="78076" y="103542"/>
                  </a:lnTo>
                  <a:lnTo>
                    <a:pt x="78076" y="104914"/>
                  </a:lnTo>
                  <a:lnTo>
                    <a:pt x="78846" y="104914"/>
                  </a:lnTo>
                  <a:lnTo>
                    <a:pt x="80000" y="106971"/>
                  </a:lnTo>
                  <a:lnTo>
                    <a:pt x="80000" y="106971"/>
                  </a:lnTo>
                  <a:lnTo>
                    <a:pt x="81923" y="106971"/>
                  </a:lnTo>
                  <a:lnTo>
                    <a:pt x="81923" y="106971"/>
                  </a:lnTo>
                  <a:lnTo>
                    <a:pt x="81923" y="108342"/>
                  </a:lnTo>
                  <a:lnTo>
                    <a:pt x="81923" y="108342"/>
                  </a:lnTo>
                  <a:lnTo>
                    <a:pt x="81923" y="109714"/>
                  </a:lnTo>
                  <a:lnTo>
                    <a:pt x="81923" y="113142"/>
                  </a:lnTo>
                  <a:lnTo>
                    <a:pt x="81923" y="115199"/>
                  </a:lnTo>
                  <a:lnTo>
                    <a:pt x="82692" y="116571"/>
                  </a:lnTo>
                  <a:lnTo>
                    <a:pt x="84615" y="116571"/>
                  </a:lnTo>
                  <a:lnTo>
                    <a:pt x="86153" y="116571"/>
                  </a:lnTo>
                  <a:lnTo>
                    <a:pt x="87307" y="117942"/>
                  </a:lnTo>
                  <a:lnTo>
                    <a:pt x="88076" y="117942"/>
                  </a:lnTo>
                  <a:lnTo>
                    <a:pt x="88076" y="117942"/>
                  </a:lnTo>
                  <a:lnTo>
                    <a:pt x="88846" y="117942"/>
                  </a:lnTo>
                  <a:lnTo>
                    <a:pt x="88846" y="117942"/>
                  </a:lnTo>
                  <a:lnTo>
                    <a:pt x="90000" y="117942"/>
                  </a:lnTo>
                  <a:lnTo>
                    <a:pt x="90000" y="117942"/>
                  </a:lnTo>
                  <a:lnTo>
                    <a:pt x="90769" y="119999"/>
                  </a:lnTo>
                  <a:lnTo>
                    <a:pt x="90769" y="119999"/>
                  </a:lnTo>
                  <a:lnTo>
                    <a:pt x="90769" y="117942"/>
                  </a:lnTo>
                  <a:lnTo>
                    <a:pt x="90769" y="115199"/>
                  </a:lnTo>
                  <a:lnTo>
                    <a:pt x="90769" y="113142"/>
                  </a:lnTo>
                  <a:lnTo>
                    <a:pt x="91538" y="111771"/>
                  </a:lnTo>
                  <a:lnTo>
                    <a:pt x="91538" y="109714"/>
                  </a:lnTo>
                  <a:lnTo>
                    <a:pt x="92692" y="108342"/>
                  </a:lnTo>
                  <a:lnTo>
                    <a:pt x="92692" y="108342"/>
                  </a:lnTo>
                  <a:lnTo>
                    <a:pt x="92692" y="106971"/>
                  </a:lnTo>
                  <a:lnTo>
                    <a:pt x="92692" y="104914"/>
                  </a:lnTo>
                  <a:lnTo>
                    <a:pt x="92692" y="104914"/>
                  </a:lnTo>
                  <a:lnTo>
                    <a:pt x="92692" y="103542"/>
                  </a:lnTo>
                  <a:lnTo>
                    <a:pt x="92692" y="103542"/>
                  </a:lnTo>
                  <a:lnTo>
                    <a:pt x="91538" y="103542"/>
                  </a:lnTo>
                  <a:lnTo>
                    <a:pt x="90769" y="102171"/>
                  </a:lnTo>
                  <a:lnTo>
                    <a:pt x="90769" y="100114"/>
                  </a:lnTo>
                  <a:lnTo>
                    <a:pt x="90000" y="98742"/>
                  </a:lnTo>
                  <a:lnTo>
                    <a:pt x="90000" y="97371"/>
                  </a:lnTo>
                  <a:lnTo>
                    <a:pt x="90000" y="93942"/>
                  </a:lnTo>
                  <a:lnTo>
                    <a:pt x="90000" y="93942"/>
                  </a:lnTo>
                  <a:lnTo>
                    <a:pt x="90000" y="93942"/>
                  </a:lnTo>
                  <a:lnTo>
                    <a:pt x="90000" y="91885"/>
                  </a:lnTo>
                  <a:lnTo>
                    <a:pt x="88846" y="91885"/>
                  </a:lnTo>
                  <a:lnTo>
                    <a:pt x="88076" y="91885"/>
                  </a:lnTo>
                  <a:lnTo>
                    <a:pt x="88076" y="91885"/>
                  </a:lnTo>
                  <a:lnTo>
                    <a:pt x="87307" y="91885"/>
                  </a:lnTo>
                  <a:lnTo>
                    <a:pt x="87307" y="91885"/>
                  </a:lnTo>
                  <a:lnTo>
                    <a:pt x="87307" y="90514"/>
                  </a:lnTo>
                  <a:lnTo>
                    <a:pt x="86153" y="90514"/>
                  </a:lnTo>
                  <a:lnTo>
                    <a:pt x="86153" y="90514"/>
                  </a:lnTo>
                  <a:lnTo>
                    <a:pt x="84615" y="89142"/>
                  </a:lnTo>
                  <a:lnTo>
                    <a:pt x="84615" y="89142"/>
                  </a:lnTo>
                  <a:lnTo>
                    <a:pt x="84615" y="89142"/>
                  </a:lnTo>
                  <a:lnTo>
                    <a:pt x="84615" y="85714"/>
                  </a:lnTo>
                  <a:lnTo>
                    <a:pt x="84615" y="85714"/>
                  </a:lnTo>
                  <a:lnTo>
                    <a:pt x="84615" y="85714"/>
                  </a:lnTo>
                  <a:lnTo>
                    <a:pt x="85384" y="84342"/>
                  </a:lnTo>
                  <a:lnTo>
                    <a:pt x="86153" y="84342"/>
                  </a:lnTo>
                  <a:lnTo>
                    <a:pt x="87307" y="84342"/>
                  </a:lnTo>
                  <a:lnTo>
                    <a:pt x="88846" y="84342"/>
                  </a:lnTo>
                  <a:lnTo>
                    <a:pt x="90000" y="84342"/>
                  </a:lnTo>
                  <a:lnTo>
                    <a:pt x="90000" y="84342"/>
                  </a:lnTo>
                  <a:lnTo>
                    <a:pt x="90769" y="85714"/>
                  </a:lnTo>
                  <a:lnTo>
                    <a:pt x="90769" y="84342"/>
                  </a:lnTo>
                  <a:lnTo>
                    <a:pt x="91538" y="84342"/>
                  </a:lnTo>
                  <a:lnTo>
                    <a:pt x="91538" y="84342"/>
                  </a:lnTo>
                  <a:lnTo>
                    <a:pt x="91538" y="82285"/>
                  </a:lnTo>
                  <a:lnTo>
                    <a:pt x="91538" y="80914"/>
                  </a:lnTo>
                  <a:lnTo>
                    <a:pt x="91538" y="80914"/>
                  </a:lnTo>
                  <a:lnTo>
                    <a:pt x="92692" y="80914"/>
                  </a:lnTo>
                  <a:lnTo>
                    <a:pt x="92692" y="80914"/>
                  </a:lnTo>
                  <a:lnTo>
                    <a:pt x="92692" y="79542"/>
                  </a:lnTo>
                  <a:lnTo>
                    <a:pt x="92692" y="79542"/>
                  </a:lnTo>
                  <a:lnTo>
                    <a:pt x="92692" y="79542"/>
                  </a:lnTo>
                  <a:lnTo>
                    <a:pt x="92692" y="79542"/>
                  </a:lnTo>
                  <a:lnTo>
                    <a:pt x="93461" y="79542"/>
                  </a:lnTo>
                  <a:lnTo>
                    <a:pt x="93461" y="79542"/>
                  </a:lnTo>
                  <a:lnTo>
                    <a:pt x="93461" y="79542"/>
                  </a:lnTo>
                  <a:lnTo>
                    <a:pt x="92692" y="79542"/>
                  </a:lnTo>
                  <a:lnTo>
                    <a:pt x="92692" y="79542"/>
                  </a:lnTo>
                  <a:lnTo>
                    <a:pt x="92692" y="79542"/>
                  </a:lnTo>
                  <a:lnTo>
                    <a:pt x="92692" y="79542"/>
                  </a:lnTo>
                  <a:lnTo>
                    <a:pt x="93461" y="77485"/>
                  </a:lnTo>
                  <a:lnTo>
                    <a:pt x="93461" y="77485"/>
                  </a:lnTo>
                  <a:lnTo>
                    <a:pt x="93461" y="77485"/>
                  </a:lnTo>
                  <a:lnTo>
                    <a:pt x="93461" y="77485"/>
                  </a:lnTo>
                  <a:lnTo>
                    <a:pt x="93461" y="77485"/>
                  </a:lnTo>
                  <a:lnTo>
                    <a:pt x="92692" y="77485"/>
                  </a:lnTo>
                  <a:lnTo>
                    <a:pt x="91538" y="77485"/>
                  </a:lnTo>
                  <a:lnTo>
                    <a:pt x="90769" y="77485"/>
                  </a:lnTo>
                  <a:lnTo>
                    <a:pt x="90769" y="77485"/>
                  </a:lnTo>
                  <a:lnTo>
                    <a:pt x="90769" y="76114"/>
                  </a:lnTo>
                  <a:lnTo>
                    <a:pt x="93461" y="76114"/>
                  </a:lnTo>
                  <a:lnTo>
                    <a:pt x="94615" y="76114"/>
                  </a:lnTo>
                  <a:lnTo>
                    <a:pt x="95384" y="76114"/>
                  </a:lnTo>
                  <a:lnTo>
                    <a:pt x="95384" y="76114"/>
                  </a:lnTo>
                  <a:lnTo>
                    <a:pt x="94615" y="74057"/>
                  </a:lnTo>
                  <a:lnTo>
                    <a:pt x="95384" y="74057"/>
                  </a:lnTo>
                  <a:lnTo>
                    <a:pt x="95384" y="74057"/>
                  </a:lnTo>
                  <a:lnTo>
                    <a:pt x="94615" y="71314"/>
                  </a:lnTo>
                  <a:lnTo>
                    <a:pt x="94615" y="71314"/>
                  </a:lnTo>
                  <a:lnTo>
                    <a:pt x="94615" y="69257"/>
                  </a:lnTo>
                  <a:lnTo>
                    <a:pt x="94615" y="69257"/>
                  </a:lnTo>
                  <a:lnTo>
                    <a:pt x="94615" y="67885"/>
                  </a:lnTo>
                  <a:lnTo>
                    <a:pt x="95384" y="67885"/>
                  </a:lnTo>
                  <a:lnTo>
                    <a:pt x="95384" y="67885"/>
                  </a:lnTo>
                  <a:lnTo>
                    <a:pt x="96153" y="69257"/>
                  </a:lnTo>
                  <a:lnTo>
                    <a:pt x="97307" y="69257"/>
                  </a:lnTo>
                  <a:lnTo>
                    <a:pt x="97307" y="69257"/>
                  </a:lnTo>
                  <a:lnTo>
                    <a:pt x="98076" y="69257"/>
                  </a:lnTo>
                  <a:lnTo>
                    <a:pt x="98846" y="67885"/>
                  </a:lnTo>
                  <a:lnTo>
                    <a:pt x="100000" y="67885"/>
                  </a:lnTo>
                  <a:lnTo>
                    <a:pt x="100769" y="66514"/>
                  </a:lnTo>
                  <a:lnTo>
                    <a:pt x="100769" y="66514"/>
                  </a:lnTo>
                  <a:lnTo>
                    <a:pt x="100769" y="64457"/>
                  </a:lnTo>
                  <a:lnTo>
                    <a:pt x="100769" y="64457"/>
                  </a:lnTo>
                  <a:lnTo>
                    <a:pt x="101538" y="64457"/>
                  </a:lnTo>
                  <a:lnTo>
                    <a:pt x="102692" y="66514"/>
                  </a:lnTo>
                  <a:lnTo>
                    <a:pt x="103461" y="67885"/>
                  </a:lnTo>
                  <a:lnTo>
                    <a:pt x="103461" y="67885"/>
                  </a:lnTo>
                  <a:lnTo>
                    <a:pt x="103461" y="67885"/>
                  </a:lnTo>
                  <a:lnTo>
                    <a:pt x="103461" y="67885"/>
                  </a:lnTo>
                  <a:lnTo>
                    <a:pt x="103461" y="69257"/>
                  </a:lnTo>
                  <a:lnTo>
                    <a:pt x="104230" y="69257"/>
                  </a:lnTo>
                  <a:lnTo>
                    <a:pt x="103461" y="69257"/>
                  </a:lnTo>
                  <a:lnTo>
                    <a:pt x="103461" y="69257"/>
                  </a:lnTo>
                  <a:lnTo>
                    <a:pt x="103461" y="69257"/>
                  </a:lnTo>
                  <a:lnTo>
                    <a:pt x="102692" y="71314"/>
                  </a:lnTo>
                  <a:lnTo>
                    <a:pt x="101538" y="72685"/>
                  </a:lnTo>
                  <a:lnTo>
                    <a:pt x="101538" y="72685"/>
                  </a:lnTo>
                  <a:lnTo>
                    <a:pt x="101538" y="72685"/>
                  </a:lnTo>
                  <a:lnTo>
                    <a:pt x="102692" y="74057"/>
                  </a:lnTo>
                  <a:lnTo>
                    <a:pt x="102692" y="74057"/>
                  </a:lnTo>
                  <a:lnTo>
                    <a:pt x="102692" y="74057"/>
                  </a:lnTo>
                  <a:lnTo>
                    <a:pt x="103461" y="74057"/>
                  </a:lnTo>
                  <a:lnTo>
                    <a:pt x="103461" y="76114"/>
                  </a:lnTo>
                  <a:lnTo>
                    <a:pt x="104230" y="76114"/>
                  </a:lnTo>
                  <a:lnTo>
                    <a:pt x="104230" y="76114"/>
                  </a:lnTo>
                  <a:lnTo>
                    <a:pt x="106153" y="76114"/>
                  </a:lnTo>
                  <a:lnTo>
                    <a:pt x="106153" y="76114"/>
                  </a:lnTo>
                  <a:lnTo>
                    <a:pt x="106153" y="76114"/>
                  </a:lnTo>
                  <a:lnTo>
                    <a:pt x="107307" y="76114"/>
                  </a:lnTo>
                  <a:lnTo>
                    <a:pt x="108846" y="76114"/>
                  </a:lnTo>
                  <a:lnTo>
                    <a:pt x="108846" y="76114"/>
                  </a:lnTo>
                  <a:lnTo>
                    <a:pt x="110000" y="76114"/>
                  </a:lnTo>
                  <a:lnTo>
                    <a:pt x="110000" y="76114"/>
                  </a:lnTo>
                  <a:lnTo>
                    <a:pt x="110769" y="76114"/>
                  </a:lnTo>
                  <a:lnTo>
                    <a:pt x="110769" y="76114"/>
                  </a:lnTo>
                  <a:lnTo>
                    <a:pt x="110769" y="76114"/>
                  </a:lnTo>
                  <a:lnTo>
                    <a:pt x="110769" y="76114"/>
                  </a:lnTo>
                  <a:lnTo>
                    <a:pt x="111538" y="77485"/>
                  </a:lnTo>
                  <a:lnTo>
                    <a:pt x="111538" y="76114"/>
                  </a:lnTo>
                  <a:lnTo>
                    <a:pt x="112692" y="76114"/>
                  </a:lnTo>
                  <a:lnTo>
                    <a:pt x="112692" y="76114"/>
                  </a:lnTo>
                  <a:lnTo>
                    <a:pt x="112692" y="76114"/>
                  </a:lnTo>
                  <a:lnTo>
                    <a:pt x="112692" y="74057"/>
                  </a:lnTo>
                  <a:lnTo>
                    <a:pt x="113461" y="74057"/>
                  </a:lnTo>
                  <a:lnTo>
                    <a:pt x="113461" y="72685"/>
                  </a:lnTo>
                  <a:lnTo>
                    <a:pt x="114230" y="72685"/>
                  </a:lnTo>
                  <a:lnTo>
                    <a:pt x="114230" y="72685"/>
                  </a:lnTo>
                  <a:lnTo>
                    <a:pt x="114230" y="72685"/>
                  </a:lnTo>
                  <a:lnTo>
                    <a:pt x="114230" y="72685"/>
                  </a:lnTo>
                  <a:lnTo>
                    <a:pt x="115384" y="72685"/>
                  </a:lnTo>
                  <a:lnTo>
                    <a:pt x="115384" y="72685"/>
                  </a:lnTo>
                  <a:lnTo>
                    <a:pt x="115384" y="72685"/>
                  </a:lnTo>
                  <a:lnTo>
                    <a:pt x="115384" y="71314"/>
                  </a:lnTo>
                  <a:lnTo>
                    <a:pt x="115384" y="71314"/>
                  </a:lnTo>
                  <a:lnTo>
                    <a:pt x="115384" y="71314"/>
                  </a:lnTo>
                  <a:lnTo>
                    <a:pt x="115384" y="71314"/>
                  </a:lnTo>
                  <a:lnTo>
                    <a:pt x="116153" y="71314"/>
                  </a:lnTo>
                  <a:lnTo>
                    <a:pt x="116153" y="71314"/>
                  </a:lnTo>
                  <a:lnTo>
                    <a:pt x="116923" y="71314"/>
                  </a:lnTo>
                  <a:lnTo>
                    <a:pt x="116923" y="71314"/>
                  </a:lnTo>
                  <a:lnTo>
                    <a:pt x="116923" y="69257"/>
                  </a:lnTo>
                  <a:lnTo>
                    <a:pt x="118846" y="67885"/>
                  </a:lnTo>
                  <a:lnTo>
                    <a:pt x="120000" y="67885"/>
                  </a:lnTo>
                  <a:lnTo>
                    <a:pt x="120000" y="67885"/>
                  </a:lnTo>
                  <a:close/>
                  <a:moveTo>
                    <a:pt x="102692" y="66514"/>
                  </a:moveTo>
                  <a:lnTo>
                    <a:pt x="102692" y="64457"/>
                  </a:lnTo>
                  <a:lnTo>
                    <a:pt x="101538" y="64457"/>
                  </a:lnTo>
                  <a:lnTo>
                    <a:pt x="102692" y="64457"/>
                  </a:lnTo>
                  <a:lnTo>
                    <a:pt x="102692" y="64457"/>
                  </a:lnTo>
                  <a:lnTo>
                    <a:pt x="102692" y="66514"/>
                  </a:lnTo>
                  <a:lnTo>
                    <a:pt x="102692" y="66514"/>
                  </a:lnTo>
                  <a:lnTo>
                    <a:pt x="102692" y="66514"/>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58" name="Shape 358"/>
            <p:cNvSpPr/>
            <p:nvPr/>
          </p:nvSpPr>
          <p:spPr>
            <a:xfrm>
              <a:off x="2630" y="3443"/>
              <a:ext cx="0" cy="0"/>
            </a:xfrm>
            <a:custGeom>
              <a:avLst/>
              <a:gdLst/>
              <a:ahLst/>
              <a:cxnLst/>
              <a:rect l="0" t="0" r="0" b="0"/>
              <a:pathLst>
                <a:path w="120000" h="120000" extrusionOk="0">
                  <a:moveTo>
                    <a:pt x="117446" y="89108"/>
                  </a:moveTo>
                  <a:lnTo>
                    <a:pt x="114893" y="89108"/>
                  </a:lnTo>
                  <a:lnTo>
                    <a:pt x="114893" y="86732"/>
                  </a:lnTo>
                  <a:lnTo>
                    <a:pt x="114893" y="86732"/>
                  </a:lnTo>
                  <a:lnTo>
                    <a:pt x="114893" y="84356"/>
                  </a:lnTo>
                  <a:lnTo>
                    <a:pt x="111063" y="76039"/>
                  </a:lnTo>
                  <a:lnTo>
                    <a:pt x="111063" y="76039"/>
                  </a:lnTo>
                  <a:lnTo>
                    <a:pt x="114893" y="72475"/>
                  </a:lnTo>
                  <a:lnTo>
                    <a:pt x="114893" y="72475"/>
                  </a:lnTo>
                  <a:lnTo>
                    <a:pt x="117446" y="70099"/>
                  </a:lnTo>
                  <a:lnTo>
                    <a:pt x="117446" y="66534"/>
                  </a:lnTo>
                  <a:lnTo>
                    <a:pt x="120000" y="64158"/>
                  </a:lnTo>
                  <a:lnTo>
                    <a:pt x="117446" y="64158"/>
                  </a:lnTo>
                  <a:lnTo>
                    <a:pt x="117446" y="61782"/>
                  </a:lnTo>
                  <a:lnTo>
                    <a:pt x="114893" y="61782"/>
                  </a:lnTo>
                  <a:lnTo>
                    <a:pt x="108510" y="58217"/>
                  </a:lnTo>
                  <a:lnTo>
                    <a:pt x="105957" y="55841"/>
                  </a:lnTo>
                  <a:lnTo>
                    <a:pt x="105957" y="53465"/>
                  </a:lnTo>
                  <a:lnTo>
                    <a:pt x="102127" y="49900"/>
                  </a:lnTo>
                  <a:lnTo>
                    <a:pt x="102127" y="49900"/>
                  </a:lnTo>
                  <a:lnTo>
                    <a:pt x="102127" y="47524"/>
                  </a:lnTo>
                  <a:lnTo>
                    <a:pt x="99574" y="47524"/>
                  </a:lnTo>
                  <a:lnTo>
                    <a:pt x="99574" y="47524"/>
                  </a:lnTo>
                  <a:lnTo>
                    <a:pt x="95744" y="45148"/>
                  </a:lnTo>
                  <a:lnTo>
                    <a:pt x="95744" y="45148"/>
                  </a:lnTo>
                  <a:lnTo>
                    <a:pt x="93191" y="45148"/>
                  </a:lnTo>
                  <a:lnTo>
                    <a:pt x="90638" y="41584"/>
                  </a:lnTo>
                  <a:lnTo>
                    <a:pt x="86808" y="39207"/>
                  </a:lnTo>
                  <a:lnTo>
                    <a:pt x="84255" y="35643"/>
                  </a:lnTo>
                  <a:lnTo>
                    <a:pt x="81702" y="35643"/>
                  </a:lnTo>
                  <a:lnTo>
                    <a:pt x="77872" y="33267"/>
                  </a:lnTo>
                  <a:lnTo>
                    <a:pt x="72765" y="30891"/>
                  </a:lnTo>
                  <a:lnTo>
                    <a:pt x="68936" y="27326"/>
                  </a:lnTo>
                  <a:lnTo>
                    <a:pt x="66382" y="30891"/>
                  </a:lnTo>
                  <a:lnTo>
                    <a:pt x="66382" y="27326"/>
                  </a:lnTo>
                  <a:lnTo>
                    <a:pt x="63829" y="27326"/>
                  </a:lnTo>
                  <a:lnTo>
                    <a:pt x="63829" y="24950"/>
                  </a:lnTo>
                  <a:lnTo>
                    <a:pt x="60000" y="24950"/>
                  </a:lnTo>
                  <a:lnTo>
                    <a:pt x="60000" y="24950"/>
                  </a:lnTo>
                  <a:lnTo>
                    <a:pt x="60000" y="22574"/>
                  </a:lnTo>
                  <a:lnTo>
                    <a:pt x="57446" y="19009"/>
                  </a:lnTo>
                  <a:lnTo>
                    <a:pt x="53617" y="19009"/>
                  </a:lnTo>
                  <a:lnTo>
                    <a:pt x="53617" y="16633"/>
                  </a:lnTo>
                  <a:lnTo>
                    <a:pt x="53617" y="19009"/>
                  </a:lnTo>
                  <a:lnTo>
                    <a:pt x="51063" y="19009"/>
                  </a:lnTo>
                  <a:lnTo>
                    <a:pt x="51063" y="19009"/>
                  </a:lnTo>
                  <a:lnTo>
                    <a:pt x="51063" y="19009"/>
                  </a:lnTo>
                  <a:lnTo>
                    <a:pt x="51063" y="22574"/>
                  </a:lnTo>
                  <a:lnTo>
                    <a:pt x="48510" y="22574"/>
                  </a:lnTo>
                  <a:lnTo>
                    <a:pt x="48510" y="22574"/>
                  </a:lnTo>
                  <a:lnTo>
                    <a:pt x="44680" y="22574"/>
                  </a:lnTo>
                  <a:lnTo>
                    <a:pt x="44680" y="22574"/>
                  </a:lnTo>
                  <a:lnTo>
                    <a:pt x="44680" y="22574"/>
                  </a:lnTo>
                  <a:lnTo>
                    <a:pt x="44680" y="22574"/>
                  </a:lnTo>
                  <a:lnTo>
                    <a:pt x="44680" y="16633"/>
                  </a:lnTo>
                  <a:lnTo>
                    <a:pt x="42127" y="16633"/>
                  </a:lnTo>
                  <a:lnTo>
                    <a:pt x="42127" y="14257"/>
                  </a:lnTo>
                  <a:lnTo>
                    <a:pt x="39574" y="10693"/>
                  </a:lnTo>
                  <a:lnTo>
                    <a:pt x="33191" y="8316"/>
                  </a:lnTo>
                  <a:lnTo>
                    <a:pt x="24255" y="2376"/>
                  </a:lnTo>
                  <a:lnTo>
                    <a:pt x="21702" y="0"/>
                  </a:lnTo>
                  <a:lnTo>
                    <a:pt x="17872" y="0"/>
                  </a:lnTo>
                  <a:lnTo>
                    <a:pt x="17872" y="0"/>
                  </a:lnTo>
                  <a:lnTo>
                    <a:pt x="15319" y="0"/>
                  </a:lnTo>
                  <a:lnTo>
                    <a:pt x="15319" y="2376"/>
                  </a:lnTo>
                  <a:lnTo>
                    <a:pt x="15319" y="2376"/>
                  </a:lnTo>
                  <a:lnTo>
                    <a:pt x="8936" y="2376"/>
                  </a:lnTo>
                  <a:lnTo>
                    <a:pt x="6382" y="2376"/>
                  </a:lnTo>
                  <a:lnTo>
                    <a:pt x="2553" y="2376"/>
                  </a:lnTo>
                  <a:lnTo>
                    <a:pt x="2553" y="2376"/>
                  </a:lnTo>
                  <a:lnTo>
                    <a:pt x="2553" y="4752"/>
                  </a:lnTo>
                  <a:lnTo>
                    <a:pt x="2553" y="4752"/>
                  </a:lnTo>
                  <a:lnTo>
                    <a:pt x="0" y="8316"/>
                  </a:lnTo>
                  <a:lnTo>
                    <a:pt x="0" y="10693"/>
                  </a:lnTo>
                  <a:lnTo>
                    <a:pt x="2553" y="14257"/>
                  </a:lnTo>
                  <a:lnTo>
                    <a:pt x="2553" y="19009"/>
                  </a:lnTo>
                  <a:lnTo>
                    <a:pt x="2553" y="19009"/>
                  </a:lnTo>
                  <a:lnTo>
                    <a:pt x="2553" y="19009"/>
                  </a:lnTo>
                  <a:lnTo>
                    <a:pt x="2553" y="22574"/>
                  </a:lnTo>
                  <a:lnTo>
                    <a:pt x="2553" y="22574"/>
                  </a:lnTo>
                  <a:lnTo>
                    <a:pt x="2553" y="24950"/>
                  </a:lnTo>
                  <a:lnTo>
                    <a:pt x="2553" y="27326"/>
                  </a:lnTo>
                  <a:lnTo>
                    <a:pt x="2553" y="27326"/>
                  </a:lnTo>
                  <a:lnTo>
                    <a:pt x="0" y="30891"/>
                  </a:lnTo>
                  <a:lnTo>
                    <a:pt x="0" y="33267"/>
                  </a:lnTo>
                  <a:lnTo>
                    <a:pt x="2553" y="35643"/>
                  </a:lnTo>
                  <a:lnTo>
                    <a:pt x="2553" y="35643"/>
                  </a:lnTo>
                  <a:lnTo>
                    <a:pt x="2553" y="35643"/>
                  </a:lnTo>
                  <a:lnTo>
                    <a:pt x="2553" y="39207"/>
                  </a:lnTo>
                  <a:lnTo>
                    <a:pt x="2553" y="41584"/>
                  </a:lnTo>
                  <a:lnTo>
                    <a:pt x="2553" y="41584"/>
                  </a:lnTo>
                  <a:lnTo>
                    <a:pt x="0" y="45148"/>
                  </a:lnTo>
                  <a:lnTo>
                    <a:pt x="0" y="45148"/>
                  </a:lnTo>
                  <a:lnTo>
                    <a:pt x="0" y="47524"/>
                  </a:lnTo>
                  <a:lnTo>
                    <a:pt x="2553" y="47524"/>
                  </a:lnTo>
                  <a:lnTo>
                    <a:pt x="2553" y="49900"/>
                  </a:lnTo>
                  <a:lnTo>
                    <a:pt x="2553" y="49900"/>
                  </a:lnTo>
                  <a:lnTo>
                    <a:pt x="2553" y="53465"/>
                  </a:lnTo>
                  <a:lnTo>
                    <a:pt x="2553" y="55841"/>
                  </a:lnTo>
                  <a:lnTo>
                    <a:pt x="2553" y="58217"/>
                  </a:lnTo>
                  <a:lnTo>
                    <a:pt x="6382" y="61782"/>
                  </a:lnTo>
                  <a:lnTo>
                    <a:pt x="6382" y="64158"/>
                  </a:lnTo>
                  <a:lnTo>
                    <a:pt x="8936" y="70099"/>
                  </a:lnTo>
                  <a:lnTo>
                    <a:pt x="8936" y="70099"/>
                  </a:lnTo>
                  <a:lnTo>
                    <a:pt x="8936" y="72475"/>
                  </a:lnTo>
                  <a:lnTo>
                    <a:pt x="6382" y="76039"/>
                  </a:lnTo>
                  <a:lnTo>
                    <a:pt x="6382" y="76039"/>
                  </a:lnTo>
                  <a:lnTo>
                    <a:pt x="2553" y="76039"/>
                  </a:lnTo>
                  <a:lnTo>
                    <a:pt x="2553" y="78415"/>
                  </a:lnTo>
                  <a:lnTo>
                    <a:pt x="2553" y="84356"/>
                  </a:lnTo>
                  <a:lnTo>
                    <a:pt x="6382" y="89108"/>
                  </a:lnTo>
                  <a:lnTo>
                    <a:pt x="6382" y="95049"/>
                  </a:lnTo>
                  <a:lnTo>
                    <a:pt x="11489" y="97425"/>
                  </a:lnTo>
                  <a:lnTo>
                    <a:pt x="17872" y="103366"/>
                  </a:lnTo>
                  <a:lnTo>
                    <a:pt x="21702" y="106930"/>
                  </a:lnTo>
                  <a:lnTo>
                    <a:pt x="21702" y="109306"/>
                  </a:lnTo>
                  <a:lnTo>
                    <a:pt x="24255" y="109306"/>
                  </a:lnTo>
                  <a:lnTo>
                    <a:pt x="30638" y="109306"/>
                  </a:lnTo>
                  <a:lnTo>
                    <a:pt x="39574" y="109306"/>
                  </a:lnTo>
                  <a:lnTo>
                    <a:pt x="44680" y="115247"/>
                  </a:lnTo>
                  <a:lnTo>
                    <a:pt x="57446" y="115247"/>
                  </a:lnTo>
                  <a:lnTo>
                    <a:pt x="57446" y="117623"/>
                  </a:lnTo>
                  <a:lnTo>
                    <a:pt x="60000" y="120000"/>
                  </a:lnTo>
                  <a:lnTo>
                    <a:pt x="63829" y="120000"/>
                  </a:lnTo>
                  <a:lnTo>
                    <a:pt x="63829" y="120000"/>
                  </a:lnTo>
                  <a:lnTo>
                    <a:pt x="68936" y="117623"/>
                  </a:lnTo>
                  <a:lnTo>
                    <a:pt x="72765" y="115247"/>
                  </a:lnTo>
                  <a:lnTo>
                    <a:pt x="81702" y="117623"/>
                  </a:lnTo>
                  <a:lnTo>
                    <a:pt x="84255" y="120000"/>
                  </a:lnTo>
                  <a:lnTo>
                    <a:pt x="86808" y="120000"/>
                  </a:lnTo>
                  <a:lnTo>
                    <a:pt x="90638" y="120000"/>
                  </a:lnTo>
                  <a:lnTo>
                    <a:pt x="102127" y="115247"/>
                  </a:lnTo>
                  <a:lnTo>
                    <a:pt x="105957" y="115247"/>
                  </a:lnTo>
                  <a:lnTo>
                    <a:pt x="105957" y="115247"/>
                  </a:lnTo>
                  <a:lnTo>
                    <a:pt x="108510" y="109306"/>
                  </a:lnTo>
                  <a:lnTo>
                    <a:pt x="114893" y="106930"/>
                  </a:lnTo>
                  <a:lnTo>
                    <a:pt x="114893" y="103366"/>
                  </a:lnTo>
                  <a:lnTo>
                    <a:pt x="117446" y="97425"/>
                  </a:lnTo>
                  <a:lnTo>
                    <a:pt x="117446" y="92673"/>
                  </a:lnTo>
                  <a:lnTo>
                    <a:pt x="117446" y="92673"/>
                  </a:lnTo>
                  <a:lnTo>
                    <a:pt x="120000" y="89108"/>
                  </a:lnTo>
                  <a:lnTo>
                    <a:pt x="117446" y="89108"/>
                  </a:lnTo>
                  <a:lnTo>
                    <a:pt x="117446" y="89108"/>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59" name="Shape 359"/>
            <p:cNvSpPr/>
            <p:nvPr/>
          </p:nvSpPr>
          <p:spPr>
            <a:xfrm>
              <a:off x="739" y="1346"/>
              <a:ext cx="5700" cy="1200"/>
            </a:xfrm>
            <a:custGeom>
              <a:avLst/>
              <a:gdLst/>
              <a:ahLst/>
              <a:cxnLst/>
              <a:rect l="0" t="0" r="0" b="0"/>
              <a:pathLst>
                <a:path w="120000" h="120000" extrusionOk="0">
                  <a:moveTo>
                    <a:pt x="11146" y="27005"/>
                  </a:moveTo>
                  <a:lnTo>
                    <a:pt x="11356" y="26553"/>
                  </a:lnTo>
                  <a:lnTo>
                    <a:pt x="11293" y="26553"/>
                  </a:lnTo>
                  <a:lnTo>
                    <a:pt x="11209" y="26553"/>
                  </a:lnTo>
                  <a:lnTo>
                    <a:pt x="11146" y="26779"/>
                  </a:lnTo>
                  <a:lnTo>
                    <a:pt x="11146" y="26779"/>
                  </a:lnTo>
                  <a:lnTo>
                    <a:pt x="11104" y="27005"/>
                  </a:lnTo>
                  <a:lnTo>
                    <a:pt x="11146" y="27005"/>
                  </a:lnTo>
                  <a:lnTo>
                    <a:pt x="11146" y="27005"/>
                  </a:lnTo>
                  <a:close/>
                  <a:moveTo>
                    <a:pt x="14868" y="23050"/>
                  </a:moveTo>
                  <a:lnTo>
                    <a:pt x="14910" y="22711"/>
                  </a:lnTo>
                  <a:lnTo>
                    <a:pt x="14910" y="22711"/>
                  </a:lnTo>
                  <a:lnTo>
                    <a:pt x="14910" y="22711"/>
                  </a:lnTo>
                  <a:lnTo>
                    <a:pt x="14868" y="23050"/>
                  </a:lnTo>
                  <a:lnTo>
                    <a:pt x="14826" y="23050"/>
                  </a:lnTo>
                  <a:lnTo>
                    <a:pt x="14826" y="23050"/>
                  </a:lnTo>
                  <a:lnTo>
                    <a:pt x="14868" y="23050"/>
                  </a:lnTo>
                  <a:close/>
                  <a:moveTo>
                    <a:pt x="16803" y="22259"/>
                  </a:moveTo>
                  <a:lnTo>
                    <a:pt x="16803" y="22259"/>
                  </a:lnTo>
                  <a:lnTo>
                    <a:pt x="16803" y="22259"/>
                  </a:lnTo>
                  <a:lnTo>
                    <a:pt x="16803" y="22259"/>
                  </a:lnTo>
                  <a:lnTo>
                    <a:pt x="16803" y="22485"/>
                  </a:lnTo>
                  <a:lnTo>
                    <a:pt x="16950" y="22485"/>
                  </a:lnTo>
                  <a:lnTo>
                    <a:pt x="16908" y="22485"/>
                  </a:lnTo>
                  <a:lnTo>
                    <a:pt x="16845" y="22711"/>
                  </a:lnTo>
                  <a:lnTo>
                    <a:pt x="16845" y="22711"/>
                  </a:lnTo>
                  <a:lnTo>
                    <a:pt x="16803" y="22711"/>
                  </a:lnTo>
                  <a:lnTo>
                    <a:pt x="16803" y="22711"/>
                  </a:lnTo>
                  <a:lnTo>
                    <a:pt x="16845" y="22711"/>
                  </a:lnTo>
                  <a:lnTo>
                    <a:pt x="16845" y="23050"/>
                  </a:lnTo>
                  <a:lnTo>
                    <a:pt x="16908" y="23050"/>
                  </a:lnTo>
                  <a:lnTo>
                    <a:pt x="16950" y="23050"/>
                  </a:lnTo>
                  <a:lnTo>
                    <a:pt x="16992" y="23050"/>
                  </a:lnTo>
                  <a:lnTo>
                    <a:pt x="17055" y="22711"/>
                  </a:lnTo>
                  <a:lnTo>
                    <a:pt x="17097" y="22711"/>
                  </a:lnTo>
                  <a:lnTo>
                    <a:pt x="17139" y="22485"/>
                  </a:lnTo>
                  <a:lnTo>
                    <a:pt x="17245" y="22485"/>
                  </a:lnTo>
                  <a:lnTo>
                    <a:pt x="17245" y="22485"/>
                  </a:lnTo>
                  <a:lnTo>
                    <a:pt x="17202" y="22485"/>
                  </a:lnTo>
                  <a:lnTo>
                    <a:pt x="17139" y="22711"/>
                  </a:lnTo>
                  <a:lnTo>
                    <a:pt x="17097" y="22711"/>
                  </a:lnTo>
                  <a:lnTo>
                    <a:pt x="17055" y="23050"/>
                  </a:lnTo>
                  <a:lnTo>
                    <a:pt x="17055" y="23276"/>
                  </a:lnTo>
                  <a:lnTo>
                    <a:pt x="17055" y="23276"/>
                  </a:lnTo>
                  <a:lnTo>
                    <a:pt x="17055" y="23276"/>
                  </a:lnTo>
                  <a:lnTo>
                    <a:pt x="17055" y="23276"/>
                  </a:lnTo>
                  <a:lnTo>
                    <a:pt x="17097" y="23276"/>
                  </a:lnTo>
                  <a:lnTo>
                    <a:pt x="17139" y="23615"/>
                  </a:lnTo>
                  <a:lnTo>
                    <a:pt x="17139" y="23615"/>
                  </a:lnTo>
                  <a:lnTo>
                    <a:pt x="17139" y="23615"/>
                  </a:lnTo>
                  <a:lnTo>
                    <a:pt x="17139" y="23841"/>
                  </a:lnTo>
                  <a:lnTo>
                    <a:pt x="17139" y="23841"/>
                  </a:lnTo>
                  <a:lnTo>
                    <a:pt x="17097" y="23841"/>
                  </a:lnTo>
                  <a:lnTo>
                    <a:pt x="17139" y="23841"/>
                  </a:lnTo>
                  <a:lnTo>
                    <a:pt x="17245" y="23841"/>
                  </a:lnTo>
                  <a:lnTo>
                    <a:pt x="17350" y="23841"/>
                  </a:lnTo>
                  <a:lnTo>
                    <a:pt x="17539" y="23615"/>
                  </a:lnTo>
                  <a:lnTo>
                    <a:pt x="17644" y="23615"/>
                  </a:lnTo>
                  <a:lnTo>
                    <a:pt x="17749" y="23841"/>
                  </a:lnTo>
                  <a:lnTo>
                    <a:pt x="17896" y="23841"/>
                  </a:lnTo>
                  <a:lnTo>
                    <a:pt x="17939" y="23841"/>
                  </a:lnTo>
                  <a:lnTo>
                    <a:pt x="17939" y="23841"/>
                  </a:lnTo>
                  <a:lnTo>
                    <a:pt x="17981" y="23841"/>
                  </a:lnTo>
                  <a:lnTo>
                    <a:pt x="17981" y="23615"/>
                  </a:lnTo>
                  <a:lnTo>
                    <a:pt x="17981" y="23615"/>
                  </a:lnTo>
                  <a:lnTo>
                    <a:pt x="18044" y="23615"/>
                  </a:lnTo>
                  <a:lnTo>
                    <a:pt x="18044" y="23615"/>
                  </a:lnTo>
                  <a:lnTo>
                    <a:pt x="18044" y="23615"/>
                  </a:lnTo>
                  <a:lnTo>
                    <a:pt x="17981" y="23841"/>
                  </a:lnTo>
                  <a:lnTo>
                    <a:pt x="17981" y="23841"/>
                  </a:lnTo>
                  <a:lnTo>
                    <a:pt x="17939" y="24067"/>
                  </a:lnTo>
                  <a:lnTo>
                    <a:pt x="17939" y="24067"/>
                  </a:lnTo>
                  <a:lnTo>
                    <a:pt x="18044" y="24406"/>
                  </a:lnTo>
                  <a:lnTo>
                    <a:pt x="18086" y="24406"/>
                  </a:lnTo>
                  <a:lnTo>
                    <a:pt x="18149" y="24406"/>
                  </a:lnTo>
                  <a:lnTo>
                    <a:pt x="18233" y="24406"/>
                  </a:lnTo>
                  <a:lnTo>
                    <a:pt x="18338" y="24406"/>
                  </a:lnTo>
                  <a:lnTo>
                    <a:pt x="18380" y="24067"/>
                  </a:lnTo>
                  <a:lnTo>
                    <a:pt x="18527" y="23841"/>
                  </a:lnTo>
                  <a:lnTo>
                    <a:pt x="18590" y="23841"/>
                  </a:lnTo>
                  <a:lnTo>
                    <a:pt x="18590" y="23841"/>
                  </a:lnTo>
                  <a:lnTo>
                    <a:pt x="18590" y="23841"/>
                  </a:lnTo>
                  <a:lnTo>
                    <a:pt x="18590" y="24067"/>
                  </a:lnTo>
                  <a:lnTo>
                    <a:pt x="18633" y="24067"/>
                  </a:lnTo>
                  <a:lnTo>
                    <a:pt x="18633" y="24406"/>
                  </a:lnTo>
                  <a:lnTo>
                    <a:pt x="18590" y="24067"/>
                  </a:lnTo>
                  <a:lnTo>
                    <a:pt x="18590" y="24406"/>
                  </a:lnTo>
                  <a:lnTo>
                    <a:pt x="18527" y="24406"/>
                  </a:lnTo>
                  <a:lnTo>
                    <a:pt x="18527" y="24406"/>
                  </a:lnTo>
                  <a:lnTo>
                    <a:pt x="18485" y="24632"/>
                  </a:lnTo>
                  <a:lnTo>
                    <a:pt x="18485" y="24632"/>
                  </a:lnTo>
                  <a:lnTo>
                    <a:pt x="18443" y="24632"/>
                  </a:lnTo>
                  <a:lnTo>
                    <a:pt x="18485" y="24406"/>
                  </a:lnTo>
                  <a:lnTo>
                    <a:pt x="18527" y="24067"/>
                  </a:lnTo>
                  <a:lnTo>
                    <a:pt x="18590" y="24067"/>
                  </a:lnTo>
                  <a:lnTo>
                    <a:pt x="18527" y="23841"/>
                  </a:lnTo>
                  <a:lnTo>
                    <a:pt x="18527" y="23841"/>
                  </a:lnTo>
                  <a:lnTo>
                    <a:pt x="18527" y="23841"/>
                  </a:lnTo>
                  <a:lnTo>
                    <a:pt x="18527" y="24067"/>
                  </a:lnTo>
                  <a:lnTo>
                    <a:pt x="18485" y="24067"/>
                  </a:lnTo>
                  <a:lnTo>
                    <a:pt x="18485" y="24067"/>
                  </a:lnTo>
                  <a:lnTo>
                    <a:pt x="18485" y="24067"/>
                  </a:lnTo>
                  <a:lnTo>
                    <a:pt x="18443" y="24406"/>
                  </a:lnTo>
                  <a:lnTo>
                    <a:pt x="18443" y="24406"/>
                  </a:lnTo>
                  <a:lnTo>
                    <a:pt x="18443" y="24632"/>
                  </a:lnTo>
                  <a:lnTo>
                    <a:pt x="18338" y="24632"/>
                  </a:lnTo>
                  <a:lnTo>
                    <a:pt x="18338" y="24632"/>
                  </a:lnTo>
                  <a:lnTo>
                    <a:pt x="18296" y="24858"/>
                  </a:lnTo>
                  <a:lnTo>
                    <a:pt x="18296" y="24858"/>
                  </a:lnTo>
                  <a:lnTo>
                    <a:pt x="18296" y="24858"/>
                  </a:lnTo>
                  <a:lnTo>
                    <a:pt x="18296" y="24858"/>
                  </a:lnTo>
                  <a:lnTo>
                    <a:pt x="18296" y="25197"/>
                  </a:lnTo>
                  <a:lnTo>
                    <a:pt x="18338" y="25197"/>
                  </a:lnTo>
                  <a:lnTo>
                    <a:pt x="18443" y="25423"/>
                  </a:lnTo>
                  <a:lnTo>
                    <a:pt x="18443" y="25649"/>
                  </a:lnTo>
                  <a:lnTo>
                    <a:pt x="18485" y="25649"/>
                  </a:lnTo>
                  <a:lnTo>
                    <a:pt x="18485" y="25649"/>
                  </a:lnTo>
                  <a:lnTo>
                    <a:pt x="18485" y="25649"/>
                  </a:lnTo>
                  <a:lnTo>
                    <a:pt x="18485" y="25649"/>
                  </a:lnTo>
                  <a:lnTo>
                    <a:pt x="18485" y="25649"/>
                  </a:lnTo>
                  <a:lnTo>
                    <a:pt x="18527" y="25988"/>
                  </a:lnTo>
                  <a:lnTo>
                    <a:pt x="18527" y="25988"/>
                  </a:lnTo>
                  <a:lnTo>
                    <a:pt x="18527" y="26214"/>
                  </a:lnTo>
                  <a:lnTo>
                    <a:pt x="18527" y="26214"/>
                  </a:lnTo>
                  <a:lnTo>
                    <a:pt x="18527" y="26553"/>
                  </a:lnTo>
                  <a:lnTo>
                    <a:pt x="18527" y="26553"/>
                  </a:lnTo>
                  <a:lnTo>
                    <a:pt x="18527" y="26779"/>
                  </a:lnTo>
                  <a:lnTo>
                    <a:pt x="18527" y="26779"/>
                  </a:lnTo>
                  <a:lnTo>
                    <a:pt x="18590" y="26779"/>
                  </a:lnTo>
                  <a:lnTo>
                    <a:pt x="18590" y="26779"/>
                  </a:lnTo>
                  <a:lnTo>
                    <a:pt x="18527" y="27005"/>
                  </a:lnTo>
                  <a:lnTo>
                    <a:pt x="18527" y="27005"/>
                  </a:lnTo>
                  <a:lnTo>
                    <a:pt x="18633" y="27344"/>
                  </a:lnTo>
                  <a:lnTo>
                    <a:pt x="18675" y="27570"/>
                  </a:lnTo>
                  <a:lnTo>
                    <a:pt x="18675" y="27570"/>
                  </a:lnTo>
                  <a:lnTo>
                    <a:pt x="18738" y="27796"/>
                  </a:lnTo>
                  <a:lnTo>
                    <a:pt x="18738" y="27796"/>
                  </a:lnTo>
                  <a:lnTo>
                    <a:pt x="18780" y="27570"/>
                  </a:lnTo>
                  <a:lnTo>
                    <a:pt x="18885" y="27570"/>
                  </a:lnTo>
                  <a:lnTo>
                    <a:pt x="18927" y="27570"/>
                  </a:lnTo>
                  <a:lnTo>
                    <a:pt x="18927" y="27344"/>
                  </a:lnTo>
                  <a:lnTo>
                    <a:pt x="18990" y="27344"/>
                  </a:lnTo>
                  <a:lnTo>
                    <a:pt x="18990" y="27005"/>
                  </a:lnTo>
                  <a:lnTo>
                    <a:pt x="18990" y="27005"/>
                  </a:lnTo>
                  <a:lnTo>
                    <a:pt x="18990" y="26779"/>
                  </a:lnTo>
                  <a:lnTo>
                    <a:pt x="18927" y="26779"/>
                  </a:lnTo>
                  <a:lnTo>
                    <a:pt x="18990" y="26779"/>
                  </a:lnTo>
                  <a:lnTo>
                    <a:pt x="18990" y="26779"/>
                  </a:lnTo>
                  <a:lnTo>
                    <a:pt x="18927" y="26553"/>
                  </a:lnTo>
                  <a:lnTo>
                    <a:pt x="18927" y="26553"/>
                  </a:lnTo>
                  <a:lnTo>
                    <a:pt x="18927" y="26553"/>
                  </a:lnTo>
                  <a:lnTo>
                    <a:pt x="18927" y="26553"/>
                  </a:lnTo>
                  <a:lnTo>
                    <a:pt x="18927" y="26553"/>
                  </a:lnTo>
                  <a:lnTo>
                    <a:pt x="18885" y="26214"/>
                  </a:lnTo>
                  <a:lnTo>
                    <a:pt x="18885" y="26214"/>
                  </a:lnTo>
                  <a:lnTo>
                    <a:pt x="18822" y="26214"/>
                  </a:lnTo>
                  <a:lnTo>
                    <a:pt x="18822" y="26214"/>
                  </a:lnTo>
                  <a:lnTo>
                    <a:pt x="18885" y="26214"/>
                  </a:lnTo>
                  <a:lnTo>
                    <a:pt x="18885" y="26214"/>
                  </a:lnTo>
                  <a:lnTo>
                    <a:pt x="18927" y="26214"/>
                  </a:lnTo>
                  <a:lnTo>
                    <a:pt x="18927" y="25988"/>
                  </a:lnTo>
                  <a:lnTo>
                    <a:pt x="18927" y="25988"/>
                  </a:lnTo>
                  <a:lnTo>
                    <a:pt x="18927" y="25988"/>
                  </a:lnTo>
                  <a:lnTo>
                    <a:pt x="19032" y="26214"/>
                  </a:lnTo>
                  <a:lnTo>
                    <a:pt x="19032" y="26214"/>
                  </a:lnTo>
                  <a:lnTo>
                    <a:pt x="19032" y="26214"/>
                  </a:lnTo>
                  <a:lnTo>
                    <a:pt x="19032" y="26553"/>
                  </a:lnTo>
                  <a:lnTo>
                    <a:pt x="19032" y="26553"/>
                  </a:lnTo>
                  <a:lnTo>
                    <a:pt x="19032" y="26553"/>
                  </a:lnTo>
                  <a:lnTo>
                    <a:pt x="19032" y="26553"/>
                  </a:lnTo>
                  <a:lnTo>
                    <a:pt x="19074" y="26553"/>
                  </a:lnTo>
                  <a:lnTo>
                    <a:pt x="19074" y="26553"/>
                  </a:lnTo>
                  <a:lnTo>
                    <a:pt x="19137" y="26553"/>
                  </a:lnTo>
                  <a:lnTo>
                    <a:pt x="19137" y="26214"/>
                  </a:lnTo>
                  <a:lnTo>
                    <a:pt x="19137" y="26214"/>
                  </a:lnTo>
                  <a:lnTo>
                    <a:pt x="19137" y="26214"/>
                  </a:lnTo>
                  <a:lnTo>
                    <a:pt x="19179" y="25988"/>
                  </a:lnTo>
                  <a:lnTo>
                    <a:pt x="19179" y="25988"/>
                  </a:lnTo>
                  <a:lnTo>
                    <a:pt x="19179" y="25988"/>
                  </a:lnTo>
                  <a:lnTo>
                    <a:pt x="19179" y="26214"/>
                  </a:lnTo>
                  <a:lnTo>
                    <a:pt x="19179" y="26214"/>
                  </a:lnTo>
                  <a:lnTo>
                    <a:pt x="19221" y="26214"/>
                  </a:lnTo>
                  <a:lnTo>
                    <a:pt x="19221" y="26214"/>
                  </a:lnTo>
                  <a:lnTo>
                    <a:pt x="19137" y="26553"/>
                  </a:lnTo>
                  <a:lnTo>
                    <a:pt x="19137" y="26553"/>
                  </a:lnTo>
                  <a:lnTo>
                    <a:pt x="19074" y="26779"/>
                  </a:lnTo>
                  <a:lnTo>
                    <a:pt x="19074" y="27005"/>
                  </a:lnTo>
                  <a:lnTo>
                    <a:pt x="19032" y="27344"/>
                  </a:lnTo>
                  <a:lnTo>
                    <a:pt x="18990" y="27344"/>
                  </a:lnTo>
                  <a:lnTo>
                    <a:pt x="18990" y="27344"/>
                  </a:lnTo>
                  <a:lnTo>
                    <a:pt x="19137" y="27344"/>
                  </a:lnTo>
                  <a:lnTo>
                    <a:pt x="19137" y="27344"/>
                  </a:lnTo>
                  <a:lnTo>
                    <a:pt x="19137" y="27570"/>
                  </a:lnTo>
                  <a:lnTo>
                    <a:pt x="19137" y="27570"/>
                  </a:lnTo>
                  <a:lnTo>
                    <a:pt x="19179" y="27796"/>
                  </a:lnTo>
                  <a:lnTo>
                    <a:pt x="19179" y="27796"/>
                  </a:lnTo>
                  <a:lnTo>
                    <a:pt x="19221" y="27570"/>
                  </a:lnTo>
                  <a:lnTo>
                    <a:pt x="19221" y="27570"/>
                  </a:lnTo>
                  <a:lnTo>
                    <a:pt x="19221" y="27570"/>
                  </a:lnTo>
                  <a:lnTo>
                    <a:pt x="19284" y="27005"/>
                  </a:lnTo>
                  <a:lnTo>
                    <a:pt x="19327" y="27005"/>
                  </a:lnTo>
                  <a:lnTo>
                    <a:pt x="19327" y="26779"/>
                  </a:lnTo>
                  <a:lnTo>
                    <a:pt x="19369" y="26553"/>
                  </a:lnTo>
                  <a:lnTo>
                    <a:pt x="19369" y="26214"/>
                  </a:lnTo>
                  <a:lnTo>
                    <a:pt x="19474" y="25988"/>
                  </a:lnTo>
                  <a:lnTo>
                    <a:pt x="19474" y="25649"/>
                  </a:lnTo>
                  <a:lnTo>
                    <a:pt x="19474" y="25649"/>
                  </a:lnTo>
                  <a:lnTo>
                    <a:pt x="19516" y="25649"/>
                  </a:lnTo>
                  <a:lnTo>
                    <a:pt x="19516" y="25423"/>
                  </a:lnTo>
                  <a:lnTo>
                    <a:pt x="19516" y="25423"/>
                  </a:lnTo>
                  <a:lnTo>
                    <a:pt x="19516" y="25423"/>
                  </a:lnTo>
                  <a:lnTo>
                    <a:pt x="19579" y="25197"/>
                  </a:lnTo>
                  <a:lnTo>
                    <a:pt x="19621" y="25197"/>
                  </a:lnTo>
                  <a:lnTo>
                    <a:pt x="19621" y="25197"/>
                  </a:lnTo>
                  <a:lnTo>
                    <a:pt x="19579" y="25423"/>
                  </a:lnTo>
                  <a:lnTo>
                    <a:pt x="19516" y="25423"/>
                  </a:lnTo>
                  <a:lnTo>
                    <a:pt x="19516" y="25988"/>
                  </a:lnTo>
                  <a:lnTo>
                    <a:pt x="19432" y="26553"/>
                  </a:lnTo>
                  <a:lnTo>
                    <a:pt x="19432" y="26553"/>
                  </a:lnTo>
                  <a:lnTo>
                    <a:pt x="19432" y="26553"/>
                  </a:lnTo>
                  <a:lnTo>
                    <a:pt x="19432" y="26553"/>
                  </a:lnTo>
                  <a:lnTo>
                    <a:pt x="19432" y="26779"/>
                  </a:lnTo>
                  <a:lnTo>
                    <a:pt x="19369" y="27344"/>
                  </a:lnTo>
                  <a:lnTo>
                    <a:pt x="19369" y="27344"/>
                  </a:lnTo>
                  <a:lnTo>
                    <a:pt x="19432" y="27570"/>
                  </a:lnTo>
                  <a:lnTo>
                    <a:pt x="19474" y="27570"/>
                  </a:lnTo>
                  <a:lnTo>
                    <a:pt x="19474" y="27796"/>
                  </a:lnTo>
                  <a:lnTo>
                    <a:pt x="19474" y="27796"/>
                  </a:lnTo>
                  <a:lnTo>
                    <a:pt x="19516" y="27570"/>
                  </a:lnTo>
                  <a:lnTo>
                    <a:pt x="19579" y="27344"/>
                  </a:lnTo>
                  <a:lnTo>
                    <a:pt x="19684" y="27005"/>
                  </a:lnTo>
                  <a:lnTo>
                    <a:pt x="19684" y="27005"/>
                  </a:lnTo>
                  <a:lnTo>
                    <a:pt x="19684" y="27005"/>
                  </a:lnTo>
                  <a:lnTo>
                    <a:pt x="19684" y="27005"/>
                  </a:lnTo>
                  <a:lnTo>
                    <a:pt x="19684" y="27344"/>
                  </a:lnTo>
                  <a:lnTo>
                    <a:pt x="19516" y="27570"/>
                  </a:lnTo>
                  <a:lnTo>
                    <a:pt x="19516" y="27796"/>
                  </a:lnTo>
                  <a:lnTo>
                    <a:pt x="19474" y="28135"/>
                  </a:lnTo>
                  <a:lnTo>
                    <a:pt x="19474" y="28135"/>
                  </a:lnTo>
                  <a:lnTo>
                    <a:pt x="19474" y="28361"/>
                  </a:lnTo>
                  <a:lnTo>
                    <a:pt x="19474" y="28361"/>
                  </a:lnTo>
                  <a:lnTo>
                    <a:pt x="19474" y="28587"/>
                  </a:lnTo>
                  <a:lnTo>
                    <a:pt x="19474" y="28587"/>
                  </a:lnTo>
                  <a:lnTo>
                    <a:pt x="19474" y="28587"/>
                  </a:lnTo>
                  <a:lnTo>
                    <a:pt x="19474" y="28587"/>
                  </a:lnTo>
                  <a:lnTo>
                    <a:pt x="19516" y="28361"/>
                  </a:lnTo>
                  <a:lnTo>
                    <a:pt x="19579" y="28361"/>
                  </a:lnTo>
                  <a:lnTo>
                    <a:pt x="19621" y="28587"/>
                  </a:lnTo>
                  <a:lnTo>
                    <a:pt x="19621" y="28587"/>
                  </a:lnTo>
                  <a:lnTo>
                    <a:pt x="19516" y="28587"/>
                  </a:lnTo>
                  <a:lnTo>
                    <a:pt x="19516" y="28587"/>
                  </a:lnTo>
                  <a:lnTo>
                    <a:pt x="19516" y="28587"/>
                  </a:lnTo>
                  <a:lnTo>
                    <a:pt x="19474" y="28587"/>
                  </a:lnTo>
                  <a:lnTo>
                    <a:pt x="19474" y="28926"/>
                  </a:lnTo>
                  <a:lnTo>
                    <a:pt x="19516" y="29152"/>
                  </a:lnTo>
                  <a:lnTo>
                    <a:pt x="19516" y="29152"/>
                  </a:lnTo>
                  <a:lnTo>
                    <a:pt x="19474" y="29152"/>
                  </a:lnTo>
                  <a:lnTo>
                    <a:pt x="19432" y="28926"/>
                  </a:lnTo>
                  <a:lnTo>
                    <a:pt x="19432" y="28926"/>
                  </a:lnTo>
                  <a:lnTo>
                    <a:pt x="19432" y="28926"/>
                  </a:lnTo>
                  <a:lnTo>
                    <a:pt x="19369" y="29152"/>
                  </a:lnTo>
                  <a:lnTo>
                    <a:pt x="19369" y="29152"/>
                  </a:lnTo>
                  <a:lnTo>
                    <a:pt x="19327" y="29717"/>
                  </a:lnTo>
                  <a:lnTo>
                    <a:pt x="19284" y="29943"/>
                  </a:lnTo>
                  <a:lnTo>
                    <a:pt x="19369" y="30282"/>
                  </a:lnTo>
                  <a:lnTo>
                    <a:pt x="19432" y="30282"/>
                  </a:lnTo>
                  <a:lnTo>
                    <a:pt x="19432" y="30508"/>
                  </a:lnTo>
                  <a:lnTo>
                    <a:pt x="19369" y="30508"/>
                  </a:lnTo>
                  <a:lnTo>
                    <a:pt x="19369" y="30508"/>
                  </a:lnTo>
                  <a:lnTo>
                    <a:pt x="19369" y="30734"/>
                  </a:lnTo>
                  <a:lnTo>
                    <a:pt x="19369" y="30734"/>
                  </a:lnTo>
                  <a:lnTo>
                    <a:pt x="19369" y="31073"/>
                  </a:lnTo>
                  <a:lnTo>
                    <a:pt x="19432" y="31073"/>
                  </a:lnTo>
                  <a:lnTo>
                    <a:pt x="19369" y="31299"/>
                  </a:lnTo>
                  <a:lnTo>
                    <a:pt x="19369" y="31299"/>
                  </a:lnTo>
                  <a:lnTo>
                    <a:pt x="19369" y="31299"/>
                  </a:lnTo>
                  <a:lnTo>
                    <a:pt x="19369" y="31299"/>
                  </a:lnTo>
                  <a:lnTo>
                    <a:pt x="19369" y="31525"/>
                  </a:lnTo>
                  <a:lnTo>
                    <a:pt x="19369" y="31525"/>
                  </a:lnTo>
                  <a:lnTo>
                    <a:pt x="19369" y="31525"/>
                  </a:lnTo>
                  <a:lnTo>
                    <a:pt x="19369" y="31864"/>
                  </a:lnTo>
                  <a:lnTo>
                    <a:pt x="19369" y="31864"/>
                  </a:lnTo>
                  <a:lnTo>
                    <a:pt x="19432" y="31864"/>
                  </a:lnTo>
                  <a:lnTo>
                    <a:pt x="19432" y="32090"/>
                  </a:lnTo>
                  <a:lnTo>
                    <a:pt x="19369" y="32090"/>
                  </a:lnTo>
                  <a:lnTo>
                    <a:pt x="19369" y="32090"/>
                  </a:lnTo>
                  <a:lnTo>
                    <a:pt x="19432" y="32090"/>
                  </a:lnTo>
                  <a:lnTo>
                    <a:pt x="19474" y="32429"/>
                  </a:lnTo>
                  <a:lnTo>
                    <a:pt x="19432" y="32429"/>
                  </a:lnTo>
                  <a:lnTo>
                    <a:pt x="19369" y="32429"/>
                  </a:lnTo>
                  <a:lnTo>
                    <a:pt x="19221" y="32881"/>
                  </a:lnTo>
                  <a:lnTo>
                    <a:pt x="19179" y="33220"/>
                  </a:lnTo>
                  <a:lnTo>
                    <a:pt x="19137" y="33220"/>
                  </a:lnTo>
                  <a:lnTo>
                    <a:pt x="19074" y="33220"/>
                  </a:lnTo>
                  <a:lnTo>
                    <a:pt x="19074" y="33446"/>
                  </a:lnTo>
                  <a:lnTo>
                    <a:pt x="19032" y="33672"/>
                  </a:lnTo>
                  <a:lnTo>
                    <a:pt x="19032" y="33672"/>
                  </a:lnTo>
                  <a:lnTo>
                    <a:pt x="19074" y="33672"/>
                  </a:lnTo>
                  <a:lnTo>
                    <a:pt x="19074" y="33672"/>
                  </a:lnTo>
                  <a:lnTo>
                    <a:pt x="19179" y="33446"/>
                  </a:lnTo>
                  <a:lnTo>
                    <a:pt x="19221" y="33220"/>
                  </a:lnTo>
                  <a:lnTo>
                    <a:pt x="19221" y="33220"/>
                  </a:lnTo>
                  <a:lnTo>
                    <a:pt x="19221" y="33220"/>
                  </a:lnTo>
                  <a:lnTo>
                    <a:pt x="19284" y="33220"/>
                  </a:lnTo>
                  <a:lnTo>
                    <a:pt x="19284" y="32881"/>
                  </a:lnTo>
                  <a:lnTo>
                    <a:pt x="19284" y="32881"/>
                  </a:lnTo>
                  <a:lnTo>
                    <a:pt x="19369" y="32881"/>
                  </a:lnTo>
                  <a:lnTo>
                    <a:pt x="19474" y="32655"/>
                  </a:lnTo>
                  <a:lnTo>
                    <a:pt x="19621" y="32655"/>
                  </a:lnTo>
                  <a:lnTo>
                    <a:pt x="19579" y="32655"/>
                  </a:lnTo>
                  <a:lnTo>
                    <a:pt x="19516" y="32655"/>
                  </a:lnTo>
                  <a:lnTo>
                    <a:pt x="19516" y="32881"/>
                  </a:lnTo>
                  <a:lnTo>
                    <a:pt x="19516" y="33220"/>
                  </a:lnTo>
                  <a:lnTo>
                    <a:pt x="19516" y="33220"/>
                  </a:lnTo>
                  <a:lnTo>
                    <a:pt x="19474" y="33446"/>
                  </a:lnTo>
                  <a:lnTo>
                    <a:pt x="19432" y="33672"/>
                  </a:lnTo>
                  <a:lnTo>
                    <a:pt x="19432" y="34011"/>
                  </a:lnTo>
                  <a:lnTo>
                    <a:pt x="19369" y="34237"/>
                  </a:lnTo>
                  <a:lnTo>
                    <a:pt x="19369" y="34237"/>
                  </a:lnTo>
                  <a:lnTo>
                    <a:pt x="19369" y="34237"/>
                  </a:lnTo>
                  <a:lnTo>
                    <a:pt x="19369" y="34237"/>
                  </a:lnTo>
                  <a:lnTo>
                    <a:pt x="19284" y="34463"/>
                  </a:lnTo>
                  <a:lnTo>
                    <a:pt x="19221" y="34463"/>
                  </a:lnTo>
                  <a:lnTo>
                    <a:pt x="19221" y="34463"/>
                  </a:lnTo>
                  <a:lnTo>
                    <a:pt x="19221" y="34802"/>
                  </a:lnTo>
                  <a:lnTo>
                    <a:pt x="19179" y="35028"/>
                  </a:lnTo>
                  <a:lnTo>
                    <a:pt x="19179" y="35367"/>
                  </a:lnTo>
                  <a:lnTo>
                    <a:pt x="19221" y="35367"/>
                  </a:lnTo>
                  <a:lnTo>
                    <a:pt x="19221" y="35593"/>
                  </a:lnTo>
                  <a:lnTo>
                    <a:pt x="19284" y="35367"/>
                  </a:lnTo>
                  <a:lnTo>
                    <a:pt x="19369" y="35028"/>
                  </a:lnTo>
                  <a:lnTo>
                    <a:pt x="19474" y="34802"/>
                  </a:lnTo>
                  <a:lnTo>
                    <a:pt x="19474" y="34802"/>
                  </a:lnTo>
                  <a:lnTo>
                    <a:pt x="19516" y="34463"/>
                  </a:lnTo>
                  <a:lnTo>
                    <a:pt x="19621" y="34237"/>
                  </a:lnTo>
                  <a:lnTo>
                    <a:pt x="19621" y="34237"/>
                  </a:lnTo>
                  <a:lnTo>
                    <a:pt x="19684" y="34011"/>
                  </a:lnTo>
                  <a:lnTo>
                    <a:pt x="19684" y="33672"/>
                  </a:lnTo>
                  <a:lnTo>
                    <a:pt x="19726" y="33672"/>
                  </a:lnTo>
                  <a:lnTo>
                    <a:pt x="19726" y="33446"/>
                  </a:lnTo>
                  <a:lnTo>
                    <a:pt x="19768" y="33446"/>
                  </a:lnTo>
                  <a:lnTo>
                    <a:pt x="19768" y="33220"/>
                  </a:lnTo>
                  <a:lnTo>
                    <a:pt x="19831" y="33220"/>
                  </a:lnTo>
                  <a:lnTo>
                    <a:pt x="19873" y="32881"/>
                  </a:lnTo>
                  <a:lnTo>
                    <a:pt x="19873" y="32881"/>
                  </a:lnTo>
                  <a:lnTo>
                    <a:pt x="19915" y="32655"/>
                  </a:lnTo>
                  <a:lnTo>
                    <a:pt x="19915" y="32655"/>
                  </a:lnTo>
                  <a:lnTo>
                    <a:pt x="19915" y="32429"/>
                  </a:lnTo>
                  <a:lnTo>
                    <a:pt x="19873" y="32655"/>
                  </a:lnTo>
                  <a:lnTo>
                    <a:pt x="19831" y="32429"/>
                  </a:lnTo>
                  <a:lnTo>
                    <a:pt x="19831" y="32090"/>
                  </a:lnTo>
                  <a:lnTo>
                    <a:pt x="19831" y="32090"/>
                  </a:lnTo>
                  <a:lnTo>
                    <a:pt x="19831" y="31864"/>
                  </a:lnTo>
                  <a:lnTo>
                    <a:pt x="19768" y="31864"/>
                  </a:lnTo>
                  <a:lnTo>
                    <a:pt x="19726" y="31864"/>
                  </a:lnTo>
                  <a:lnTo>
                    <a:pt x="19726" y="31525"/>
                  </a:lnTo>
                  <a:lnTo>
                    <a:pt x="19684" y="31525"/>
                  </a:lnTo>
                  <a:lnTo>
                    <a:pt x="19684" y="31525"/>
                  </a:lnTo>
                  <a:lnTo>
                    <a:pt x="19621" y="31299"/>
                  </a:lnTo>
                  <a:lnTo>
                    <a:pt x="19621" y="31299"/>
                  </a:lnTo>
                  <a:lnTo>
                    <a:pt x="19579" y="31299"/>
                  </a:lnTo>
                  <a:lnTo>
                    <a:pt x="19579" y="31299"/>
                  </a:lnTo>
                  <a:lnTo>
                    <a:pt x="19579" y="31073"/>
                  </a:lnTo>
                  <a:lnTo>
                    <a:pt x="19621" y="31073"/>
                  </a:lnTo>
                  <a:lnTo>
                    <a:pt x="19621" y="30734"/>
                  </a:lnTo>
                  <a:lnTo>
                    <a:pt x="19579" y="30734"/>
                  </a:lnTo>
                  <a:lnTo>
                    <a:pt x="19621" y="30508"/>
                  </a:lnTo>
                  <a:lnTo>
                    <a:pt x="19684" y="30508"/>
                  </a:lnTo>
                  <a:lnTo>
                    <a:pt x="19621" y="30282"/>
                  </a:lnTo>
                  <a:lnTo>
                    <a:pt x="19579" y="30282"/>
                  </a:lnTo>
                  <a:lnTo>
                    <a:pt x="19621" y="30282"/>
                  </a:lnTo>
                  <a:lnTo>
                    <a:pt x="19684" y="29943"/>
                  </a:lnTo>
                  <a:lnTo>
                    <a:pt x="19684" y="29943"/>
                  </a:lnTo>
                  <a:lnTo>
                    <a:pt x="19684" y="29491"/>
                  </a:lnTo>
                  <a:lnTo>
                    <a:pt x="19684" y="29491"/>
                  </a:lnTo>
                  <a:lnTo>
                    <a:pt x="19726" y="29152"/>
                  </a:lnTo>
                  <a:lnTo>
                    <a:pt x="19726" y="28587"/>
                  </a:lnTo>
                  <a:lnTo>
                    <a:pt x="19726" y="28587"/>
                  </a:lnTo>
                  <a:lnTo>
                    <a:pt x="19726" y="28361"/>
                  </a:lnTo>
                  <a:lnTo>
                    <a:pt x="19726" y="28135"/>
                  </a:lnTo>
                  <a:lnTo>
                    <a:pt x="19768" y="27796"/>
                  </a:lnTo>
                  <a:lnTo>
                    <a:pt x="19768" y="27570"/>
                  </a:lnTo>
                  <a:lnTo>
                    <a:pt x="19768" y="27344"/>
                  </a:lnTo>
                  <a:lnTo>
                    <a:pt x="19768" y="27005"/>
                  </a:lnTo>
                  <a:lnTo>
                    <a:pt x="19768" y="27005"/>
                  </a:lnTo>
                  <a:lnTo>
                    <a:pt x="19768" y="26779"/>
                  </a:lnTo>
                  <a:lnTo>
                    <a:pt x="19768" y="26553"/>
                  </a:lnTo>
                  <a:lnTo>
                    <a:pt x="19726" y="26553"/>
                  </a:lnTo>
                  <a:lnTo>
                    <a:pt x="19726" y="26553"/>
                  </a:lnTo>
                  <a:lnTo>
                    <a:pt x="19726" y="26214"/>
                  </a:lnTo>
                  <a:lnTo>
                    <a:pt x="19726" y="26214"/>
                  </a:lnTo>
                  <a:lnTo>
                    <a:pt x="19726" y="26214"/>
                  </a:lnTo>
                  <a:lnTo>
                    <a:pt x="19726" y="25988"/>
                  </a:lnTo>
                  <a:lnTo>
                    <a:pt x="19726" y="25988"/>
                  </a:lnTo>
                  <a:lnTo>
                    <a:pt x="19768" y="25988"/>
                  </a:lnTo>
                  <a:lnTo>
                    <a:pt x="19726" y="25649"/>
                  </a:lnTo>
                  <a:lnTo>
                    <a:pt x="19726" y="25649"/>
                  </a:lnTo>
                  <a:lnTo>
                    <a:pt x="19726" y="25423"/>
                  </a:lnTo>
                  <a:lnTo>
                    <a:pt x="19684" y="25423"/>
                  </a:lnTo>
                  <a:lnTo>
                    <a:pt x="19684" y="25423"/>
                  </a:lnTo>
                  <a:lnTo>
                    <a:pt x="19726" y="25197"/>
                  </a:lnTo>
                  <a:lnTo>
                    <a:pt x="19726" y="24858"/>
                  </a:lnTo>
                  <a:lnTo>
                    <a:pt x="19768" y="24858"/>
                  </a:lnTo>
                  <a:lnTo>
                    <a:pt x="19768" y="24858"/>
                  </a:lnTo>
                  <a:lnTo>
                    <a:pt x="19768" y="24632"/>
                  </a:lnTo>
                  <a:lnTo>
                    <a:pt x="19726" y="24406"/>
                  </a:lnTo>
                  <a:lnTo>
                    <a:pt x="19726" y="24406"/>
                  </a:lnTo>
                  <a:lnTo>
                    <a:pt x="19621" y="24406"/>
                  </a:lnTo>
                  <a:lnTo>
                    <a:pt x="19516" y="24632"/>
                  </a:lnTo>
                  <a:lnTo>
                    <a:pt x="19474" y="24632"/>
                  </a:lnTo>
                  <a:lnTo>
                    <a:pt x="19369" y="24632"/>
                  </a:lnTo>
                  <a:lnTo>
                    <a:pt x="19369" y="24858"/>
                  </a:lnTo>
                  <a:lnTo>
                    <a:pt x="19327" y="24858"/>
                  </a:lnTo>
                  <a:lnTo>
                    <a:pt x="19327" y="25197"/>
                  </a:lnTo>
                  <a:lnTo>
                    <a:pt x="19284" y="25197"/>
                  </a:lnTo>
                  <a:lnTo>
                    <a:pt x="19179" y="25423"/>
                  </a:lnTo>
                  <a:lnTo>
                    <a:pt x="19137" y="25649"/>
                  </a:lnTo>
                  <a:lnTo>
                    <a:pt x="19032" y="25649"/>
                  </a:lnTo>
                  <a:lnTo>
                    <a:pt x="18990" y="25649"/>
                  </a:lnTo>
                  <a:lnTo>
                    <a:pt x="18885" y="25988"/>
                  </a:lnTo>
                  <a:lnTo>
                    <a:pt x="18822" y="25988"/>
                  </a:lnTo>
                  <a:lnTo>
                    <a:pt x="18738" y="26214"/>
                  </a:lnTo>
                  <a:lnTo>
                    <a:pt x="18675" y="26214"/>
                  </a:lnTo>
                  <a:lnTo>
                    <a:pt x="18738" y="25988"/>
                  </a:lnTo>
                  <a:lnTo>
                    <a:pt x="18780" y="25649"/>
                  </a:lnTo>
                  <a:lnTo>
                    <a:pt x="18822" y="25423"/>
                  </a:lnTo>
                  <a:lnTo>
                    <a:pt x="18822" y="25423"/>
                  </a:lnTo>
                  <a:lnTo>
                    <a:pt x="18780" y="25197"/>
                  </a:lnTo>
                  <a:lnTo>
                    <a:pt x="18780" y="25197"/>
                  </a:lnTo>
                  <a:lnTo>
                    <a:pt x="18780" y="24858"/>
                  </a:lnTo>
                  <a:lnTo>
                    <a:pt x="18780" y="24632"/>
                  </a:lnTo>
                  <a:lnTo>
                    <a:pt x="18738" y="24632"/>
                  </a:lnTo>
                  <a:lnTo>
                    <a:pt x="18738" y="24406"/>
                  </a:lnTo>
                  <a:lnTo>
                    <a:pt x="18780" y="24067"/>
                  </a:lnTo>
                  <a:lnTo>
                    <a:pt x="18738" y="24067"/>
                  </a:lnTo>
                  <a:lnTo>
                    <a:pt x="18675" y="23841"/>
                  </a:lnTo>
                  <a:lnTo>
                    <a:pt x="18675" y="23615"/>
                  </a:lnTo>
                  <a:lnTo>
                    <a:pt x="18738" y="23615"/>
                  </a:lnTo>
                  <a:lnTo>
                    <a:pt x="18822" y="23276"/>
                  </a:lnTo>
                  <a:lnTo>
                    <a:pt x="18822" y="23050"/>
                  </a:lnTo>
                  <a:lnTo>
                    <a:pt x="18780" y="23050"/>
                  </a:lnTo>
                  <a:lnTo>
                    <a:pt x="18738" y="23050"/>
                  </a:lnTo>
                  <a:lnTo>
                    <a:pt x="18633" y="23050"/>
                  </a:lnTo>
                  <a:lnTo>
                    <a:pt x="18590" y="23276"/>
                  </a:lnTo>
                  <a:lnTo>
                    <a:pt x="18485" y="23615"/>
                  </a:lnTo>
                  <a:lnTo>
                    <a:pt x="18443" y="23276"/>
                  </a:lnTo>
                  <a:lnTo>
                    <a:pt x="18380" y="23276"/>
                  </a:lnTo>
                  <a:lnTo>
                    <a:pt x="18338" y="23276"/>
                  </a:lnTo>
                  <a:lnTo>
                    <a:pt x="18296" y="23276"/>
                  </a:lnTo>
                  <a:lnTo>
                    <a:pt x="18233" y="23276"/>
                  </a:lnTo>
                  <a:lnTo>
                    <a:pt x="18338" y="22485"/>
                  </a:lnTo>
                  <a:lnTo>
                    <a:pt x="18485" y="21920"/>
                  </a:lnTo>
                  <a:lnTo>
                    <a:pt x="18633" y="21468"/>
                  </a:lnTo>
                  <a:lnTo>
                    <a:pt x="18780" y="20564"/>
                  </a:lnTo>
                  <a:lnTo>
                    <a:pt x="18885" y="20112"/>
                  </a:lnTo>
                  <a:lnTo>
                    <a:pt x="19032" y="19322"/>
                  </a:lnTo>
                  <a:lnTo>
                    <a:pt x="19179" y="18757"/>
                  </a:lnTo>
                  <a:lnTo>
                    <a:pt x="19284" y="18192"/>
                  </a:lnTo>
                  <a:lnTo>
                    <a:pt x="19432" y="17401"/>
                  </a:lnTo>
                  <a:lnTo>
                    <a:pt x="19579" y="16836"/>
                  </a:lnTo>
                  <a:lnTo>
                    <a:pt x="19726" y="16384"/>
                  </a:lnTo>
                  <a:lnTo>
                    <a:pt x="19831" y="15593"/>
                  </a:lnTo>
                  <a:lnTo>
                    <a:pt x="19978" y="15028"/>
                  </a:lnTo>
                  <a:lnTo>
                    <a:pt x="20126" y="14463"/>
                  </a:lnTo>
                  <a:lnTo>
                    <a:pt x="20273" y="13672"/>
                  </a:lnTo>
                  <a:lnTo>
                    <a:pt x="20378" y="13107"/>
                  </a:lnTo>
                  <a:lnTo>
                    <a:pt x="20525" y="12655"/>
                  </a:lnTo>
                  <a:lnTo>
                    <a:pt x="20672" y="12090"/>
                  </a:lnTo>
                  <a:lnTo>
                    <a:pt x="20820" y="11299"/>
                  </a:lnTo>
                  <a:lnTo>
                    <a:pt x="20967" y="10734"/>
                  </a:lnTo>
                  <a:lnTo>
                    <a:pt x="21114" y="10169"/>
                  </a:lnTo>
                  <a:lnTo>
                    <a:pt x="21219" y="9717"/>
                  </a:lnTo>
                  <a:lnTo>
                    <a:pt x="21366" y="8813"/>
                  </a:lnTo>
                  <a:lnTo>
                    <a:pt x="21514" y="8361"/>
                  </a:lnTo>
                  <a:lnTo>
                    <a:pt x="21661" y="7796"/>
                  </a:lnTo>
                  <a:lnTo>
                    <a:pt x="21808" y="7231"/>
                  </a:lnTo>
                  <a:lnTo>
                    <a:pt x="21955" y="6440"/>
                  </a:lnTo>
                  <a:lnTo>
                    <a:pt x="22103" y="5875"/>
                  </a:lnTo>
                  <a:lnTo>
                    <a:pt x="22250" y="5423"/>
                  </a:lnTo>
                  <a:lnTo>
                    <a:pt x="22397" y="4858"/>
                  </a:lnTo>
                  <a:lnTo>
                    <a:pt x="22544" y="4067"/>
                  </a:lnTo>
                  <a:lnTo>
                    <a:pt x="22649" y="3502"/>
                  </a:lnTo>
                  <a:lnTo>
                    <a:pt x="22649" y="3502"/>
                  </a:lnTo>
                  <a:lnTo>
                    <a:pt x="22607" y="3502"/>
                  </a:lnTo>
                  <a:lnTo>
                    <a:pt x="22607" y="3502"/>
                  </a:lnTo>
                  <a:lnTo>
                    <a:pt x="22544" y="3502"/>
                  </a:lnTo>
                  <a:lnTo>
                    <a:pt x="22544" y="3502"/>
                  </a:lnTo>
                  <a:lnTo>
                    <a:pt x="22544" y="3276"/>
                  </a:lnTo>
                  <a:lnTo>
                    <a:pt x="22397" y="3276"/>
                  </a:lnTo>
                  <a:lnTo>
                    <a:pt x="22397" y="2937"/>
                  </a:lnTo>
                  <a:lnTo>
                    <a:pt x="22397" y="2711"/>
                  </a:lnTo>
                  <a:lnTo>
                    <a:pt x="22292" y="2711"/>
                  </a:lnTo>
                  <a:lnTo>
                    <a:pt x="22250" y="2711"/>
                  </a:lnTo>
                  <a:lnTo>
                    <a:pt x="22250" y="2711"/>
                  </a:lnTo>
                  <a:lnTo>
                    <a:pt x="22208" y="2711"/>
                  </a:lnTo>
                  <a:lnTo>
                    <a:pt x="22145" y="2711"/>
                  </a:lnTo>
                  <a:lnTo>
                    <a:pt x="21997" y="2711"/>
                  </a:lnTo>
                  <a:lnTo>
                    <a:pt x="21913" y="2711"/>
                  </a:lnTo>
                  <a:lnTo>
                    <a:pt x="21808" y="2937"/>
                  </a:lnTo>
                  <a:lnTo>
                    <a:pt x="21661" y="2937"/>
                  </a:lnTo>
                  <a:lnTo>
                    <a:pt x="21661" y="2711"/>
                  </a:lnTo>
                  <a:lnTo>
                    <a:pt x="21598" y="2711"/>
                  </a:lnTo>
                  <a:lnTo>
                    <a:pt x="21556" y="2485"/>
                  </a:lnTo>
                  <a:lnTo>
                    <a:pt x="21514" y="2711"/>
                  </a:lnTo>
                  <a:lnTo>
                    <a:pt x="21451" y="2485"/>
                  </a:lnTo>
                  <a:lnTo>
                    <a:pt x="21303" y="2485"/>
                  </a:lnTo>
                  <a:lnTo>
                    <a:pt x="21219" y="2485"/>
                  </a:lnTo>
                  <a:lnTo>
                    <a:pt x="21072" y="2485"/>
                  </a:lnTo>
                  <a:lnTo>
                    <a:pt x="21072" y="2485"/>
                  </a:lnTo>
                  <a:lnTo>
                    <a:pt x="21072" y="2146"/>
                  </a:lnTo>
                  <a:lnTo>
                    <a:pt x="21072" y="2146"/>
                  </a:lnTo>
                  <a:lnTo>
                    <a:pt x="21009" y="2146"/>
                  </a:lnTo>
                  <a:lnTo>
                    <a:pt x="21009" y="2146"/>
                  </a:lnTo>
                  <a:lnTo>
                    <a:pt x="20967" y="2146"/>
                  </a:lnTo>
                  <a:lnTo>
                    <a:pt x="20904" y="2146"/>
                  </a:lnTo>
                  <a:lnTo>
                    <a:pt x="20904" y="2146"/>
                  </a:lnTo>
                  <a:lnTo>
                    <a:pt x="20862" y="2146"/>
                  </a:lnTo>
                  <a:lnTo>
                    <a:pt x="20820" y="1920"/>
                  </a:lnTo>
                  <a:lnTo>
                    <a:pt x="20757" y="1920"/>
                  </a:lnTo>
                  <a:lnTo>
                    <a:pt x="20715" y="1920"/>
                  </a:lnTo>
                  <a:lnTo>
                    <a:pt x="20609" y="1920"/>
                  </a:lnTo>
                  <a:lnTo>
                    <a:pt x="20525" y="1920"/>
                  </a:lnTo>
                  <a:lnTo>
                    <a:pt x="20462" y="1920"/>
                  </a:lnTo>
                  <a:lnTo>
                    <a:pt x="20462" y="1920"/>
                  </a:lnTo>
                  <a:lnTo>
                    <a:pt x="20420" y="1920"/>
                  </a:lnTo>
                  <a:lnTo>
                    <a:pt x="20420" y="1920"/>
                  </a:lnTo>
                  <a:lnTo>
                    <a:pt x="20315" y="1920"/>
                  </a:lnTo>
                  <a:lnTo>
                    <a:pt x="20273" y="1920"/>
                  </a:lnTo>
                  <a:lnTo>
                    <a:pt x="20210" y="2146"/>
                  </a:lnTo>
                  <a:lnTo>
                    <a:pt x="20021" y="1920"/>
                  </a:lnTo>
                  <a:lnTo>
                    <a:pt x="20063" y="1920"/>
                  </a:lnTo>
                  <a:lnTo>
                    <a:pt x="20126" y="1920"/>
                  </a:lnTo>
                  <a:lnTo>
                    <a:pt x="20126" y="1920"/>
                  </a:lnTo>
                  <a:lnTo>
                    <a:pt x="20021" y="1920"/>
                  </a:lnTo>
                  <a:lnTo>
                    <a:pt x="19978" y="1694"/>
                  </a:lnTo>
                  <a:lnTo>
                    <a:pt x="20021" y="1694"/>
                  </a:lnTo>
                  <a:lnTo>
                    <a:pt x="19978" y="1694"/>
                  </a:lnTo>
                  <a:lnTo>
                    <a:pt x="19978" y="1694"/>
                  </a:lnTo>
                  <a:lnTo>
                    <a:pt x="20021" y="1355"/>
                  </a:lnTo>
                  <a:lnTo>
                    <a:pt x="20126" y="1355"/>
                  </a:lnTo>
                  <a:lnTo>
                    <a:pt x="20126" y="1129"/>
                  </a:lnTo>
                  <a:lnTo>
                    <a:pt x="20126" y="1129"/>
                  </a:lnTo>
                  <a:lnTo>
                    <a:pt x="20063" y="1129"/>
                  </a:lnTo>
                  <a:lnTo>
                    <a:pt x="20021" y="1129"/>
                  </a:lnTo>
                  <a:lnTo>
                    <a:pt x="19915" y="1129"/>
                  </a:lnTo>
                  <a:lnTo>
                    <a:pt x="19831" y="1129"/>
                  </a:lnTo>
                  <a:lnTo>
                    <a:pt x="19768" y="1129"/>
                  </a:lnTo>
                  <a:lnTo>
                    <a:pt x="19726" y="1129"/>
                  </a:lnTo>
                  <a:lnTo>
                    <a:pt x="19579" y="1355"/>
                  </a:lnTo>
                  <a:lnTo>
                    <a:pt x="19516" y="1129"/>
                  </a:lnTo>
                  <a:lnTo>
                    <a:pt x="19474" y="1129"/>
                  </a:lnTo>
                  <a:lnTo>
                    <a:pt x="19474" y="1129"/>
                  </a:lnTo>
                  <a:lnTo>
                    <a:pt x="19516" y="1129"/>
                  </a:lnTo>
                  <a:lnTo>
                    <a:pt x="19579" y="903"/>
                  </a:lnTo>
                  <a:lnTo>
                    <a:pt x="19516" y="903"/>
                  </a:lnTo>
                  <a:lnTo>
                    <a:pt x="19516" y="903"/>
                  </a:lnTo>
                  <a:lnTo>
                    <a:pt x="19474" y="903"/>
                  </a:lnTo>
                  <a:lnTo>
                    <a:pt x="19474" y="903"/>
                  </a:lnTo>
                  <a:lnTo>
                    <a:pt x="19369" y="903"/>
                  </a:lnTo>
                  <a:lnTo>
                    <a:pt x="19221" y="1129"/>
                  </a:lnTo>
                  <a:lnTo>
                    <a:pt x="19179" y="1129"/>
                  </a:lnTo>
                  <a:lnTo>
                    <a:pt x="19137" y="1355"/>
                  </a:lnTo>
                  <a:lnTo>
                    <a:pt x="19137" y="1129"/>
                  </a:lnTo>
                  <a:lnTo>
                    <a:pt x="19137" y="1129"/>
                  </a:lnTo>
                  <a:lnTo>
                    <a:pt x="19137" y="1129"/>
                  </a:lnTo>
                  <a:lnTo>
                    <a:pt x="19221" y="903"/>
                  </a:lnTo>
                  <a:lnTo>
                    <a:pt x="19327" y="903"/>
                  </a:lnTo>
                  <a:lnTo>
                    <a:pt x="19369" y="564"/>
                  </a:lnTo>
                  <a:lnTo>
                    <a:pt x="19369" y="564"/>
                  </a:lnTo>
                  <a:lnTo>
                    <a:pt x="19369" y="564"/>
                  </a:lnTo>
                  <a:lnTo>
                    <a:pt x="19221" y="338"/>
                  </a:lnTo>
                  <a:lnTo>
                    <a:pt x="19221" y="338"/>
                  </a:lnTo>
                  <a:lnTo>
                    <a:pt x="19284" y="338"/>
                  </a:lnTo>
                  <a:lnTo>
                    <a:pt x="19327" y="0"/>
                  </a:lnTo>
                  <a:lnTo>
                    <a:pt x="19284" y="0"/>
                  </a:lnTo>
                  <a:lnTo>
                    <a:pt x="19179" y="338"/>
                  </a:lnTo>
                  <a:lnTo>
                    <a:pt x="19074" y="564"/>
                  </a:lnTo>
                  <a:lnTo>
                    <a:pt x="18927" y="903"/>
                  </a:lnTo>
                  <a:lnTo>
                    <a:pt x="18822" y="903"/>
                  </a:lnTo>
                  <a:lnTo>
                    <a:pt x="18738" y="1129"/>
                  </a:lnTo>
                  <a:lnTo>
                    <a:pt x="18590" y="1129"/>
                  </a:lnTo>
                  <a:lnTo>
                    <a:pt x="18527" y="1129"/>
                  </a:lnTo>
                  <a:lnTo>
                    <a:pt x="18443" y="1129"/>
                  </a:lnTo>
                  <a:lnTo>
                    <a:pt x="18380" y="1355"/>
                  </a:lnTo>
                  <a:lnTo>
                    <a:pt x="18338" y="1355"/>
                  </a:lnTo>
                  <a:lnTo>
                    <a:pt x="18233" y="1355"/>
                  </a:lnTo>
                  <a:lnTo>
                    <a:pt x="18191" y="1355"/>
                  </a:lnTo>
                  <a:lnTo>
                    <a:pt x="18149" y="1355"/>
                  </a:lnTo>
                  <a:lnTo>
                    <a:pt x="18149" y="1355"/>
                  </a:lnTo>
                  <a:lnTo>
                    <a:pt x="18149" y="1355"/>
                  </a:lnTo>
                  <a:lnTo>
                    <a:pt x="18191" y="1355"/>
                  </a:lnTo>
                  <a:lnTo>
                    <a:pt x="18233" y="1355"/>
                  </a:lnTo>
                  <a:lnTo>
                    <a:pt x="18233" y="1129"/>
                  </a:lnTo>
                  <a:lnTo>
                    <a:pt x="18233" y="1129"/>
                  </a:lnTo>
                  <a:lnTo>
                    <a:pt x="18191" y="1129"/>
                  </a:lnTo>
                  <a:lnTo>
                    <a:pt x="18044" y="1355"/>
                  </a:lnTo>
                  <a:lnTo>
                    <a:pt x="17833" y="1694"/>
                  </a:lnTo>
                  <a:lnTo>
                    <a:pt x="17896" y="1694"/>
                  </a:lnTo>
                  <a:lnTo>
                    <a:pt x="17896" y="1920"/>
                  </a:lnTo>
                  <a:lnTo>
                    <a:pt x="17981" y="1920"/>
                  </a:lnTo>
                  <a:lnTo>
                    <a:pt x="17896" y="1920"/>
                  </a:lnTo>
                  <a:lnTo>
                    <a:pt x="17833" y="1920"/>
                  </a:lnTo>
                  <a:lnTo>
                    <a:pt x="17791" y="1920"/>
                  </a:lnTo>
                  <a:lnTo>
                    <a:pt x="17791" y="2146"/>
                  </a:lnTo>
                  <a:lnTo>
                    <a:pt x="17749" y="2146"/>
                  </a:lnTo>
                  <a:lnTo>
                    <a:pt x="17686" y="2485"/>
                  </a:lnTo>
                  <a:lnTo>
                    <a:pt x="17749" y="2146"/>
                  </a:lnTo>
                  <a:lnTo>
                    <a:pt x="17686" y="2146"/>
                  </a:lnTo>
                  <a:lnTo>
                    <a:pt x="17749" y="1920"/>
                  </a:lnTo>
                  <a:lnTo>
                    <a:pt x="17749" y="1920"/>
                  </a:lnTo>
                  <a:lnTo>
                    <a:pt x="17833" y="1694"/>
                  </a:lnTo>
                  <a:lnTo>
                    <a:pt x="17833" y="1694"/>
                  </a:lnTo>
                  <a:lnTo>
                    <a:pt x="17791" y="1694"/>
                  </a:lnTo>
                  <a:lnTo>
                    <a:pt x="17602" y="1920"/>
                  </a:lnTo>
                  <a:lnTo>
                    <a:pt x="17602" y="2146"/>
                  </a:lnTo>
                  <a:lnTo>
                    <a:pt x="17392" y="2146"/>
                  </a:lnTo>
                  <a:lnTo>
                    <a:pt x="17202" y="2485"/>
                  </a:lnTo>
                  <a:lnTo>
                    <a:pt x="17139" y="2485"/>
                  </a:lnTo>
                  <a:lnTo>
                    <a:pt x="17055" y="2485"/>
                  </a:lnTo>
                  <a:lnTo>
                    <a:pt x="16992" y="2485"/>
                  </a:lnTo>
                  <a:lnTo>
                    <a:pt x="17055" y="2485"/>
                  </a:lnTo>
                  <a:lnTo>
                    <a:pt x="17097" y="2485"/>
                  </a:lnTo>
                  <a:lnTo>
                    <a:pt x="17139" y="2485"/>
                  </a:lnTo>
                  <a:lnTo>
                    <a:pt x="17139" y="2485"/>
                  </a:lnTo>
                  <a:lnTo>
                    <a:pt x="17139" y="2485"/>
                  </a:lnTo>
                  <a:lnTo>
                    <a:pt x="17139" y="2485"/>
                  </a:lnTo>
                  <a:lnTo>
                    <a:pt x="17202" y="2146"/>
                  </a:lnTo>
                  <a:lnTo>
                    <a:pt x="17097" y="2485"/>
                  </a:lnTo>
                  <a:lnTo>
                    <a:pt x="17055" y="2485"/>
                  </a:lnTo>
                  <a:lnTo>
                    <a:pt x="16908" y="2711"/>
                  </a:lnTo>
                  <a:lnTo>
                    <a:pt x="16550" y="3276"/>
                  </a:lnTo>
                  <a:lnTo>
                    <a:pt x="16403" y="3841"/>
                  </a:lnTo>
                  <a:lnTo>
                    <a:pt x="16298" y="4067"/>
                  </a:lnTo>
                  <a:lnTo>
                    <a:pt x="16256" y="4067"/>
                  </a:lnTo>
                  <a:lnTo>
                    <a:pt x="16256" y="4067"/>
                  </a:lnTo>
                  <a:lnTo>
                    <a:pt x="16256" y="4067"/>
                  </a:lnTo>
                  <a:lnTo>
                    <a:pt x="16214" y="4293"/>
                  </a:lnTo>
                  <a:lnTo>
                    <a:pt x="16067" y="4632"/>
                  </a:lnTo>
                  <a:lnTo>
                    <a:pt x="15856" y="4858"/>
                  </a:lnTo>
                  <a:lnTo>
                    <a:pt x="15751" y="4858"/>
                  </a:lnTo>
                  <a:lnTo>
                    <a:pt x="15709" y="5084"/>
                  </a:lnTo>
                  <a:lnTo>
                    <a:pt x="15520" y="5084"/>
                  </a:lnTo>
                  <a:lnTo>
                    <a:pt x="15457" y="5084"/>
                  </a:lnTo>
                  <a:lnTo>
                    <a:pt x="15310" y="5084"/>
                  </a:lnTo>
                  <a:lnTo>
                    <a:pt x="15120" y="5084"/>
                  </a:lnTo>
                  <a:lnTo>
                    <a:pt x="15057" y="5423"/>
                  </a:lnTo>
                  <a:lnTo>
                    <a:pt x="14910" y="5649"/>
                  </a:lnTo>
                  <a:lnTo>
                    <a:pt x="14826" y="6214"/>
                  </a:lnTo>
                  <a:lnTo>
                    <a:pt x="14763" y="6214"/>
                  </a:lnTo>
                  <a:lnTo>
                    <a:pt x="14721" y="6214"/>
                  </a:lnTo>
                  <a:lnTo>
                    <a:pt x="14679" y="6214"/>
                  </a:lnTo>
                  <a:lnTo>
                    <a:pt x="14763" y="6214"/>
                  </a:lnTo>
                  <a:lnTo>
                    <a:pt x="14721" y="6214"/>
                  </a:lnTo>
                  <a:lnTo>
                    <a:pt x="14679" y="6214"/>
                  </a:lnTo>
                  <a:lnTo>
                    <a:pt x="14679" y="6214"/>
                  </a:lnTo>
                  <a:lnTo>
                    <a:pt x="14721" y="6214"/>
                  </a:lnTo>
                  <a:lnTo>
                    <a:pt x="14763" y="6440"/>
                  </a:lnTo>
                  <a:lnTo>
                    <a:pt x="14763" y="6779"/>
                  </a:lnTo>
                  <a:lnTo>
                    <a:pt x="14868" y="6779"/>
                  </a:lnTo>
                  <a:lnTo>
                    <a:pt x="14973" y="7796"/>
                  </a:lnTo>
                  <a:lnTo>
                    <a:pt x="14973" y="8022"/>
                  </a:lnTo>
                  <a:lnTo>
                    <a:pt x="14868" y="8361"/>
                  </a:lnTo>
                  <a:lnTo>
                    <a:pt x="14868" y="8587"/>
                  </a:lnTo>
                  <a:lnTo>
                    <a:pt x="14868" y="8813"/>
                  </a:lnTo>
                  <a:lnTo>
                    <a:pt x="14973" y="8813"/>
                  </a:lnTo>
                  <a:lnTo>
                    <a:pt x="15057" y="8813"/>
                  </a:lnTo>
                  <a:lnTo>
                    <a:pt x="15120" y="8813"/>
                  </a:lnTo>
                  <a:lnTo>
                    <a:pt x="15205" y="8813"/>
                  </a:lnTo>
                  <a:lnTo>
                    <a:pt x="15162" y="8813"/>
                  </a:lnTo>
                  <a:lnTo>
                    <a:pt x="15162" y="8813"/>
                  </a:lnTo>
                  <a:lnTo>
                    <a:pt x="15310" y="8813"/>
                  </a:lnTo>
                  <a:lnTo>
                    <a:pt x="15373" y="8813"/>
                  </a:lnTo>
                  <a:lnTo>
                    <a:pt x="15373" y="9152"/>
                  </a:lnTo>
                  <a:lnTo>
                    <a:pt x="15310" y="9152"/>
                  </a:lnTo>
                  <a:lnTo>
                    <a:pt x="15162" y="9378"/>
                  </a:lnTo>
                  <a:lnTo>
                    <a:pt x="15120" y="9717"/>
                  </a:lnTo>
                  <a:lnTo>
                    <a:pt x="15162" y="9717"/>
                  </a:lnTo>
                  <a:lnTo>
                    <a:pt x="15162" y="9943"/>
                  </a:lnTo>
                  <a:lnTo>
                    <a:pt x="15162" y="9943"/>
                  </a:lnTo>
                  <a:lnTo>
                    <a:pt x="15373" y="9717"/>
                  </a:lnTo>
                  <a:lnTo>
                    <a:pt x="15415" y="9717"/>
                  </a:lnTo>
                  <a:lnTo>
                    <a:pt x="15457" y="9717"/>
                  </a:lnTo>
                  <a:lnTo>
                    <a:pt x="15520" y="9717"/>
                  </a:lnTo>
                  <a:lnTo>
                    <a:pt x="15520" y="9943"/>
                  </a:lnTo>
                  <a:lnTo>
                    <a:pt x="15520" y="9943"/>
                  </a:lnTo>
                  <a:lnTo>
                    <a:pt x="15457" y="10169"/>
                  </a:lnTo>
                  <a:lnTo>
                    <a:pt x="15310" y="10169"/>
                  </a:lnTo>
                  <a:lnTo>
                    <a:pt x="15268" y="10169"/>
                  </a:lnTo>
                  <a:lnTo>
                    <a:pt x="15268" y="9943"/>
                  </a:lnTo>
                  <a:lnTo>
                    <a:pt x="15205" y="9943"/>
                  </a:lnTo>
                  <a:lnTo>
                    <a:pt x="15162" y="9943"/>
                  </a:lnTo>
                  <a:lnTo>
                    <a:pt x="15057" y="10169"/>
                  </a:lnTo>
                  <a:lnTo>
                    <a:pt x="15057" y="9943"/>
                  </a:lnTo>
                  <a:lnTo>
                    <a:pt x="15057" y="9717"/>
                  </a:lnTo>
                  <a:lnTo>
                    <a:pt x="15120" y="9378"/>
                  </a:lnTo>
                  <a:lnTo>
                    <a:pt x="15120" y="9378"/>
                  </a:lnTo>
                  <a:lnTo>
                    <a:pt x="15162" y="9152"/>
                  </a:lnTo>
                  <a:lnTo>
                    <a:pt x="15120" y="9152"/>
                  </a:lnTo>
                  <a:lnTo>
                    <a:pt x="15057" y="9152"/>
                  </a:lnTo>
                  <a:lnTo>
                    <a:pt x="15015" y="9152"/>
                  </a:lnTo>
                  <a:lnTo>
                    <a:pt x="15015" y="9378"/>
                  </a:lnTo>
                  <a:lnTo>
                    <a:pt x="14973" y="9378"/>
                  </a:lnTo>
                  <a:lnTo>
                    <a:pt x="15015" y="9378"/>
                  </a:lnTo>
                  <a:lnTo>
                    <a:pt x="15015" y="9717"/>
                  </a:lnTo>
                  <a:lnTo>
                    <a:pt x="15015" y="9943"/>
                  </a:lnTo>
                  <a:lnTo>
                    <a:pt x="14973" y="10169"/>
                  </a:lnTo>
                  <a:lnTo>
                    <a:pt x="14973" y="10169"/>
                  </a:lnTo>
                  <a:lnTo>
                    <a:pt x="15057" y="10169"/>
                  </a:lnTo>
                  <a:lnTo>
                    <a:pt x="15162" y="10508"/>
                  </a:lnTo>
                  <a:lnTo>
                    <a:pt x="15162" y="10508"/>
                  </a:lnTo>
                  <a:lnTo>
                    <a:pt x="15120" y="10734"/>
                  </a:lnTo>
                  <a:lnTo>
                    <a:pt x="15120" y="10508"/>
                  </a:lnTo>
                  <a:lnTo>
                    <a:pt x="15057" y="10508"/>
                  </a:lnTo>
                  <a:lnTo>
                    <a:pt x="15015" y="10508"/>
                  </a:lnTo>
                  <a:lnTo>
                    <a:pt x="15015" y="10508"/>
                  </a:lnTo>
                  <a:lnTo>
                    <a:pt x="14973" y="10508"/>
                  </a:lnTo>
                  <a:lnTo>
                    <a:pt x="14826" y="10960"/>
                  </a:lnTo>
                  <a:lnTo>
                    <a:pt x="14763" y="10960"/>
                  </a:lnTo>
                  <a:lnTo>
                    <a:pt x="14679" y="10960"/>
                  </a:lnTo>
                  <a:lnTo>
                    <a:pt x="14574" y="10960"/>
                  </a:lnTo>
                  <a:lnTo>
                    <a:pt x="14511" y="10960"/>
                  </a:lnTo>
                  <a:lnTo>
                    <a:pt x="14511" y="10734"/>
                  </a:lnTo>
                  <a:lnTo>
                    <a:pt x="14426" y="10960"/>
                  </a:lnTo>
                  <a:lnTo>
                    <a:pt x="14279" y="10960"/>
                  </a:lnTo>
                  <a:lnTo>
                    <a:pt x="14216" y="10508"/>
                  </a:lnTo>
                  <a:lnTo>
                    <a:pt x="14279" y="10508"/>
                  </a:lnTo>
                  <a:lnTo>
                    <a:pt x="14321" y="10508"/>
                  </a:lnTo>
                  <a:lnTo>
                    <a:pt x="14363" y="10169"/>
                  </a:lnTo>
                  <a:lnTo>
                    <a:pt x="14468" y="9943"/>
                  </a:lnTo>
                  <a:lnTo>
                    <a:pt x="14468" y="9943"/>
                  </a:lnTo>
                  <a:lnTo>
                    <a:pt x="14468" y="9943"/>
                  </a:lnTo>
                  <a:lnTo>
                    <a:pt x="14468" y="9943"/>
                  </a:lnTo>
                  <a:lnTo>
                    <a:pt x="14511" y="9943"/>
                  </a:lnTo>
                  <a:lnTo>
                    <a:pt x="14574" y="9943"/>
                  </a:lnTo>
                  <a:lnTo>
                    <a:pt x="14511" y="9717"/>
                  </a:lnTo>
                  <a:lnTo>
                    <a:pt x="14426" y="9717"/>
                  </a:lnTo>
                  <a:lnTo>
                    <a:pt x="14321" y="9943"/>
                  </a:lnTo>
                  <a:lnTo>
                    <a:pt x="14216" y="9943"/>
                  </a:lnTo>
                  <a:lnTo>
                    <a:pt x="14069" y="10169"/>
                  </a:lnTo>
                  <a:lnTo>
                    <a:pt x="14027" y="10169"/>
                  </a:lnTo>
                  <a:lnTo>
                    <a:pt x="13922" y="10169"/>
                  </a:lnTo>
                  <a:lnTo>
                    <a:pt x="13774" y="10508"/>
                  </a:lnTo>
                  <a:lnTo>
                    <a:pt x="13732" y="10508"/>
                  </a:lnTo>
                  <a:lnTo>
                    <a:pt x="13732" y="10508"/>
                  </a:lnTo>
                  <a:lnTo>
                    <a:pt x="13774" y="10734"/>
                  </a:lnTo>
                  <a:lnTo>
                    <a:pt x="13732" y="10734"/>
                  </a:lnTo>
                  <a:lnTo>
                    <a:pt x="13732" y="10734"/>
                  </a:lnTo>
                  <a:lnTo>
                    <a:pt x="13669" y="10734"/>
                  </a:lnTo>
                  <a:lnTo>
                    <a:pt x="13585" y="10734"/>
                  </a:lnTo>
                  <a:lnTo>
                    <a:pt x="13585" y="10734"/>
                  </a:lnTo>
                  <a:lnTo>
                    <a:pt x="13585" y="10734"/>
                  </a:lnTo>
                  <a:lnTo>
                    <a:pt x="13480" y="10734"/>
                  </a:lnTo>
                  <a:lnTo>
                    <a:pt x="13438" y="10734"/>
                  </a:lnTo>
                  <a:lnTo>
                    <a:pt x="13333" y="10960"/>
                  </a:lnTo>
                  <a:lnTo>
                    <a:pt x="13228" y="10960"/>
                  </a:lnTo>
                  <a:lnTo>
                    <a:pt x="13186" y="11299"/>
                  </a:lnTo>
                  <a:lnTo>
                    <a:pt x="13123" y="11299"/>
                  </a:lnTo>
                  <a:lnTo>
                    <a:pt x="13038" y="11299"/>
                  </a:lnTo>
                  <a:lnTo>
                    <a:pt x="12933" y="11525"/>
                  </a:lnTo>
                  <a:lnTo>
                    <a:pt x="12786" y="11751"/>
                  </a:lnTo>
                  <a:lnTo>
                    <a:pt x="12786" y="11525"/>
                  </a:lnTo>
                  <a:lnTo>
                    <a:pt x="12828" y="11525"/>
                  </a:lnTo>
                  <a:lnTo>
                    <a:pt x="12786" y="11525"/>
                  </a:lnTo>
                  <a:lnTo>
                    <a:pt x="12744" y="11751"/>
                  </a:lnTo>
                  <a:lnTo>
                    <a:pt x="12681" y="11751"/>
                  </a:lnTo>
                  <a:lnTo>
                    <a:pt x="12681" y="12090"/>
                  </a:lnTo>
                  <a:lnTo>
                    <a:pt x="12786" y="12316"/>
                  </a:lnTo>
                  <a:lnTo>
                    <a:pt x="12975" y="12316"/>
                  </a:lnTo>
                  <a:lnTo>
                    <a:pt x="12975" y="12316"/>
                  </a:lnTo>
                  <a:lnTo>
                    <a:pt x="13080" y="12655"/>
                  </a:lnTo>
                  <a:lnTo>
                    <a:pt x="13080" y="12655"/>
                  </a:lnTo>
                  <a:lnTo>
                    <a:pt x="13080" y="12655"/>
                  </a:lnTo>
                  <a:lnTo>
                    <a:pt x="13038" y="12655"/>
                  </a:lnTo>
                  <a:lnTo>
                    <a:pt x="12975" y="12655"/>
                  </a:lnTo>
                  <a:lnTo>
                    <a:pt x="12891" y="12881"/>
                  </a:lnTo>
                  <a:lnTo>
                    <a:pt x="12828" y="12881"/>
                  </a:lnTo>
                  <a:lnTo>
                    <a:pt x="12786" y="12881"/>
                  </a:lnTo>
                  <a:lnTo>
                    <a:pt x="12786" y="12881"/>
                  </a:lnTo>
                  <a:lnTo>
                    <a:pt x="12786" y="12881"/>
                  </a:lnTo>
                  <a:lnTo>
                    <a:pt x="12786" y="12881"/>
                  </a:lnTo>
                  <a:lnTo>
                    <a:pt x="12786" y="13107"/>
                  </a:lnTo>
                  <a:lnTo>
                    <a:pt x="12828" y="13446"/>
                  </a:lnTo>
                  <a:lnTo>
                    <a:pt x="12786" y="13446"/>
                  </a:lnTo>
                  <a:lnTo>
                    <a:pt x="12744" y="13672"/>
                  </a:lnTo>
                  <a:lnTo>
                    <a:pt x="12681" y="13672"/>
                  </a:lnTo>
                  <a:lnTo>
                    <a:pt x="12681" y="13898"/>
                  </a:lnTo>
                  <a:lnTo>
                    <a:pt x="12681" y="13898"/>
                  </a:lnTo>
                  <a:lnTo>
                    <a:pt x="12891" y="14237"/>
                  </a:lnTo>
                  <a:lnTo>
                    <a:pt x="12933" y="14237"/>
                  </a:lnTo>
                  <a:lnTo>
                    <a:pt x="12975" y="14237"/>
                  </a:lnTo>
                  <a:lnTo>
                    <a:pt x="13038" y="14237"/>
                  </a:lnTo>
                  <a:lnTo>
                    <a:pt x="13038" y="14237"/>
                  </a:lnTo>
                  <a:lnTo>
                    <a:pt x="13080" y="14237"/>
                  </a:lnTo>
                  <a:lnTo>
                    <a:pt x="13080" y="14237"/>
                  </a:lnTo>
                  <a:lnTo>
                    <a:pt x="13080" y="14237"/>
                  </a:lnTo>
                  <a:lnTo>
                    <a:pt x="13080" y="14237"/>
                  </a:lnTo>
                  <a:lnTo>
                    <a:pt x="13228" y="13898"/>
                  </a:lnTo>
                  <a:lnTo>
                    <a:pt x="13438" y="13898"/>
                  </a:lnTo>
                  <a:lnTo>
                    <a:pt x="13480" y="14237"/>
                  </a:lnTo>
                  <a:lnTo>
                    <a:pt x="13522" y="14237"/>
                  </a:lnTo>
                  <a:lnTo>
                    <a:pt x="13522" y="14463"/>
                  </a:lnTo>
                  <a:lnTo>
                    <a:pt x="13585" y="14237"/>
                  </a:lnTo>
                  <a:lnTo>
                    <a:pt x="13585" y="14237"/>
                  </a:lnTo>
                  <a:lnTo>
                    <a:pt x="13585" y="14237"/>
                  </a:lnTo>
                  <a:lnTo>
                    <a:pt x="13585" y="13898"/>
                  </a:lnTo>
                  <a:lnTo>
                    <a:pt x="13585" y="13898"/>
                  </a:lnTo>
                  <a:lnTo>
                    <a:pt x="13627" y="13898"/>
                  </a:lnTo>
                  <a:lnTo>
                    <a:pt x="13627" y="14237"/>
                  </a:lnTo>
                  <a:lnTo>
                    <a:pt x="13585" y="14463"/>
                  </a:lnTo>
                  <a:lnTo>
                    <a:pt x="13627" y="14463"/>
                  </a:lnTo>
                  <a:lnTo>
                    <a:pt x="13669" y="14237"/>
                  </a:lnTo>
                  <a:lnTo>
                    <a:pt x="13880" y="13898"/>
                  </a:lnTo>
                  <a:lnTo>
                    <a:pt x="13922" y="13898"/>
                  </a:lnTo>
                  <a:lnTo>
                    <a:pt x="14069" y="13672"/>
                  </a:lnTo>
                  <a:lnTo>
                    <a:pt x="14132" y="13446"/>
                  </a:lnTo>
                  <a:lnTo>
                    <a:pt x="14174" y="13672"/>
                  </a:lnTo>
                  <a:lnTo>
                    <a:pt x="14216" y="13672"/>
                  </a:lnTo>
                  <a:lnTo>
                    <a:pt x="14363" y="13446"/>
                  </a:lnTo>
                  <a:lnTo>
                    <a:pt x="14363" y="13446"/>
                  </a:lnTo>
                  <a:lnTo>
                    <a:pt x="14363" y="13446"/>
                  </a:lnTo>
                  <a:lnTo>
                    <a:pt x="14363" y="13446"/>
                  </a:lnTo>
                  <a:lnTo>
                    <a:pt x="14363" y="13672"/>
                  </a:lnTo>
                  <a:lnTo>
                    <a:pt x="14363" y="13672"/>
                  </a:lnTo>
                  <a:lnTo>
                    <a:pt x="14321" y="13672"/>
                  </a:lnTo>
                  <a:lnTo>
                    <a:pt x="14279" y="13898"/>
                  </a:lnTo>
                  <a:lnTo>
                    <a:pt x="14279" y="13898"/>
                  </a:lnTo>
                  <a:lnTo>
                    <a:pt x="14216" y="14237"/>
                  </a:lnTo>
                  <a:lnTo>
                    <a:pt x="14132" y="14237"/>
                  </a:lnTo>
                  <a:lnTo>
                    <a:pt x="14069" y="14237"/>
                  </a:lnTo>
                  <a:lnTo>
                    <a:pt x="14027" y="14237"/>
                  </a:lnTo>
                  <a:lnTo>
                    <a:pt x="14069" y="14237"/>
                  </a:lnTo>
                  <a:lnTo>
                    <a:pt x="14069" y="14463"/>
                  </a:lnTo>
                  <a:lnTo>
                    <a:pt x="14069" y="14689"/>
                  </a:lnTo>
                  <a:lnTo>
                    <a:pt x="13985" y="15254"/>
                  </a:lnTo>
                  <a:lnTo>
                    <a:pt x="13922" y="15254"/>
                  </a:lnTo>
                  <a:lnTo>
                    <a:pt x="13922" y="15593"/>
                  </a:lnTo>
                  <a:lnTo>
                    <a:pt x="13817" y="15819"/>
                  </a:lnTo>
                  <a:lnTo>
                    <a:pt x="13774" y="16045"/>
                  </a:lnTo>
                  <a:lnTo>
                    <a:pt x="13669" y="16045"/>
                  </a:lnTo>
                  <a:lnTo>
                    <a:pt x="13585" y="16384"/>
                  </a:lnTo>
                  <a:lnTo>
                    <a:pt x="13480" y="16384"/>
                  </a:lnTo>
                  <a:lnTo>
                    <a:pt x="13333" y="16384"/>
                  </a:lnTo>
                  <a:lnTo>
                    <a:pt x="13333" y="16384"/>
                  </a:lnTo>
                  <a:lnTo>
                    <a:pt x="13333" y="16384"/>
                  </a:lnTo>
                  <a:lnTo>
                    <a:pt x="13333" y="16384"/>
                  </a:lnTo>
                  <a:lnTo>
                    <a:pt x="13291" y="16384"/>
                  </a:lnTo>
                  <a:lnTo>
                    <a:pt x="13228" y="16384"/>
                  </a:lnTo>
                  <a:lnTo>
                    <a:pt x="13038" y="16836"/>
                  </a:lnTo>
                  <a:lnTo>
                    <a:pt x="12975" y="16836"/>
                  </a:lnTo>
                  <a:lnTo>
                    <a:pt x="12891" y="17175"/>
                  </a:lnTo>
                  <a:lnTo>
                    <a:pt x="12828" y="17175"/>
                  </a:lnTo>
                  <a:lnTo>
                    <a:pt x="12744" y="17175"/>
                  </a:lnTo>
                  <a:lnTo>
                    <a:pt x="12681" y="17175"/>
                  </a:lnTo>
                  <a:lnTo>
                    <a:pt x="12744" y="17175"/>
                  </a:lnTo>
                  <a:lnTo>
                    <a:pt x="12681" y="17175"/>
                  </a:lnTo>
                  <a:lnTo>
                    <a:pt x="12639" y="17175"/>
                  </a:lnTo>
                  <a:lnTo>
                    <a:pt x="12597" y="17401"/>
                  </a:lnTo>
                  <a:lnTo>
                    <a:pt x="12597" y="17401"/>
                  </a:lnTo>
                  <a:lnTo>
                    <a:pt x="12597" y="17175"/>
                  </a:lnTo>
                  <a:lnTo>
                    <a:pt x="12639" y="17175"/>
                  </a:lnTo>
                  <a:lnTo>
                    <a:pt x="12639" y="17175"/>
                  </a:lnTo>
                  <a:lnTo>
                    <a:pt x="12681" y="17175"/>
                  </a:lnTo>
                  <a:lnTo>
                    <a:pt x="12681" y="16836"/>
                  </a:lnTo>
                  <a:lnTo>
                    <a:pt x="12639" y="16836"/>
                  </a:lnTo>
                  <a:lnTo>
                    <a:pt x="12597" y="16836"/>
                  </a:lnTo>
                  <a:lnTo>
                    <a:pt x="12492" y="16836"/>
                  </a:lnTo>
                  <a:lnTo>
                    <a:pt x="12429" y="16836"/>
                  </a:lnTo>
                  <a:lnTo>
                    <a:pt x="12386" y="17175"/>
                  </a:lnTo>
                  <a:lnTo>
                    <a:pt x="12386" y="17175"/>
                  </a:lnTo>
                  <a:lnTo>
                    <a:pt x="12386" y="17401"/>
                  </a:lnTo>
                  <a:lnTo>
                    <a:pt x="12386" y="17401"/>
                  </a:lnTo>
                  <a:lnTo>
                    <a:pt x="12281" y="17401"/>
                  </a:lnTo>
                  <a:lnTo>
                    <a:pt x="12239" y="17401"/>
                  </a:lnTo>
                  <a:lnTo>
                    <a:pt x="12197" y="17401"/>
                  </a:lnTo>
                  <a:lnTo>
                    <a:pt x="12134" y="17627"/>
                  </a:lnTo>
                  <a:lnTo>
                    <a:pt x="12092" y="17966"/>
                  </a:lnTo>
                  <a:lnTo>
                    <a:pt x="12050" y="18192"/>
                  </a:lnTo>
                  <a:lnTo>
                    <a:pt x="12092" y="17966"/>
                  </a:lnTo>
                  <a:lnTo>
                    <a:pt x="12134" y="17966"/>
                  </a:lnTo>
                  <a:lnTo>
                    <a:pt x="12134" y="17966"/>
                  </a:lnTo>
                  <a:lnTo>
                    <a:pt x="12092" y="18192"/>
                  </a:lnTo>
                  <a:lnTo>
                    <a:pt x="11987" y="18192"/>
                  </a:lnTo>
                  <a:lnTo>
                    <a:pt x="11987" y="18531"/>
                  </a:lnTo>
                  <a:lnTo>
                    <a:pt x="11987" y="18531"/>
                  </a:lnTo>
                  <a:lnTo>
                    <a:pt x="11987" y="18531"/>
                  </a:lnTo>
                  <a:lnTo>
                    <a:pt x="11945" y="18531"/>
                  </a:lnTo>
                  <a:lnTo>
                    <a:pt x="11945" y="18531"/>
                  </a:lnTo>
                  <a:lnTo>
                    <a:pt x="11903" y="18531"/>
                  </a:lnTo>
                  <a:lnTo>
                    <a:pt x="11840" y="18531"/>
                  </a:lnTo>
                  <a:lnTo>
                    <a:pt x="11692" y="18757"/>
                  </a:lnTo>
                  <a:lnTo>
                    <a:pt x="11503" y="19322"/>
                  </a:lnTo>
                  <a:lnTo>
                    <a:pt x="11440" y="19548"/>
                  </a:lnTo>
                  <a:lnTo>
                    <a:pt x="11398" y="19548"/>
                  </a:lnTo>
                  <a:lnTo>
                    <a:pt x="11398" y="19548"/>
                  </a:lnTo>
                  <a:lnTo>
                    <a:pt x="11398" y="19774"/>
                  </a:lnTo>
                  <a:lnTo>
                    <a:pt x="11293" y="19774"/>
                  </a:lnTo>
                  <a:lnTo>
                    <a:pt x="11251" y="19774"/>
                  </a:lnTo>
                  <a:lnTo>
                    <a:pt x="11209" y="19774"/>
                  </a:lnTo>
                  <a:lnTo>
                    <a:pt x="11209" y="20112"/>
                  </a:lnTo>
                  <a:lnTo>
                    <a:pt x="11251" y="20112"/>
                  </a:lnTo>
                  <a:lnTo>
                    <a:pt x="11251" y="20112"/>
                  </a:lnTo>
                  <a:lnTo>
                    <a:pt x="11146" y="20338"/>
                  </a:lnTo>
                  <a:lnTo>
                    <a:pt x="11104" y="20338"/>
                  </a:lnTo>
                  <a:lnTo>
                    <a:pt x="11104" y="20338"/>
                  </a:lnTo>
                  <a:lnTo>
                    <a:pt x="11104" y="20338"/>
                  </a:lnTo>
                  <a:lnTo>
                    <a:pt x="11041" y="20564"/>
                  </a:lnTo>
                  <a:lnTo>
                    <a:pt x="11041" y="20564"/>
                  </a:lnTo>
                  <a:lnTo>
                    <a:pt x="11104" y="20338"/>
                  </a:lnTo>
                  <a:lnTo>
                    <a:pt x="11146" y="20564"/>
                  </a:lnTo>
                  <a:lnTo>
                    <a:pt x="11146" y="20564"/>
                  </a:lnTo>
                  <a:lnTo>
                    <a:pt x="11041" y="20903"/>
                  </a:lnTo>
                  <a:lnTo>
                    <a:pt x="11041" y="20903"/>
                  </a:lnTo>
                  <a:lnTo>
                    <a:pt x="11041" y="21129"/>
                  </a:lnTo>
                  <a:lnTo>
                    <a:pt x="10998" y="21468"/>
                  </a:lnTo>
                  <a:lnTo>
                    <a:pt x="10998" y="21468"/>
                  </a:lnTo>
                  <a:lnTo>
                    <a:pt x="10998" y="21468"/>
                  </a:lnTo>
                  <a:lnTo>
                    <a:pt x="11041" y="21468"/>
                  </a:lnTo>
                  <a:lnTo>
                    <a:pt x="11104" y="21468"/>
                  </a:lnTo>
                  <a:lnTo>
                    <a:pt x="11104" y="21129"/>
                  </a:lnTo>
                  <a:lnTo>
                    <a:pt x="11146" y="21129"/>
                  </a:lnTo>
                  <a:lnTo>
                    <a:pt x="11209" y="21129"/>
                  </a:lnTo>
                  <a:lnTo>
                    <a:pt x="11209" y="21129"/>
                  </a:lnTo>
                  <a:lnTo>
                    <a:pt x="11146" y="21129"/>
                  </a:lnTo>
                  <a:lnTo>
                    <a:pt x="11104" y="21129"/>
                  </a:lnTo>
                  <a:lnTo>
                    <a:pt x="11146" y="21468"/>
                  </a:lnTo>
                  <a:lnTo>
                    <a:pt x="11146" y="21468"/>
                  </a:lnTo>
                  <a:lnTo>
                    <a:pt x="11209" y="21129"/>
                  </a:lnTo>
                  <a:lnTo>
                    <a:pt x="11209" y="21129"/>
                  </a:lnTo>
                  <a:lnTo>
                    <a:pt x="11146" y="21468"/>
                  </a:lnTo>
                  <a:lnTo>
                    <a:pt x="11146" y="21468"/>
                  </a:lnTo>
                  <a:lnTo>
                    <a:pt x="11209" y="21468"/>
                  </a:lnTo>
                  <a:lnTo>
                    <a:pt x="11209" y="21468"/>
                  </a:lnTo>
                  <a:lnTo>
                    <a:pt x="11209" y="21468"/>
                  </a:lnTo>
                  <a:lnTo>
                    <a:pt x="11146" y="21694"/>
                  </a:lnTo>
                  <a:lnTo>
                    <a:pt x="11041" y="21694"/>
                  </a:lnTo>
                  <a:lnTo>
                    <a:pt x="11041" y="21694"/>
                  </a:lnTo>
                  <a:lnTo>
                    <a:pt x="11041" y="21920"/>
                  </a:lnTo>
                  <a:lnTo>
                    <a:pt x="11146" y="21920"/>
                  </a:lnTo>
                  <a:lnTo>
                    <a:pt x="11251" y="21920"/>
                  </a:lnTo>
                  <a:lnTo>
                    <a:pt x="11356" y="21920"/>
                  </a:lnTo>
                  <a:lnTo>
                    <a:pt x="11503" y="21694"/>
                  </a:lnTo>
                  <a:lnTo>
                    <a:pt x="11503" y="21694"/>
                  </a:lnTo>
                  <a:lnTo>
                    <a:pt x="11503" y="21920"/>
                  </a:lnTo>
                  <a:lnTo>
                    <a:pt x="11503" y="21920"/>
                  </a:lnTo>
                  <a:lnTo>
                    <a:pt x="11398" y="21920"/>
                  </a:lnTo>
                  <a:lnTo>
                    <a:pt x="11398" y="21920"/>
                  </a:lnTo>
                  <a:lnTo>
                    <a:pt x="11440" y="21920"/>
                  </a:lnTo>
                  <a:lnTo>
                    <a:pt x="11503" y="22259"/>
                  </a:lnTo>
                  <a:lnTo>
                    <a:pt x="11503" y="22259"/>
                  </a:lnTo>
                  <a:lnTo>
                    <a:pt x="11398" y="22485"/>
                  </a:lnTo>
                  <a:lnTo>
                    <a:pt x="11293" y="22485"/>
                  </a:lnTo>
                  <a:lnTo>
                    <a:pt x="11293" y="22485"/>
                  </a:lnTo>
                  <a:lnTo>
                    <a:pt x="11356" y="22259"/>
                  </a:lnTo>
                  <a:lnTo>
                    <a:pt x="11356" y="22259"/>
                  </a:lnTo>
                  <a:lnTo>
                    <a:pt x="11293" y="22259"/>
                  </a:lnTo>
                  <a:lnTo>
                    <a:pt x="11251" y="22259"/>
                  </a:lnTo>
                  <a:lnTo>
                    <a:pt x="11146" y="22485"/>
                  </a:lnTo>
                  <a:lnTo>
                    <a:pt x="11104" y="22485"/>
                  </a:lnTo>
                  <a:lnTo>
                    <a:pt x="11146" y="22485"/>
                  </a:lnTo>
                  <a:lnTo>
                    <a:pt x="11209" y="22259"/>
                  </a:lnTo>
                  <a:lnTo>
                    <a:pt x="11209" y="22259"/>
                  </a:lnTo>
                  <a:lnTo>
                    <a:pt x="11209" y="22259"/>
                  </a:lnTo>
                  <a:lnTo>
                    <a:pt x="11209" y="21920"/>
                  </a:lnTo>
                  <a:lnTo>
                    <a:pt x="11146" y="21920"/>
                  </a:lnTo>
                  <a:lnTo>
                    <a:pt x="11146" y="21920"/>
                  </a:lnTo>
                  <a:lnTo>
                    <a:pt x="11104" y="21920"/>
                  </a:lnTo>
                  <a:lnTo>
                    <a:pt x="10998" y="22259"/>
                  </a:lnTo>
                  <a:lnTo>
                    <a:pt x="10746" y="22711"/>
                  </a:lnTo>
                  <a:lnTo>
                    <a:pt x="10809" y="22711"/>
                  </a:lnTo>
                  <a:lnTo>
                    <a:pt x="10851" y="22711"/>
                  </a:lnTo>
                  <a:lnTo>
                    <a:pt x="10851" y="22711"/>
                  </a:lnTo>
                  <a:lnTo>
                    <a:pt x="10809" y="22711"/>
                  </a:lnTo>
                  <a:lnTo>
                    <a:pt x="10809" y="23050"/>
                  </a:lnTo>
                  <a:lnTo>
                    <a:pt x="10809" y="23050"/>
                  </a:lnTo>
                  <a:lnTo>
                    <a:pt x="10809" y="23276"/>
                  </a:lnTo>
                  <a:lnTo>
                    <a:pt x="10851" y="23276"/>
                  </a:lnTo>
                  <a:lnTo>
                    <a:pt x="10851" y="23615"/>
                  </a:lnTo>
                  <a:lnTo>
                    <a:pt x="10851" y="23841"/>
                  </a:lnTo>
                  <a:lnTo>
                    <a:pt x="10851" y="24067"/>
                  </a:lnTo>
                  <a:lnTo>
                    <a:pt x="10809" y="24067"/>
                  </a:lnTo>
                  <a:lnTo>
                    <a:pt x="10851" y="24406"/>
                  </a:lnTo>
                  <a:lnTo>
                    <a:pt x="10893" y="24406"/>
                  </a:lnTo>
                  <a:lnTo>
                    <a:pt x="11104" y="24067"/>
                  </a:lnTo>
                  <a:lnTo>
                    <a:pt x="11209" y="24067"/>
                  </a:lnTo>
                  <a:lnTo>
                    <a:pt x="11293" y="23841"/>
                  </a:lnTo>
                  <a:lnTo>
                    <a:pt x="11356" y="23841"/>
                  </a:lnTo>
                  <a:lnTo>
                    <a:pt x="11398" y="23841"/>
                  </a:lnTo>
                  <a:lnTo>
                    <a:pt x="11440" y="23615"/>
                  </a:lnTo>
                  <a:lnTo>
                    <a:pt x="11503" y="23276"/>
                  </a:lnTo>
                  <a:lnTo>
                    <a:pt x="11503" y="23276"/>
                  </a:lnTo>
                  <a:lnTo>
                    <a:pt x="11440" y="23276"/>
                  </a:lnTo>
                  <a:lnTo>
                    <a:pt x="11503" y="23276"/>
                  </a:lnTo>
                  <a:lnTo>
                    <a:pt x="11587" y="23050"/>
                  </a:lnTo>
                  <a:lnTo>
                    <a:pt x="11735" y="22485"/>
                  </a:lnTo>
                  <a:lnTo>
                    <a:pt x="11798" y="22485"/>
                  </a:lnTo>
                  <a:lnTo>
                    <a:pt x="11840" y="22485"/>
                  </a:lnTo>
                  <a:lnTo>
                    <a:pt x="11903" y="22259"/>
                  </a:lnTo>
                  <a:lnTo>
                    <a:pt x="11903" y="22259"/>
                  </a:lnTo>
                  <a:lnTo>
                    <a:pt x="11903" y="22485"/>
                  </a:lnTo>
                  <a:lnTo>
                    <a:pt x="11798" y="22485"/>
                  </a:lnTo>
                  <a:lnTo>
                    <a:pt x="11692" y="22711"/>
                  </a:lnTo>
                  <a:lnTo>
                    <a:pt x="11545" y="23276"/>
                  </a:lnTo>
                  <a:lnTo>
                    <a:pt x="11545" y="23615"/>
                  </a:lnTo>
                  <a:lnTo>
                    <a:pt x="11503" y="23841"/>
                  </a:lnTo>
                  <a:lnTo>
                    <a:pt x="11398" y="24406"/>
                  </a:lnTo>
                  <a:lnTo>
                    <a:pt x="11398" y="24632"/>
                  </a:lnTo>
                  <a:lnTo>
                    <a:pt x="11356" y="24858"/>
                  </a:lnTo>
                  <a:lnTo>
                    <a:pt x="11293" y="25197"/>
                  </a:lnTo>
                  <a:lnTo>
                    <a:pt x="11251" y="25197"/>
                  </a:lnTo>
                  <a:lnTo>
                    <a:pt x="11146" y="25423"/>
                  </a:lnTo>
                  <a:lnTo>
                    <a:pt x="11104" y="25649"/>
                  </a:lnTo>
                  <a:lnTo>
                    <a:pt x="11104" y="25988"/>
                  </a:lnTo>
                  <a:lnTo>
                    <a:pt x="11146" y="25649"/>
                  </a:lnTo>
                  <a:lnTo>
                    <a:pt x="11209" y="25649"/>
                  </a:lnTo>
                  <a:lnTo>
                    <a:pt x="11104" y="25988"/>
                  </a:lnTo>
                  <a:lnTo>
                    <a:pt x="11041" y="26214"/>
                  </a:lnTo>
                  <a:lnTo>
                    <a:pt x="11041" y="26214"/>
                  </a:lnTo>
                  <a:lnTo>
                    <a:pt x="10998" y="26553"/>
                  </a:lnTo>
                  <a:lnTo>
                    <a:pt x="10956" y="26779"/>
                  </a:lnTo>
                  <a:lnTo>
                    <a:pt x="10851" y="26779"/>
                  </a:lnTo>
                  <a:lnTo>
                    <a:pt x="10809" y="26779"/>
                  </a:lnTo>
                  <a:lnTo>
                    <a:pt x="10893" y="27005"/>
                  </a:lnTo>
                  <a:lnTo>
                    <a:pt x="11041" y="26779"/>
                  </a:lnTo>
                  <a:lnTo>
                    <a:pt x="11104" y="26553"/>
                  </a:lnTo>
                  <a:lnTo>
                    <a:pt x="11146" y="26553"/>
                  </a:lnTo>
                  <a:lnTo>
                    <a:pt x="11146" y="26553"/>
                  </a:lnTo>
                  <a:lnTo>
                    <a:pt x="11209" y="26553"/>
                  </a:lnTo>
                  <a:lnTo>
                    <a:pt x="11293" y="26214"/>
                  </a:lnTo>
                  <a:lnTo>
                    <a:pt x="11356" y="26214"/>
                  </a:lnTo>
                  <a:lnTo>
                    <a:pt x="11440" y="26214"/>
                  </a:lnTo>
                  <a:lnTo>
                    <a:pt x="11503" y="25988"/>
                  </a:lnTo>
                  <a:lnTo>
                    <a:pt x="11545" y="25988"/>
                  </a:lnTo>
                  <a:lnTo>
                    <a:pt x="11545" y="26214"/>
                  </a:lnTo>
                  <a:lnTo>
                    <a:pt x="11545" y="26214"/>
                  </a:lnTo>
                  <a:lnTo>
                    <a:pt x="11587" y="26553"/>
                  </a:lnTo>
                  <a:lnTo>
                    <a:pt x="11650" y="26553"/>
                  </a:lnTo>
                  <a:lnTo>
                    <a:pt x="11692" y="26214"/>
                  </a:lnTo>
                  <a:lnTo>
                    <a:pt x="11692" y="26214"/>
                  </a:lnTo>
                  <a:lnTo>
                    <a:pt x="11735" y="26553"/>
                  </a:lnTo>
                  <a:lnTo>
                    <a:pt x="11735" y="26779"/>
                  </a:lnTo>
                  <a:lnTo>
                    <a:pt x="11692" y="27344"/>
                  </a:lnTo>
                  <a:lnTo>
                    <a:pt x="11692" y="27344"/>
                  </a:lnTo>
                  <a:lnTo>
                    <a:pt x="11735" y="27344"/>
                  </a:lnTo>
                  <a:lnTo>
                    <a:pt x="11798" y="27005"/>
                  </a:lnTo>
                  <a:lnTo>
                    <a:pt x="11903" y="26779"/>
                  </a:lnTo>
                  <a:lnTo>
                    <a:pt x="11945" y="26553"/>
                  </a:lnTo>
                  <a:lnTo>
                    <a:pt x="11987" y="26214"/>
                  </a:lnTo>
                  <a:lnTo>
                    <a:pt x="12050" y="26214"/>
                  </a:lnTo>
                  <a:lnTo>
                    <a:pt x="12050" y="26214"/>
                  </a:lnTo>
                  <a:lnTo>
                    <a:pt x="12050" y="26214"/>
                  </a:lnTo>
                  <a:lnTo>
                    <a:pt x="12092" y="25988"/>
                  </a:lnTo>
                  <a:lnTo>
                    <a:pt x="12134" y="25988"/>
                  </a:lnTo>
                  <a:lnTo>
                    <a:pt x="12197" y="25988"/>
                  </a:lnTo>
                  <a:lnTo>
                    <a:pt x="12239" y="25988"/>
                  </a:lnTo>
                  <a:lnTo>
                    <a:pt x="12239" y="25988"/>
                  </a:lnTo>
                  <a:lnTo>
                    <a:pt x="12239" y="25988"/>
                  </a:lnTo>
                  <a:lnTo>
                    <a:pt x="12197" y="25988"/>
                  </a:lnTo>
                  <a:lnTo>
                    <a:pt x="12134" y="25988"/>
                  </a:lnTo>
                  <a:lnTo>
                    <a:pt x="12092" y="26214"/>
                  </a:lnTo>
                  <a:lnTo>
                    <a:pt x="12050" y="26553"/>
                  </a:lnTo>
                  <a:lnTo>
                    <a:pt x="12050" y="26553"/>
                  </a:lnTo>
                  <a:lnTo>
                    <a:pt x="12050" y="26553"/>
                  </a:lnTo>
                  <a:lnTo>
                    <a:pt x="12050" y="26779"/>
                  </a:lnTo>
                  <a:lnTo>
                    <a:pt x="12050" y="26779"/>
                  </a:lnTo>
                  <a:lnTo>
                    <a:pt x="12092" y="26779"/>
                  </a:lnTo>
                  <a:lnTo>
                    <a:pt x="12281" y="26553"/>
                  </a:lnTo>
                  <a:lnTo>
                    <a:pt x="12492" y="26214"/>
                  </a:lnTo>
                  <a:lnTo>
                    <a:pt x="12597" y="25988"/>
                  </a:lnTo>
                  <a:lnTo>
                    <a:pt x="12744" y="25649"/>
                  </a:lnTo>
                  <a:lnTo>
                    <a:pt x="12597" y="26214"/>
                  </a:lnTo>
                  <a:lnTo>
                    <a:pt x="12492" y="26553"/>
                  </a:lnTo>
                  <a:lnTo>
                    <a:pt x="12492" y="26553"/>
                  </a:lnTo>
                  <a:lnTo>
                    <a:pt x="12492" y="26553"/>
                  </a:lnTo>
                  <a:lnTo>
                    <a:pt x="12344" y="26779"/>
                  </a:lnTo>
                  <a:lnTo>
                    <a:pt x="12239" y="27005"/>
                  </a:lnTo>
                  <a:lnTo>
                    <a:pt x="12134" y="27344"/>
                  </a:lnTo>
                  <a:lnTo>
                    <a:pt x="12134" y="27570"/>
                  </a:lnTo>
                  <a:lnTo>
                    <a:pt x="12092" y="27570"/>
                  </a:lnTo>
                  <a:lnTo>
                    <a:pt x="12092" y="27796"/>
                  </a:lnTo>
                  <a:lnTo>
                    <a:pt x="12134" y="27796"/>
                  </a:lnTo>
                  <a:lnTo>
                    <a:pt x="12134" y="27796"/>
                  </a:lnTo>
                  <a:lnTo>
                    <a:pt x="12050" y="27796"/>
                  </a:lnTo>
                  <a:lnTo>
                    <a:pt x="11987" y="27796"/>
                  </a:lnTo>
                  <a:lnTo>
                    <a:pt x="11945" y="28135"/>
                  </a:lnTo>
                  <a:lnTo>
                    <a:pt x="11903" y="28361"/>
                  </a:lnTo>
                  <a:lnTo>
                    <a:pt x="11798" y="28926"/>
                  </a:lnTo>
                  <a:lnTo>
                    <a:pt x="11735" y="28926"/>
                  </a:lnTo>
                  <a:lnTo>
                    <a:pt x="11735" y="29152"/>
                  </a:lnTo>
                  <a:lnTo>
                    <a:pt x="11735" y="29152"/>
                  </a:lnTo>
                  <a:lnTo>
                    <a:pt x="11692" y="29152"/>
                  </a:lnTo>
                  <a:lnTo>
                    <a:pt x="11735" y="29491"/>
                  </a:lnTo>
                  <a:lnTo>
                    <a:pt x="11735" y="29491"/>
                  </a:lnTo>
                  <a:lnTo>
                    <a:pt x="11735" y="29491"/>
                  </a:lnTo>
                  <a:lnTo>
                    <a:pt x="11692" y="29491"/>
                  </a:lnTo>
                  <a:lnTo>
                    <a:pt x="11692" y="29491"/>
                  </a:lnTo>
                  <a:lnTo>
                    <a:pt x="11650" y="29491"/>
                  </a:lnTo>
                  <a:lnTo>
                    <a:pt x="11692" y="29152"/>
                  </a:lnTo>
                  <a:lnTo>
                    <a:pt x="11650" y="29152"/>
                  </a:lnTo>
                  <a:lnTo>
                    <a:pt x="11650" y="29152"/>
                  </a:lnTo>
                  <a:lnTo>
                    <a:pt x="11587" y="29491"/>
                  </a:lnTo>
                  <a:lnTo>
                    <a:pt x="11503" y="29491"/>
                  </a:lnTo>
                  <a:lnTo>
                    <a:pt x="11440" y="29717"/>
                  </a:lnTo>
                  <a:lnTo>
                    <a:pt x="11398" y="29717"/>
                  </a:lnTo>
                  <a:lnTo>
                    <a:pt x="11356" y="29717"/>
                  </a:lnTo>
                  <a:lnTo>
                    <a:pt x="11251" y="29943"/>
                  </a:lnTo>
                  <a:lnTo>
                    <a:pt x="11209" y="30282"/>
                  </a:lnTo>
                  <a:lnTo>
                    <a:pt x="11146" y="30508"/>
                  </a:lnTo>
                  <a:lnTo>
                    <a:pt x="11104" y="30508"/>
                  </a:lnTo>
                  <a:lnTo>
                    <a:pt x="11041" y="30508"/>
                  </a:lnTo>
                  <a:lnTo>
                    <a:pt x="11041" y="30734"/>
                  </a:lnTo>
                  <a:lnTo>
                    <a:pt x="10998" y="30734"/>
                  </a:lnTo>
                  <a:lnTo>
                    <a:pt x="10998" y="31073"/>
                  </a:lnTo>
                  <a:lnTo>
                    <a:pt x="10998" y="31073"/>
                  </a:lnTo>
                  <a:lnTo>
                    <a:pt x="10956" y="31073"/>
                  </a:lnTo>
                  <a:lnTo>
                    <a:pt x="10956" y="30734"/>
                  </a:lnTo>
                  <a:lnTo>
                    <a:pt x="10956" y="30734"/>
                  </a:lnTo>
                  <a:lnTo>
                    <a:pt x="10956" y="30734"/>
                  </a:lnTo>
                  <a:lnTo>
                    <a:pt x="10956" y="30734"/>
                  </a:lnTo>
                  <a:lnTo>
                    <a:pt x="10851" y="31073"/>
                  </a:lnTo>
                  <a:lnTo>
                    <a:pt x="10746" y="31073"/>
                  </a:lnTo>
                  <a:lnTo>
                    <a:pt x="10557" y="31525"/>
                  </a:lnTo>
                  <a:lnTo>
                    <a:pt x="10410" y="31864"/>
                  </a:lnTo>
                  <a:lnTo>
                    <a:pt x="10347" y="31864"/>
                  </a:lnTo>
                  <a:lnTo>
                    <a:pt x="10262" y="32090"/>
                  </a:lnTo>
                  <a:lnTo>
                    <a:pt x="10199" y="32090"/>
                  </a:lnTo>
                  <a:lnTo>
                    <a:pt x="10115" y="32429"/>
                  </a:lnTo>
                  <a:lnTo>
                    <a:pt x="10052" y="32655"/>
                  </a:lnTo>
                  <a:lnTo>
                    <a:pt x="10010" y="32655"/>
                  </a:lnTo>
                  <a:lnTo>
                    <a:pt x="10010" y="32881"/>
                  </a:lnTo>
                  <a:lnTo>
                    <a:pt x="10010" y="32881"/>
                  </a:lnTo>
                  <a:lnTo>
                    <a:pt x="10010" y="32881"/>
                  </a:lnTo>
                  <a:lnTo>
                    <a:pt x="10010" y="33220"/>
                  </a:lnTo>
                  <a:lnTo>
                    <a:pt x="10010" y="33220"/>
                  </a:lnTo>
                  <a:lnTo>
                    <a:pt x="10010" y="33220"/>
                  </a:lnTo>
                  <a:lnTo>
                    <a:pt x="9968" y="33220"/>
                  </a:lnTo>
                  <a:lnTo>
                    <a:pt x="9968" y="33220"/>
                  </a:lnTo>
                  <a:lnTo>
                    <a:pt x="9968" y="32881"/>
                  </a:lnTo>
                  <a:lnTo>
                    <a:pt x="9968" y="32881"/>
                  </a:lnTo>
                  <a:lnTo>
                    <a:pt x="9905" y="32881"/>
                  </a:lnTo>
                  <a:lnTo>
                    <a:pt x="9863" y="32881"/>
                  </a:lnTo>
                  <a:lnTo>
                    <a:pt x="9863" y="33220"/>
                  </a:lnTo>
                  <a:lnTo>
                    <a:pt x="9821" y="33220"/>
                  </a:lnTo>
                  <a:lnTo>
                    <a:pt x="9821" y="33220"/>
                  </a:lnTo>
                  <a:lnTo>
                    <a:pt x="9821" y="33220"/>
                  </a:lnTo>
                  <a:lnTo>
                    <a:pt x="9821" y="32881"/>
                  </a:lnTo>
                  <a:lnTo>
                    <a:pt x="9821" y="32881"/>
                  </a:lnTo>
                  <a:lnTo>
                    <a:pt x="9863" y="32881"/>
                  </a:lnTo>
                  <a:lnTo>
                    <a:pt x="9905" y="32655"/>
                  </a:lnTo>
                  <a:lnTo>
                    <a:pt x="9905" y="32655"/>
                  </a:lnTo>
                  <a:lnTo>
                    <a:pt x="9863" y="32655"/>
                  </a:lnTo>
                  <a:lnTo>
                    <a:pt x="9821" y="32881"/>
                  </a:lnTo>
                  <a:lnTo>
                    <a:pt x="9821" y="32881"/>
                  </a:lnTo>
                  <a:lnTo>
                    <a:pt x="9821" y="32655"/>
                  </a:lnTo>
                  <a:lnTo>
                    <a:pt x="9821" y="32655"/>
                  </a:lnTo>
                  <a:lnTo>
                    <a:pt x="9821" y="32655"/>
                  </a:lnTo>
                  <a:lnTo>
                    <a:pt x="9610" y="32881"/>
                  </a:lnTo>
                  <a:lnTo>
                    <a:pt x="9463" y="33220"/>
                  </a:lnTo>
                  <a:lnTo>
                    <a:pt x="9358" y="33446"/>
                  </a:lnTo>
                  <a:lnTo>
                    <a:pt x="9274" y="33672"/>
                  </a:lnTo>
                  <a:lnTo>
                    <a:pt x="9127" y="34011"/>
                  </a:lnTo>
                  <a:lnTo>
                    <a:pt x="9022" y="34237"/>
                  </a:lnTo>
                  <a:lnTo>
                    <a:pt x="8958" y="34237"/>
                  </a:lnTo>
                  <a:lnTo>
                    <a:pt x="8916" y="34463"/>
                  </a:lnTo>
                  <a:lnTo>
                    <a:pt x="8874" y="34463"/>
                  </a:lnTo>
                  <a:lnTo>
                    <a:pt x="8874" y="34463"/>
                  </a:lnTo>
                  <a:lnTo>
                    <a:pt x="8874" y="34463"/>
                  </a:lnTo>
                  <a:lnTo>
                    <a:pt x="8811" y="34463"/>
                  </a:lnTo>
                  <a:lnTo>
                    <a:pt x="8811" y="34463"/>
                  </a:lnTo>
                  <a:lnTo>
                    <a:pt x="8811" y="34463"/>
                  </a:lnTo>
                  <a:lnTo>
                    <a:pt x="8727" y="34802"/>
                  </a:lnTo>
                  <a:lnTo>
                    <a:pt x="8664" y="34802"/>
                  </a:lnTo>
                  <a:lnTo>
                    <a:pt x="8664" y="34802"/>
                  </a:lnTo>
                  <a:lnTo>
                    <a:pt x="8664" y="35028"/>
                  </a:lnTo>
                  <a:lnTo>
                    <a:pt x="8622" y="35028"/>
                  </a:lnTo>
                  <a:lnTo>
                    <a:pt x="8580" y="35367"/>
                  </a:lnTo>
                  <a:lnTo>
                    <a:pt x="8580" y="35367"/>
                  </a:lnTo>
                  <a:lnTo>
                    <a:pt x="8580" y="35367"/>
                  </a:lnTo>
                  <a:lnTo>
                    <a:pt x="8622" y="35367"/>
                  </a:lnTo>
                  <a:lnTo>
                    <a:pt x="8664" y="35028"/>
                  </a:lnTo>
                  <a:lnTo>
                    <a:pt x="8727" y="35028"/>
                  </a:lnTo>
                  <a:lnTo>
                    <a:pt x="8727" y="34802"/>
                  </a:lnTo>
                  <a:lnTo>
                    <a:pt x="8727" y="34802"/>
                  </a:lnTo>
                  <a:lnTo>
                    <a:pt x="8769" y="34802"/>
                  </a:lnTo>
                  <a:lnTo>
                    <a:pt x="8769" y="35028"/>
                  </a:lnTo>
                  <a:lnTo>
                    <a:pt x="8769" y="35028"/>
                  </a:lnTo>
                  <a:lnTo>
                    <a:pt x="8874" y="35028"/>
                  </a:lnTo>
                  <a:lnTo>
                    <a:pt x="8874" y="34802"/>
                  </a:lnTo>
                  <a:lnTo>
                    <a:pt x="8916" y="34802"/>
                  </a:lnTo>
                  <a:lnTo>
                    <a:pt x="8958" y="34463"/>
                  </a:lnTo>
                  <a:lnTo>
                    <a:pt x="8958" y="34463"/>
                  </a:lnTo>
                  <a:lnTo>
                    <a:pt x="9022" y="34463"/>
                  </a:lnTo>
                  <a:lnTo>
                    <a:pt x="9022" y="34463"/>
                  </a:lnTo>
                  <a:lnTo>
                    <a:pt x="9022" y="34463"/>
                  </a:lnTo>
                  <a:lnTo>
                    <a:pt x="8958" y="34802"/>
                  </a:lnTo>
                  <a:lnTo>
                    <a:pt x="8958" y="34802"/>
                  </a:lnTo>
                  <a:lnTo>
                    <a:pt x="8958" y="34802"/>
                  </a:lnTo>
                  <a:lnTo>
                    <a:pt x="8958" y="34802"/>
                  </a:lnTo>
                  <a:lnTo>
                    <a:pt x="8958" y="34802"/>
                  </a:lnTo>
                  <a:lnTo>
                    <a:pt x="8958" y="34802"/>
                  </a:lnTo>
                  <a:lnTo>
                    <a:pt x="9022" y="34802"/>
                  </a:lnTo>
                  <a:lnTo>
                    <a:pt x="9064" y="34802"/>
                  </a:lnTo>
                  <a:lnTo>
                    <a:pt x="9064" y="34463"/>
                  </a:lnTo>
                  <a:lnTo>
                    <a:pt x="9127" y="34463"/>
                  </a:lnTo>
                  <a:lnTo>
                    <a:pt x="9169" y="34463"/>
                  </a:lnTo>
                  <a:lnTo>
                    <a:pt x="9358" y="34011"/>
                  </a:lnTo>
                  <a:lnTo>
                    <a:pt x="9358" y="34011"/>
                  </a:lnTo>
                  <a:lnTo>
                    <a:pt x="9421" y="33672"/>
                  </a:lnTo>
                  <a:lnTo>
                    <a:pt x="9463" y="33672"/>
                  </a:lnTo>
                  <a:lnTo>
                    <a:pt x="9463" y="33672"/>
                  </a:lnTo>
                  <a:lnTo>
                    <a:pt x="9505" y="33446"/>
                  </a:lnTo>
                  <a:lnTo>
                    <a:pt x="9568" y="33446"/>
                  </a:lnTo>
                  <a:lnTo>
                    <a:pt x="9568" y="33446"/>
                  </a:lnTo>
                  <a:lnTo>
                    <a:pt x="9610" y="33672"/>
                  </a:lnTo>
                  <a:lnTo>
                    <a:pt x="9610" y="33672"/>
                  </a:lnTo>
                  <a:lnTo>
                    <a:pt x="9610" y="33672"/>
                  </a:lnTo>
                  <a:lnTo>
                    <a:pt x="9568" y="33672"/>
                  </a:lnTo>
                  <a:lnTo>
                    <a:pt x="9568" y="33672"/>
                  </a:lnTo>
                  <a:lnTo>
                    <a:pt x="9505" y="33672"/>
                  </a:lnTo>
                  <a:lnTo>
                    <a:pt x="9505" y="33672"/>
                  </a:lnTo>
                  <a:lnTo>
                    <a:pt x="9463" y="34011"/>
                  </a:lnTo>
                  <a:lnTo>
                    <a:pt x="9421" y="34011"/>
                  </a:lnTo>
                  <a:lnTo>
                    <a:pt x="9421" y="34011"/>
                  </a:lnTo>
                  <a:lnTo>
                    <a:pt x="9463" y="34237"/>
                  </a:lnTo>
                  <a:lnTo>
                    <a:pt x="9505" y="34011"/>
                  </a:lnTo>
                  <a:lnTo>
                    <a:pt x="9568" y="34011"/>
                  </a:lnTo>
                  <a:lnTo>
                    <a:pt x="9610" y="34011"/>
                  </a:lnTo>
                  <a:lnTo>
                    <a:pt x="9652" y="33672"/>
                  </a:lnTo>
                  <a:lnTo>
                    <a:pt x="9652" y="33672"/>
                  </a:lnTo>
                  <a:lnTo>
                    <a:pt x="9716" y="34011"/>
                  </a:lnTo>
                  <a:lnTo>
                    <a:pt x="9716" y="33672"/>
                  </a:lnTo>
                  <a:lnTo>
                    <a:pt x="9758" y="33672"/>
                  </a:lnTo>
                  <a:lnTo>
                    <a:pt x="9758" y="33672"/>
                  </a:lnTo>
                  <a:lnTo>
                    <a:pt x="9821" y="33672"/>
                  </a:lnTo>
                  <a:lnTo>
                    <a:pt x="9821" y="33672"/>
                  </a:lnTo>
                  <a:lnTo>
                    <a:pt x="9863" y="33672"/>
                  </a:lnTo>
                  <a:lnTo>
                    <a:pt x="9863" y="33446"/>
                  </a:lnTo>
                  <a:lnTo>
                    <a:pt x="9905" y="33446"/>
                  </a:lnTo>
                  <a:lnTo>
                    <a:pt x="9968" y="33446"/>
                  </a:lnTo>
                  <a:lnTo>
                    <a:pt x="10052" y="33220"/>
                  </a:lnTo>
                  <a:lnTo>
                    <a:pt x="10115" y="33220"/>
                  </a:lnTo>
                  <a:lnTo>
                    <a:pt x="10115" y="33220"/>
                  </a:lnTo>
                  <a:lnTo>
                    <a:pt x="10157" y="33220"/>
                  </a:lnTo>
                  <a:lnTo>
                    <a:pt x="10157" y="33220"/>
                  </a:lnTo>
                  <a:lnTo>
                    <a:pt x="10199" y="33220"/>
                  </a:lnTo>
                  <a:lnTo>
                    <a:pt x="10199" y="33220"/>
                  </a:lnTo>
                  <a:lnTo>
                    <a:pt x="10199" y="33220"/>
                  </a:lnTo>
                  <a:lnTo>
                    <a:pt x="10199" y="33220"/>
                  </a:lnTo>
                  <a:lnTo>
                    <a:pt x="10157" y="33446"/>
                  </a:lnTo>
                  <a:lnTo>
                    <a:pt x="10115" y="33446"/>
                  </a:lnTo>
                  <a:lnTo>
                    <a:pt x="10157" y="33446"/>
                  </a:lnTo>
                  <a:lnTo>
                    <a:pt x="10199" y="33446"/>
                  </a:lnTo>
                  <a:lnTo>
                    <a:pt x="10199" y="33220"/>
                  </a:lnTo>
                  <a:lnTo>
                    <a:pt x="10262" y="33220"/>
                  </a:lnTo>
                  <a:lnTo>
                    <a:pt x="10304" y="33220"/>
                  </a:lnTo>
                  <a:lnTo>
                    <a:pt x="10599" y="32655"/>
                  </a:lnTo>
                  <a:lnTo>
                    <a:pt x="10662" y="32655"/>
                  </a:lnTo>
                  <a:lnTo>
                    <a:pt x="10704" y="32429"/>
                  </a:lnTo>
                  <a:lnTo>
                    <a:pt x="10746" y="32429"/>
                  </a:lnTo>
                  <a:lnTo>
                    <a:pt x="10746" y="32429"/>
                  </a:lnTo>
                  <a:lnTo>
                    <a:pt x="10746" y="32429"/>
                  </a:lnTo>
                  <a:lnTo>
                    <a:pt x="10704" y="32655"/>
                  </a:lnTo>
                  <a:lnTo>
                    <a:pt x="10704" y="32655"/>
                  </a:lnTo>
                  <a:lnTo>
                    <a:pt x="10704" y="32655"/>
                  </a:lnTo>
                  <a:lnTo>
                    <a:pt x="10746" y="32429"/>
                  </a:lnTo>
                  <a:lnTo>
                    <a:pt x="10851" y="32429"/>
                  </a:lnTo>
                  <a:lnTo>
                    <a:pt x="10851" y="32429"/>
                  </a:lnTo>
                  <a:lnTo>
                    <a:pt x="10851" y="32090"/>
                  </a:lnTo>
                  <a:lnTo>
                    <a:pt x="10851" y="32090"/>
                  </a:lnTo>
                  <a:lnTo>
                    <a:pt x="10851" y="32090"/>
                  </a:lnTo>
                  <a:lnTo>
                    <a:pt x="10851" y="32090"/>
                  </a:lnTo>
                  <a:lnTo>
                    <a:pt x="10809" y="32090"/>
                  </a:lnTo>
                  <a:lnTo>
                    <a:pt x="10809" y="32090"/>
                  </a:lnTo>
                  <a:lnTo>
                    <a:pt x="10851" y="31864"/>
                  </a:lnTo>
                  <a:lnTo>
                    <a:pt x="10893" y="31864"/>
                  </a:lnTo>
                  <a:lnTo>
                    <a:pt x="10956" y="31525"/>
                  </a:lnTo>
                  <a:lnTo>
                    <a:pt x="10998" y="31525"/>
                  </a:lnTo>
                  <a:lnTo>
                    <a:pt x="11041" y="31525"/>
                  </a:lnTo>
                  <a:lnTo>
                    <a:pt x="11041" y="31525"/>
                  </a:lnTo>
                  <a:lnTo>
                    <a:pt x="11104" y="31525"/>
                  </a:lnTo>
                  <a:lnTo>
                    <a:pt x="11104" y="31525"/>
                  </a:lnTo>
                  <a:lnTo>
                    <a:pt x="11104" y="31525"/>
                  </a:lnTo>
                  <a:lnTo>
                    <a:pt x="11104" y="31525"/>
                  </a:lnTo>
                  <a:lnTo>
                    <a:pt x="11104" y="31525"/>
                  </a:lnTo>
                  <a:lnTo>
                    <a:pt x="11104" y="31299"/>
                  </a:lnTo>
                  <a:lnTo>
                    <a:pt x="11209" y="31299"/>
                  </a:lnTo>
                  <a:lnTo>
                    <a:pt x="11251" y="31299"/>
                  </a:lnTo>
                  <a:lnTo>
                    <a:pt x="11251" y="31299"/>
                  </a:lnTo>
                  <a:lnTo>
                    <a:pt x="11251" y="31299"/>
                  </a:lnTo>
                  <a:lnTo>
                    <a:pt x="11293" y="31299"/>
                  </a:lnTo>
                  <a:lnTo>
                    <a:pt x="11293" y="31299"/>
                  </a:lnTo>
                  <a:lnTo>
                    <a:pt x="11356" y="31073"/>
                  </a:lnTo>
                  <a:lnTo>
                    <a:pt x="11398" y="31073"/>
                  </a:lnTo>
                  <a:lnTo>
                    <a:pt x="11440" y="30734"/>
                  </a:lnTo>
                  <a:lnTo>
                    <a:pt x="11440" y="30734"/>
                  </a:lnTo>
                  <a:lnTo>
                    <a:pt x="11440" y="30734"/>
                  </a:lnTo>
                  <a:lnTo>
                    <a:pt x="11503" y="30734"/>
                  </a:lnTo>
                  <a:lnTo>
                    <a:pt x="11503" y="30734"/>
                  </a:lnTo>
                  <a:lnTo>
                    <a:pt x="11545" y="30734"/>
                  </a:lnTo>
                  <a:lnTo>
                    <a:pt x="11587" y="30734"/>
                  </a:lnTo>
                  <a:lnTo>
                    <a:pt x="11650" y="30508"/>
                  </a:lnTo>
                  <a:lnTo>
                    <a:pt x="11650" y="30508"/>
                  </a:lnTo>
                  <a:lnTo>
                    <a:pt x="11692" y="30508"/>
                  </a:lnTo>
                  <a:lnTo>
                    <a:pt x="11692" y="30508"/>
                  </a:lnTo>
                  <a:lnTo>
                    <a:pt x="11735" y="30508"/>
                  </a:lnTo>
                  <a:lnTo>
                    <a:pt x="11735" y="30508"/>
                  </a:lnTo>
                  <a:lnTo>
                    <a:pt x="11798" y="30282"/>
                  </a:lnTo>
                  <a:lnTo>
                    <a:pt x="11840" y="30282"/>
                  </a:lnTo>
                  <a:lnTo>
                    <a:pt x="11840" y="30282"/>
                  </a:lnTo>
                  <a:lnTo>
                    <a:pt x="11945" y="29943"/>
                  </a:lnTo>
                  <a:lnTo>
                    <a:pt x="11945" y="29943"/>
                  </a:lnTo>
                  <a:lnTo>
                    <a:pt x="11945" y="29717"/>
                  </a:lnTo>
                  <a:lnTo>
                    <a:pt x="11945" y="29717"/>
                  </a:lnTo>
                  <a:lnTo>
                    <a:pt x="11945" y="29717"/>
                  </a:lnTo>
                  <a:lnTo>
                    <a:pt x="11987" y="29717"/>
                  </a:lnTo>
                  <a:lnTo>
                    <a:pt x="12092" y="29491"/>
                  </a:lnTo>
                  <a:lnTo>
                    <a:pt x="12134" y="29491"/>
                  </a:lnTo>
                  <a:lnTo>
                    <a:pt x="12134" y="29491"/>
                  </a:lnTo>
                  <a:lnTo>
                    <a:pt x="12134" y="29491"/>
                  </a:lnTo>
                  <a:lnTo>
                    <a:pt x="12197" y="29152"/>
                  </a:lnTo>
                  <a:lnTo>
                    <a:pt x="12239" y="29152"/>
                  </a:lnTo>
                  <a:lnTo>
                    <a:pt x="12281" y="29152"/>
                  </a:lnTo>
                  <a:lnTo>
                    <a:pt x="12281" y="29152"/>
                  </a:lnTo>
                  <a:lnTo>
                    <a:pt x="12344" y="29152"/>
                  </a:lnTo>
                  <a:lnTo>
                    <a:pt x="12386" y="28926"/>
                  </a:lnTo>
                  <a:lnTo>
                    <a:pt x="12429" y="28926"/>
                  </a:lnTo>
                  <a:lnTo>
                    <a:pt x="12429" y="28926"/>
                  </a:lnTo>
                  <a:lnTo>
                    <a:pt x="12492" y="28926"/>
                  </a:lnTo>
                  <a:lnTo>
                    <a:pt x="12534" y="28587"/>
                  </a:lnTo>
                  <a:lnTo>
                    <a:pt x="12597" y="28587"/>
                  </a:lnTo>
                  <a:lnTo>
                    <a:pt x="12639" y="28587"/>
                  </a:lnTo>
                  <a:lnTo>
                    <a:pt x="12681" y="28361"/>
                  </a:lnTo>
                  <a:lnTo>
                    <a:pt x="12744" y="28135"/>
                  </a:lnTo>
                  <a:lnTo>
                    <a:pt x="12933" y="28135"/>
                  </a:lnTo>
                  <a:lnTo>
                    <a:pt x="12933" y="28135"/>
                  </a:lnTo>
                  <a:lnTo>
                    <a:pt x="12933" y="28135"/>
                  </a:lnTo>
                  <a:lnTo>
                    <a:pt x="13038" y="27796"/>
                  </a:lnTo>
                  <a:lnTo>
                    <a:pt x="13038" y="27796"/>
                  </a:lnTo>
                  <a:lnTo>
                    <a:pt x="13080" y="27796"/>
                  </a:lnTo>
                  <a:lnTo>
                    <a:pt x="13123" y="27796"/>
                  </a:lnTo>
                  <a:lnTo>
                    <a:pt x="13123" y="27570"/>
                  </a:lnTo>
                  <a:lnTo>
                    <a:pt x="13123" y="27570"/>
                  </a:lnTo>
                  <a:lnTo>
                    <a:pt x="13123" y="27570"/>
                  </a:lnTo>
                  <a:lnTo>
                    <a:pt x="13228" y="27570"/>
                  </a:lnTo>
                  <a:lnTo>
                    <a:pt x="13228" y="27344"/>
                  </a:lnTo>
                  <a:lnTo>
                    <a:pt x="13291" y="27344"/>
                  </a:lnTo>
                  <a:lnTo>
                    <a:pt x="13291" y="27005"/>
                  </a:lnTo>
                  <a:lnTo>
                    <a:pt x="13375" y="27005"/>
                  </a:lnTo>
                  <a:lnTo>
                    <a:pt x="13438" y="27005"/>
                  </a:lnTo>
                  <a:lnTo>
                    <a:pt x="13480" y="26779"/>
                  </a:lnTo>
                  <a:lnTo>
                    <a:pt x="13522" y="26779"/>
                  </a:lnTo>
                  <a:lnTo>
                    <a:pt x="13627" y="26553"/>
                  </a:lnTo>
                  <a:lnTo>
                    <a:pt x="13669" y="26553"/>
                  </a:lnTo>
                  <a:lnTo>
                    <a:pt x="13669" y="26214"/>
                  </a:lnTo>
                  <a:lnTo>
                    <a:pt x="13732" y="26214"/>
                  </a:lnTo>
                  <a:lnTo>
                    <a:pt x="13732" y="26214"/>
                  </a:lnTo>
                  <a:lnTo>
                    <a:pt x="13732" y="26214"/>
                  </a:lnTo>
                  <a:lnTo>
                    <a:pt x="13669" y="25988"/>
                  </a:lnTo>
                  <a:lnTo>
                    <a:pt x="13627" y="25988"/>
                  </a:lnTo>
                  <a:lnTo>
                    <a:pt x="13627" y="25988"/>
                  </a:lnTo>
                  <a:lnTo>
                    <a:pt x="13585" y="25649"/>
                  </a:lnTo>
                  <a:lnTo>
                    <a:pt x="13585" y="25649"/>
                  </a:lnTo>
                  <a:lnTo>
                    <a:pt x="13627" y="25423"/>
                  </a:lnTo>
                  <a:lnTo>
                    <a:pt x="13669" y="25423"/>
                  </a:lnTo>
                  <a:lnTo>
                    <a:pt x="13669" y="25197"/>
                  </a:lnTo>
                  <a:lnTo>
                    <a:pt x="13817" y="24858"/>
                  </a:lnTo>
                  <a:lnTo>
                    <a:pt x="13880" y="24858"/>
                  </a:lnTo>
                  <a:lnTo>
                    <a:pt x="13922" y="24858"/>
                  </a:lnTo>
                  <a:lnTo>
                    <a:pt x="13985" y="24632"/>
                  </a:lnTo>
                  <a:lnTo>
                    <a:pt x="13985" y="24632"/>
                  </a:lnTo>
                  <a:lnTo>
                    <a:pt x="13985" y="24632"/>
                  </a:lnTo>
                  <a:lnTo>
                    <a:pt x="13985" y="24632"/>
                  </a:lnTo>
                  <a:lnTo>
                    <a:pt x="14069" y="24406"/>
                  </a:lnTo>
                  <a:lnTo>
                    <a:pt x="14069" y="24406"/>
                  </a:lnTo>
                  <a:lnTo>
                    <a:pt x="14132" y="24406"/>
                  </a:lnTo>
                  <a:lnTo>
                    <a:pt x="14069" y="24406"/>
                  </a:lnTo>
                  <a:lnTo>
                    <a:pt x="14069" y="24632"/>
                  </a:lnTo>
                  <a:lnTo>
                    <a:pt x="14069" y="24632"/>
                  </a:lnTo>
                  <a:lnTo>
                    <a:pt x="14132" y="24632"/>
                  </a:lnTo>
                  <a:lnTo>
                    <a:pt x="14174" y="24406"/>
                  </a:lnTo>
                  <a:lnTo>
                    <a:pt x="14216" y="24406"/>
                  </a:lnTo>
                  <a:lnTo>
                    <a:pt x="14216" y="24406"/>
                  </a:lnTo>
                  <a:lnTo>
                    <a:pt x="14216" y="24406"/>
                  </a:lnTo>
                  <a:lnTo>
                    <a:pt x="14216" y="24067"/>
                  </a:lnTo>
                  <a:lnTo>
                    <a:pt x="14216" y="24067"/>
                  </a:lnTo>
                  <a:lnTo>
                    <a:pt x="14279" y="24067"/>
                  </a:lnTo>
                  <a:lnTo>
                    <a:pt x="14321" y="24067"/>
                  </a:lnTo>
                  <a:lnTo>
                    <a:pt x="14363" y="24067"/>
                  </a:lnTo>
                  <a:lnTo>
                    <a:pt x="14468" y="23841"/>
                  </a:lnTo>
                  <a:lnTo>
                    <a:pt x="14468" y="23841"/>
                  </a:lnTo>
                  <a:lnTo>
                    <a:pt x="14511" y="23615"/>
                  </a:lnTo>
                  <a:lnTo>
                    <a:pt x="14511" y="23615"/>
                  </a:lnTo>
                  <a:lnTo>
                    <a:pt x="14511" y="23615"/>
                  </a:lnTo>
                  <a:lnTo>
                    <a:pt x="14511" y="23276"/>
                  </a:lnTo>
                  <a:lnTo>
                    <a:pt x="14468" y="23276"/>
                  </a:lnTo>
                  <a:lnTo>
                    <a:pt x="14468" y="23276"/>
                  </a:lnTo>
                  <a:lnTo>
                    <a:pt x="14511" y="23276"/>
                  </a:lnTo>
                  <a:lnTo>
                    <a:pt x="14511" y="23276"/>
                  </a:lnTo>
                  <a:lnTo>
                    <a:pt x="14574" y="23276"/>
                  </a:lnTo>
                  <a:lnTo>
                    <a:pt x="14574" y="23276"/>
                  </a:lnTo>
                  <a:lnTo>
                    <a:pt x="14616" y="23276"/>
                  </a:lnTo>
                  <a:lnTo>
                    <a:pt x="14721" y="23050"/>
                  </a:lnTo>
                  <a:lnTo>
                    <a:pt x="14763" y="23050"/>
                  </a:lnTo>
                  <a:lnTo>
                    <a:pt x="14763" y="23050"/>
                  </a:lnTo>
                  <a:lnTo>
                    <a:pt x="14763" y="22711"/>
                  </a:lnTo>
                  <a:lnTo>
                    <a:pt x="14763" y="22711"/>
                  </a:lnTo>
                  <a:lnTo>
                    <a:pt x="14826" y="22711"/>
                  </a:lnTo>
                  <a:lnTo>
                    <a:pt x="14973" y="22485"/>
                  </a:lnTo>
                  <a:lnTo>
                    <a:pt x="15057" y="22259"/>
                  </a:lnTo>
                  <a:lnTo>
                    <a:pt x="15057" y="22259"/>
                  </a:lnTo>
                  <a:lnTo>
                    <a:pt x="15120" y="22259"/>
                  </a:lnTo>
                  <a:lnTo>
                    <a:pt x="15120" y="21920"/>
                  </a:lnTo>
                  <a:lnTo>
                    <a:pt x="15162" y="21920"/>
                  </a:lnTo>
                  <a:lnTo>
                    <a:pt x="15162" y="21920"/>
                  </a:lnTo>
                  <a:lnTo>
                    <a:pt x="15268" y="21694"/>
                  </a:lnTo>
                  <a:lnTo>
                    <a:pt x="15310" y="21694"/>
                  </a:lnTo>
                  <a:lnTo>
                    <a:pt x="15373" y="21694"/>
                  </a:lnTo>
                  <a:lnTo>
                    <a:pt x="15457" y="21468"/>
                  </a:lnTo>
                  <a:lnTo>
                    <a:pt x="15520" y="21468"/>
                  </a:lnTo>
                  <a:lnTo>
                    <a:pt x="15562" y="21129"/>
                  </a:lnTo>
                  <a:lnTo>
                    <a:pt x="15709" y="21129"/>
                  </a:lnTo>
                  <a:lnTo>
                    <a:pt x="15751" y="20903"/>
                  </a:lnTo>
                  <a:lnTo>
                    <a:pt x="15751" y="21129"/>
                  </a:lnTo>
                  <a:lnTo>
                    <a:pt x="15751" y="21129"/>
                  </a:lnTo>
                  <a:lnTo>
                    <a:pt x="15856" y="21129"/>
                  </a:lnTo>
                  <a:lnTo>
                    <a:pt x="15899" y="21129"/>
                  </a:lnTo>
                  <a:lnTo>
                    <a:pt x="15899" y="21129"/>
                  </a:lnTo>
                  <a:lnTo>
                    <a:pt x="15962" y="20903"/>
                  </a:lnTo>
                  <a:lnTo>
                    <a:pt x="16004" y="20903"/>
                  </a:lnTo>
                  <a:lnTo>
                    <a:pt x="16109" y="20564"/>
                  </a:lnTo>
                  <a:lnTo>
                    <a:pt x="16109" y="20564"/>
                  </a:lnTo>
                  <a:lnTo>
                    <a:pt x="16151" y="20564"/>
                  </a:lnTo>
                  <a:lnTo>
                    <a:pt x="16214" y="20564"/>
                  </a:lnTo>
                  <a:lnTo>
                    <a:pt x="16109" y="20903"/>
                  </a:lnTo>
                  <a:lnTo>
                    <a:pt x="16004" y="20903"/>
                  </a:lnTo>
                  <a:lnTo>
                    <a:pt x="15962" y="20903"/>
                  </a:lnTo>
                  <a:lnTo>
                    <a:pt x="15899" y="21129"/>
                  </a:lnTo>
                  <a:lnTo>
                    <a:pt x="15899" y="21129"/>
                  </a:lnTo>
                  <a:lnTo>
                    <a:pt x="15899" y="21129"/>
                  </a:lnTo>
                  <a:lnTo>
                    <a:pt x="15856" y="21129"/>
                  </a:lnTo>
                  <a:lnTo>
                    <a:pt x="15814" y="21468"/>
                  </a:lnTo>
                  <a:lnTo>
                    <a:pt x="15814" y="21468"/>
                  </a:lnTo>
                  <a:lnTo>
                    <a:pt x="15899" y="21694"/>
                  </a:lnTo>
                  <a:lnTo>
                    <a:pt x="15899" y="21694"/>
                  </a:lnTo>
                  <a:lnTo>
                    <a:pt x="16004" y="21694"/>
                  </a:lnTo>
                  <a:lnTo>
                    <a:pt x="16004" y="21920"/>
                  </a:lnTo>
                  <a:lnTo>
                    <a:pt x="16004" y="21920"/>
                  </a:lnTo>
                  <a:lnTo>
                    <a:pt x="15962" y="21920"/>
                  </a:lnTo>
                  <a:lnTo>
                    <a:pt x="15856" y="21694"/>
                  </a:lnTo>
                  <a:lnTo>
                    <a:pt x="15814" y="21694"/>
                  </a:lnTo>
                  <a:lnTo>
                    <a:pt x="15709" y="21694"/>
                  </a:lnTo>
                  <a:lnTo>
                    <a:pt x="15709" y="21694"/>
                  </a:lnTo>
                  <a:lnTo>
                    <a:pt x="15667" y="21694"/>
                  </a:lnTo>
                  <a:lnTo>
                    <a:pt x="15667" y="21694"/>
                  </a:lnTo>
                  <a:lnTo>
                    <a:pt x="15667" y="21694"/>
                  </a:lnTo>
                  <a:lnTo>
                    <a:pt x="15667" y="21694"/>
                  </a:lnTo>
                  <a:lnTo>
                    <a:pt x="15457" y="21920"/>
                  </a:lnTo>
                  <a:lnTo>
                    <a:pt x="15415" y="21920"/>
                  </a:lnTo>
                  <a:lnTo>
                    <a:pt x="15205" y="22259"/>
                  </a:lnTo>
                  <a:lnTo>
                    <a:pt x="15205" y="22259"/>
                  </a:lnTo>
                  <a:lnTo>
                    <a:pt x="15162" y="22485"/>
                  </a:lnTo>
                  <a:lnTo>
                    <a:pt x="15120" y="22711"/>
                  </a:lnTo>
                  <a:lnTo>
                    <a:pt x="15120" y="22711"/>
                  </a:lnTo>
                  <a:lnTo>
                    <a:pt x="14973" y="23276"/>
                  </a:lnTo>
                  <a:lnTo>
                    <a:pt x="14910" y="23276"/>
                  </a:lnTo>
                  <a:lnTo>
                    <a:pt x="14826" y="23615"/>
                  </a:lnTo>
                  <a:lnTo>
                    <a:pt x="14721" y="23841"/>
                  </a:lnTo>
                  <a:lnTo>
                    <a:pt x="14679" y="24067"/>
                  </a:lnTo>
                  <a:lnTo>
                    <a:pt x="14616" y="24406"/>
                  </a:lnTo>
                  <a:lnTo>
                    <a:pt x="14574" y="24406"/>
                  </a:lnTo>
                  <a:lnTo>
                    <a:pt x="14574" y="24632"/>
                  </a:lnTo>
                  <a:lnTo>
                    <a:pt x="14616" y="24632"/>
                  </a:lnTo>
                  <a:lnTo>
                    <a:pt x="14679" y="24632"/>
                  </a:lnTo>
                  <a:lnTo>
                    <a:pt x="14679" y="24632"/>
                  </a:lnTo>
                  <a:lnTo>
                    <a:pt x="14868" y="24406"/>
                  </a:lnTo>
                  <a:lnTo>
                    <a:pt x="14868" y="24406"/>
                  </a:lnTo>
                  <a:lnTo>
                    <a:pt x="14868" y="24406"/>
                  </a:lnTo>
                  <a:lnTo>
                    <a:pt x="14721" y="24632"/>
                  </a:lnTo>
                  <a:lnTo>
                    <a:pt x="14679" y="24632"/>
                  </a:lnTo>
                  <a:lnTo>
                    <a:pt x="14616" y="24858"/>
                  </a:lnTo>
                  <a:lnTo>
                    <a:pt x="14574" y="24858"/>
                  </a:lnTo>
                  <a:lnTo>
                    <a:pt x="14511" y="25197"/>
                  </a:lnTo>
                  <a:lnTo>
                    <a:pt x="14426" y="25197"/>
                  </a:lnTo>
                  <a:lnTo>
                    <a:pt x="14426" y="25197"/>
                  </a:lnTo>
                  <a:lnTo>
                    <a:pt x="14363" y="25197"/>
                  </a:lnTo>
                  <a:lnTo>
                    <a:pt x="14321" y="25423"/>
                  </a:lnTo>
                  <a:lnTo>
                    <a:pt x="14321" y="25423"/>
                  </a:lnTo>
                  <a:lnTo>
                    <a:pt x="14321" y="25423"/>
                  </a:lnTo>
                  <a:lnTo>
                    <a:pt x="14363" y="25649"/>
                  </a:lnTo>
                  <a:lnTo>
                    <a:pt x="14363" y="25649"/>
                  </a:lnTo>
                  <a:lnTo>
                    <a:pt x="14468" y="25423"/>
                  </a:lnTo>
                  <a:lnTo>
                    <a:pt x="14511" y="25423"/>
                  </a:lnTo>
                  <a:lnTo>
                    <a:pt x="14511" y="25423"/>
                  </a:lnTo>
                  <a:lnTo>
                    <a:pt x="14511" y="25423"/>
                  </a:lnTo>
                  <a:lnTo>
                    <a:pt x="14574" y="25423"/>
                  </a:lnTo>
                  <a:lnTo>
                    <a:pt x="14574" y="25423"/>
                  </a:lnTo>
                  <a:lnTo>
                    <a:pt x="14574" y="25423"/>
                  </a:lnTo>
                  <a:lnTo>
                    <a:pt x="14574" y="25423"/>
                  </a:lnTo>
                  <a:lnTo>
                    <a:pt x="14616" y="25423"/>
                  </a:lnTo>
                  <a:lnTo>
                    <a:pt x="14616" y="25423"/>
                  </a:lnTo>
                  <a:lnTo>
                    <a:pt x="14616" y="25423"/>
                  </a:lnTo>
                  <a:lnTo>
                    <a:pt x="14679" y="25423"/>
                  </a:lnTo>
                  <a:lnTo>
                    <a:pt x="14721" y="25197"/>
                  </a:lnTo>
                  <a:lnTo>
                    <a:pt x="14826" y="25197"/>
                  </a:lnTo>
                  <a:lnTo>
                    <a:pt x="14826" y="24858"/>
                  </a:lnTo>
                  <a:lnTo>
                    <a:pt x="14868" y="24858"/>
                  </a:lnTo>
                  <a:lnTo>
                    <a:pt x="14868" y="24858"/>
                  </a:lnTo>
                  <a:lnTo>
                    <a:pt x="14910" y="24858"/>
                  </a:lnTo>
                  <a:lnTo>
                    <a:pt x="14910" y="24858"/>
                  </a:lnTo>
                  <a:lnTo>
                    <a:pt x="14910" y="24858"/>
                  </a:lnTo>
                  <a:lnTo>
                    <a:pt x="14973" y="24858"/>
                  </a:lnTo>
                  <a:lnTo>
                    <a:pt x="15015" y="24858"/>
                  </a:lnTo>
                  <a:lnTo>
                    <a:pt x="15015" y="24858"/>
                  </a:lnTo>
                  <a:lnTo>
                    <a:pt x="15015" y="24858"/>
                  </a:lnTo>
                  <a:lnTo>
                    <a:pt x="15162" y="24632"/>
                  </a:lnTo>
                  <a:lnTo>
                    <a:pt x="15162" y="24406"/>
                  </a:lnTo>
                  <a:lnTo>
                    <a:pt x="15162" y="24406"/>
                  </a:lnTo>
                  <a:lnTo>
                    <a:pt x="15162" y="24406"/>
                  </a:lnTo>
                  <a:lnTo>
                    <a:pt x="15205" y="24406"/>
                  </a:lnTo>
                  <a:lnTo>
                    <a:pt x="15205" y="24406"/>
                  </a:lnTo>
                  <a:lnTo>
                    <a:pt x="15205" y="24406"/>
                  </a:lnTo>
                  <a:lnTo>
                    <a:pt x="15268" y="24067"/>
                  </a:lnTo>
                  <a:lnTo>
                    <a:pt x="15268" y="24067"/>
                  </a:lnTo>
                  <a:lnTo>
                    <a:pt x="15310" y="24067"/>
                  </a:lnTo>
                  <a:lnTo>
                    <a:pt x="15310" y="24067"/>
                  </a:lnTo>
                  <a:lnTo>
                    <a:pt x="15310" y="24406"/>
                  </a:lnTo>
                  <a:lnTo>
                    <a:pt x="15310" y="24406"/>
                  </a:lnTo>
                  <a:lnTo>
                    <a:pt x="15310" y="24406"/>
                  </a:lnTo>
                  <a:lnTo>
                    <a:pt x="15373" y="24067"/>
                  </a:lnTo>
                  <a:lnTo>
                    <a:pt x="15415" y="23841"/>
                  </a:lnTo>
                  <a:lnTo>
                    <a:pt x="15457" y="23841"/>
                  </a:lnTo>
                  <a:lnTo>
                    <a:pt x="15520" y="23615"/>
                  </a:lnTo>
                  <a:lnTo>
                    <a:pt x="15520" y="23615"/>
                  </a:lnTo>
                  <a:lnTo>
                    <a:pt x="15520" y="23841"/>
                  </a:lnTo>
                  <a:lnTo>
                    <a:pt x="15520" y="23841"/>
                  </a:lnTo>
                  <a:lnTo>
                    <a:pt x="15562" y="23841"/>
                  </a:lnTo>
                  <a:lnTo>
                    <a:pt x="15562" y="23841"/>
                  </a:lnTo>
                  <a:lnTo>
                    <a:pt x="15562" y="23841"/>
                  </a:lnTo>
                  <a:lnTo>
                    <a:pt x="15604" y="23841"/>
                  </a:lnTo>
                  <a:lnTo>
                    <a:pt x="15667" y="24067"/>
                  </a:lnTo>
                  <a:lnTo>
                    <a:pt x="15709" y="23841"/>
                  </a:lnTo>
                  <a:lnTo>
                    <a:pt x="15709" y="23841"/>
                  </a:lnTo>
                  <a:lnTo>
                    <a:pt x="15709" y="23841"/>
                  </a:lnTo>
                  <a:lnTo>
                    <a:pt x="15751" y="23841"/>
                  </a:lnTo>
                  <a:lnTo>
                    <a:pt x="15751" y="23841"/>
                  </a:lnTo>
                  <a:lnTo>
                    <a:pt x="15751" y="23841"/>
                  </a:lnTo>
                  <a:lnTo>
                    <a:pt x="15856" y="23615"/>
                  </a:lnTo>
                  <a:lnTo>
                    <a:pt x="15899" y="23615"/>
                  </a:lnTo>
                  <a:lnTo>
                    <a:pt x="15899" y="23615"/>
                  </a:lnTo>
                  <a:lnTo>
                    <a:pt x="15899" y="23615"/>
                  </a:lnTo>
                  <a:lnTo>
                    <a:pt x="15899" y="23615"/>
                  </a:lnTo>
                  <a:lnTo>
                    <a:pt x="15962" y="23276"/>
                  </a:lnTo>
                  <a:lnTo>
                    <a:pt x="16004" y="23050"/>
                  </a:lnTo>
                  <a:lnTo>
                    <a:pt x="16004" y="23050"/>
                  </a:lnTo>
                  <a:lnTo>
                    <a:pt x="16067" y="23050"/>
                  </a:lnTo>
                  <a:lnTo>
                    <a:pt x="16067" y="23050"/>
                  </a:lnTo>
                  <a:lnTo>
                    <a:pt x="16109" y="23050"/>
                  </a:lnTo>
                  <a:lnTo>
                    <a:pt x="16109" y="22711"/>
                  </a:lnTo>
                  <a:lnTo>
                    <a:pt x="16151" y="22711"/>
                  </a:lnTo>
                  <a:lnTo>
                    <a:pt x="16151" y="22711"/>
                  </a:lnTo>
                  <a:lnTo>
                    <a:pt x="16151" y="22485"/>
                  </a:lnTo>
                  <a:lnTo>
                    <a:pt x="16151" y="22485"/>
                  </a:lnTo>
                  <a:lnTo>
                    <a:pt x="16109" y="22711"/>
                  </a:lnTo>
                  <a:lnTo>
                    <a:pt x="16067" y="22711"/>
                  </a:lnTo>
                  <a:lnTo>
                    <a:pt x="16004" y="22711"/>
                  </a:lnTo>
                  <a:lnTo>
                    <a:pt x="15962" y="22711"/>
                  </a:lnTo>
                  <a:lnTo>
                    <a:pt x="15962" y="22711"/>
                  </a:lnTo>
                  <a:lnTo>
                    <a:pt x="15962" y="22711"/>
                  </a:lnTo>
                  <a:lnTo>
                    <a:pt x="15962" y="22711"/>
                  </a:lnTo>
                  <a:lnTo>
                    <a:pt x="16004" y="22485"/>
                  </a:lnTo>
                  <a:lnTo>
                    <a:pt x="16067" y="22485"/>
                  </a:lnTo>
                  <a:lnTo>
                    <a:pt x="16067" y="22485"/>
                  </a:lnTo>
                  <a:lnTo>
                    <a:pt x="16109" y="22485"/>
                  </a:lnTo>
                  <a:lnTo>
                    <a:pt x="16109" y="22485"/>
                  </a:lnTo>
                  <a:lnTo>
                    <a:pt x="16151" y="22485"/>
                  </a:lnTo>
                  <a:lnTo>
                    <a:pt x="16151" y="22259"/>
                  </a:lnTo>
                  <a:lnTo>
                    <a:pt x="16151" y="22259"/>
                  </a:lnTo>
                  <a:lnTo>
                    <a:pt x="16109" y="22259"/>
                  </a:lnTo>
                  <a:lnTo>
                    <a:pt x="16109" y="22259"/>
                  </a:lnTo>
                  <a:lnTo>
                    <a:pt x="16109" y="21920"/>
                  </a:lnTo>
                  <a:lnTo>
                    <a:pt x="16151" y="21920"/>
                  </a:lnTo>
                  <a:lnTo>
                    <a:pt x="16151" y="21920"/>
                  </a:lnTo>
                  <a:lnTo>
                    <a:pt x="16214" y="21920"/>
                  </a:lnTo>
                  <a:lnTo>
                    <a:pt x="16256" y="21694"/>
                  </a:lnTo>
                  <a:lnTo>
                    <a:pt x="16361" y="21694"/>
                  </a:lnTo>
                  <a:lnTo>
                    <a:pt x="16361" y="21694"/>
                  </a:lnTo>
                  <a:lnTo>
                    <a:pt x="16298" y="21694"/>
                  </a:lnTo>
                  <a:lnTo>
                    <a:pt x="16256" y="21694"/>
                  </a:lnTo>
                  <a:lnTo>
                    <a:pt x="16256" y="21694"/>
                  </a:lnTo>
                  <a:lnTo>
                    <a:pt x="16256" y="21694"/>
                  </a:lnTo>
                  <a:lnTo>
                    <a:pt x="16298" y="21468"/>
                  </a:lnTo>
                  <a:lnTo>
                    <a:pt x="16361" y="21468"/>
                  </a:lnTo>
                  <a:lnTo>
                    <a:pt x="16361" y="21468"/>
                  </a:lnTo>
                  <a:lnTo>
                    <a:pt x="16361" y="21468"/>
                  </a:lnTo>
                  <a:lnTo>
                    <a:pt x="16403" y="21468"/>
                  </a:lnTo>
                  <a:lnTo>
                    <a:pt x="16445" y="21468"/>
                  </a:lnTo>
                  <a:lnTo>
                    <a:pt x="16508" y="21129"/>
                  </a:lnTo>
                  <a:lnTo>
                    <a:pt x="16550" y="21129"/>
                  </a:lnTo>
                  <a:lnTo>
                    <a:pt x="16550" y="21129"/>
                  </a:lnTo>
                  <a:lnTo>
                    <a:pt x="16403" y="21694"/>
                  </a:lnTo>
                  <a:lnTo>
                    <a:pt x="16361" y="21694"/>
                  </a:lnTo>
                  <a:lnTo>
                    <a:pt x="16361" y="21694"/>
                  </a:lnTo>
                  <a:lnTo>
                    <a:pt x="16361" y="21920"/>
                  </a:lnTo>
                  <a:lnTo>
                    <a:pt x="16403" y="21920"/>
                  </a:lnTo>
                  <a:lnTo>
                    <a:pt x="16445" y="21920"/>
                  </a:lnTo>
                  <a:lnTo>
                    <a:pt x="16445" y="21694"/>
                  </a:lnTo>
                  <a:lnTo>
                    <a:pt x="16508" y="21694"/>
                  </a:lnTo>
                  <a:lnTo>
                    <a:pt x="16508" y="21694"/>
                  </a:lnTo>
                  <a:lnTo>
                    <a:pt x="16508" y="21694"/>
                  </a:lnTo>
                  <a:lnTo>
                    <a:pt x="16550" y="21694"/>
                  </a:lnTo>
                  <a:lnTo>
                    <a:pt x="16550" y="21920"/>
                  </a:lnTo>
                  <a:lnTo>
                    <a:pt x="16550" y="21920"/>
                  </a:lnTo>
                  <a:lnTo>
                    <a:pt x="16550" y="21920"/>
                  </a:lnTo>
                  <a:lnTo>
                    <a:pt x="16550" y="21694"/>
                  </a:lnTo>
                  <a:lnTo>
                    <a:pt x="16593" y="21694"/>
                  </a:lnTo>
                  <a:lnTo>
                    <a:pt x="16656" y="21694"/>
                  </a:lnTo>
                  <a:lnTo>
                    <a:pt x="16656" y="21694"/>
                  </a:lnTo>
                  <a:lnTo>
                    <a:pt x="16698" y="21694"/>
                  </a:lnTo>
                  <a:lnTo>
                    <a:pt x="16698" y="21694"/>
                  </a:lnTo>
                  <a:lnTo>
                    <a:pt x="16761" y="21694"/>
                  </a:lnTo>
                  <a:lnTo>
                    <a:pt x="16803" y="21468"/>
                  </a:lnTo>
                  <a:lnTo>
                    <a:pt x="16908" y="21468"/>
                  </a:lnTo>
                  <a:lnTo>
                    <a:pt x="16950" y="21468"/>
                  </a:lnTo>
                  <a:lnTo>
                    <a:pt x="16950" y="21468"/>
                  </a:lnTo>
                  <a:lnTo>
                    <a:pt x="16845" y="21694"/>
                  </a:lnTo>
                  <a:lnTo>
                    <a:pt x="16803" y="21694"/>
                  </a:lnTo>
                  <a:lnTo>
                    <a:pt x="16761" y="21920"/>
                  </a:lnTo>
                  <a:lnTo>
                    <a:pt x="16761" y="21920"/>
                  </a:lnTo>
                  <a:lnTo>
                    <a:pt x="16761" y="21920"/>
                  </a:lnTo>
                  <a:lnTo>
                    <a:pt x="16803" y="21920"/>
                  </a:lnTo>
                  <a:lnTo>
                    <a:pt x="16761" y="22259"/>
                  </a:lnTo>
                  <a:lnTo>
                    <a:pt x="16698" y="22259"/>
                  </a:lnTo>
                  <a:lnTo>
                    <a:pt x="16698" y="22259"/>
                  </a:lnTo>
                  <a:lnTo>
                    <a:pt x="16698" y="22259"/>
                  </a:lnTo>
                  <a:lnTo>
                    <a:pt x="16761" y="22259"/>
                  </a:lnTo>
                  <a:lnTo>
                    <a:pt x="16803" y="22259"/>
                  </a:lnTo>
                  <a:close/>
                  <a:moveTo>
                    <a:pt x="19179" y="34237"/>
                  </a:moveTo>
                  <a:lnTo>
                    <a:pt x="19179" y="34237"/>
                  </a:lnTo>
                  <a:lnTo>
                    <a:pt x="19179" y="34237"/>
                  </a:lnTo>
                  <a:lnTo>
                    <a:pt x="19179" y="34237"/>
                  </a:lnTo>
                  <a:lnTo>
                    <a:pt x="19179" y="34463"/>
                  </a:lnTo>
                  <a:lnTo>
                    <a:pt x="19221" y="34463"/>
                  </a:lnTo>
                  <a:lnTo>
                    <a:pt x="19284" y="34237"/>
                  </a:lnTo>
                  <a:lnTo>
                    <a:pt x="19327" y="34011"/>
                  </a:lnTo>
                  <a:lnTo>
                    <a:pt x="19369" y="34011"/>
                  </a:lnTo>
                  <a:lnTo>
                    <a:pt x="19432" y="33672"/>
                  </a:lnTo>
                  <a:lnTo>
                    <a:pt x="19474" y="33446"/>
                  </a:lnTo>
                  <a:lnTo>
                    <a:pt x="19474" y="33446"/>
                  </a:lnTo>
                  <a:lnTo>
                    <a:pt x="19474" y="32881"/>
                  </a:lnTo>
                  <a:lnTo>
                    <a:pt x="19474" y="32881"/>
                  </a:lnTo>
                  <a:lnTo>
                    <a:pt x="19474" y="32881"/>
                  </a:lnTo>
                  <a:lnTo>
                    <a:pt x="19327" y="33220"/>
                  </a:lnTo>
                  <a:lnTo>
                    <a:pt x="19221" y="33672"/>
                  </a:lnTo>
                  <a:lnTo>
                    <a:pt x="19137" y="33672"/>
                  </a:lnTo>
                  <a:lnTo>
                    <a:pt x="19074" y="34011"/>
                  </a:lnTo>
                  <a:lnTo>
                    <a:pt x="19074" y="34237"/>
                  </a:lnTo>
                  <a:lnTo>
                    <a:pt x="19032" y="34463"/>
                  </a:lnTo>
                  <a:lnTo>
                    <a:pt x="19032" y="34463"/>
                  </a:lnTo>
                  <a:lnTo>
                    <a:pt x="19032" y="34463"/>
                  </a:lnTo>
                  <a:lnTo>
                    <a:pt x="19074" y="34237"/>
                  </a:lnTo>
                  <a:lnTo>
                    <a:pt x="19179" y="34237"/>
                  </a:lnTo>
                  <a:lnTo>
                    <a:pt x="19179" y="34237"/>
                  </a:lnTo>
                  <a:lnTo>
                    <a:pt x="19221" y="34011"/>
                  </a:lnTo>
                  <a:lnTo>
                    <a:pt x="19179" y="34237"/>
                  </a:lnTo>
                  <a:lnTo>
                    <a:pt x="19179" y="34237"/>
                  </a:lnTo>
                  <a:close/>
                  <a:moveTo>
                    <a:pt x="13880" y="26779"/>
                  </a:moveTo>
                  <a:lnTo>
                    <a:pt x="13774" y="27005"/>
                  </a:lnTo>
                  <a:lnTo>
                    <a:pt x="13774" y="27005"/>
                  </a:lnTo>
                  <a:lnTo>
                    <a:pt x="13774" y="27005"/>
                  </a:lnTo>
                  <a:lnTo>
                    <a:pt x="13774" y="27344"/>
                  </a:lnTo>
                  <a:lnTo>
                    <a:pt x="13774" y="27344"/>
                  </a:lnTo>
                  <a:lnTo>
                    <a:pt x="13817" y="27005"/>
                  </a:lnTo>
                  <a:lnTo>
                    <a:pt x="13880" y="27005"/>
                  </a:lnTo>
                  <a:lnTo>
                    <a:pt x="13880" y="27005"/>
                  </a:lnTo>
                  <a:lnTo>
                    <a:pt x="13880" y="27005"/>
                  </a:lnTo>
                  <a:lnTo>
                    <a:pt x="13880" y="26779"/>
                  </a:lnTo>
                  <a:lnTo>
                    <a:pt x="13880" y="26779"/>
                  </a:lnTo>
                  <a:close/>
                  <a:moveTo>
                    <a:pt x="13817" y="27570"/>
                  </a:moveTo>
                  <a:lnTo>
                    <a:pt x="13817" y="27570"/>
                  </a:lnTo>
                  <a:lnTo>
                    <a:pt x="13817" y="27344"/>
                  </a:lnTo>
                  <a:lnTo>
                    <a:pt x="13817" y="27570"/>
                  </a:lnTo>
                  <a:lnTo>
                    <a:pt x="13817" y="27344"/>
                  </a:lnTo>
                  <a:lnTo>
                    <a:pt x="13774" y="27344"/>
                  </a:lnTo>
                  <a:lnTo>
                    <a:pt x="13774" y="27570"/>
                  </a:lnTo>
                  <a:lnTo>
                    <a:pt x="13732" y="27570"/>
                  </a:lnTo>
                  <a:lnTo>
                    <a:pt x="13732" y="27344"/>
                  </a:lnTo>
                  <a:lnTo>
                    <a:pt x="13732" y="27344"/>
                  </a:lnTo>
                  <a:lnTo>
                    <a:pt x="13732" y="27344"/>
                  </a:lnTo>
                  <a:lnTo>
                    <a:pt x="13732" y="27344"/>
                  </a:lnTo>
                  <a:lnTo>
                    <a:pt x="13627" y="27344"/>
                  </a:lnTo>
                  <a:lnTo>
                    <a:pt x="13627" y="27344"/>
                  </a:lnTo>
                  <a:lnTo>
                    <a:pt x="13627" y="27570"/>
                  </a:lnTo>
                  <a:lnTo>
                    <a:pt x="13585" y="27570"/>
                  </a:lnTo>
                  <a:lnTo>
                    <a:pt x="13585" y="27570"/>
                  </a:lnTo>
                  <a:lnTo>
                    <a:pt x="13585" y="27570"/>
                  </a:lnTo>
                  <a:lnTo>
                    <a:pt x="13522" y="27570"/>
                  </a:lnTo>
                  <a:lnTo>
                    <a:pt x="13480" y="27796"/>
                  </a:lnTo>
                  <a:lnTo>
                    <a:pt x="13333" y="28135"/>
                  </a:lnTo>
                  <a:lnTo>
                    <a:pt x="13333" y="28135"/>
                  </a:lnTo>
                  <a:lnTo>
                    <a:pt x="13375" y="28361"/>
                  </a:lnTo>
                  <a:lnTo>
                    <a:pt x="13438" y="28361"/>
                  </a:lnTo>
                  <a:lnTo>
                    <a:pt x="13438" y="28135"/>
                  </a:lnTo>
                  <a:lnTo>
                    <a:pt x="13480" y="28135"/>
                  </a:lnTo>
                  <a:lnTo>
                    <a:pt x="13480" y="28135"/>
                  </a:lnTo>
                  <a:lnTo>
                    <a:pt x="13522" y="28135"/>
                  </a:lnTo>
                  <a:lnTo>
                    <a:pt x="13585" y="28135"/>
                  </a:lnTo>
                  <a:lnTo>
                    <a:pt x="13585" y="27796"/>
                  </a:lnTo>
                  <a:lnTo>
                    <a:pt x="13627" y="27796"/>
                  </a:lnTo>
                  <a:lnTo>
                    <a:pt x="13585" y="28135"/>
                  </a:lnTo>
                  <a:lnTo>
                    <a:pt x="13585" y="28135"/>
                  </a:lnTo>
                  <a:lnTo>
                    <a:pt x="13627" y="27796"/>
                  </a:lnTo>
                  <a:lnTo>
                    <a:pt x="13627" y="28135"/>
                  </a:lnTo>
                  <a:lnTo>
                    <a:pt x="13669" y="27796"/>
                  </a:lnTo>
                  <a:lnTo>
                    <a:pt x="13669" y="27796"/>
                  </a:lnTo>
                  <a:lnTo>
                    <a:pt x="13669" y="27796"/>
                  </a:lnTo>
                  <a:lnTo>
                    <a:pt x="13669" y="27796"/>
                  </a:lnTo>
                  <a:lnTo>
                    <a:pt x="13732" y="27570"/>
                  </a:lnTo>
                  <a:lnTo>
                    <a:pt x="13732" y="27570"/>
                  </a:lnTo>
                  <a:lnTo>
                    <a:pt x="13732" y="27796"/>
                  </a:lnTo>
                  <a:lnTo>
                    <a:pt x="13732" y="27796"/>
                  </a:lnTo>
                  <a:lnTo>
                    <a:pt x="13732" y="27796"/>
                  </a:lnTo>
                  <a:lnTo>
                    <a:pt x="13732" y="27796"/>
                  </a:lnTo>
                  <a:lnTo>
                    <a:pt x="13774" y="27796"/>
                  </a:lnTo>
                  <a:lnTo>
                    <a:pt x="13817" y="27796"/>
                  </a:lnTo>
                  <a:lnTo>
                    <a:pt x="13880" y="27570"/>
                  </a:lnTo>
                  <a:lnTo>
                    <a:pt x="13880" y="27570"/>
                  </a:lnTo>
                  <a:lnTo>
                    <a:pt x="13817" y="27570"/>
                  </a:lnTo>
                  <a:close/>
                  <a:moveTo>
                    <a:pt x="16361" y="21920"/>
                  </a:moveTo>
                  <a:lnTo>
                    <a:pt x="16361" y="21920"/>
                  </a:lnTo>
                  <a:lnTo>
                    <a:pt x="16361" y="21920"/>
                  </a:lnTo>
                  <a:lnTo>
                    <a:pt x="16298" y="21920"/>
                  </a:lnTo>
                  <a:lnTo>
                    <a:pt x="16298" y="21920"/>
                  </a:lnTo>
                  <a:lnTo>
                    <a:pt x="16256" y="21920"/>
                  </a:lnTo>
                  <a:lnTo>
                    <a:pt x="16256" y="21920"/>
                  </a:lnTo>
                  <a:lnTo>
                    <a:pt x="16256" y="21920"/>
                  </a:lnTo>
                  <a:lnTo>
                    <a:pt x="16298" y="21920"/>
                  </a:lnTo>
                  <a:lnTo>
                    <a:pt x="16361" y="21920"/>
                  </a:lnTo>
                  <a:close/>
                  <a:moveTo>
                    <a:pt x="19137" y="32090"/>
                  </a:moveTo>
                  <a:lnTo>
                    <a:pt x="19179" y="32090"/>
                  </a:lnTo>
                  <a:lnTo>
                    <a:pt x="19179" y="32090"/>
                  </a:lnTo>
                  <a:lnTo>
                    <a:pt x="19179" y="31864"/>
                  </a:lnTo>
                  <a:lnTo>
                    <a:pt x="19179" y="31864"/>
                  </a:lnTo>
                  <a:lnTo>
                    <a:pt x="19221" y="31864"/>
                  </a:lnTo>
                  <a:lnTo>
                    <a:pt x="19221" y="31864"/>
                  </a:lnTo>
                  <a:lnTo>
                    <a:pt x="19221" y="31864"/>
                  </a:lnTo>
                  <a:lnTo>
                    <a:pt x="19221" y="31525"/>
                  </a:lnTo>
                  <a:lnTo>
                    <a:pt x="19137" y="31525"/>
                  </a:lnTo>
                  <a:lnTo>
                    <a:pt x="19137" y="31864"/>
                  </a:lnTo>
                  <a:lnTo>
                    <a:pt x="19074" y="31864"/>
                  </a:lnTo>
                  <a:lnTo>
                    <a:pt x="19074" y="31864"/>
                  </a:lnTo>
                  <a:lnTo>
                    <a:pt x="19074" y="31864"/>
                  </a:lnTo>
                  <a:lnTo>
                    <a:pt x="19074" y="32090"/>
                  </a:lnTo>
                  <a:lnTo>
                    <a:pt x="19074" y="32090"/>
                  </a:lnTo>
                  <a:lnTo>
                    <a:pt x="19137" y="32090"/>
                  </a:lnTo>
                  <a:close/>
                  <a:moveTo>
                    <a:pt x="19284" y="30508"/>
                  </a:moveTo>
                  <a:lnTo>
                    <a:pt x="19284" y="30508"/>
                  </a:lnTo>
                  <a:lnTo>
                    <a:pt x="19221" y="30508"/>
                  </a:lnTo>
                  <a:lnTo>
                    <a:pt x="19221" y="30508"/>
                  </a:lnTo>
                  <a:lnTo>
                    <a:pt x="19137" y="30282"/>
                  </a:lnTo>
                  <a:lnTo>
                    <a:pt x="19074" y="30282"/>
                  </a:lnTo>
                  <a:lnTo>
                    <a:pt x="19032" y="30508"/>
                  </a:lnTo>
                  <a:lnTo>
                    <a:pt x="19032" y="30508"/>
                  </a:lnTo>
                  <a:lnTo>
                    <a:pt x="19032" y="30508"/>
                  </a:lnTo>
                  <a:lnTo>
                    <a:pt x="19032" y="30734"/>
                  </a:lnTo>
                  <a:lnTo>
                    <a:pt x="19032" y="30734"/>
                  </a:lnTo>
                  <a:lnTo>
                    <a:pt x="19032" y="31073"/>
                  </a:lnTo>
                  <a:lnTo>
                    <a:pt x="18990" y="31073"/>
                  </a:lnTo>
                  <a:lnTo>
                    <a:pt x="18990" y="31299"/>
                  </a:lnTo>
                  <a:lnTo>
                    <a:pt x="18927" y="31525"/>
                  </a:lnTo>
                  <a:lnTo>
                    <a:pt x="18927" y="31525"/>
                  </a:lnTo>
                  <a:lnTo>
                    <a:pt x="18927" y="31525"/>
                  </a:lnTo>
                  <a:lnTo>
                    <a:pt x="18990" y="31525"/>
                  </a:lnTo>
                  <a:lnTo>
                    <a:pt x="19032" y="31525"/>
                  </a:lnTo>
                  <a:lnTo>
                    <a:pt x="19074" y="31525"/>
                  </a:lnTo>
                  <a:lnTo>
                    <a:pt x="19074" y="31525"/>
                  </a:lnTo>
                  <a:lnTo>
                    <a:pt x="19074" y="31525"/>
                  </a:lnTo>
                  <a:lnTo>
                    <a:pt x="19074" y="31525"/>
                  </a:lnTo>
                  <a:lnTo>
                    <a:pt x="19137" y="31299"/>
                  </a:lnTo>
                  <a:lnTo>
                    <a:pt x="19137" y="31299"/>
                  </a:lnTo>
                  <a:lnTo>
                    <a:pt x="19137" y="31299"/>
                  </a:lnTo>
                  <a:lnTo>
                    <a:pt x="19137" y="31073"/>
                  </a:lnTo>
                  <a:lnTo>
                    <a:pt x="19137" y="31073"/>
                  </a:lnTo>
                  <a:lnTo>
                    <a:pt x="19179" y="31073"/>
                  </a:lnTo>
                  <a:lnTo>
                    <a:pt x="19179" y="30734"/>
                  </a:lnTo>
                  <a:lnTo>
                    <a:pt x="19179" y="30734"/>
                  </a:lnTo>
                  <a:lnTo>
                    <a:pt x="19179" y="31073"/>
                  </a:lnTo>
                  <a:lnTo>
                    <a:pt x="19179" y="31299"/>
                  </a:lnTo>
                  <a:lnTo>
                    <a:pt x="19179" y="31299"/>
                  </a:lnTo>
                  <a:lnTo>
                    <a:pt x="19179" y="31299"/>
                  </a:lnTo>
                  <a:lnTo>
                    <a:pt x="19221" y="31299"/>
                  </a:lnTo>
                  <a:lnTo>
                    <a:pt x="19221" y="31299"/>
                  </a:lnTo>
                  <a:lnTo>
                    <a:pt x="19221" y="31073"/>
                  </a:lnTo>
                  <a:lnTo>
                    <a:pt x="19284" y="31073"/>
                  </a:lnTo>
                  <a:lnTo>
                    <a:pt x="19284" y="30734"/>
                  </a:lnTo>
                  <a:lnTo>
                    <a:pt x="19327" y="30734"/>
                  </a:lnTo>
                  <a:lnTo>
                    <a:pt x="19327" y="30508"/>
                  </a:lnTo>
                  <a:lnTo>
                    <a:pt x="19327" y="30508"/>
                  </a:lnTo>
                  <a:lnTo>
                    <a:pt x="19284" y="30508"/>
                  </a:lnTo>
                  <a:close/>
                  <a:moveTo>
                    <a:pt x="19032" y="35028"/>
                  </a:moveTo>
                  <a:lnTo>
                    <a:pt x="19032" y="35367"/>
                  </a:lnTo>
                  <a:lnTo>
                    <a:pt x="19032" y="35367"/>
                  </a:lnTo>
                  <a:lnTo>
                    <a:pt x="19074" y="35028"/>
                  </a:lnTo>
                  <a:lnTo>
                    <a:pt x="19074" y="35028"/>
                  </a:lnTo>
                  <a:lnTo>
                    <a:pt x="19137" y="34802"/>
                  </a:lnTo>
                  <a:lnTo>
                    <a:pt x="19137" y="34463"/>
                  </a:lnTo>
                  <a:lnTo>
                    <a:pt x="19137" y="34237"/>
                  </a:lnTo>
                  <a:lnTo>
                    <a:pt x="19137" y="34237"/>
                  </a:lnTo>
                  <a:lnTo>
                    <a:pt x="19074" y="34463"/>
                  </a:lnTo>
                  <a:lnTo>
                    <a:pt x="19074" y="34463"/>
                  </a:lnTo>
                  <a:lnTo>
                    <a:pt x="19074" y="34463"/>
                  </a:lnTo>
                  <a:lnTo>
                    <a:pt x="19032" y="34802"/>
                  </a:lnTo>
                  <a:lnTo>
                    <a:pt x="19032" y="34802"/>
                  </a:lnTo>
                  <a:lnTo>
                    <a:pt x="19032" y="34802"/>
                  </a:lnTo>
                  <a:lnTo>
                    <a:pt x="19032" y="34802"/>
                  </a:lnTo>
                  <a:lnTo>
                    <a:pt x="19032" y="35028"/>
                  </a:lnTo>
                  <a:lnTo>
                    <a:pt x="19032" y="35028"/>
                  </a:lnTo>
                  <a:lnTo>
                    <a:pt x="19032" y="35028"/>
                  </a:lnTo>
                  <a:close/>
                  <a:moveTo>
                    <a:pt x="18738" y="31864"/>
                  </a:moveTo>
                  <a:lnTo>
                    <a:pt x="18633" y="32429"/>
                  </a:lnTo>
                  <a:lnTo>
                    <a:pt x="18590" y="32655"/>
                  </a:lnTo>
                  <a:lnTo>
                    <a:pt x="18590" y="32655"/>
                  </a:lnTo>
                  <a:lnTo>
                    <a:pt x="18633" y="32429"/>
                  </a:lnTo>
                  <a:lnTo>
                    <a:pt x="18633" y="32429"/>
                  </a:lnTo>
                  <a:lnTo>
                    <a:pt x="18633" y="32429"/>
                  </a:lnTo>
                  <a:lnTo>
                    <a:pt x="18675" y="32429"/>
                  </a:lnTo>
                  <a:lnTo>
                    <a:pt x="18675" y="32429"/>
                  </a:lnTo>
                  <a:lnTo>
                    <a:pt x="18738" y="32429"/>
                  </a:lnTo>
                  <a:lnTo>
                    <a:pt x="18780" y="32090"/>
                  </a:lnTo>
                  <a:lnTo>
                    <a:pt x="18822" y="31864"/>
                  </a:lnTo>
                  <a:lnTo>
                    <a:pt x="18822" y="31525"/>
                  </a:lnTo>
                  <a:lnTo>
                    <a:pt x="18885" y="31299"/>
                  </a:lnTo>
                  <a:lnTo>
                    <a:pt x="18927" y="31299"/>
                  </a:lnTo>
                  <a:lnTo>
                    <a:pt x="18927" y="31299"/>
                  </a:lnTo>
                  <a:lnTo>
                    <a:pt x="18990" y="31299"/>
                  </a:lnTo>
                  <a:lnTo>
                    <a:pt x="18990" y="31073"/>
                  </a:lnTo>
                  <a:lnTo>
                    <a:pt x="18990" y="31073"/>
                  </a:lnTo>
                  <a:lnTo>
                    <a:pt x="18927" y="31073"/>
                  </a:lnTo>
                  <a:lnTo>
                    <a:pt x="18990" y="30734"/>
                  </a:lnTo>
                  <a:lnTo>
                    <a:pt x="18990" y="30734"/>
                  </a:lnTo>
                  <a:lnTo>
                    <a:pt x="18990" y="30734"/>
                  </a:lnTo>
                  <a:lnTo>
                    <a:pt x="18927" y="30508"/>
                  </a:lnTo>
                  <a:lnTo>
                    <a:pt x="18885" y="30734"/>
                  </a:lnTo>
                  <a:lnTo>
                    <a:pt x="18822" y="30734"/>
                  </a:lnTo>
                  <a:lnTo>
                    <a:pt x="18780" y="31073"/>
                  </a:lnTo>
                  <a:lnTo>
                    <a:pt x="18780" y="31073"/>
                  </a:lnTo>
                  <a:lnTo>
                    <a:pt x="18780" y="31299"/>
                  </a:lnTo>
                  <a:lnTo>
                    <a:pt x="18738" y="31299"/>
                  </a:lnTo>
                  <a:lnTo>
                    <a:pt x="18780" y="31525"/>
                  </a:lnTo>
                  <a:lnTo>
                    <a:pt x="18780" y="31525"/>
                  </a:lnTo>
                  <a:lnTo>
                    <a:pt x="18738" y="31864"/>
                  </a:lnTo>
                  <a:close/>
                  <a:moveTo>
                    <a:pt x="16950" y="23050"/>
                  </a:moveTo>
                  <a:lnTo>
                    <a:pt x="16992" y="23050"/>
                  </a:lnTo>
                  <a:lnTo>
                    <a:pt x="16992" y="23050"/>
                  </a:lnTo>
                  <a:lnTo>
                    <a:pt x="16908" y="23050"/>
                  </a:lnTo>
                  <a:lnTo>
                    <a:pt x="16908" y="23050"/>
                  </a:lnTo>
                  <a:lnTo>
                    <a:pt x="16950" y="23276"/>
                  </a:lnTo>
                  <a:lnTo>
                    <a:pt x="16950" y="23050"/>
                  </a:lnTo>
                  <a:close/>
                  <a:moveTo>
                    <a:pt x="13228" y="28587"/>
                  </a:moveTo>
                  <a:lnTo>
                    <a:pt x="13228" y="28587"/>
                  </a:lnTo>
                  <a:lnTo>
                    <a:pt x="13228" y="28587"/>
                  </a:lnTo>
                  <a:lnTo>
                    <a:pt x="13228" y="28361"/>
                  </a:lnTo>
                  <a:lnTo>
                    <a:pt x="13228" y="28361"/>
                  </a:lnTo>
                  <a:lnTo>
                    <a:pt x="13228" y="28361"/>
                  </a:lnTo>
                  <a:lnTo>
                    <a:pt x="13186" y="28361"/>
                  </a:lnTo>
                  <a:lnTo>
                    <a:pt x="13186" y="28361"/>
                  </a:lnTo>
                  <a:lnTo>
                    <a:pt x="13186" y="28361"/>
                  </a:lnTo>
                  <a:lnTo>
                    <a:pt x="13228" y="28587"/>
                  </a:lnTo>
                  <a:lnTo>
                    <a:pt x="13228" y="28587"/>
                  </a:lnTo>
                  <a:close/>
                  <a:moveTo>
                    <a:pt x="18527" y="29943"/>
                  </a:moveTo>
                  <a:lnTo>
                    <a:pt x="18527" y="29943"/>
                  </a:lnTo>
                  <a:lnTo>
                    <a:pt x="18485" y="30282"/>
                  </a:lnTo>
                  <a:lnTo>
                    <a:pt x="18485" y="30282"/>
                  </a:lnTo>
                  <a:lnTo>
                    <a:pt x="18443" y="30508"/>
                  </a:lnTo>
                  <a:lnTo>
                    <a:pt x="18485" y="30508"/>
                  </a:lnTo>
                  <a:lnTo>
                    <a:pt x="18527" y="30282"/>
                  </a:lnTo>
                  <a:lnTo>
                    <a:pt x="18633" y="29943"/>
                  </a:lnTo>
                  <a:lnTo>
                    <a:pt x="18633" y="29943"/>
                  </a:lnTo>
                  <a:lnTo>
                    <a:pt x="18633" y="29943"/>
                  </a:lnTo>
                  <a:lnTo>
                    <a:pt x="18633" y="30282"/>
                  </a:lnTo>
                  <a:lnTo>
                    <a:pt x="18633" y="30282"/>
                  </a:lnTo>
                  <a:lnTo>
                    <a:pt x="18633" y="30508"/>
                  </a:lnTo>
                  <a:lnTo>
                    <a:pt x="18633" y="30508"/>
                  </a:lnTo>
                  <a:lnTo>
                    <a:pt x="18590" y="30508"/>
                  </a:lnTo>
                  <a:lnTo>
                    <a:pt x="18527" y="30734"/>
                  </a:lnTo>
                  <a:lnTo>
                    <a:pt x="18527" y="30734"/>
                  </a:lnTo>
                  <a:lnTo>
                    <a:pt x="18527" y="30734"/>
                  </a:lnTo>
                  <a:lnTo>
                    <a:pt x="18527" y="31073"/>
                  </a:lnTo>
                  <a:lnTo>
                    <a:pt x="18590" y="30734"/>
                  </a:lnTo>
                  <a:lnTo>
                    <a:pt x="18590" y="31073"/>
                  </a:lnTo>
                  <a:lnTo>
                    <a:pt x="18527" y="31073"/>
                  </a:lnTo>
                  <a:lnTo>
                    <a:pt x="18527" y="31073"/>
                  </a:lnTo>
                  <a:lnTo>
                    <a:pt x="18527" y="31299"/>
                  </a:lnTo>
                  <a:lnTo>
                    <a:pt x="18590" y="31299"/>
                  </a:lnTo>
                  <a:lnTo>
                    <a:pt x="18590" y="31299"/>
                  </a:lnTo>
                  <a:lnTo>
                    <a:pt x="18590" y="31299"/>
                  </a:lnTo>
                  <a:lnTo>
                    <a:pt x="18590" y="31299"/>
                  </a:lnTo>
                  <a:lnTo>
                    <a:pt x="18527" y="31299"/>
                  </a:lnTo>
                  <a:lnTo>
                    <a:pt x="18527" y="31525"/>
                  </a:lnTo>
                  <a:lnTo>
                    <a:pt x="18485" y="31525"/>
                  </a:lnTo>
                  <a:lnTo>
                    <a:pt x="18485" y="31525"/>
                  </a:lnTo>
                  <a:lnTo>
                    <a:pt x="18485" y="32090"/>
                  </a:lnTo>
                  <a:lnTo>
                    <a:pt x="18485" y="32090"/>
                  </a:lnTo>
                  <a:lnTo>
                    <a:pt x="18485" y="32090"/>
                  </a:lnTo>
                  <a:lnTo>
                    <a:pt x="18485" y="32090"/>
                  </a:lnTo>
                  <a:lnTo>
                    <a:pt x="18485" y="32090"/>
                  </a:lnTo>
                  <a:lnTo>
                    <a:pt x="18527" y="32090"/>
                  </a:lnTo>
                  <a:lnTo>
                    <a:pt x="18590" y="31864"/>
                  </a:lnTo>
                  <a:lnTo>
                    <a:pt x="18633" y="31525"/>
                  </a:lnTo>
                  <a:lnTo>
                    <a:pt x="18633" y="31525"/>
                  </a:lnTo>
                  <a:lnTo>
                    <a:pt x="18633" y="31299"/>
                  </a:lnTo>
                  <a:lnTo>
                    <a:pt x="18675" y="31299"/>
                  </a:lnTo>
                  <a:lnTo>
                    <a:pt x="18675" y="31073"/>
                  </a:lnTo>
                  <a:lnTo>
                    <a:pt x="18738" y="31073"/>
                  </a:lnTo>
                  <a:lnTo>
                    <a:pt x="18738" y="30734"/>
                  </a:lnTo>
                  <a:lnTo>
                    <a:pt x="18780" y="30282"/>
                  </a:lnTo>
                  <a:lnTo>
                    <a:pt x="18822" y="30282"/>
                  </a:lnTo>
                  <a:lnTo>
                    <a:pt x="18822" y="29943"/>
                  </a:lnTo>
                  <a:lnTo>
                    <a:pt x="18822" y="29717"/>
                  </a:lnTo>
                  <a:lnTo>
                    <a:pt x="18822" y="29491"/>
                  </a:lnTo>
                  <a:lnTo>
                    <a:pt x="18822" y="29491"/>
                  </a:lnTo>
                  <a:lnTo>
                    <a:pt x="18822" y="29152"/>
                  </a:lnTo>
                  <a:lnTo>
                    <a:pt x="18780" y="29152"/>
                  </a:lnTo>
                  <a:lnTo>
                    <a:pt x="18780" y="29491"/>
                  </a:lnTo>
                  <a:lnTo>
                    <a:pt x="18675" y="29491"/>
                  </a:lnTo>
                  <a:lnTo>
                    <a:pt x="18675" y="29717"/>
                  </a:lnTo>
                  <a:lnTo>
                    <a:pt x="18633" y="29717"/>
                  </a:lnTo>
                  <a:lnTo>
                    <a:pt x="18633" y="29717"/>
                  </a:lnTo>
                  <a:lnTo>
                    <a:pt x="18590" y="29717"/>
                  </a:lnTo>
                  <a:lnTo>
                    <a:pt x="18527" y="29943"/>
                  </a:lnTo>
                  <a:close/>
                  <a:moveTo>
                    <a:pt x="19284" y="31073"/>
                  </a:moveTo>
                  <a:lnTo>
                    <a:pt x="19221" y="31299"/>
                  </a:lnTo>
                  <a:lnTo>
                    <a:pt x="19179" y="31299"/>
                  </a:lnTo>
                  <a:lnTo>
                    <a:pt x="19179" y="31299"/>
                  </a:lnTo>
                  <a:lnTo>
                    <a:pt x="19179" y="31525"/>
                  </a:lnTo>
                  <a:lnTo>
                    <a:pt x="19179" y="31525"/>
                  </a:lnTo>
                  <a:lnTo>
                    <a:pt x="19221" y="31525"/>
                  </a:lnTo>
                  <a:lnTo>
                    <a:pt x="19221" y="31525"/>
                  </a:lnTo>
                  <a:lnTo>
                    <a:pt x="19221" y="31525"/>
                  </a:lnTo>
                  <a:lnTo>
                    <a:pt x="19284" y="31525"/>
                  </a:lnTo>
                  <a:lnTo>
                    <a:pt x="19327" y="31299"/>
                  </a:lnTo>
                  <a:lnTo>
                    <a:pt x="19327" y="31299"/>
                  </a:lnTo>
                  <a:lnTo>
                    <a:pt x="19327" y="31299"/>
                  </a:lnTo>
                  <a:lnTo>
                    <a:pt x="19327" y="31073"/>
                  </a:lnTo>
                  <a:lnTo>
                    <a:pt x="19284" y="31073"/>
                  </a:lnTo>
                  <a:close/>
                  <a:moveTo>
                    <a:pt x="18485" y="35367"/>
                  </a:moveTo>
                  <a:lnTo>
                    <a:pt x="18485" y="35593"/>
                  </a:lnTo>
                  <a:lnTo>
                    <a:pt x="18485" y="35593"/>
                  </a:lnTo>
                  <a:lnTo>
                    <a:pt x="18527" y="35593"/>
                  </a:lnTo>
                  <a:lnTo>
                    <a:pt x="18527" y="35593"/>
                  </a:lnTo>
                  <a:lnTo>
                    <a:pt x="18590" y="35593"/>
                  </a:lnTo>
                  <a:lnTo>
                    <a:pt x="18590" y="35367"/>
                  </a:lnTo>
                  <a:lnTo>
                    <a:pt x="18633" y="35367"/>
                  </a:lnTo>
                  <a:lnTo>
                    <a:pt x="18633" y="35028"/>
                  </a:lnTo>
                  <a:lnTo>
                    <a:pt x="18590" y="35028"/>
                  </a:lnTo>
                  <a:lnTo>
                    <a:pt x="18590" y="35028"/>
                  </a:lnTo>
                  <a:lnTo>
                    <a:pt x="18590" y="35367"/>
                  </a:lnTo>
                  <a:lnTo>
                    <a:pt x="18527" y="35367"/>
                  </a:lnTo>
                  <a:lnTo>
                    <a:pt x="18527" y="35367"/>
                  </a:lnTo>
                  <a:lnTo>
                    <a:pt x="18590" y="35028"/>
                  </a:lnTo>
                  <a:lnTo>
                    <a:pt x="18590" y="34802"/>
                  </a:lnTo>
                  <a:lnTo>
                    <a:pt x="18590" y="34802"/>
                  </a:lnTo>
                  <a:lnTo>
                    <a:pt x="18590" y="34463"/>
                  </a:lnTo>
                  <a:lnTo>
                    <a:pt x="18590" y="34463"/>
                  </a:lnTo>
                  <a:lnTo>
                    <a:pt x="18590" y="34237"/>
                  </a:lnTo>
                  <a:lnTo>
                    <a:pt x="18527" y="34237"/>
                  </a:lnTo>
                  <a:lnTo>
                    <a:pt x="18485" y="34237"/>
                  </a:lnTo>
                  <a:lnTo>
                    <a:pt x="18485" y="34463"/>
                  </a:lnTo>
                  <a:lnTo>
                    <a:pt x="18485" y="34463"/>
                  </a:lnTo>
                  <a:lnTo>
                    <a:pt x="18527" y="34463"/>
                  </a:lnTo>
                  <a:lnTo>
                    <a:pt x="18485" y="34802"/>
                  </a:lnTo>
                  <a:lnTo>
                    <a:pt x="18485" y="35028"/>
                  </a:lnTo>
                  <a:lnTo>
                    <a:pt x="18485" y="35028"/>
                  </a:lnTo>
                  <a:lnTo>
                    <a:pt x="18485" y="35028"/>
                  </a:lnTo>
                  <a:lnTo>
                    <a:pt x="18485" y="35367"/>
                  </a:lnTo>
                  <a:close/>
                  <a:moveTo>
                    <a:pt x="19137" y="32881"/>
                  </a:moveTo>
                  <a:lnTo>
                    <a:pt x="19137" y="32881"/>
                  </a:lnTo>
                  <a:lnTo>
                    <a:pt x="19137" y="32881"/>
                  </a:lnTo>
                  <a:lnTo>
                    <a:pt x="19179" y="32881"/>
                  </a:lnTo>
                  <a:lnTo>
                    <a:pt x="19179" y="32881"/>
                  </a:lnTo>
                  <a:lnTo>
                    <a:pt x="19179" y="32881"/>
                  </a:lnTo>
                  <a:lnTo>
                    <a:pt x="19284" y="32429"/>
                  </a:lnTo>
                  <a:lnTo>
                    <a:pt x="19327" y="32090"/>
                  </a:lnTo>
                  <a:lnTo>
                    <a:pt x="19327" y="31864"/>
                  </a:lnTo>
                  <a:lnTo>
                    <a:pt x="19369" y="31525"/>
                  </a:lnTo>
                  <a:lnTo>
                    <a:pt x="19327" y="31525"/>
                  </a:lnTo>
                  <a:lnTo>
                    <a:pt x="19221" y="31864"/>
                  </a:lnTo>
                  <a:lnTo>
                    <a:pt x="19221" y="32090"/>
                  </a:lnTo>
                  <a:lnTo>
                    <a:pt x="19179" y="32090"/>
                  </a:lnTo>
                  <a:lnTo>
                    <a:pt x="19137" y="32090"/>
                  </a:lnTo>
                  <a:lnTo>
                    <a:pt x="19137" y="32429"/>
                  </a:lnTo>
                  <a:lnTo>
                    <a:pt x="19074" y="32429"/>
                  </a:lnTo>
                  <a:lnTo>
                    <a:pt x="19074" y="32655"/>
                  </a:lnTo>
                  <a:lnTo>
                    <a:pt x="19074" y="32655"/>
                  </a:lnTo>
                  <a:lnTo>
                    <a:pt x="19137" y="32655"/>
                  </a:lnTo>
                  <a:lnTo>
                    <a:pt x="19137" y="32655"/>
                  </a:lnTo>
                  <a:lnTo>
                    <a:pt x="19137" y="32655"/>
                  </a:lnTo>
                  <a:lnTo>
                    <a:pt x="19137" y="32881"/>
                  </a:lnTo>
                  <a:close/>
                  <a:moveTo>
                    <a:pt x="19032" y="33220"/>
                  </a:moveTo>
                  <a:lnTo>
                    <a:pt x="19032" y="33220"/>
                  </a:lnTo>
                  <a:lnTo>
                    <a:pt x="19032" y="32881"/>
                  </a:lnTo>
                  <a:lnTo>
                    <a:pt x="19032" y="32655"/>
                  </a:lnTo>
                  <a:lnTo>
                    <a:pt x="18927" y="32429"/>
                  </a:lnTo>
                  <a:lnTo>
                    <a:pt x="18927" y="32429"/>
                  </a:lnTo>
                  <a:lnTo>
                    <a:pt x="18990" y="32429"/>
                  </a:lnTo>
                  <a:lnTo>
                    <a:pt x="18990" y="32429"/>
                  </a:lnTo>
                  <a:lnTo>
                    <a:pt x="18990" y="32429"/>
                  </a:lnTo>
                  <a:lnTo>
                    <a:pt x="18990" y="32090"/>
                  </a:lnTo>
                  <a:lnTo>
                    <a:pt x="18990" y="32090"/>
                  </a:lnTo>
                  <a:lnTo>
                    <a:pt x="18990" y="32090"/>
                  </a:lnTo>
                  <a:lnTo>
                    <a:pt x="18927" y="32090"/>
                  </a:lnTo>
                  <a:lnTo>
                    <a:pt x="18885" y="31864"/>
                  </a:lnTo>
                  <a:lnTo>
                    <a:pt x="18885" y="32090"/>
                  </a:lnTo>
                  <a:lnTo>
                    <a:pt x="18822" y="32090"/>
                  </a:lnTo>
                  <a:lnTo>
                    <a:pt x="18822" y="32429"/>
                  </a:lnTo>
                  <a:lnTo>
                    <a:pt x="18822" y="32429"/>
                  </a:lnTo>
                  <a:lnTo>
                    <a:pt x="18780" y="32429"/>
                  </a:lnTo>
                  <a:lnTo>
                    <a:pt x="18675" y="32655"/>
                  </a:lnTo>
                  <a:lnTo>
                    <a:pt x="18675" y="32881"/>
                  </a:lnTo>
                  <a:lnTo>
                    <a:pt x="18675" y="32881"/>
                  </a:lnTo>
                  <a:lnTo>
                    <a:pt x="18780" y="32655"/>
                  </a:lnTo>
                  <a:lnTo>
                    <a:pt x="18822" y="32655"/>
                  </a:lnTo>
                  <a:lnTo>
                    <a:pt x="18822" y="32655"/>
                  </a:lnTo>
                  <a:lnTo>
                    <a:pt x="18822" y="32881"/>
                  </a:lnTo>
                  <a:lnTo>
                    <a:pt x="18822" y="32881"/>
                  </a:lnTo>
                  <a:lnTo>
                    <a:pt x="18780" y="32881"/>
                  </a:lnTo>
                  <a:lnTo>
                    <a:pt x="18780" y="33220"/>
                  </a:lnTo>
                  <a:lnTo>
                    <a:pt x="18738" y="33220"/>
                  </a:lnTo>
                  <a:lnTo>
                    <a:pt x="18738" y="33220"/>
                  </a:lnTo>
                  <a:lnTo>
                    <a:pt x="18675" y="33220"/>
                  </a:lnTo>
                  <a:lnTo>
                    <a:pt x="18675" y="33220"/>
                  </a:lnTo>
                  <a:lnTo>
                    <a:pt x="18633" y="33220"/>
                  </a:lnTo>
                  <a:lnTo>
                    <a:pt x="18633" y="33220"/>
                  </a:lnTo>
                  <a:lnTo>
                    <a:pt x="18633" y="33220"/>
                  </a:lnTo>
                  <a:lnTo>
                    <a:pt x="18633" y="33446"/>
                  </a:lnTo>
                  <a:lnTo>
                    <a:pt x="18633" y="33446"/>
                  </a:lnTo>
                  <a:lnTo>
                    <a:pt x="18675" y="33446"/>
                  </a:lnTo>
                  <a:lnTo>
                    <a:pt x="18675" y="33446"/>
                  </a:lnTo>
                  <a:lnTo>
                    <a:pt x="18675" y="33672"/>
                  </a:lnTo>
                  <a:lnTo>
                    <a:pt x="18675" y="33672"/>
                  </a:lnTo>
                  <a:lnTo>
                    <a:pt x="18738" y="33446"/>
                  </a:lnTo>
                  <a:lnTo>
                    <a:pt x="18780" y="33672"/>
                  </a:lnTo>
                  <a:lnTo>
                    <a:pt x="18738" y="33672"/>
                  </a:lnTo>
                  <a:lnTo>
                    <a:pt x="18738" y="33672"/>
                  </a:lnTo>
                  <a:lnTo>
                    <a:pt x="18738" y="34011"/>
                  </a:lnTo>
                  <a:lnTo>
                    <a:pt x="18675" y="34011"/>
                  </a:lnTo>
                  <a:lnTo>
                    <a:pt x="18675" y="34011"/>
                  </a:lnTo>
                  <a:lnTo>
                    <a:pt x="18633" y="34237"/>
                  </a:lnTo>
                  <a:lnTo>
                    <a:pt x="18633" y="34237"/>
                  </a:lnTo>
                  <a:lnTo>
                    <a:pt x="18633" y="34237"/>
                  </a:lnTo>
                  <a:lnTo>
                    <a:pt x="18633" y="34463"/>
                  </a:lnTo>
                  <a:lnTo>
                    <a:pt x="18633" y="34802"/>
                  </a:lnTo>
                  <a:lnTo>
                    <a:pt x="18633" y="34802"/>
                  </a:lnTo>
                  <a:lnTo>
                    <a:pt x="18675" y="34802"/>
                  </a:lnTo>
                  <a:lnTo>
                    <a:pt x="18675" y="34802"/>
                  </a:lnTo>
                  <a:lnTo>
                    <a:pt x="18738" y="34463"/>
                  </a:lnTo>
                  <a:lnTo>
                    <a:pt x="18738" y="34463"/>
                  </a:lnTo>
                  <a:lnTo>
                    <a:pt x="18675" y="34802"/>
                  </a:lnTo>
                  <a:lnTo>
                    <a:pt x="18675" y="34802"/>
                  </a:lnTo>
                  <a:lnTo>
                    <a:pt x="18675" y="35028"/>
                  </a:lnTo>
                  <a:lnTo>
                    <a:pt x="18675" y="35028"/>
                  </a:lnTo>
                  <a:lnTo>
                    <a:pt x="18675" y="35028"/>
                  </a:lnTo>
                  <a:lnTo>
                    <a:pt x="18675" y="35028"/>
                  </a:lnTo>
                  <a:lnTo>
                    <a:pt x="18738" y="35028"/>
                  </a:lnTo>
                  <a:lnTo>
                    <a:pt x="18738" y="35028"/>
                  </a:lnTo>
                  <a:lnTo>
                    <a:pt x="18675" y="35367"/>
                  </a:lnTo>
                  <a:lnTo>
                    <a:pt x="18675" y="35593"/>
                  </a:lnTo>
                  <a:lnTo>
                    <a:pt x="18738" y="35593"/>
                  </a:lnTo>
                  <a:lnTo>
                    <a:pt x="18738" y="35593"/>
                  </a:lnTo>
                  <a:lnTo>
                    <a:pt x="18738" y="35593"/>
                  </a:lnTo>
                  <a:lnTo>
                    <a:pt x="18780" y="35367"/>
                  </a:lnTo>
                  <a:lnTo>
                    <a:pt x="18822" y="35367"/>
                  </a:lnTo>
                  <a:lnTo>
                    <a:pt x="18822" y="35367"/>
                  </a:lnTo>
                  <a:lnTo>
                    <a:pt x="18822" y="35028"/>
                  </a:lnTo>
                  <a:lnTo>
                    <a:pt x="18822" y="35028"/>
                  </a:lnTo>
                  <a:lnTo>
                    <a:pt x="18885" y="35028"/>
                  </a:lnTo>
                  <a:lnTo>
                    <a:pt x="18885" y="34802"/>
                  </a:lnTo>
                  <a:lnTo>
                    <a:pt x="18990" y="34463"/>
                  </a:lnTo>
                  <a:lnTo>
                    <a:pt x="18990" y="34463"/>
                  </a:lnTo>
                  <a:lnTo>
                    <a:pt x="18885" y="34463"/>
                  </a:lnTo>
                  <a:lnTo>
                    <a:pt x="18885" y="34463"/>
                  </a:lnTo>
                  <a:lnTo>
                    <a:pt x="18885" y="34463"/>
                  </a:lnTo>
                  <a:lnTo>
                    <a:pt x="18885" y="34237"/>
                  </a:lnTo>
                  <a:lnTo>
                    <a:pt x="18927" y="34237"/>
                  </a:lnTo>
                  <a:lnTo>
                    <a:pt x="18927" y="34237"/>
                  </a:lnTo>
                  <a:lnTo>
                    <a:pt x="18927" y="34011"/>
                  </a:lnTo>
                  <a:lnTo>
                    <a:pt x="18927" y="34011"/>
                  </a:lnTo>
                  <a:lnTo>
                    <a:pt x="18927" y="34011"/>
                  </a:lnTo>
                  <a:lnTo>
                    <a:pt x="18885" y="34011"/>
                  </a:lnTo>
                  <a:lnTo>
                    <a:pt x="18822" y="34011"/>
                  </a:lnTo>
                  <a:lnTo>
                    <a:pt x="18885" y="33672"/>
                  </a:lnTo>
                  <a:lnTo>
                    <a:pt x="18885" y="33672"/>
                  </a:lnTo>
                  <a:lnTo>
                    <a:pt x="18927" y="33672"/>
                  </a:lnTo>
                  <a:lnTo>
                    <a:pt x="18927" y="33672"/>
                  </a:lnTo>
                  <a:lnTo>
                    <a:pt x="18990" y="33672"/>
                  </a:lnTo>
                  <a:lnTo>
                    <a:pt x="18990" y="34011"/>
                  </a:lnTo>
                  <a:lnTo>
                    <a:pt x="18990" y="34011"/>
                  </a:lnTo>
                  <a:lnTo>
                    <a:pt x="18990" y="33672"/>
                  </a:lnTo>
                  <a:lnTo>
                    <a:pt x="18990" y="33672"/>
                  </a:lnTo>
                  <a:lnTo>
                    <a:pt x="18990" y="33446"/>
                  </a:lnTo>
                  <a:lnTo>
                    <a:pt x="19032" y="33220"/>
                  </a:lnTo>
                  <a:close/>
                  <a:moveTo>
                    <a:pt x="18633" y="33672"/>
                  </a:moveTo>
                  <a:lnTo>
                    <a:pt x="18633" y="33672"/>
                  </a:lnTo>
                  <a:lnTo>
                    <a:pt x="18633" y="33672"/>
                  </a:lnTo>
                  <a:lnTo>
                    <a:pt x="18590" y="33672"/>
                  </a:lnTo>
                  <a:lnTo>
                    <a:pt x="18590" y="33672"/>
                  </a:lnTo>
                  <a:lnTo>
                    <a:pt x="18527" y="33672"/>
                  </a:lnTo>
                  <a:lnTo>
                    <a:pt x="18485" y="33672"/>
                  </a:lnTo>
                  <a:lnTo>
                    <a:pt x="18485" y="34011"/>
                  </a:lnTo>
                  <a:lnTo>
                    <a:pt x="18443" y="34237"/>
                  </a:lnTo>
                  <a:lnTo>
                    <a:pt x="18485" y="34237"/>
                  </a:lnTo>
                  <a:lnTo>
                    <a:pt x="18527" y="34237"/>
                  </a:lnTo>
                  <a:lnTo>
                    <a:pt x="18527" y="34011"/>
                  </a:lnTo>
                  <a:lnTo>
                    <a:pt x="18590" y="34011"/>
                  </a:lnTo>
                  <a:lnTo>
                    <a:pt x="18590" y="34011"/>
                  </a:lnTo>
                  <a:lnTo>
                    <a:pt x="18633" y="33672"/>
                  </a:lnTo>
                  <a:lnTo>
                    <a:pt x="18633" y="33672"/>
                  </a:lnTo>
                  <a:close/>
                  <a:moveTo>
                    <a:pt x="19432" y="27796"/>
                  </a:moveTo>
                  <a:lnTo>
                    <a:pt x="19432" y="27796"/>
                  </a:lnTo>
                  <a:lnTo>
                    <a:pt x="19432" y="27570"/>
                  </a:lnTo>
                  <a:lnTo>
                    <a:pt x="19432" y="27570"/>
                  </a:lnTo>
                  <a:lnTo>
                    <a:pt x="19369" y="27570"/>
                  </a:lnTo>
                  <a:lnTo>
                    <a:pt x="19327" y="27570"/>
                  </a:lnTo>
                  <a:lnTo>
                    <a:pt x="19327" y="27796"/>
                  </a:lnTo>
                  <a:lnTo>
                    <a:pt x="19369" y="27796"/>
                  </a:lnTo>
                  <a:lnTo>
                    <a:pt x="19432" y="27796"/>
                  </a:lnTo>
                  <a:close/>
                  <a:moveTo>
                    <a:pt x="19284" y="27570"/>
                  </a:moveTo>
                  <a:lnTo>
                    <a:pt x="19284" y="27570"/>
                  </a:lnTo>
                  <a:lnTo>
                    <a:pt x="19284" y="27570"/>
                  </a:lnTo>
                  <a:lnTo>
                    <a:pt x="19284" y="27570"/>
                  </a:lnTo>
                  <a:lnTo>
                    <a:pt x="19221" y="27796"/>
                  </a:lnTo>
                  <a:lnTo>
                    <a:pt x="19221" y="27796"/>
                  </a:lnTo>
                  <a:lnTo>
                    <a:pt x="19221" y="28135"/>
                  </a:lnTo>
                  <a:lnTo>
                    <a:pt x="19179" y="28361"/>
                  </a:lnTo>
                  <a:lnTo>
                    <a:pt x="19074" y="28926"/>
                  </a:lnTo>
                  <a:lnTo>
                    <a:pt x="19074" y="29152"/>
                  </a:lnTo>
                  <a:lnTo>
                    <a:pt x="19074" y="29152"/>
                  </a:lnTo>
                  <a:lnTo>
                    <a:pt x="19074" y="29491"/>
                  </a:lnTo>
                  <a:lnTo>
                    <a:pt x="19032" y="29491"/>
                  </a:lnTo>
                  <a:lnTo>
                    <a:pt x="18927" y="29943"/>
                  </a:lnTo>
                  <a:lnTo>
                    <a:pt x="18885" y="29943"/>
                  </a:lnTo>
                  <a:lnTo>
                    <a:pt x="18885" y="30282"/>
                  </a:lnTo>
                  <a:lnTo>
                    <a:pt x="18885" y="30282"/>
                  </a:lnTo>
                  <a:lnTo>
                    <a:pt x="18885" y="30282"/>
                  </a:lnTo>
                  <a:lnTo>
                    <a:pt x="18885" y="30508"/>
                  </a:lnTo>
                  <a:lnTo>
                    <a:pt x="18885" y="30282"/>
                  </a:lnTo>
                  <a:lnTo>
                    <a:pt x="18990" y="30282"/>
                  </a:lnTo>
                  <a:lnTo>
                    <a:pt x="19137" y="29717"/>
                  </a:lnTo>
                  <a:lnTo>
                    <a:pt x="19179" y="29717"/>
                  </a:lnTo>
                  <a:lnTo>
                    <a:pt x="19179" y="29717"/>
                  </a:lnTo>
                  <a:lnTo>
                    <a:pt x="19179" y="29717"/>
                  </a:lnTo>
                  <a:lnTo>
                    <a:pt x="19221" y="29491"/>
                  </a:lnTo>
                  <a:lnTo>
                    <a:pt x="19221" y="29491"/>
                  </a:lnTo>
                  <a:lnTo>
                    <a:pt x="19284" y="29152"/>
                  </a:lnTo>
                  <a:lnTo>
                    <a:pt x="19284" y="29152"/>
                  </a:lnTo>
                  <a:lnTo>
                    <a:pt x="19284" y="28926"/>
                  </a:lnTo>
                  <a:lnTo>
                    <a:pt x="19284" y="28587"/>
                  </a:lnTo>
                  <a:lnTo>
                    <a:pt x="19327" y="28361"/>
                  </a:lnTo>
                  <a:lnTo>
                    <a:pt x="19327" y="28135"/>
                  </a:lnTo>
                  <a:lnTo>
                    <a:pt x="19369" y="28135"/>
                  </a:lnTo>
                  <a:lnTo>
                    <a:pt x="19369" y="28135"/>
                  </a:lnTo>
                  <a:lnTo>
                    <a:pt x="19369" y="28135"/>
                  </a:lnTo>
                  <a:lnTo>
                    <a:pt x="19369" y="28135"/>
                  </a:lnTo>
                  <a:lnTo>
                    <a:pt x="19369" y="28361"/>
                  </a:lnTo>
                  <a:lnTo>
                    <a:pt x="19327" y="28587"/>
                  </a:lnTo>
                  <a:lnTo>
                    <a:pt x="19327" y="28587"/>
                  </a:lnTo>
                  <a:lnTo>
                    <a:pt x="19327" y="28587"/>
                  </a:lnTo>
                  <a:lnTo>
                    <a:pt x="19327" y="28587"/>
                  </a:lnTo>
                  <a:lnTo>
                    <a:pt x="19327" y="28926"/>
                  </a:lnTo>
                  <a:lnTo>
                    <a:pt x="19327" y="29152"/>
                  </a:lnTo>
                  <a:lnTo>
                    <a:pt x="19327" y="29152"/>
                  </a:lnTo>
                  <a:lnTo>
                    <a:pt x="19369" y="28926"/>
                  </a:lnTo>
                  <a:lnTo>
                    <a:pt x="19369" y="28587"/>
                  </a:lnTo>
                  <a:lnTo>
                    <a:pt x="19369" y="28587"/>
                  </a:lnTo>
                  <a:lnTo>
                    <a:pt x="19432" y="28361"/>
                  </a:lnTo>
                  <a:lnTo>
                    <a:pt x="19432" y="27796"/>
                  </a:lnTo>
                  <a:lnTo>
                    <a:pt x="19369" y="27796"/>
                  </a:lnTo>
                  <a:lnTo>
                    <a:pt x="19284" y="27796"/>
                  </a:lnTo>
                  <a:lnTo>
                    <a:pt x="19284" y="27796"/>
                  </a:lnTo>
                  <a:lnTo>
                    <a:pt x="19284" y="27570"/>
                  </a:lnTo>
                  <a:close/>
                  <a:moveTo>
                    <a:pt x="18590" y="29491"/>
                  </a:moveTo>
                  <a:lnTo>
                    <a:pt x="18633" y="29491"/>
                  </a:lnTo>
                  <a:lnTo>
                    <a:pt x="18675" y="29491"/>
                  </a:lnTo>
                  <a:lnTo>
                    <a:pt x="18738" y="29152"/>
                  </a:lnTo>
                  <a:lnTo>
                    <a:pt x="18780" y="28926"/>
                  </a:lnTo>
                  <a:lnTo>
                    <a:pt x="18780" y="28926"/>
                  </a:lnTo>
                  <a:lnTo>
                    <a:pt x="18822" y="28926"/>
                  </a:lnTo>
                  <a:lnTo>
                    <a:pt x="18885" y="29152"/>
                  </a:lnTo>
                  <a:lnTo>
                    <a:pt x="18885" y="29491"/>
                  </a:lnTo>
                  <a:lnTo>
                    <a:pt x="18927" y="29491"/>
                  </a:lnTo>
                  <a:lnTo>
                    <a:pt x="18990" y="29152"/>
                  </a:lnTo>
                  <a:lnTo>
                    <a:pt x="18990" y="28926"/>
                  </a:lnTo>
                  <a:lnTo>
                    <a:pt x="19032" y="28926"/>
                  </a:lnTo>
                  <a:lnTo>
                    <a:pt x="18927" y="28926"/>
                  </a:lnTo>
                  <a:lnTo>
                    <a:pt x="18927" y="28587"/>
                  </a:lnTo>
                  <a:lnTo>
                    <a:pt x="18990" y="28587"/>
                  </a:lnTo>
                  <a:lnTo>
                    <a:pt x="18990" y="28587"/>
                  </a:lnTo>
                  <a:lnTo>
                    <a:pt x="18990" y="28587"/>
                  </a:lnTo>
                  <a:lnTo>
                    <a:pt x="19032" y="28587"/>
                  </a:lnTo>
                  <a:lnTo>
                    <a:pt x="19137" y="28361"/>
                  </a:lnTo>
                  <a:lnTo>
                    <a:pt x="19137" y="28135"/>
                  </a:lnTo>
                  <a:lnTo>
                    <a:pt x="19137" y="28135"/>
                  </a:lnTo>
                  <a:lnTo>
                    <a:pt x="19137" y="28135"/>
                  </a:lnTo>
                  <a:lnTo>
                    <a:pt x="19074" y="28135"/>
                  </a:lnTo>
                  <a:lnTo>
                    <a:pt x="19032" y="28135"/>
                  </a:lnTo>
                  <a:lnTo>
                    <a:pt x="19032" y="28135"/>
                  </a:lnTo>
                  <a:lnTo>
                    <a:pt x="18927" y="28135"/>
                  </a:lnTo>
                  <a:lnTo>
                    <a:pt x="18927" y="28361"/>
                  </a:lnTo>
                  <a:lnTo>
                    <a:pt x="18927" y="28135"/>
                  </a:lnTo>
                  <a:lnTo>
                    <a:pt x="18927" y="28135"/>
                  </a:lnTo>
                  <a:lnTo>
                    <a:pt x="18927" y="28135"/>
                  </a:lnTo>
                  <a:lnTo>
                    <a:pt x="18990" y="28135"/>
                  </a:lnTo>
                  <a:lnTo>
                    <a:pt x="18990" y="27796"/>
                  </a:lnTo>
                  <a:lnTo>
                    <a:pt x="18990" y="27796"/>
                  </a:lnTo>
                  <a:lnTo>
                    <a:pt x="18990" y="27570"/>
                  </a:lnTo>
                  <a:lnTo>
                    <a:pt x="18927" y="27796"/>
                  </a:lnTo>
                  <a:lnTo>
                    <a:pt x="18885" y="27796"/>
                  </a:lnTo>
                  <a:lnTo>
                    <a:pt x="18885" y="27796"/>
                  </a:lnTo>
                  <a:lnTo>
                    <a:pt x="18822" y="27796"/>
                  </a:lnTo>
                  <a:lnTo>
                    <a:pt x="18822" y="27796"/>
                  </a:lnTo>
                  <a:lnTo>
                    <a:pt x="18780" y="28135"/>
                  </a:lnTo>
                  <a:lnTo>
                    <a:pt x="18780" y="27796"/>
                  </a:lnTo>
                  <a:lnTo>
                    <a:pt x="18780" y="27796"/>
                  </a:lnTo>
                  <a:lnTo>
                    <a:pt x="18738" y="27796"/>
                  </a:lnTo>
                  <a:lnTo>
                    <a:pt x="18675" y="28135"/>
                  </a:lnTo>
                  <a:lnTo>
                    <a:pt x="18675" y="28135"/>
                  </a:lnTo>
                  <a:lnTo>
                    <a:pt x="18633" y="28135"/>
                  </a:lnTo>
                  <a:lnTo>
                    <a:pt x="18590" y="28361"/>
                  </a:lnTo>
                  <a:lnTo>
                    <a:pt x="18590" y="28587"/>
                  </a:lnTo>
                  <a:lnTo>
                    <a:pt x="18633" y="28587"/>
                  </a:lnTo>
                  <a:lnTo>
                    <a:pt x="18633" y="28926"/>
                  </a:lnTo>
                  <a:lnTo>
                    <a:pt x="18590" y="29152"/>
                  </a:lnTo>
                  <a:lnTo>
                    <a:pt x="18590" y="29491"/>
                  </a:lnTo>
                  <a:close/>
                  <a:moveTo>
                    <a:pt x="13732" y="10508"/>
                  </a:moveTo>
                  <a:lnTo>
                    <a:pt x="13774" y="10508"/>
                  </a:lnTo>
                  <a:lnTo>
                    <a:pt x="13774" y="10508"/>
                  </a:lnTo>
                  <a:lnTo>
                    <a:pt x="13669" y="10508"/>
                  </a:lnTo>
                  <a:lnTo>
                    <a:pt x="13627" y="10508"/>
                  </a:lnTo>
                  <a:lnTo>
                    <a:pt x="13627" y="10508"/>
                  </a:lnTo>
                  <a:lnTo>
                    <a:pt x="13627" y="10508"/>
                  </a:lnTo>
                  <a:lnTo>
                    <a:pt x="13732" y="10508"/>
                  </a:lnTo>
                  <a:close/>
                  <a:moveTo>
                    <a:pt x="294" y="112316"/>
                  </a:moveTo>
                  <a:lnTo>
                    <a:pt x="252" y="112316"/>
                  </a:lnTo>
                  <a:lnTo>
                    <a:pt x="189" y="112542"/>
                  </a:lnTo>
                  <a:lnTo>
                    <a:pt x="189" y="112768"/>
                  </a:lnTo>
                  <a:lnTo>
                    <a:pt x="252" y="112768"/>
                  </a:lnTo>
                  <a:lnTo>
                    <a:pt x="252" y="112768"/>
                  </a:lnTo>
                  <a:lnTo>
                    <a:pt x="294" y="113107"/>
                  </a:lnTo>
                  <a:lnTo>
                    <a:pt x="294" y="113107"/>
                  </a:lnTo>
                  <a:lnTo>
                    <a:pt x="336" y="112768"/>
                  </a:lnTo>
                  <a:lnTo>
                    <a:pt x="336" y="112768"/>
                  </a:lnTo>
                  <a:lnTo>
                    <a:pt x="399" y="112542"/>
                  </a:lnTo>
                  <a:lnTo>
                    <a:pt x="399" y="112542"/>
                  </a:lnTo>
                  <a:lnTo>
                    <a:pt x="399" y="112316"/>
                  </a:lnTo>
                  <a:lnTo>
                    <a:pt x="399" y="112316"/>
                  </a:lnTo>
                  <a:lnTo>
                    <a:pt x="294" y="112316"/>
                  </a:lnTo>
                  <a:close/>
                  <a:moveTo>
                    <a:pt x="1282" y="114689"/>
                  </a:moveTo>
                  <a:lnTo>
                    <a:pt x="1282" y="114689"/>
                  </a:lnTo>
                  <a:lnTo>
                    <a:pt x="1177" y="114689"/>
                  </a:lnTo>
                  <a:lnTo>
                    <a:pt x="1177" y="114689"/>
                  </a:lnTo>
                  <a:lnTo>
                    <a:pt x="1177" y="114689"/>
                  </a:lnTo>
                  <a:lnTo>
                    <a:pt x="1093" y="114689"/>
                  </a:lnTo>
                  <a:lnTo>
                    <a:pt x="1093" y="114350"/>
                  </a:lnTo>
                  <a:lnTo>
                    <a:pt x="1093" y="114689"/>
                  </a:lnTo>
                  <a:lnTo>
                    <a:pt x="1030" y="114689"/>
                  </a:lnTo>
                  <a:lnTo>
                    <a:pt x="1030" y="114915"/>
                  </a:lnTo>
                  <a:lnTo>
                    <a:pt x="1135" y="114915"/>
                  </a:lnTo>
                  <a:lnTo>
                    <a:pt x="1177" y="114915"/>
                  </a:lnTo>
                  <a:lnTo>
                    <a:pt x="1240" y="114915"/>
                  </a:lnTo>
                  <a:lnTo>
                    <a:pt x="1282" y="114689"/>
                  </a:lnTo>
                  <a:close/>
                  <a:moveTo>
                    <a:pt x="946" y="114124"/>
                  </a:moveTo>
                  <a:lnTo>
                    <a:pt x="946" y="113898"/>
                  </a:lnTo>
                  <a:lnTo>
                    <a:pt x="883" y="114124"/>
                  </a:lnTo>
                  <a:lnTo>
                    <a:pt x="883" y="113898"/>
                  </a:lnTo>
                  <a:lnTo>
                    <a:pt x="883" y="113898"/>
                  </a:lnTo>
                  <a:lnTo>
                    <a:pt x="883" y="113898"/>
                  </a:lnTo>
                  <a:lnTo>
                    <a:pt x="883" y="113898"/>
                  </a:lnTo>
                  <a:lnTo>
                    <a:pt x="841" y="113333"/>
                  </a:lnTo>
                  <a:lnTo>
                    <a:pt x="841" y="113333"/>
                  </a:lnTo>
                  <a:lnTo>
                    <a:pt x="799" y="113559"/>
                  </a:lnTo>
                  <a:lnTo>
                    <a:pt x="736" y="113559"/>
                  </a:lnTo>
                  <a:lnTo>
                    <a:pt x="736" y="113898"/>
                  </a:lnTo>
                  <a:lnTo>
                    <a:pt x="736" y="113898"/>
                  </a:lnTo>
                  <a:lnTo>
                    <a:pt x="736" y="114124"/>
                  </a:lnTo>
                  <a:lnTo>
                    <a:pt x="736" y="114350"/>
                  </a:lnTo>
                  <a:lnTo>
                    <a:pt x="799" y="114350"/>
                  </a:lnTo>
                  <a:lnTo>
                    <a:pt x="799" y="114350"/>
                  </a:lnTo>
                  <a:lnTo>
                    <a:pt x="799" y="114124"/>
                  </a:lnTo>
                  <a:lnTo>
                    <a:pt x="799" y="114124"/>
                  </a:lnTo>
                  <a:lnTo>
                    <a:pt x="841" y="114124"/>
                  </a:lnTo>
                  <a:lnTo>
                    <a:pt x="841" y="114350"/>
                  </a:lnTo>
                  <a:lnTo>
                    <a:pt x="841" y="114124"/>
                  </a:lnTo>
                  <a:lnTo>
                    <a:pt x="841" y="114350"/>
                  </a:lnTo>
                  <a:lnTo>
                    <a:pt x="883" y="114350"/>
                  </a:lnTo>
                  <a:lnTo>
                    <a:pt x="883" y="114350"/>
                  </a:lnTo>
                  <a:lnTo>
                    <a:pt x="946" y="114350"/>
                  </a:lnTo>
                  <a:lnTo>
                    <a:pt x="946" y="114350"/>
                  </a:lnTo>
                  <a:lnTo>
                    <a:pt x="946" y="114124"/>
                  </a:lnTo>
                  <a:close/>
                  <a:moveTo>
                    <a:pt x="1177" y="115254"/>
                  </a:moveTo>
                  <a:lnTo>
                    <a:pt x="1135" y="115254"/>
                  </a:lnTo>
                  <a:lnTo>
                    <a:pt x="1135" y="115254"/>
                  </a:lnTo>
                  <a:lnTo>
                    <a:pt x="1135" y="115480"/>
                  </a:lnTo>
                  <a:lnTo>
                    <a:pt x="1135" y="115706"/>
                  </a:lnTo>
                  <a:lnTo>
                    <a:pt x="1135" y="115706"/>
                  </a:lnTo>
                  <a:lnTo>
                    <a:pt x="1177" y="115706"/>
                  </a:lnTo>
                  <a:lnTo>
                    <a:pt x="1177" y="115480"/>
                  </a:lnTo>
                  <a:lnTo>
                    <a:pt x="1177" y="115480"/>
                  </a:lnTo>
                  <a:lnTo>
                    <a:pt x="1177" y="115254"/>
                  </a:lnTo>
                  <a:close/>
                  <a:moveTo>
                    <a:pt x="6393" y="38531"/>
                  </a:moveTo>
                  <a:lnTo>
                    <a:pt x="6435" y="38305"/>
                  </a:lnTo>
                  <a:lnTo>
                    <a:pt x="6435" y="38305"/>
                  </a:lnTo>
                  <a:lnTo>
                    <a:pt x="6435" y="38305"/>
                  </a:lnTo>
                  <a:lnTo>
                    <a:pt x="6393" y="38305"/>
                  </a:lnTo>
                  <a:lnTo>
                    <a:pt x="6351" y="38305"/>
                  </a:lnTo>
                  <a:lnTo>
                    <a:pt x="6288" y="38305"/>
                  </a:lnTo>
                  <a:lnTo>
                    <a:pt x="6246" y="38531"/>
                  </a:lnTo>
                  <a:lnTo>
                    <a:pt x="6246" y="38531"/>
                  </a:lnTo>
                  <a:lnTo>
                    <a:pt x="6203" y="38757"/>
                  </a:lnTo>
                  <a:lnTo>
                    <a:pt x="6203" y="38757"/>
                  </a:lnTo>
                  <a:lnTo>
                    <a:pt x="6203" y="38757"/>
                  </a:lnTo>
                  <a:lnTo>
                    <a:pt x="6140" y="38757"/>
                  </a:lnTo>
                  <a:lnTo>
                    <a:pt x="6140" y="38757"/>
                  </a:lnTo>
                  <a:lnTo>
                    <a:pt x="6098" y="38757"/>
                  </a:lnTo>
                  <a:lnTo>
                    <a:pt x="6035" y="38757"/>
                  </a:lnTo>
                  <a:lnTo>
                    <a:pt x="6035" y="39096"/>
                  </a:lnTo>
                  <a:lnTo>
                    <a:pt x="5993" y="39096"/>
                  </a:lnTo>
                  <a:lnTo>
                    <a:pt x="5951" y="39096"/>
                  </a:lnTo>
                  <a:lnTo>
                    <a:pt x="5951" y="39322"/>
                  </a:lnTo>
                  <a:lnTo>
                    <a:pt x="5888" y="39322"/>
                  </a:lnTo>
                  <a:lnTo>
                    <a:pt x="5888" y="39322"/>
                  </a:lnTo>
                  <a:lnTo>
                    <a:pt x="5846" y="39548"/>
                  </a:lnTo>
                  <a:lnTo>
                    <a:pt x="5804" y="39548"/>
                  </a:lnTo>
                  <a:lnTo>
                    <a:pt x="5888" y="39548"/>
                  </a:lnTo>
                  <a:lnTo>
                    <a:pt x="5888" y="39548"/>
                  </a:lnTo>
                  <a:lnTo>
                    <a:pt x="5951" y="39322"/>
                  </a:lnTo>
                  <a:lnTo>
                    <a:pt x="5993" y="39322"/>
                  </a:lnTo>
                  <a:lnTo>
                    <a:pt x="5993" y="39322"/>
                  </a:lnTo>
                  <a:lnTo>
                    <a:pt x="6035" y="39322"/>
                  </a:lnTo>
                  <a:lnTo>
                    <a:pt x="6098" y="39096"/>
                  </a:lnTo>
                  <a:lnTo>
                    <a:pt x="6203" y="39096"/>
                  </a:lnTo>
                  <a:lnTo>
                    <a:pt x="6351" y="38757"/>
                  </a:lnTo>
                  <a:lnTo>
                    <a:pt x="6393" y="38531"/>
                  </a:lnTo>
                  <a:lnTo>
                    <a:pt x="6393" y="38531"/>
                  </a:lnTo>
                  <a:close/>
                  <a:moveTo>
                    <a:pt x="1388" y="116045"/>
                  </a:moveTo>
                  <a:lnTo>
                    <a:pt x="1430" y="116045"/>
                  </a:lnTo>
                  <a:lnTo>
                    <a:pt x="1493" y="115706"/>
                  </a:lnTo>
                  <a:lnTo>
                    <a:pt x="1493" y="115706"/>
                  </a:lnTo>
                  <a:lnTo>
                    <a:pt x="1493" y="115480"/>
                  </a:lnTo>
                  <a:lnTo>
                    <a:pt x="1493" y="115480"/>
                  </a:lnTo>
                  <a:lnTo>
                    <a:pt x="1493" y="115480"/>
                  </a:lnTo>
                  <a:lnTo>
                    <a:pt x="1430" y="115254"/>
                  </a:lnTo>
                  <a:lnTo>
                    <a:pt x="1388" y="115254"/>
                  </a:lnTo>
                  <a:lnTo>
                    <a:pt x="1345" y="115254"/>
                  </a:lnTo>
                  <a:lnTo>
                    <a:pt x="1345" y="115254"/>
                  </a:lnTo>
                  <a:lnTo>
                    <a:pt x="1345" y="115254"/>
                  </a:lnTo>
                  <a:lnTo>
                    <a:pt x="1282" y="114915"/>
                  </a:lnTo>
                  <a:lnTo>
                    <a:pt x="1282" y="114915"/>
                  </a:lnTo>
                  <a:lnTo>
                    <a:pt x="1240" y="115254"/>
                  </a:lnTo>
                  <a:lnTo>
                    <a:pt x="1240" y="115254"/>
                  </a:lnTo>
                  <a:lnTo>
                    <a:pt x="1282" y="115480"/>
                  </a:lnTo>
                  <a:lnTo>
                    <a:pt x="1282" y="115480"/>
                  </a:lnTo>
                  <a:lnTo>
                    <a:pt x="1345" y="115480"/>
                  </a:lnTo>
                  <a:lnTo>
                    <a:pt x="1345" y="115706"/>
                  </a:lnTo>
                  <a:lnTo>
                    <a:pt x="1345" y="116045"/>
                  </a:lnTo>
                  <a:lnTo>
                    <a:pt x="1345" y="116045"/>
                  </a:lnTo>
                  <a:lnTo>
                    <a:pt x="1388" y="116045"/>
                  </a:lnTo>
                  <a:lnTo>
                    <a:pt x="1388" y="116045"/>
                  </a:lnTo>
                  <a:close/>
                  <a:moveTo>
                    <a:pt x="1787" y="118418"/>
                  </a:moveTo>
                  <a:lnTo>
                    <a:pt x="1787" y="118192"/>
                  </a:lnTo>
                  <a:lnTo>
                    <a:pt x="1724" y="118192"/>
                  </a:lnTo>
                  <a:lnTo>
                    <a:pt x="1787" y="117853"/>
                  </a:lnTo>
                  <a:lnTo>
                    <a:pt x="1724" y="117627"/>
                  </a:lnTo>
                  <a:lnTo>
                    <a:pt x="1577" y="117062"/>
                  </a:lnTo>
                  <a:lnTo>
                    <a:pt x="1535" y="116836"/>
                  </a:lnTo>
                  <a:lnTo>
                    <a:pt x="1493" y="116836"/>
                  </a:lnTo>
                  <a:lnTo>
                    <a:pt x="1493" y="117062"/>
                  </a:lnTo>
                  <a:lnTo>
                    <a:pt x="1493" y="117288"/>
                  </a:lnTo>
                  <a:lnTo>
                    <a:pt x="1430" y="117627"/>
                  </a:lnTo>
                  <a:lnTo>
                    <a:pt x="1388" y="117853"/>
                  </a:lnTo>
                  <a:lnTo>
                    <a:pt x="1388" y="118192"/>
                  </a:lnTo>
                  <a:lnTo>
                    <a:pt x="1388" y="118418"/>
                  </a:lnTo>
                  <a:lnTo>
                    <a:pt x="1388" y="118983"/>
                  </a:lnTo>
                  <a:lnTo>
                    <a:pt x="1388" y="119435"/>
                  </a:lnTo>
                  <a:lnTo>
                    <a:pt x="1388" y="119774"/>
                  </a:lnTo>
                  <a:lnTo>
                    <a:pt x="1430" y="120000"/>
                  </a:lnTo>
                  <a:lnTo>
                    <a:pt x="1430" y="120000"/>
                  </a:lnTo>
                  <a:lnTo>
                    <a:pt x="1493" y="119774"/>
                  </a:lnTo>
                  <a:lnTo>
                    <a:pt x="1493" y="119435"/>
                  </a:lnTo>
                  <a:lnTo>
                    <a:pt x="1577" y="119209"/>
                  </a:lnTo>
                  <a:lnTo>
                    <a:pt x="1724" y="119209"/>
                  </a:lnTo>
                  <a:lnTo>
                    <a:pt x="1787" y="118644"/>
                  </a:lnTo>
                  <a:lnTo>
                    <a:pt x="1829" y="118644"/>
                  </a:lnTo>
                  <a:lnTo>
                    <a:pt x="1829" y="118418"/>
                  </a:lnTo>
                  <a:lnTo>
                    <a:pt x="1787" y="118418"/>
                  </a:lnTo>
                  <a:close/>
                  <a:moveTo>
                    <a:pt x="7129" y="37740"/>
                  </a:moveTo>
                  <a:lnTo>
                    <a:pt x="7087" y="37740"/>
                  </a:lnTo>
                  <a:lnTo>
                    <a:pt x="7087" y="37740"/>
                  </a:lnTo>
                  <a:lnTo>
                    <a:pt x="7087" y="37740"/>
                  </a:lnTo>
                  <a:lnTo>
                    <a:pt x="7087" y="37740"/>
                  </a:lnTo>
                  <a:lnTo>
                    <a:pt x="7087" y="37740"/>
                  </a:lnTo>
                  <a:lnTo>
                    <a:pt x="7129" y="37740"/>
                  </a:lnTo>
                  <a:lnTo>
                    <a:pt x="7129" y="37740"/>
                  </a:lnTo>
                  <a:lnTo>
                    <a:pt x="7192" y="37740"/>
                  </a:lnTo>
                  <a:lnTo>
                    <a:pt x="7192" y="37401"/>
                  </a:lnTo>
                  <a:lnTo>
                    <a:pt x="7192" y="37401"/>
                  </a:lnTo>
                  <a:lnTo>
                    <a:pt x="7129" y="37740"/>
                  </a:lnTo>
                  <a:close/>
                  <a:moveTo>
                    <a:pt x="13438" y="28587"/>
                  </a:moveTo>
                  <a:lnTo>
                    <a:pt x="13438" y="28587"/>
                  </a:lnTo>
                  <a:lnTo>
                    <a:pt x="13333" y="28587"/>
                  </a:lnTo>
                  <a:lnTo>
                    <a:pt x="13333" y="28587"/>
                  </a:lnTo>
                  <a:lnTo>
                    <a:pt x="13333" y="28587"/>
                  </a:lnTo>
                  <a:lnTo>
                    <a:pt x="13375" y="28361"/>
                  </a:lnTo>
                  <a:lnTo>
                    <a:pt x="13375" y="28361"/>
                  </a:lnTo>
                  <a:lnTo>
                    <a:pt x="13333" y="28361"/>
                  </a:lnTo>
                  <a:lnTo>
                    <a:pt x="13291" y="28361"/>
                  </a:lnTo>
                  <a:lnTo>
                    <a:pt x="13291" y="28361"/>
                  </a:lnTo>
                  <a:lnTo>
                    <a:pt x="13291" y="28587"/>
                  </a:lnTo>
                  <a:lnTo>
                    <a:pt x="13291" y="28587"/>
                  </a:lnTo>
                  <a:lnTo>
                    <a:pt x="13228" y="28587"/>
                  </a:lnTo>
                  <a:lnTo>
                    <a:pt x="13228" y="28587"/>
                  </a:lnTo>
                  <a:lnTo>
                    <a:pt x="13228" y="28587"/>
                  </a:lnTo>
                  <a:lnTo>
                    <a:pt x="13186" y="28587"/>
                  </a:lnTo>
                  <a:lnTo>
                    <a:pt x="13186" y="28587"/>
                  </a:lnTo>
                  <a:lnTo>
                    <a:pt x="13123" y="28587"/>
                  </a:lnTo>
                  <a:lnTo>
                    <a:pt x="13123" y="28926"/>
                  </a:lnTo>
                  <a:lnTo>
                    <a:pt x="13123" y="28926"/>
                  </a:lnTo>
                  <a:lnTo>
                    <a:pt x="13080" y="28926"/>
                  </a:lnTo>
                  <a:lnTo>
                    <a:pt x="13080" y="28926"/>
                  </a:lnTo>
                  <a:lnTo>
                    <a:pt x="13123" y="28587"/>
                  </a:lnTo>
                  <a:lnTo>
                    <a:pt x="13123" y="28587"/>
                  </a:lnTo>
                  <a:lnTo>
                    <a:pt x="13080" y="28587"/>
                  </a:lnTo>
                  <a:lnTo>
                    <a:pt x="13080" y="28587"/>
                  </a:lnTo>
                  <a:lnTo>
                    <a:pt x="13080" y="28587"/>
                  </a:lnTo>
                  <a:lnTo>
                    <a:pt x="13038" y="28587"/>
                  </a:lnTo>
                  <a:lnTo>
                    <a:pt x="12975" y="28587"/>
                  </a:lnTo>
                  <a:lnTo>
                    <a:pt x="12975" y="28926"/>
                  </a:lnTo>
                  <a:lnTo>
                    <a:pt x="12975" y="28926"/>
                  </a:lnTo>
                  <a:lnTo>
                    <a:pt x="13038" y="28926"/>
                  </a:lnTo>
                  <a:lnTo>
                    <a:pt x="12975" y="29152"/>
                  </a:lnTo>
                  <a:lnTo>
                    <a:pt x="12975" y="28926"/>
                  </a:lnTo>
                  <a:lnTo>
                    <a:pt x="12933" y="29152"/>
                  </a:lnTo>
                  <a:lnTo>
                    <a:pt x="12933" y="29152"/>
                  </a:lnTo>
                  <a:lnTo>
                    <a:pt x="12891" y="29491"/>
                  </a:lnTo>
                  <a:lnTo>
                    <a:pt x="12828" y="29717"/>
                  </a:lnTo>
                  <a:lnTo>
                    <a:pt x="12828" y="29717"/>
                  </a:lnTo>
                  <a:lnTo>
                    <a:pt x="12828" y="29717"/>
                  </a:lnTo>
                  <a:lnTo>
                    <a:pt x="12828" y="29717"/>
                  </a:lnTo>
                  <a:lnTo>
                    <a:pt x="12828" y="29491"/>
                  </a:lnTo>
                  <a:lnTo>
                    <a:pt x="12891" y="29152"/>
                  </a:lnTo>
                  <a:lnTo>
                    <a:pt x="12891" y="29152"/>
                  </a:lnTo>
                  <a:lnTo>
                    <a:pt x="12891" y="29152"/>
                  </a:lnTo>
                  <a:lnTo>
                    <a:pt x="12891" y="29152"/>
                  </a:lnTo>
                  <a:lnTo>
                    <a:pt x="12891" y="29152"/>
                  </a:lnTo>
                  <a:lnTo>
                    <a:pt x="12891" y="28926"/>
                  </a:lnTo>
                  <a:lnTo>
                    <a:pt x="12828" y="28926"/>
                  </a:lnTo>
                  <a:lnTo>
                    <a:pt x="12828" y="29152"/>
                  </a:lnTo>
                  <a:lnTo>
                    <a:pt x="12744" y="29152"/>
                  </a:lnTo>
                  <a:lnTo>
                    <a:pt x="12681" y="29152"/>
                  </a:lnTo>
                  <a:lnTo>
                    <a:pt x="12597" y="29491"/>
                  </a:lnTo>
                  <a:lnTo>
                    <a:pt x="12534" y="29717"/>
                  </a:lnTo>
                  <a:lnTo>
                    <a:pt x="12534" y="29717"/>
                  </a:lnTo>
                  <a:lnTo>
                    <a:pt x="12534" y="29943"/>
                  </a:lnTo>
                  <a:lnTo>
                    <a:pt x="12429" y="30508"/>
                  </a:lnTo>
                  <a:lnTo>
                    <a:pt x="12429" y="30734"/>
                  </a:lnTo>
                  <a:lnTo>
                    <a:pt x="12492" y="30734"/>
                  </a:lnTo>
                  <a:lnTo>
                    <a:pt x="12534" y="30508"/>
                  </a:lnTo>
                  <a:lnTo>
                    <a:pt x="12534" y="30508"/>
                  </a:lnTo>
                  <a:lnTo>
                    <a:pt x="12534" y="30508"/>
                  </a:lnTo>
                  <a:lnTo>
                    <a:pt x="12597" y="30282"/>
                  </a:lnTo>
                  <a:lnTo>
                    <a:pt x="12597" y="30282"/>
                  </a:lnTo>
                  <a:lnTo>
                    <a:pt x="12597" y="30282"/>
                  </a:lnTo>
                  <a:lnTo>
                    <a:pt x="12534" y="30282"/>
                  </a:lnTo>
                  <a:lnTo>
                    <a:pt x="12534" y="30282"/>
                  </a:lnTo>
                  <a:lnTo>
                    <a:pt x="12534" y="30282"/>
                  </a:lnTo>
                  <a:lnTo>
                    <a:pt x="12597" y="30282"/>
                  </a:lnTo>
                  <a:lnTo>
                    <a:pt x="12639" y="30282"/>
                  </a:lnTo>
                  <a:lnTo>
                    <a:pt x="12639" y="30282"/>
                  </a:lnTo>
                  <a:lnTo>
                    <a:pt x="12639" y="30282"/>
                  </a:lnTo>
                  <a:lnTo>
                    <a:pt x="12639" y="30282"/>
                  </a:lnTo>
                  <a:lnTo>
                    <a:pt x="12597" y="30282"/>
                  </a:lnTo>
                  <a:lnTo>
                    <a:pt x="12597" y="30508"/>
                  </a:lnTo>
                  <a:lnTo>
                    <a:pt x="12597" y="30508"/>
                  </a:lnTo>
                  <a:lnTo>
                    <a:pt x="12639" y="30282"/>
                  </a:lnTo>
                  <a:lnTo>
                    <a:pt x="12639" y="30508"/>
                  </a:lnTo>
                  <a:lnTo>
                    <a:pt x="12681" y="30508"/>
                  </a:lnTo>
                  <a:lnTo>
                    <a:pt x="12681" y="30508"/>
                  </a:lnTo>
                  <a:lnTo>
                    <a:pt x="12492" y="30734"/>
                  </a:lnTo>
                  <a:lnTo>
                    <a:pt x="12492" y="31073"/>
                  </a:lnTo>
                  <a:lnTo>
                    <a:pt x="12492" y="31073"/>
                  </a:lnTo>
                  <a:lnTo>
                    <a:pt x="12492" y="31073"/>
                  </a:lnTo>
                  <a:lnTo>
                    <a:pt x="12492" y="31073"/>
                  </a:lnTo>
                  <a:lnTo>
                    <a:pt x="12639" y="30734"/>
                  </a:lnTo>
                  <a:lnTo>
                    <a:pt x="12681" y="30508"/>
                  </a:lnTo>
                  <a:lnTo>
                    <a:pt x="12744" y="30508"/>
                  </a:lnTo>
                  <a:lnTo>
                    <a:pt x="12744" y="30508"/>
                  </a:lnTo>
                  <a:lnTo>
                    <a:pt x="12744" y="30508"/>
                  </a:lnTo>
                  <a:lnTo>
                    <a:pt x="12744" y="30282"/>
                  </a:lnTo>
                  <a:lnTo>
                    <a:pt x="12786" y="30282"/>
                  </a:lnTo>
                  <a:lnTo>
                    <a:pt x="12786" y="30282"/>
                  </a:lnTo>
                  <a:lnTo>
                    <a:pt x="12828" y="30282"/>
                  </a:lnTo>
                  <a:lnTo>
                    <a:pt x="12828" y="29943"/>
                  </a:lnTo>
                  <a:lnTo>
                    <a:pt x="12933" y="29943"/>
                  </a:lnTo>
                  <a:lnTo>
                    <a:pt x="13038" y="29943"/>
                  </a:lnTo>
                  <a:lnTo>
                    <a:pt x="13080" y="29943"/>
                  </a:lnTo>
                  <a:lnTo>
                    <a:pt x="13123" y="29717"/>
                  </a:lnTo>
                  <a:lnTo>
                    <a:pt x="13123" y="29717"/>
                  </a:lnTo>
                  <a:lnTo>
                    <a:pt x="13186" y="29717"/>
                  </a:lnTo>
                  <a:lnTo>
                    <a:pt x="13186" y="29717"/>
                  </a:lnTo>
                  <a:lnTo>
                    <a:pt x="13186" y="29717"/>
                  </a:lnTo>
                  <a:lnTo>
                    <a:pt x="13186" y="29491"/>
                  </a:lnTo>
                  <a:lnTo>
                    <a:pt x="13186" y="29491"/>
                  </a:lnTo>
                  <a:lnTo>
                    <a:pt x="13123" y="29491"/>
                  </a:lnTo>
                  <a:lnTo>
                    <a:pt x="13123" y="29491"/>
                  </a:lnTo>
                  <a:lnTo>
                    <a:pt x="13186" y="29491"/>
                  </a:lnTo>
                  <a:lnTo>
                    <a:pt x="13186" y="29491"/>
                  </a:lnTo>
                  <a:lnTo>
                    <a:pt x="13228" y="29491"/>
                  </a:lnTo>
                  <a:lnTo>
                    <a:pt x="13291" y="29491"/>
                  </a:lnTo>
                  <a:lnTo>
                    <a:pt x="13333" y="29491"/>
                  </a:lnTo>
                  <a:lnTo>
                    <a:pt x="13333" y="29491"/>
                  </a:lnTo>
                  <a:lnTo>
                    <a:pt x="13375" y="29491"/>
                  </a:lnTo>
                  <a:lnTo>
                    <a:pt x="13438" y="29152"/>
                  </a:lnTo>
                  <a:lnTo>
                    <a:pt x="13438" y="29152"/>
                  </a:lnTo>
                  <a:lnTo>
                    <a:pt x="13438" y="29152"/>
                  </a:lnTo>
                  <a:lnTo>
                    <a:pt x="13438" y="29152"/>
                  </a:lnTo>
                  <a:lnTo>
                    <a:pt x="13438" y="28926"/>
                  </a:lnTo>
                  <a:lnTo>
                    <a:pt x="13438" y="28926"/>
                  </a:lnTo>
                  <a:lnTo>
                    <a:pt x="13480" y="28587"/>
                  </a:lnTo>
                  <a:lnTo>
                    <a:pt x="13480" y="28587"/>
                  </a:lnTo>
                  <a:lnTo>
                    <a:pt x="13480" y="28587"/>
                  </a:lnTo>
                  <a:lnTo>
                    <a:pt x="13480" y="28587"/>
                  </a:lnTo>
                  <a:lnTo>
                    <a:pt x="13438" y="28587"/>
                  </a:lnTo>
                  <a:close/>
                  <a:moveTo>
                    <a:pt x="9968" y="23841"/>
                  </a:moveTo>
                  <a:lnTo>
                    <a:pt x="10010" y="24067"/>
                  </a:lnTo>
                  <a:lnTo>
                    <a:pt x="10115" y="24067"/>
                  </a:lnTo>
                  <a:lnTo>
                    <a:pt x="10115" y="24406"/>
                  </a:lnTo>
                  <a:lnTo>
                    <a:pt x="10115" y="24406"/>
                  </a:lnTo>
                  <a:lnTo>
                    <a:pt x="10115" y="24406"/>
                  </a:lnTo>
                  <a:lnTo>
                    <a:pt x="10157" y="24406"/>
                  </a:lnTo>
                  <a:lnTo>
                    <a:pt x="10157" y="24406"/>
                  </a:lnTo>
                  <a:lnTo>
                    <a:pt x="10157" y="24067"/>
                  </a:lnTo>
                  <a:lnTo>
                    <a:pt x="10262" y="24067"/>
                  </a:lnTo>
                  <a:lnTo>
                    <a:pt x="10304" y="24067"/>
                  </a:lnTo>
                  <a:lnTo>
                    <a:pt x="10347" y="24067"/>
                  </a:lnTo>
                  <a:lnTo>
                    <a:pt x="10410" y="23841"/>
                  </a:lnTo>
                  <a:lnTo>
                    <a:pt x="10410" y="23841"/>
                  </a:lnTo>
                  <a:lnTo>
                    <a:pt x="10410" y="23841"/>
                  </a:lnTo>
                  <a:lnTo>
                    <a:pt x="10452" y="23615"/>
                  </a:lnTo>
                  <a:lnTo>
                    <a:pt x="10452" y="23615"/>
                  </a:lnTo>
                  <a:lnTo>
                    <a:pt x="10515" y="23276"/>
                  </a:lnTo>
                  <a:lnTo>
                    <a:pt x="10515" y="23276"/>
                  </a:lnTo>
                  <a:lnTo>
                    <a:pt x="10557" y="23276"/>
                  </a:lnTo>
                  <a:lnTo>
                    <a:pt x="10515" y="23050"/>
                  </a:lnTo>
                  <a:lnTo>
                    <a:pt x="10515" y="23050"/>
                  </a:lnTo>
                  <a:lnTo>
                    <a:pt x="10452" y="23050"/>
                  </a:lnTo>
                  <a:lnTo>
                    <a:pt x="10452" y="23050"/>
                  </a:lnTo>
                  <a:lnTo>
                    <a:pt x="10452" y="23050"/>
                  </a:lnTo>
                  <a:lnTo>
                    <a:pt x="10452" y="23050"/>
                  </a:lnTo>
                  <a:lnTo>
                    <a:pt x="10410" y="23050"/>
                  </a:lnTo>
                  <a:lnTo>
                    <a:pt x="10347" y="23050"/>
                  </a:lnTo>
                  <a:lnTo>
                    <a:pt x="10347" y="23050"/>
                  </a:lnTo>
                  <a:lnTo>
                    <a:pt x="10347" y="23050"/>
                  </a:lnTo>
                  <a:lnTo>
                    <a:pt x="10262" y="23050"/>
                  </a:lnTo>
                  <a:lnTo>
                    <a:pt x="10199" y="23276"/>
                  </a:lnTo>
                  <a:lnTo>
                    <a:pt x="10199" y="23276"/>
                  </a:lnTo>
                  <a:lnTo>
                    <a:pt x="10157" y="23276"/>
                  </a:lnTo>
                  <a:lnTo>
                    <a:pt x="10010" y="23276"/>
                  </a:lnTo>
                  <a:lnTo>
                    <a:pt x="10010" y="23276"/>
                  </a:lnTo>
                  <a:lnTo>
                    <a:pt x="9968" y="23276"/>
                  </a:lnTo>
                  <a:lnTo>
                    <a:pt x="9905" y="23615"/>
                  </a:lnTo>
                  <a:lnTo>
                    <a:pt x="9968" y="23841"/>
                  </a:lnTo>
                  <a:lnTo>
                    <a:pt x="9968" y="23841"/>
                  </a:lnTo>
                  <a:close/>
                  <a:moveTo>
                    <a:pt x="42" y="112768"/>
                  </a:moveTo>
                  <a:lnTo>
                    <a:pt x="0" y="113107"/>
                  </a:lnTo>
                  <a:lnTo>
                    <a:pt x="0" y="113107"/>
                  </a:lnTo>
                  <a:lnTo>
                    <a:pt x="0" y="113107"/>
                  </a:lnTo>
                  <a:lnTo>
                    <a:pt x="0" y="113107"/>
                  </a:lnTo>
                  <a:lnTo>
                    <a:pt x="42" y="113107"/>
                  </a:lnTo>
                  <a:lnTo>
                    <a:pt x="42" y="113107"/>
                  </a:lnTo>
                  <a:lnTo>
                    <a:pt x="42" y="112768"/>
                  </a:lnTo>
                  <a:lnTo>
                    <a:pt x="105" y="112768"/>
                  </a:lnTo>
                  <a:lnTo>
                    <a:pt x="105" y="112768"/>
                  </a:lnTo>
                  <a:lnTo>
                    <a:pt x="105" y="112542"/>
                  </a:lnTo>
                  <a:lnTo>
                    <a:pt x="42" y="112768"/>
                  </a:lnTo>
                  <a:close/>
                  <a:moveTo>
                    <a:pt x="11587" y="32881"/>
                  </a:moveTo>
                  <a:lnTo>
                    <a:pt x="11503" y="33220"/>
                  </a:lnTo>
                  <a:lnTo>
                    <a:pt x="11503" y="33220"/>
                  </a:lnTo>
                  <a:lnTo>
                    <a:pt x="11503" y="33220"/>
                  </a:lnTo>
                  <a:lnTo>
                    <a:pt x="11545" y="33220"/>
                  </a:lnTo>
                  <a:lnTo>
                    <a:pt x="11545" y="33220"/>
                  </a:lnTo>
                  <a:lnTo>
                    <a:pt x="11587" y="32881"/>
                  </a:lnTo>
                  <a:lnTo>
                    <a:pt x="11587" y="32881"/>
                  </a:lnTo>
                  <a:lnTo>
                    <a:pt x="11587" y="32881"/>
                  </a:lnTo>
                  <a:lnTo>
                    <a:pt x="11587" y="32881"/>
                  </a:lnTo>
                  <a:close/>
                  <a:moveTo>
                    <a:pt x="9968" y="34463"/>
                  </a:moveTo>
                  <a:lnTo>
                    <a:pt x="9968" y="34463"/>
                  </a:lnTo>
                  <a:lnTo>
                    <a:pt x="9905" y="34802"/>
                  </a:lnTo>
                  <a:lnTo>
                    <a:pt x="9905" y="34802"/>
                  </a:lnTo>
                  <a:lnTo>
                    <a:pt x="9905" y="34802"/>
                  </a:lnTo>
                  <a:lnTo>
                    <a:pt x="9863" y="34802"/>
                  </a:lnTo>
                  <a:lnTo>
                    <a:pt x="9863" y="34802"/>
                  </a:lnTo>
                  <a:lnTo>
                    <a:pt x="9905" y="34802"/>
                  </a:lnTo>
                  <a:lnTo>
                    <a:pt x="9905" y="34802"/>
                  </a:lnTo>
                  <a:lnTo>
                    <a:pt x="9905" y="34802"/>
                  </a:lnTo>
                  <a:lnTo>
                    <a:pt x="9968" y="34463"/>
                  </a:lnTo>
                  <a:lnTo>
                    <a:pt x="9968" y="34463"/>
                  </a:lnTo>
                  <a:lnTo>
                    <a:pt x="9968" y="34463"/>
                  </a:lnTo>
                  <a:lnTo>
                    <a:pt x="9968" y="34463"/>
                  </a:lnTo>
                  <a:close/>
                  <a:moveTo>
                    <a:pt x="9905" y="34802"/>
                  </a:moveTo>
                  <a:lnTo>
                    <a:pt x="9905" y="35028"/>
                  </a:lnTo>
                  <a:lnTo>
                    <a:pt x="9905" y="35028"/>
                  </a:lnTo>
                  <a:lnTo>
                    <a:pt x="9905" y="35028"/>
                  </a:lnTo>
                  <a:lnTo>
                    <a:pt x="9905" y="35028"/>
                  </a:lnTo>
                  <a:lnTo>
                    <a:pt x="9968" y="34802"/>
                  </a:lnTo>
                  <a:lnTo>
                    <a:pt x="9905" y="34802"/>
                  </a:lnTo>
                  <a:lnTo>
                    <a:pt x="9905" y="34802"/>
                  </a:lnTo>
                  <a:close/>
                  <a:moveTo>
                    <a:pt x="12933" y="29943"/>
                  </a:moveTo>
                  <a:lnTo>
                    <a:pt x="12891" y="30282"/>
                  </a:lnTo>
                  <a:lnTo>
                    <a:pt x="12828" y="30282"/>
                  </a:lnTo>
                  <a:lnTo>
                    <a:pt x="12828" y="30508"/>
                  </a:lnTo>
                  <a:lnTo>
                    <a:pt x="12891" y="30508"/>
                  </a:lnTo>
                  <a:lnTo>
                    <a:pt x="12933" y="30282"/>
                  </a:lnTo>
                  <a:lnTo>
                    <a:pt x="12933" y="30282"/>
                  </a:lnTo>
                  <a:lnTo>
                    <a:pt x="12975" y="30282"/>
                  </a:lnTo>
                  <a:lnTo>
                    <a:pt x="12975" y="30282"/>
                  </a:lnTo>
                  <a:lnTo>
                    <a:pt x="13038" y="30282"/>
                  </a:lnTo>
                  <a:lnTo>
                    <a:pt x="13038" y="30282"/>
                  </a:lnTo>
                  <a:lnTo>
                    <a:pt x="13038" y="29943"/>
                  </a:lnTo>
                  <a:lnTo>
                    <a:pt x="12933" y="29943"/>
                  </a:lnTo>
                  <a:close/>
                  <a:moveTo>
                    <a:pt x="9905" y="34237"/>
                  </a:moveTo>
                  <a:lnTo>
                    <a:pt x="9905" y="34237"/>
                  </a:lnTo>
                  <a:lnTo>
                    <a:pt x="9863" y="34237"/>
                  </a:lnTo>
                  <a:lnTo>
                    <a:pt x="9821" y="34463"/>
                  </a:lnTo>
                  <a:lnTo>
                    <a:pt x="9821" y="34463"/>
                  </a:lnTo>
                  <a:lnTo>
                    <a:pt x="9758" y="34802"/>
                  </a:lnTo>
                  <a:lnTo>
                    <a:pt x="9758" y="34802"/>
                  </a:lnTo>
                  <a:lnTo>
                    <a:pt x="9716" y="34802"/>
                  </a:lnTo>
                  <a:lnTo>
                    <a:pt x="9716" y="34802"/>
                  </a:lnTo>
                  <a:lnTo>
                    <a:pt x="9716" y="34802"/>
                  </a:lnTo>
                  <a:lnTo>
                    <a:pt x="9652" y="35028"/>
                  </a:lnTo>
                  <a:lnTo>
                    <a:pt x="9610" y="35028"/>
                  </a:lnTo>
                  <a:lnTo>
                    <a:pt x="9652" y="35028"/>
                  </a:lnTo>
                  <a:lnTo>
                    <a:pt x="9716" y="34802"/>
                  </a:lnTo>
                  <a:lnTo>
                    <a:pt x="9758" y="34802"/>
                  </a:lnTo>
                  <a:lnTo>
                    <a:pt x="9758" y="34802"/>
                  </a:lnTo>
                  <a:lnTo>
                    <a:pt x="9821" y="34802"/>
                  </a:lnTo>
                  <a:lnTo>
                    <a:pt x="9821" y="34802"/>
                  </a:lnTo>
                  <a:lnTo>
                    <a:pt x="9863" y="34463"/>
                  </a:lnTo>
                  <a:lnTo>
                    <a:pt x="9863" y="34463"/>
                  </a:lnTo>
                  <a:lnTo>
                    <a:pt x="9863" y="34463"/>
                  </a:lnTo>
                  <a:lnTo>
                    <a:pt x="9905" y="34237"/>
                  </a:lnTo>
                  <a:close/>
                  <a:moveTo>
                    <a:pt x="12197" y="31525"/>
                  </a:moveTo>
                  <a:lnTo>
                    <a:pt x="12134" y="31525"/>
                  </a:lnTo>
                  <a:lnTo>
                    <a:pt x="12092" y="31525"/>
                  </a:lnTo>
                  <a:lnTo>
                    <a:pt x="12092" y="31864"/>
                  </a:lnTo>
                  <a:lnTo>
                    <a:pt x="12092" y="31864"/>
                  </a:lnTo>
                  <a:lnTo>
                    <a:pt x="12092" y="31864"/>
                  </a:lnTo>
                  <a:lnTo>
                    <a:pt x="12134" y="31864"/>
                  </a:lnTo>
                  <a:lnTo>
                    <a:pt x="12239" y="31525"/>
                  </a:lnTo>
                  <a:lnTo>
                    <a:pt x="12239" y="31299"/>
                  </a:lnTo>
                  <a:lnTo>
                    <a:pt x="12281" y="31299"/>
                  </a:lnTo>
                  <a:lnTo>
                    <a:pt x="12239" y="31299"/>
                  </a:lnTo>
                  <a:lnTo>
                    <a:pt x="12197" y="31525"/>
                  </a:lnTo>
                  <a:close/>
                  <a:moveTo>
                    <a:pt x="12281" y="31299"/>
                  </a:moveTo>
                  <a:lnTo>
                    <a:pt x="12281" y="31525"/>
                  </a:lnTo>
                  <a:lnTo>
                    <a:pt x="12281" y="31525"/>
                  </a:lnTo>
                  <a:lnTo>
                    <a:pt x="12281" y="31525"/>
                  </a:lnTo>
                  <a:lnTo>
                    <a:pt x="12344" y="31525"/>
                  </a:lnTo>
                  <a:lnTo>
                    <a:pt x="12344" y="31525"/>
                  </a:lnTo>
                  <a:lnTo>
                    <a:pt x="12344" y="31525"/>
                  </a:lnTo>
                  <a:lnTo>
                    <a:pt x="12386" y="31299"/>
                  </a:lnTo>
                  <a:lnTo>
                    <a:pt x="12386" y="31299"/>
                  </a:lnTo>
                  <a:lnTo>
                    <a:pt x="12344" y="31299"/>
                  </a:lnTo>
                  <a:lnTo>
                    <a:pt x="12281" y="31299"/>
                  </a:lnTo>
                  <a:close/>
                  <a:moveTo>
                    <a:pt x="7192" y="37175"/>
                  </a:moveTo>
                  <a:lnTo>
                    <a:pt x="7129" y="37175"/>
                  </a:lnTo>
                  <a:lnTo>
                    <a:pt x="7087" y="37401"/>
                  </a:lnTo>
                  <a:lnTo>
                    <a:pt x="7087" y="37401"/>
                  </a:lnTo>
                  <a:lnTo>
                    <a:pt x="7045" y="37401"/>
                  </a:lnTo>
                  <a:lnTo>
                    <a:pt x="7045" y="37401"/>
                  </a:lnTo>
                  <a:lnTo>
                    <a:pt x="7087" y="37175"/>
                  </a:lnTo>
                  <a:lnTo>
                    <a:pt x="7087" y="37175"/>
                  </a:lnTo>
                  <a:lnTo>
                    <a:pt x="7045" y="37175"/>
                  </a:lnTo>
                  <a:lnTo>
                    <a:pt x="6982" y="37175"/>
                  </a:lnTo>
                  <a:lnTo>
                    <a:pt x="6940" y="37175"/>
                  </a:lnTo>
                  <a:lnTo>
                    <a:pt x="6940" y="37401"/>
                  </a:lnTo>
                  <a:lnTo>
                    <a:pt x="6898" y="37401"/>
                  </a:lnTo>
                  <a:lnTo>
                    <a:pt x="6834" y="37401"/>
                  </a:lnTo>
                  <a:lnTo>
                    <a:pt x="6834" y="37401"/>
                  </a:lnTo>
                  <a:lnTo>
                    <a:pt x="6834" y="37740"/>
                  </a:lnTo>
                  <a:lnTo>
                    <a:pt x="6834" y="37740"/>
                  </a:lnTo>
                  <a:lnTo>
                    <a:pt x="6834" y="37740"/>
                  </a:lnTo>
                  <a:lnTo>
                    <a:pt x="6834" y="37740"/>
                  </a:lnTo>
                  <a:lnTo>
                    <a:pt x="6898" y="37740"/>
                  </a:lnTo>
                  <a:lnTo>
                    <a:pt x="6898" y="37740"/>
                  </a:lnTo>
                  <a:lnTo>
                    <a:pt x="6898" y="37966"/>
                  </a:lnTo>
                  <a:lnTo>
                    <a:pt x="6898" y="37966"/>
                  </a:lnTo>
                  <a:lnTo>
                    <a:pt x="6834" y="37966"/>
                  </a:lnTo>
                  <a:lnTo>
                    <a:pt x="6834" y="37966"/>
                  </a:lnTo>
                  <a:lnTo>
                    <a:pt x="6834" y="37966"/>
                  </a:lnTo>
                  <a:lnTo>
                    <a:pt x="6834" y="37966"/>
                  </a:lnTo>
                  <a:lnTo>
                    <a:pt x="6792" y="37966"/>
                  </a:lnTo>
                  <a:lnTo>
                    <a:pt x="6792" y="37966"/>
                  </a:lnTo>
                  <a:lnTo>
                    <a:pt x="6729" y="37966"/>
                  </a:lnTo>
                  <a:lnTo>
                    <a:pt x="6687" y="38305"/>
                  </a:lnTo>
                  <a:lnTo>
                    <a:pt x="6645" y="38305"/>
                  </a:lnTo>
                  <a:lnTo>
                    <a:pt x="6540" y="38531"/>
                  </a:lnTo>
                  <a:lnTo>
                    <a:pt x="6498" y="38531"/>
                  </a:lnTo>
                  <a:lnTo>
                    <a:pt x="6435" y="38531"/>
                  </a:lnTo>
                  <a:lnTo>
                    <a:pt x="6435" y="38531"/>
                  </a:lnTo>
                  <a:lnTo>
                    <a:pt x="6393" y="38757"/>
                  </a:lnTo>
                  <a:lnTo>
                    <a:pt x="6393" y="38757"/>
                  </a:lnTo>
                  <a:lnTo>
                    <a:pt x="6393" y="38757"/>
                  </a:lnTo>
                  <a:lnTo>
                    <a:pt x="6393" y="38757"/>
                  </a:lnTo>
                  <a:lnTo>
                    <a:pt x="6435" y="38757"/>
                  </a:lnTo>
                  <a:lnTo>
                    <a:pt x="6435" y="38757"/>
                  </a:lnTo>
                  <a:lnTo>
                    <a:pt x="6498" y="38757"/>
                  </a:lnTo>
                  <a:lnTo>
                    <a:pt x="6498" y="38757"/>
                  </a:lnTo>
                  <a:lnTo>
                    <a:pt x="6540" y="38757"/>
                  </a:lnTo>
                  <a:lnTo>
                    <a:pt x="6540" y="38757"/>
                  </a:lnTo>
                  <a:lnTo>
                    <a:pt x="6540" y="38757"/>
                  </a:lnTo>
                  <a:lnTo>
                    <a:pt x="6582" y="38531"/>
                  </a:lnTo>
                  <a:lnTo>
                    <a:pt x="6645" y="38531"/>
                  </a:lnTo>
                  <a:lnTo>
                    <a:pt x="6687" y="38531"/>
                  </a:lnTo>
                  <a:lnTo>
                    <a:pt x="6729" y="38531"/>
                  </a:lnTo>
                  <a:lnTo>
                    <a:pt x="6792" y="38531"/>
                  </a:lnTo>
                  <a:lnTo>
                    <a:pt x="6834" y="38305"/>
                  </a:lnTo>
                  <a:lnTo>
                    <a:pt x="6940" y="37966"/>
                  </a:lnTo>
                  <a:lnTo>
                    <a:pt x="6982" y="37966"/>
                  </a:lnTo>
                  <a:lnTo>
                    <a:pt x="7045" y="37966"/>
                  </a:lnTo>
                  <a:lnTo>
                    <a:pt x="7045" y="37966"/>
                  </a:lnTo>
                  <a:lnTo>
                    <a:pt x="7045" y="37740"/>
                  </a:lnTo>
                  <a:lnTo>
                    <a:pt x="7045" y="37740"/>
                  </a:lnTo>
                  <a:lnTo>
                    <a:pt x="6982" y="37966"/>
                  </a:lnTo>
                  <a:lnTo>
                    <a:pt x="6982" y="37740"/>
                  </a:lnTo>
                  <a:lnTo>
                    <a:pt x="7045" y="37740"/>
                  </a:lnTo>
                  <a:lnTo>
                    <a:pt x="7129" y="37401"/>
                  </a:lnTo>
                  <a:lnTo>
                    <a:pt x="7192" y="37401"/>
                  </a:lnTo>
                  <a:lnTo>
                    <a:pt x="7192" y="37175"/>
                  </a:lnTo>
                  <a:lnTo>
                    <a:pt x="7192" y="37175"/>
                  </a:lnTo>
                  <a:close/>
                  <a:moveTo>
                    <a:pt x="7592" y="36610"/>
                  </a:moveTo>
                  <a:lnTo>
                    <a:pt x="7592" y="36610"/>
                  </a:lnTo>
                  <a:lnTo>
                    <a:pt x="7592" y="36610"/>
                  </a:lnTo>
                  <a:lnTo>
                    <a:pt x="7528" y="36610"/>
                  </a:lnTo>
                  <a:lnTo>
                    <a:pt x="7528" y="36610"/>
                  </a:lnTo>
                  <a:lnTo>
                    <a:pt x="7486" y="36949"/>
                  </a:lnTo>
                  <a:lnTo>
                    <a:pt x="7486" y="36949"/>
                  </a:lnTo>
                  <a:lnTo>
                    <a:pt x="7486" y="36949"/>
                  </a:lnTo>
                  <a:lnTo>
                    <a:pt x="7486" y="36949"/>
                  </a:lnTo>
                  <a:lnTo>
                    <a:pt x="7528" y="36949"/>
                  </a:lnTo>
                  <a:lnTo>
                    <a:pt x="7592" y="36610"/>
                  </a:lnTo>
                  <a:lnTo>
                    <a:pt x="7592" y="36610"/>
                  </a:lnTo>
                  <a:lnTo>
                    <a:pt x="7592" y="36610"/>
                  </a:lnTo>
                  <a:close/>
                  <a:moveTo>
                    <a:pt x="9716" y="34237"/>
                  </a:moveTo>
                  <a:lnTo>
                    <a:pt x="9716" y="34237"/>
                  </a:lnTo>
                  <a:lnTo>
                    <a:pt x="9758" y="34237"/>
                  </a:lnTo>
                  <a:lnTo>
                    <a:pt x="9758" y="34237"/>
                  </a:lnTo>
                  <a:lnTo>
                    <a:pt x="9716" y="34237"/>
                  </a:lnTo>
                  <a:lnTo>
                    <a:pt x="9716" y="34237"/>
                  </a:lnTo>
                  <a:lnTo>
                    <a:pt x="9716" y="34237"/>
                  </a:lnTo>
                  <a:close/>
                  <a:moveTo>
                    <a:pt x="7423" y="36610"/>
                  </a:moveTo>
                  <a:lnTo>
                    <a:pt x="7381" y="36610"/>
                  </a:lnTo>
                  <a:lnTo>
                    <a:pt x="7381" y="36610"/>
                  </a:lnTo>
                  <a:lnTo>
                    <a:pt x="7339" y="36949"/>
                  </a:lnTo>
                  <a:lnTo>
                    <a:pt x="7339" y="36949"/>
                  </a:lnTo>
                  <a:lnTo>
                    <a:pt x="7339" y="36949"/>
                  </a:lnTo>
                  <a:lnTo>
                    <a:pt x="7276" y="37175"/>
                  </a:lnTo>
                  <a:lnTo>
                    <a:pt x="7276" y="37175"/>
                  </a:lnTo>
                  <a:lnTo>
                    <a:pt x="7339" y="37175"/>
                  </a:lnTo>
                  <a:lnTo>
                    <a:pt x="7339" y="37175"/>
                  </a:lnTo>
                  <a:lnTo>
                    <a:pt x="7339" y="37175"/>
                  </a:lnTo>
                  <a:lnTo>
                    <a:pt x="7381" y="36949"/>
                  </a:lnTo>
                  <a:lnTo>
                    <a:pt x="7423" y="36949"/>
                  </a:lnTo>
                  <a:lnTo>
                    <a:pt x="7423" y="36949"/>
                  </a:lnTo>
                  <a:lnTo>
                    <a:pt x="7423" y="36949"/>
                  </a:lnTo>
                  <a:lnTo>
                    <a:pt x="7423" y="36949"/>
                  </a:lnTo>
                  <a:lnTo>
                    <a:pt x="7423" y="36610"/>
                  </a:lnTo>
                  <a:close/>
                  <a:moveTo>
                    <a:pt x="8580" y="35593"/>
                  </a:moveTo>
                  <a:lnTo>
                    <a:pt x="8580" y="35593"/>
                  </a:lnTo>
                  <a:lnTo>
                    <a:pt x="8580" y="35593"/>
                  </a:lnTo>
                  <a:lnTo>
                    <a:pt x="8517" y="35593"/>
                  </a:lnTo>
                  <a:lnTo>
                    <a:pt x="8517" y="35367"/>
                  </a:lnTo>
                  <a:lnTo>
                    <a:pt x="8517" y="35367"/>
                  </a:lnTo>
                  <a:lnTo>
                    <a:pt x="8580" y="35028"/>
                  </a:lnTo>
                  <a:lnTo>
                    <a:pt x="8580" y="35028"/>
                  </a:lnTo>
                  <a:lnTo>
                    <a:pt x="8580" y="34802"/>
                  </a:lnTo>
                  <a:lnTo>
                    <a:pt x="8580" y="34802"/>
                  </a:lnTo>
                  <a:lnTo>
                    <a:pt x="8517" y="34802"/>
                  </a:lnTo>
                  <a:lnTo>
                    <a:pt x="8475" y="34802"/>
                  </a:lnTo>
                  <a:lnTo>
                    <a:pt x="8370" y="35028"/>
                  </a:lnTo>
                  <a:lnTo>
                    <a:pt x="8264" y="35028"/>
                  </a:lnTo>
                  <a:lnTo>
                    <a:pt x="8222" y="35028"/>
                  </a:lnTo>
                  <a:lnTo>
                    <a:pt x="8222" y="35028"/>
                  </a:lnTo>
                  <a:lnTo>
                    <a:pt x="8180" y="35367"/>
                  </a:lnTo>
                  <a:lnTo>
                    <a:pt x="8033" y="35593"/>
                  </a:lnTo>
                  <a:lnTo>
                    <a:pt x="8033" y="35593"/>
                  </a:lnTo>
                  <a:lnTo>
                    <a:pt x="7928" y="35819"/>
                  </a:lnTo>
                  <a:lnTo>
                    <a:pt x="7928" y="35819"/>
                  </a:lnTo>
                  <a:lnTo>
                    <a:pt x="7928" y="35819"/>
                  </a:lnTo>
                  <a:lnTo>
                    <a:pt x="7886" y="36158"/>
                  </a:lnTo>
                  <a:lnTo>
                    <a:pt x="7886" y="36384"/>
                  </a:lnTo>
                  <a:lnTo>
                    <a:pt x="7886" y="36384"/>
                  </a:lnTo>
                  <a:lnTo>
                    <a:pt x="7928" y="36384"/>
                  </a:lnTo>
                  <a:lnTo>
                    <a:pt x="7970" y="36158"/>
                  </a:lnTo>
                  <a:lnTo>
                    <a:pt x="8033" y="36158"/>
                  </a:lnTo>
                  <a:lnTo>
                    <a:pt x="8075" y="36158"/>
                  </a:lnTo>
                  <a:lnTo>
                    <a:pt x="8117" y="35819"/>
                  </a:lnTo>
                  <a:lnTo>
                    <a:pt x="8180" y="35819"/>
                  </a:lnTo>
                  <a:lnTo>
                    <a:pt x="8222" y="35819"/>
                  </a:lnTo>
                  <a:lnTo>
                    <a:pt x="8370" y="35819"/>
                  </a:lnTo>
                  <a:lnTo>
                    <a:pt x="8433" y="35819"/>
                  </a:lnTo>
                  <a:lnTo>
                    <a:pt x="8517" y="35593"/>
                  </a:lnTo>
                  <a:lnTo>
                    <a:pt x="8580" y="35593"/>
                  </a:lnTo>
                  <a:lnTo>
                    <a:pt x="8580" y="35593"/>
                  </a:lnTo>
                  <a:close/>
                  <a:moveTo>
                    <a:pt x="9652" y="34463"/>
                  </a:moveTo>
                  <a:lnTo>
                    <a:pt x="9652" y="34463"/>
                  </a:lnTo>
                  <a:lnTo>
                    <a:pt x="9652" y="34237"/>
                  </a:lnTo>
                  <a:lnTo>
                    <a:pt x="9716" y="34237"/>
                  </a:lnTo>
                  <a:lnTo>
                    <a:pt x="9716" y="34011"/>
                  </a:lnTo>
                  <a:lnTo>
                    <a:pt x="9716" y="34011"/>
                  </a:lnTo>
                  <a:lnTo>
                    <a:pt x="9652" y="34237"/>
                  </a:lnTo>
                  <a:lnTo>
                    <a:pt x="9652" y="34237"/>
                  </a:lnTo>
                  <a:lnTo>
                    <a:pt x="9652" y="34237"/>
                  </a:lnTo>
                  <a:lnTo>
                    <a:pt x="9652" y="34237"/>
                  </a:lnTo>
                  <a:lnTo>
                    <a:pt x="9652" y="34011"/>
                  </a:lnTo>
                  <a:lnTo>
                    <a:pt x="9652" y="34011"/>
                  </a:lnTo>
                  <a:lnTo>
                    <a:pt x="9652" y="34011"/>
                  </a:lnTo>
                  <a:lnTo>
                    <a:pt x="9652" y="34011"/>
                  </a:lnTo>
                  <a:lnTo>
                    <a:pt x="9610" y="34237"/>
                  </a:lnTo>
                  <a:lnTo>
                    <a:pt x="9610" y="34237"/>
                  </a:lnTo>
                  <a:lnTo>
                    <a:pt x="9568" y="34463"/>
                  </a:lnTo>
                  <a:lnTo>
                    <a:pt x="9505" y="34463"/>
                  </a:lnTo>
                  <a:lnTo>
                    <a:pt x="9568" y="34463"/>
                  </a:lnTo>
                  <a:lnTo>
                    <a:pt x="9568" y="34463"/>
                  </a:lnTo>
                  <a:lnTo>
                    <a:pt x="9610" y="34463"/>
                  </a:lnTo>
                  <a:lnTo>
                    <a:pt x="9652" y="34463"/>
                  </a:lnTo>
                  <a:lnTo>
                    <a:pt x="9652" y="34463"/>
                  </a:lnTo>
                  <a:close/>
                  <a:moveTo>
                    <a:pt x="8580" y="36158"/>
                  </a:moveTo>
                  <a:lnTo>
                    <a:pt x="8517" y="36158"/>
                  </a:lnTo>
                  <a:lnTo>
                    <a:pt x="8580" y="36384"/>
                  </a:lnTo>
                  <a:lnTo>
                    <a:pt x="8580" y="36384"/>
                  </a:lnTo>
                  <a:lnTo>
                    <a:pt x="8622" y="36384"/>
                  </a:lnTo>
                  <a:lnTo>
                    <a:pt x="8622" y="36158"/>
                  </a:lnTo>
                  <a:lnTo>
                    <a:pt x="8622" y="36158"/>
                  </a:lnTo>
                  <a:lnTo>
                    <a:pt x="8580" y="36158"/>
                  </a:lnTo>
                  <a:close/>
                  <a:moveTo>
                    <a:pt x="8916" y="35028"/>
                  </a:moveTo>
                  <a:lnTo>
                    <a:pt x="8874" y="35367"/>
                  </a:lnTo>
                  <a:lnTo>
                    <a:pt x="8874" y="35367"/>
                  </a:lnTo>
                  <a:lnTo>
                    <a:pt x="8874" y="35367"/>
                  </a:lnTo>
                  <a:lnTo>
                    <a:pt x="8916" y="35367"/>
                  </a:lnTo>
                  <a:lnTo>
                    <a:pt x="8916" y="35367"/>
                  </a:lnTo>
                  <a:lnTo>
                    <a:pt x="8958" y="35028"/>
                  </a:lnTo>
                  <a:lnTo>
                    <a:pt x="8958" y="35028"/>
                  </a:lnTo>
                  <a:lnTo>
                    <a:pt x="8958" y="35028"/>
                  </a:lnTo>
                  <a:lnTo>
                    <a:pt x="8958" y="35028"/>
                  </a:lnTo>
                  <a:lnTo>
                    <a:pt x="8916" y="35028"/>
                  </a:lnTo>
                  <a:close/>
                  <a:moveTo>
                    <a:pt x="36130" y="65988"/>
                  </a:moveTo>
                  <a:lnTo>
                    <a:pt x="36130" y="65988"/>
                  </a:lnTo>
                  <a:lnTo>
                    <a:pt x="36088" y="66327"/>
                  </a:lnTo>
                  <a:lnTo>
                    <a:pt x="36088" y="66327"/>
                  </a:lnTo>
                  <a:lnTo>
                    <a:pt x="36130" y="66327"/>
                  </a:lnTo>
                  <a:lnTo>
                    <a:pt x="36130" y="66327"/>
                  </a:lnTo>
                  <a:lnTo>
                    <a:pt x="36130" y="65988"/>
                  </a:lnTo>
                  <a:close/>
                  <a:moveTo>
                    <a:pt x="31019" y="98870"/>
                  </a:moveTo>
                  <a:lnTo>
                    <a:pt x="31019" y="98644"/>
                  </a:lnTo>
                  <a:lnTo>
                    <a:pt x="31019" y="99209"/>
                  </a:lnTo>
                  <a:lnTo>
                    <a:pt x="31019" y="100000"/>
                  </a:lnTo>
                  <a:lnTo>
                    <a:pt x="31083" y="100225"/>
                  </a:lnTo>
                  <a:lnTo>
                    <a:pt x="31083" y="100000"/>
                  </a:lnTo>
                  <a:lnTo>
                    <a:pt x="31019" y="99209"/>
                  </a:lnTo>
                  <a:lnTo>
                    <a:pt x="31019" y="98870"/>
                  </a:lnTo>
                  <a:close/>
                  <a:moveTo>
                    <a:pt x="34931" y="68474"/>
                  </a:moveTo>
                  <a:lnTo>
                    <a:pt x="34931" y="68474"/>
                  </a:lnTo>
                  <a:lnTo>
                    <a:pt x="34931" y="68474"/>
                  </a:lnTo>
                  <a:lnTo>
                    <a:pt x="34994" y="68474"/>
                  </a:lnTo>
                  <a:lnTo>
                    <a:pt x="34994" y="68474"/>
                  </a:lnTo>
                  <a:lnTo>
                    <a:pt x="34994" y="68135"/>
                  </a:lnTo>
                  <a:lnTo>
                    <a:pt x="34994" y="68135"/>
                  </a:lnTo>
                  <a:lnTo>
                    <a:pt x="34931" y="68474"/>
                  </a:lnTo>
                  <a:lnTo>
                    <a:pt x="34931" y="68474"/>
                  </a:lnTo>
                  <a:close/>
                  <a:moveTo>
                    <a:pt x="19284" y="52994"/>
                  </a:moveTo>
                  <a:lnTo>
                    <a:pt x="19284" y="52994"/>
                  </a:lnTo>
                  <a:lnTo>
                    <a:pt x="19284" y="52994"/>
                  </a:lnTo>
                  <a:lnTo>
                    <a:pt x="19284" y="52994"/>
                  </a:lnTo>
                  <a:lnTo>
                    <a:pt x="19284" y="52994"/>
                  </a:lnTo>
                  <a:lnTo>
                    <a:pt x="19284" y="52655"/>
                  </a:lnTo>
                  <a:lnTo>
                    <a:pt x="19284" y="52655"/>
                  </a:lnTo>
                  <a:lnTo>
                    <a:pt x="19284" y="52994"/>
                  </a:lnTo>
                  <a:close/>
                  <a:moveTo>
                    <a:pt x="35793" y="67344"/>
                  </a:moveTo>
                  <a:lnTo>
                    <a:pt x="35730" y="67344"/>
                  </a:lnTo>
                  <a:lnTo>
                    <a:pt x="35730" y="67344"/>
                  </a:lnTo>
                  <a:lnTo>
                    <a:pt x="35688" y="67344"/>
                  </a:lnTo>
                  <a:lnTo>
                    <a:pt x="35625" y="67344"/>
                  </a:lnTo>
                  <a:lnTo>
                    <a:pt x="35625" y="67683"/>
                  </a:lnTo>
                  <a:lnTo>
                    <a:pt x="35583" y="67683"/>
                  </a:lnTo>
                  <a:lnTo>
                    <a:pt x="35583" y="67683"/>
                  </a:lnTo>
                  <a:lnTo>
                    <a:pt x="35625" y="67344"/>
                  </a:lnTo>
                  <a:lnTo>
                    <a:pt x="35625" y="67344"/>
                  </a:lnTo>
                  <a:lnTo>
                    <a:pt x="35730" y="67118"/>
                  </a:lnTo>
                  <a:lnTo>
                    <a:pt x="35688" y="67118"/>
                  </a:lnTo>
                  <a:lnTo>
                    <a:pt x="35625" y="67344"/>
                  </a:lnTo>
                  <a:lnTo>
                    <a:pt x="35583" y="67344"/>
                  </a:lnTo>
                  <a:lnTo>
                    <a:pt x="35478" y="67344"/>
                  </a:lnTo>
                  <a:lnTo>
                    <a:pt x="35436" y="67683"/>
                  </a:lnTo>
                  <a:lnTo>
                    <a:pt x="35394" y="67683"/>
                  </a:lnTo>
                  <a:lnTo>
                    <a:pt x="35394" y="67683"/>
                  </a:lnTo>
                  <a:lnTo>
                    <a:pt x="35331" y="67683"/>
                  </a:lnTo>
                  <a:lnTo>
                    <a:pt x="35289" y="67683"/>
                  </a:lnTo>
                  <a:lnTo>
                    <a:pt x="35289" y="67683"/>
                  </a:lnTo>
                  <a:lnTo>
                    <a:pt x="35289" y="67683"/>
                  </a:lnTo>
                  <a:lnTo>
                    <a:pt x="35247" y="67683"/>
                  </a:lnTo>
                  <a:lnTo>
                    <a:pt x="35247" y="67683"/>
                  </a:lnTo>
                  <a:lnTo>
                    <a:pt x="35184" y="67683"/>
                  </a:lnTo>
                  <a:lnTo>
                    <a:pt x="35184" y="67683"/>
                  </a:lnTo>
                  <a:lnTo>
                    <a:pt x="35184" y="67909"/>
                  </a:lnTo>
                  <a:lnTo>
                    <a:pt x="35184" y="67683"/>
                  </a:lnTo>
                  <a:lnTo>
                    <a:pt x="35141" y="67909"/>
                  </a:lnTo>
                  <a:lnTo>
                    <a:pt x="35099" y="67909"/>
                  </a:lnTo>
                  <a:lnTo>
                    <a:pt x="35036" y="68135"/>
                  </a:lnTo>
                  <a:lnTo>
                    <a:pt x="35036" y="68135"/>
                  </a:lnTo>
                  <a:lnTo>
                    <a:pt x="35036" y="68135"/>
                  </a:lnTo>
                  <a:lnTo>
                    <a:pt x="34994" y="68474"/>
                  </a:lnTo>
                  <a:lnTo>
                    <a:pt x="35036" y="68474"/>
                  </a:lnTo>
                  <a:lnTo>
                    <a:pt x="35099" y="68135"/>
                  </a:lnTo>
                  <a:lnTo>
                    <a:pt x="35099" y="68135"/>
                  </a:lnTo>
                  <a:lnTo>
                    <a:pt x="35099" y="68135"/>
                  </a:lnTo>
                  <a:lnTo>
                    <a:pt x="35099" y="68474"/>
                  </a:lnTo>
                  <a:lnTo>
                    <a:pt x="35036" y="68474"/>
                  </a:lnTo>
                  <a:lnTo>
                    <a:pt x="35099" y="68474"/>
                  </a:lnTo>
                  <a:lnTo>
                    <a:pt x="35141" y="68474"/>
                  </a:lnTo>
                  <a:lnTo>
                    <a:pt x="35289" y="68135"/>
                  </a:lnTo>
                  <a:lnTo>
                    <a:pt x="35289" y="68135"/>
                  </a:lnTo>
                  <a:lnTo>
                    <a:pt x="35331" y="68135"/>
                  </a:lnTo>
                  <a:lnTo>
                    <a:pt x="35478" y="67909"/>
                  </a:lnTo>
                  <a:lnTo>
                    <a:pt x="35541" y="67909"/>
                  </a:lnTo>
                  <a:lnTo>
                    <a:pt x="35583" y="67909"/>
                  </a:lnTo>
                  <a:lnTo>
                    <a:pt x="35625" y="67683"/>
                  </a:lnTo>
                  <a:lnTo>
                    <a:pt x="35688" y="67683"/>
                  </a:lnTo>
                  <a:lnTo>
                    <a:pt x="35835" y="67344"/>
                  </a:lnTo>
                  <a:lnTo>
                    <a:pt x="35835" y="67344"/>
                  </a:lnTo>
                  <a:lnTo>
                    <a:pt x="35793" y="67344"/>
                  </a:lnTo>
                  <a:close/>
                  <a:moveTo>
                    <a:pt x="36319" y="66327"/>
                  </a:moveTo>
                  <a:lnTo>
                    <a:pt x="36319" y="66553"/>
                  </a:lnTo>
                  <a:lnTo>
                    <a:pt x="36277" y="66553"/>
                  </a:lnTo>
                  <a:lnTo>
                    <a:pt x="36277" y="66553"/>
                  </a:lnTo>
                  <a:lnTo>
                    <a:pt x="36382" y="66553"/>
                  </a:lnTo>
                  <a:lnTo>
                    <a:pt x="36382" y="66553"/>
                  </a:lnTo>
                  <a:lnTo>
                    <a:pt x="36382" y="66327"/>
                  </a:lnTo>
                  <a:lnTo>
                    <a:pt x="36319" y="66327"/>
                  </a:lnTo>
                  <a:close/>
                  <a:moveTo>
                    <a:pt x="34742" y="70847"/>
                  </a:moveTo>
                  <a:lnTo>
                    <a:pt x="34847" y="70282"/>
                  </a:lnTo>
                  <a:lnTo>
                    <a:pt x="34847" y="70282"/>
                  </a:lnTo>
                  <a:lnTo>
                    <a:pt x="34784" y="70621"/>
                  </a:lnTo>
                  <a:lnTo>
                    <a:pt x="34742" y="70847"/>
                  </a:lnTo>
                  <a:close/>
                  <a:moveTo>
                    <a:pt x="36572" y="66553"/>
                  </a:moveTo>
                  <a:lnTo>
                    <a:pt x="36529" y="66553"/>
                  </a:lnTo>
                  <a:lnTo>
                    <a:pt x="36529" y="66553"/>
                  </a:lnTo>
                  <a:lnTo>
                    <a:pt x="36487" y="66892"/>
                  </a:lnTo>
                  <a:lnTo>
                    <a:pt x="36529" y="66892"/>
                  </a:lnTo>
                  <a:lnTo>
                    <a:pt x="36572" y="66892"/>
                  </a:lnTo>
                  <a:lnTo>
                    <a:pt x="36572" y="66892"/>
                  </a:lnTo>
                  <a:lnTo>
                    <a:pt x="36572" y="66553"/>
                  </a:lnTo>
                  <a:lnTo>
                    <a:pt x="36572" y="66553"/>
                  </a:lnTo>
                  <a:close/>
                  <a:moveTo>
                    <a:pt x="37665" y="59322"/>
                  </a:moveTo>
                  <a:lnTo>
                    <a:pt x="37665" y="59661"/>
                  </a:lnTo>
                  <a:lnTo>
                    <a:pt x="37623" y="59661"/>
                  </a:lnTo>
                  <a:lnTo>
                    <a:pt x="37623" y="59887"/>
                  </a:lnTo>
                  <a:lnTo>
                    <a:pt x="37623" y="59887"/>
                  </a:lnTo>
                  <a:lnTo>
                    <a:pt x="37623" y="59887"/>
                  </a:lnTo>
                  <a:lnTo>
                    <a:pt x="37665" y="59887"/>
                  </a:lnTo>
                  <a:lnTo>
                    <a:pt x="37665" y="59661"/>
                  </a:lnTo>
                  <a:lnTo>
                    <a:pt x="37665" y="59887"/>
                  </a:lnTo>
                  <a:lnTo>
                    <a:pt x="37707" y="59661"/>
                  </a:lnTo>
                  <a:lnTo>
                    <a:pt x="37707" y="59661"/>
                  </a:lnTo>
                  <a:lnTo>
                    <a:pt x="37707" y="59322"/>
                  </a:lnTo>
                  <a:lnTo>
                    <a:pt x="37665" y="59322"/>
                  </a:lnTo>
                  <a:close/>
                  <a:moveTo>
                    <a:pt x="38212" y="52655"/>
                  </a:moveTo>
                  <a:lnTo>
                    <a:pt x="38212" y="52429"/>
                  </a:lnTo>
                  <a:lnTo>
                    <a:pt x="38170" y="52429"/>
                  </a:lnTo>
                  <a:lnTo>
                    <a:pt x="38170" y="52429"/>
                  </a:lnTo>
                  <a:lnTo>
                    <a:pt x="38107" y="52655"/>
                  </a:lnTo>
                  <a:lnTo>
                    <a:pt x="38107" y="52655"/>
                  </a:lnTo>
                  <a:lnTo>
                    <a:pt x="38023" y="52655"/>
                  </a:lnTo>
                  <a:lnTo>
                    <a:pt x="37960" y="52994"/>
                  </a:lnTo>
                  <a:lnTo>
                    <a:pt x="37917" y="52994"/>
                  </a:lnTo>
                  <a:lnTo>
                    <a:pt x="37917" y="52994"/>
                  </a:lnTo>
                  <a:lnTo>
                    <a:pt x="37917" y="52655"/>
                  </a:lnTo>
                  <a:lnTo>
                    <a:pt x="37917" y="52655"/>
                  </a:lnTo>
                  <a:lnTo>
                    <a:pt x="37917" y="52655"/>
                  </a:lnTo>
                  <a:lnTo>
                    <a:pt x="37917" y="52429"/>
                  </a:lnTo>
                  <a:lnTo>
                    <a:pt x="37917" y="52429"/>
                  </a:lnTo>
                  <a:lnTo>
                    <a:pt x="37875" y="52203"/>
                  </a:lnTo>
                  <a:lnTo>
                    <a:pt x="37812" y="52429"/>
                  </a:lnTo>
                  <a:lnTo>
                    <a:pt x="37812" y="52429"/>
                  </a:lnTo>
                  <a:lnTo>
                    <a:pt x="37770" y="52655"/>
                  </a:lnTo>
                  <a:lnTo>
                    <a:pt x="37665" y="53220"/>
                  </a:lnTo>
                  <a:lnTo>
                    <a:pt x="37623" y="53446"/>
                  </a:lnTo>
                  <a:lnTo>
                    <a:pt x="37518" y="53785"/>
                  </a:lnTo>
                  <a:lnTo>
                    <a:pt x="37476" y="54011"/>
                  </a:lnTo>
                  <a:lnTo>
                    <a:pt x="37413" y="54237"/>
                  </a:lnTo>
                  <a:lnTo>
                    <a:pt x="37413" y="54576"/>
                  </a:lnTo>
                  <a:lnTo>
                    <a:pt x="37329" y="54802"/>
                  </a:lnTo>
                  <a:lnTo>
                    <a:pt x="37329" y="55141"/>
                  </a:lnTo>
                  <a:lnTo>
                    <a:pt x="37266" y="55367"/>
                  </a:lnTo>
                  <a:lnTo>
                    <a:pt x="37266" y="55593"/>
                  </a:lnTo>
                  <a:lnTo>
                    <a:pt x="37223" y="55593"/>
                  </a:lnTo>
                  <a:lnTo>
                    <a:pt x="37223" y="55932"/>
                  </a:lnTo>
                  <a:lnTo>
                    <a:pt x="37223" y="55932"/>
                  </a:lnTo>
                  <a:lnTo>
                    <a:pt x="37223" y="55932"/>
                  </a:lnTo>
                  <a:lnTo>
                    <a:pt x="37181" y="56158"/>
                  </a:lnTo>
                  <a:lnTo>
                    <a:pt x="37181" y="56158"/>
                  </a:lnTo>
                  <a:lnTo>
                    <a:pt x="37118" y="56384"/>
                  </a:lnTo>
                  <a:lnTo>
                    <a:pt x="37076" y="56384"/>
                  </a:lnTo>
                  <a:lnTo>
                    <a:pt x="37013" y="56723"/>
                  </a:lnTo>
                  <a:lnTo>
                    <a:pt x="37013" y="56949"/>
                  </a:lnTo>
                  <a:lnTo>
                    <a:pt x="37013" y="56949"/>
                  </a:lnTo>
                  <a:lnTo>
                    <a:pt x="37013" y="56949"/>
                  </a:lnTo>
                  <a:lnTo>
                    <a:pt x="36971" y="56949"/>
                  </a:lnTo>
                  <a:lnTo>
                    <a:pt x="36971" y="56949"/>
                  </a:lnTo>
                  <a:lnTo>
                    <a:pt x="36971" y="56949"/>
                  </a:lnTo>
                  <a:lnTo>
                    <a:pt x="36929" y="57175"/>
                  </a:lnTo>
                  <a:lnTo>
                    <a:pt x="36929" y="57175"/>
                  </a:lnTo>
                  <a:lnTo>
                    <a:pt x="36929" y="57514"/>
                  </a:lnTo>
                  <a:lnTo>
                    <a:pt x="36929" y="57514"/>
                  </a:lnTo>
                  <a:lnTo>
                    <a:pt x="36929" y="57175"/>
                  </a:lnTo>
                  <a:lnTo>
                    <a:pt x="36866" y="57175"/>
                  </a:lnTo>
                  <a:lnTo>
                    <a:pt x="36866" y="57175"/>
                  </a:lnTo>
                  <a:lnTo>
                    <a:pt x="36866" y="57175"/>
                  </a:lnTo>
                  <a:lnTo>
                    <a:pt x="36824" y="57514"/>
                  </a:lnTo>
                  <a:lnTo>
                    <a:pt x="36782" y="57514"/>
                  </a:lnTo>
                  <a:lnTo>
                    <a:pt x="36782" y="57175"/>
                  </a:lnTo>
                  <a:lnTo>
                    <a:pt x="36719" y="57514"/>
                  </a:lnTo>
                  <a:lnTo>
                    <a:pt x="36635" y="58079"/>
                  </a:lnTo>
                  <a:lnTo>
                    <a:pt x="36487" y="58079"/>
                  </a:lnTo>
                  <a:lnTo>
                    <a:pt x="36319" y="58079"/>
                  </a:lnTo>
                  <a:lnTo>
                    <a:pt x="36235" y="58079"/>
                  </a:lnTo>
                  <a:lnTo>
                    <a:pt x="36088" y="58079"/>
                  </a:lnTo>
                  <a:lnTo>
                    <a:pt x="35941" y="58079"/>
                  </a:lnTo>
                  <a:lnTo>
                    <a:pt x="35625" y="58079"/>
                  </a:lnTo>
                  <a:lnTo>
                    <a:pt x="35541" y="58079"/>
                  </a:lnTo>
                  <a:lnTo>
                    <a:pt x="35541" y="58079"/>
                  </a:lnTo>
                  <a:lnTo>
                    <a:pt x="35478" y="58305"/>
                  </a:lnTo>
                  <a:lnTo>
                    <a:pt x="35478" y="58079"/>
                  </a:lnTo>
                  <a:lnTo>
                    <a:pt x="35436" y="58305"/>
                  </a:lnTo>
                  <a:lnTo>
                    <a:pt x="35331" y="58305"/>
                  </a:lnTo>
                  <a:lnTo>
                    <a:pt x="35247" y="58870"/>
                  </a:lnTo>
                  <a:lnTo>
                    <a:pt x="35036" y="59322"/>
                  </a:lnTo>
                  <a:lnTo>
                    <a:pt x="35036" y="59322"/>
                  </a:lnTo>
                  <a:lnTo>
                    <a:pt x="35036" y="59322"/>
                  </a:lnTo>
                  <a:lnTo>
                    <a:pt x="35036" y="59322"/>
                  </a:lnTo>
                  <a:lnTo>
                    <a:pt x="35036" y="59661"/>
                  </a:lnTo>
                  <a:lnTo>
                    <a:pt x="35036" y="59661"/>
                  </a:lnTo>
                  <a:lnTo>
                    <a:pt x="34847" y="60112"/>
                  </a:lnTo>
                  <a:lnTo>
                    <a:pt x="34784" y="60112"/>
                  </a:lnTo>
                  <a:lnTo>
                    <a:pt x="34784" y="60451"/>
                  </a:lnTo>
                  <a:lnTo>
                    <a:pt x="34784" y="60451"/>
                  </a:lnTo>
                  <a:lnTo>
                    <a:pt x="34784" y="60451"/>
                  </a:lnTo>
                  <a:lnTo>
                    <a:pt x="34847" y="60451"/>
                  </a:lnTo>
                  <a:lnTo>
                    <a:pt x="34847" y="60451"/>
                  </a:lnTo>
                  <a:lnTo>
                    <a:pt x="34847" y="60451"/>
                  </a:lnTo>
                  <a:lnTo>
                    <a:pt x="34847" y="60451"/>
                  </a:lnTo>
                  <a:lnTo>
                    <a:pt x="34847" y="60451"/>
                  </a:lnTo>
                  <a:lnTo>
                    <a:pt x="34847" y="60451"/>
                  </a:lnTo>
                  <a:lnTo>
                    <a:pt x="34847" y="60451"/>
                  </a:lnTo>
                  <a:lnTo>
                    <a:pt x="34847" y="60451"/>
                  </a:lnTo>
                  <a:lnTo>
                    <a:pt x="34847" y="60677"/>
                  </a:lnTo>
                  <a:lnTo>
                    <a:pt x="34847" y="60677"/>
                  </a:lnTo>
                  <a:lnTo>
                    <a:pt x="34847" y="60677"/>
                  </a:lnTo>
                  <a:lnTo>
                    <a:pt x="34784" y="60677"/>
                  </a:lnTo>
                  <a:lnTo>
                    <a:pt x="34784" y="60677"/>
                  </a:lnTo>
                  <a:lnTo>
                    <a:pt x="34784" y="60677"/>
                  </a:lnTo>
                  <a:lnTo>
                    <a:pt x="34784" y="60677"/>
                  </a:lnTo>
                  <a:lnTo>
                    <a:pt x="34742" y="60677"/>
                  </a:lnTo>
                  <a:lnTo>
                    <a:pt x="34742" y="61016"/>
                  </a:lnTo>
                  <a:lnTo>
                    <a:pt x="34784" y="61016"/>
                  </a:lnTo>
                  <a:lnTo>
                    <a:pt x="34784" y="61016"/>
                  </a:lnTo>
                  <a:lnTo>
                    <a:pt x="34784" y="61016"/>
                  </a:lnTo>
                  <a:lnTo>
                    <a:pt x="34742" y="61242"/>
                  </a:lnTo>
                  <a:lnTo>
                    <a:pt x="34742" y="61242"/>
                  </a:lnTo>
                  <a:lnTo>
                    <a:pt x="34742" y="61242"/>
                  </a:lnTo>
                  <a:lnTo>
                    <a:pt x="34742" y="61242"/>
                  </a:lnTo>
                  <a:lnTo>
                    <a:pt x="34742" y="61468"/>
                  </a:lnTo>
                  <a:lnTo>
                    <a:pt x="34742" y="61468"/>
                  </a:lnTo>
                  <a:lnTo>
                    <a:pt x="34742" y="61468"/>
                  </a:lnTo>
                  <a:lnTo>
                    <a:pt x="34742" y="61468"/>
                  </a:lnTo>
                  <a:lnTo>
                    <a:pt x="34700" y="61468"/>
                  </a:lnTo>
                  <a:lnTo>
                    <a:pt x="34700" y="61468"/>
                  </a:lnTo>
                  <a:lnTo>
                    <a:pt x="34637" y="61807"/>
                  </a:lnTo>
                  <a:lnTo>
                    <a:pt x="34595" y="61807"/>
                  </a:lnTo>
                  <a:lnTo>
                    <a:pt x="34553" y="61807"/>
                  </a:lnTo>
                  <a:lnTo>
                    <a:pt x="34553" y="62033"/>
                  </a:lnTo>
                  <a:lnTo>
                    <a:pt x="34490" y="62033"/>
                  </a:lnTo>
                  <a:lnTo>
                    <a:pt x="34490" y="62033"/>
                  </a:lnTo>
                  <a:lnTo>
                    <a:pt x="34447" y="62033"/>
                  </a:lnTo>
                  <a:lnTo>
                    <a:pt x="34447" y="62033"/>
                  </a:lnTo>
                  <a:lnTo>
                    <a:pt x="34447" y="62259"/>
                  </a:lnTo>
                  <a:lnTo>
                    <a:pt x="34405" y="62259"/>
                  </a:lnTo>
                  <a:lnTo>
                    <a:pt x="34405" y="62033"/>
                  </a:lnTo>
                  <a:lnTo>
                    <a:pt x="34405" y="62033"/>
                  </a:lnTo>
                  <a:lnTo>
                    <a:pt x="34300" y="62033"/>
                  </a:lnTo>
                  <a:lnTo>
                    <a:pt x="34237" y="62033"/>
                  </a:lnTo>
                  <a:lnTo>
                    <a:pt x="34195" y="62259"/>
                  </a:lnTo>
                  <a:lnTo>
                    <a:pt x="34195" y="62033"/>
                  </a:lnTo>
                  <a:lnTo>
                    <a:pt x="34153" y="62033"/>
                  </a:lnTo>
                  <a:lnTo>
                    <a:pt x="34153" y="62033"/>
                  </a:lnTo>
                  <a:lnTo>
                    <a:pt x="34006" y="61807"/>
                  </a:lnTo>
                  <a:lnTo>
                    <a:pt x="33901" y="62033"/>
                  </a:lnTo>
                  <a:lnTo>
                    <a:pt x="33796" y="62033"/>
                  </a:lnTo>
                  <a:lnTo>
                    <a:pt x="33711" y="62033"/>
                  </a:lnTo>
                  <a:lnTo>
                    <a:pt x="33711" y="62033"/>
                  </a:lnTo>
                  <a:lnTo>
                    <a:pt x="33711" y="62033"/>
                  </a:lnTo>
                  <a:lnTo>
                    <a:pt x="33648" y="62598"/>
                  </a:lnTo>
                  <a:lnTo>
                    <a:pt x="33711" y="62598"/>
                  </a:lnTo>
                  <a:lnTo>
                    <a:pt x="33711" y="62598"/>
                  </a:lnTo>
                  <a:lnTo>
                    <a:pt x="33711" y="62824"/>
                  </a:lnTo>
                  <a:lnTo>
                    <a:pt x="33648" y="62824"/>
                  </a:lnTo>
                  <a:lnTo>
                    <a:pt x="33648" y="62824"/>
                  </a:lnTo>
                  <a:lnTo>
                    <a:pt x="33648" y="63050"/>
                  </a:lnTo>
                  <a:lnTo>
                    <a:pt x="33648" y="63050"/>
                  </a:lnTo>
                  <a:lnTo>
                    <a:pt x="33648" y="63389"/>
                  </a:lnTo>
                  <a:lnTo>
                    <a:pt x="33648" y="63389"/>
                  </a:lnTo>
                  <a:lnTo>
                    <a:pt x="33606" y="63389"/>
                  </a:lnTo>
                  <a:lnTo>
                    <a:pt x="33543" y="63615"/>
                  </a:lnTo>
                  <a:lnTo>
                    <a:pt x="33543" y="63615"/>
                  </a:lnTo>
                  <a:lnTo>
                    <a:pt x="33501" y="63954"/>
                  </a:lnTo>
                  <a:lnTo>
                    <a:pt x="33459" y="63954"/>
                  </a:lnTo>
                  <a:lnTo>
                    <a:pt x="33396" y="64180"/>
                  </a:lnTo>
                  <a:lnTo>
                    <a:pt x="33354" y="64180"/>
                  </a:lnTo>
                  <a:lnTo>
                    <a:pt x="33249" y="64406"/>
                  </a:lnTo>
                  <a:lnTo>
                    <a:pt x="33101" y="64745"/>
                  </a:lnTo>
                  <a:lnTo>
                    <a:pt x="33101" y="64745"/>
                  </a:lnTo>
                  <a:lnTo>
                    <a:pt x="33059" y="64971"/>
                  </a:lnTo>
                  <a:lnTo>
                    <a:pt x="33059" y="64971"/>
                  </a:lnTo>
                  <a:lnTo>
                    <a:pt x="33017" y="64971"/>
                  </a:lnTo>
                  <a:lnTo>
                    <a:pt x="32765" y="65197"/>
                  </a:lnTo>
                  <a:lnTo>
                    <a:pt x="32618" y="65762"/>
                  </a:lnTo>
                  <a:lnTo>
                    <a:pt x="32513" y="65762"/>
                  </a:lnTo>
                  <a:lnTo>
                    <a:pt x="32471" y="65988"/>
                  </a:lnTo>
                  <a:lnTo>
                    <a:pt x="32407" y="66327"/>
                  </a:lnTo>
                  <a:lnTo>
                    <a:pt x="32365" y="66327"/>
                  </a:lnTo>
                  <a:lnTo>
                    <a:pt x="32323" y="66327"/>
                  </a:lnTo>
                  <a:lnTo>
                    <a:pt x="32260" y="66327"/>
                  </a:lnTo>
                  <a:lnTo>
                    <a:pt x="32218" y="66327"/>
                  </a:lnTo>
                  <a:lnTo>
                    <a:pt x="32155" y="66553"/>
                  </a:lnTo>
                  <a:lnTo>
                    <a:pt x="32113" y="66553"/>
                  </a:lnTo>
                  <a:lnTo>
                    <a:pt x="32113" y="66553"/>
                  </a:lnTo>
                  <a:lnTo>
                    <a:pt x="32113" y="66553"/>
                  </a:lnTo>
                  <a:lnTo>
                    <a:pt x="32071" y="66327"/>
                  </a:lnTo>
                  <a:lnTo>
                    <a:pt x="32071" y="66327"/>
                  </a:lnTo>
                  <a:lnTo>
                    <a:pt x="32071" y="66327"/>
                  </a:lnTo>
                  <a:lnTo>
                    <a:pt x="32008" y="66327"/>
                  </a:lnTo>
                  <a:lnTo>
                    <a:pt x="32008" y="66327"/>
                  </a:lnTo>
                  <a:lnTo>
                    <a:pt x="31966" y="66327"/>
                  </a:lnTo>
                  <a:lnTo>
                    <a:pt x="31966" y="66327"/>
                  </a:lnTo>
                  <a:lnTo>
                    <a:pt x="31924" y="66327"/>
                  </a:lnTo>
                  <a:lnTo>
                    <a:pt x="31966" y="66327"/>
                  </a:lnTo>
                  <a:lnTo>
                    <a:pt x="32071" y="66327"/>
                  </a:lnTo>
                  <a:lnTo>
                    <a:pt x="32071" y="66327"/>
                  </a:lnTo>
                  <a:lnTo>
                    <a:pt x="32008" y="65988"/>
                  </a:lnTo>
                  <a:lnTo>
                    <a:pt x="32008" y="65988"/>
                  </a:lnTo>
                  <a:lnTo>
                    <a:pt x="32008" y="65988"/>
                  </a:lnTo>
                  <a:lnTo>
                    <a:pt x="32008" y="65988"/>
                  </a:lnTo>
                  <a:lnTo>
                    <a:pt x="31966" y="66327"/>
                  </a:lnTo>
                  <a:lnTo>
                    <a:pt x="31966" y="66327"/>
                  </a:lnTo>
                  <a:lnTo>
                    <a:pt x="31966" y="65988"/>
                  </a:lnTo>
                  <a:lnTo>
                    <a:pt x="31966" y="65988"/>
                  </a:lnTo>
                  <a:lnTo>
                    <a:pt x="31924" y="65762"/>
                  </a:lnTo>
                  <a:lnTo>
                    <a:pt x="31861" y="65762"/>
                  </a:lnTo>
                  <a:lnTo>
                    <a:pt x="31861" y="65762"/>
                  </a:lnTo>
                  <a:lnTo>
                    <a:pt x="31819" y="65762"/>
                  </a:lnTo>
                  <a:lnTo>
                    <a:pt x="31819" y="65762"/>
                  </a:lnTo>
                  <a:lnTo>
                    <a:pt x="31819" y="65762"/>
                  </a:lnTo>
                  <a:lnTo>
                    <a:pt x="31861" y="65536"/>
                  </a:lnTo>
                  <a:lnTo>
                    <a:pt x="31924" y="65197"/>
                  </a:lnTo>
                  <a:lnTo>
                    <a:pt x="31924" y="65197"/>
                  </a:lnTo>
                  <a:lnTo>
                    <a:pt x="31924" y="65197"/>
                  </a:lnTo>
                  <a:lnTo>
                    <a:pt x="31924" y="65197"/>
                  </a:lnTo>
                  <a:lnTo>
                    <a:pt x="31924" y="65197"/>
                  </a:lnTo>
                  <a:lnTo>
                    <a:pt x="31966" y="65197"/>
                  </a:lnTo>
                  <a:lnTo>
                    <a:pt x="31966" y="64971"/>
                  </a:lnTo>
                  <a:lnTo>
                    <a:pt x="31966" y="64971"/>
                  </a:lnTo>
                  <a:lnTo>
                    <a:pt x="31966" y="64971"/>
                  </a:lnTo>
                  <a:lnTo>
                    <a:pt x="32008" y="64745"/>
                  </a:lnTo>
                  <a:lnTo>
                    <a:pt x="32008" y="64745"/>
                  </a:lnTo>
                  <a:lnTo>
                    <a:pt x="32071" y="64406"/>
                  </a:lnTo>
                  <a:lnTo>
                    <a:pt x="32071" y="64406"/>
                  </a:lnTo>
                  <a:lnTo>
                    <a:pt x="32113" y="64406"/>
                  </a:lnTo>
                  <a:lnTo>
                    <a:pt x="32113" y="64180"/>
                  </a:lnTo>
                  <a:lnTo>
                    <a:pt x="32155" y="64180"/>
                  </a:lnTo>
                  <a:lnTo>
                    <a:pt x="32155" y="64180"/>
                  </a:lnTo>
                  <a:lnTo>
                    <a:pt x="32155" y="63954"/>
                  </a:lnTo>
                  <a:lnTo>
                    <a:pt x="32218" y="63954"/>
                  </a:lnTo>
                  <a:lnTo>
                    <a:pt x="32218" y="63615"/>
                  </a:lnTo>
                  <a:lnTo>
                    <a:pt x="32218" y="63615"/>
                  </a:lnTo>
                  <a:lnTo>
                    <a:pt x="32218" y="63615"/>
                  </a:lnTo>
                  <a:lnTo>
                    <a:pt x="32260" y="63615"/>
                  </a:lnTo>
                  <a:lnTo>
                    <a:pt x="32260" y="63615"/>
                  </a:lnTo>
                  <a:lnTo>
                    <a:pt x="32260" y="63615"/>
                  </a:lnTo>
                  <a:lnTo>
                    <a:pt x="32323" y="63615"/>
                  </a:lnTo>
                  <a:lnTo>
                    <a:pt x="32323" y="63615"/>
                  </a:lnTo>
                  <a:lnTo>
                    <a:pt x="32260" y="63615"/>
                  </a:lnTo>
                  <a:lnTo>
                    <a:pt x="32260" y="63954"/>
                  </a:lnTo>
                  <a:lnTo>
                    <a:pt x="32260" y="63954"/>
                  </a:lnTo>
                  <a:lnTo>
                    <a:pt x="32323" y="63615"/>
                  </a:lnTo>
                  <a:lnTo>
                    <a:pt x="32365" y="63389"/>
                  </a:lnTo>
                  <a:lnTo>
                    <a:pt x="32471" y="62824"/>
                  </a:lnTo>
                  <a:lnTo>
                    <a:pt x="32471" y="62824"/>
                  </a:lnTo>
                  <a:lnTo>
                    <a:pt x="32407" y="62598"/>
                  </a:lnTo>
                  <a:lnTo>
                    <a:pt x="32471" y="62033"/>
                  </a:lnTo>
                  <a:lnTo>
                    <a:pt x="32513" y="61242"/>
                  </a:lnTo>
                  <a:lnTo>
                    <a:pt x="32513" y="61016"/>
                  </a:lnTo>
                  <a:lnTo>
                    <a:pt x="32513" y="60677"/>
                  </a:lnTo>
                  <a:lnTo>
                    <a:pt x="32513" y="60451"/>
                  </a:lnTo>
                  <a:lnTo>
                    <a:pt x="32471" y="60451"/>
                  </a:lnTo>
                  <a:lnTo>
                    <a:pt x="32471" y="60451"/>
                  </a:lnTo>
                  <a:lnTo>
                    <a:pt x="32407" y="60451"/>
                  </a:lnTo>
                  <a:lnTo>
                    <a:pt x="32407" y="60451"/>
                  </a:lnTo>
                  <a:lnTo>
                    <a:pt x="32365" y="60451"/>
                  </a:lnTo>
                  <a:lnTo>
                    <a:pt x="32323" y="60451"/>
                  </a:lnTo>
                  <a:lnTo>
                    <a:pt x="32323" y="60677"/>
                  </a:lnTo>
                  <a:lnTo>
                    <a:pt x="32260" y="60677"/>
                  </a:lnTo>
                  <a:lnTo>
                    <a:pt x="32260" y="60677"/>
                  </a:lnTo>
                  <a:lnTo>
                    <a:pt x="32260" y="60677"/>
                  </a:lnTo>
                  <a:lnTo>
                    <a:pt x="32260" y="60677"/>
                  </a:lnTo>
                  <a:lnTo>
                    <a:pt x="32260" y="60677"/>
                  </a:lnTo>
                  <a:lnTo>
                    <a:pt x="32218" y="61016"/>
                  </a:lnTo>
                  <a:lnTo>
                    <a:pt x="32218" y="61242"/>
                  </a:lnTo>
                  <a:lnTo>
                    <a:pt x="32155" y="61242"/>
                  </a:lnTo>
                  <a:lnTo>
                    <a:pt x="32155" y="61242"/>
                  </a:lnTo>
                  <a:lnTo>
                    <a:pt x="32113" y="61242"/>
                  </a:lnTo>
                  <a:lnTo>
                    <a:pt x="32113" y="61468"/>
                  </a:lnTo>
                  <a:lnTo>
                    <a:pt x="32071" y="61242"/>
                  </a:lnTo>
                  <a:lnTo>
                    <a:pt x="32071" y="61242"/>
                  </a:lnTo>
                  <a:lnTo>
                    <a:pt x="32008" y="61242"/>
                  </a:lnTo>
                  <a:lnTo>
                    <a:pt x="32008" y="61242"/>
                  </a:lnTo>
                  <a:lnTo>
                    <a:pt x="32071" y="61016"/>
                  </a:lnTo>
                  <a:lnTo>
                    <a:pt x="32071" y="61016"/>
                  </a:lnTo>
                  <a:lnTo>
                    <a:pt x="32071" y="60677"/>
                  </a:lnTo>
                  <a:lnTo>
                    <a:pt x="32113" y="60677"/>
                  </a:lnTo>
                  <a:lnTo>
                    <a:pt x="32113" y="60451"/>
                  </a:lnTo>
                  <a:lnTo>
                    <a:pt x="32155" y="60451"/>
                  </a:lnTo>
                  <a:lnTo>
                    <a:pt x="32155" y="60451"/>
                  </a:lnTo>
                  <a:lnTo>
                    <a:pt x="32155" y="60451"/>
                  </a:lnTo>
                  <a:lnTo>
                    <a:pt x="32218" y="60451"/>
                  </a:lnTo>
                  <a:lnTo>
                    <a:pt x="32218" y="60451"/>
                  </a:lnTo>
                  <a:lnTo>
                    <a:pt x="32260" y="60112"/>
                  </a:lnTo>
                  <a:lnTo>
                    <a:pt x="32260" y="59887"/>
                  </a:lnTo>
                  <a:lnTo>
                    <a:pt x="32323" y="59887"/>
                  </a:lnTo>
                  <a:lnTo>
                    <a:pt x="32323" y="59887"/>
                  </a:lnTo>
                  <a:lnTo>
                    <a:pt x="32323" y="59887"/>
                  </a:lnTo>
                  <a:lnTo>
                    <a:pt x="32323" y="59887"/>
                  </a:lnTo>
                  <a:lnTo>
                    <a:pt x="32365" y="59661"/>
                  </a:lnTo>
                  <a:lnTo>
                    <a:pt x="32365" y="59661"/>
                  </a:lnTo>
                  <a:lnTo>
                    <a:pt x="32407" y="59661"/>
                  </a:lnTo>
                  <a:lnTo>
                    <a:pt x="32407" y="59096"/>
                  </a:lnTo>
                  <a:lnTo>
                    <a:pt x="32471" y="59096"/>
                  </a:lnTo>
                  <a:lnTo>
                    <a:pt x="32471" y="58870"/>
                  </a:lnTo>
                  <a:lnTo>
                    <a:pt x="32471" y="58531"/>
                  </a:lnTo>
                  <a:lnTo>
                    <a:pt x="32471" y="58531"/>
                  </a:lnTo>
                  <a:lnTo>
                    <a:pt x="32471" y="58305"/>
                  </a:lnTo>
                  <a:lnTo>
                    <a:pt x="32471" y="58305"/>
                  </a:lnTo>
                  <a:lnTo>
                    <a:pt x="32471" y="58079"/>
                  </a:lnTo>
                  <a:lnTo>
                    <a:pt x="32471" y="57740"/>
                  </a:lnTo>
                  <a:lnTo>
                    <a:pt x="32513" y="57740"/>
                  </a:lnTo>
                  <a:lnTo>
                    <a:pt x="32513" y="58079"/>
                  </a:lnTo>
                  <a:lnTo>
                    <a:pt x="32513" y="57740"/>
                  </a:lnTo>
                  <a:lnTo>
                    <a:pt x="32513" y="57740"/>
                  </a:lnTo>
                  <a:lnTo>
                    <a:pt x="32513" y="57740"/>
                  </a:lnTo>
                  <a:lnTo>
                    <a:pt x="32513" y="57740"/>
                  </a:lnTo>
                  <a:lnTo>
                    <a:pt x="32513" y="57514"/>
                  </a:lnTo>
                  <a:lnTo>
                    <a:pt x="32513" y="57514"/>
                  </a:lnTo>
                  <a:lnTo>
                    <a:pt x="32513" y="57514"/>
                  </a:lnTo>
                  <a:lnTo>
                    <a:pt x="32513" y="57514"/>
                  </a:lnTo>
                  <a:lnTo>
                    <a:pt x="32513" y="57514"/>
                  </a:lnTo>
                  <a:lnTo>
                    <a:pt x="32513" y="57175"/>
                  </a:lnTo>
                  <a:lnTo>
                    <a:pt x="32513" y="57175"/>
                  </a:lnTo>
                  <a:lnTo>
                    <a:pt x="32471" y="57175"/>
                  </a:lnTo>
                  <a:lnTo>
                    <a:pt x="32407" y="56949"/>
                  </a:lnTo>
                  <a:lnTo>
                    <a:pt x="32407" y="56949"/>
                  </a:lnTo>
                  <a:lnTo>
                    <a:pt x="32365" y="56949"/>
                  </a:lnTo>
                  <a:lnTo>
                    <a:pt x="32365" y="56723"/>
                  </a:lnTo>
                  <a:lnTo>
                    <a:pt x="32323" y="56723"/>
                  </a:lnTo>
                  <a:lnTo>
                    <a:pt x="32323" y="56723"/>
                  </a:lnTo>
                  <a:lnTo>
                    <a:pt x="32323" y="56723"/>
                  </a:lnTo>
                  <a:lnTo>
                    <a:pt x="32323" y="56384"/>
                  </a:lnTo>
                  <a:lnTo>
                    <a:pt x="32260" y="56384"/>
                  </a:lnTo>
                  <a:lnTo>
                    <a:pt x="32260" y="56384"/>
                  </a:lnTo>
                  <a:lnTo>
                    <a:pt x="32218" y="56384"/>
                  </a:lnTo>
                  <a:lnTo>
                    <a:pt x="32155" y="56158"/>
                  </a:lnTo>
                  <a:lnTo>
                    <a:pt x="32155" y="56158"/>
                  </a:lnTo>
                  <a:lnTo>
                    <a:pt x="32155" y="56158"/>
                  </a:lnTo>
                  <a:lnTo>
                    <a:pt x="32113" y="56158"/>
                  </a:lnTo>
                  <a:lnTo>
                    <a:pt x="32071" y="56158"/>
                  </a:lnTo>
                  <a:lnTo>
                    <a:pt x="32071" y="56158"/>
                  </a:lnTo>
                  <a:lnTo>
                    <a:pt x="32071" y="56158"/>
                  </a:lnTo>
                  <a:lnTo>
                    <a:pt x="32071" y="56384"/>
                  </a:lnTo>
                  <a:lnTo>
                    <a:pt x="32008" y="56384"/>
                  </a:lnTo>
                  <a:lnTo>
                    <a:pt x="32008" y="56723"/>
                  </a:lnTo>
                  <a:lnTo>
                    <a:pt x="32008" y="56723"/>
                  </a:lnTo>
                  <a:lnTo>
                    <a:pt x="31966" y="56949"/>
                  </a:lnTo>
                  <a:lnTo>
                    <a:pt x="32008" y="56949"/>
                  </a:lnTo>
                  <a:lnTo>
                    <a:pt x="32008" y="56949"/>
                  </a:lnTo>
                  <a:lnTo>
                    <a:pt x="32008" y="56949"/>
                  </a:lnTo>
                  <a:lnTo>
                    <a:pt x="32008" y="56949"/>
                  </a:lnTo>
                  <a:lnTo>
                    <a:pt x="32008" y="56949"/>
                  </a:lnTo>
                  <a:lnTo>
                    <a:pt x="31966" y="57175"/>
                  </a:lnTo>
                  <a:lnTo>
                    <a:pt x="31966" y="57175"/>
                  </a:lnTo>
                  <a:lnTo>
                    <a:pt x="31924" y="57175"/>
                  </a:lnTo>
                  <a:lnTo>
                    <a:pt x="31861" y="57175"/>
                  </a:lnTo>
                  <a:lnTo>
                    <a:pt x="31819" y="57514"/>
                  </a:lnTo>
                  <a:lnTo>
                    <a:pt x="31819" y="57514"/>
                  </a:lnTo>
                  <a:lnTo>
                    <a:pt x="31819" y="57514"/>
                  </a:lnTo>
                  <a:lnTo>
                    <a:pt x="31819" y="57740"/>
                  </a:lnTo>
                  <a:lnTo>
                    <a:pt x="31777" y="58079"/>
                  </a:lnTo>
                  <a:lnTo>
                    <a:pt x="31777" y="58305"/>
                  </a:lnTo>
                  <a:lnTo>
                    <a:pt x="31713" y="58531"/>
                  </a:lnTo>
                  <a:lnTo>
                    <a:pt x="31671" y="58870"/>
                  </a:lnTo>
                  <a:lnTo>
                    <a:pt x="31671" y="58870"/>
                  </a:lnTo>
                  <a:lnTo>
                    <a:pt x="31671" y="58531"/>
                  </a:lnTo>
                  <a:lnTo>
                    <a:pt x="31713" y="58305"/>
                  </a:lnTo>
                  <a:lnTo>
                    <a:pt x="31713" y="58305"/>
                  </a:lnTo>
                  <a:lnTo>
                    <a:pt x="31713" y="58305"/>
                  </a:lnTo>
                  <a:lnTo>
                    <a:pt x="31713" y="58305"/>
                  </a:lnTo>
                  <a:lnTo>
                    <a:pt x="31713" y="58305"/>
                  </a:lnTo>
                  <a:lnTo>
                    <a:pt x="31713" y="58305"/>
                  </a:lnTo>
                  <a:lnTo>
                    <a:pt x="31713" y="58305"/>
                  </a:lnTo>
                  <a:lnTo>
                    <a:pt x="31713" y="58305"/>
                  </a:lnTo>
                  <a:lnTo>
                    <a:pt x="31713" y="58531"/>
                  </a:lnTo>
                  <a:lnTo>
                    <a:pt x="31671" y="58531"/>
                  </a:lnTo>
                  <a:lnTo>
                    <a:pt x="31671" y="58531"/>
                  </a:lnTo>
                  <a:lnTo>
                    <a:pt x="31671" y="58531"/>
                  </a:lnTo>
                  <a:lnTo>
                    <a:pt x="31671" y="58531"/>
                  </a:lnTo>
                  <a:lnTo>
                    <a:pt x="31713" y="58305"/>
                  </a:lnTo>
                  <a:lnTo>
                    <a:pt x="31713" y="58305"/>
                  </a:lnTo>
                  <a:lnTo>
                    <a:pt x="31713" y="58079"/>
                  </a:lnTo>
                  <a:lnTo>
                    <a:pt x="31713" y="57740"/>
                  </a:lnTo>
                  <a:lnTo>
                    <a:pt x="31713" y="57740"/>
                  </a:lnTo>
                  <a:lnTo>
                    <a:pt x="31713" y="57740"/>
                  </a:lnTo>
                  <a:lnTo>
                    <a:pt x="31777" y="57514"/>
                  </a:lnTo>
                  <a:lnTo>
                    <a:pt x="31777" y="57514"/>
                  </a:lnTo>
                  <a:lnTo>
                    <a:pt x="31713" y="57514"/>
                  </a:lnTo>
                  <a:lnTo>
                    <a:pt x="31713" y="57740"/>
                  </a:lnTo>
                  <a:lnTo>
                    <a:pt x="31629" y="58079"/>
                  </a:lnTo>
                  <a:lnTo>
                    <a:pt x="31629" y="58305"/>
                  </a:lnTo>
                  <a:lnTo>
                    <a:pt x="31566" y="58305"/>
                  </a:lnTo>
                  <a:lnTo>
                    <a:pt x="31566" y="58305"/>
                  </a:lnTo>
                  <a:lnTo>
                    <a:pt x="31566" y="58305"/>
                  </a:lnTo>
                  <a:lnTo>
                    <a:pt x="31524" y="58305"/>
                  </a:lnTo>
                  <a:lnTo>
                    <a:pt x="31524" y="58305"/>
                  </a:lnTo>
                  <a:lnTo>
                    <a:pt x="31524" y="58531"/>
                  </a:lnTo>
                  <a:lnTo>
                    <a:pt x="31461" y="58531"/>
                  </a:lnTo>
                  <a:lnTo>
                    <a:pt x="31461" y="58870"/>
                  </a:lnTo>
                  <a:lnTo>
                    <a:pt x="31419" y="58870"/>
                  </a:lnTo>
                  <a:lnTo>
                    <a:pt x="31419" y="58870"/>
                  </a:lnTo>
                  <a:lnTo>
                    <a:pt x="31419" y="58870"/>
                  </a:lnTo>
                  <a:lnTo>
                    <a:pt x="31419" y="59096"/>
                  </a:lnTo>
                  <a:lnTo>
                    <a:pt x="31377" y="59322"/>
                  </a:lnTo>
                  <a:lnTo>
                    <a:pt x="31377" y="59661"/>
                  </a:lnTo>
                  <a:lnTo>
                    <a:pt x="31314" y="59661"/>
                  </a:lnTo>
                  <a:lnTo>
                    <a:pt x="31272" y="59887"/>
                  </a:lnTo>
                  <a:lnTo>
                    <a:pt x="31272" y="60112"/>
                  </a:lnTo>
                  <a:lnTo>
                    <a:pt x="31167" y="60451"/>
                  </a:lnTo>
                  <a:lnTo>
                    <a:pt x="31167" y="60451"/>
                  </a:lnTo>
                  <a:lnTo>
                    <a:pt x="31167" y="60451"/>
                  </a:lnTo>
                  <a:lnTo>
                    <a:pt x="31167" y="60677"/>
                  </a:lnTo>
                  <a:lnTo>
                    <a:pt x="31167" y="61016"/>
                  </a:lnTo>
                  <a:lnTo>
                    <a:pt x="31167" y="61016"/>
                  </a:lnTo>
                  <a:lnTo>
                    <a:pt x="31125" y="61242"/>
                  </a:lnTo>
                  <a:lnTo>
                    <a:pt x="31125" y="61242"/>
                  </a:lnTo>
                  <a:lnTo>
                    <a:pt x="31083" y="61807"/>
                  </a:lnTo>
                  <a:lnTo>
                    <a:pt x="31083" y="62259"/>
                  </a:lnTo>
                  <a:lnTo>
                    <a:pt x="31083" y="62259"/>
                  </a:lnTo>
                  <a:lnTo>
                    <a:pt x="31083" y="62598"/>
                  </a:lnTo>
                  <a:lnTo>
                    <a:pt x="31083" y="62824"/>
                  </a:lnTo>
                  <a:lnTo>
                    <a:pt x="31083" y="63050"/>
                  </a:lnTo>
                  <a:lnTo>
                    <a:pt x="31019" y="63389"/>
                  </a:lnTo>
                  <a:lnTo>
                    <a:pt x="31019" y="63615"/>
                  </a:lnTo>
                  <a:lnTo>
                    <a:pt x="30977" y="63954"/>
                  </a:lnTo>
                  <a:lnTo>
                    <a:pt x="30935" y="64180"/>
                  </a:lnTo>
                  <a:lnTo>
                    <a:pt x="30935" y="64406"/>
                  </a:lnTo>
                  <a:lnTo>
                    <a:pt x="30872" y="64745"/>
                  </a:lnTo>
                  <a:lnTo>
                    <a:pt x="30830" y="64971"/>
                  </a:lnTo>
                  <a:lnTo>
                    <a:pt x="30767" y="65197"/>
                  </a:lnTo>
                  <a:lnTo>
                    <a:pt x="30725" y="65197"/>
                  </a:lnTo>
                  <a:lnTo>
                    <a:pt x="30683" y="65536"/>
                  </a:lnTo>
                  <a:lnTo>
                    <a:pt x="30620" y="65536"/>
                  </a:lnTo>
                  <a:lnTo>
                    <a:pt x="30536" y="65762"/>
                  </a:lnTo>
                  <a:lnTo>
                    <a:pt x="30473" y="65988"/>
                  </a:lnTo>
                  <a:lnTo>
                    <a:pt x="30473" y="65988"/>
                  </a:lnTo>
                  <a:lnTo>
                    <a:pt x="30431" y="65988"/>
                  </a:lnTo>
                  <a:lnTo>
                    <a:pt x="30389" y="65988"/>
                  </a:lnTo>
                  <a:lnTo>
                    <a:pt x="30389" y="65762"/>
                  </a:lnTo>
                  <a:lnTo>
                    <a:pt x="30389" y="65762"/>
                  </a:lnTo>
                  <a:lnTo>
                    <a:pt x="30389" y="65762"/>
                  </a:lnTo>
                  <a:lnTo>
                    <a:pt x="30389" y="65762"/>
                  </a:lnTo>
                  <a:lnTo>
                    <a:pt x="30389" y="65762"/>
                  </a:lnTo>
                  <a:lnTo>
                    <a:pt x="30389" y="65536"/>
                  </a:lnTo>
                  <a:lnTo>
                    <a:pt x="30389" y="65197"/>
                  </a:lnTo>
                  <a:lnTo>
                    <a:pt x="30389" y="64971"/>
                  </a:lnTo>
                  <a:lnTo>
                    <a:pt x="30389" y="64971"/>
                  </a:lnTo>
                  <a:lnTo>
                    <a:pt x="30389" y="64745"/>
                  </a:lnTo>
                  <a:lnTo>
                    <a:pt x="30389" y="64745"/>
                  </a:lnTo>
                  <a:lnTo>
                    <a:pt x="30389" y="64406"/>
                  </a:lnTo>
                  <a:lnTo>
                    <a:pt x="30431" y="63954"/>
                  </a:lnTo>
                  <a:lnTo>
                    <a:pt x="30473" y="63615"/>
                  </a:lnTo>
                  <a:lnTo>
                    <a:pt x="30473" y="63389"/>
                  </a:lnTo>
                  <a:lnTo>
                    <a:pt x="30473" y="63389"/>
                  </a:lnTo>
                  <a:lnTo>
                    <a:pt x="30473" y="63050"/>
                  </a:lnTo>
                  <a:lnTo>
                    <a:pt x="30473" y="63050"/>
                  </a:lnTo>
                  <a:lnTo>
                    <a:pt x="30473" y="62824"/>
                  </a:lnTo>
                  <a:lnTo>
                    <a:pt x="30473" y="62824"/>
                  </a:lnTo>
                  <a:lnTo>
                    <a:pt x="30473" y="62824"/>
                  </a:lnTo>
                  <a:lnTo>
                    <a:pt x="30473" y="62824"/>
                  </a:lnTo>
                  <a:lnTo>
                    <a:pt x="30536" y="62598"/>
                  </a:lnTo>
                  <a:lnTo>
                    <a:pt x="30536" y="62598"/>
                  </a:lnTo>
                  <a:lnTo>
                    <a:pt x="30536" y="62598"/>
                  </a:lnTo>
                  <a:lnTo>
                    <a:pt x="30536" y="62598"/>
                  </a:lnTo>
                  <a:lnTo>
                    <a:pt x="30536" y="62259"/>
                  </a:lnTo>
                  <a:lnTo>
                    <a:pt x="30536" y="62259"/>
                  </a:lnTo>
                  <a:lnTo>
                    <a:pt x="30536" y="62033"/>
                  </a:lnTo>
                  <a:lnTo>
                    <a:pt x="30578" y="62033"/>
                  </a:lnTo>
                  <a:lnTo>
                    <a:pt x="30620" y="61807"/>
                  </a:lnTo>
                  <a:lnTo>
                    <a:pt x="30620" y="61807"/>
                  </a:lnTo>
                  <a:lnTo>
                    <a:pt x="30620" y="61468"/>
                  </a:lnTo>
                  <a:lnTo>
                    <a:pt x="30683" y="61468"/>
                  </a:lnTo>
                  <a:lnTo>
                    <a:pt x="30725" y="61242"/>
                  </a:lnTo>
                  <a:lnTo>
                    <a:pt x="30725" y="61016"/>
                  </a:lnTo>
                  <a:lnTo>
                    <a:pt x="30725" y="61016"/>
                  </a:lnTo>
                  <a:lnTo>
                    <a:pt x="30725" y="61016"/>
                  </a:lnTo>
                  <a:lnTo>
                    <a:pt x="30725" y="60677"/>
                  </a:lnTo>
                  <a:lnTo>
                    <a:pt x="30767" y="60451"/>
                  </a:lnTo>
                  <a:lnTo>
                    <a:pt x="30767" y="60451"/>
                  </a:lnTo>
                  <a:lnTo>
                    <a:pt x="30830" y="60112"/>
                  </a:lnTo>
                  <a:lnTo>
                    <a:pt x="30872" y="60112"/>
                  </a:lnTo>
                  <a:lnTo>
                    <a:pt x="30872" y="59887"/>
                  </a:lnTo>
                  <a:lnTo>
                    <a:pt x="30872" y="59887"/>
                  </a:lnTo>
                  <a:lnTo>
                    <a:pt x="30935" y="59661"/>
                  </a:lnTo>
                  <a:lnTo>
                    <a:pt x="30935" y="59322"/>
                  </a:lnTo>
                  <a:lnTo>
                    <a:pt x="30977" y="59096"/>
                  </a:lnTo>
                  <a:lnTo>
                    <a:pt x="31019" y="59096"/>
                  </a:lnTo>
                  <a:lnTo>
                    <a:pt x="31019" y="58870"/>
                  </a:lnTo>
                  <a:lnTo>
                    <a:pt x="31083" y="58870"/>
                  </a:lnTo>
                  <a:lnTo>
                    <a:pt x="31083" y="58531"/>
                  </a:lnTo>
                  <a:lnTo>
                    <a:pt x="31019" y="58531"/>
                  </a:lnTo>
                  <a:lnTo>
                    <a:pt x="31019" y="58531"/>
                  </a:lnTo>
                  <a:lnTo>
                    <a:pt x="31019" y="58531"/>
                  </a:lnTo>
                  <a:lnTo>
                    <a:pt x="30977" y="58531"/>
                  </a:lnTo>
                  <a:lnTo>
                    <a:pt x="30977" y="58531"/>
                  </a:lnTo>
                  <a:lnTo>
                    <a:pt x="30977" y="58531"/>
                  </a:lnTo>
                  <a:lnTo>
                    <a:pt x="30935" y="58531"/>
                  </a:lnTo>
                  <a:lnTo>
                    <a:pt x="30872" y="58870"/>
                  </a:lnTo>
                  <a:lnTo>
                    <a:pt x="30872" y="59096"/>
                  </a:lnTo>
                  <a:lnTo>
                    <a:pt x="30830" y="59096"/>
                  </a:lnTo>
                  <a:lnTo>
                    <a:pt x="30830" y="59096"/>
                  </a:lnTo>
                  <a:lnTo>
                    <a:pt x="30767" y="59096"/>
                  </a:lnTo>
                  <a:lnTo>
                    <a:pt x="30767" y="59096"/>
                  </a:lnTo>
                  <a:lnTo>
                    <a:pt x="30767" y="59096"/>
                  </a:lnTo>
                  <a:lnTo>
                    <a:pt x="30767" y="59096"/>
                  </a:lnTo>
                  <a:lnTo>
                    <a:pt x="30830" y="58870"/>
                  </a:lnTo>
                  <a:lnTo>
                    <a:pt x="30830" y="58870"/>
                  </a:lnTo>
                  <a:lnTo>
                    <a:pt x="30872" y="58531"/>
                  </a:lnTo>
                  <a:lnTo>
                    <a:pt x="30872" y="58305"/>
                  </a:lnTo>
                  <a:lnTo>
                    <a:pt x="30935" y="58305"/>
                  </a:lnTo>
                  <a:lnTo>
                    <a:pt x="30977" y="58305"/>
                  </a:lnTo>
                  <a:lnTo>
                    <a:pt x="31019" y="58079"/>
                  </a:lnTo>
                  <a:lnTo>
                    <a:pt x="31019" y="57740"/>
                  </a:lnTo>
                  <a:lnTo>
                    <a:pt x="31019" y="57740"/>
                  </a:lnTo>
                  <a:lnTo>
                    <a:pt x="31019" y="57514"/>
                  </a:lnTo>
                  <a:lnTo>
                    <a:pt x="31083" y="57514"/>
                  </a:lnTo>
                  <a:lnTo>
                    <a:pt x="31083" y="57514"/>
                  </a:lnTo>
                  <a:lnTo>
                    <a:pt x="31167" y="57175"/>
                  </a:lnTo>
                  <a:lnTo>
                    <a:pt x="31230" y="56949"/>
                  </a:lnTo>
                  <a:lnTo>
                    <a:pt x="31272" y="56723"/>
                  </a:lnTo>
                  <a:lnTo>
                    <a:pt x="31314" y="56384"/>
                  </a:lnTo>
                  <a:lnTo>
                    <a:pt x="31314" y="56384"/>
                  </a:lnTo>
                  <a:lnTo>
                    <a:pt x="31314" y="56384"/>
                  </a:lnTo>
                  <a:lnTo>
                    <a:pt x="31377" y="56158"/>
                  </a:lnTo>
                  <a:lnTo>
                    <a:pt x="31419" y="55932"/>
                  </a:lnTo>
                  <a:lnTo>
                    <a:pt x="31419" y="55932"/>
                  </a:lnTo>
                  <a:lnTo>
                    <a:pt x="31419" y="55932"/>
                  </a:lnTo>
                  <a:lnTo>
                    <a:pt x="31377" y="56158"/>
                  </a:lnTo>
                  <a:lnTo>
                    <a:pt x="31377" y="56158"/>
                  </a:lnTo>
                  <a:lnTo>
                    <a:pt x="31377" y="56384"/>
                  </a:lnTo>
                  <a:lnTo>
                    <a:pt x="31377" y="56384"/>
                  </a:lnTo>
                  <a:lnTo>
                    <a:pt x="31419" y="56384"/>
                  </a:lnTo>
                  <a:lnTo>
                    <a:pt x="31419" y="56158"/>
                  </a:lnTo>
                  <a:lnTo>
                    <a:pt x="31461" y="56158"/>
                  </a:lnTo>
                  <a:lnTo>
                    <a:pt x="31461" y="55932"/>
                  </a:lnTo>
                  <a:lnTo>
                    <a:pt x="31461" y="56158"/>
                  </a:lnTo>
                  <a:lnTo>
                    <a:pt x="31524" y="56158"/>
                  </a:lnTo>
                  <a:lnTo>
                    <a:pt x="31524" y="55932"/>
                  </a:lnTo>
                  <a:lnTo>
                    <a:pt x="31566" y="55932"/>
                  </a:lnTo>
                  <a:lnTo>
                    <a:pt x="31566" y="55932"/>
                  </a:lnTo>
                  <a:lnTo>
                    <a:pt x="31524" y="56158"/>
                  </a:lnTo>
                  <a:lnTo>
                    <a:pt x="31524" y="56158"/>
                  </a:lnTo>
                  <a:lnTo>
                    <a:pt x="31524" y="56158"/>
                  </a:lnTo>
                  <a:lnTo>
                    <a:pt x="31461" y="56158"/>
                  </a:lnTo>
                  <a:lnTo>
                    <a:pt x="31461" y="56384"/>
                  </a:lnTo>
                  <a:lnTo>
                    <a:pt x="31461" y="56384"/>
                  </a:lnTo>
                  <a:lnTo>
                    <a:pt x="31461" y="56384"/>
                  </a:lnTo>
                  <a:lnTo>
                    <a:pt x="31461" y="56384"/>
                  </a:lnTo>
                  <a:lnTo>
                    <a:pt x="31461" y="56384"/>
                  </a:lnTo>
                  <a:lnTo>
                    <a:pt x="31461" y="56384"/>
                  </a:lnTo>
                  <a:lnTo>
                    <a:pt x="31524" y="56384"/>
                  </a:lnTo>
                  <a:lnTo>
                    <a:pt x="31524" y="56158"/>
                  </a:lnTo>
                  <a:lnTo>
                    <a:pt x="31566" y="56158"/>
                  </a:lnTo>
                  <a:lnTo>
                    <a:pt x="31629" y="56158"/>
                  </a:lnTo>
                  <a:lnTo>
                    <a:pt x="31629" y="55932"/>
                  </a:lnTo>
                  <a:lnTo>
                    <a:pt x="31671" y="55932"/>
                  </a:lnTo>
                  <a:lnTo>
                    <a:pt x="31671" y="55932"/>
                  </a:lnTo>
                  <a:lnTo>
                    <a:pt x="31713" y="55593"/>
                  </a:lnTo>
                  <a:lnTo>
                    <a:pt x="31777" y="55932"/>
                  </a:lnTo>
                  <a:lnTo>
                    <a:pt x="31777" y="55932"/>
                  </a:lnTo>
                  <a:lnTo>
                    <a:pt x="31777" y="55932"/>
                  </a:lnTo>
                  <a:lnTo>
                    <a:pt x="31819" y="55932"/>
                  </a:lnTo>
                  <a:lnTo>
                    <a:pt x="31819" y="55593"/>
                  </a:lnTo>
                  <a:lnTo>
                    <a:pt x="31861" y="55593"/>
                  </a:lnTo>
                  <a:lnTo>
                    <a:pt x="31924" y="55593"/>
                  </a:lnTo>
                  <a:lnTo>
                    <a:pt x="31966" y="55593"/>
                  </a:lnTo>
                  <a:lnTo>
                    <a:pt x="31966" y="55367"/>
                  </a:lnTo>
                  <a:lnTo>
                    <a:pt x="32008" y="55367"/>
                  </a:lnTo>
                  <a:lnTo>
                    <a:pt x="32071" y="55367"/>
                  </a:lnTo>
                  <a:lnTo>
                    <a:pt x="32113" y="55593"/>
                  </a:lnTo>
                  <a:lnTo>
                    <a:pt x="32113" y="55593"/>
                  </a:lnTo>
                  <a:lnTo>
                    <a:pt x="32155" y="55932"/>
                  </a:lnTo>
                  <a:lnTo>
                    <a:pt x="32155" y="55932"/>
                  </a:lnTo>
                  <a:lnTo>
                    <a:pt x="32155" y="55932"/>
                  </a:lnTo>
                  <a:lnTo>
                    <a:pt x="32218" y="55932"/>
                  </a:lnTo>
                  <a:lnTo>
                    <a:pt x="32218" y="55932"/>
                  </a:lnTo>
                  <a:lnTo>
                    <a:pt x="32218" y="55932"/>
                  </a:lnTo>
                  <a:lnTo>
                    <a:pt x="32218" y="55932"/>
                  </a:lnTo>
                  <a:lnTo>
                    <a:pt x="32218" y="55932"/>
                  </a:lnTo>
                  <a:lnTo>
                    <a:pt x="32260" y="55593"/>
                  </a:lnTo>
                  <a:lnTo>
                    <a:pt x="32260" y="55593"/>
                  </a:lnTo>
                  <a:lnTo>
                    <a:pt x="32260" y="55593"/>
                  </a:lnTo>
                  <a:lnTo>
                    <a:pt x="32260" y="55593"/>
                  </a:lnTo>
                  <a:lnTo>
                    <a:pt x="32260" y="55593"/>
                  </a:lnTo>
                  <a:lnTo>
                    <a:pt x="32260" y="55593"/>
                  </a:lnTo>
                  <a:lnTo>
                    <a:pt x="32323" y="55593"/>
                  </a:lnTo>
                  <a:lnTo>
                    <a:pt x="32323" y="55593"/>
                  </a:lnTo>
                  <a:lnTo>
                    <a:pt x="32323" y="55593"/>
                  </a:lnTo>
                  <a:lnTo>
                    <a:pt x="32323" y="55593"/>
                  </a:lnTo>
                  <a:lnTo>
                    <a:pt x="32365" y="55593"/>
                  </a:lnTo>
                  <a:lnTo>
                    <a:pt x="32471" y="55932"/>
                  </a:lnTo>
                  <a:lnTo>
                    <a:pt x="32471" y="55593"/>
                  </a:lnTo>
                  <a:lnTo>
                    <a:pt x="32513" y="55593"/>
                  </a:lnTo>
                  <a:lnTo>
                    <a:pt x="32513" y="55593"/>
                  </a:lnTo>
                  <a:lnTo>
                    <a:pt x="32513" y="55593"/>
                  </a:lnTo>
                  <a:lnTo>
                    <a:pt x="32471" y="55593"/>
                  </a:lnTo>
                  <a:lnTo>
                    <a:pt x="32471" y="55367"/>
                  </a:lnTo>
                  <a:lnTo>
                    <a:pt x="32471" y="55367"/>
                  </a:lnTo>
                  <a:lnTo>
                    <a:pt x="32471" y="55367"/>
                  </a:lnTo>
                  <a:lnTo>
                    <a:pt x="32471" y="55367"/>
                  </a:lnTo>
                  <a:lnTo>
                    <a:pt x="32471" y="55367"/>
                  </a:lnTo>
                  <a:lnTo>
                    <a:pt x="32407" y="55367"/>
                  </a:lnTo>
                  <a:lnTo>
                    <a:pt x="32407" y="55141"/>
                  </a:lnTo>
                  <a:lnTo>
                    <a:pt x="32407" y="55141"/>
                  </a:lnTo>
                  <a:lnTo>
                    <a:pt x="32471" y="55141"/>
                  </a:lnTo>
                  <a:lnTo>
                    <a:pt x="32471" y="55141"/>
                  </a:lnTo>
                  <a:lnTo>
                    <a:pt x="32471" y="55141"/>
                  </a:lnTo>
                  <a:lnTo>
                    <a:pt x="32471" y="54802"/>
                  </a:lnTo>
                  <a:lnTo>
                    <a:pt x="32471" y="54802"/>
                  </a:lnTo>
                  <a:lnTo>
                    <a:pt x="32471" y="54576"/>
                  </a:lnTo>
                  <a:lnTo>
                    <a:pt x="32471" y="54576"/>
                  </a:lnTo>
                  <a:lnTo>
                    <a:pt x="32471" y="54576"/>
                  </a:lnTo>
                  <a:lnTo>
                    <a:pt x="32407" y="54576"/>
                  </a:lnTo>
                  <a:lnTo>
                    <a:pt x="32407" y="54576"/>
                  </a:lnTo>
                  <a:lnTo>
                    <a:pt x="32407" y="54576"/>
                  </a:lnTo>
                  <a:lnTo>
                    <a:pt x="32365" y="54576"/>
                  </a:lnTo>
                  <a:lnTo>
                    <a:pt x="32365" y="54576"/>
                  </a:lnTo>
                  <a:lnTo>
                    <a:pt x="32365" y="54576"/>
                  </a:lnTo>
                  <a:lnTo>
                    <a:pt x="32323" y="54576"/>
                  </a:lnTo>
                  <a:lnTo>
                    <a:pt x="32323" y="54576"/>
                  </a:lnTo>
                  <a:lnTo>
                    <a:pt x="32260" y="54576"/>
                  </a:lnTo>
                  <a:lnTo>
                    <a:pt x="32260" y="54576"/>
                  </a:lnTo>
                  <a:lnTo>
                    <a:pt x="32218" y="54576"/>
                  </a:lnTo>
                  <a:lnTo>
                    <a:pt x="32218" y="54576"/>
                  </a:lnTo>
                  <a:lnTo>
                    <a:pt x="32218" y="54237"/>
                  </a:lnTo>
                  <a:lnTo>
                    <a:pt x="32218" y="54237"/>
                  </a:lnTo>
                  <a:lnTo>
                    <a:pt x="32218" y="54237"/>
                  </a:lnTo>
                  <a:lnTo>
                    <a:pt x="32260" y="54011"/>
                  </a:lnTo>
                  <a:lnTo>
                    <a:pt x="32260" y="54011"/>
                  </a:lnTo>
                  <a:lnTo>
                    <a:pt x="32323" y="53785"/>
                  </a:lnTo>
                  <a:lnTo>
                    <a:pt x="32260" y="53785"/>
                  </a:lnTo>
                  <a:lnTo>
                    <a:pt x="32218" y="53785"/>
                  </a:lnTo>
                  <a:lnTo>
                    <a:pt x="32155" y="54011"/>
                  </a:lnTo>
                  <a:lnTo>
                    <a:pt x="32113" y="54011"/>
                  </a:lnTo>
                  <a:lnTo>
                    <a:pt x="32071" y="54011"/>
                  </a:lnTo>
                  <a:lnTo>
                    <a:pt x="31966" y="54011"/>
                  </a:lnTo>
                  <a:lnTo>
                    <a:pt x="31924" y="54011"/>
                  </a:lnTo>
                  <a:lnTo>
                    <a:pt x="31861" y="54011"/>
                  </a:lnTo>
                  <a:lnTo>
                    <a:pt x="31861" y="54011"/>
                  </a:lnTo>
                  <a:lnTo>
                    <a:pt x="31819" y="54011"/>
                  </a:lnTo>
                  <a:lnTo>
                    <a:pt x="31777" y="54237"/>
                  </a:lnTo>
                  <a:lnTo>
                    <a:pt x="31713" y="54576"/>
                  </a:lnTo>
                  <a:lnTo>
                    <a:pt x="31629" y="54576"/>
                  </a:lnTo>
                  <a:lnTo>
                    <a:pt x="31629" y="54576"/>
                  </a:lnTo>
                  <a:lnTo>
                    <a:pt x="31629" y="54576"/>
                  </a:lnTo>
                  <a:lnTo>
                    <a:pt x="31629" y="54576"/>
                  </a:lnTo>
                  <a:lnTo>
                    <a:pt x="31629" y="54576"/>
                  </a:lnTo>
                  <a:lnTo>
                    <a:pt x="31566" y="54576"/>
                  </a:lnTo>
                  <a:lnTo>
                    <a:pt x="31566" y="54576"/>
                  </a:lnTo>
                  <a:lnTo>
                    <a:pt x="31524" y="54576"/>
                  </a:lnTo>
                  <a:lnTo>
                    <a:pt x="31524" y="54237"/>
                  </a:lnTo>
                  <a:lnTo>
                    <a:pt x="31524" y="54576"/>
                  </a:lnTo>
                  <a:lnTo>
                    <a:pt x="31461" y="54576"/>
                  </a:lnTo>
                  <a:lnTo>
                    <a:pt x="31419" y="54576"/>
                  </a:lnTo>
                  <a:lnTo>
                    <a:pt x="31419" y="54576"/>
                  </a:lnTo>
                  <a:lnTo>
                    <a:pt x="31419" y="54237"/>
                  </a:lnTo>
                  <a:lnTo>
                    <a:pt x="31419" y="54237"/>
                  </a:lnTo>
                  <a:lnTo>
                    <a:pt x="31419" y="54237"/>
                  </a:lnTo>
                  <a:lnTo>
                    <a:pt x="31377" y="54011"/>
                  </a:lnTo>
                  <a:lnTo>
                    <a:pt x="31377" y="53785"/>
                  </a:lnTo>
                  <a:lnTo>
                    <a:pt x="31377" y="53785"/>
                  </a:lnTo>
                  <a:lnTo>
                    <a:pt x="31314" y="53446"/>
                  </a:lnTo>
                  <a:lnTo>
                    <a:pt x="31314" y="53446"/>
                  </a:lnTo>
                  <a:lnTo>
                    <a:pt x="31230" y="53446"/>
                  </a:lnTo>
                  <a:lnTo>
                    <a:pt x="31230" y="53446"/>
                  </a:lnTo>
                  <a:lnTo>
                    <a:pt x="31230" y="53446"/>
                  </a:lnTo>
                  <a:lnTo>
                    <a:pt x="31125" y="53785"/>
                  </a:lnTo>
                  <a:lnTo>
                    <a:pt x="31125" y="53785"/>
                  </a:lnTo>
                  <a:lnTo>
                    <a:pt x="31125" y="53785"/>
                  </a:lnTo>
                  <a:lnTo>
                    <a:pt x="31083" y="53785"/>
                  </a:lnTo>
                  <a:lnTo>
                    <a:pt x="31083" y="53785"/>
                  </a:lnTo>
                  <a:lnTo>
                    <a:pt x="31083" y="53785"/>
                  </a:lnTo>
                  <a:lnTo>
                    <a:pt x="31083" y="53785"/>
                  </a:lnTo>
                  <a:lnTo>
                    <a:pt x="31083" y="53446"/>
                  </a:lnTo>
                  <a:lnTo>
                    <a:pt x="31125" y="53446"/>
                  </a:lnTo>
                  <a:lnTo>
                    <a:pt x="31125" y="53220"/>
                  </a:lnTo>
                  <a:lnTo>
                    <a:pt x="31125" y="53220"/>
                  </a:lnTo>
                  <a:lnTo>
                    <a:pt x="31125" y="53220"/>
                  </a:lnTo>
                  <a:lnTo>
                    <a:pt x="31125" y="53220"/>
                  </a:lnTo>
                  <a:lnTo>
                    <a:pt x="31125" y="52994"/>
                  </a:lnTo>
                  <a:lnTo>
                    <a:pt x="31125" y="52994"/>
                  </a:lnTo>
                  <a:lnTo>
                    <a:pt x="31125" y="52994"/>
                  </a:lnTo>
                  <a:lnTo>
                    <a:pt x="31125" y="52994"/>
                  </a:lnTo>
                  <a:lnTo>
                    <a:pt x="31125" y="52994"/>
                  </a:lnTo>
                  <a:lnTo>
                    <a:pt x="31125" y="52655"/>
                  </a:lnTo>
                  <a:lnTo>
                    <a:pt x="31083" y="52994"/>
                  </a:lnTo>
                  <a:lnTo>
                    <a:pt x="31019" y="52994"/>
                  </a:lnTo>
                  <a:lnTo>
                    <a:pt x="30977" y="53220"/>
                  </a:lnTo>
                  <a:lnTo>
                    <a:pt x="30977" y="53220"/>
                  </a:lnTo>
                  <a:lnTo>
                    <a:pt x="30935" y="53220"/>
                  </a:lnTo>
                  <a:lnTo>
                    <a:pt x="30935" y="53220"/>
                  </a:lnTo>
                  <a:lnTo>
                    <a:pt x="30872" y="53446"/>
                  </a:lnTo>
                  <a:lnTo>
                    <a:pt x="30830" y="53446"/>
                  </a:lnTo>
                  <a:lnTo>
                    <a:pt x="30767" y="53785"/>
                  </a:lnTo>
                  <a:lnTo>
                    <a:pt x="30725" y="53785"/>
                  </a:lnTo>
                  <a:lnTo>
                    <a:pt x="30683" y="53785"/>
                  </a:lnTo>
                  <a:lnTo>
                    <a:pt x="30578" y="53785"/>
                  </a:lnTo>
                  <a:lnTo>
                    <a:pt x="30536" y="54011"/>
                  </a:lnTo>
                  <a:lnTo>
                    <a:pt x="30473" y="54237"/>
                  </a:lnTo>
                  <a:lnTo>
                    <a:pt x="30389" y="54237"/>
                  </a:lnTo>
                  <a:lnTo>
                    <a:pt x="30325" y="54237"/>
                  </a:lnTo>
                  <a:lnTo>
                    <a:pt x="30325" y="54237"/>
                  </a:lnTo>
                  <a:lnTo>
                    <a:pt x="30283" y="54237"/>
                  </a:lnTo>
                  <a:lnTo>
                    <a:pt x="30283" y="54011"/>
                  </a:lnTo>
                  <a:lnTo>
                    <a:pt x="30283" y="54011"/>
                  </a:lnTo>
                  <a:lnTo>
                    <a:pt x="30283" y="54011"/>
                  </a:lnTo>
                  <a:lnTo>
                    <a:pt x="30283" y="54011"/>
                  </a:lnTo>
                  <a:lnTo>
                    <a:pt x="30241" y="54237"/>
                  </a:lnTo>
                  <a:lnTo>
                    <a:pt x="30178" y="54237"/>
                  </a:lnTo>
                  <a:lnTo>
                    <a:pt x="30178" y="54237"/>
                  </a:lnTo>
                  <a:lnTo>
                    <a:pt x="30241" y="54011"/>
                  </a:lnTo>
                  <a:lnTo>
                    <a:pt x="30241" y="54011"/>
                  </a:lnTo>
                  <a:lnTo>
                    <a:pt x="30241" y="54011"/>
                  </a:lnTo>
                  <a:lnTo>
                    <a:pt x="30283" y="53785"/>
                  </a:lnTo>
                  <a:lnTo>
                    <a:pt x="30283" y="53785"/>
                  </a:lnTo>
                  <a:lnTo>
                    <a:pt x="30325" y="53446"/>
                  </a:lnTo>
                  <a:lnTo>
                    <a:pt x="30325" y="53446"/>
                  </a:lnTo>
                  <a:lnTo>
                    <a:pt x="30283" y="53446"/>
                  </a:lnTo>
                  <a:lnTo>
                    <a:pt x="30283" y="53446"/>
                  </a:lnTo>
                  <a:lnTo>
                    <a:pt x="30283" y="53446"/>
                  </a:lnTo>
                  <a:lnTo>
                    <a:pt x="30178" y="53785"/>
                  </a:lnTo>
                  <a:lnTo>
                    <a:pt x="30178" y="53785"/>
                  </a:lnTo>
                  <a:lnTo>
                    <a:pt x="30136" y="53446"/>
                  </a:lnTo>
                  <a:lnTo>
                    <a:pt x="30136" y="53446"/>
                  </a:lnTo>
                  <a:lnTo>
                    <a:pt x="30073" y="53785"/>
                  </a:lnTo>
                  <a:lnTo>
                    <a:pt x="30031" y="54011"/>
                  </a:lnTo>
                  <a:lnTo>
                    <a:pt x="29884" y="54011"/>
                  </a:lnTo>
                  <a:lnTo>
                    <a:pt x="29884" y="54011"/>
                  </a:lnTo>
                  <a:lnTo>
                    <a:pt x="29842" y="54011"/>
                  </a:lnTo>
                  <a:lnTo>
                    <a:pt x="29842" y="54011"/>
                  </a:lnTo>
                  <a:lnTo>
                    <a:pt x="29842" y="54011"/>
                  </a:lnTo>
                  <a:lnTo>
                    <a:pt x="29842" y="53785"/>
                  </a:lnTo>
                  <a:lnTo>
                    <a:pt x="29842" y="53785"/>
                  </a:lnTo>
                  <a:lnTo>
                    <a:pt x="30031" y="53220"/>
                  </a:lnTo>
                  <a:lnTo>
                    <a:pt x="30178" y="52994"/>
                  </a:lnTo>
                  <a:lnTo>
                    <a:pt x="30389" y="52203"/>
                  </a:lnTo>
                  <a:lnTo>
                    <a:pt x="30431" y="51864"/>
                  </a:lnTo>
                  <a:lnTo>
                    <a:pt x="30536" y="51638"/>
                  </a:lnTo>
                  <a:lnTo>
                    <a:pt x="30683" y="51638"/>
                  </a:lnTo>
                  <a:lnTo>
                    <a:pt x="30767" y="51299"/>
                  </a:lnTo>
                  <a:lnTo>
                    <a:pt x="30872" y="51299"/>
                  </a:lnTo>
                  <a:lnTo>
                    <a:pt x="30935" y="51073"/>
                  </a:lnTo>
                  <a:lnTo>
                    <a:pt x="30935" y="51073"/>
                  </a:lnTo>
                  <a:lnTo>
                    <a:pt x="30935" y="51073"/>
                  </a:lnTo>
                  <a:lnTo>
                    <a:pt x="30977" y="51073"/>
                  </a:lnTo>
                  <a:lnTo>
                    <a:pt x="30977" y="51073"/>
                  </a:lnTo>
                  <a:lnTo>
                    <a:pt x="30872" y="51073"/>
                  </a:lnTo>
                  <a:lnTo>
                    <a:pt x="30830" y="51073"/>
                  </a:lnTo>
                  <a:lnTo>
                    <a:pt x="30830" y="51073"/>
                  </a:lnTo>
                  <a:lnTo>
                    <a:pt x="30830" y="50847"/>
                  </a:lnTo>
                  <a:lnTo>
                    <a:pt x="30830" y="50847"/>
                  </a:lnTo>
                  <a:lnTo>
                    <a:pt x="30725" y="50847"/>
                  </a:lnTo>
                  <a:lnTo>
                    <a:pt x="30620" y="50847"/>
                  </a:lnTo>
                  <a:lnTo>
                    <a:pt x="30578" y="50847"/>
                  </a:lnTo>
                  <a:lnTo>
                    <a:pt x="30578" y="50847"/>
                  </a:lnTo>
                  <a:lnTo>
                    <a:pt x="30578" y="50508"/>
                  </a:lnTo>
                  <a:lnTo>
                    <a:pt x="30536" y="50508"/>
                  </a:lnTo>
                  <a:lnTo>
                    <a:pt x="30473" y="50508"/>
                  </a:lnTo>
                  <a:lnTo>
                    <a:pt x="30431" y="50847"/>
                  </a:lnTo>
                  <a:lnTo>
                    <a:pt x="30325" y="50847"/>
                  </a:lnTo>
                  <a:lnTo>
                    <a:pt x="30325" y="50847"/>
                  </a:lnTo>
                  <a:lnTo>
                    <a:pt x="30283" y="50847"/>
                  </a:lnTo>
                  <a:lnTo>
                    <a:pt x="30241" y="50508"/>
                  </a:lnTo>
                  <a:lnTo>
                    <a:pt x="30178" y="50282"/>
                  </a:lnTo>
                  <a:lnTo>
                    <a:pt x="30136" y="50282"/>
                  </a:lnTo>
                  <a:lnTo>
                    <a:pt x="30073" y="50282"/>
                  </a:lnTo>
                  <a:lnTo>
                    <a:pt x="30073" y="50282"/>
                  </a:lnTo>
                  <a:lnTo>
                    <a:pt x="30031" y="50282"/>
                  </a:lnTo>
                  <a:lnTo>
                    <a:pt x="30031" y="50282"/>
                  </a:lnTo>
                  <a:lnTo>
                    <a:pt x="30031" y="50056"/>
                  </a:lnTo>
                  <a:lnTo>
                    <a:pt x="30031" y="50056"/>
                  </a:lnTo>
                  <a:lnTo>
                    <a:pt x="29989" y="49717"/>
                  </a:lnTo>
                  <a:lnTo>
                    <a:pt x="29989" y="49717"/>
                  </a:lnTo>
                  <a:lnTo>
                    <a:pt x="29926" y="49491"/>
                  </a:lnTo>
                  <a:lnTo>
                    <a:pt x="29926" y="49491"/>
                  </a:lnTo>
                  <a:lnTo>
                    <a:pt x="29884" y="49491"/>
                  </a:lnTo>
                  <a:lnTo>
                    <a:pt x="29842" y="49491"/>
                  </a:lnTo>
                  <a:lnTo>
                    <a:pt x="29779" y="49491"/>
                  </a:lnTo>
                  <a:lnTo>
                    <a:pt x="29737" y="49717"/>
                  </a:lnTo>
                  <a:lnTo>
                    <a:pt x="29737" y="49717"/>
                  </a:lnTo>
                  <a:lnTo>
                    <a:pt x="29695" y="49717"/>
                  </a:lnTo>
                  <a:lnTo>
                    <a:pt x="29631" y="49717"/>
                  </a:lnTo>
                  <a:lnTo>
                    <a:pt x="29631" y="49491"/>
                  </a:lnTo>
                  <a:lnTo>
                    <a:pt x="29589" y="49491"/>
                  </a:lnTo>
                  <a:lnTo>
                    <a:pt x="29484" y="49491"/>
                  </a:lnTo>
                  <a:lnTo>
                    <a:pt x="29379" y="49152"/>
                  </a:lnTo>
                  <a:lnTo>
                    <a:pt x="29379" y="49152"/>
                  </a:lnTo>
                  <a:lnTo>
                    <a:pt x="29379" y="49152"/>
                  </a:lnTo>
                  <a:lnTo>
                    <a:pt x="29379" y="48926"/>
                  </a:lnTo>
                  <a:lnTo>
                    <a:pt x="29379" y="48926"/>
                  </a:lnTo>
                  <a:lnTo>
                    <a:pt x="29379" y="48700"/>
                  </a:lnTo>
                  <a:lnTo>
                    <a:pt x="29442" y="48361"/>
                  </a:lnTo>
                  <a:lnTo>
                    <a:pt x="29442" y="48135"/>
                  </a:lnTo>
                  <a:lnTo>
                    <a:pt x="29442" y="47909"/>
                  </a:lnTo>
                  <a:lnTo>
                    <a:pt x="29442" y="47909"/>
                  </a:lnTo>
                  <a:lnTo>
                    <a:pt x="29442" y="47909"/>
                  </a:lnTo>
                  <a:lnTo>
                    <a:pt x="29379" y="47909"/>
                  </a:lnTo>
                  <a:lnTo>
                    <a:pt x="29337" y="48135"/>
                  </a:lnTo>
                  <a:lnTo>
                    <a:pt x="29295" y="48700"/>
                  </a:lnTo>
                  <a:lnTo>
                    <a:pt x="29190" y="48700"/>
                  </a:lnTo>
                  <a:lnTo>
                    <a:pt x="28054" y="48700"/>
                  </a:lnTo>
                  <a:lnTo>
                    <a:pt x="27907" y="48700"/>
                  </a:lnTo>
                  <a:lnTo>
                    <a:pt x="24542" y="48700"/>
                  </a:lnTo>
                  <a:lnTo>
                    <a:pt x="24374" y="48700"/>
                  </a:lnTo>
                  <a:lnTo>
                    <a:pt x="21072" y="48700"/>
                  </a:lnTo>
                  <a:lnTo>
                    <a:pt x="20904" y="48700"/>
                  </a:lnTo>
                  <a:lnTo>
                    <a:pt x="19831" y="48700"/>
                  </a:lnTo>
                  <a:lnTo>
                    <a:pt x="19831" y="48926"/>
                  </a:lnTo>
                  <a:lnTo>
                    <a:pt x="19831" y="49152"/>
                  </a:lnTo>
                  <a:lnTo>
                    <a:pt x="19831" y="49152"/>
                  </a:lnTo>
                  <a:lnTo>
                    <a:pt x="19831" y="49152"/>
                  </a:lnTo>
                  <a:lnTo>
                    <a:pt x="19831" y="49152"/>
                  </a:lnTo>
                  <a:lnTo>
                    <a:pt x="19873" y="49152"/>
                  </a:lnTo>
                  <a:lnTo>
                    <a:pt x="19873" y="49152"/>
                  </a:lnTo>
                  <a:lnTo>
                    <a:pt x="19831" y="49491"/>
                  </a:lnTo>
                  <a:lnTo>
                    <a:pt x="19831" y="49717"/>
                  </a:lnTo>
                  <a:lnTo>
                    <a:pt x="19831" y="49717"/>
                  </a:lnTo>
                  <a:lnTo>
                    <a:pt x="19768" y="49717"/>
                  </a:lnTo>
                  <a:lnTo>
                    <a:pt x="19768" y="49717"/>
                  </a:lnTo>
                  <a:lnTo>
                    <a:pt x="19726" y="49717"/>
                  </a:lnTo>
                  <a:lnTo>
                    <a:pt x="19726" y="49717"/>
                  </a:lnTo>
                  <a:lnTo>
                    <a:pt x="19726" y="50056"/>
                  </a:lnTo>
                  <a:lnTo>
                    <a:pt x="19726" y="50056"/>
                  </a:lnTo>
                  <a:lnTo>
                    <a:pt x="19726" y="50056"/>
                  </a:lnTo>
                  <a:lnTo>
                    <a:pt x="19726" y="50056"/>
                  </a:lnTo>
                  <a:lnTo>
                    <a:pt x="19726" y="50056"/>
                  </a:lnTo>
                  <a:lnTo>
                    <a:pt x="19768" y="50056"/>
                  </a:lnTo>
                  <a:lnTo>
                    <a:pt x="19768" y="50282"/>
                  </a:lnTo>
                  <a:lnTo>
                    <a:pt x="19768" y="50282"/>
                  </a:lnTo>
                  <a:lnTo>
                    <a:pt x="19726" y="50508"/>
                  </a:lnTo>
                  <a:lnTo>
                    <a:pt x="19726" y="50508"/>
                  </a:lnTo>
                  <a:lnTo>
                    <a:pt x="19684" y="50508"/>
                  </a:lnTo>
                  <a:lnTo>
                    <a:pt x="19684" y="50508"/>
                  </a:lnTo>
                  <a:lnTo>
                    <a:pt x="19684" y="50847"/>
                  </a:lnTo>
                  <a:lnTo>
                    <a:pt x="19726" y="50847"/>
                  </a:lnTo>
                  <a:lnTo>
                    <a:pt x="19726" y="50847"/>
                  </a:lnTo>
                  <a:lnTo>
                    <a:pt x="19726" y="50508"/>
                  </a:lnTo>
                  <a:lnTo>
                    <a:pt x="19726" y="50508"/>
                  </a:lnTo>
                  <a:lnTo>
                    <a:pt x="19726" y="50508"/>
                  </a:lnTo>
                  <a:lnTo>
                    <a:pt x="19726" y="50847"/>
                  </a:lnTo>
                  <a:lnTo>
                    <a:pt x="19726" y="50847"/>
                  </a:lnTo>
                  <a:lnTo>
                    <a:pt x="19726" y="50847"/>
                  </a:lnTo>
                  <a:lnTo>
                    <a:pt x="19726" y="51073"/>
                  </a:lnTo>
                  <a:lnTo>
                    <a:pt x="19684" y="51073"/>
                  </a:lnTo>
                  <a:lnTo>
                    <a:pt x="19684" y="51299"/>
                  </a:lnTo>
                  <a:lnTo>
                    <a:pt x="19621" y="51299"/>
                  </a:lnTo>
                  <a:lnTo>
                    <a:pt x="19621" y="51638"/>
                  </a:lnTo>
                  <a:lnTo>
                    <a:pt x="19621" y="51638"/>
                  </a:lnTo>
                  <a:lnTo>
                    <a:pt x="19579" y="51638"/>
                  </a:lnTo>
                  <a:lnTo>
                    <a:pt x="19579" y="51864"/>
                  </a:lnTo>
                  <a:lnTo>
                    <a:pt x="19579" y="51864"/>
                  </a:lnTo>
                  <a:lnTo>
                    <a:pt x="19579" y="51864"/>
                  </a:lnTo>
                  <a:lnTo>
                    <a:pt x="19579" y="51864"/>
                  </a:lnTo>
                  <a:lnTo>
                    <a:pt x="19516" y="52203"/>
                  </a:lnTo>
                  <a:lnTo>
                    <a:pt x="19516" y="52429"/>
                  </a:lnTo>
                  <a:lnTo>
                    <a:pt x="19516" y="52429"/>
                  </a:lnTo>
                  <a:lnTo>
                    <a:pt x="19474" y="52655"/>
                  </a:lnTo>
                  <a:lnTo>
                    <a:pt x="19432" y="52655"/>
                  </a:lnTo>
                  <a:lnTo>
                    <a:pt x="19432" y="52655"/>
                  </a:lnTo>
                  <a:lnTo>
                    <a:pt x="19432" y="52655"/>
                  </a:lnTo>
                  <a:lnTo>
                    <a:pt x="19369" y="52994"/>
                  </a:lnTo>
                  <a:lnTo>
                    <a:pt x="19327" y="52994"/>
                  </a:lnTo>
                  <a:lnTo>
                    <a:pt x="19327" y="53220"/>
                  </a:lnTo>
                  <a:lnTo>
                    <a:pt x="19284" y="53220"/>
                  </a:lnTo>
                  <a:lnTo>
                    <a:pt x="19284" y="52994"/>
                  </a:lnTo>
                  <a:lnTo>
                    <a:pt x="19221" y="52994"/>
                  </a:lnTo>
                  <a:lnTo>
                    <a:pt x="19179" y="52994"/>
                  </a:lnTo>
                  <a:lnTo>
                    <a:pt x="19221" y="52994"/>
                  </a:lnTo>
                  <a:lnTo>
                    <a:pt x="19284" y="52655"/>
                  </a:lnTo>
                  <a:lnTo>
                    <a:pt x="19284" y="52655"/>
                  </a:lnTo>
                  <a:lnTo>
                    <a:pt x="19327" y="52655"/>
                  </a:lnTo>
                  <a:lnTo>
                    <a:pt x="19327" y="52655"/>
                  </a:lnTo>
                  <a:lnTo>
                    <a:pt x="19327" y="52994"/>
                  </a:lnTo>
                  <a:lnTo>
                    <a:pt x="19327" y="52994"/>
                  </a:lnTo>
                  <a:lnTo>
                    <a:pt x="19369" y="52655"/>
                  </a:lnTo>
                  <a:lnTo>
                    <a:pt x="19369" y="52655"/>
                  </a:lnTo>
                  <a:lnTo>
                    <a:pt x="19369" y="52655"/>
                  </a:lnTo>
                  <a:lnTo>
                    <a:pt x="19369" y="52655"/>
                  </a:lnTo>
                  <a:lnTo>
                    <a:pt x="19432" y="52655"/>
                  </a:lnTo>
                  <a:lnTo>
                    <a:pt x="19432" y="52429"/>
                  </a:lnTo>
                  <a:lnTo>
                    <a:pt x="19474" y="52203"/>
                  </a:lnTo>
                  <a:lnTo>
                    <a:pt x="19474" y="52203"/>
                  </a:lnTo>
                  <a:lnTo>
                    <a:pt x="19474" y="51864"/>
                  </a:lnTo>
                  <a:lnTo>
                    <a:pt x="19474" y="51864"/>
                  </a:lnTo>
                  <a:lnTo>
                    <a:pt x="19474" y="51864"/>
                  </a:lnTo>
                  <a:lnTo>
                    <a:pt x="19474" y="51864"/>
                  </a:lnTo>
                  <a:lnTo>
                    <a:pt x="19516" y="51638"/>
                  </a:lnTo>
                  <a:lnTo>
                    <a:pt x="19516" y="51638"/>
                  </a:lnTo>
                  <a:lnTo>
                    <a:pt x="19579" y="51638"/>
                  </a:lnTo>
                  <a:lnTo>
                    <a:pt x="19579" y="51299"/>
                  </a:lnTo>
                  <a:lnTo>
                    <a:pt x="19621" y="51073"/>
                  </a:lnTo>
                  <a:lnTo>
                    <a:pt x="19579" y="51073"/>
                  </a:lnTo>
                  <a:lnTo>
                    <a:pt x="19579" y="51073"/>
                  </a:lnTo>
                  <a:lnTo>
                    <a:pt x="19579" y="51299"/>
                  </a:lnTo>
                  <a:lnTo>
                    <a:pt x="19579" y="51299"/>
                  </a:lnTo>
                  <a:lnTo>
                    <a:pt x="19474" y="51638"/>
                  </a:lnTo>
                  <a:lnTo>
                    <a:pt x="19474" y="51638"/>
                  </a:lnTo>
                  <a:lnTo>
                    <a:pt x="19432" y="51864"/>
                  </a:lnTo>
                  <a:lnTo>
                    <a:pt x="19369" y="51864"/>
                  </a:lnTo>
                  <a:lnTo>
                    <a:pt x="19327" y="52203"/>
                  </a:lnTo>
                  <a:lnTo>
                    <a:pt x="19284" y="52203"/>
                  </a:lnTo>
                  <a:lnTo>
                    <a:pt x="19284" y="52429"/>
                  </a:lnTo>
                  <a:lnTo>
                    <a:pt x="19284" y="52429"/>
                  </a:lnTo>
                  <a:lnTo>
                    <a:pt x="19284" y="52429"/>
                  </a:lnTo>
                  <a:lnTo>
                    <a:pt x="19327" y="52429"/>
                  </a:lnTo>
                  <a:lnTo>
                    <a:pt x="19327" y="52429"/>
                  </a:lnTo>
                  <a:lnTo>
                    <a:pt x="19284" y="52429"/>
                  </a:lnTo>
                  <a:lnTo>
                    <a:pt x="19221" y="52429"/>
                  </a:lnTo>
                  <a:lnTo>
                    <a:pt x="19221" y="52429"/>
                  </a:lnTo>
                  <a:lnTo>
                    <a:pt x="19221" y="52429"/>
                  </a:lnTo>
                  <a:lnTo>
                    <a:pt x="19284" y="52429"/>
                  </a:lnTo>
                  <a:lnTo>
                    <a:pt x="19327" y="52203"/>
                  </a:lnTo>
                  <a:lnTo>
                    <a:pt x="19474" y="51638"/>
                  </a:lnTo>
                  <a:lnTo>
                    <a:pt x="19474" y="51638"/>
                  </a:lnTo>
                  <a:lnTo>
                    <a:pt x="19474" y="51638"/>
                  </a:lnTo>
                  <a:lnTo>
                    <a:pt x="19474" y="51638"/>
                  </a:lnTo>
                  <a:lnTo>
                    <a:pt x="19516" y="51299"/>
                  </a:lnTo>
                  <a:lnTo>
                    <a:pt x="19579" y="51073"/>
                  </a:lnTo>
                  <a:lnTo>
                    <a:pt x="19579" y="51073"/>
                  </a:lnTo>
                  <a:lnTo>
                    <a:pt x="19579" y="50847"/>
                  </a:lnTo>
                  <a:lnTo>
                    <a:pt x="19579" y="50847"/>
                  </a:lnTo>
                  <a:lnTo>
                    <a:pt x="19579" y="50847"/>
                  </a:lnTo>
                  <a:lnTo>
                    <a:pt x="19516" y="50847"/>
                  </a:lnTo>
                  <a:lnTo>
                    <a:pt x="19516" y="50847"/>
                  </a:lnTo>
                  <a:lnTo>
                    <a:pt x="19474" y="50847"/>
                  </a:lnTo>
                  <a:lnTo>
                    <a:pt x="19474" y="50847"/>
                  </a:lnTo>
                  <a:lnTo>
                    <a:pt x="19474" y="50508"/>
                  </a:lnTo>
                  <a:lnTo>
                    <a:pt x="19474" y="50508"/>
                  </a:lnTo>
                  <a:lnTo>
                    <a:pt x="19432" y="50847"/>
                  </a:lnTo>
                  <a:lnTo>
                    <a:pt x="19369" y="50847"/>
                  </a:lnTo>
                  <a:lnTo>
                    <a:pt x="19179" y="50508"/>
                  </a:lnTo>
                  <a:lnTo>
                    <a:pt x="19137" y="50508"/>
                  </a:lnTo>
                  <a:lnTo>
                    <a:pt x="19137" y="50508"/>
                  </a:lnTo>
                  <a:lnTo>
                    <a:pt x="19074" y="50282"/>
                  </a:lnTo>
                  <a:lnTo>
                    <a:pt x="19032" y="50056"/>
                  </a:lnTo>
                  <a:lnTo>
                    <a:pt x="18990" y="50056"/>
                  </a:lnTo>
                  <a:lnTo>
                    <a:pt x="18990" y="50282"/>
                  </a:lnTo>
                  <a:lnTo>
                    <a:pt x="18927" y="50508"/>
                  </a:lnTo>
                  <a:lnTo>
                    <a:pt x="18885" y="51073"/>
                  </a:lnTo>
                  <a:lnTo>
                    <a:pt x="18885" y="51299"/>
                  </a:lnTo>
                  <a:lnTo>
                    <a:pt x="18885" y="51638"/>
                  </a:lnTo>
                  <a:lnTo>
                    <a:pt x="18885" y="51864"/>
                  </a:lnTo>
                  <a:lnTo>
                    <a:pt x="18822" y="52429"/>
                  </a:lnTo>
                  <a:lnTo>
                    <a:pt x="18822" y="52994"/>
                  </a:lnTo>
                  <a:lnTo>
                    <a:pt x="18780" y="53220"/>
                  </a:lnTo>
                  <a:lnTo>
                    <a:pt x="18780" y="53220"/>
                  </a:lnTo>
                  <a:lnTo>
                    <a:pt x="18780" y="53446"/>
                  </a:lnTo>
                  <a:lnTo>
                    <a:pt x="18780" y="53220"/>
                  </a:lnTo>
                  <a:lnTo>
                    <a:pt x="18780" y="53220"/>
                  </a:lnTo>
                  <a:lnTo>
                    <a:pt x="18822" y="53220"/>
                  </a:lnTo>
                  <a:lnTo>
                    <a:pt x="18822" y="53446"/>
                  </a:lnTo>
                  <a:lnTo>
                    <a:pt x="18885" y="53446"/>
                  </a:lnTo>
                  <a:lnTo>
                    <a:pt x="18738" y="53785"/>
                  </a:lnTo>
                  <a:lnTo>
                    <a:pt x="18738" y="54011"/>
                  </a:lnTo>
                  <a:lnTo>
                    <a:pt x="18738" y="54011"/>
                  </a:lnTo>
                  <a:lnTo>
                    <a:pt x="18780" y="54011"/>
                  </a:lnTo>
                  <a:lnTo>
                    <a:pt x="18738" y="54576"/>
                  </a:lnTo>
                  <a:lnTo>
                    <a:pt x="18675" y="54576"/>
                  </a:lnTo>
                  <a:lnTo>
                    <a:pt x="18675" y="54576"/>
                  </a:lnTo>
                  <a:lnTo>
                    <a:pt x="18675" y="54237"/>
                  </a:lnTo>
                  <a:lnTo>
                    <a:pt x="18675" y="54576"/>
                  </a:lnTo>
                  <a:lnTo>
                    <a:pt x="18633" y="54802"/>
                  </a:lnTo>
                  <a:lnTo>
                    <a:pt x="18590" y="55141"/>
                  </a:lnTo>
                  <a:lnTo>
                    <a:pt x="18633" y="55141"/>
                  </a:lnTo>
                  <a:lnTo>
                    <a:pt x="18633" y="55141"/>
                  </a:lnTo>
                  <a:lnTo>
                    <a:pt x="18738" y="55141"/>
                  </a:lnTo>
                  <a:lnTo>
                    <a:pt x="18738" y="55141"/>
                  </a:lnTo>
                  <a:lnTo>
                    <a:pt x="18780" y="55141"/>
                  </a:lnTo>
                  <a:lnTo>
                    <a:pt x="18780" y="55141"/>
                  </a:lnTo>
                  <a:lnTo>
                    <a:pt x="18822" y="55367"/>
                  </a:lnTo>
                  <a:lnTo>
                    <a:pt x="18822" y="55367"/>
                  </a:lnTo>
                  <a:lnTo>
                    <a:pt x="18822" y="55367"/>
                  </a:lnTo>
                  <a:lnTo>
                    <a:pt x="18822" y="55367"/>
                  </a:lnTo>
                  <a:lnTo>
                    <a:pt x="18780" y="55367"/>
                  </a:lnTo>
                  <a:lnTo>
                    <a:pt x="18780" y="55141"/>
                  </a:lnTo>
                  <a:lnTo>
                    <a:pt x="18780" y="55141"/>
                  </a:lnTo>
                  <a:lnTo>
                    <a:pt x="18675" y="55367"/>
                  </a:lnTo>
                  <a:lnTo>
                    <a:pt x="18633" y="55367"/>
                  </a:lnTo>
                  <a:lnTo>
                    <a:pt x="18633" y="55141"/>
                  </a:lnTo>
                  <a:lnTo>
                    <a:pt x="18590" y="55141"/>
                  </a:lnTo>
                  <a:lnTo>
                    <a:pt x="18590" y="55367"/>
                  </a:lnTo>
                  <a:lnTo>
                    <a:pt x="18590" y="55367"/>
                  </a:lnTo>
                  <a:lnTo>
                    <a:pt x="18485" y="56158"/>
                  </a:lnTo>
                  <a:lnTo>
                    <a:pt x="18443" y="56723"/>
                  </a:lnTo>
                  <a:lnTo>
                    <a:pt x="18380" y="56949"/>
                  </a:lnTo>
                  <a:lnTo>
                    <a:pt x="18380" y="56949"/>
                  </a:lnTo>
                  <a:lnTo>
                    <a:pt x="18191" y="58870"/>
                  </a:lnTo>
                  <a:lnTo>
                    <a:pt x="18149" y="59096"/>
                  </a:lnTo>
                  <a:lnTo>
                    <a:pt x="18086" y="59322"/>
                  </a:lnTo>
                  <a:lnTo>
                    <a:pt x="18086" y="59661"/>
                  </a:lnTo>
                  <a:lnTo>
                    <a:pt x="18044" y="59661"/>
                  </a:lnTo>
                  <a:lnTo>
                    <a:pt x="17939" y="60451"/>
                  </a:lnTo>
                  <a:lnTo>
                    <a:pt x="17833" y="61242"/>
                  </a:lnTo>
                  <a:lnTo>
                    <a:pt x="17791" y="61242"/>
                  </a:lnTo>
                  <a:lnTo>
                    <a:pt x="17749" y="61468"/>
                  </a:lnTo>
                  <a:lnTo>
                    <a:pt x="17686" y="61807"/>
                  </a:lnTo>
                  <a:lnTo>
                    <a:pt x="17749" y="61807"/>
                  </a:lnTo>
                  <a:lnTo>
                    <a:pt x="17749" y="61807"/>
                  </a:lnTo>
                  <a:lnTo>
                    <a:pt x="17686" y="62033"/>
                  </a:lnTo>
                  <a:lnTo>
                    <a:pt x="17686" y="62033"/>
                  </a:lnTo>
                  <a:lnTo>
                    <a:pt x="17644" y="62033"/>
                  </a:lnTo>
                  <a:lnTo>
                    <a:pt x="17539" y="62824"/>
                  </a:lnTo>
                  <a:lnTo>
                    <a:pt x="17497" y="62824"/>
                  </a:lnTo>
                  <a:lnTo>
                    <a:pt x="17455" y="63389"/>
                  </a:lnTo>
                  <a:lnTo>
                    <a:pt x="17455" y="63615"/>
                  </a:lnTo>
                  <a:lnTo>
                    <a:pt x="17455" y="63615"/>
                  </a:lnTo>
                  <a:lnTo>
                    <a:pt x="17392" y="64180"/>
                  </a:lnTo>
                  <a:lnTo>
                    <a:pt x="17350" y="64406"/>
                  </a:lnTo>
                  <a:lnTo>
                    <a:pt x="17350" y="64745"/>
                  </a:lnTo>
                  <a:lnTo>
                    <a:pt x="17350" y="65197"/>
                  </a:lnTo>
                  <a:lnTo>
                    <a:pt x="17287" y="65197"/>
                  </a:lnTo>
                  <a:lnTo>
                    <a:pt x="17287" y="65536"/>
                  </a:lnTo>
                  <a:lnTo>
                    <a:pt x="17287" y="65762"/>
                  </a:lnTo>
                  <a:lnTo>
                    <a:pt x="17287" y="65988"/>
                  </a:lnTo>
                  <a:lnTo>
                    <a:pt x="17245" y="66327"/>
                  </a:lnTo>
                  <a:lnTo>
                    <a:pt x="17245" y="66553"/>
                  </a:lnTo>
                  <a:lnTo>
                    <a:pt x="17139" y="67118"/>
                  </a:lnTo>
                  <a:lnTo>
                    <a:pt x="17097" y="67344"/>
                  </a:lnTo>
                  <a:lnTo>
                    <a:pt x="17055" y="67909"/>
                  </a:lnTo>
                  <a:lnTo>
                    <a:pt x="17055" y="67909"/>
                  </a:lnTo>
                  <a:lnTo>
                    <a:pt x="17055" y="67909"/>
                  </a:lnTo>
                  <a:lnTo>
                    <a:pt x="17055" y="67909"/>
                  </a:lnTo>
                  <a:lnTo>
                    <a:pt x="16992" y="67909"/>
                  </a:lnTo>
                  <a:lnTo>
                    <a:pt x="16992" y="68135"/>
                  </a:lnTo>
                  <a:lnTo>
                    <a:pt x="16992" y="68135"/>
                  </a:lnTo>
                  <a:lnTo>
                    <a:pt x="16992" y="68135"/>
                  </a:lnTo>
                  <a:lnTo>
                    <a:pt x="16992" y="68135"/>
                  </a:lnTo>
                  <a:lnTo>
                    <a:pt x="16992" y="68135"/>
                  </a:lnTo>
                  <a:lnTo>
                    <a:pt x="16950" y="68474"/>
                  </a:lnTo>
                  <a:lnTo>
                    <a:pt x="16908" y="68700"/>
                  </a:lnTo>
                  <a:lnTo>
                    <a:pt x="16845" y="68926"/>
                  </a:lnTo>
                  <a:lnTo>
                    <a:pt x="16845" y="69265"/>
                  </a:lnTo>
                  <a:lnTo>
                    <a:pt x="16908" y="69491"/>
                  </a:lnTo>
                  <a:lnTo>
                    <a:pt x="16908" y="70056"/>
                  </a:lnTo>
                  <a:lnTo>
                    <a:pt x="16908" y="70056"/>
                  </a:lnTo>
                  <a:lnTo>
                    <a:pt x="16908" y="70621"/>
                  </a:lnTo>
                  <a:lnTo>
                    <a:pt x="16845" y="70847"/>
                  </a:lnTo>
                  <a:lnTo>
                    <a:pt x="16803" y="71073"/>
                  </a:lnTo>
                  <a:lnTo>
                    <a:pt x="16803" y="71638"/>
                  </a:lnTo>
                  <a:lnTo>
                    <a:pt x="16761" y="72203"/>
                  </a:lnTo>
                  <a:lnTo>
                    <a:pt x="16803" y="72768"/>
                  </a:lnTo>
                  <a:lnTo>
                    <a:pt x="16803" y="72994"/>
                  </a:lnTo>
                  <a:lnTo>
                    <a:pt x="16845" y="73220"/>
                  </a:lnTo>
                  <a:lnTo>
                    <a:pt x="16845" y="73785"/>
                  </a:lnTo>
                  <a:lnTo>
                    <a:pt x="16845" y="73785"/>
                  </a:lnTo>
                  <a:lnTo>
                    <a:pt x="16908" y="74011"/>
                  </a:lnTo>
                  <a:lnTo>
                    <a:pt x="16845" y="74011"/>
                  </a:lnTo>
                  <a:lnTo>
                    <a:pt x="16845" y="73785"/>
                  </a:lnTo>
                  <a:lnTo>
                    <a:pt x="16845" y="74011"/>
                  </a:lnTo>
                  <a:lnTo>
                    <a:pt x="16803" y="74350"/>
                  </a:lnTo>
                  <a:lnTo>
                    <a:pt x="16803" y="74350"/>
                  </a:lnTo>
                  <a:lnTo>
                    <a:pt x="16845" y="74350"/>
                  </a:lnTo>
                  <a:lnTo>
                    <a:pt x="16845" y="74350"/>
                  </a:lnTo>
                  <a:lnTo>
                    <a:pt x="16908" y="74576"/>
                  </a:lnTo>
                  <a:lnTo>
                    <a:pt x="16908" y="74576"/>
                  </a:lnTo>
                  <a:lnTo>
                    <a:pt x="16908" y="74576"/>
                  </a:lnTo>
                  <a:lnTo>
                    <a:pt x="16950" y="74802"/>
                  </a:lnTo>
                  <a:lnTo>
                    <a:pt x="16950" y="74802"/>
                  </a:lnTo>
                  <a:lnTo>
                    <a:pt x="16992" y="74576"/>
                  </a:lnTo>
                  <a:lnTo>
                    <a:pt x="16992" y="74011"/>
                  </a:lnTo>
                  <a:lnTo>
                    <a:pt x="17055" y="74011"/>
                  </a:lnTo>
                  <a:lnTo>
                    <a:pt x="17055" y="74011"/>
                  </a:lnTo>
                  <a:lnTo>
                    <a:pt x="17097" y="74350"/>
                  </a:lnTo>
                  <a:lnTo>
                    <a:pt x="17139" y="74350"/>
                  </a:lnTo>
                  <a:lnTo>
                    <a:pt x="17202" y="74011"/>
                  </a:lnTo>
                  <a:lnTo>
                    <a:pt x="17202" y="74011"/>
                  </a:lnTo>
                  <a:lnTo>
                    <a:pt x="17202" y="74350"/>
                  </a:lnTo>
                  <a:lnTo>
                    <a:pt x="17245" y="74350"/>
                  </a:lnTo>
                  <a:lnTo>
                    <a:pt x="17287" y="74350"/>
                  </a:lnTo>
                  <a:lnTo>
                    <a:pt x="17287" y="74350"/>
                  </a:lnTo>
                  <a:lnTo>
                    <a:pt x="17287" y="74350"/>
                  </a:lnTo>
                  <a:lnTo>
                    <a:pt x="17350" y="74350"/>
                  </a:lnTo>
                  <a:lnTo>
                    <a:pt x="17350" y="74350"/>
                  </a:lnTo>
                  <a:lnTo>
                    <a:pt x="17287" y="74350"/>
                  </a:lnTo>
                  <a:lnTo>
                    <a:pt x="17287" y="74350"/>
                  </a:lnTo>
                  <a:lnTo>
                    <a:pt x="17139" y="74350"/>
                  </a:lnTo>
                  <a:lnTo>
                    <a:pt x="17097" y="74350"/>
                  </a:lnTo>
                  <a:lnTo>
                    <a:pt x="17055" y="74350"/>
                  </a:lnTo>
                  <a:lnTo>
                    <a:pt x="16992" y="74576"/>
                  </a:lnTo>
                  <a:lnTo>
                    <a:pt x="16992" y="74576"/>
                  </a:lnTo>
                  <a:lnTo>
                    <a:pt x="16992" y="74576"/>
                  </a:lnTo>
                  <a:lnTo>
                    <a:pt x="16992" y="74802"/>
                  </a:lnTo>
                  <a:lnTo>
                    <a:pt x="17055" y="75141"/>
                  </a:lnTo>
                  <a:lnTo>
                    <a:pt x="17055" y="75367"/>
                  </a:lnTo>
                  <a:lnTo>
                    <a:pt x="16992" y="75367"/>
                  </a:lnTo>
                  <a:lnTo>
                    <a:pt x="16992" y="75706"/>
                  </a:lnTo>
                  <a:lnTo>
                    <a:pt x="17055" y="75706"/>
                  </a:lnTo>
                  <a:lnTo>
                    <a:pt x="16992" y="75706"/>
                  </a:lnTo>
                  <a:lnTo>
                    <a:pt x="16992" y="75706"/>
                  </a:lnTo>
                  <a:lnTo>
                    <a:pt x="16992" y="75367"/>
                  </a:lnTo>
                  <a:lnTo>
                    <a:pt x="16950" y="75367"/>
                  </a:lnTo>
                  <a:lnTo>
                    <a:pt x="16950" y="75141"/>
                  </a:lnTo>
                  <a:lnTo>
                    <a:pt x="16950" y="75141"/>
                  </a:lnTo>
                  <a:lnTo>
                    <a:pt x="16992" y="74802"/>
                  </a:lnTo>
                  <a:lnTo>
                    <a:pt x="16950" y="74802"/>
                  </a:lnTo>
                  <a:lnTo>
                    <a:pt x="16950" y="74802"/>
                  </a:lnTo>
                  <a:lnTo>
                    <a:pt x="16908" y="75141"/>
                  </a:lnTo>
                  <a:lnTo>
                    <a:pt x="16908" y="75367"/>
                  </a:lnTo>
                  <a:lnTo>
                    <a:pt x="16908" y="75932"/>
                  </a:lnTo>
                  <a:lnTo>
                    <a:pt x="16845" y="76158"/>
                  </a:lnTo>
                  <a:lnTo>
                    <a:pt x="16908" y="76723"/>
                  </a:lnTo>
                  <a:lnTo>
                    <a:pt x="16992" y="76949"/>
                  </a:lnTo>
                  <a:lnTo>
                    <a:pt x="16992" y="77288"/>
                  </a:lnTo>
                  <a:lnTo>
                    <a:pt x="16992" y="77288"/>
                  </a:lnTo>
                  <a:lnTo>
                    <a:pt x="16950" y="77514"/>
                  </a:lnTo>
                  <a:lnTo>
                    <a:pt x="16950" y="77514"/>
                  </a:lnTo>
                  <a:lnTo>
                    <a:pt x="16908" y="77740"/>
                  </a:lnTo>
                  <a:lnTo>
                    <a:pt x="16845" y="78305"/>
                  </a:lnTo>
                  <a:lnTo>
                    <a:pt x="16845" y="78305"/>
                  </a:lnTo>
                  <a:lnTo>
                    <a:pt x="16908" y="78870"/>
                  </a:lnTo>
                  <a:lnTo>
                    <a:pt x="16908" y="79435"/>
                  </a:lnTo>
                  <a:lnTo>
                    <a:pt x="16908" y="79661"/>
                  </a:lnTo>
                  <a:lnTo>
                    <a:pt x="16950" y="79661"/>
                  </a:lnTo>
                  <a:lnTo>
                    <a:pt x="16950" y="79887"/>
                  </a:lnTo>
                  <a:lnTo>
                    <a:pt x="16950" y="80225"/>
                  </a:lnTo>
                  <a:lnTo>
                    <a:pt x="16992" y="80451"/>
                  </a:lnTo>
                  <a:lnTo>
                    <a:pt x="16992" y="80677"/>
                  </a:lnTo>
                  <a:lnTo>
                    <a:pt x="17055" y="80677"/>
                  </a:lnTo>
                  <a:lnTo>
                    <a:pt x="16992" y="81016"/>
                  </a:lnTo>
                  <a:lnTo>
                    <a:pt x="16992" y="81242"/>
                  </a:lnTo>
                  <a:lnTo>
                    <a:pt x="17055" y="81242"/>
                  </a:lnTo>
                  <a:lnTo>
                    <a:pt x="17055" y="81242"/>
                  </a:lnTo>
                  <a:lnTo>
                    <a:pt x="17055" y="81581"/>
                  </a:lnTo>
                  <a:lnTo>
                    <a:pt x="16992" y="81807"/>
                  </a:lnTo>
                  <a:lnTo>
                    <a:pt x="16992" y="82033"/>
                  </a:lnTo>
                  <a:lnTo>
                    <a:pt x="16992" y="82372"/>
                  </a:lnTo>
                  <a:lnTo>
                    <a:pt x="16992" y="82598"/>
                  </a:lnTo>
                  <a:lnTo>
                    <a:pt x="16950" y="82598"/>
                  </a:lnTo>
                  <a:lnTo>
                    <a:pt x="16992" y="82824"/>
                  </a:lnTo>
                  <a:lnTo>
                    <a:pt x="16992" y="82824"/>
                  </a:lnTo>
                  <a:lnTo>
                    <a:pt x="16992" y="82824"/>
                  </a:lnTo>
                  <a:lnTo>
                    <a:pt x="17097" y="82824"/>
                  </a:lnTo>
                  <a:lnTo>
                    <a:pt x="17139" y="82824"/>
                  </a:lnTo>
                  <a:lnTo>
                    <a:pt x="17202" y="83163"/>
                  </a:lnTo>
                  <a:lnTo>
                    <a:pt x="17245" y="83163"/>
                  </a:lnTo>
                  <a:lnTo>
                    <a:pt x="17287" y="83163"/>
                  </a:lnTo>
                  <a:lnTo>
                    <a:pt x="17350" y="83389"/>
                  </a:lnTo>
                  <a:lnTo>
                    <a:pt x="17392" y="83389"/>
                  </a:lnTo>
                  <a:lnTo>
                    <a:pt x="17392" y="83728"/>
                  </a:lnTo>
                  <a:lnTo>
                    <a:pt x="17392" y="83954"/>
                  </a:lnTo>
                  <a:lnTo>
                    <a:pt x="17497" y="83954"/>
                  </a:lnTo>
                  <a:lnTo>
                    <a:pt x="17602" y="83954"/>
                  </a:lnTo>
                  <a:lnTo>
                    <a:pt x="17644" y="83954"/>
                  </a:lnTo>
                  <a:lnTo>
                    <a:pt x="17644" y="84519"/>
                  </a:lnTo>
                  <a:lnTo>
                    <a:pt x="17644" y="84745"/>
                  </a:lnTo>
                  <a:lnTo>
                    <a:pt x="17644" y="84745"/>
                  </a:lnTo>
                  <a:lnTo>
                    <a:pt x="17686" y="84745"/>
                  </a:lnTo>
                  <a:lnTo>
                    <a:pt x="17686" y="84745"/>
                  </a:lnTo>
                  <a:lnTo>
                    <a:pt x="17749" y="84745"/>
                  </a:lnTo>
                  <a:lnTo>
                    <a:pt x="17749" y="84971"/>
                  </a:lnTo>
                  <a:lnTo>
                    <a:pt x="17791" y="85310"/>
                  </a:lnTo>
                  <a:lnTo>
                    <a:pt x="17896" y="85762"/>
                  </a:lnTo>
                  <a:lnTo>
                    <a:pt x="17896" y="86327"/>
                  </a:lnTo>
                  <a:lnTo>
                    <a:pt x="17896" y="86666"/>
                  </a:lnTo>
                  <a:lnTo>
                    <a:pt x="17896" y="86892"/>
                  </a:lnTo>
                  <a:lnTo>
                    <a:pt x="17896" y="86892"/>
                  </a:lnTo>
                  <a:lnTo>
                    <a:pt x="17833" y="87118"/>
                  </a:lnTo>
                  <a:lnTo>
                    <a:pt x="17896" y="87118"/>
                  </a:lnTo>
                  <a:lnTo>
                    <a:pt x="17896" y="87457"/>
                  </a:lnTo>
                  <a:lnTo>
                    <a:pt x="17896" y="87683"/>
                  </a:lnTo>
                  <a:lnTo>
                    <a:pt x="17896" y="87683"/>
                  </a:lnTo>
                  <a:lnTo>
                    <a:pt x="17981" y="87457"/>
                  </a:lnTo>
                  <a:lnTo>
                    <a:pt x="18086" y="87457"/>
                  </a:lnTo>
                  <a:lnTo>
                    <a:pt x="18191" y="87457"/>
                  </a:lnTo>
                  <a:lnTo>
                    <a:pt x="18338" y="87457"/>
                  </a:lnTo>
                  <a:lnTo>
                    <a:pt x="18443" y="87457"/>
                  </a:lnTo>
                  <a:lnTo>
                    <a:pt x="18527" y="87457"/>
                  </a:lnTo>
                  <a:lnTo>
                    <a:pt x="18633" y="87118"/>
                  </a:lnTo>
                  <a:lnTo>
                    <a:pt x="18780" y="87118"/>
                  </a:lnTo>
                  <a:lnTo>
                    <a:pt x="18780" y="87118"/>
                  </a:lnTo>
                  <a:lnTo>
                    <a:pt x="18738" y="87457"/>
                  </a:lnTo>
                  <a:lnTo>
                    <a:pt x="18738" y="87683"/>
                  </a:lnTo>
                  <a:lnTo>
                    <a:pt x="18885" y="87909"/>
                  </a:lnTo>
                  <a:lnTo>
                    <a:pt x="19032" y="88474"/>
                  </a:lnTo>
                  <a:lnTo>
                    <a:pt x="19179" y="88700"/>
                  </a:lnTo>
                  <a:lnTo>
                    <a:pt x="19327" y="89039"/>
                  </a:lnTo>
                  <a:lnTo>
                    <a:pt x="19474" y="89265"/>
                  </a:lnTo>
                  <a:lnTo>
                    <a:pt x="19621" y="89830"/>
                  </a:lnTo>
                  <a:lnTo>
                    <a:pt x="19768" y="90056"/>
                  </a:lnTo>
                  <a:lnTo>
                    <a:pt x="19915" y="90395"/>
                  </a:lnTo>
                  <a:lnTo>
                    <a:pt x="20063" y="90395"/>
                  </a:lnTo>
                  <a:lnTo>
                    <a:pt x="20210" y="90395"/>
                  </a:lnTo>
                  <a:lnTo>
                    <a:pt x="20315" y="90395"/>
                  </a:lnTo>
                  <a:lnTo>
                    <a:pt x="20462" y="90395"/>
                  </a:lnTo>
                  <a:lnTo>
                    <a:pt x="20609" y="90395"/>
                  </a:lnTo>
                  <a:lnTo>
                    <a:pt x="20715" y="90395"/>
                  </a:lnTo>
                  <a:lnTo>
                    <a:pt x="20862" y="90395"/>
                  </a:lnTo>
                  <a:lnTo>
                    <a:pt x="21009" y="90395"/>
                  </a:lnTo>
                  <a:lnTo>
                    <a:pt x="21009" y="90056"/>
                  </a:lnTo>
                  <a:lnTo>
                    <a:pt x="21072" y="89830"/>
                  </a:lnTo>
                  <a:lnTo>
                    <a:pt x="21072" y="89604"/>
                  </a:lnTo>
                  <a:lnTo>
                    <a:pt x="21072" y="89265"/>
                  </a:lnTo>
                  <a:lnTo>
                    <a:pt x="21156" y="89265"/>
                  </a:lnTo>
                  <a:lnTo>
                    <a:pt x="21261" y="89265"/>
                  </a:lnTo>
                  <a:lnTo>
                    <a:pt x="21303" y="89265"/>
                  </a:lnTo>
                  <a:lnTo>
                    <a:pt x="21409" y="89265"/>
                  </a:lnTo>
                  <a:lnTo>
                    <a:pt x="21514" y="89265"/>
                  </a:lnTo>
                  <a:lnTo>
                    <a:pt x="21556" y="89265"/>
                  </a:lnTo>
                  <a:lnTo>
                    <a:pt x="21661" y="89265"/>
                  </a:lnTo>
                  <a:lnTo>
                    <a:pt x="21703" y="89265"/>
                  </a:lnTo>
                  <a:lnTo>
                    <a:pt x="21766" y="89265"/>
                  </a:lnTo>
                  <a:lnTo>
                    <a:pt x="21766" y="89265"/>
                  </a:lnTo>
                  <a:lnTo>
                    <a:pt x="21766" y="89604"/>
                  </a:lnTo>
                  <a:lnTo>
                    <a:pt x="21766" y="89830"/>
                  </a:lnTo>
                  <a:lnTo>
                    <a:pt x="21808" y="90056"/>
                  </a:lnTo>
                  <a:lnTo>
                    <a:pt x="21850" y="90395"/>
                  </a:lnTo>
                  <a:lnTo>
                    <a:pt x="21913" y="90621"/>
                  </a:lnTo>
                  <a:lnTo>
                    <a:pt x="21955" y="91186"/>
                  </a:lnTo>
                  <a:lnTo>
                    <a:pt x="21997" y="91638"/>
                  </a:lnTo>
                  <a:lnTo>
                    <a:pt x="22103" y="91977"/>
                  </a:lnTo>
                  <a:lnTo>
                    <a:pt x="22103" y="91977"/>
                  </a:lnTo>
                  <a:lnTo>
                    <a:pt x="22103" y="92203"/>
                  </a:lnTo>
                  <a:lnTo>
                    <a:pt x="22145" y="92542"/>
                  </a:lnTo>
                  <a:lnTo>
                    <a:pt x="22145" y="93333"/>
                  </a:lnTo>
                  <a:lnTo>
                    <a:pt x="22145" y="93559"/>
                  </a:lnTo>
                  <a:lnTo>
                    <a:pt x="22145" y="93785"/>
                  </a:lnTo>
                  <a:lnTo>
                    <a:pt x="22145" y="94350"/>
                  </a:lnTo>
                  <a:lnTo>
                    <a:pt x="22208" y="94576"/>
                  </a:lnTo>
                  <a:lnTo>
                    <a:pt x="22208" y="94576"/>
                  </a:lnTo>
                  <a:lnTo>
                    <a:pt x="22250" y="94915"/>
                  </a:lnTo>
                  <a:lnTo>
                    <a:pt x="22250" y="95141"/>
                  </a:lnTo>
                  <a:lnTo>
                    <a:pt x="22292" y="95141"/>
                  </a:lnTo>
                  <a:lnTo>
                    <a:pt x="22355" y="95141"/>
                  </a:lnTo>
                  <a:lnTo>
                    <a:pt x="22397" y="95480"/>
                  </a:lnTo>
                  <a:lnTo>
                    <a:pt x="22502" y="95706"/>
                  </a:lnTo>
                  <a:lnTo>
                    <a:pt x="22544" y="95932"/>
                  </a:lnTo>
                  <a:lnTo>
                    <a:pt x="22544" y="95932"/>
                  </a:lnTo>
                  <a:lnTo>
                    <a:pt x="22607" y="95932"/>
                  </a:lnTo>
                  <a:lnTo>
                    <a:pt x="22649" y="95706"/>
                  </a:lnTo>
                  <a:lnTo>
                    <a:pt x="22691" y="95480"/>
                  </a:lnTo>
                  <a:lnTo>
                    <a:pt x="22691" y="95480"/>
                  </a:lnTo>
                  <a:lnTo>
                    <a:pt x="22691" y="95480"/>
                  </a:lnTo>
                  <a:lnTo>
                    <a:pt x="22691" y="95141"/>
                  </a:lnTo>
                  <a:lnTo>
                    <a:pt x="22754" y="94915"/>
                  </a:lnTo>
                  <a:lnTo>
                    <a:pt x="22797" y="94350"/>
                  </a:lnTo>
                  <a:lnTo>
                    <a:pt x="22902" y="94124"/>
                  </a:lnTo>
                  <a:lnTo>
                    <a:pt x="22944" y="94124"/>
                  </a:lnTo>
                  <a:lnTo>
                    <a:pt x="22944" y="94124"/>
                  </a:lnTo>
                  <a:lnTo>
                    <a:pt x="22986" y="93785"/>
                  </a:lnTo>
                  <a:lnTo>
                    <a:pt x="23049" y="93785"/>
                  </a:lnTo>
                  <a:lnTo>
                    <a:pt x="23049" y="94124"/>
                  </a:lnTo>
                  <a:lnTo>
                    <a:pt x="23091" y="94124"/>
                  </a:lnTo>
                  <a:lnTo>
                    <a:pt x="23196" y="94124"/>
                  </a:lnTo>
                  <a:lnTo>
                    <a:pt x="23238" y="94124"/>
                  </a:lnTo>
                  <a:lnTo>
                    <a:pt x="23301" y="94124"/>
                  </a:lnTo>
                  <a:lnTo>
                    <a:pt x="23301" y="94124"/>
                  </a:lnTo>
                  <a:lnTo>
                    <a:pt x="23301" y="94124"/>
                  </a:lnTo>
                  <a:lnTo>
                    <a:pt x="23301" y="94124"/>
                  </a:lnTo>
                  <a:lnTo>
                    <a:pt x="23343" y="94124"/>
                  </a:lnTo>
                  <a:lnTo>
                    <a:pt x="23343" y="94124"/>
                  </a:lnTo>
                  <a:lnTo>
                    <a:pt x="23343" y="94350"/>
                  </a:lnTo>
                  <a:lnTo>
                    <a:pt x="23449" y="94915"/>
                  </a:lnTo>
                  <a:lnTo>
                    <a:pt x="23449" y="94915"/>
                  </a:lnTo>
                  <a:lnTo>
                    <a:pt x="23449" y="95141"/>
                  </a:lnTo>
                  <a:lnTo>
                    <a:pt x="23449" y="95141"/>
                  </a:lnTo>
                  <a:lnTo>
                    <a:pt x="23491" y="95480"/>
                  </a:lnTo>
                  <a:lnTo>
                    <a:pt x="23533" y="95706"/>
                  </a:lnTo>
                  <a:lnTo>
                    <a:pt x="23533" y="95932"/>
                  </a:lnTo>
                  <a:lnTo>
                    <a:pt x="23533" y="96497"/>
                  </a:lnTo>
                  <a:lnTo>
                    <a:pt x="23533" y="97062"/>
                  </a:lnTo>
                  <a:lnTo>
                    <a:pt x="23596" y="97288"/>
                  </a:lnTo>
                  <a:lnTo>
                    <a:pt x="23596" y="97288"/>
                  </a:lnTo>
                  <a:lnTo>
                    <a:pt x="23596" y="97288"/>
                  </a:lnTo>
                  <a:lnTo>
                    <a:pt x="23596" y="97514"/>
                  </a:lnTo>
                  <a:lnTo>
                    <a:pt x="23596" y="97853"/>
                  </a:lnTo>
                  <a:lnTo>
                    <a:pt x="23638" y="97853"/>
                  </a:lnTo>
                  <a:lnTo>
                    <a:pt x="23638" y="98418"/>
                  </a:lnTo>
                  <a:lnTo>
                    <a:pt x="23680" y="98644"/>
                  </a:lnTo>
                  <a:lnTo>
                    <a:pt x="23680" y="98870"/>
                  </a:lnTo>
                  <a:lnTo>
                    <a:pt x="23743" y="99209"/>
                  </a:lnTo>
                  <a:lnTo>
                    <a:pt x="23785" y="99435"/>
                  </a:lnTo>
                  <a:lnTo>
                    <a:pt x="23785" y="99661"/>
                  </a:lnTo>
                  <a:lnTo>
                    <a:pt x="23785" y="99661"/>
                  </a:lnTo>
                  <a:lnTo>
                    <a:pt x="23743" y="100000"/>
                  </a:lnTo>
                  <a:lnTo>
                    <a:pt x="23743" y="100000"/>
                  </a:lnTo>
                  <a:lnTo>
                    <a:pt x="23743" y="100225"/>
                  </a:lnTo>
                  <a:lnTo>
                    <a:pt x="23743" y="100225"/>
                  </a:lnTo>
                  <a:lnTo>
                    <a:pt x="23743" y="100451"/>
                  </a:lnTo>
                  <a:lnTo>
                    <a:pt x="23743" y="100451"/>
                  </a:lnTo>
                  <a:lnTo>
                    <a:pt x="23743" y="100451"/>
                  </a:lnTo>
                  <a:lnTo>
                    <a:pt x="23743" y="100790"/>
                  </a:lnTo>
                  <a:lnTo>
                    <a:pt x="23785" y="101016"/>
                  </a:lnTo>
                  <a:lnTo>
                    <a:pt x="23785" y="101355"/>
                  </a:lnTo>
                  <a:lnTo>
                    <a:pt x="23785" y="101807"/>
                  </a:lnTo>
                  <a:lnTo>
                    <a:pt x="23785" y="101807"/>
                  </a:lnTo>
                  <a:lnTo>
                    <a:pt x="23785" y="102146"/>
                  </a:lnTo>
                  <a:lnTo>
                    <a:pt x="23848" y="102146"/>
                  </a:lnTo>
                  <a:lnTo>
                    <a:pt x="23890" y="102146"/>
                  </a:lnTo>
                  <a:lnTo>
                    <a:pt x="23932" y="102372"/>
                  </a:lnTo>
                  <a:lnTo>
                    <a:pt x="23932" y="102372"/>
                  </a:lnTo>
                  <a:lnTo>
                    <a:pt x="23995" y="102598"/>
                  </a:lnTo>
                  <a:lnTo>
                    <a:pt x="24037" y="102598"/>
                  </a:lnTo>
                  <a:lnTo>
                    <a:pt x="24037" y="102598"/>
                  </a:lnTo>
                  <a:lnTo>
                    <a:pt x="24079" y="102937"/>
                  </a:lnTo>
                  <a:lnTo>
                    <a:pt x="24143" y="102937"/>
                  </a:lnTo>
                  <a:lnTo>
                    <a:pt x="24290" y="103163"/>
                  </a:lnTo>
                  <a:lnTo>
                    <a:pt x="24332" y="103163"/>
                  </a:lnTo>
                  <a:lnTo>
                    <a:pt x="24374" y="103389"/>
                  </a:lnTo>
                  <a:lnTo>
                    <a:pt x="24374" y="103389"/>
                  </a:lnTo>
                  <a:lnTo>
                    <a:pt x="24437" y="103389"/>
                  </a:lnTo>
                  <a:lnTo>
                    <a:pt x="24437" y="103389"/>
                  </a:lnTo>
                  <a:lnTo>
                    <a:pt x="24437" y="103389"/>
                  </a:lnTo>
                  <a:lnTo>
                    <a:pt x="24437" y="103163"/>
                  </a:lnTo>
                  <a:lnTo>
                    <a:pt x="24479" y="103163"/>
                  </a:lnTo>
                  <a:lnTo>
                    <a:pt x="24542" y="103163"/>
                  </a:lnTo>
                  <a:lnTo>
                    <a:pt x="24542" y="102937"/>
                  </a:lnTo>
                  <a:lnTo>
                    <a:pt x="24479" y="102937"/>
                  </a:lnTo>
                  <a:lnTo>
                    <a:pt x="24437" y="102146"/>
                  </a:lnTo>
                  <a:lnTo>
                    <a:pt x="24437" y="102146"/>
                  </a:lnTo>
                  <a:lnTo>
                    <a:pt x="24437" y="101581"/>
                  </a:lnTo>
                  <a:lnTo>
                    <a:pt x="24437" y="101355"/>
                  </a:lnTo>
                  <a:lnTo>
                    <a:pt x="24437" y="101016"/>
                  </a:lnTo>
                  <a:lnTo>
                    <a:pt x="24437" y="100790"/>
                  </a:lnTo>
                  <a:lnTo>
                    <a:pt x="24479" y="100451"/>
                  </a:lnTo>
                  <a:lnTo>
                    <a:pt x="24479" y="100451"/>
                  </a:lnTo>
                  <a:lnTo>
                    <a:pt x="24479" y="100225"/>
                  </a:lnTo>
                  <a:lnTo>
                    <a:pt x="24479" y="100225"/>
                  </a:lnTo>
                  <a:lnTo>
                    <a:pt x="24437" y="100000"/>
                  </a:lnTo>
                  <a:lnTo>
                    <a:pt x="24437" y="99661"/>
                  </a:lnTo>
                  <a:lnTo>
                    <a:pt x="24437" y="99661"/>
                  </a:lnTo>
                  <a:lnTo>
                    <a:pt x="24479" y="100000"/>
                  </a:lnTo>
                  <a:lnTo>
                    <a:pt x="24542" y="100000"/>
                  </a:lnTo>
                  <a:lnTo>
                    <a:pt x="24542" y="100000"/>
                  </a:lnTo>
                  <a:lnTo>
                    <a:pt x="24584" y="99661"/>
                  </a:lnTo>
                  <a:lnTo>
                    <a:pt x="24626" y="99209"/>
                  </a:lnTo>
                  <a:lnTo>
                    <a:pt x="24584" y="98644"/>
                  </a:lnTo>
                  <a:lnTo>
                    <a:pt x="24584" y="98644"/>
                  </a:lnTo>
                  <a:lnTo>
                    <a:pt x="24626" y="98644"/>
                  </a:lnTo>
                  <a:lnTo>
                    <a:pt x="24689" y="98644"/>
                  </a:lnTo>
                  <a:lnTo>
                    <a:pt x="24689" y="98644"/>
                  </a:lnTo>
                  <a:lnTo>
                    <a:pt x="24731" y="98418"/>
                  </a:lnTo>
                  <a:lnTo>
                    <a:pt x="24773" y="98079"/>
                  </a:lnTo>
                  <a:lnTo>
                    <a:pt x="24731" y="98079"/>
                  </a:lnTo>
                  <a:lnTo>
                    <a:pt x="24731" y="98079"/>
                  </a:lnTo>
                  <a:lnTo>
                    <a:pt x="24731" y="98079"/>
                  </a:lnTo>
                  <a:lnTo>
                    <a:pt x="24773" y="98079"/>
                  </a:lnTo>
                  <a:lnTo>
                    <a:pt x="24773" y="98079"/>
                  </a:lnTo>
                  <a:lnTo>
                    <a:pt x="24837" y="97853"/>
                  </a:lnTo>
                  <a:lnTo>
                    <a:pt x="24837" y="97853"/>
                  </a:lnTo>
                  <a:lnTo>
                    <a:pt x="24837" y="97853"/>
                  </a:lnTo>
                  <a:lnTo>
                    <a:pt x="24837" y="98079"/>
                  </a:lnTo>
                  <a:lnTo>
                    <a:pt x="24879" y="97853"/>
                  </a:lnTo>
                  <a:lnTo>
                    <a:pt x="24879" y="97853"/>
                  </a:lnTo>
                  <a:lnTo>
                    <a:pt x="24879" y="97514"/>
                  </a:lnTo>
                  <a:lnTo>
                    <a:pt x="24921" y="97288"/>
                  </a:lnTo>
                  <a:lnTo>
                    <a:pt x="24921" y="97514"/>
                  </a:lnTo>
                  <a:lnTo>
                    <a:pt x="24984" y="97514"/>
                  </a:lnTo>
                  <a:lnTo>
                    <a:pt x="25026" y="97288"/>
                  </a:lnTo>
                  <a:lnTo>
                    <a:pt x="25026" y="97288"/>
                  </a:lnTo>
                  <a:lnTo>
                    <a:pt x="25026" y="97288"/>
                  </a:lnTo>
                  <a:lnTo>
                    <a:pt x="25026" y="97288"/>
                  </a:lnTo>
                  <a:lnTo>
                    <a:pt x="24984" y="96723"/>
                  </a:lnTo>
                  <a:lnTo>
                    <a:pt x="25026" y="96723"/>
                  </a:lnTo>
                  <a:lnTo>
                    <a:pt x="25026" y="96723"/>
                  </a:lnTo>
                  <a:lnTo>
                    <a:pt x="25026" y="96723"/>
                  </a:lnTo>
                  <a:lnTo>
                    <a:pt x="25026" y="96723"/>
                  </a:lnTo>
                  <a:lnTo>
                    <a:pt x="25026" y="97062"/>
                  </a:lnTo>
                  <a:lnTo>
                    <a:pt x="25068" y="96723"/>
                  </a:lnTo>
                  <a:lnTo>
                    <a:pt x="25068" y="96723"/>
                  </a:lnTo>
                  <a:lnTo>
                    <a:pt x="25131" y="96723"/>
                  </a:lnTo>
                  <a:lnTo>
                    <a:pt x="25173" y="96723"/>
                  </a:lnTo>
                  <a:lnTo>
                    <a:pt x="25236" y="96723"/>
                  </a:lnTo>
                  <a:lnTo>
                    <a:pt x="25173" y="97062"/>
                  </a:lnTo>
                  <a:lnTo>
                    <a:pt x="25131" y="97288"/>
                  </a:lnTo>
                  <a:lnTo>
                    <a:pt x="25131" y="97288"/>
                  </a:lnTo>
                  <a:lnTo>
                    <a:pt x="25236" y="97062"/>
                  </a:lnTo>
                  <a:lnTo>
                    <a:pt x="25278" y="96723"/>
                  </a:lnTo>
                  <a:lnTo>
                    <a:pt x="25320" y="96723"/>
                  </a:lnTo>
                  <a:lnTo>
                    <a:pt x="25383" y="96497"/>
                  </a:lnTo>
                  <a:lnTo>
                    <a:pt x="25467" y="96271"/>
                  </a:lnTo>
                  <a:lnTo>
                    <a:pt x="25531" y="95932"/>
                  </a:lnTo>
                  <a:lnTo>
                    <a:pt x="25573" y="95706"/>
                  </a:lnTo>
                  <a:lnTo>
                    <a:pt x="25615" y="95706"/>
                  </a:lnTo>
                  <a:lnTo>
                    <a:pt x="25678" y="95480"/>
                  </a:lnTo>
                  <a:lnTo>
                    <a:pt x="25720" y="95141"/>
                  </a:lnTo>
                  <a:lnTo>
                    <a:pt x="25720" y="94915"/>
                  </a:lnTo>
                  <a:lnTo>
                    <a:pt x="25720" y="94576"/>
                  </a:lnTo>
                  <a:lnTo>
                    <a:pt x="25720" y="94350"/>
                  </a:lnTo>
                  <a:lnTo>
                    <a:pt x="25720" y="94350"/>
                  </a:lnTo>
                  <a:lnTo>
                    <a:pt x="25762" y="94350"/>
                  </a:lnTo>
                  <a:lnTo>
                    <a:pt x="25762" y="94350"/>
                  </a:lnTo>
                  <a:lnTo>
                    <a:pt x="25825" y="94124"/>
                  </a:lnTo>
                  <a:lnTo>
                    <a:pt x="25825" y="94124"/>
                  </a:lnTo>
                  <a:lnTo>
                    <a:pt x="25825" y="94350"/>
                  </a:lnTo>
                  <a:lnTo>
                    <a:pt x="25762" y="94576"/>
                  </a:lnTo>
                  <a:lnTo>
                    <a:pt x="25825" y="94576"/>
                  </a:lnTo>
                  <a:lnTo>
                    <a:pt x="25867" y="94576"/>
                  </a:lnTo>
                  <a:lnTo>
                    <a:pt x="25867" y="94576"/>
                  </a:lnTo>
                  <a:lnTo>
                    <a:pt x="25762" y="94915"/>
                  </a:lnTo>
                  <a:lnTo>
                    <a:pt x="25762" y="95141"/>
                  </a:lnTo>
                  <a:lnTo>
                    <a:pt x="25867" y="94915"/>
                  </a:lnTo>
                  <a:lnTo>
                    <a:pt x="26077" y="94350"/>
                  </a:lnTo>
                  <a:lnTo>
                    <a:pt x="26161" y="94350"/>
                  </a:lnTo>
                  <a:lnTo>
                    <a:pt x="26161" y="94350"/>
                  </a:lnTo>
                  <a:lnTo>
                    <a:pt x="26119" y="94124"/>
                  </a:lnTo>
                  <a:lnTo>
                    <a:pt x="26225" y="93559"/>
                  </a:lnTo>
                  <a:lnTo>
                    <a:pt x="26225" y="93559"/>
                  </a:lnTo>
                  <a:lnTo>
                    <a:pt x="26225" y="93785"/>
                  </a:lnTo>
                  <a:lnTo>
                    <a:pt x="26225" y="93785"/>
                  </a:lnTo>
                  <a:lnTo>
                    <a:pt x="26225" y="94124"/>
                  </a:lnTo>
                  <a:lnTo>
                    <a:pt x="26161" y="94124"/>
                  </a:lnTo>
                  <a:lnTo>
                    <a:pt x="26161" y="94124"/>
                  </a:lnTo>
                  <a:lnTo>
                    <a:pt x="26161" y="94124"/>
                  </a:lnTo>
                  <a:lnTo>
                    <a:pt x="26161" y="94350"/>
                  </a:lnTo>
                  <a:lnTo>
                    <a:pt x="26225" y="94124"/>
                  </a:lnTo>
                  <a:lnTo>
                    <a:pt x="26225" y="94124"/>
                  </a:lnTo>
                  <a:lnTo>
                    <a:pt x="26372" y="94124"/>
                  </a:lnTo>
                  <a:lnTo>
                    <a:pt x="26372" y="94124"/>
                  </a:lnTo>
                  <a:lnTo>
                    <a:pt x="26414" y="94124"/>
                  </a:lnTo>
                  <a:lnTo>
                    <a:pt x="26519" y="94350"/>
                  </a:lnTo>
                  <a:lnTo>
                    <a:pt x="26561" y="94350"/>
                  </a:lnTo>
                  <a:lnTo>
                    <a:pt x="26624" y="94576"/>
                  </a:lnTo>
                  <a:lnTo>
                    <a:pt x="26771" y="94576"/>
                  </a:lnTo>
                  <a:lnTo>
                    <a:pt x="26813" y="94576"/>
                  </a:lnTo>
                  <a:lnTo>
                    <a:pt x="26813" y="94576"/>
                  </a:lnTo>
                  <a:lnTo>
                    <a:pt x="26813" y="94350"/>
                  </a:lnTo>
                  <a:lnTo>
                    <a:pt x="26813" y="94350"/>
                  </a:lnTo>
                  <a:lnTo>
                    <a:pt x="26813" y="94124"/>
                  </a:lnTo>
                  <a:lnTo>
                    <a:pt x="26855" y="94124"/>
                  </a:lnTo>
                  <a:lnTo>
                    <a:pt x="26919" y="94124"/>
                  </a:lnTo>
                  <a:lnTo>
                    <a:pt x="26919" y="94124"/>
                  </a:lnTo>
                  <a:lnTo>
                    <a:pt x="27003" y="94124"/>
                  </a:lnTo>
                  <a:lnTo>
                    <a:pt x="27003" y="94576"/>
                  </a:lnTo>
                  <a:lnTo>
                    <a:pt x="27003" y="94576"/>
                  </a:lnTo>
                  <a:lnTo>
                    <a:pt x="27108" y="94915"/>
                  </a:lnTo>
                  <a:lnTo>
                    <a:pt x="27108" y="94576"/>
                  </a:lnTo>
                  <a:lnTo>
                    <a:pt x="27108" y="94576"/>
                  </a:lnTo>
                  <a:lnTo>
                    <a:pt x="27108" y="94915"/>
                  </a:lnTo>
                  <a:lnTo>
                    <a:pt x="27108" y="94915"/>
                  </a:lnTo>
                  <a:lnTo>
                    <a:pt x="27108" y="95141"/>
                  </a:lnTo>
                  <a:lnTo>
                    <a:pt x="27108" y="95141"/>
                  </a:lnTo>
                  <a:lnTo>
                    <a:pt x="27108" y="95141"/>
                  </a:lnTo>
                  <a:lnTo>
                    <a:pt x="27066" y="95141"/>
                  </a:lnTo>
                  <a:lnTo>
                    <a:pt x="27066" y="95480"/>
                  </a:lnTo>
                  <a:lnTo>
                    <a:pt x="27150" y="95480"/>
                  </a:lnTo>
                  <a:lnTo>
                    <a:pt x="27255" y="95706"/>
                  </a:lnTo>
                  <a:lnTo>
                    <a:pt x="27318" y="95706"/>
                  </a:lnTo>
                  <a:lnTo>
                    <a:pt x="27360" y="95480"/>
                  </a:lnTo>
                  <a:lnTo>
                    <a:pt x="27360" y="95141"/>
                  </a:lnTo>
                  <a:lnTo>
                    <a:pt x="27402" y="95141"/>
                  </a:lnTo>
                  <a:lnTo>
                    <a:pt x="27465" y="95480"/>
                  </a:lnTo>
                  <a:lnTo>
                    <a:pt x="27465" y="95706"/>
                  </a:lnTo>
                  <a:lnTo>
                    <a:pt x="27465" y="95706"/>
                  </a:lnTo>
                  <a:lnTo>
                    <a:pt x="27507" y="95706"/>
                  </a:lnTo>
                  <a:lnTo>
                    <a:pt x="27507" y="95480"/>
                  </a:lnTo>
                  <a:lnTo>
                    <a:pt x="27507" y="95480"/>
                  </a:lnTo>
                  <a:lnTo>
                    <a:pt x="27549" y="95141"/>
                  </a:lnTo>
                  <a:lnTo>
                    <a:pt x="27549" y="95141"/>
                  </a:lnTo>
                  <a:lnTo>
                    <a:pt x="27549" y="94915"/>
                  </a:lnTo>
                  <a:lnTo>
                    <a:pt x="27549" y="94915"/>
                  </a:lnTo>
                  <a:lnTo>
                    <a:pt x="27507" y="94915"/>
                  </a:lnTo>
                  <a:lnTo>
                    <a:pt x="27507" y="94915"/>
                  </a:lnTo>
                  <a:lnTo>
                    <a:pt x="27507" y="94576"/>
                  </a:lnTo>
                  <a:lnTo>
                    <a:pt x="27613" y="94915"/>
                  </a:lnTo>
                  <a:lnTo>
                    <a:pt x="27655" y="94915"/>
                  </a:lnTo>
                  <a:lnTo>
                    <a:pt x="27655" y="95141"/>
                  </a:lnTo>
                  <a:lnTo>
                    <a:pt x="27655" y="95141"/>
                  </a:lnTo>
                  <a:lnTo>
                    <a:pt x="27655" y="95141"/>
                  </a:lnTo>
                  <a:lnTo>
                    <a:pt x="27697" y="95141"/>
                  </a:lnTo>
                  <a:lnTo>
                    <a:pt x="27697" y="95141"/>
                  </a:lnTo>
                  <a:lnTo>
                    <a:pt x="27697" y="95480"/>
                  </a:lnTo>
                  <a:lnTo>
                    <a:pt x="27760" y="95480"/>
                  </a:lnTo>
                  <a:lnTo>
                    <a:pt x="27760" y="95480"/>
                  </a:lnTo>
                  <a:lnTo>
                    <a:pt x="27760" y="95706"/>
                  </a:lnTo>
                  <a:lnTo>
                    <a:pt x="27802" y="95706"/>
                  </a:lnTo>
                  <a:lnTo>
                    <a:pt x="27760" y="95932"/>
                  </a:lnTo>
                  <a:lnTo>
                    <a:pt x="27802" y="95932"/>
                  </a:lnTo>
                  <a:lnTo>
                    <a:pt x="27802" y="95706"/>
                  </a:lnTo>
                  <a:lnTo>
                    <a:pt x="27844" y="95932"/>
                  </a:lnTo>
                  <a:lnTo>
                    <a:pt x="27844" y="95932"/>
                  </a:lnTo>
                  <a:lnTo>
                    <a:pt x="27844" y="95932"/>
                  </a:lnTo>
                  <a:lnTo>
                    <a:pt x="27844" y="95706"/>
                  </a:lnTo>
                  <a:lnTo>
                    <a:pt x="27907" y="95706"/>
                  </a:lnTo>
                  <a:lnTo>
                    <a:pt x="27907" y="95480"/>
                  </a:lnTo>
                  <a:lnTo>
                    <a:pt x="27907" y="95480"/>
                  </a:lnTo>
                  <a:lnTo>
                    <a:pt x="27907" y="95480"/>
                  </a:lnTo>
                  <a:lnTo>
                    <a:pt x="27844" y="95141"/>
                  </a:lnTo>
                  <a:lnTo>
                    <a:pt x="27844" y="95141"/>
                  </a:lnTo>
                  <a:lnTo>
                    <a:pt x="27760" y="94915"/>
                  </a:lnTo>
                  <a:lnTo>
                    <a:pt x="27760" y="94915"/>
                  </a:lnTo>
                  <a:lnTo>
                    <a:pt x="27697" y="94576"/>
                  </a:lnTo>
                  <a:lnTo>
                    <a:pt x="27697" y="94576"/>
                  </a:lnTo>
                  <a:lnTo>
                    <a:pt x="27697" y="94350"/>
                  </a:lnTo>
                  <a:lnTo>
                    <a:pt x="27697" y="94350"/>
                  </a:lnTo>
                  <a:lnTo>
                    <a:pt x="27760" y="94350"/>
                  </a:lnTo>
                  <a:lnTo>
                    <a:pt x="27760" y="94350"/>
                  </a:lnTo>
                  <a:lnTo>
                    <a:pt x="27760" y="94350"/>
                  </a:lnTo>
                  <a:lnTo>
                    <a:pt x="27760" y="94350"/>
                  </a:lnTo>
                  <a:lnTo>
                    <a:pt x="27802" y="94124"/>
                  </a:lnTo>
                  <a:lnTo>
                    <a:pt x="27802" y="94124"/>
                  </a:lnTo>
                  <a:lnTo>
                    <a:pt x="27844" y="94124"/>
                  </a:lnTo>
                  <a:lnTo>
                    <a:pt x="27844" y="94124"/>
                  </a:lnTo>
                  <a:lnTo>
                    <a:pt x="27844" y="93785"/>
                  </a:lnTo>
                  <a:lnTo>
                    <a:pt x="27844" y="93559"/>
                  </a:lnTo>
                  <a:lnTo>
                    <a:pt x="27844" y="93559"/>
                  </a:lnTo>
                  <a:lnTo>
                    <a:pt x="27844" y="93559"/>
                  </a:lnTo>
                  <a:lnTo>
                    <a:pt x="27844" y="93559"/>
                  </a:lnTo>
                  <a:lnTo>
                    <a:pt x="27802" y="93559"/>
                  </a:lnTo>
                  <a:lnTo>
                    <a:pt x="27802" y="93785"/>
                  </a:lnTo>
                  <a:lnTo>
                    <a:pt x="27760" y="93785"/>
                  </a:lnTo>
                  <a:lnTo>
                    <a:pt x="27760" y="93785"/>
                  </a:lnTo>
                  <a:lnTo>
                    <a:pt x="27697" y="93559"/>
                  </a:lnTo>
                  <a:lnTo>
                    <a:pt x="27760" y="93559"/>
                  </a:lnTo>
                  <a:lnTo>
                    <a:pt x="27760" y="93333"/>
                  </a:lnTo>
                  <a:lnTo>
                    <a:pt x="27802" y="93333"/>
                  </a:lnTo>
                  <a:lnTo>
                    <a:pt x="27802" y="93333"/>
                  </a:lnTo>
                  <a:lnTo>
                    <a:pt x="27760" y="93333"/>
                  </a:lnTo>
                  <a:lnTo>
                    <a:pt x="27760" y="93333"/>
                  </a:lnTo>
                  <a:lnTo>
                    <a:pt x="27760" y="93333"/>
                  </a:lnTo>
                  <a:lnTo>
                    <a:pt x="27697" y="93333"/>
                  </a:lnTo>
                  <a:lnTo>
                    <a:pt x="27655" y="93559"/>
                  </a:lnTo>
                  <a:lnTo>
                    <a:pt x="27613" y="93559"/>
                  </a:lnTo>
                  <a:lnTo>
                    <a:pt x="27549" y="93559"/>
                  </a:lnTo>
                  <a:lnTo>
                    <a:pt x="27507" y="93333"/>
                  </a:lnTo>
                  <a:lnTo>
                    <a:pt x="27549" y="92994"/>
                  </a:lnTo>
                  <a:lnTo>
                    <a:pt x="27613" y="92768"/>
                  </a:lnTo>
                  <a:lnTo>
                    <a:pt x="27655" y="92768"/>
                  </a:lnTo>
                  <a:lnTo>
                    <a:pt x="27655" y="92768"/>
                  </a:lnTo>
                  <a:lnTo>
                    <a:pt x="27697" y="92994"/>
                  </a:lnTo>
                  <a:lnTo>
                    <a:pt x="27802" y="93333"/>
                  </a:lnTo>
                  <a:lnTo>
                    <a:pt x="27907" y="92994"/>
                  </a:lnTo>
                  <a:lnTo>
                    <a:pt x="27949" y="92768"/>
                  </a:lnTo>
                  <a:lnTo>
                    <a:pt x="27949" y="92768"/>
                  </a:lnTo>
                  <a:lnTo>
                    <a:pt x="27949" y="92768"/>
                  </a:lnTo>
                  <a:lnTo>
                    <a:pt x="28054" y="92768"/>
                  </a:lnTo>
                  <a:lnTo>
                    <a:pt x="28096" y="92542"/>
                  </a:lnTo>
                  <a:lnTo>
                    <a:pt x="28096" y="92542"/>
                  </a:lnTo>
                  <a:lnTo>
                    <a:pt x="28159" y="92768"/>
                  </a:lnTo>
                  <a:lnTo>
                    <a:pt x="28201" y="92768"/>
                  </a:lnTo>
                  <a:lnTo>
                    <a:pt x="28307" y="92768"/>
                  </a:lnTo>
                  <a:lnTo>
                    <a:pt x="28349" y="92768"/>
                  </a:lnTo>
                  <a:lnTo>
                    <a:pt x="28391" y="92768"/>
                  </a:lnTo>
                  <a:lnTo>
                    <a:pt x="28391" y="92542"/>
                  </a:lnTo>
                  <a:lnTo>
                    <a:pt x="28454" y="92203"/>
                  </a:lnTo>
                  <a:lnTo>
                    <a:pt x="28454" y="91977"/>
                  </a:lnTo>
                  <a:lnTo>
                    <a:pt x="28496" y="91977"/>
                  </a:lnTo>
                  <a:lnTo>
                    <a:pt x="28496" y="92203"/>
                  </a:lnTo>
                  <a:lnTo>
                    <a:pt x="28496" y="92203"/>
                  </a:lnTo>
                  <a:lnTo>
                    <a:pt x="28496" y="92542"/>
                  </a:lnTo>
                  <a:lnTo>
                    <a:pt x="28496" y="92542"/>
                  </a:lnTo>
                  <a:lnTo>
                    <a:pt x="28496" y="92768"/>
                  </a:lnTo>
                  <a:lnTo>
                    <a:pt x="28496" y="92768"/>
                  </a:lnTo>
                  <a:lnTo>
                    <a:pt x="28496" y="92994"/>
                  </a:lnTo>
                  <a:lnTo>
                    <a:pt x="28454" y="92994"/>
                  </a:lnTo>
                  <a:lnTo>
                    <a:pt x="28454" y="92994"/>
                  </a:lnTo>
                  <a:lnTo>
                    <a:pt x="28391" y="92994"/>
                  </a:lnTo>
                  <a:lnTo>
                    <a:pt x="28538" y="92994"/>
                  </a:lnTo>
                  <a:lnTo>
                    <a:pt x="28643" y="92768"/>
                  </a:lnTo>
                  <a:lnTo>
                    <a:pt x="28643" y="92768"/>
                  </a:lnTo>
                  <a:lnTo>
                    <a:pt x="28643" y="92768"/>
                  </a:lnTo>
                  <a:lnTo>
                    <a:pt x="28601" y="92768"/>
                  </a:lnTo>
                  <a:lnTo>
                    <a:pt x="28643" y="92994"/>
                  </a:lnTo>
                  <a:lnTo>
                    <a:pt x="28706" y="92768"/>
                  </a:lnTo>
                  <a:lnTo>
                    <a:pt x="28748" y="92768"/>
                  </a:lnTo>
                  <a:lnTo>
                    <a:pt x="28748" y="92542"/>
                  </a:lnTo>
                  <a:lnTo>
                    <a:pt x="28790" y="92203"/>
                  </a:lnTo>
                  <a:lnTo>
                    <a:pt x="28790" y="92203"/>
                  </a:lnTo>
                  <a:lnTo>
                    <a:pt x="28790" y="92542"/>
                  </a:lnTo>
                  <a:lnTo>
                    <a:pt x="28853" y="92203"/>
                  </a:lnTo>
                  <a:lnTo>
                    <a:pt x="28853" y="92203"/>
                  </a:lnTo>
                  <a:lnTo>
                    <a:pt x="28853" y="92542"/>
                  </a:lnTo>
                  <a:lnTo>
                    <a:pt x="28853" y="92542"/>
                  </a:lnTo>
                  <a:lnTo>
                    <a:pt x="28790" y="92768"/>
                  </a:lnTo>
                  <a:lnTo>
                    <a:pt x="28748" y="92768"/>
                  </a:lnTo>
                  <a:lnTo>
                    <a:pt x="28748" y="92768"/>
                  </a:lnTo>
                  <a:lnTo>
                    <a:pt x="28853" y="92768"/>
                  </a:lnTo>
                  <a:lnTo>
                    <a:pt x="28937" y="92768"/>
                  </a:lnTo>
                  <a:lnTo>
                    <a:pt x="29001" y="92542"/>
                  </a:lnTo>
                  <a:lnTo>
                    <a:pt x="29001" y="92542"/>
                  </a:lnTo>
                  <a:lnTo>
                    <a:pt x="29043" y="92542"/>
                  </a:lnTo>
                  <a:lnTo>
                    <a:pt x="29043" y="92542"/>
                  </a:lnTo>
                  <a:lnTo>
                    <a:pt x="29085" y="92542"/>
                  </a:lnTo>
                  <a:lnTo>
                    <a:pt x="29148" y="92542"/>
                  </a:lnTo>
                  <a:lnTo>
                    <a:pt x="29148" y="92542"/>
                  </a:lnTo>
                  <a:lnTo>
                    <a:pt x="29148" y="92768"/>
                  </a:lnTo>
                  <a:lnTo>
                    <a:pt x="29085" y="92542"/>
                  </a:lnTo>
                  <a:lnTo>
                    <a:pt x="29043" y="92768"/>
                  </a:lnTo>
                  <a:lnTo>
                    <a:pt x="29148" y="92768"/>
                  </a:lnTo>
                  <a:lnTo>
                    <a:pt x="29232" y="92994"/>
                  </a:lnTo>
                  <a:lnTo>
                    <a:pt x="29232" y="93333"/>
                  </a:lnTo>
                  <a:lnTo>
                    <a:pt x="29232" y="93333"/>
                  </a:lnTo>
                  <a:lnTo>
                    <a:pt x="29295" y="92994"/>
                  </a:lnTo>
                  <a:lnTo>
                    <a:pt x="29295" y="92994"/>
                  </a:lnTo>
                  <a:lnTo>
                    <a:pt x="29295" y="92994"/>
                  </a:lnTo>
                  <a:lnTo>
                    <a:pt x="29337" y="92994"/>
                  </a:lnTo>
                  <a:lnTo>
                    <a:pt x="29295" y="92994"/>
                  </a:lnTo>
                  <a:lnTo>
                    <a:pt x="29295" y="92994"/>
                  </a:lnTo>
                  <a:lnTo>
                    <a:pt x="29295" y="93333"/>
                  </a:lnTo>
                  <a:lnTo>
                    <a:pt x="29295" y="93333"/>
                  </a:lnTo>
                  <a:lnTo>
                    <a:pt x="29295" y="93333"/>
                  </a:lnTo>
                  <a:lnTo>
                    <a:pt x="29337" y="93559"/>
                  </a:lnTo>
                  <a:lnTo>
                    <a:pt x="29379" y="93785"/>
                  </a:lnTo>
                  <a:lnTo>
                    <a:pt x="29379" y="94124"/>
                  </a:lnTo>
                  <a:lnTo>
                    <a:pt x="29379" y="94124"/>
                  </a:lnTo>
                  <a:lnTo>
                    <a:pt x="29379" y="94124"/>
                  </a:lnTo>
                  <a:lnTo>
                    <a:pt x="29337" y="94124"/>
                  </a:lnTo>
                  <a:lnTo>
                    <a:pt x="29337" y="94124"/>
                  </a:lnTo>
                  <a:lnTo>
                    <a:pt x="29337" y="94124"/>
                  </a:lnTo>
                  <a:lnTo>
                    <a:pt x="29337" y="94350"/>
                  </a:lnTo>
                  <a:lnTo>
                    <a:pt x="29379" y="94350"/>
                  </a:lnTo>
                  <a:lnTo>
                    <a:pt x="29442" y="94350"/>
                  </a:lnTo>
                  <a:lnTo>
                    <a:pt x="29484" y="94350"/>
                  </a:lnTo>
                  <a:lnTo>
                    <a:pt x="29484" y="94124"/>
                  </a:lnTo>
                  <a:lnTo>
                    <a:pt x="29547" y="94124"/>
                  </a:lnTo>
                  <a:lnTo>
                    <a:pt x="29589" y="94124"/>
                  </a:lnTo>
                  <a:lnTo>
                    <a:pt x="29695" y="93785"/>
                  </a:lnTo>
                  <a:lnTo>
                    <a:pt x="29737" y="93785"/>
                  </a:lnTo>
                  <a:lnTo>
                    <a:pt x="29737" y="93785"/>
                  </a:lnTo>
                  <a:lnTo>
                    <a:pt x="29737" y="93785"/>
                  </a:lnTo>
                  <a:lnTo>
                    <a:pt x="29737" y="93559"/>
                  </a:lnTo>
                  <a:lnTo>
                    <a:pt x="29779" y="93559"/>
                  </a:lnTo>
                  <a:lnTo>
                    <a:pt x="29779" y="93559"/>
                  </a:lnTo>
                  <a:lnTo>
                    <a:pt x="29884" y="93333"/>
                  </a:lnTo>
                  <a:lnTo>
                    <a:pt x="29989" y="93785"/>
                  </a:lnTo>
                  <a:lnTo>
                    <a:pt x="30073" y="94915"/>
                  </a:lnTo>
                  <a:lnTo>
                    <a:pt x="30241" y="95932"/>
                  </a:lnTo>
                  <a:lnTo>
                    <a:pt x="30283" y="96271"/>
                  </a:lnTo>
                  <a:lnTo>
                    <a:pt x="30283" y="96497"/>
                  </a:lnTo>
                  <a:lnTo>
                    <a:pt x="30283" y="96497"/>
                  </a:lnTo>
                  <a:lnTo>
                    <a:pt x="30241" y="97288"/>
                  </a:lnTo>
                  <a:lnTo>
                    <a:pt x="30178" y="97853"/>
                  </a:lnTo>
                  <a:lnTo>
                    <a:pt x="30073" y="98644"/>
                  </a:lnTo>
                  <a:lnTo>
                    <a:pt x="30136" y="98870"/>
                  </a:lnTo>
                  <a:lnTo>
                    <a:pt x="30136" y="98870"/>
                  </a:lnTo>
                  <a:lnTo>
                    <a:pt x="30136" y="99209"/>
                  </a:lnTo>
                  <a:lnTo>
                    <a:pt x="30136" y="98870"/>
                  </a:lnTo>
                  <a:lnTo>
                    <a:pt x="30178" y="99209"/>
                  </a:lnTo>
                  <a:lnTo>
                    <a:pt x="30178" y="98870"/>
                  </a:lnTo>
                  <a:lnTo>
                    <a:pt x="30178" y="98870"/>
                  </a:lnTo>
                  <a:lnTo>
                    <a:pt x="30178" y="98644"/>
                  </a:lnTo>
                  <a:lnTo>
                    <a:pt x="30178" y="98644"/>
                  </a:lnTo>
                  <a:lnTo>
                    <a:pt x="30178" y="98418"/>
                  </a:lnTo>
                  <a:lnTo>
                    <a:pt x="30178" y="98418"/>
                  </a:lnTo>
                  <a:lnTo>
                    <a:pt x="30241" y="98418"/>
                  </a:lnTo>
                  <a:lnTo>
                    <a:pt x="30241" y="98644"/>
                  </a:lnTo>
                  <a:lnTo>
                    <a:pt x="30241" y="98644"/>
                  </a:lnTo>
                  <a:lnTo>
                    <a:pt x="30283" y="98644"/>
                  </a:lnTo>
                  <a:lnTo>
                    <a:pt x="30283" y="98644"/>
                  </a:lnTo>
                  <a:lnTo>
                    <a:pt x="30283" y="98644"/>
                  </a:lnTo>
                  <a:lnTo>
                    <a:pt x="30241" y="98870"/>
                  </a:lnTo>
                  <a:lnTo>
                    <a:pt x="30241" y="99209"/>
                  </a:lnTo>
                  <a:lnTo>
                    <a:pt x="30136" y="99435"/>
                  </a:lnTo>
                  <a:lnTo>
                    <a:pt x="30136" y="99435"/>
                  </a:lnTo>
                  <a:lnTo>
                    <a:pt x="30136" y="99435"/>
                  </a:lnTo>
                  <a:lnTo>
                    <a:pt x="30136" y="99661"/>
                  </a:lnTo>
                  <a:lnTo>
                    <a:pt x="30136" y="99661"/>
                  </a:lnTo>
                  <a:lnTo>
                    <a:pt x="30178" y="100451"/>
                  </a:lnTo>
                  <a:lnTo>
                    <a:pt x="30178" y="101016"/>
                  </a:lnTo>
                  <a:lnTo>
                    <a:pt x="30241" y="101016"/>
                  </a:lnTo>
                  <a:lnTo>
                    <a:pt x="30241" y="101016"/>
                  </a:lnTo>
                  <a:lnTo>
                    <a:pt x="30283" y="101016"/>
                  </a:lnTo>
                  <a:lnTo>
                    <a:pt x="30283" y="101016"/>
                  </a:lnTo>
                  <a:lnTo>
                    <a:pt x="30283" y="101016"/>
                  </a:lnTo>
                  <a:lnTo>
                    <a:pt x="30283" y="100790"/>
                  </a:lnTo>
                  <a:lnTo>
                    <a:pt x="30325" y="100790"/>
                  </a:lnTo>
                  <a:lnTo>
                    <a:pt x="30325" y="101016"/>
                  </a:lnTo>
                  <a:lnTo>
                    <a:pt x="30283" y="101581"/>
                  </a:lnTo>
                  <a:lnTo>
                    <a:pt x="30283" y="101807"/>
                  </a:lnTo>
                  <a:lnTo>
                    <a:pt x="30283" y="101807"/>
                  </a:lnTo>
                  <a:lnTo>
                    <a:pt x="30325" y="101807"/>
                  </a:lnTo>
                  <a:lnTo>
                    <a:pt x="30325" y="101581"/>
                  </a:lnTo>
                  <a:lnTo>
                    <a:pt x="30389" y="101581"/>
                  </a:lnTo>
                  <a:lnTo>
                    <a:pt x="30389" y="101581"/>
                  </a:lnTo>
                  <a:lnTo>
                    <a:pt x="30325" y="101807"/>
                  </a:lnTo>
                  <a:lnTo>
                    <a:pt x="30325" y="102146"/>
                  </a:lnTo>
                  <a:lnTo>
                    <a:pt x="30325" y="102146"/>
                  </a:lnTo>
                  <a:lnTo>
                    <a:pt x="30325" y="102146"/>
                  </a:lnTo>
                  <a:lnTo>
                    <a:pt x="30325" y="102937"/>
                  </a:lnTo>
                  <a:lnTo>
                    <a:pt x="30389" y="103163"/>
                  </a:lnTo>
                  <a:lnTo>
                    <a:pt x="30431" y="103389"/>
                  </a:lnTo>
                  <a:lnTo>
                    <a:pt x="30473" y="103389"/>
                  </a:lnTo>
                  <a:lnTo>
                    <a:pt x="30473" y="103728"/>
                  </a:lnTo>
                  <a:lnTo>
                    <a:pt x="30536" y="104293"/>
                  </a:lnTo>
                  <a:lnTo>
                    <a:pt x="30536" y="104745"/>
                  </a:lnTo>
                  <a:lnTo>
                    <a:pt x="30578" y="104745"/>
                  </a:lnTo>
                  <a:lnTo>
                    <a:pt x="30578" y="104745"/>
                  </a:lnTo>
                  <a:lnTo>
                    <a:pt x="30578" y="104745"/>
                  </a:lnTo>
                  <a:lnTo>
                    <a:pt x="30578" y="105084"/>
                  </a:lnTo>
                  <a:lnTo>
                    <a:pt x="30536" y="104745"/>
                  </a:lnTo>
                  <a:lnTo>
                    <a:pt x="30536" y="104745"/>
                  </a:lnTo>
                  <a:lnTo>
                    <a:pt x="30536" y="104745"/>
                  </a:lnTo>
                  <a:lnTo>
                    <a:pt x="30536" y="105084"/>
                  </a:lnTo>
                  <a:lnTo>
                    <a:pt x="30536" y="105310"/>
                  </a:lnTo>
                  <a:lnTo>
                    <a:pt x="30578" y="105310"/>
                  </a:lnTo>
                  <a:lnTo>
                    <a:pt x="30620" y="105084"/>
                  </a:lnTo>
                  <a:lnTo>
                    <a:pt x="30683" y="105084"/>
                  </a:lnTo>
                  <a:lnTo>
                    <a:pt x="30725" y="105084"/>
                  </a:lnTo>
                  <a:lnTo>
                    <a:pt x="30767" y="105084"/>
                  </a:lnTo>
                  <a:lnTo>
                    <a:pt x="30830" y="104745"/>
                  </a:lnTo>
                  <a:lnTo>
                    <a:pt x="30830" y="104519"/>
                  </a:lnTo>
                  <a:lnTo>
                    <a:pt x="30872" y="103954"/>
                  </a:lnTo>
                  <a:lnTo>
                    <a:pt x="30935" y="103728"/>
                  </a:lnTo>
                  <a:lnTo>
                    <a:pt x="30935" y="103389"/>
                  </a:lnTo>
                  <a:lnTo>
                    <a:pt x="30977" y="103389"/>
                  </a:lnTo>
                  <a:lnTo>
                    <a:pt x="30977" y="103389"/>
                  </a:lnTo>
                  <a:lnTo>
                    <a:pt x="30977" y="103389"/>
                  </a:lnTo>
                  <a:lnTo>
                    <a:pt x="30977" y="102937"/>
                  </a:lnTo>
                  <a:lnTo>
                    <a:pt x="31019" y="101807"/>
                  </a:lnTo>
                  <a:lnTo>
                    <a:pt x="31083" y="101355"/>
                  </a:lnTo>
                  <a:lnTo>
                    <a:pt x="31083" y="100790"/>
                  </a:lnTo>
                  <a:lnTo>
                    <a:pt x="31083" y="100451"/>
                  </a:lnTo>
                  <a:lnTo>
                    <a:pt x="31019" y="100225"/>
                  </a:lnTo>
                  <a:lnTo>
                    <a:pt x="30977" y="97853"/>
                  </a:lnTo>
                  <a:lnTo>
                    <a:pt x="30977" y="97853"/>
                  </a:lnTo>
                  <a:lnTo>
                    <a:pt x="30935" y="97514"/>
                  </a:lnTo>
                  <a:lnTo>
                    <a:pt x="30977" y="97062"/>
                  </a:lnTo>
                  <a:lnTo>
                    <a:pt x="30935" y="96723"/>
                  </a:lnTo>
                  <a:lnTo>
                    <a:pt x="30977" y="96497"/>
                  </a:lnTo>
                  <a:lnTo>
                    <a:pt x="30977" y="96497"/>
                  </a:lnTo>
                  <a:lnTo>
                    <a:pt x="30977" y="96497"/>
                  </a:lnTo>
                  <a:lnTo>
                    <a:pt x="30977" y="96723"/>
                  </a:lnTo>
                  <a:lnTo>
                    <a:pt x="30977" y="96723"/>
                  </a:lnTo>
                  <a:lnTo>
                    <a:pt x="30977" y="97062"/>
                  </a:lnTo>
                  <a:lnTo>
                    <a:pt x="30977" y="97062"/>
                  </a:lnTo>
                  <a:lnTo>
                    <a:pt x="30977" y="97062"/>
                  </a:lnTo>
                  <a:lnTo>
                    <a:pt x="30977" y="97288"/>
                  </a:lnTo>
                  <a:lnTo>
                    <a:pt x="30977" y="97514"/>
                  </a:lnTo>
                  <a:lnTo>
                    <a:pt x="30977" y="97514"/>
                  </a:lnTo>
                  <a:lnTo>
                    <a:pt x="30977" y="97288"/>
                  </a:lnTo>
                  <a:lnTo>
                    <a:pt x="31019" y="97062"/>
                  </a:lnTo>
                  <a:lnTo>
                    <a:pt x="31019" y="97062"/>
                  </a:lnTo>
                  <a:lnTo>
                    <a:pt x="30977" y="97514"/>
                  </a:lnTo>
                  <a:lnTo>
                    <a:pt x="30977" y="97853"/>
                  </a:lnTo>
                  <a:lnTo>
                    <a:pt x="30977" y="98644"/>
                  </a:lnTo>
                  <a:lnTo>
                    <a:pt x="31019" y="98644"/>
                  </a:lnTo>
                  <a:lnTo>
                    <a:pt x="30977" y="98079"/>
                  </a:lnTo>
                  <a:lnTo>
                    <a:pt x="30977" y="97853"/>
                  </a:lnTo>
                  <a:lnTo>
                    <a:pt x="30977" y="97853"/>
                  </a:lnTo>
                  <a:lnTo>
                    <a:pt x="31019" y="97514"/>
                  </a:lnTo>
                  <a:lnTo>
                    <a:pt x="31019" y="97288"/>
                  </a:lnTo>
                  <a:lnTo>
                    <a:pt x="31019" y="97288"/>
                  </a:lnTo>
                  <a:lnTo>
                    <a:pt x="31019" y="97062"/>
                  </a:lnTo>
                  <a:lnTo>
                    <a:pt x="30977" y="95932"/>
                  </a:lnTo>
                  <a:lnTo>
                    <a:pt x="30935" y="94915"/>
                  </a:lnTo>
                  <a:lnTo>
                    <a:pt x="30935" y="94124"/>
                  </a:lnTo>
                  <a:lnTo>
                    <a:pt x="30935" y="93333"/>
                  </a:lnTo>
                  <a:lnTo>
                    <a:pt x="30935" y="92994"/>
                  </a:lnTo>
                  <a:lnTo>
                    <a:pt x="30935" y="91977"/>
                  </a:lnTo>
                  <a:lnTo>
                    <a:pt x="30935" y="91977"/>
                  </a:lnTo>
                  <a:lnTo>
                    <a:pt x="30935" y="91638"/>
                  </a:lnTo>
                  <a:lnTo>
                    <a:pt x="30935" y="91412"/>
                  </a:lnTo>
                  <a:lnTo>
                    <a:pt x="30935" y="91412"/>
                  </a:lnTo>
                  <a:lnTo>
                    <a:pt x="30977" y="91186"/>
                  </a:lnTo>
                  <a:lnTo>
                    <a:pt x="30977" y="91186"/>
                  </a:lnTo>
                  <a:lnTo>
                    <a:pt x="30977" y="90847"/>
                  </a:lnTo>
                  <a:lnTo>
                    <a:pt x="30977" y="90847"/>
                  </a:lnTo>
                  <a:lnTo>
                    <a:pt x="31019" y="90847"/>
                  </a:lnTo>
                  <a:lnTo>
                    <a:pt x="31019" y="90847"/>
                  </a:lnTo>
                  <a:lnTo>
                    <a:pt x="31083" y="90621"/>
                  </a:lnTo>
                  <a:lnTo>
                    <a:pt x="31083" y="90395"/>
                  </a:lnTo>
                  <a:lnTo>
                    <a:pt x="31019" y="90395"/>
                  </a:lnTo>
                  <a:lnTo>
                    <a:pt x="31019" y="90395"/>
                  </a:lnTo>
                  <a:lnTo>
                    <a:pt x="31083" y="90395"/>
                  </a:lnTo>
                  <a:lnTo>
                    <a:pt x="31083" y="90056"/>
                  </a:lnTo>
                  <a:lnTo>
                    <a:pt x="31125" y="90056"/>
                  </a:lnTo>
                  <a:lnTo>
                    <a:pt x="31125" y="90056"/>
                  </a:lnTo>
                  <a:lnTo>
                    <a:pt x="31125" y="89830"/>
                  </a:lnTo>
                  <a:lnTo>
                    <a:pt x="31125" y="90056"/>
                  </a:lnTo>
                  <a:lnTo>
                    <a:pt x="31125" y="89830"/>
                  </a:lnTo>
                  <a:lnTo>
                    <a:pt x="31125" y="89830"/>
                  </a:lnTo>
                  <a:lnTo>
                    <a:pt x="31125" y="89830"/>
                  </a:lnTo>
                  <a:lnTo>
                    <a:pt x="31167" y="89830"/>
                  </a:lnTo>
                  <a:lnTo>
                    <a:pt x="31125" y="89604"/>
                  </a:lnTo>
                  <a:lnTo>
                    <a:pt x="31125" y="89604"/>
                  </a:lnTo>
                  <a:lnTo>
                    <a:pt x="31167" y="89604"/>
                  </a:lnTo>
                  <a:lnTo>
                    <a:pt x="31167" y="89604"/>
                  </a:lnTo>
                  <a:lnTo>
                    <a:pt x="31230" y="89265"/>
                  </a:lnTo>
                  <a:lnTo>
                    <a:pt x="31230" y="89265"/>
                  </a:lnTo>
                  <a:lnTo>
                    <a:pt x="31230" y="89265"/>
                  </a:lnTo>
                  <a:lnTo>
                    <a:pt x="31167" y="89039"/>
                  </a:lnTo>
                  <a:lnTo>
                    <a:pt x="31230" y="89039"/>
                  </a:lnTo>
                  <a:lnTo>
                    <a:pt x="31230" y="89039"/>
                  </a:lnTo>
                  <a:lnTo>
                    <a:pt x="31272" y="89039"/>
                  </a:lnTo>
                  <a:lnTo>
                    <a:pt x="31314" y="88700"/>
                  </a:lnTo>
                  <a:lnTo>
                    <a:pt x="31314" y="88700"/>
                  </a:lnTo>
                  <a:lnTo>
                    <a:pt x="31314" y="88474"/>
                  </a:lnTo>
                  <a:lnTo>
                    <a:pt x="31377" y="88474"/>
                  </a:lnTo>
                  <a:lnTo>
                    <a:pt x="31377" y="88474"/>
                  </a:lnTo>
                  <a:lnTo>
                    <a:pt x="31377" y="88248"/>
                  </a:lnTo>
                  <a:lnTo>
                    <a:pt x="31377" y="88248"/>
                  </a:lnTo>
                  <a:lnTo>
                    <a:pt x="31377" y="88248"/>
                  </a:lnTo>
                  <a:lnTo>
                    <a:pt x="31377" y="88248"/>
                  </a:lnTo>
                  <a:lnTo>
                    <a:pt x="31377" y="87909"/>
                  </a:lnTo>
                  <a:lnTo>
                    <a:pt x="31377" y="87683"/>
                  </a:lnTo>
                  <a:lnTo>
                    <a:pt x="31419" y="87909"/>
                  </a:lnTo>
                  <a:lnTo>
                    <a:pt x="31419" y="87909"/>
                  </a:lnTo>
                  <a:lnTo>
                    <a:pt x="31419" y="87909"/>
                  </a:lnTo>
                  <a:lnTo>
                    <a:pt x="31419" y="87909"/>
                  </a:lnTo>
                  <a:lnTo>
                    <a:pt x="31419" y="87909"/>
                  </a:lnTo>
                  <a:lnTo>
                    <a:pt x="31419" y="88248"/>
                  </a:lnTo>
                  <a:lnTo>
                    <a:pt x="31461" y="88248"/>
                  </a:lnTo>
                  <a:lnTo>
                    <a:pt x="31461" y="88248"/>
                  </a:lnTo>
                  <a:lnTo>
                    <a:pt x="31461" y="87909"/>
                  </a:lnTo>
                  <a:lnTo>
                    <a:pt x="31524" y="87909"/>
                  </a:lnTo>
                  <a:lnTo>
                    <a:pt x="31461" y="87683"/>
                  </a:lnTo>
                  <a:lnTo>
                    <a:pt x="31461" y="87683"/>
                  </a:lnTo>
                  <a:lnTo>
                    <a:pt x="31461" y="87683"/>
                  </a:lnTo>
                  <a:lnTo>
                    <a:pt x="31524" y="87683"/>
                  </a:lnTo>
                  <a:lnTo>
                    <a:pt x="31566" y="87683"/>
                  </a:lnTo>
                  <a:lnTo>
                    <a:pt x="31566" y="87683"/>
                  </a:lnTo>
                  <a:lnTo>
                    <a:pt x="31629" y="87457"/>
                  </a:lnTo>
                  <a:lnTo>
                    <a:pt x="31629" y="87457"/>
                  </a:lnTo>
                  <a:lnTo>
                    <a:pt x="31671" y="87457"/>
                  </a:lnTo>
                  <a:lnTo>
                    <a:pt x="31713" y="87457"/>
                  </a:lnTo>
                  <a:lnTo>
                    <a:pt x="31713" y="87118"/>
                  </a:lnTo>
                  <a:lnTo>
                    <a:pt x="31777" y="87118"/>
                  </a:lnTo>
                  <a:lnTo>
                    <a:pt x="31777" y="86892"/>
                  </a:lnTo>
                  <a:lnTo>
                    <a:pt x="31819" y="86892"/>
                  </a:lnTo>
                  <a:lnTo>
                    <a:pt x="31819" y="86892"/>
                  </a:lnTo>
                  <a:lnTo>
                    <a:pt x="31861" y="86666"/>
                  </a:lnTo>
                  <a:lnTo>
                    <a:pt x="31924" y="86327"/>
                  </a:lnTo>
                  <a:lnTo>
                    <a:pt x="31924" y="86327"/>
                  </a:lnTo>
                  <a:lnTo>
                    <a:pt x="31966" y="86327"/>
                  </a:lnTo>
                  <a:lnTo>
                    <a:pt x="32008" y="86101"/>
                  </a:lnTo>
                  <a:lnTo>
                    <a:pt x="32071" y="86101"/>
                  </a:lnTo>
                  <a:lnTo>
                    <a:pt x="32071" y="85762"/>
                  </a:lnTo>
                  <a:lnTo>
                    <a:pt x="32071" y="85536"/>
                  </a:lnTo>
                  <a:lnTo>
                    <a:pt x="32071" y="85536"/>
                  </a:lnTo>
                  <a:lnTo>
                    <a:pt x="32071" y="85762"/>
                  </a:lnTo>
                  <a:lnTo>
                    <a:pt x="32071" y="85762"/>
                  </a:lnTo>
                  <a:lnTo>
                    <a:pt x="32113" y="85536"/>
                  </a:lnTo>
                  <a:lnTo>
                    <a:pt x="32218" y="84971"/>
                  </a:lnTo>
                  <a:lnTo>
                    <a:pt x="32260" y="84745"/>
                  </a:lnTo>
                  <a:lnTo>
                    <a:pt x="32407" y="84519"/>
                  </a:lnTo>
                  <a:lnTo>
                    <a:pt x="32471" y="84180"/>
                  </a:lnTo>
                  <a:lnTo>
                    <a:pt x="32618" y="84180"/>
                  </a:lnTo>
                  <a:lnTo>
                    <a:pt x="32618" y="84180"/>
                  </a:lnTo>
                  <a:lnTo>
                    <a:pt x="32660" y="83728"/>
                  </a:lnTo>
                  <a:lnTo>
                    <a:pt x="32660" y="83954"/>
                  </a:lnTo>
                  <a:lnTo>
                    <a:pt x="32660" y="84180"/>
                  </a:lnTo>
                  <a:lnTo>
                    <a:pt x="32660" y="84180"/>
                  </a:lnTo>
                  <a:lnTo>
                    <a:pt x="32660" y="83954"/>
                  </a:lnTo>
                  <a:lnTo>
                    <a:pt x="32702" y="83728"/>
                  </a:lnTo>
                  <a:lnTo>
                    <a:pt x="32765" y="83389"/>
                  </a:lnTo>
                  <a:lnTo>
                    <a:pt x="32765" y="83389"/>
                  </a:lnTo>
                  <a:lnTo>
                    <a:pt x="32807" y="83163"/>
                  </a:lnTo>
                  <a:lnTo>
                    <a:pt x="32849" y="82824"/>
                  </a:lnTo>
                  <a:lnTo>
                    <a:pt x="32912" y="82824"/>
                  </a:lnTo>
                  <a:lnTo>
                    <a:pt x="32912" y="82824"/>
                  </a:lnTo>
                  <a:lnTo>
                    <a:pt x="32912" y="82598"/>
                  </a:lnTo>
                  <a:lnTo>
                    <a:pt x="32912" y="82372"/>
                  </a:lnTo>
                  <a:lnTo>
                    <a:pt x="32954" y="82372"/>
                  </a:lnTo>
                  <a:lnTo>
                    <a:pt x="32954" y="82598"/>
                  </a:lnTo>
                  <a:lnTo>
                    <a:pt x="32954" y="82598"/>
                  </a:lnTo>
                  <a:lnTo>
                    <a:pt x="32954" y="82598"/>
                  </a:lnTo>
                  <a:lnTo>
                    <a:pt x="33017" y="82372"/>
                  </a:lnTo>
                  <a:lnTo>
                    <a:pt x="33059" y="82372"/>
                  </a:lnTo>
                  <a:lnTo>
                    <a:pt x="33101" y="82372"/>
                  </a:lnTo>
                  <a:lnTo>
                    <a:pt x="33165" y="82372"/>
                  </a:lnTo>
                  <a:lnTo>
                    <a:pt x="33165" y="82372"/>
                  </a:lnTo>
                  <a:lnTo>
                    <a:pt x="33207" y="82372"/>
                  </a:lnTo>
                  <a:lnTo>
                    <a:pt x="33249" y="82372"/>
                  </a:lnTo>
                  <a:lnTo>
                    <a:pt x="33249" y="82372"/>
                  </a:lnTo>
                  <a:lnTo>
                    <a:pt x="33312" y="82033"/>
                  </a:lnTo>
                  <a:lnTo>
                    <a:pt x="33354" y="81807"/>
                  </a:lnTo>
                  <a:lnTo>
                    <a:pt x="33312" y="81807"/>
                  </a:lnTo>
                  <a:lnTo>
                    <a:pt x="33207" y="81807"/>
                  </a:lnTo>
                  <a:lnTo>
                    <a:pt x="33165" y="81807"/>
                  </a:lnTo>
                  <a:lnTo>
                    <a:pt x="33165" y="81581"/>
                  </a:lnTo>
                  <a:lnTo>
                    <a:pt x="33101" y="81242"/>
                  </a:lnTo>
                  <a:lnTo>
                    <a:pt x="33165" y="81581"/>
                  </a:lnTo>
                  <a:lnTo>
                    <a:pt x="33207" y="81807"/>
                  </a:lnTo>
                  <a:lnTo>
                    <a:pt x="33249" y="81581"/>
                  </a:lnTo>
                  <a:lnTo>
                    <a:pt x="33249" y="81581"/>
                  </a:lnTo>
                  <a:lnTo>
                    <a:pt x="33312" y="81242"/>
                  </a:lnTo>
                  <a:lnTo>
                    <a:pt x="33312" y="81242"/>
                  </a:lnTo>
                  <a:lnTo>
                    <a:pt x="33354" y="81016"/>
                  </a:lnTo>
                  <a:lnTo>
                    <a:pt x="33312" y="81016"/>
                  </a:lnTo>
                  <a:lnTo>
                    <a:pt x="33312" y="81016"/>
                  </a:lnTo>
                  <a:lnTo>
                    <a:pt x="33207" y="80451"/>
                  </a:lnTo>
                  <a:lnTo>
                    <a:pt x="33165" y="80451"/>
                  </a:lnTo>
                  <a:lnTo>
                    <a:pt x="33207" y="80451"/>
                  </a:lnTo>
                  <a:lnTo>
                    <a:pt x="33249" y="80677"/>
                  </a:lnTo>
                  <a:lnTo>
                    <a:pt x="33312" y="80451"/>
                  </a:lnTo>
                  <a:lnTo>
                    <a:pt x="33354" y="80451"/>
                  </a:lnTo>
                  <a:lnTo>
                    <a:pt x="33354" y="80451"/>
                  </a:lnTo>
                  <a:lnTo>
                    <a:pt x="33354" y="80451"/>
                  </a:lnTo>
                  <a:lnTo>
                    <a:pt x="33354" y="80677"/>
                  </a:lnTo>
                  <a:lnTo>
                    <a:pt x="33354" y="80677"/>
                  </a:lnTo>
                  <a:lnTo>
                    <a:pt x="33354" y="80677"/>
                  </a:lnTo>
                  <a:lnTo>
                    <a:pt x="33396" y="80677"/>
                  </a:lnTo>
                  <a:lnTo>
                    <a:pt x="33459" y="80677"/>
                  </a:lnTo>
                  <a:lnTo>
                    <a:pt x="33459" y="80677"/>
                  </a:lnTo>
                  <a:lnTo>
                    <a:pt x="33501" y="80677"/>
                  </a:lnTo>
                  <a:lnTo>
                    <a:pt x="33543" y="80451"/>
                  </a:lnTo>
                  <a:lnTo>
                    <a:pt x="33648" y="80225"/>
                  </a:lnTo>
                  <a:lnTo>
                    <a:pt x="33711" y="79887"/>
                  </a:lnTo>
                  <a:lnTo>
                    <a:pt x="33711" y="79661"/>
                  </a:lnTo>
                  <a:lnTo>
                    <a:pt x="33711" y="79435"/>
                  </a:lnTo>
                  <a:lnTo>
                    <a:pt x="33711" y="79435"/>
                  </a:lnTo>
                  <a:lnTo>
                    <a:pt x="33648" y="79435"/>
                  </a:lnTo>
                  <a:lnTo>
                    <a:pt x="33606" y="79435"/>
                  </a:lnTo>
                  <a:lnTo>
                    <a:pt x="33606" y="79887"/>
                  </a:lnTo>
                  <a:lnTo>
                    <a:pt x="33543" y="79887"/>
                  </a:lnTo>
                  <a:lnTo>
                    <a:pt x="33543" y="79887"/>
                  </a:lnTo>
                  <a:lnTo>
                    <a:pt x="33543" y="79661"/>
                  </a:lnTo>
                  <a:lnTo>
                    <a:pt x="33606" y="79661"/>
                  </a:lnTo>
                  <a:lnTo>
                    <a:pt x="33606" y="79435"/>
                  </a:lnTo>
                  <a:lnTo>
                    <a:pt x="33543" y="79435"/>
                  </a:lnTo>
                  <a:lnTo>
                    <a:pt x="33501" y="79435"/>
                  </a:lnTo>
                  <a:lnTo>
                    <a:pt x="33501" y="79435"/>
                  </a:lnTo>
                  <a:lnTo>
                    <a:pt x="33459" y="79435"/>
                  </a:lnTo>
                  <a:lnTo>
                    <a:pt x="33396" y="79435"/>
                  </a:lnTo>
                  <a:lnTo>
                    <a:pt x="33354" y="79435"/>
                  </a:lnTo>
                  <a:lnTo>
                    <a:pt x="33354" y="79096"/>
                  </a:lnTo>
                  <a:lnTo>
                    <a:pt x="33354" y="78870"/>
                  </a:lnTo>
                  <a:lnTo>
                    <a:pt x="33396" y="78644"/>
                  </a:lnTo>
                  <a:lnTo>
                    <a:pt x="33354" y="78870"/>
                  </a:lnTo>
                  <a:lnTo>
                    <a:pt x="33396" y="79096"/>
                  </a:lnTo>
                  <a:lnTo>
                    <a:pt x="33396" y="79096"/>
                  </a:lnTo>
                  <a:lnTo>
                    <a:pt x="33459" y="79096"/>
                  </a:lnTo>
                  <a:lnTo>
                    <a:pt x="33459" y="79096"/>
                  </a:lnTo>
                  <a:lnTo>
                    <a:pt x="33501" y="78870"/>
                  </a:lnTo>
                  <a:lnTo>
                    <a:pt x="33501" y="78870"/>
                  </a:lnTo>
                  <a:lnTo>
                    <a:pt x="33543" y="78870"/>
                  </a:lnTo>
                  <a:lnTo>
                    <a:pt x="33543" y="78870"/>
                  </a:lnTo>
                  <a:lnTo>
                    <a:pt x="33543" y="78870"/>
                  </a:lnTo>
                  <a:lnTo>
                    <a:pt x="33606" y="78870"/>
                  </a:lnTo>
                  <a:lnTo>
                    <a:pt x="33606" y="78870"/>
                  </a:lnTo>
                  <a:lnTo>
                    <a:pt x="33606" y="78644"/>
                  </a:lnTo>
                  <a:lnTo>
                    <a:pt x="33648" y="78644"/>
                  </a:lnTo>
                  <a:lnTo>
                    <a:pt x="33648" y="78870"/>
                  </a:lnTo>
                  <a:lnTo>
                    <a:pt x="33711" y="78870"/>
                  </a:lnTo>
                  <a:lnTo>
                    <a:pt x="33711" y="78870"/>
                  </a:lnTo>
                  <a:lnTo>
                    <a:pt x="33711" y="78644"/>
                  </a:lnTo>
                  <a:lnTo>
                    <a:pt x="33711" y="78305"/>
                  </a:lnTo>
                  <a:lnTo>
                    <a:pt x="33711" y="78305"/>
                  </a:lnTo>
                  <a:lnTo>
                    <a:pt x="33711" y="78079"/>
                  </a:lnTo>
                  <a:lnTo>
                    <a:pt x="33711" y="77740"/>
                  </a:lnTo>
                  <a:lnTo>
                    <a:pt x="33711" y="77740"/>
                  </a:lnTo>
                  <a:lnTo>
                    <a:pt x="33711" y="77740"/>
                  </a:lnTo>
                  <a:lnTo>
                    <a:pt x="33753" y="77514"/>
                  </a:lnTo>
                  <a:lnTo>
                    <a:pt x="33753" y="77740"/>
                  </a:lnTo>
                  <a:lnTo>
                    <a:pt x="33753" y="77740"/>
                  </a:lnTo>
                  <a:lnTo>
                    <a:pt x="33753" y="78644"/>
                  </a:lnTo>
                  <a:lnTo>
                    <a:pt x="33753" y="79096"/>
                  </a:lnTo>
                  <a:lnTo>
                    <a:pt x="33753" y="79661"/>
                  </a:lnTo>
                  <a:lnTo>
                    <a:pt x="33753" y="79661"/>
                  </a:lnTo>
                  <a:lnTo>
                    <a:pt x="33753" y="79661"/>
                  </a:lnTo>
                  <a:lnTo>
                    <a:pt x="33753" y="78644"/>
                  </a:lnTo>
                  <a:lnTo>
                    <a:pt x="33753" y="77514"/>
                  </a:lnTo>
                  <a:lnTo>
                    <a:pt x="33753" y="77514"/>
                  </a:lnTo>
                  <a:lnTo>
                    <a:pt x="33753" y="77288"/>
                  </a:lnTo>
                  <a:lnTo>
                    <a:pt x="33753" y="76949"/>
                  </a:lnTo>
                  <a:lnTo>
                    <a:pt x="33711" y="76949"/>
                  </a:lnTo>
                  <a:lnTo>
                    <a:pt x="33648" y="76949"/>
                  </a:lnTo>
                  <a:lnTo>
                    <a:pt x="33606" y="76949"/>
                  </a:lnTo>
                  <a:lnTo>
                    <a:pt x="33543" y="76949"/>
                  </a:lnTo>
                  <a:lnTo>
                    <a:pt x="33543" y="76949"/>
                  </a:lnTo>
                  <a:lnTo>
                    <a:pt x="33543" y="76723"/>
                  </a:lnTo>
                  <a:lnTo>
                    <a:pt x="33543" y="76497"/>
                  </a:lnTo>
                  <a:lnTo>
                    <a:pt x="33501" y="76497"/>
                  </a:lnTo>
                  <a:lnTo>
                    <a:pt x="33459" y="76158"/>
                  </a:lnTo>
                  <a:lnTo>
                    <a:pt x="33459" y="76158"/>
                  </a:lnTo>
                  <a:lnTo>
                    <a:pt x="33354" y="76158"/>
                  </a:lnTo>
                  <a:lnTo>
                    <a:pt x="33354" y="76158"/>
                  </a:lnTo>
                  <a:lnTo>
                    <a:pt x="33354" y="75932"/>
                  </a:lnTo>
                  <a:lnTo>
                    <a:pt x="33459" y="75932"/>
                  </a:lnTo>
                  <a:lnTo>
                    <a:pt x="33543" y="76158"/>
                  </a:lnTo>
                  <a:lnTo>
                    <a:pt x="33543" y="76158"/>
                  </a:lnTo>
                  <a:lnTo>
                    <a:pt x="33543" y="76497"/>
                  </a:lnTo>
                  <a:lnTo>
                    <a:pt x="33606" y="76723"/>
                  </a:lnTo>
                  <a:lnTo>
                    <a:pt x="33606" y="76723"/>
                  </a:lnTo>
                  <a:lnTo>
                    <a:pt x="33606" y="76723"/>
                  </a:lnTo>
                  <a:lnTo>
                    <a:pt x="33648" y="76723"/>
                  </a:lnTo>
                  <a:lnTo>
                    <a:pt x="33648" y="76723"/>
                  </a:lnTo>
                  <a:lnTo>
                    <a:pt x="33648" y="76497"/>
                  </a:lnTo>
                  <a:lnTo>
                    <a:pt x="33648" y="76497"/>
                  </a:lnTo>
                  <a:lnTo>
                    <a:pt x="33648" y="76158"/>
                  </a:lnTo>
                  <a:lnTo>
                    <a:pt x="33606" y="76158"/>
                  </a:lnTo>
                  <a:lnTo>
                    <a:pt x="33606" y="75932"/>
                  </a:lnTo>
                  <a:lnTo>
                    <a:pt x="33543" y="75706"/>
                  </a:lnTo>
                  <a:lnTo>
                    <a:pt x="33543" y="75706"/>
                  </a:lnTo>
                  <a:lnTo>
                    <a:pt x="33543" y="75706"/>
                  </a:lnTo>
                  <a:lnTo>
                    <a:pt x="33606" y="76158"/>
                  </a:lnTo>
                  <a:lnTo>
                    <a:pt x="33648" y="76158"/>
                  </a:lnTo>
                  <a:lnTo>
                    <a:pt x="33648" y="76158"/>
                  </a:lnTo>
                  <a:lnTo>
                    <a:pt x="33648" y="75932"/>
                  </a:lnTo>
                  <a:lnTo>
                    <a:pt x="33648" y="75932"/>
                  </a:lnTo>
                  <a:lnTo>
                    <a:pt x="33711" y="75932"/>
                  </a:lnTo>
                  <a:lnTo>
                    <a:pt x="33753" y="75706"/>
                  </a:lnTo>
                  <a:lnTo>
                    <a:pt x="33753" y="75706"/>
                  </a:lnTo>
                  <a:lnTo>
                    <a:pt x="33711" y="75706"/>
                  </a:lnTo>
                  <a:lnTo>
                    <a:pt x="33753" y="75367"/>
                  </a:lnTo>
                  <a:lnTo>
                    <a:pt x="33648" y="75367"/>
                  </a:lnTo>
                  <a:lnTo>
                    <a:pt x="33648" y="75141"/>
                  </a:lnTo>
                  <a:lnTo>
                    <a:pt x="33648" y="75141"/>
                  </a:lnTo>
                  <a:lnTo>
                    <a:pt x="33606" y="74802"/>
                  </a:lnTo>
                  <a:lnTo>
                    <a:pt x="33606" y="74576"/>
                  </a:lnTo>
                  <a:lnTo>
                    <a:pt x="33543" y="74350"/>
                  </a:lnTo>
                  <a:lnTo>
                    <a:pt x="33501" y="74011"/>
                  </a:lnTo>
                  <a:lnTo>
                    <a:pt x="33543" y="74011"/>
                  </a:lnTo>
                  <a:lnTo>
                    <a:pt x="33543" y="74011"/>
                  </a:lnTo>
                  <a:lnTo>
                    <a:pt x="33606" y="74576"/>
                  </a:lnTo>
                  <a:lnTo>
                    <a:pt x="33606" y="74576"/>
                  </a:lnTo>
                  <a:lnTo>
                    <a:pt x="33648" y="75141"/>
                  </a:lnTo>
                  <a:lnTo>
                    <a:pt x="33711" y="75141"/>
                  </a:lnTo>
                  <a:lnTo>
                    <a:pt x="33753" y="75141"/>
                  </a:lnTo>
                  <a:lnTo>
                    <a:pt x="33753" y="75141"/>
                  </a:lnTo>
                  <a:lnTo>
                    <a:pt x="33753" y="74802"/>
                  </a:lnTo>
                  <a:lnTo>
                    <a:pt x="33796" y="74802"/>
                  </a:lnTo>
                  <a:lnTo>
                    <a:pt x="33796" y="74576"/>
                  </a:lnTo>
                  <a:lnTo>
                    <a:pt x="33753" y="74576"/>
                  </a:lnTo>
                  <a:lnTo>
                    <a:pt x="33753" y="74350"/>
                  </a:lnTo>
                  <a:lnTo>
                    <a:pt x="33711" y="74011"/>
                  </a:lnTo>
                  <a:lnTo>
                    <a:pt x="33711" y="74011"/>
                  </a:lnTo>
                  <a:lnTo>
                    <a:pt x="33606" y="74011"/>
                  </a:lnTo>
                  <a:lnTo>
                    <a:pt x="33543" y="73559"/>
                  </a:lnTo>
                  <a:lnTo>
                    <a:pt x="33543" y="73559"/>
                  </a:lnTo>
                  <a:lnTo>
                    <a:pt x="33501" y="73559"/>
                  </a:lnTo>
                  <a:lnTo>
                    <a:pt x="33501" y="73559"/>
                  </a:lnTo>
                  <a:lnTo>
                    <a:pt x="33501" y="73559"/>
                  </a:lnTo>
                  <a:lnTo>
                    <a:pt x="33501" y="72994"/>
                  </a:lnTo>
                  <a:lnTo>
                    <a:pt x="33543" y="72994"/>
                  </a:lnTo>
                  <a:lnTo>
                    <a:pt x="33606" y="72768"/>
                  </a:lnTo>
                  <a:lnTo>
                    <a:pt x="33606" y="72768"/>
                  </a:lnTo>
                  <a:lnTo>
                    <a:pt x="33648" y="72429"/>
                  </a:lnTo>
                  <a:lnTo>
                    <a:pt x="33648" y="72203"/>
                  </a:lnTo>
                  <a:lnTo>
                    <a:pt x="33648" y="72429"/>
                  </a:lnTo>
                  <a:lnTo>
                    <a:pt x="33606" y="72768"/>
                  </a:lnTo>
                  <a:lnTo>
                    <a:pt x="33606" y="72768"/>
                  </a:lnTo>
                  <a:lnTo>
                    <a:pt x="33543" y="72994"/>
                  </a:lnTo>
                  <a:lnTo>
                    <a:pt x="33501" y="73220"/>
                  </a:lnTo>
                  <a:lnTo>
                    <a:pt x="33501" y="73559"/>
                  </a:lnTo>
                  <a:lnTo>
                    <a:pt x="33543" y="73559"/>
                  </a:lnTo>
                  <a:lnTo>
                    <a:pt x="33543" y="73220"/>
                  </a:lnTo>
                  <a:lnTo>
                    <a:pt x="33606" y="73220"/>
                  </a:lnTo>
                  <a:lnTo>
                    <a:pt x="33606" y="73559"/>
                  </a:lnTo>
                  <a:lnTo>
                    <a:pt x="33606" y="73559"/>
                  </a:lnTo>
                  <a:lnTo>
                    <a:pt x="33606" y="73785"/>
                  </a:lnTo>
                  <a:lnTo>
                    <a:pt x="33648" y="73559"/>
                  </a:lnTo>
                  <a:lnTo>
                    <a:pt x="33648" y="73559"/>
                  </a:lnTo>
                  <a:lnTo>
                    <a:pt x="33648" y="73785"/>
                  </a:lnTo>
                  <a:lnTo>
                    <a:pt x="33711" y="73785"/>
                  </a:lnTo>
                  <a:lnTo>
                    <a:pt x="33753" y="74011"/>
                  </a:lnTo>
                  <a:lnTo>
                    <a:pt x="33753" y="74011"/>
                  </a:lnTo>
                  <a:lnTo>
                    <a:pt x="33796" y="74011"/>
                  </a:lnTo>
                  <a:lnTo>
                    <a:pt x="33796" y="74011"/>
                  </a:lnTo>
                  <a:lnTo>
                    <a:pt x="33796" y="74011"/>
                  </a:lnTo>
                  <a:lnTo>
                    <a:pt x="33796" y="73785"/>
                  </a:lnTo>
                  <a:lnTo>
                    <a:pt x="33753" y="73220"/>
                  </a:lnTo>
                  <a:lnTo>
                    <a:pt x="33753" y="72994"/>
                  </a:lnTo>
                  <a:lnTo>
                    <a:pt x="33753" y="72994"/>
                  </a:lnTo>
                  <a:lnTo>
                    <a:pt x="33753" y="72994"/>
                  </a:lnTo>
                  <a:lnTo>
                    <a:pt x="33753" y="72994"/>
                  </a:lnTo>
                  <a:lnTo>
                    <a:pt x="33753" y="73220"/>
                  </a:lnTo>
                  <a:lnTo>
                    <a:pt x="33796" y="73559"/>
                  </a:lnTo>
                  <a:lnTo>
                    <a:pt x="33796" y="73559"/>
                  </a:lnTo>
                  <a:lnTo>
                    <a:pt x="33796" y="73559"/>
                  </a:lnTo>
                  <a:lnTo>
                    <a:pt x="33796" y="73220"/>
                  </a:lnTo>
                  <a:lnTo>
                    <a:pt x="33796" y="73220"/>
                  </a:lnTo>
                  <a:lnTo>
                    <a:pt x="33796" y="72994"/>
                  </a:lnTo>
                  <a:lnTo>
                    <a:pt x="33796" y="72768"/>
                  </a:lnTo>
                  <a:lnTo>
                    <a:pt x="33859" y="72429"/>
                  </a:lnTo>
                  <a:lnTo>
                    <a:pt x="33859" y="72429"/>
                  </a:lnTo>
                  <a:lnTo>
                    <a:pt x="33859" y="72203"/>
                  </a:lnTo>
                  <a:lnTo>
                    <a:pt x="33859" y="72203"/>
                  </a:lnTo>
                  <a:lnTo>
                    <a:pt x="33859" y="71864"/>
                  </a:lnTo>
                  <a:lnTo>
                    <a:pt x="33859" y="71864"/>
                  </a:lnTo>
                  <a:lnTo>
                    <a:pt x="33859" y="71864"/>
                  </a:lnTo>
                  <a:lnTo>
                    <a:pt x="33901" y="71864"/>
                  </a:lnTo>
                  <a:lnTo>
                    <a:pt x="33901" y="71864"/>
                  </a:lnTo>
                  <a:lnTo>
                    <a:pt x="33901" y="71638"/>
                  </a:lnTo>
                  <a:lnTo>
                    <a:pt x="33901" y="71638"/>
                  </a:lnTo>
                  <a:lnTo>
                    <a:pt x="33901" y="71412"/>
                  </a:lnTo>
                  <a:lnTo>
                    <a:pt x="33901" y="71412"/>
                  </a:lnTo>
                  <a:lnTo>
                    <a:pt x="33943" y="71412"/>
                  </a:lnTo>
                  <a:lnTo>
                    <a:pt x="33943" y="71412"/>
                  </a:lnTo>
                  <a:lnTo>
                    <a:pt x="33943" y="71412"/>
                  </a:lnTo>
                  <a:lnTo>
                    <a:pt x="33943" y="71073"/>
                  </a:lnTo>
                  <a:lnTo>
                    <a:pt x="34006" y="71073"/>
                  </a:lnTo>
                  <a:lnTo>
                    <a:pt x="34006" y="71073"/>
                  </a:lnTo>
                  <a:lnTo>
                    <a:pt x="34006" y="71073"/>
                  </a:lnTo>
                  <a:lnTo>
                    <a:pt x="34006" y="71073"/>
                  </a:lnTo>
                  <a:lnTo>
                    <a:pt x="34006" y="71073"/>
                  </a:lnTo>
                  <a:lnTo>
                    <a:pt x="34048" y="70847"/>
                  </a:lnTo>
                  <a:lnTo>
                    <a:pt x="34048" y="70847"/>
                  </a:lnTo>
                  <a:lnTo>
                    <a:pt x="34048" y="71073"/>
                  </a:lnTo>
                  <a:lnTo>
                    <a:pt x="34048" y="71073"/>
                  </a:lnTo>
                  <a:lnTo>
                    <a:pt x="34090" y="70847"/>
                  </a:lnTo>
                  <a:lnTo>
                    <a:pt x="34090" y="70847"/>
                  </a:lnTo>
                  <a:lnTo>
                    <a:pt x="34090" y="70847"/>
                  </a:lnTo>
                  <a:lnTo>
                    <a:pt x="34090" y="70621"/>
                  </a:lnTo>
                  <a:lnTo>
                    <a:pt x="34153" y="70621"/>
                  </a:lnTo>
                  <a:lnTo>
                    <a:pt x="34153" y="70621"/>
                  </a:lnTo>
                  <a:lnTo>
                    <a:pt x="34153" y="70847"/>
                  </a:lnTo>
                  <a:lnTo>
                    <a:pt x="34195" y="70847"/>
                  </a:lnTo>
                  <a:lnTo>
                    <a:pt x="34153" y="70847"/>
                  </a:lnTo>
                  <a:lnTo>
                    <a:pt x="34153" y="70847"/>
                  </a:lnTo>
                  <a:lnTo>
                    <a:pt x="34090" y="71073"/>
                  </a:lnTo>
                  <a:lnTo>
                    <a:pt x="34153" y="71073"/>
                  </a:lnTo>
                  <a:lnTo>
                    <a:pt x="34153" y="71073"/>
                  </a:lnTo>
                  <a:lnTo>
                    <a:pt x="34090" y="71073"/>
                  </a:lnTo>
                  <a:lnTo>
                    <a:pt x="34090" y="71073"/>
                  </a:lnTo>
                  <a:lnTo>
                    <a:pt x="34048" y="71073"/>
                  </a:lnTo>
                  <a:lnTo>
                    <a:pt x="34006" y="71638"/>
                  </a:lnTo>
                  <a:lnTo>
                    <a:pt x="34006" y="71864"/>
                  </a:lnTo>
                  <a:lnTo>
                    <a:pt x="34006" y="71638"/>
                  </a:lnTo>
                  <a:lnTo>
                    <a:pt x="34006" y="71864"/>
                  </a:lnTo>
                  <a:lnTo>
                    <a:pt x="34006" y="71864"/>
                  </a:lnTo>
                  <a:lnTo>
                    <a:pt x="33943" y="71864"/>
                  </a:lnTo>
                  <a:lnTo>
                    <a:pt x="33943" y="71864"/>
                  </a:lnTo>
                  <a:lnTo>
                    <a:pt x="33901" y="72203"/>
                  </a:lnTo>
                  <a:lnTo>
                    <a:pt x="33901" y="72203"/>
                  </a:lnTo>
                  <a:lnTo>
                    <a:pt x="33943" y="72203"/>
                  </a:lnTo>
                  <a:lnTo>
                    <a:pt x="33943" y="72203"/>
                  </a:lnTo>
                  <a:lnTo>
                    <a:pt x="33943" y="72429"/>
                  </a:lnTo>
                  <a:lnTo>
                    <a:pt x="33943" y="72429"/>
                  </a:lnTo>
                  <a:lnTo>
                    <a:pt x="33901" y="72429"/>
                  </a:lnTo>
                  <a:lnTo>
                    <a:pt x="33901" y="72768"/>
                  </a:lnTo>
                  <a:lnTo>
                    <a:pt x="33901" y="72768"/>
                  </a:lnTo>
                  <a:lnTo>
                    <a:pt x="33901" y="72429"/>
                  </a:lnTo>
                  <a:lnTo>
                    <a:pt x="33943" y="72429"/>
                  </a:lnTo>
                  <a:lnTo>
                    <a:pt x="33943" y="72768"/>
                  </a:lnTo>
                  <a:lnTo>
                    <a:pt x="33943" y="72994"/>
                  </a:lnTo>
                  <a:lnTo>
                    <a:pt x="34006" y="72994"/>
                  </a:lnTo>
                  <a:lnTo>
                    <a:pt x="34006" y="72994"/>
                  </a:lnTo>
                  <a:lnTo>
                    <a:pt x="33943" y="72994"/>
                  </a:lnTo>
                  <a:lnTo>
                    <a:pt x="33901" y="72994"/>
                  </a:lnTo>
                  <a:lnTo>
                    <a:pt x="33901" y="72994"/>
                  </a:lnTo>
                  <a:lnTo>
                    <a:pt x="33859" y="73220"/>
                  </a:lnTo>
                  <a:lnTo>
                    <a:pt x="33859" y="73220"/>
                  </a:lnTo>
                  <a:lnTo>
                    <a:pt x="33901" y="73559"/>
                  </a:lnTo>
                  <a:lnTo>
                    <a:pt x="33901" y="73559"/>
                  </a:lnTo>
                  <a:lnTo>
                    <a:pt x="33901" y="73785"/>
                  </a:lnTo>
                  <a:lnTo>
                    <a:pt x="33943" y="73785"/>
                  </a:lnTo>
                  <a:lnTo>
                    <a:pt x="33943" y="73559"/>
                  </a:lnTo>
                  <a:lnTo>
                    <a:pt x="33943" y="73559"/>
                  </a:lnTo>
                  <a:lnTo>
                    <a:pt x="33943" y="73785"/>
                  </a:lnTo>
                  <a:lnTo>
                    <a:pt x="33943" y="73559"/>
                  </a:lnTo>
                  <a:lnTo>
                    <a:pt x="34006" y="73559"/>
                  </a:lnTo>
                  <a:lnTo>
                    <a:pt x="34006" y="73559"/>
                  </a:lnTo>
                  <a:lnTo>
                    <a:pt x="34006" y="73559"/>
                  </a:lnTo>
                  <a:lnTo>
                    <a:pt x="34006" y="73785"/>
                  </a:lnTo>
                  <a:lnTo>
                    <a:pt x="34006" y="73785"/>
                  </a:lnTo>
                  <a:lnTo>
                    <a:pt x="33943" y="74011"/>
                  </a:lnTo>
                  <a:lnTo>
                    <a:pt x="33943" y="74011"/>
                  </a:lnTo>
                  <a:lnTo>
                    <a:pt x="34006" y="74011"/>
                  </a:lnTo>
                  <a:lnTo>
                    <a:pt x="34006" y="74350"/>
                  </a:lnTo>
                  <a:lnTo>
                    <a:pt x="33943" y="74350"/>
                  </a:lnTo>
                  <a:lnTo>
                    <a:pt x="33943" y="74576"/>
                  </a:lnTo>
                  <a:lnTo>
                    <a:pt x="34006" y="74576"/>
                  </a:lnTo>
                  <a:lnTo>
                    <a:pt x="34006" y="74576"/>
                  </a:lnTo>
                  <a:lnTo>
                    <a:pt x="34006" y="74802"/>
                  </a:lnTo>
                  <a:lnTo>
                    <a:pt x="33943" y="74802"/>
                  </a:lnTo>
                  <a:lnTo>
                    <a:pt x="33901" y="75367"/>
                  </a:lnTo>
                  <a:lnTo>
                    <a:pt x="33796" y="75932"/>
                  </a:lnTo>
                  <a:lnTo>
                    <a:pt x="33796" y="76158"/>
                  </a:lnTo>
                  <a:lnTo>
                    <a:pt x="33796" y="76158"/>
                  </a:lnTo>
                  <a:lnTo>
                    <a:pt x="33796" y="76497"/>
                  </a:lnTo>
                  <a:lnTo>
                    <a:pt x="33859" y="76158"/>
                  </a:lnTo>
                  <a:lnTo>
                    <a:pt x="33901" y="75932"/>
                  </a:lnTo>
                  <a:lnTo>
                    <a:pt x="33901" y="75706"/>
                  </a:lnTo>
                  <a:lnTo>
                    <a:pt x="33943" y="75706"/>
                  </a:lnTo>
                  <a:lnTo>
                    <a:pt x="33943" y="75706"/>
                  </a:lnTo>
                  <a:lnTo>
                    <a:pt x="34006" y="75367"/>
                  </a:lnTo>
                  <a:lnTo>
                    <a:pt x="34006" y="75367"/>
                  </a:lnTo>
                  <a:lnTo>
                    <a:pt x="34153" y="74350"/>
                  </a:lnTo>
                  <a:lnTo>
                    <a:pt x="34195" y="74011"/>
                  </a:lnTo>
                  <a:lnTo>
                    <a:pt x="34195" y="73785"/>
                  </a:lnTo>
                  <a:lnTo>
                    <a:pt x="34237" y="73785"/>
                  </a:lnTo>
                  <a:lnTo>
                    <a:pt x="34237" y="73785"/>
                  </a:lnTo>
                  <a:lnTo>
                    <a:pt x="34300" y="73559"/>
                  </a:lnTo>
                  <a:lnTo>
                    <a:pt x="34300" y="73559"/>
                  </a:lnTo>
                  <a:lnTo>
                    <a:pt x="34300" y="73220"/>
                  </a:lnTo>
                  <a:lnTo>
                    <a:pt x="34300" y="73559"/>
                  </a:lnTo>
                  <a:lnTo>
                    <a:pt x="34300" y="73559"/>
                  </a:lnTo>
                  <a:lnTo>
                    <a:pt x="34300" y="73559"/>
                  </a:lnTo>
                  <a:lnTo>
                    <a:pt x="34300" y="73220"/>
                  </a:lnTo>
                  <a:lnTo>
                    <a:pt x="34342" y="73220"/>
                  </a:lnTo>
                  <a:lnTo>
                    <a:pt x="34342" y="72994"/>
                  </a:lnTo>
                  <a:lnTo>
                    <a:pt x="34300" y="72994"/>
                  </a:lnTo>
                  <a:lnTo>
                    <a:pt x="34300" y="72994"/>
                  </a:lnTo>
                  <a:lnTo>
                    <a:pt x="34300" y="72994"/>
                  </a:lnTo>
                  <a:lnTo>
                    <a:pt x="34342" y="72768"/>
                  </a:lnTo>
                  <a:lnTo>
                    <a:pt x="34342" y="72429"/>
                  </a:lnTo>
                  <a:lnTo>
                    <a:pt x="34300" y="72429"/>
                  </a:lnTo>
                  <a:lnTo>
                    <a:pt x="34300" y="72203"/>
                  </a:lnTo>
                  <a:lnTo>
                    <a:pt x="34300" y="71638"/>
                  </a:lnTo>
                  <a:lnTo>
                    <a:pt x="34300" y="71412"/>
                  </a:lnTo>
                  <a:lnTo>
                    <a:pt x="34300" y="71073"/>
                  </a:lnTo>
                  <a:lnTo>
                    <a:pt x="34300" y="70847"/>
                  </a:lnTo>
                  <a:lnTo>
                    <a:pt x="34300" y="70621"/>
                  </a:lnTo>
                  <a:lnTo>
                    <a:pt x="34300" y="70621"/>
                  </a:lnTo>
                  <a:lnTo>
                    <a:pt x="34300" y="70621"/>
                  </a:lnTo>
                  <a:lnTo>
                    <a:pt x="34342" y="70282"/>
                  </a:lnTo>
                  <a:lnTo>
                    <a:pt x="34342" y="70056"/>
                  </a:lnTo>
                  <a:lnTo>
                    <a:pt x="34405" y="70056"/>
                  </a:lnTo>
                  <a:lnTo>
                    <a:pt x="34447" y="70056"/>
                  </a:lnTo>
                  <a:lnTo>
                    <a:pt x="34490" y="69830"/>
                  </a:lnTo>
                  <a:lnTo>
                    <a:pt x="34553" y="69491"/>
                  </a:lnTo>
                  <a:lnTo>
                    <a:pt x="34490" y="69830"/>
                  </a:lnTo>
                  <a:lnTo>
                    <a:pt x="34490" y="69830"/>
                  </a:lnTo>
                  <a:lnTo>
                    <a:pt x="34405" y="70056"/>
                  </a:lnTo>
                  <a:lnTo>
                    <a:pt x="34405" y="70056"/>
                  </a:lnTo>
                  <a:lnTo>
                    <a:pt x="34342" y="70282"/>
                  </a:lnTo>
                  <a:lnTo>
                    <a:pt x="34300" y="70621"/>
                  </a:lnTo>
                  <a:lnTo>
                    <a:pt x="34300" y="70621"/>
                  </a:lnTo>
                  <a:lnTo>
                    <a:pt x="34300" y="70847"/>
                  </a:lnTo>
                  <a:lnTo>
                    <a:pt x="34342" y="71073"/>
                  </a:lnTo>
                  <a:lnTo>
                    <a:pt x="34405" y="71412"/>
                  </a:lnTo>
                  <a:lnTo>
                    <a:pt x="34405" y="71412"/>
                  </a:lnTo>
                  <a:lnTo>
                    <a:pt x="34447" y="71412"/>
                  </a:lnTo>
                  <a:lnTo>
                    <a:pt x="34447" y="71638"/>
                  </a:lnTo>
                  <a:lnTo>
                    <a:pt x="34490" y="71638"/>
                  </a:lnTo>
                  <a:lnTo>
                    <a:pt x="34447" y="71864"/>
                  </a:lnTo>
                  <a:lnTo>
                    <a:pt x="34447" y="72203"/>
                  </a:lnTo>
                  <a:lnTo>
                    <a:pt x="34447" y="72203"/>
                  </a:lnTo>
                  <a:lnTo>
                    <a:pt x="34490" y="71864"/>
                  </a:lnTo>
                  <a:lnTo>
                    <a:pt x="34595" y="71412"/>
                  </a:lnTo>
                  <a:lnTo>
                    <a:pt x="34595" y="71412"/>
                  </a:lnTo>
                  <a:lnTo>
                    <a:pt x="34595" y="71412"/>
                  </a:lnTo>
                  <a:lnTo>
                    <a:pt x="34595" y="71073"/>
                  </a:lnTo>
                  <a:lnTo>
                    <a:pt x="34637" y="71073"/>
                  </a:lnTo>
                  <a:lnTo>
                    <a:pt x="34637" y="71073"/>
                  </a:lnTo>
                  <a:lnTo>
                    <a:pt x="34700" y="71073"/>
                  </a:lnTo>
                  <a:lnTo>
                    <a:pt x="34700" y="70847"/>
                  </a:lnTo>
                  <a:lnTo>
                    <a:pt x="34700" y="70847"/>
                  </a:lnTo>
                  <a:lnTo>
                    <a:pt x="34700" y="70621"/>
                  </a:lnTo>
                  <a:lnTo>
                    <a:pt x="34742" y="70621"/>
                  </a:lnTo>
                  <a:lnTo>
                    <a:pt x="34784" y="70621"/>
                  </a:lnTo>
                  <a:lnTo>
                    <a:pt x="34847" y="70282"/>
                  </a:lnTo>
                  <a:lnTo>
                    <a:pt x="34889" y="69830"/>
                  </a:lnTo>
                  <a:lnTo>
                    <a:pt x="34889" y="69830"/>
                  </a:lnTo>
                  <a:lnTo>
                    <a:pt x="34889" y="69491"/>
                  </a:lnTo>
                  <a:lnTo>
                    <a:pt x="34889" y="70056"/>
                  </a:lnTo>
                  <a:lnTo>
                    <a:pt x="34847" y="70056"/>
                  </a:lnTo>
                  <a:lnTo>
                    <a:pt x="34889" y="69830"/>
                  </a:lnTo>
                  <a:lnTo>
                    <a:pt x="34931" y="69491"/>
                  </a:lnTo>
                  <a:lnTo>
                    <a:pt x="34931" y="69491"/>
                  </a:lnTo>
                  <a:lnTo>
                    <a:pt x="34994" y="69265"/>
                  </a:lnTo>
                  <a:lnTo>
                    <a:pt x="34994" y="68926"/>
                  </a:lnTo>
                  <a:lnTo>
                    <a:pt x="34994" y="68926"/>
                  </a:lnTo>
                  <a:lnTo>
                    <a:pt x="34994" y="68700"/>
                  </a:lnTo>
                  <a:lnTo>
                    <a:pt x="34994" y="68700"/>
                  </a:lnTo>
                  <a:lnTo>
                    <a:pt x="34889" y="68700"/>
                  </a:lnTo>
                  <a:lnTo>
                    <a:pt x="34889" y="68474"/>
                  </a:lnTo>
                  <a:lnTo>
                    <a:pt x="34931" y="68474"/>
                  </a:lnTo>
                  <a:lnTo>
                    <a:pt x="34931" y="68135"/>
                  </a:lnTo>
                  <a:lnTo>
                    <a:pt x="34994" y="68135"/>
                  </a:lnTo>
                  <a:lnTo>
                    <a:pt x="34994" y="68135"/>
                  </a:lnTo>
                  <a:lnTo>
                    <a:pt x="35036" y="68135"/>
                  </a:lnTo>
                  <a:lnTo>
                    <a:pt x="35036" y="67909"/>
                  </a:lnTo>
                  <a:lnTo>
                    <a:pt x="35099" y="67683"/>
                  </a:lnTo>
                  <a:lnTo>
                    <a:pt x="35141" y="67344"/>
                  </a:lnTo>
                  <a:lnTo>
                    <a:pt x="35141" y="67118"/>
                  </a:lnTo>
                  <a:lnTo>
                    <a:pt x="35141" y="66892"/>
                  </a:lnTo>
                  <a:lnTo>
                    <a:pt x="35141" y="66892"/>
                  </a:lnTo>
                  <a:lnTo>
                    <a:pt x="35141" y="67118"/>
                  </a:lnTo>
                  <a:lnTo>
                    <a:pt x="35141" y="67344"/>
                  </a:lnTo>
                  <a:lnTo>
                    <a:pt x="35099" y="67683"/>
                  </a:lnTo>
                  <a:lnTo>
                    <a:pt x="35099" y="67909"/>
                  </a:lnTo>
                  <a:lnTo>
                    <a:pt x="35036" y="67909"/>
                  </a:lnTo>
                  <a:lnTo>
                    <a:pt x="35099" y="67909"/>
                  </a:lnTo>
                  <a:lnTo>
                    <a:pt x="35099" y="67909"/>
                  </a:lnTo>
                  <a:lnTo>
                    <a:pt x="35099" y="67909"/>
                  </a:lnTo>
                  <a:lnTo>
                    <a:pt x="35141" y="67683"/>
                  </a:lnTo>
                  <a:lnTo>
                    <a:pt x="35184" y="67683"/>
                  </a:lnTo>
                  <a:lnTo>
                    <a:pt x="35247" y="67344"/>
                  </a:lnTo>
                  <a:lnTo>
                    <a:pt x="35394" y="67118"/>
                  </a:lnTo>
                  <a:lnTo>
                    <a:pt x="35478" y="66892"/>
                  </a:lnTo>
                  <a:lnTo>
                    <a:pt x="35541" y="66892"/>
                  </a:lnTo>
                  <a:lnTo>
                    <a:pt x="35541" y="66892"/>
                  </a:lnTo>
                  <a:lnTo>
                    <a:pt x="35688" y="66892"/>
                  </a:lnTo>
                  <a:lnTo>
                    <a:pt x="35730" y="66892"/>
                  </a:lnTo>
                  <a:lnTo>
                    <a:pt x="35730" y="66892"/>
                  </a:lnTo>
                  <a:lnTo>
                    <a:pt x="35835" y="66553"/>
                  </a:lnTo>
                  <a:lnTo>
                    <a:pt x="35878" y="66553"/>
                  </a:lnTo>
                  <a:lnTo>
                    <a:pt x="35941" y="66553"/>
                  </a:lnTo>
                  <a:lnTo>
                    <a:pt x="36025" y="66553"/>
                  </a:lnTo>
                  <a:lnTo>
                    <a:pt x="36088" y="66327"/>
                  </a:lnTo>
                  <a:lnTo>
                    <a:pt x="36130" y="65988"/>
                  </a:lnTo>
                  <a:lnTo>
                    <a:pt x="36130" y="65762"/>
                  </a:lnTo>
                  <a:lnTo>
                    <a:pt x="36130" y="65536"/>
                  </a:lnTo>
                  <a:lnTo>
                    <a:pt x="36172" y="65536"/>
                  </a:lnTo>
                  <a:lnTo>
                    <a:pt x="36172" y="65762"/>
                  </a:lnTo>
                  <a:lnTo>
                    <a:pt x="36172" y="65762"/>
                  </a:lnTo>
                  <a:lnTo>
                    <a:pt x="36172" y="65762"/>
                  </a:lnTo>
                  <a:lnTo>
                    <a:pt x="36235" y="65762"/>
                  </a:lnTo>
                  <a:lnTo>
                    <a:pt x="36235" y="65762"/>
                  </a:lnTo>
                  <a:lnTo>
                    <a:pt x="36172" y="65988"/>
                  </a:lnTo>
                  <a:lnTo>
                    <a:pt x="36172" y="66327"/>
                  </a:lnTo>
                  <a:lnTo>
                    <a:pt x="36172" y="66327"/>
                  </a:lnTo>
                  <a:lnTo>
                    <a:pt x="36235" y="66327"/>
                  </a:lnTo>
                  <a:lnTo>
                    <a:pt x="36277" y="65988"/>
                  </a:lnTo>
                  <a:lnTo>
                    <a:pt x="36382" y="65762"/>
                  </a:lnTo>
                  <a:lnTo>
                    <a:pt x="36382" y="65762"/>
                  </a:lnTo>
                  <a:lnTo>
                    <a:pt x="36382" y="65988"/>
                  </a:lnTo>
                  <a:lnTo>
                    <a:pt x="36382" y="65988"/>
                  </a:lnTo>
                  <a:lnTo>
                    <a:pt x="36382" y="66327"/>
                  </a:lnTo>
                  <a:lnTo>
                    <a:pt x="36424" y="65988"/>
                  </a:lnTo>
                  <a:lnTo>
                    <a:pt x="36487" y="65988"/>
                  </a:lnTo>
                  <a:lnTo>
                    <a:pt x="36635" y="65762"/>
                  </a:lnTo>
                  <a:lnTo>
                    <a:pt x="36635" y="65762"/>
                  </a:lnTo>
                  <a:lnTo>
                    <a:pt x="36635" y="65762"/>
                  </a:lnTo>
                  <a:lnTo>
                    <a:pt x="36677" y="65762"/>
                  </a:lnTo>
                  <a:lnTo>
                    <a:pt x="36677" y="65536"/>
                  </a:lnTo>
                  <a:lnTo>
                    <a:pt x="36677" y="65197"/>
                  </a:lnTo>
                  <a:lnTo>
                    <a:pt x="36677" y="64971"/>
                  </a:lnTo>
                  <a:lnTo>
                    <a:pt x="36635" y="64971"/>
                  </a:lnTo>
                  <a:lnTo>
                    <a:pt x="36635" y="64971"/>
                  </a:lnTo>
                  <a:lnTo>
                    <a:pt x="36635" y="64971"/>
                  </a:lnTo>
                  <a:lnTo>
                    <a:pt x="36635" y="64971"/>
                  </a:lnTo>
                  <a:lnTo>
                    <a:pt x="36635" y="64971"/>
                  </a:lnTo>
                  <a:lnTo>
                    <a:pt x="36635" y="64971"/>
                  </a:lnTo>
                  <a:lnTo>
                    <a:pt x="36635" y="64971"/>
                  </a:lnTo>
                  <a:lnTo>
                    <a:pt x="36635" y="65197"/>
                  </a:lnTo>
                  <a:lnTo>
                    <a:pt x="36677" y="65536"/>
                  </a:lnTo>
                  <a:lnTo>
                    <a:pt x="36635" y="65536"/>
                  </a:lnTo>
                  <a:lnTo>
                    <a:pt x="36572" y="65762"/>
                  </a:lnTo>
                  <a:lnTo>
                    <a:pt x="36529" y="65762"/>
                  </a:lnTo>
                  <a:lnTo>
                    <a:pt x="36487" y="65762"/>
                  </a:lnTo>
                  <a:lnTo>
                    <a:pt x="36487" y="65536"/>
                  </a:lnTo>
                  <a:lnTo>
                    <a:pt x="36487" y="65197"/>
                  </a:lnTo>
                  <a:lnTo>
                    <a:pt x="36424" y="65197"/>
                  </a:lnTo>
                  <a:lnTo>
                    <a:pt x="36424" y="64971"/>
                  </a:lnTo>
                  <a:lnTo>
                    <a:pt x="36487" y="64971"/>
                  </a:lnTo>
                  <a:lnTo>
                    <a:pt x="36424" y="64745"/>
                  </a:lnTo>
                  <a:lnTo>
                    <a:pt x="36424" y="64406"/>
                  </a:lnTo>
                  <a:lnTo>
                    <a:pt x="36382" y="64406"/>
                  </a:lnTo>
                  <a:lnTo>
                    <a:pt x="36382" y="64406"/>
                  </a:lnTo>
                  <a:lnTo>
                    <a:pt x="36424" y="64180"/>
                  </a:lnTo>
                  <a:lnTo>
                    <a:pt x="36424" y="63954"/>
                  </a:lnTo>
                  <a:lnTo>
                    <a:pt x="36487" y="63954"/>
                  </a:lnTo>
                  <a:lnTo>
                    <a:pt x="36487" y="63954"/>
                  </a:lnTo>
                  <a:lnTo>
                    <a:pt x="36529" y="63615"/>
                  </a:lnTo>
                  <a:lnTo>
                    <a:pt x="36572" y="63615"/>
                  </a:lnTo>
                  <a:lnTo>
                    <a:pt x="36572" y="63615"/>
                  </a:lnTo>
                  <a:lnTo>
                    <a:pt x="36572" y="63615"/>
                  </a:lnTo>
                  <a:lnTo>
                    <a:pt x="36572" y="63615"/>
                  </a:lnTo>
                  <a:lnTo>
                    <a:pt x="36529" y="63615"/>
                  </a:lnTo>
                  <a:lnTo>
                    <a:pt x="36529" y="63615"/>
                  </a:lnTo>
                  <a:lnTo>
                    <a:pt x="36529" y="63389"/>
                  </a:lnTo>
                  <a:lnTo>
                    <a:pt x="36529" y="63389"/>
                  </a:lnTo>
                  <a:lnTo>
                    <a:pt x="36529" y="63050"/>
                  </a:lnTo>
                  <a:lnTo>
                    <a:pt x="36572" y="62824"/>
                  </a:lnTo>
                  <a:lnTo>
                    <a:pt x="36572" y="62598"/>
                  </a:lnTo>
                  <a:lnTo>
                    <a:pt x="36635" y="62598"/>
                  </a:lnTo>
                  <a:lnTo>
                    <a:pt x="36635" y="62598"/>
                  </a:lnTo>
                  <a:lnTo>
                    <a:pt x="36719" y="62033"/>
                  </a:lnTo>
                  <a:lnTo>
                    <a:pt x="36782" y="61807"/>
                  </a:lnTo>
                  <a:lnTo>
                    <a:pt x="36866" y="61242"/>
                  </a:lnTo>
                  <a:lnTo>
                    <a:pt x="36866" y="61242"/>
                  </a:lnTo>
                  <a:lnTo>
                    <a:pt x="36866" y="61242"/>
                  </a:lnTo>
                  <a:lnTo>
                    <a:pt x="36929" y="61016"/>
                  </a:lnTo>
                  <a:lnTo>
                    <a:pt x="36971" y="61016"/>
                  </a:lnTo>
                  <a:lnTo>
                    <a:pt x="36971" y="61016"/>
                  </a:lnTo>
                  <a:lnTo>
                    <a:pt x="36971" y="61016"/>
                  </a:lnTo>
                  <a:lnTo>
                    <a:pt x="36971" y="61016"/>
                  </a:lnTo>
                  <a:lnTo>
                    <a:pt x="36971" y="61016"/>
                  </a:lnTo>
                  <a:lnTo>
                    <a:pt x="37013" y="61016"/>
                  </a:lnTo>
                  <a:lnTo>
                    <a:pt x="37013" y="61016"/>
                  </a:lnTo>
                  <a:lnTo>
                    <a:pt x="37013" y="61016"/>
                  </a:lnTo>
                  <a:lnTo>
                    <a:pt x="37013" y="61016"/>
                  </a:lnTo>
                  <a:lnTo>
                    <a:pt x="37076" y="60677"/>
                  </a:lnTo>
                  <a:lnTo>
                    <a:pt x="37076" y="60677"/>
                  </a:lnTo>
                  <a:lnTo>
                    <a:pt x="37076" y="60677"/>
                  </a:lnTo>
                  <a:lnTo>
                    <a:pt x="37076" y="60677"/>
                  </a:lnTo>
                  <a:lnTo>
                    <a:pt x="37076" y="61016"/>
                  </a:lnTo>
                  <a:lnTo>
                    <a:pt x="37118" y="60677"/>
                  </a:lnTo>
                  <a:lnTo>
                    <a:pt x="37118" y="60451"/>
                  </a:lnTo>
                  <a:lnTo>
                    <a:pt x="37118" y="60677"/>
                  </a:lnTo>
                  <a:lnTo>
                    <a:pt x="37118" y="60677"/>
                  </a:lnTo>
                  <a:lnTo>
                    <a:pt x="37118" y="60677"/>
                  </a:lnTo>
                  <a:lnTo>
                    <a:pt x="37181" y="60451"/>
                  </a:lnTo>
                  <a:lnTo>
                    <a:pt x="37181" y="60677"/>
                  </a:lnTo>
                  <a:lnTo>
                    <a:pt x="37181" y="60677"/>
                  </a:lnTo>
                  <a:lnTo>
                    <a:pt x="37181" y="60677"/>
                  </a:lnTo>
                  <a:lnTo>
                    <a:pt x="37223" y="60677"/>
                  </a:lnTo>
                  <a:lnTo>
                    <a:pt x="37223" y="60451"/>
                  </a:lnTo>
                  <a:lnTo>
                    <a:pt x="37266" y="60451"/>
                  </a:lnTo>
                  <a:lnTo>
                    <a:pt x="37329" y="60451"/>
                  </a:lnTo>
                  <a:lnTo>
                    <a:pt x="37371" y="60112"/>
                  </a:lnTo>
                  <a:lnTo>
                    <a:pt x="37371" y="60112"/>
                  </a:lnTo>
                  <a:lnTo>
                    <a:pt x="37413" y="59661"/>
                  </a:lnTo>
                  <a:lnTo>
                    <a:pt x="37413" y="59661"/>
                  </a:lnTo>
                  <a:lnTo>
                    <a:pt x="37476" y="59322"/>
                  </a:lnTo>
                  <a:lnTo>
                    <a:pt x="37518" y="59322"/>
                  </a:lnTo>
                  <a:lnTo>
                    <a:pt x="37518" y="59096"/>
                  </a:lnTo>
                  <a:lnTo>
                    <a:pt x="37518" y="59322"/>
                  </a:lnTo>
                  <a:lnTo>
                    <a:pt x="37518" y="59322"/>
                  </a:lnTo>
                  <a:lnTo>
                    <a:pt x="37518" y="59322"/>
                  </a:lnTo>
                  <a:lnTo>
                    <a:pt x="37518" y="59322"/>
                  </a:lnTo>
                  <a:lnTo>
                    <a:pt x="37518" y="59322"/>
                  </a:lnTo>
                  <a:lnTo>
                    <a:pt x="37476" y="59661"/>
                  </a:lnTo>
                  <a:lnTo>
                    <a:pt x="37476" y="59661"/>
                  </a:lnTo>
                  <a:lnTo>
                    <a:pt x="37518" y="59661"/>
                  </a:lnTo>
                  <a:lnTo>
                    <a:pt x="37560" y="59887"/>
                  </a:lnTo>
                  <a:lnTo>
                    <a:pt x="37560" y="59887"/>
                  </a:lnTo>
                  <a:lnTo>
                    <a:pt x="37560" y="59887"/>
                  </a:lnTo>
                  <a:lnTo>
                    <a:pt x="37560" y="59887"/>
                  </a:lnTo>
                  <a:lnTo>
                    <a:pt x="37560" y="59661"/>
                  </a:lnTo>
                  <a:lnTo>
                    <a:pt x="37623" y="59322"/>
                  </a:lnTo>
                  <a:lnTo>
                    <a:pt x="37623" y="59322"/>
                  </a:lnTo>
                  <a:lnTo>
                    <a:pt x="37623" y="59322"/>
                  </a:lnTo>
                  <a:lnTo>
                    <a:pt x="37665" y="59322"/>
                  </a:lnTo>
                  <a:lnTo>
                    <a:pt x="37665" y="59322"/>
                  </a:lnTo>
                  <a:lnTo>
                    <a:pt x="37707" y="59322"/>
                  </a:lnTo>
                  <a:lnTo>
                    <a:pt x="37707" y="59322"/>
                  </a:lnTo>
                  <a:lnTo>
                    <a:pt x="37707" y="59322"/>
                  </a:lnTo>
                  <a:lnTo>
                    <a:pt x="37707" y="59322"/>
                  </a:lnTo>
                  <a:lnTo>
                    <a:pt x="37770" y="59322"/>
                  </a:lnTo>
                  <a:lnTo>
                    <a:pt x="37770" y="59322"/>
                  </a:lnTo>
                  <a:lnTo>
                    <a:pt x="37770" y="59661"/>
                  </a:lnTo>
                  <a:lnTo>
                    <a:pt x="37770" y="59661"/>
                  </a:lnTo>
                  <a:lnTo>
                    <a:pt x="37770" y="59661"/>
                  </a:lnTo>
                  <a:lnTo>
                    <a:pt x="37812" y="59322"/>
                  </a:lnTo>
                  <a:lnTo>
                    <a:pt x="37812" y="59322"/>
                  </a:lnTo>
                  <a:lnTo>
                    <a:pt x="37875" y="59096"/>
                  </a:lnTo>
                  <a:lnTo>
                    <a:pt x="37875" y="59096"/>
                  </a:lnTo>
                  <a:lnTo>
                    <a:pt x="37917" y="59096"/>
                  </a:lnTo>
                  <a:lnTo>
                    <a:pt x="37917" y="59096"/>
                  </a:lnTo>
                  <a:lnTo>
                    <a:pt x="37960" y="59096"/>
                  </a:lnTo>
                  <a:lnTo>
                    <a:pt x="37960" y="59096"/>
                  </a:lnTo>
                  <a:lnTo>
                    <a:pt x="38023" y="59096"/>
                  </a:lnTo>
                  <a:lnTo>
                    <a:pt x="38065" y="58870"/>
                  </a:lnTo>
                  <a:lnTo>
                    <a:pt x="38107" y="58870"/>
                  </a:lnTo>
                  <a:lnTo>
                    <a:pt x="38212" y="58531"/>
                  </a:lnTo>
                  <a:lnTo>
                    <a:pt x="38212" y="58531"/>
                  </a:lnTo>
                  <a:lnTo>
                    <a:pt x="38212" y="58531"/>
                  </a:lnTo>
                  <a:lnTo>
                    <a:pt x="38170" y="58531"/>
                  </a:lnTo>
                  <a:lnTo>
                    <a:pt x="38170" y="58305"/>
                  </a:lnTo>
                  <a:lnTo>
                    <a:pt x="38212" y="58305"/>
                  </a:lnTo>
                  <a:lnTo>
                    <a:pt x="38212" y="57740"/>
                  </a:lnTo>
                  <a:lnTo>
                    <a:pt x="38212" y="57740"/>
                  </a:lnTo>
                  <a:lnTo>
                    <a:pt x="38212" y="57514"/>
                  </a:lnTo>
                  <a:lnTo>
                    <a:pt x="38212" y="57514"/>
                  </a:lnTo>
                  <a:lnTo>
                    <a:pt x="38170" y="57514"/>
                  </a:lnTo>
                  <a:lnTo>
                    <a:pt x="38170" y="57514"/>
                  </a:lnTo>
                  <a:lnTo>
                    <a:pt x="38170" y="57514"/>
                  </a:lnTo>
                  <a:lnTo>
                    <a:pt x="38170" y="57514"/>
                  </a:lnTo>
                  <a:lnTo>
                    <a:pt x="38170" y="57740"/>
                  </a:lnTo>
                  <a:lnTo>
                    <a:pt x="38107" y="57514"/>
                  </a:lnTo>
                  <a:lnTo>
                    <a:pt x="38107" y="57514"/>
                  </a:lnTo>
                  <a:lnTo>
                    <a:pt x="38107" y="57514"/>
                  </a:lnTo>
                  <a:lnTo>
                    <a:pt x="38107" y="57514"/>
                  </a:lnTo>
                  <a:lnTo>
                    <a:pt x="38107" y="57175"/>
                  </a:lnTo>
                  <a:lnTo>
                    <a:pt x="38107" y="57175"/>
                  </a:lnTo>
                  <a:lnTo>
                    <a:pt x="38107" y="57175"/>
                  </a:lnTo>
                  <a:lnTo>
                    <a:pt x="38107" y="56949"/>
                  </a:lnTo>
                  <a:lnTo>
                    <a:pt x="38107" y="56949"/>
                  </a:lnTo>
                  <a:lnTo>
                    <a:pt x="38107" y="56949"/>
                  </a:lnTo>
                  <a:lnTo>
                    <a:pt x="38107" y="56949"/>
                  </a:lnTo>
                  <a:lnTo>
                    <a:pt x="38170" y="56723"/>
                  </a:lnTo>
                  <a:lnTo>
                    <a:pt x="38170" y="56723"/>
                  </a:lnTo>
                  <a:lnTo>
                    <a:pt x="38170" y="56723"/>
                  </a:lnTo>
                  <a:lnTo>
                    <a:pt x="38170" y="56723"/>
                  </a:lnTo>
                  <a:lnTo>
                    <a:pt x="38170" y="56723"/>
                  </a:lnTo>
                  <a:lnTo>
                    <a:pt x="38170" y="56723"/>
                  </a:lnTo>
                  <a:lnTo>
                    <a:pt x="38107" y="56723"/>
                  </a:lnTo>
                  <a:lnTo>
                    <a:pt x="38107" y="56384"/>
                  </a:lnTo>
                  <a:lnTo>
                    <a:pt x="38107" y="56384"/>
                  </a:lnTo>
                  <a:lnTo>
                    <a:pt x="38065" y="56384"/>
                  </a:lnTo>
                  <a:lnTo>
                    <a:pt x="38065" y="56384"/>
                  </a:lnTo>
                  <a:lnTo>
                    <a:pt x="38065" y="56384"/>
                  </a:lnTo>
                  <a:lnTo>
                    <a:pt x="38065" y="56384"/>
                  </a:lnTo>
                  <a:lnTo>
                    <a:pt x="38065" y="56158"/>
                  </a:lnTo>
                  <a:lnTo>
                    <a:pt x="38065" y="56158"/>
                  </a:lnTo>
                  <a:lnTo>
                    <a:pt x="38107" y="56158"/>
                  </a:lnTo>
                  <a:lnTo>
                    <a:pt x="38107" y="56158"/>
                  </a:lnTo>
                  <a:lnTo>
                    <a:pt x="38107" y="55932"/>
                  </a:lnTo>
                  <a:lnTo>
                    <a:pt x="38107" y="55932"/>
                  </a:lnTo>
                  <a:lnTo>
                    <a:pt x="38107" y="55932"/>
                  </a:lnTo>
                  <a:lnTo>
                    <a:pt x="38107" y="55932"/>
                  </a:lnTo>
                  <a:lnTo>
                    <a:pt x="38107" y="55932"/>
                  </a:lnTo>
                  <a:lnTo>
                    <a:pt x="38107" y="55593"/>
                  </a:lnTo>
                  <a:lnTo>
                    <a:pt x="38170" y="55141"/>
                  </a:lnTo>
                  <a:lnTo>
                    <a:pt x="38170" y="54802"/>
                  </a:lnTo>
                  <a:lnTo>
                    <a:pt x="38212" y="54576"/>
                  </a:lnTo>
                  <a:lnTo>
                    <a:pt x="38212" y="54237"/>
                  </a:lnTo>
                  <a:lnTo>
                    <a:pt x="38254" y="53785"/>
                  </a:lnTo>
                  <a:lnTo>
                    <a:pt x="38254" y="53446"/>
                  </a:lnTo>
                  <a:lnTo>
                    <a:pt x="38317" y="53220"/>
                  </a:lnTo>
                  <a:lnTo>
                    <a:pt x="38254" y="52994"/>
                  </a:lnTo>
                  <a:lnTo>
                    <a:pt x="38212" y="52655"/>
                  </a:lnTo>
                  <a:close/>
                  <a:moveTo>
                    <a:pt x="37518" y="59887"/>
                  </a:moveTo>
                  <a:lnTo>
                    <a:pt x="37518" y="59887"/>
                  </a:lnTo>
                  <a:lnTo>
                    <a:pt x="37518" y="59887"/>
                  </a:lnTo>
                  <a:lnTo>
                    <a:pt x="37476" y="60112"/>
                  </a:lnTo>
                  <a:lnTo>
                    <a:pt x="37518" y="60112"/>
                  </a:lnTo>
                  <a:lnTo>
                    <a:pt x="37518" y="60112"/>
                  </a:lnTo>
                  <a:lnTo>
                    <a:pt x="37518" y="59887"/>
                  </a:lnTo>
                  <a:lnTo>
                    <a:pt x="37518" y="59887"/>
                  </a:lnTo>
                  <a:close/>
                  <a:moveTo>
                    <a:pt x="36172" y="65988"/>
                  </a:moveTo>
                  <a:lnTo>
                    <a:pt x="36172" y="65988"/>
                  </a:lnTo>
                  <a:lnTo>
                    <a:pt x="36130" y="65988"/>
                  </a:lnTo>
                  <a:lnTo>
                    <a:pt x="36130" y="66327"/>
                  </a:lnTo>
                  <a:lnTo>
                    <a:pt x="36130" y="66327"/>
                  </a:lnTo>
                  <a:lnTo>
                    <a:pt x="36130" y="66327"/>
                  </a:lnTo>
                  <a:lnTo>
                    <a:pt x="36130" y="66327"/>
                  </a:lnTo>
                  <a:lnTo>
                    <a:pt x="36172" y="65988"/>
                  </a:lnTo>
                  <a:lnTo>
                    <a:pt x="36172" y="65988"/>
                  </a:lnTo>
                  <a:close/>
                  <a:moveTo>
                    <a:pt x="120000" y="16836"/>
                  </a:moveTo>
                  <a:lnTo>
                    <a:pt x="120000" y="16836"/>
                  </a:lnTo>
                  <a:lnTo>
                    <a:pt x="120000" y="16610"/>
                  </a:lnTo>
                  <a:lnTo>
                    <a:pt x="119936" y="16610"/>
                  </a:lnTo>
                  <a:lnTo>
                    <a:pt x="119894" y="16610"/>
                  </a:lnTo>
                  <a:lnTo>
                    <a:pt x="119852" y="16610"/>
                  </a:lnTo>
                  <a:lnTo>
                    <a:pt x="119789" y="16610"/>
                  </a:lnTo>
                  <a:lnTo>
                    <a:pt x="119747" y="16610"/>
                  </a:lnTo>
                  <a:lnTo>
                    <a:pt x="119747" y="16610"/>
                  </a:lnTo>
                  <a:lnTo>
                    <a:pt x="119705" y="16384"/>
                  </a:lnTo>
                  <a:lnTo>
                    <a:pt x="119642" y="16384"/>
                  </a:lnTo>
                  <a:lnTo>
                    <a:pt x="119558" y="16384"/>
                  </a:lnTo>
                  <a:lnTo>
                    <a:pt x="119558" y="16384"/>
                  </a:lnTo>
                  <a:lnTo>
                    <a:pt x="119495" y="16045"/>
                  </a:lnTo>
                  <a:lnTo>
                    <a:pt x="119453" y="16045"/>
                  </a:lnTo>
                  <a:lnTo>
                    <a:pt x="119453" y="16045"/>
                  </a:lnTo>
                  <a:lnTo>
                    <a:pt x="119348" y="15819"/>
                  </a:lnTo>
                  <a:lnTo>
                    <a:pt x="119305" y="15819"/>
                  </a:lnTo>
                  <a:lnTo>
                    <a:pt x="119305" y="15819"/>
                  </a:lnTo>
                  <a:lnTo>
                    <a:pt x="119242" y="16045"/>
                  </a:lnTo>
                  <a:lnTo>
                    <a:pt x="119242" y="16045"/>
                  </a:lnTo>
                  <a:lnTo>
                    <a:pt x="119200" y="16045"/>
                  </a:lnTo>
                  <a:lnTo>
                    <a:pt x="119158" y="16045"/>
                  </a:lnTo>
                  <a:lnTo>
                    <a:pt x="119095" y="16045"/>
                  </a:lnTo>
                  <a:lnTo>
                    <a:pt x="119053" y="16045"/>
                  </a:lnTo>
                  <a:lnTo>
                    <a:pt x="119053" y="16045"/>
                  </a:lnTo>
                  <a:lnTo>
                    <a:pt x="118948" y="15819"/>
                  </a:lnTo>
                  <a:lnTo>
                    <a:pt x="118906" y="15819"/>
                  </a:lnTo>
                  <a:lnTo>
                    <a:pt x="118948" y="16045"/>
                  </a:lnTo>
                  <a:lnTo>
                    <a:pt x="119011" y="16384"/>
                  </a:lnTo>
                  <a:lnTo>
                    <a:pt x="119011" y="16384"/>
                  </a:lnTo>
                  <a:lnTo>
                    <a:pt x="119053" y="16384"/>
                  </a:lnTo>
                  <a:lnTo>
                    <a:pt x="119095" y="16610"/>
                  </a:lnTo>
                  <a:lnTo>
                    <a:pt x="119158" y="16610"/>
                  </a:lnTo>
                  <a:lnTo>
                    <a:pt x="119200" y="16610"/>
                  </a:lnTo>
                  <a:lnTo>
                    <a:pt x="119242" y="16610"/>
                  </a:lnTo>
                  <a:lnTo>
                    <a:pt x="119242" y="16610"/>
                  </a:lnTo>
                  <a:lnTo>
                    <a:pt x="119242" y="16610"/>
                  </a:lnTo>
                  <a:lnTo>
                    <a:pt x="119242" y="16384"/>
                  </a:lnTo>
                  <a:lnTo>
                    <a:pt x="119305" y="16384"/>
                  </a:lnTo>
                  <a:lnTo>
                    <a:pt x="119348" y="16384"/>
                  </a:lnTo>
                  <a:lnTo>
                    <a:pt x="119453" y="16610"/>
                  </a:lnTo>
                  <a:lnTo>
                    <a:pt x="119495" y="16610"/>
                  </a:lnTo>
                  <a:lnTo>
                    <a:pt x="119558" y="16610"/>
                  </a:lnTo>
                  <a:lnTo>
                    <a:pt x="119600" y="16836"/>
                  </a:lnTo>
                  <a:lnTo>
                    <a:pt x="119642" y="16836"/>
                  </a:lnTo>
                  <a:lnTo>
                    <a:pt x="119705" y="16836"/>
                  </a:lnTo>
                  <a:lnTo>
                    <a:pt x="119705" y="16836"/>
                  </a:lnTo>
                  <a:lnTo>
                    <a:pt x="119747" y="16836"/>
                  </a:lnTo>
                  <a:lnTo>
                    <a:pt x="119789" y="17175"/>
                  </a:lnTo>
                  <a:lnTo>
                    <a:pt x="119852" y="17175"/>
                  </a:lnTo>
                  <a:lnTo>
                    <a:pt x="119852" y="17175"/>
                  </a:lnTo>
                  <a:lnTo>
                    <a:pt x="119936" y="17401"/>
                  </a:lnTo>
                  <a:lnTo>
                    <a:pt x="119936" y="17401"/>
                  </a:lnTo>
                  <a:lnTo>
                    <a:pt x="119936" y="17401"/>
                  </a:lnTo>
                  <a:lnTo>
                    <a:pt x="119936" y="17401"/>
                  </a:lnTo>
                  <a:lnTo>
                    <a:pt x="119936" y="17175"/>
                  </a:lnTo>
                  <a:lnTo>
                    <a:pt x="119936" y="17175"/>
                  </a:lnTo>
                  <a:lnTo>
                    <a:pt x="119936" y="16836"/>
                  </a:lnTo>
                  <a:lnTo>
                    <a:pt x="120000" y="16836"/>
                  </a:lnTo>
                  <a:close/>
                  <a:moveTo>
                    <a:pt x="30935" y="91638"/>
                  </a:moveTo>
                  <a:lnTo>
                    <a:pt x="30935" y="91977"/>
                  </a:lnTo>
                  <a:lnTo>
                    <a:pt x="30977" y="91412"/>
                  </a:lnTo>
                  <a:lnTo>
                    <a:pt x="30977" y="91412"/>
                  </a:lnTo>
                  <a:lnTo>
                    <a:pt x="30935" y="91412"/>
                  </a:lnTo>
                  <a:lnTo>
                    <a:pt x="30935" y="91638"/>
                  </a:lnTo>
                  <a:close/>
                  <a:moveTo>
                    <a:pt x="27907" y="93333"/>
                  </a:moveTo>
                  <a:lnTo>
                    <a:pt x="27907" y="93333"/>
                  </a:lnTo>
                  <a:lnTo>
                    <a:pt x="27907" y="93559"/>
                  </a:lnTo>
                  <a:lnTo>
                    <a:pt x="27907" y="93559"/>
                  </a:lnTo>
                  <a:lnTo>
                    <a:pt x="27949" y="93559"/>
                  </a:lnTo>
                  <a:lnTo>
                    <a:pt x="27949" y="93333"/>
                  </a:lnTo>
                  <a:lnTo>
                    <a:pt x="27949" y="93333"/>
                  </a:lnTo>
                  <a:lnTo>
                    <a:pt x="27949" y="93333"/>
                  </a:lnTo>
                  <a:lnTo>
                    <a:pt x="27949" y="93333"/>
                  </a:lnTo>
                  <a:lnTo>
                    <a:pt x="27907" y="93333"/>
                  </a:lnTo>
                  <a:close/>
                  <a:moveTo>
                    <a:pt x="26919" y="94576"/>
                  </a:moveTo>
                  <a:lnTo>
                    <a:pt x="26919" y="94350"/>
                  </a:lnTo>
                  <a:lnTo>
                    <a:pt x="26855" y="94350"/>
                  </a:lnTo>
                  <a:lnTo>
                    <a:pt x="26855" y="94576"/>
                  </a:lnTo>
                  <a:lnTo>
                    <a:pt x="26855" y="94576"/>
                  </a:lnTo>
                  <a:lnTo>
                    <a:pt x="26919" y="94915"/>
                  </a:lnTo>
                  <a:lnTo>
                    <a:pt x="26919" y="94915"/>
                  </a:lnTo>
                  <a:lnTo>
                    <a:pt x="26919" y="94576"/>
                  </a:lnTo>
                  <a:lnTo>
                    <a:pt x="26919" y="94576"/>
                  </a:lnTo>
                  <a:lnTo>
                    <a:pt x="26919" y="94576"/>
                  </a:lnTo>
                  <a:lnTo>
                    <a:pt x="26919" y="94576"/>
                  </a:lnTo>
                  <a:close/>
                  <a:moveTo>
                    <a:pt x="25720" y="95480"/>
                  </a:moveTo>
                  <a:lnTo>
                    <a:pt x="25615" y="95706"/>
                  </a:lnTo>
                  <a:lnTo>
                    <a:pt x="25678" y="95706"/>
                  </a:lnTo>
                  <a:lnTo>
                    <a:pt x="25720" y="95480"/>
                  </a:lnTo>
                  <a:lnTo>
                    <a:pt x="25762" y="95141"/>
                  </a:lnTo>
                  <a:lnTo>
                    <a:pt x="25762" y="95141"/>
                  </a:lnTo>
                  <a:lnTo>
                    <a:pt x="25720" y="95480"/>
                  </a:lnTo>
                  <a:close/>
                  <a:moveTo>
                    <a:pt x="28096" y="93785"/>
                  </a:moveTo>
                  <a:lnTo>
                    <a:pt x="28054" y="94124"/>
                  </a:lnTo>
                  <a:lnTo>
                    <a:pt x="28054" y="94124"/>
                  </a:lnTo>
                  <a:lnTo>
                    <a:pt x="28096" y="93785"/>
                  </a:lnTo>
                  <a:lnTo>
                    <a:pt x="28096" y="93559"/>
                  </a:lnTo>
                  <a:lnTo>
                    <a:pt x="28096" y="93559"/>
                  </a:lnTo>
                  <a:lnTo>
                    <a:pt x="28096" y="93785"/>
                  </a:lnTo>
                  <a:close/>
                  <a:moveTo>
                    <a:pt x="28159" y="92994"/>
                  </a:moveTo>
                  <a:lnTo>
                    <a:pt x="28159" y="92994"/>
                  </a:lnTo>
                  <a:lnTo>
                    <a:pt x="28201" y="92994"/>
                  </a:lnTo>
                  <a:lnTo>
                    <a:pt x="28201" y="92994"/>
                  </a:lnTo>
                  <a:lnTo>
                    <a:pt x="28201" y="92994"/>
                  </a:lnTo>
                  <a:lnTo>
                    <a:pt x="28201" y="92994"/>
                  </a:lnTo>
                  <a:lnTo>
                    <a:pt x="28159" y="92994"/>
                  </a:lnTo>
                  <a:close/>
                  <a:moveTo>
                    <a:pt x="28349" y="92994"/>
                  </a:moveTo>
                  <a:lnTo>
                    <a:pt x="28307" y="92994"/>
                  </a:lnTo>
                  <a:lnTo>
                    <a:pt x="28307" y="92994"/>
                  </a:lnTo>
                  <a:lnTo>
                    <a:pt x="28349" y="92994"/>
                  </a:lnTo>
                  <a:lnTo>
                    <a:pt x="28391" y="92994"/>
                  </a:lnTo>
                  <a:lnTo>
                    <a:pt x="28391" y="92994"/>
                  </a:lnTo>
                  <a:lnTo>
                    <a:pt x="28349" y="92994"/>
                  </a:lnTo>
                  <a:close/>
                  <a:moveTo>
                    <a:pt x="28012" y="94350"/>
                  </a:moveTo>
                  <a:lnTo>
                    <a:pt x="28012" y="94350"/>
                  </a:lnTo>
                  <a:lnTo>
                    <a:pt x="28054" y="94350"/>
                  </a:lnTo>
                  <a:lnTo>
                    <a:pt x="28054" y="94124"/>
                  </a:lnTo>
                  <a:lnTo>
                    <a:pt x="28012" y="94350"/>
                  </a:lnTo>
                  <a:lnTo>
                    <a:pt x="28012" y="94350"/>
                  </a:lnTo>
                  <a:close/>
                  <a:moveTo>
                    <a:pt x="25026" y="97514"/>
                  </a:moveTo>
                  <a:lnTo>
                    <a:pt x="24984" y="97514"/>
                  </a:lnTo>
                  <a:lnTo>
                    <a:pt x="24921" y="97853"/>
                  </a:lnTo>
                  <a:lnTo>
                    <a:pt x="24879" y="97853"/>
                  </a:lnTo>
                  <a:lnTo>
                    <a:pt x="24879" y="98079"/>
                  </a:lnTo>
                  <a:lnTo>
                    <a:pt x="24879" y="98079"/>
                  </a:lnTo>
                  <a:lnTo>
                    <a:pt x="24984" y="97853"/>
                  </a:lnTo>
                  <a:lnTo>
                    <a:pt x="25026" y="97514"/>
                  </a:lnTo>
                  <a:lnTo>
                    <a:pt x="25026" y="97514"/>
                  </a:lnTo>
                  <a:lnTo>
                    <a:pt x="25026" y="97514"/>
                  </a:lnTo>
                  <a:lnTo>
                    <a:pt x="25026" y="97514"/>
                  </a:lnTo>
                  <a:close/>
                  <a:moveTo>
                    <a:pt x="24626" y="99435"/>
                  </a:moveTo>
                  <a:lnTo>
                    <a:pt x="24584" y="100000"/>
                  </a:lnTo>
                  <a:lnTo>
                    <a:pt x="24542" y="100225"/>
                  </a:lnTo>
                  <a:lnTo>
                    <a:pt x="24584" y="100000"/>
                  </a:lnTo>
                  <a:lnTo>
                    <a:pt x="24626" y="99435"/>
                  </a:lnTo>
                  <a:lnTo>
                    <a:pt x="24731" y="98870"/>
                  </a:lnTo>
                  <a:lnTo>
                    <a:pt x="24689" y="98870"/>
                  </a:lnTo>
                  <a:lnTo>
                    <a:pt x="24626" y="99435"/>
                  </a:lnTo>
                  <a:close/>
                  <a:moveTo>
                    <a:pt x="24837" y="98079"/>
                  </a:moveTo>
                  <a:lnTo>
                    <a:pt x="24773" y="98418"/>
                  </a:lnTo>
                  <a:lnTo>
                    <a:pt x="24773" y="98418"/>
                  </a:lnTo>
                  <a:lnTo>
                    <a:pt x="24731" y="98644"/>
                  </a:lnTo>
                  <a:lnTo>
                    <a:pt x="24773" y="98644"/>
                  </a:lnTo>
                  <a:lnTo>
                    <a:pt x="24837" y="98418"/>
                  </a:lnTo>
                  <a:lnTo>
                    <a:pt x="24837" y="98079"/>
                  </a:lnTo>
                  <a:lnTo>
                    <a:pt x="24837" y="98079"/>
                  </a:lnTo>
                  <a:lnTo>
                    <a:pt x="24837" y="98079"/>
                  </a:lnTo>
                  <a:close/>
                  <a:moveTo>
                    <a:pt x="24542" y="100451"/>
                  </a:moveTo>
                  <a:lnTo>
                    <a:pt x="24479" y="101355"/>
                  </a:lnTo>
                  <a:lnTo>
                    <a:pt x="24479" y="102372"/>
                  </a:lnTo>
                  <a:lnTo>
                    <a:pt x="24479" y="102937"/>
                  </a:lnTo>
                  <a:lnTo>
                    <a:pt x="24542" y="102598"/>
                  </a:lnTo>
                  <a:lnTo>
                    <a:pt x="24542" y="102372"/>
                  </a:lnTo>
                  <a:lnTo>
                    <a:pt x="24542" y="101355"/>
                  </a:lnTo>
                  <a:lnTo>
                    <a:pt x="24542" y="100225"/>
                  </a:lnTo>
                  <a:lnTo>
                    <a:pt x="24542" y="100451"/>
                  </a:lnTo>
                  <a:close/>
                  <a:moveTo>
                    <a:pt x="33207" y="82372"/>
                  </a:moveTo>
                  <a:lnTo>
                    <a:pt x="33207" y="82372"/>
                  </a:lnTo>
                  <a:lnTo>
                    <a:pt x="33207" y="82598"/>
                  </a:lnTo>
                  <a:lnTo>
                    <a:pt x="33249" y="82598"/>
                  </a:lnTo>
                  <a:lnTo>
                    <a:pt x="33249" y="82598"/>
                  </a:lnTo>
                  <a:lnTo>
                    <a:pt x="33207" y="82372"/>
                  </a:lnTo>
                  <a:lnTo>
                    <a:pt x="33207" y="82372"/>
                  </a:lnTo>
                  <a:close/>
                  <a:moveTo>
                    <a:pt x="33753" y="79661"/>
                  </a:moveTo>
                  <a:lnTo>
                    <a:pt x="33753" y="79435"/>
                  </a:lnTo>
                  <a:lnTo>
                    <a:pt x="33711" y="79435"/>
                  </a:lnTo>
                  <a:lnTo>
                    <a:pt x="33753" y="79661"/>
                  </a:lnTo>
                  <a:lnTo>
                    <a:pt x="33753" y="79661"/>
                  </a:lnTo>
                  <a:lnTo>
                    <a:pt x="33753" y="79661"/>
                  </a:lnTo>
                  <a:close/>
                  <a:moveTo>
                    <a:pt x="34195" y="74350"/>
                  </a:moveTo>
                  <a:lnTo>
                    <a:pt x="34090" y="74576"/>
                  </a:lnTo>
                  <a:lnTo>
                    <a:pt x="34153" y="74576"/>
                  </a:lnTo>
                  <a:lnTo>
                    <a:pt x="34195" y="74350"/>
                  </a:lnTo>
                  <a:lnTo>
                    <a:pt x="34237" y="74011"/>
                  </a:lnTo>
                  <a:lnTo>
                    <a:pt x="34300" y="73785"/>
                  </a:lnTo>
                  <a:lnTo>
                    <a:pt x="34237" y="73785"/>
                  </a:lnTo>
                  <a:lnTo>
                    <a:pt x="34195" y="74350"/>
                  </a:lnTo>
                  <a:close/>
                  <a:moveTo>
                    <a:pt x="29547" y="94350"/>
                  </a:moveTo>
                  <a:lnTo>
                    <a:pt x="29484" y="94350"/>
                  </a:lnTo>
                  <a:lnTo>
                    <a:pt x="29442" y="94350"/>
                  </a:lnTo>
                  <a:lnTo>
                    <a:pt x="29442" y="94350"/>
                  </a:lnTo>
                  <a:lnTo>
                    <a:pt x="29484" y="94576"/>
                  </a:lnTo>
                  <a:lnTo>
                    <a:pt x="29547" y="94350"/>
                  </a:lnTo>
                  <a:lnTo>
                    <a:pt x="29589" y="94350"/>
                  </a:lnTo>
                  <a:lnTo>
                    <a:pt x="29547" y="94350"/>
                  </a:lnTo>
                  <a:lnTo>
                    <a:pt x="29547" y="9435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60" name="Shape 360"/>
            <p:cNvSpPr/>
            <p:nvPr/>
          </p:nvSpPr>
          <p:spPr>
            <a:xfrm>
              <a:off x="3559" y="1582"/>
              <a:ext cx="300" cy="299"/>
            </a:xfrm>
            <a:custGeom>
              <a:avLst/>
              <a:gdLst/>
              <a:ahLst/>
              <a:cxnLst/>
              <a:rect l="0" t="0" r="0" b="0"/>
              <a:pathLst>
                <a:path w="120000" h="120000" extrusionOk="0">
                  <a:moveTo>
                    <a:pt x="79215" y="110232"/>
                  </a:moveTo>
                  <a:lnTo>
                    <a:pt x="77647" y="110232"/>
                  </a:lnTo>
                  <a:lnTo>
                    <a:pt x="75294" y="110232"/>
                  </a:lnTo>
                  <a:lnTo>
                    <a:pt x="75294" y="112325"/>
                  </a:lnTo>
                  <a:lnTo>
                    <a:pt x="75294" y="112325"/>
                  </a:lnTo>
                  <a:lnTo>
                    <a:pt x="79215" y="112325"/>
                  </a:lnTo>
                  <a:lnTo>
                    <a:pt x="79215" y="112325"/>
                  </a:lnTo>
                  <a:lnTo>
                    <a:pt x="80784" y="112325"/>
                  </a:lnTo>
                  <a:lnTo>
                    <a:pt x="80784" y="112325"/>
                  </a:lnTo>
                  <a:lnTo>
                    <a:pt x="80784" y="112325"/>
                  </a:lnTo>
                  <a:lnTo>
                    <a:pt x="83137" y="110232"/>
                  </a:lnTo>
                  <a:lnTo>
                    <a:pt x="80784" y="110232"/>
                  </a:lnTo>
                  <a:lnTo>
                    <a:pt x="79215" y="110232"/>
                  </a:lnTo>
                  <a:close/>
                  <a:moveTo>
                    <a:pt x="43921" y="76046"/>
                  </a:moveTo>
                  <a:lnTo>
                    <a:pt x="46274" y="76046"/>
                  </a:lnTo>
                  <a:lnTo>
                    <a:pt x="46274" y="76046"/>
                  </a:lnTo>
                  <a:lnTo>
                    <a:pt x="47843" y="73953"/>
                  </a:lnTo>
                  <a:lnTo>
                    <a:pt x="47843" y="73953"/>
                  </a:lnTo>
                  <a:lnTo>
                    <a:pt x="46274" y="73953"/>
                  </a:lnTo>
                  <a:lnTo>
                    <a:pt x="46274" y="73953"/>
                  </a:lnTo>
                  <a:lnTo>
                    <a:pt x="46274" y="72558"/>
                  </a:lnTo>
                  <a:lnTo>
                    <a:pt x="43921" y="72558"/>
                  </a:lnTo>
                  <a:lnTo>
                    <a:pt x="42352" y="72558"/>
                  </a:lnTo>
                  <a:lnTo>
                    <a:pt x="42352" y="73953"/>
                  </a:lnTo>
                  <a:lnTo>
                    <a:pt x="42352" y="76046"/>
                  </a:lnTo>
                  <a:lnTo>
                    <a:pt x="43921" y="76046"/>
                  </a:lnTo>
                  <a:lnTo>
                    <a:pt x="43921" y="76046"/>
                  </a:lnTo>
                  <a:close/>
                  <a:moveTo>
                    <a:pt x="25882" y="64186"/>
                  </a:moveTo>
                  <a:lnTo>
                    <a:pt x="25882" y="62790"/>
                  </a:lnTo>
                  <a:lnTo>
                    <a:pt x="27450" y="62790"/>
                  </a:lnTo>
                  <a:lnTo>
                    <a:pt x="27450" y="60697"/>
                  </a:lnTo>
                  <a:lnTo>
                    <a:pt x="27450" y="60697"/>
                  </a:lnTo>
                  <a:lnTo>
                    <a:pt x="29019" y="60697"/>
                  </a:lnTo>
                  <a:lnTo>
                    <a:pt x="31372" y="60697"/>
                  </a:lnTo>
                  <a:lnTo>
                    <a:pt x="31372" y="59302"/>
                  </a:lnTo>
                  <a:lnTo>
                    <a:pt x="31372" y="59302"/>
                  </a:lnTo>
                  <a:lnTo>
                    <a:pt x="29019" y="59302"/>
                  </a:lnTo>
                  <a:lnTo>
                    <a:pt x="31372" y="57906"/>
                  </a:lnTo>
                  <a:lnTo>
                    <a:pt x="29019" y="55813"/>
                  </a:lnTo>
                  <a:lnTo>
                    <a:pt x="31372" y="57906"/>
                  </a:lnTo>
                  <a:lnTo>
                    <a:pt x="31372" y="57906"/>
                  </a:lnTo>
                  <a:lnTo>
                    <a:pt x="31372" y="57906"/>
                  </a:lnTo>
                  <a:lnTo>
                    <a:pt x="32941" y="57906"/>
                  </a:lnTo>
                  <a:lnTo>
                    <a:pt x="32941" y="57906"/>
                  </a:lnTo>
                  <a:lnTo>
                    <a:pt x="32941" y="55813"/>
                  </a:lnTo>
                  <a:lnTo>
                    <a:pt x="31372" y="55813"/>
                  </a:lnTo>
                  <a:lnTo>
                    <a:pt x="31372" y="54418"/>
                  </a:lnTo>
                  <a:lnTo>
                    <a:pt x="29019" y="54418"/>
                  </a:lnTo>
                  <a:lnTo>
                    <a:pt x="29019" y="54418"/>
                  </a:lnTo>
                  <a:lnTo>
                    <a:pt x="27450" y="55813"/>
                  </a:lnTo>
                  <a:lnTo>
                    <a:pt x="27450" y="54418"/>
                  </a:lnTo>
                  <a:lnTo>
                    <a:pt x="29019" y="54418"/>
                  </a:lnTo>
                  <a:lnTo>
                    <a:pt x="29019" y="54418"/>
                  </a:lnTo>
                  <a:lnTo>
                    <a:pt x="29019" y="53023"/>
                  </a:lnTo>
                  <a:lnTo>
                    <a:pt x="29019" y="50930"/>
                  </a:lnTo>
                  <a:lnTo>
                    <a:pt x="27450" y="49534"/>
                  </a:lnTo>
                  <a:lnTo>
                    <a:pt x="27450" y="47441"/>
                  </a:lnTo>
                  <a:lnTo>
                    <a:pt x="25882" y="47441"/>
                  </a:lnTo>
                  <a:lnTo>
                    <a:pt x="23529" y="47441"/>
                  </a:lnTo>
                  <a:lnTo>
                    <a:pt x="21960" y="47441"/>
                  </a:lnTo>
                  <a:lnTo>
                    <a:pt x="21960" y="47441"/>
                  </a:lnTo>
                  <a:lnTo>
                    <a:pt x="18039" y="47441"/>
                  </a:lnTo>
                  <a:lnTo>
                    <a:pt x="16470" y="47441"/>
                  </a:lnTo>
                  <a:lnTo>
                    <a:pt x="16470" y="47441"/>
                  </a:lnTo>
                  <a:lnTo>
                    <a:pt x="16470" y="47441"/>
                  </a:lnTo>
                  <a:lnTo>
                    <a:pt x="14901" y="49534"/>
                  </a:lnTo>
                  <a:lnTo>
                    <a:pt x="14901" y="49534"/>
                  </a:lnTo>
                  <a:lnTo>
                    <a:pt x="12549" y="49534"/>
                  </a:lnTo>
                  <a:lnTo>
                    <a:pt x="12549" y="49534"/>
                  </a:lnTo>
                  <a:lnTo>
                    <a:pt x="10980" y="49534"/>
                  </a:lnTo>
                  <a:lnTo>
                    <a:pt x="10980" y="50930"/>
                  </a:lnTo>
                  <a:lnTo>
                    <a:pt x="8627" y="50930"/>
                  </a:lnTo>
                  <a:lnTo>
                    <a:pt x="8627" y="53023"/>
                  </a:lnTo>
                  <a:lnTo>
                    <a:pt x="8627" y="53023"/>
                  </a:lnTo>
                  <a:lnTo>
                    <a:pt x="7058" y="54418"/>
                  </a:lnTo>
                  <a:lnTo>
                    <a:pt x="7058" y="54418"/>
                  </a:lnTo>
                  <a:lnTo>
                    <a:pt x="5490" y="54418"/>
                  </a:lnTo>
                  <a:lnTo>
                    <a:pt x="5490" y="54418"/>
                  </a:lnTo>
                  <a:lnTo>
                    <a:pt x="5490" y="54418"/>
                  </a:lnTo>
                  <a:lnTo>
                    <a:pt x="3137" y="54418"/>
                  </a:lnTo>
                  <a:lnTo>
                    <a:pt x="3137" y="54418"/>
                  </a:lnTo>
                  <a:lnTo>
                    <a:pt x="3137" y="54418"/>
                  </a:lnTo>
                  <a:lnTo>
                    <a:pt x="3137" y="54418"/>
                  </a:lnTo>
                  <a:lnTo>
                    <a:pt x="3137" y="55813"/>
                  </a:lnTo>
                  <a:lnTo>
                    <a:pt x="5490" y="55813"/>
                  </a:lnTo>
                  <a:lnTo>
                    <a:pt x="5490" y="55813"/>
                  </a:lnTo>
                  <a:lnTo>
                    <a:pt x="3137" y="55813"/>
                  </a:lnTo>
                  <a:lnTo>
                    <a:pt x="1568" y="57906"/>
                  </a:lnTo>
                  <a:lnTo>
                    <a:pt x="0" y="57906"/>
                  </a:lnTo>
                  <a:lnTo>
                    <a:pt x="0" y="57906"/>
                  </a:lnTo>
                  <a:lnTo>
                    <a:pt x="0" y="59302"/>
                  </a:lnTo>
                  <a:lnTo>
                    <a:pt x="1568" y="60697"/>
                  </a:lnTo>
                  <a:lnTo>
                    <a:pt x="3137" y="60697"/>
                  </a:lnTo>
                  <a:lnTo>
                    <a:pt x="3137" y="60697"/>
                  </a:lnTo>
                  <a:lnTo>
                    <a:pt x="5490" y="62790"/>
                  </a:lnTo>
                  <a:lnTo>
                    <a:pt x="5490" y="62790"/>
                  </a:lnTo>
                  <a:lnTo>
                    <a:pt x="7058" y="62790"/>
                  </a:lnTo>
                  <a:lnTo>
                    <a:pt x="8627" y="62790"/>
                  </a:lnTo>
                  <a:lnTo>
                    <a:pt x="8627" y="62790"/>
                  </a:lnTo>
                  <a:lnTo>
                    <a:pt x="8627" y="62790"/>
                  </a:lnTo>
                  <a:lnTo>
                    <a:pt x="8627" y="62790"/>
                  </a:lnTo>
                  <a:lnTo>
                    <a:pt x="10980" y="60697"/>
                  </a:lnTo>
                  <a:lnTo>
                    <a:pt x="10980" y="60697"/>
                  </a:lnTo>
                  <a:lnTo>
                    <a:pt x="10980" y="60697"/>
                  </a:lnTo>
                  <a:lnTo>
                    <a:pt x="10980" y="60697"/>
                  </a:lnTo>
                  <a:lnTo>
                    <a:pt x="12549" y="59302"/>
                  </a:lnTo>
                  <a:lnTo>
                    <a:pt x="12549" y="59302"/>
                  </a:lnTo>
                  <a:lnTo>
                    <a:pt x="14901" y="59302"/>
                  </a:lnTo>
                  <a:lnTo>
                    <a:pt x="14901" y="59302"/>
                  </a:lnTo>
                  <a:lnTo>
                    <a:pt x="14901" y="59302"/>
                  </a:lnTo>
                  <a:lnTo>
                    <a:pt x="14901" y="60697"/>
                  </a:lnTo>
                  <a:lnTo>
                    <a:pt x="14901" y="60697"/>
                  </a:lnTo>
                  <a:lnTo>
                    <a:pt x="16470" y="60697"/>
                  </a:lnTo>
                  <a:lnTo>
                    <a:pt x="16470" y="60697"/>
                  </a:lnTo>
                  <a:lnTo>
                    <a:pt x="18039" y="62790"/>
                  </a:lnTo>
                  <a:lnTo>
                    <a:pt x="18039" y="62790"/>
                  </a:lnTo>
                  <a:lnTo>
                    <a:pt x="16470" y="62790"/>
                  </a:lnTo>
                  <a:lnTo>
                    <a:pt x="18039" y="64186"/>
                  </a:lnTo>
                  <a:lnTo>
                    <a:pt x="18039" y="64186"/>
                  </a:lnTo>
                  <a:lnTo>
                    <a:pt x="20392" y="64186"/>
                  </a:lnTo>
                  <a:lnTo>
                    <a:pt x="20392" y="64186"/>
                  </a:lnTo>
                  <a:lnTo>
                    <a:pt x="20392" y="62790"/>
                  </a:lnTo>
                  <a:lnTo>
                    <a:pt x="21960" y="62790"/>
                  </a:lnTo>
                  <a:lnTo>
                    <a:pt x="21960" y="62790"/>
                  </a:lnTo>
                  <a:lnTo>
                    <a:pt x="23529" y="64186"/>
                  </a:lnTo>
                  <a:lnTo>
                    <a:pt x="25882" y="64186"/>
                  </a:lnTo>
                  <a:close/>
                  <a:moveTo>
                    <a:pt x="36862" y="44651"/>
                  </a:moveTo>
                  <a:lnTo>
                    <a:pt x="38431" y="44651"/>
                  </a:lnTo>
                  <a:lnTo>
                    <a:pt x="38431" y="42558"/>
                  </a:lnTo>
                  <a:lnTo>
                    <a:pt x="38431" y="42558"/>
                  </a:lnTo>
                  <a:lnTo>
                    <a:pt x="38431" y="41162"/>
                  </a:lnTo>
                  <a:lnTo>
                    <a:pt x="38431" y="41162"/>
                  </a:lnTo>
                  <a:lnTo>
                    <a:pt x="36862" y="41162"/>
                  </a:lnTo>
                  <a:lnTo>
                    <a:pt x="36862" y="41162"/>
                  </a:lnTo>
                  <a:lnTo>
                    <a:pt x="36862" y="41162"/>
                  </a:lnTo>
                  <a:lnTo>
                    <a:pt x="34509" y="41162"/>
                  </a:lnTo>
                  <a:lnTo>
                    <a:pt x="34509" y="41162"/>
                  </a:lnTo>
                  <a:lnTo>
                    <a:pt x="36862" y="44651"/>
                  </a:lnTo>
                  <a:lnTo>
                    <a:pt x="36862" y="44651"/>
                  </a:lnTo>
                  <a:lnTo>
                    <a:pt x="36862" y="44651"/>
                  </a:lnTo>
                  <a:close/>
                  <a:moveTo>
                    <a:pt x="23529" y="42558"/>
                  </a:moveTo>
                  <a:lnTo>
                    <a:pt x="25882" y="42558"/>
                  </a:lnTo>
                  <a:lnTo>
                    <a:pt x="27450" y="41162"/>
                  </a:lnTo>
                  <a:lnTo>
                    <a:pt x="27450" y="41162"/>
                  </a:lnTo>
                  <a:lnTo>
                    <a:pt x="27450" y="41162"/>
                  </a:lnTo>
                  <a:lnTo>
                    <a:pt x="27450" y="39767"/>
                  </a:lnTo>
                  <a:lnTo>
                    <a:pt x="27450" y="37674"/>
                  </a:lnTo>
                  <a:lnTo>
                    <a:pt x="25882" y="37674"/>
                  </a:lnTo>
                  <a:lnTo>
                    <a:pt x="25882" y="37674"/>
                  </a:lnTo>
                  <a:lnTo>
                    <a:pt x="23529" y="37674"/>
                  </a:lnTo>
                  <a:lnTo>
                    <a:pt x="23529" y="37674"/>
                  </a:lnTo>
                  <a:lnTo>
                    <a:pt x="23529" y="37674"/>
                  </a:lnTo>
                  <a:lnTo>
                    <a:pt x="23529" y="39767"/>
                  </a:lnTo>
                  <a:lnTo>
                    <a:pt x="21960" y="39767"/>
                  </a:lnTo>
                  <a:lnTo>
                    <a:pt x="21960" y="39767"/>
                  </a:lnTo>
                  <a:lnTo>
                    <a:pt x="21960" y="41162"/>
                  </a:lnTo>
                  <a:lnTo>
                    <a:pt x="21960" y="41162"/>
                  </a:lnTo>
                  <a:lnTo>
                    <a:pt x="21960" y="41162"/>
                  </a:lnTo>
                  <a:lnTo>
                    <a:pt x="23529" y="39767"/>
                  </a:lnTo>
                  <a:lnTo>
                    <a:pt x="23529" y="39767"/>
                  </a:lnTo>
                  <a:lnTo>
                    <a:pt x="25882" y="39767"/>
                  </a:lnTo>
                  <a:lnTo>
                    <a:pt x="23529" y="41162"/>
                  </a:lnTo>
                  <a:lnTo>
                    <a:pt x="25882" y="41162"/>
                  </a:lnTo>
                  <a:lnTo>
                    <a:pt x="23529" y="41162"/>
                  </a:lnTo>
                  <a:lnTo>
                    <a:pt x="23529" y="42558"/>
                  </a:lnTo>
                  <a:close/>
                  <a:moveTo>
                    <a:pt x="27450" y="37674"/>
                  </a:moveTo>
                  <a:lnTo>
                    <a:pt x="27450" y="39767"/>
                  </a:lnTo>
                  <a:lnTo>
                    <a:pt x="27450" y="39767"/>
                  </a:lnTo>
                  <a:lnTo>
                    <a:pt x="27450" y="39767"/>
                  </a:lnTo>
                  <a:lnTo>
                    <a:pt x="29019" y="39767"/>
                  </a:lnTo>
                  <a:lnTo>
                    <a:pt x="29019" y="39767"/>
                  </a:lnTo>
                  <a:lnTo>
                    <a:pt x="31372" y="36279"/>
                  </a:lnTo>
                  <a:lnTo>
                    <a:pt x="32941" y="34883"/>
                  </a:lnTo>
                  <a:lnTo>
                    <a:pt x="31372" y="34883"/>
                  </a:lnTo>
                  <a:lnTo>
                    <a:pt x="31372" y="34883"/>
                  </a:lnTo>
                  <a:lnTo>
                    <a:pt x="29019" y="36279"/>
                  </a:lnTo>
                  <a:lnTo>
                    <a:pt x="29019" y="36279"/>
                  </a:lnTo>
                  <a:lnTo>
                    <a:pt x="29019" y="36279"/>
                  </a:lnTo>
                  <a:lnTo>
                    <a:pt x="29019" y="36279"/>
                  </a:lnTo>
                  <a:lnTo>
                    <a:pt x="27450" y="37674"/>
                  </a:lnTo>
                  <a:lnTo>
                    <a:pt x="27450" y="37674"/>
                  </a:lnTo>
                  <a:close/>
                  <a:moveTo>
                    <a:pt x="31372" y="29302"/>
                  </a:moveTo>
                  <a:lnTo>
                    <a:pt x="31372" y="29302"/>
                  </a:lnTo>
                  <a:lnTo>
                    <a:pt x="29019" y="27906"/>
                  </a:lnTo>
                  <a:lnTo>
                    <a:pt x="29019" y="27906"/>
                  </a:lnTo>
                  <a:lnTo>
                    <a:pt x="27450" y="27906"/>
                  </a:lnTo>
                  <a:lnTo>
                    <a:pt x="27450" y="27906"/>
                  </a:lnTo>
                  <a:lnTo>
                    <a:pt x="25882" y="27906"/>
                  </a:lnTo>
                  <a:lnTo>
                    <a:pt x="25882" y="27906"/>
                  </a:lnTo>
                  <a:lnTo>
                    <a:pt x="25882" y="27906"/>
                  </a:lnTo>
                  <a:lnTo>
                    <a:pt x="25882" y="29302"/>
                  </a:lnTo>
                  <a:lnTo>
                    <a:pt x="27450" y="29302"/>
                  </a:lnTo>
                  <a:lnTo>
                    <a:pt x="27450" y="31395"/>
                  </a:lnTo>
                  <a:lnTo>
                    <a:pt x="25882" y="31395"/>
                  </a:lnTo>
                  <a:lnTo>
                    <a:pt x="25882" y="32790"/>
                  </a:lnTo>
                  <a:lnTo>
                    <a:pt x="25882" y="32790"/>
                  </a:lnTo>
                  <a:lnTo>
                    <a:pt x="27450" y="32790"/>
                  </a:lnTo>
                  <a:lnTo>
                    <a:pt x="31372" y="31395"/>
                  </a:lnTo>
                  <a:lnTo>
                    <a:pt x="32941" y="29302"/>
                  </a:lnTo>
                  <a:lnTo>
                    <a:pt x="31372" y="29302"/>
                  </a:lnTo>
                  <a:close/>
                  <a:moveTo>
                    <a:pt x="14901" y="18139"/>
                  </a:moveTo>
                  <a:lnTo>
                    <a:pt x="14901" y="18139"/>
                  </a:lnTo>
                  <a:lnTo>
                    <a:pt x="14901" y="19534"/>
                  </a:lnTo>
                  <a:lnTo>
                    <a:pt x="14901" y="19534"/>
                  </a:lnTo>
                  <a:lnTo>
                    <a:pt x="14901" y="21627"/>
                  </a:lnTo>
                  <a:lnTo>
                    <a:pt x="14901" y="21627"/>
                  </a:lnTo>
                  <a:lnTo>
                    <a:pt x="14901" y="21627"/>
                  </a:lnTo>
                  <a:lnTo>
                    <a:pt x="16470" y="21627"/>
                  </a:lnTo>
                  <a:lnTo>
                    <a:pt x="16470" y="21627"/>
                  </a:lnTo>
                  <a:lnTo>
                    <a:pt x="16470" y="18139"/>
                  </a:lnTo>
                  <a:lnTo>
                    <a:pt x="16470" y="18139"/>
                  </a:lnTo>
                  <a:lnTo>
                    <a:pt x="14901" y="18139"/>
                  </a:lnTo>
                  <a:close/>
                  <a:moveTo>
                    <a:pt x="31372" y="23023"/>
                  </a:moveTo>
                  <a:lnTo>
                    <a:pt x="31372" y="23023"/>
                  </a:lnTo>
                  <a:lnTo>
                    <a:pt x="31372" y="21627"/>
                  </a:lnTo>
                  <a:lnTo>
                    <a:pt x="32941" y="21627"/>
                  </a:lnTo>
                  <a:lnTo>
                    <a:pt x="34509" y="19534"/>
                  </a:lnTo>
                  <a:lnTo>
                    <a:pt x="34509" y="19534"/>
                  </a:lnTo>
                  <a:lnTo>
                    <a:pt x="34509" y="19534"/>
                  </a:lnTo>
                  <a:lnTo>
                    <a:pt x="34509" y="19534"/>
                  </a:lnTo>
                  <a:lnTo>
                    <a:pt x="32941" y="19534"/>
                  </a:lnTo>
                  <a:lnTo>
                    <a:pt x="29019" y="19534"/>
                  </a:lnTo>
                  <a:lnTo>
                    <a:pt x="29019" y="18139"/>
                  </a:lnTo>
                  <a:lnTo>
                    <a:pt x="29019" y="18139"/>
                  </a:lnTo>
                  <a:lnTo>
                    <a:pt x="29019" y="18139"/>
                  </a:lnTo>
                  <a:lnTo>
                    <a:pt x="29019" y="16744"/>
                  </a:lnTo>
                  <a:lnTo>
                    <a:pt x="29019" y="16744"/>
                  </a:lnTo>
                  <a:lnTo>
                    <a:pt x="29019" y="16744"/>
                  </a:lnTo>
                  <a:lnTo>
                    <a:pt x="29019" y="14651"/>
                  </a:lnTo>
                  <a:lnTo>
                    <a:pt x="29019" y="13255"/>
                  </a:lnTo>
                  <a:lnTo>
                    <a:pt x="27450" y="13255"/>
                  </a:lnTo>
                  <a:lnTo>
                    <a:pt x="27450" y="13255"/>
                  </a:lnTo>
                  <a:lnTo>
                    <a:pt x="27450" y="14651"/>
                  </a:lnTo>
                  <a:lnTo>
                    <a:pt x="23529" y="14651"/>
                  </a:lnTo>
                  <a:lnTo>
                    <a:pt x="23529" y="14651"/>
                  </a:lnTo>
                  <a:lnTo>
                    <a:pt x="23529" y="16744"/>
                  </a:lnTo>
                  <a:lnTo>
                    <a:pt x="23529" y="16744"/>
                  </a:lnTo>
                  <a:lnTo>
                    <a:pt x="23529" y="16744"/>
                  </a:lnTo>
                  <a:lnTo>
                    <a:pt x="23529" y="16744"/>
                  </a:lnTo>
                  <a:lnTo>
                    <a:pt x="23529" y="16744"/>
                  </a:lnTo>
                  <a:lnTo>
                    <a:pt x="21960" y="16744"/>
                  </a:lnTo>
                  <a:lnTo>
                    <a:pt x="21960" y="16744"/>
                  </a:lnTo>
                  <a:lnTo>
                    <a:pt x="21960" y="16744"/>
                  </a:lnTo>
                  <a:lnTo>
                    <a:pt x="23529" y="18139"/>
                  </a:lnTo>
                  <a:lnTo>
                    <a:pt x="25882" y="18139"/>
                  </a:lnTo>
                  <a:lnTo>
                    <a:pt x="27450" y="19534"/>
                  </a:lnTo>
                  <a:lnTo>
                    <a:pt x="27450" y="19534"/>
                  </a:lnTo>
                  <a:lnTo>
                    <a:pt x="27450" y="19534"/>
                  </a:lnTo>
                  <a:lnTo>
                    <a:pt x="29019" y="19534"/>
                  </a:lnTo>
                  <a:lnTo>
                    <a:pt x="31372" y="19534"/>
                  </a:lnTo>
                  <a:lnTo>
                    <a:pt x="31372" y="21627"/>
                  </a:lnTo>
                  <a:lnTo>
                    <a:pt x="31372" y="23023"/>
                  </a:lnTo>
                  <a:close/>
                  <a:moveTo>
                    <a:pt x="18039" y="14651"/>
                  </a:moveTo>
                  <a:lnTo>
                    <a:pt x="18039" y="14651"/>
                  </a:lnTo>
                  <a:lnTo>
                    <a:pt x="18039" y="13255"/>
                  </a:lnTo>
                  <a:lnTo>
                    <a:pt x="16470" y="13255"/>
                  </a:lnTo>
                  <a:lnTo>
                    <a:pt x="16470" y="13255"/>
                  </a:lnTo>
                  <a:lnTo>
                    <a:pt x="14901" y="14651"/>
                  </a:lnTo>
                  <a:lnTo>
                    <a:pt x="14901" y="13255"/>
                  </a:lnTo>
                  <a:lnTo>
                    <a:pt x="14901" y="13255"/>
                  </a:lnTo>
                  <a:lnTo>
                    <a:pt x="14901" y="14651"/>
                  </a:lnTo>
                  <a:lnTo>
                    <a:pt x="12549" y="14651"/>
                  </a:lnTo>
                  <a:lnTo>
                    <a:pt x="12549" y="14651"/>
                  </a:lnTo>
                  <a:lnTo>
                    <a:pt x="16470" y="14651"/>
                  </a:lnTo>
                  <a:lnTo>
                    <a:pt x="18039" y="14651"/>
                  </a:lnTo>
                  <a:close/>
                  <a:moveTo>
                    <a:pt x="20392" y="11162"/>
                  </a:moveTo>
                  <a:lnTo>
                    <a:pt x="18039" y="11162"/>
                  </a:lnTo>
                  <a:lnTo>
                    <a:pt x="20392" y="13255"/>
                  </a:lnTo>
                  <a:lnTo>
                    <a:pt x="20392" y="13255"/>
                  </a:lnTo>
                  <a:lnTo>
                    <a:pt x="20392" y="13255"/>
                  </a:lnTo>
                  <a:lnTo>
                    <a:pt x="21960" y="11162"/>
                  </a:lnTo>
                  <a:lnTo>
                    <a:pt x="21960" y="11162"/>
                  </a:lnTo>
                  <a:lnTo>
                    <a:pt x="21960" y="11162"/>
                  </a:lnTo>
                  <a:lnTo>
                    <a:pt x="23529" y="9767"/>
                  </a:lnTo>
                  <a:lnTo>
                    <a:pt x="25882" y="9767"/>
                  </a:lnTo>
                  <a:lnTo>
                    <a:pt x="27450" y="8372"/>
                  </a:lnTo>
                  <a:lnTo>
                    <a:pt x="27450" y="8372"/>
                  </a:lnTo>
                  <a:lnTo>
                    <a:pt x="27450" y="8372"/>
                  </a:lnTo>
                  <a:lnTo>
                    <a:pt x="27450" y="8372"/>
                  </a:lnTo>
                  <a:lnTo>
                    <a:pt x="25882" y="8372"/>
                  </a:lnTo>
                  <a:lnTo>
                    <a:pt x="27450" y="6279"/>
                  </a:lnTo>
                  <a:lnTo>
                    <a:pt x="27450" y="6279"/>
                  </a:lnTo>
                  <a:lnTo>
                    <a:pt x="29019" y="6279"/>
                  </a:lnTo>
                  <a:lnTo>
                    <a:pt x="31372" y="4883"/>
                  </a:lnTo>
                  <a:lnTo>
                    <a:pt x="31372" y="3488"/>
                  </a:lnTo>
                  <a:lnTo>
                    <a:pt x="31372" y="3488"/>
                  </a:lnTo>
                  <a:lnTo>
                    <a:pt x="31372" y="1395"/>
                  </a:lnTo>
                  <a:lnTo>
                    <a:pt x="29019" y="3488"/>
                  </a:lnTo>
                  <a:lnTo>
                    <a:pt x="27450" y="3488"/>
                  </a:lnTo>
                  <a:lnTo>
                    <a:pt x="23529" y="4883"/>
                  </a:lnTo>
                  <a:lnTo>
                    <a:pt x="23529" y="4883"/>
                  </a:lnTo>
                  <a:lnTo>
                    <a:pt x="23529" y="4883"/>
                  </a:lnTo>
                  <a:lnTo>
                    <a:pt x="23529" y="6279"/>
                  </a:lnTo>
                  <a:lnTo>
                    <a:pt x="23529" y="6279"/>
                  </a:lnTo>
                  <a:lnTo>
                    <a:pt x="23529" y="6279"/>
                  </a:lnTo>
                  <a:lnTo>
                    <a:pt x="21960" y="6279"/>
                  </a:lnTo>
                  <a:lnTo>
                    <a:pt x="21960" y="6279"/>
                  </a:lnTo>
                  <a:lnTo>
                    <a:pt x="20392" y="6279"/>
                  </a:lnTo>
                  <a:lnTo>
                    <a:pt x="20392" y="6279"/>
                  </a:lnTo>
                  <a:lnTo>
                    <a:pt x="20392" y="6279"/>
                  </a:lnTo>
                  <a:lnTo>
                    <a:pt x="20392" y="6279"/>
                  </a:lnTo>
                  <a:lnTo>
                    <a:pt x="20392" y="6279"/>
                  </a:lnTo>
                  <a:lnTo>
                    <a:pt x="20392" y="8372"/>
                  </a:lnTo>
                  <a:lnTo>
                    <a:pt x="20392" y="8372"/>
                  </a:lnTo>
                  <a:lnTo>
                    <a:pt x="20392" y="8372"/>
                  </a:lnTo>
                  <a:lnTo>
                    <a:pt x="20392" y="8372"/>
                  </a:lnTo>
                  <a:lnTo>
                    <a:pt x="20392" y="8372"/>
                  </a:lnTo>
                  <a:lnTo>
                    <a:pt x="20392" y="8372"/>
                  </a:lnTo>
                  <a:lnTo>
                    <a:pt x="20392" y="9767"/>
                  </a:lnTo>
                  <a:lnTo>
                    <a:pt x="20392" y="9767"/>
                  </a:lnTo>
                  <a:lnTo>
                    <a:pt x="21960" y="9767"/>
                  </a:lnTo>
                  <a:lnTo>
                    <a:pt x="21960" y="9767"/>
                  </a:lnTo>
                  <a:lnTo>
                    <a:pt x="20392" y="9767"/>
                  </a:lnTo>
                  <a:lnTo>
                    <a:pt x="20392" y="11162"/>
                  </a:lnTo>
                  <a:close/>
                  <a:moveTo>
                    <a:pt x="117647" y="82325"/>
                  </a:moveTo>
                  <a:lnTo>
                    <a:pt x="117647" y="82325"/>
                  </a:lnTo>
                  <a:lnTo>
                    <a:pt x="114509" y="78837"/>
                  </a:lnTo>
                  <a:lnTo>
                    <a:pt x="114509" y="78837"/>
                  </a:lnTo>
                  <a:lnTo>
                    <a:pt x="110588" y="78837"/>
                  </a:lnTo>
                  <a:lnTo>
                    <a:pt x="109019" y="78837"/>
                  </a:lnTo>
                  <a:lnTo>
                    <a:pt x="109019" y="78837"/>
                  </a:lnTo>
                  <a:lnTo>
                    <a:pt x="106666" y="78837"/>
                  </a:lnTo>
                  <a:lnTo>
                    <a:pt x="105098" y="78837"/>
                  </a:lnTo>
                  <a:lnTo>
                    <a:pt x="103529" y="78837"/>
                  </a:lnTo>
                  <a:lnTo>
                    <a:pt x="103529" y="80930"/>
                  </a:lnTo>
                  <a:lnTo>
                    <a:pt x="103529" y="80930"/>
                  </a:lnTo>
                  <a:lnTo>
                    <a:pt x="101176" y="80930"/>
                  </a:lnTo>
                  <a:lnTo>
                    <a:pt x="101176" y="80930"/>
                  </a:lnTo>
                  <a:lnTo>
                    <a:pt x="98039" y="78837"/>
                  </a:lnTo>
                  <a:lnTo>
                    <a:pt x="99607" y="78837"/>
                  </a:lnTo>
                  <a:lnTo>
                    <a:pt x="99607" y="77441"/>
                  </a:lnTo>
                  <a:lnTo>
                    <a:pt x="101176" y="77441"/>
                  </a:lnTo>
                  <a:lnTo>
                    <a:pt x="103529" y="76046"/>
                  </a:lnTo>
                  <a:lnTo>
                    <a:pt x="101176" y="73953"/>
                  </a:lnTo>
                  <a:lnTo>
                    <a:pt x="99607" y="72558"/>
                  </a:lnTo>
                  <a:lnTo>
                    <a:pt x="95686" y="69069"/>
                  </a:lnTo>
                  <a:lnTo>
                    <a:pt x="91764" y="69069"/>
                  </a:lnTo>
                  <a:lnTo>
                    <a:pt x="90196" y="67674"/>
                  </a:lnTo>
                  <a:lnTo>
                    <a:pt x="91764" y="67674"/>
                  </a:lnTo>
                  <a:lnTo>
                    <a:pt x="91764" y="67674"/>
                  </a:lnTo>
                  <a:lnTo>
                    <a:pt x="95686" y="67674"/>
                  </a:lnTo>
                  <a:lnTo>
                    <a:pt x="95686" y="69069"/>
                  </a:lnTo>
                  <a:lnTo>
                    <a:pt x="98039" y="69069"/>
                  </a:lnTo>
                  <a:lnTo>
                    <a:pt x="98039" y="69069"/>
                  </a:lnTo>
                  <a:lnTo>
                    <a:pt x="99607" y="69069"/>
                  </a:lnTo>
                  <a:lnTo>
                    <a:pt x="99607" y="69069"/>
                  </a:lnTo>
                  <a:lnTo>
                    <a:pt x="99607" y="69069"/>
                  </a:lnTo>
                  <a:lnTo>
                    <a:pt x="99607" y="67674"/>
                  </a:lnTo>
                  <a:lnTo>
                    <a:pt x="98039" y="65581"/>
                  </a:lnTo>
                  <a:lnTo>
                    <a:pt x="98039" y="65581"/>
                  </a:lnTo>
                  <a:lnTo>
                    <a:pt x="95686" y="64186"/>
                  </a:lnTo>
                  <a:lnTo>
                    <a:pt x="98039" y="62790"/>
                  </a:lnTo>
                  <a:lnTo>
                    <a:pt x="98039" y="62790"/>
                  </a:lnTo>
                  <a:lnTo>
                    <a:pt x="95686" y="60697"/>
                  </a:lnTo>
                  <a:lnTo>
                    <a:pt x="94117" y="60697"/>
                  </a:lnTo>
                  <a:lnTo>
                    <a:pt x="91764" y="59302"/>
                  </a:lnTo>
                  <a:lnTo>
                    <a:pt x="91764" y="57906"/>
                  </a:lnTo>
                  <a:lnTo>
                    <a:pt x="90196" y="57906"/>
                  </a:lnTo>
                  <a:lnTo>
                    <a:pt x="84705" y="55813"/>
                  </a:lnTo>
                  <a:lnTo>
                    <a:pt x="84705" y="54418"/>
                  </a:lnTo>
                  <a:lnTo>
                    <a:pt x="84705" y="54418"/>
                  </a:lnTo>
                  <a:lnTo>
                    <a:pt x="83137" y="49534"/>
                  </a:lnTo>
                  <a:lnTo>
                    <a:pt x="80784" y="46046"/>
                  </a:lnTo>
                  <a:lnTo>
                    <a:pt x="80784" y="42558"/>
                  </a:lnTo>
                  <a:lnTo>
                    <a:pt x="80784" y="42558"/>
                  </a:lnTo>
                  <a:lnTo>
                    <a:pt x="79215" y="41162"/>
                  </a:lnTo>
                  <a:lnTo>
                    <a:pt x="79215" y="41162"/>
                  </a:lnTo>
                  <a:lnTo>
                    <a:pt x="77647" y="39767"/>
                  </a:lnTo>
                  <a:lnTo>
                    <a:pt x="75294" y="37674"/>
                  </a:lnTo>
                  <a:lnTo>
                    <a:pt x="69803" y="36279"/>
                  </a:lnTo>
                  <a:lnTo>
                    <a:pt x="65882" y="36279"/>
                  </a:lnTo>
                  <a:lnTo>
                    <a:pt x="64313" y="37674"/>
                  </a:lnTo>
                  <a:lnTo>
                    <a:pt x="64313" y="37674"/>
                  </a:lnTo>
                  <a:lnTo>
                    <a:pt x="57254" y="36279"/>
                  </a:lnTo>
                  <a:lnTo>
                    <a:pt x="57254" y="36279"/>
                  </a:lnTo>
                  <a:lnTo>
                    <a:pt x="54901" y="34883"/>
                  </a:lnTo>
                  <a:lnTo>
                    <a:pt x="57254" y="36279"/>
                  </a:lnTo>
                  <a:lnTo>
                    <a:pt x="58823" y="36279"/>
                  </a:lnTo>
                  <a:lnTo>
                    <a:pt x="60392" y="36279"/>
                  </a:lnTo>
                  <a:lnTo>
                    <a:pt x="62745" y="36279"/>
                  </a:lnTo>
                  <a:lnTo>
                    <a:pt x="62745" y="36279"/>
                  </a:lnTo>
                  <a:lnTo>
                    <a:pt x="65882" y="34883"/>
                  </a:lnTo>
                  <a:lnTo>
                    <a:pt x="68235" y="34883"/>
                  </a:lnTo>
                  <a:lnTo>
                    <a:pt x="69803" y="32790"/>
                  </a:lnTo>
                  <a:lnTo>
                    <a:pt x="69803" y="32790"/>
                  </a:lnTo>
                  <a:lnTo>
                    <a:pt x="65882" y="31395"/>
                  </a:lnTo>
                  <a:lnTo>
                    <a:pt x="64313" y="31395"/>
                  </a:lnTo>
                  <a:lnTo>
                    <a:pt x="62745" y="31395"/>
                  </a:lnTo>
                  <a:lnTo>
                    <a:pt x="62745" y="31395"/>
                  </a:lnTo>
                  <a:lnTo>
                    <a:pt x="62745" y="31395"/>
                  </a:lnTo>
                  <a:lnTo>
                    <a:pt x="64313" y="31395"/>
                  </a:lnTo>
                  <a:lnTo>
                    <a:pt x="64313" y="29302"/>
                  </a:lnTo>
                  <a:lnTo>
                    <a:pt x="68235" y="29302"/>
                  </a:lnTo>
                  <a:lnTo>
                    <a:pt x="69803" y="29302"/>
                  </a:lnTo>
                  <a:lnTo>
                    <a:pt x="69803" y="29302"/>
                  </a:lnTo>
                  <a:lnTo>
                    <a:pt x="72156" y="27906"/>
                  </a:lnTo>
                  <a:lnTo>
                    <a:pt x="73725" y="26511"/>
                  </a:lnTo>
                  <a:lnTo>
                    <a:pt x="75294" y="24418"/>
                  </a:lnTo>
                  <a:lnTo>
                    <a:pt x="77647" y="21627"/>
                  </a:lnTo>
                  <a:lnTo>
                    <a:pt x="77647" y="21627"/>
                  </a:lnTo>
                  <a:lnTo>
                    <a:pt x="77647" y="19534"/>
                  </a:lnTo>
                  <a:lnTo>
                    <a:pt x="79215" y="19534"/>
                  </a:lnTo>
                  <a:lnTo>
                    <a:pt x="79215" y="18139"/>
                  </a:lnTo>
                  <a:lnTo>
                    <a:pt x="80784" y="16744"/>
                  </a:lnTo>
                  <a:lnTo>
                    <a:pt x="80784" y="16744"/>
                  </a:lnTo>
                  <a:lnTo>
                    <a:pt x="80784" y="16744"/>
                  </a:lnTo>
                  <a:lnTo>
                    <a:pt x="80784" y="14651"/>
                  </a:lnTo>
                  <a:lnTo>
                    <a:pt x="79215" y="13255"/>
                  </a:lnTo>
                  <a:lnTo>
                    <a:pt x="79215" y="13255"/>
                  </a:lnTo>
                  <a:lnTo>
                    <a:pt x="75294" y="13255"/>
                  </a:lnTo>
                  <a:lnTo>
                    <a:pt x="69803" y="13255"/>
                  </a:lnTo>
                  <a:lnTo>
                    <a:pt x="68235" y="13255"/>
                  </a:lnTo>
                  <a:lnTo>
                    <a:pt x="65882" y="13255"/>
                  </a:lnTo>
                  <a:lnTo>
                    <a:pt x="65882" y="13255"/>
                  </a:lnTo>
                  <a:lnTo>
                    <a:pt x="64313" y="13255"/>
                  </a:lnTo>
                  <a:lnTo>
                    <a:pt x="62745" y="13255"/>
                  </a:lnTo>
                  <a:lnTo>
                    <a:pt x="60392" y="13255"/>
                  </a:lnTo>
                  <a:lnTo>
                    <a:pt x="57254" y="14651"/>
                  </a:lnTo>
                  <a:lnTo>
                    <a:pt x="54901" y="14651"/>
                  </a:lnTo>
                  <a:lnTo>
                    <a:pt x="53333" y="14651"/>
                  </a:lnTo>
                  <a:lnTo>
                    <a:pt x="54901" y="13255"/>
                  </a:lnTo>
                  <a:lnTo>
                    <a:pt x="57254" y="11162"/>
                  </a:lnTo>
                  <a:lnTo>
                    <a:pt x="57254" y="11162"/>
                  </a:lnTo>
                  <a:lnTo>
                    <a:pt x="57254" y="11162"/>
                  </a:lnTo>
                  <a:lnTo>
                    <a:pt x="54901" y="11162"/>
                  </a:lnTo>
                  <a:lnTo>
                    <a:pt x="54901" y="9767"/>
                  </a:lnTo>
                  <a:lnTo>
                    <a:pt x="54901" y="9767"/>
                  </a:lnTo>
                  <a:lnTo>
                    <a:pt x="58823" y="8372"/>
                  </a:lnTo>
                  <a:lnTo>
                    <a:pt x="62745" y="6279"/>
                  </a:lnTo>
                  <a:lnTo>
                    <a:pt x="65882" y="4883"/>
                  </a:lnTo>
                  <a:lnTo>
                    <a:pt x="65882" y="3488"/>
                  </a:lnTo>
                  <a:lnTo>
                    <a:pt x="65882" y="3488"/>
                  </a:lnTo>
                  <a:lnTo>
                    <a:pt x="68235" y="3488"/>
                  </a:lnTo>
                  <a:lnTo>
                    <a:pt x="68235" y="1395"/>
                  </a:lnTo>
                  <a:lnTo>
                    <a:pt x="68235" y="1395"/>
                  </a:lnTo>
                  <a:lnTo>
                    <a:pt x="68235" y="0"/>
                  </a:lnTo>
                  <a:lnTo>
                    <a:pt x="68235" y="0"/>
                  </a:lnTo>
                  <a:lnTo>
                    <a:pt x="65882" y="0"/>
                  </a:lnTo>
                  <a:lnTo>
                    <a:pt x="62745" y="0"/>
                  </a:lnTo>
                  <a:lnTo>
                    <a:pt x="60392" y="1395"/>
                  </a:lnTo>
                  <a:lnTo>
                    <a:pt x="58823" y="1395"/>
                  </a:lnTo>
                  <a:lnTo>
                    <a:pt x="54901" y="1395"/>
                  </a:lnTo>
                  <a:lnTo>
                    <a:pt x="51764" y="1395"/>
                  </a:lnTo>
                  <a:lnTo>
                    <a:pt x="51764" y="1395"/>
                  </a:lnTo>
                  <a:lnTo>
                    <a:pt x="51764" y="1395"/>
                  </a:lnTo>
                  <a:lnTo>
                    <a:pt x="49411" y="1395"/>
                  </a:lnTo>
                  <a:lnTo>
                    <a:pt x="47843" y="1395"/>
                  </a:lnTo>
                  <a:lnTo>
                    <a:pt x="47843" y="1395"/>
                  </a:lnTo>
                  <a:lnTo>
                    <a:pt x="47843" y="1395"/>
                  </a:lnTo>
                  <a:lnTo>
                    <a:pt x="46274" y="1395"/>
                  </a:lnTo>
                  <a:lnTo>
                    <a:pt x="46274" y="1395"/>
                  </a:lnTo>
                  <a:lnTo>
                    <a:pt x="43921" y="1395"/>
                  </a:lnTo>
                  <a:lnTo>
                    <a:pt x="43921" y="1395"/>
                  </a:lnTo>
                  <a:lnTo>
                    <a:pt x="43921" y="3488"/>
                  </a:lnTo>
                  <a:lnTo>
                    <a:pt x="43921" y="3488"/>
                  </a:lnTo>
                  <a:lnTo>
                    <a:pt x="43921" y="3488"/>
                  </a:lnTo>
                  <a:lnTo>
                    <a:pt x="43921" y="4883"/>
                  </a:lnTo>
                  <a:lnTo>
                    <a:pt x="43921" y="4883"/>
                  </a:lnTo>
                  <a:lnTo>
                    <a:pt x="43921" y="4883"/>
                  </a:lnTo>
                  <a:lnTo>
                    <a:pt x="43921" y="4883"/>
                  </a:lnTo>
                  <a:lnTo>
                    <a:pt x="42352" y="4883"/>
                  </a:lnTo>
                  <a:lnTo>
                    <a:pt x="40784" y="6279"/>
                  </a:lnTo>
                  <a:lnTo>
                    <a:pt x="40784" y="6279"/>
                  </a:lnTo>
                  <a:lnTo>
                    <a:pt x="40784" y="6279"/>
                  </a:lnTo>
                  <a:lnTo>
                    <a:pt x="40784" y="6279"/>
                  </a:lnTo>
                  <a:lnTo>
                    <a:pt x="38431" y="8372"/>
                  </a:lnTo>
                  <a:lnTo>
                    <a:pt x="40784" y="8372"/>
                  </a:lnTo>
                  <a:lnTo>
                    <a:pt x="42352" y="9767"/>
                  </a:lnTo>
                  <a:lnTo>
                    <a:pt x="42352" y="11162"/>
                  </a:lnTo>
                  <a:lnTo>
                    <a:pt x="40784" y="9767"/>
                  </a:lnTo>
                  <a:lnTo>
                    <a:pt x="40784" y="9767"/>
                  </a:lnTo>
                  <a:lnTo>
                    <a:pt x="40784" y="11162"/>
                  </a:lnTo>
                  <a:lnTo>
                    <a:pt x="36862" y="11162"/>
                  </a:lnTo>
                  <a:lnTo>
                    <a:pt x="36862" y="11162"/>
                  </a:lnTo>
                  <a:lnTo>
                    <a:pt x="34509" y="11162"/>
                  </a:lnTo>
                  <a:lnTo>
                    <a:pt x="34509" y="13255"/>
                  </a:lnTo>
                  <a:lnTo>
                    <a:pt x="34509" y="14651"/>
                  </a:lnTo>
                  <a:lnTo>
                    <a:pt x="34509" y="14651"/>
                  </a:lnTo>
                  <a:lnTo>
                    <a:pt x="34509" y="14651"/>
                  </a:lnTo>
                  <a:lnTo>
                    <a:pt x="36862" y="14651"/>
                  </a:lnTo>
                  <a:lnTo>
                    <a:pt x="34509" y="16744"/>
                  </a:lnTo>
                  <a:lnTo>
                    <a:pt x="34509" y="16744"/>
                  </a:lnTo>
                  <a:lnTo>
                    <a:pt x="32941" y="16744"/>
                  </a:lnTo>
                  <a:lnTo>
                    <a:pt x="32941" y="16744"/>
                  </a:lnTo>
                  <a:lnTo>
                    <a:pt x="32941" y="18139"/>
                  </a:lnTo>
                  <a:lnTo>
                    <a:pt x="34509" y="18139"/>
                  </a:lnTo>
                  <a:lnTo>
                    <a:pt x="34509" y="18139"/>
                  </a:lnTo>
                  <a:lnTo>
                    <a:pt x="36862" y="19534"/>
                  </a:lnTo>
                  <a:lnTo>
                    <a:pt x="34509" y="21627"/>
                  </a:lnTo>
                  <a:lnTo>
                    <a:pt x="32941" y="23023"/>
                  </a:lnTo>
                  <a:lnTo>
                    <a:pt x="32941" y="24418"/>
                  </a:lnTo>
                  <a:lnTo>
                    <a:pt x="31372" y="24418"/>
                  </a:lnTo>
                  <a:lnTo>
                    <a:pt x="32941" y="24418"/>
                  </a:lnTo>
                  <a:lnTo>
                    <a:pt x="31372" y="26511"/>
                  </a:lnTo>
                  <a:lnTo>
                    <a:pt x="29019" y="26511"/>
                  </a:lnTo>
                  <a:lnTo>
                    <a:pt x="29019" y="26511"/>
                  </a:lnTo>
                  <a:lnTo>
                    <a:pt x="27450" y="26511"/>
                  </a:lnTo>
                  <a:lnTo>
                    <a:pt x="29019" y="26511"/>
                  </a:lnTo>
                  <a:lnTo>
                    <a:pt x="31372" y="26511"/>
                  </a:lnTo>
                  <a:lnTo>
                    <a:pt x="31372" y="27906"/>
                  </a:lnTo>
                  <a:lnTo>
                    <a:pt x="31372" y="29302"/>
                  </a:lnTo>
                  <a:lnTo>
                    <a:pt x="32941" y="29302"/>
                  </a:lnTo>
                  <a:lnTo>
                    <a:pt x="32941" y="29302"/>
                  </a:lnTo>
                  <a:lnTo>
                    <a:pt x="34509" y="29302"/>
                  </a:lnTo>
                  <a:lnTo>
                    <a:pt x="38431" y="26511"/>
                  </a:lnTo>
                  <a:lnTo>
                    <a:pt x="40784" y="26511"/>
                  </a:lnTo>
                  <a:lnTo>
                    <a:pt x="38431" y="26511"/>
                  </a:lnTo>
                  <a:lnTo>
                    <a:pt x="38431" y="27906"/>
                  </a:lnTo>
                  <a:lnTo>
                    <a:pt x="38431" y="29302"/>
                  </a:lnTo>
                  <a:lnTo>
                    <a:pt x="36862" y="29302"/>
                  </a:lnTo>
                  <a:lnTo>
                    <a:pt x="36862" y="31395"/>
                  </a:lnTo>
                  <a:lnTo>
                    <a:pt x="34509" y="31395"/>
                  </a:lnTo>
                  <a:lnTo>
                    <a:pt x="34509" y="32790"/>
                  </a:lnTo>
                  <a:lnTo>
                    <a:pt x="34509" y="34883"/>
                  </a:lnTo>
                  <a:lnTo>
                    <a:pt x="32941" y="36279"/>
                  </a:lnTo>
                  <a:lnTo>
                    <a:pt x="32941" y="39767"/>
                  </a:lnTo>
                  <a:lnTo>
                    <a:pt x="32941" y="39767"/>
                  </a:lnTo>
                  <a:lnTo>
                    <a:pt x="32941" y="39767"/>
                  </a:lnTo>
                  <a:lnTo>
                    <a:pt x="34509" y="39767"/>
                  </a:lnTo>
                  <a:lnTo>
                    <a:pt x="34509" y="39767"/>
                  </a:lnTo>
                  <a:lnTo>
                    <a:pt x="32941" y="41162"/>
                  </a:lnTo>
                  <a:lnTo>
                    <a:pt x="32941" y="41162"/>
                  </a:lnTo>
                  <a:lnTo>
                    <a:pt x="31372" y="41162"/>
                  </a:lnTo>
                  <a:lnTo>
                    <a:pt x="31372" y="44651"/>
                  </a:lnTo>
                  <a:lnTo>
                    <a:pt x="31372" y="44651"/>
                  </a:lnTo>
                  <a:lnTo>
                    <a:pt x="31372" y="46046"/>
                  </a:lnTo>
                  <a:lnTo>
                    <a:pt x="31372" y="46046"/>
                  </a:lnTo>
                  <a:lnTo>
                    <a:pt x="31372" y="46046"/>
                  </a:lnTo>
                  <a:lnTo>
                    <a:pt x="32941" y="46046"/>
                  </a:lnTo>
                  <a:lnTo>
                    <a:pt x="32941" y="46046"/>
                  </a:lnTo>
                  <a:lnTo>
                    <a:pt x="32941" y="44651"/>
                  </a:lnTo>
                  <a:lnTo>
                    <a:pt x="34509" y="39767"/>
                  </a:lnTo>
                  <a:lnTo>
                    <a:pt x="36862" y="39767"/>
                  </a:lnTo>
                  <a:lnTo>
                    <a:pt x="34509" y="37674"/>
                  </a:lnTo>
                  <a:lnTo>
                    <a:pt x="34509" y="36279"/>
                  </a:lnTo>
                  <a:lnTo>
                    <a:pt x="36862" y="36279"/>
                  </a:lnTo>
                  <a:lnTo>
                    <a:pt x="36862" y="36279"/>
                  </a:lnTo>
                  <a:lnTo>
                    <a:pt x="36862" y="34883"/>
                  </a:lnTo>
                  <a:lnTo>
                    <a:pt x="40784" y="34883"/>
                  </a:lnTo>
                  <a:lnTo>
                    <a:pt x="40784" y="32790"/>
                  </a:lnTo>
                  <a:lnTo>
                    <a:pt x="38431" y="34883"/>
                  </a:lnTo>
                  <a:lnTo>
                    <a:pt x="38431" y="36279"/>
                  </a:lnTo>
                  <a:lnTo>
                    <a:pt x="38431" y="36279"/>
                  </a:lnTo>
                  <a:lnTo>
                    <a:pt x="38431" y="37674"/>
                  </a:lnTo>
                  <a:lnTo>
                    <a:pt x="38431" y="37674"/>
                  </a:lnTo>
                  <a:lnTo>
                    <a:pt x="38431" y="37674"/>
                  </a:lnTo>
                  <a:lnTo>
                    <a:pt x="38431" y="37674"/>
                  </a:lnTo>
                  <a:lnTo>
                    <a:pt x="38431" y="37674"/>
                  </a:lnTo>
                  <a:lnTo>
                    <a:pt x="38431" y="37674"/>
                  </a:lnTo>
                  <a:lnTo>
                    <a:pt x="40784" y="36279"/>
                  </a:lnTo>
                  <a:lnTo>
                    <a:pt x="40784" y="36279"/>
                  </a:lnTo>
                  <a:lnTo>
                    <a:pt x="42352" y="36279"/>
                  </a:lnTo>
                  <a:lnTo>
                    <a:pt x="42352" y="34883"/>
                  </a:lnTo>
                  <a:lnTo>
                    <a:pt x="43921" y="34883"/>
                  </a:lnTo>
                  <a:lnTo>
                    <a:pt x="43921" y="34883"/>
                  </a:lnTo>
                  <a:lnTo>
                    <a:pt x="42352" y="36279"/>
                  </a:lnTo>
                  <a:lnTo>
                    <a:pt x="42352" y="36279"/>
                  </a:lnTo>
                  <a:lnTo>
                    <a:pt x="43921" y="37674"/>
                  </a:lnTo>
                  <a:lnTo>
                    <a:pt x="46274" y="37674"/>
                  </a:lnTo>
                  <a:lnTo>
                    <a:pt x="42352" y="37674"/>
                  </a:lnTo>
                  <a:lnTo>
                    <a:pt x="42352" y="37674"/>
                  </a:lnTo>
                  <a:lnTo>
                    <a:pt x="42352" y="37674"/>
                  </a:lnTo>
                  <a:lnTo>
                    <a:pt x="42352" y="39767"/>
                  </a:lnTo>
                  <a:lnTo>
                    <a:pt x="42352" y="41162"/>
                  </a:lnTo>
                  <a:lnTo>
                    <a:pt x="43921" y="42558"/>
                  </a:lnTo>
                  <a:lnTo>
                    <a:pt x="43921" y="42558"/>
                  </a:lnTo>
                  <a:lnTo>
                    <a:pt x="43921" y="42558"/>
                  </a:lnTo>
                  <a:lnTo>
                    <a:pt x="43921" y="44651"/>
                  </a:lnTo>
                  <a:lnTo>
                    <a:pt x="42352" y="46046"/>
                  </a:lnTo>
                  <a:lnTo>
                    <a:pt x="40784" y="47441"/>
                  </a:lnTo>
                  <a:lnTo>
                    <a:pt x="38431" y="50930"/>
                  </a:lnTo>
                  <a:lnTo>
                    <a:pt x="38431" y="50930"/>
                  </a:lnTo>
                  <a:lnTo>
                    <a:pt x="36862" y="50930"/>
                  </a:lnTo>
                  <a:lnTo>
                    <a:pt x="36862" y="50930"/>
                  </a:lnTo>
                  <a:lnTo>
                    <a:pt x="36862" y="53023"/>
                  </a:lnTo>
                  <a:lnTo>
                    <a:pt x="38431" y="54418"/>
                  </a:lnTo>
                  <a:lnTo>
                    <a:pt x="40784" y="54418"/>
                  </a:lnTo>
                  <a:lnTo>
                    <a:pt x="40784" y="54418"/>
                  </a:lnTo>
                  <a:lnTo>
                    <a:pt x="40784" y="53023"/>
                  </a:lnTo>
                  <a:lnTo>
                    <a:pt x="40784" y="53023"/>
                  </a:lnTo>
                  <a:lnTo>
                    <a:pt x="42352" y="53023"/>
                  </a:lnTo>
                  <a:lnTo>
                    <a:pt x="43921" y="54418"/>
                  </a:lnTo>
                  <a:lnTo>
                    <a:pt x="46274" y="53023"/>
                  </a:lnTo>
                  <a:lnTo>
                    <a:pt x="47843" y="53023"/>
                  </a:lnTo>
                  <a:lnTo>
                    <a:pt x="47843" y="53023"/>
                  </a:lnTo>
                  <a:lnTo>
                    <a:pt x="47843" y="53023"/>
                  </a:lnTo>
                  <a:lnTo>
                    <a:pt x="49411" y="53023"/>
                  </a:lnTo>
                  <a:lnTo>
                    <a:pt x="49411" y="54418"/>
                  </a:lnTo>
                  <a:lnTo>
                    <a:pt x="49411" y="53023"/>
                  </a:lnTo>
                  <a:lnTo>
                    <a:pt x="51764" y="53023"/>
                  </a:lnTo>
                  <a:lnTo>
                    <a:pt x="51764" y="53023"/>
                  </a:lnTo>
                  <a:lnTo>
                    <a:pt x="53333" y="53023"/>
                  </a:lnTo>
                  <a:lnTo>
                    <a:pt x="53333" y="53023"/>
                  </a:lnTo>
                  <a:lnTo>
                    <a:pt x="54901" y="53023"/>
                  </a:lnTo>
                  <a:lnTo>
                    <a:pt x="54901" y="53023"/>
                  </a:lnTo>
                  <a:lnTo>
                    <a:pt x="57254" y="50930"/>
                  </a:lnTo>
                  <a:lnTo>
                    <a:pt x="58823" y="50930"/>
                  </a:lnTo>
                  <a:lnTo>
                    <a:pt x="62745" y="50930"/>
                  </a:lnTo>
                  <a:lnTo>
                    <a:pt x="62745" y="50930"/>
                  </a:lnTo>
                  <a:lnTo>
                    <a:pt x="60392" y="50930"/>
                  </a:lnTo>
                  <a:lnTo>
                    <a:pt x="57254" y="54418"/>
                  </a:lnTo>
                  <a:lnTo>
                    <a:pt x="54901" y="55813"/>
                  </a:lnTo>
                  <a:lnTo>
                    <a:pt x="54901" y="57906"/>
                  </a:lnTo>
                  <a:lnTo>
                    <a:pt x="57254" y="60697"/>
                  </a:lnTo>
                  <a:lnTo>
                    <a:pt x="58823" y="60697"/>
                  </a:lnTo>
                  <a:lnTo>
                    <a:pt x="60392" y="62790"/>
                  </a:lnTo>
                  <a:lnTo>
                    <a:pt x="60392" y="62790"/>
                  </a:lnTo>
                  <a:lnTo>
                    <a:pt x="60392" y="62790"/>
                  </a:lnTo>
                  <a:lnTo>
                    <a:pt x="62745" y="62790"/>
                  </a:lnTo>
                  <a:lnTo>
                    <a:pt x="64313" y="62790"/>
                  </a:lnTo>
                  <a:lnTo>
                    <a:pt x="64313" y="62790"/>
                  </a:lnTo>
                  <a:lnTo>
                    <a:pt x="64313" y="64186"/>
                  </a:lnTo>
                  <a:lnTo>
                    <a:pt x="62745" y="64186"/>
                  </a:lnTo>
                  <a:lnTo>
                    <a:pt x="60392" y="65581"/>
                  </a:lnTo>
                  <a:lnTo>
                    <a:pt x="60392" y="65581"/>
                  </a:lnTo>
                  <a:lnTo>
                    <a:pt x="60392" y="67674"/>
                  </a:lnTo>
                  <a:lnTo>
                    <a:pt x="62745" y="67674"/>
                  </a:lnTo>
                  <a:lnTo>
                    <a:pt x="62745" y="67674"/>
                  </a:lnTo>
                  <a:lnTo>
                    <a:pt x="62745" y="69069"/>
                  </a:lnTo>
                  <a:lnTo>
                    <a:pt x="60392" y="71162"/>
                  </a:lnTo>
                  <a:lnTo>
                    <a:pt x="60392" y="71162"/>
                  </a:lnTo>
                  <a:lnTo>
                    <a:pt x="60392" y="72558"/>
                  </a:lnTo>
                  <a:lnTo>
                    <a:pt x="62745" y="73953"/>
                  </a:lnTo>
                  <a:lnTo>
                    <a:pt x="62745" y="73953"/>
                  </a:lnTo>
                  <a:lnTo>
                    <a:pt x="64313" y="73953"/>
                  </a:lnTo>
                  <a:lnTo>
                    <a:pt x="64313" y="73953"/>
                  </a:lnTo>
                  <a:lnTo>
                    <a:pt x="62745" y="73953"/>
                  </a:lnTo>
                  <a:lnTo>
                    <a:pt x="62745" y="73953"/>
                  </a:lnTo>
                  <a:lnTo>
                    <a:pt x="60392" y="72558"/>
                  </a:lnTo>
                  <a:lnTo>
                    <a:pt x="58823" y="72558"/>
                  </a:lnTo>
                  <a:lnTo>
                    <a:pt x="60392" y="73953"/>
                  </a:lnTo>
                  <a:lnTo>
                    <a:pt x="57254" y="73953"/>
                  </a:lnTo>
                  <a:lnTo>
                    <a:pt x="54901" y="73953"/>
                  </a:lnTo>
                  <a:lnTo>
                    <a:pt x="54901" y="73953"/>
                  </a:lnTo>
                  <a:lnTo>
                    <a:pt x="53333" y="73953"/>
                  </a:lnTo>
                  <a:lnTo>
                    <a:pt x="51764" y="73953"/>
                  </a:lnTo>
                  <a:lnTo>
                    <a:pt x="51764" y="73953"/>
                  </a:lnTo>
                  <a:lnTo>
                    <a:pt x="47843" y="76046"/>
                  </a:lnTo>
                  <a:lnTo>
                    <a:pt x="46274" y="76046"/>
                  </a:lnTo>
                  <a:lnTo>
                    <a:pt x="43921" y="77441"/>
                  </a:lnTo>
                  <a:lnTo>
                    <a:pt x="43921" y="77441"/>
                  </a:lnTo>
                  <a:lnTo>
                    <a:pt x="43921" y="77441"/>
                  </a:lnTo>
                  <a:lnTo>
                    <a:pt x="42352" y="78837"/>
                  </a:lnTo>
                  <a:lnTo>
                    <a:pt x="40784" y="80930"/>
                  </a:lnTo>
                  <a:lnTo>
                    <a:pt x="40784" y="80930"/>
                  </a:lnTo>
                  <a:lnTo>
                    <a:pt x="40784" y="80930"/>
                  </a:lnTo>
                  <a:lnTo>
                    <a:pt x="40784" y="80930"/>
                  </a:lnTo>
                  <a:lnTo>
                    <a:pt x="42352" y="80930"/>
                  </a:lnTo>
                  <a:lnTo>
                    <a:pt x="43921" y="78837"/>
                  </a:lnTo>
                  <a:lnTo>
                    <a:pt x="46274" y="78837"/>
                  </a:lnTo>
                  <a:lnTo>
                    <a:pt x="47843" y="78837"/>
                  </a:lnTo>
                  <a:lnTo>
                    <a:pt x="46274" y="80930"/>
                  </a:lnTo>
                  <a:lnTo>
                    <a:pt x="46274" y="80930"/>
                  </a:lnTo>
                  <a:lnTo>
                    <a:pt x="47843" y="82325"/>
                  </a:lnTo>
                  <a:lnTo>
                    <a:pt x="47843" y="82325"/>
                  </a:lnTo>
                  <a:lnTo>
                    <a:pt x="47843" y="82325"/>
                  </a:lnTo>
                  <a:lnTo>
                    <a:pt x="46274" y="83720"/>
                  </a:lnTo>
                  <a:lnTo>
                    <a:pt x="47843" y="83720"/>
                  </a:lnTo>
                  <a:lnTo>
                    <a:pt x="47843" y="83720"/>
                  </a:lnTo>
                  <a:lnTo>
                    <a:pt x="47843" y="85813"/>
                  </a:lnTo>
                  <a:lnTo>
                    <a:pt x="46274" y="87209"/>
                  </a:lnTo>
                  <a:lnTo>
                    <a:pt x="46274" y="87209"/>
                  </a:lnTo>
                  <a:lnTo>
                    <a:pt x="43921" y="89302"/>
                  </a:lnTo>
                  <a:lnTo>
                    <a:pt x="42352" y="89302"/>
                  </a:lnTo>
                  <a:lnTo>
                    <a:pt x="40784" y="90697"/>
                  </a:lnTo>
                  <a:lnTo>
                    <a:pt x="36862" y="92093"/>
                  </a:lnTo>
                  <a:lnTo>
                    <a:pt x="32941" y="92093"/>
                  </a:lnTo>
                  <a:lnTo>
                    <a:pt x="31372" y="94186"/>
                  </a:lnTo>
                  <a:lnTo>
                    <a:pt x="31372" y="94186"/>
                  </a:lnTo>
                  <a:lnTo>
                    <a:pt x="31372" y="94186"/>
                  </a:lnTo>
                  <a:lnTo>
                    <a:pt x="31372" y="95581"/>
                  </a:lnTo>
                  <a:lnTo>
                    <a:pt x="31372" y="95581"/>
                  </a:lnTo>
                  <a:lnTo>
                    <a:pt x="32941" y="96976"/>
                  </a:lnTo>
                  <a:lnTo>
                    <a:pt x="34509" y="96976"/>
                  </a:lnTo>
                  <a:lnTo>
                    <a:pt x="36862" y="96976"/>
                  </a:lnTo>
                  <a:lnTo>
                    <a:pt x="38431" y="95581"/>
                  </a:lnTo>
                  <a:lnTo>
                    <a:pt x="40784" y="95581"/>
                  </a:lnTo>
                  <a:lnTo>
                    <a:pt x="42352" y="95581"/>
                  </a:lnTo>
                  <a:lnTo>
                    <a:pt x="42352" y="96976"/>
                  </a:lnTo>
                  <a:lnTo>
                    <a:pt x="42352" y="96976"/>
                  </a:lnTo>
                  <a:lnTo>
                    <a:pt x="46274" y="96976"/>
                  </a:lnTo>
                  <a:lnTo>
                    <a:pt x="43921" y="96976"/>
                  </a:lnTo>
                  <a:lnTo>
                    <a:pt x="43921" y="99069"/>
                  </a:lnTo>
                  <a:lnTo>
                    <a:pt x="43921" y="99069"/>
                  </a:lnTo>
                  <a:lnTo>
                    <a:pt x="46274" y="99069"/>
                  </a:lnTo>
                  <a:lnTo>
                    <a:pt x="47843" y="99069"/>
                  </a:lnTo>
                  <a:lnTo>
                    <a:pt x="47843" y="99069"/>
                  </a:lnTo>
                  <a:lnTo>
                    <a:pt x="49411" y="99069"/>
                  </a:lnTo>
                  <a:lnTo>
                    <a:pt x="51764" y="100465"/>
                  </a:lnTo>
                  <a:lnTo>
                    <a:pt x="54901" y="100465"/>
                  </a:lnTo>
                  <a:lnTo>
                    <a:pt x="54901" y="100465"/>
                  </a:lnTo>
                  <a:lnTo>
                    <a:pt x="57254" y="99069"/>
                  </a:lnTo>
                  <a:lnTo>
                    <a:pt x="58823" y="99069"/>
                  </a:lnTo>
                  <a:lnTo>
                    <a:pt x="62745" y="99069"/>
                  </a:lnTo>
                  <a:lnTo>
                    <a:pt x="62745" y="96976"/>
                  </a:lnTo>
                  <a:lnTo>
                    <a:pt x="64313" y="96976"/>
                  </a:lnTo>
                  <a:lnTo>
                    <a:pt x="65882" y="95581"/>
                  </a:lnTo>
                  <a:lnTo>
                    <a:pt x="64313" y="96976"/>
                  </a:lnTo>
                  <a:lnTo>
                    <a:pt x="62745" y="99069"/>
                  </a:lnTo>
                  <a:lnTo>
                    <a:pt x="60392" y="100465"/>
                  </a:lnTo>
                  <a:lnTo>
                    <a:pt x="60392" y="100465"/>
                  </a:lnTo>
                  <a:lnTo>
                    <a:pt x="57254" y="103953"/>
                  </a:lnTo>
                  <a:lnTo>
                    <a:pt x="57254" y="103953"/>
                  </a:lnTo>
                  <a:lnTo>
                    <a:pt x="54901" y="103953"/>
                  </a:lnTo>
                  <a:lnTo>
                    <a:pt x="53333" y="103953"/>
                  </a:lnTo>
                  <a:lnTo>
                    <a:pt x="51764" y="103953"/>
                  </a:lnTo>
                  <a:lnTo>
                    <a:pt x="47843" y="103953"/>
                  </a:lnTo>
                  <a:lnTo>
                    <a:pt x="43921" y="103953"/>
                  </a:lnTo>
                  <a:lnTo>
                    <a:pt x="43921" y="103953"/>
                  </a:lnTo>
                  <a:lnTo>
                    <a:pt x="42352" y="105348"/>
                  </a:lnTo>
                  <a:lnTo>
                    <a:pt x="38431" y="107441"/>
                  </a:lnTo>
                  <a:lnTo>
                    <a:pt x="38431" y="108837"/>
                  </a:lnTo>
                  <a:lnTo>
                    <a:pt x="38431" y="108837"/>
                  </a:lnTo>
                  <a:lnTo>
                    <a:pt x="38431" y="110232"/>
                  </a:lnTo>
                  <a:lnTo>
                    <a:pt x="34509" y="112325"/>
                  </a:lnTo>
                  <a:lnTo>
                    <a:pt x="32941" y="113720"/>
                  </a:lnTo>
                  <a:lnTo>
                    <a:pt x="32941" y="113720"/>
                  </a:lnTo>
                  <a:lnTo>
                    <a:pt x="32941" y="113720"/>
                  </a:lnTo>
                  <a:lnTo>
                    <a:pt x="31372" y="113720"/>
                  </a:lnTo>
                  <a:lnTo>
                    <a:pt x="29019" y="115116"/>
                  </a:lnTo>
                  <a:lnTo>
                    <a:pt x="27450" y="117209"/>
                  </a:lnTo>
                  <a:lnTo>
                    <a:pt x="23529" y="118604"/>
                  </a:lnTo>
                  <a:lnTo>
                    <a:pt x="23529" y="118604"/>
                  </a:lnTo>
                  <a:lnTo>
                    <a:pt x="23529" y="120000"/>
                  </a:lnTo>
                  <a:lnTo>
                    <a:pt x="23529" y="120000"/>
                  </a:lnTo>
                  <a:lnTo>
                    <a:pt x="23529" y="120000"/>
                  </a:lnTo>
                  <a:lnTo>
                    <a:pt x="25882" y="118604"/>
                  </a:lnTo>
                  <a:lnTo>
                    <a:pt x="27450" y="120000"/>
                  </a:lnTo>
                  <a:lnTo>
                    <a:pt x="29019" y="120000"/>
                  </a:lnTo>
                  <a:lnTo>
                    <a:pt x="29019" y="120000"/>
                  </a:lnTo>
                  <a:lnTo>
                    <a:pt x="31372" y="118604"/>
                  </a:lnTo>
                  <a:lnTo>
                    <a:pt x="31372" y="118604"/>
                  </a:lnTo>
                  <a:lnTo>
                    <a:pt x="34509" y="117209"/>
                  </a:lnTo>
                  <a:lnTo>
                    <a:pt x="34509" y="117209"/>
                  </a:lnTo>
                  <a:lnTo>
                    <a:pt x="38431" y="115116"/>
                  </a:lnTo>
                  <a:lnTo>
                    <a:pt x="40784" y="115116"/>
                  </a:lnTo>
                  <a:lnTo>
                    <a:pt x="40784" y="115116"/>
                  </a:lnTo>
                  <a:lnTo>
                    <a:pt x="42352" y="115116"/>
                  </a:lnTo>
                  <a:lnTo>
                    <a:pt x="42352" y="115116"/>
                  </a:lnTo>
                  <a:lnTo>
                    <a:pt x="42352" y="115116"/>
                  </a:lnTo>
                  <a:lnTo>
                    <a:pt x="43921" y="115116"/>
                  </a:lnTo>
                  <a:lnTo>
                    <a:pt x="46274" y="117209"/>
                  </a:lnTo>
                  <a:lnTo>
                    <a:pt x="47843" y="117209"/>
                  </a:lnTo>
                  <a:lnTo>
                    <a:pt x="47843" y="117209"/>
                  </a:lnTo>
                  <a:lnTo>
                    <a:pt x="49411" y="117209"/>
                  </a:lnTo>
                  <a:lnTo>
                    <a:pt x="51764" y="115116"/>
                  </a:lnTo>
                  <a:lnTo>
                    <a:pt x="51764" y="113720"/>
                  </a:lnTo>
                  <a:lnTo>
                    <a:pt x="53333" y="112325"/>
                  </a:lnTo>
                  <a:lnTo>
                    <a:pt x="57254" y="110232"/>
                  </a:lnTo>
                  <a:lnTo>
                    <a:pt x="58823" y="110232"/>
                  </a:lnTo>
                  <a:lnTo>
                    <a:pt x="60392" y="110232"/>
                  </a:lnTo>
                  <a:lnTo>
                    <a:pt x="62745" y="112325"/>
                  </a:lnTo>
                  <a:lnTo>
                    <a:pt x="62745" y="112325"/>
                  </a:lnTo>
                  <a:lnTo>
                    <a:pt x="64313" y="112325"/>
                  </a:lnTo>
                  <a:lnTo>
                    <a:pt x="64313" y="112325"/>
                  </a:lnTo>
                  <a:lnTo>
                    <a:pt x="65882" y="112325"/>
                  </a:lnTo>
                  <a:lnTo>
                    <a:pt x="69803" y="112325"/>
                  </a:lnTo>
                  <a:lnTo>
                    <a:pt x="69803" y="112325"/>
                  </a:lnTo>
                  <a:lnTo>
                    <a:pt x="69803" y="112325"/>
                  </a:lnTo>
                  <a:lnTo>
                    <a:pt x="69803" y="112325"/>
                  </a:lnTo>
                  <a:lnTo>
                    <a:pt x="69803" y="110232"/>
                  </a:lnTo>
                  <a:lnTo>
                    <a:pt x="72156" y="110232"/>
                  </a:lnTo>
                  <a:lnTo>
                    <a:pt x="73725" y="110232"/>
                  </a:lnTo>
                  <a:lnTo>
                    <a:pt x="75294" y="110232"/>
                  </a:lnTo>
                  <a:lnTo>
                    <a:pt x="75294" y="110232"/>
                  </a:lnTo>
                  <a:lnTo>
                    <a:pt x="79215" y="108837"/>
                  </a:lnTo>
                  <a:lnTo>
                    <a:pt x="77647" y="108837"/>
                  </a:lnTo>
                  <a:lnTo>
                    <a:pt x="79215" y="108837"/>
                  </a:lnTo>
                  <a:lnTo>
                    <a:pt x="80784" y="108837"/>
                  </a:lnTo>
                  <a:lnTo>
                    <a:pt x="83137" y="108837"/>
                  </a:lnTo>
                  <a:lnTo>
                    <a:pt x="84705" y="110232"/>
                  </a:lnTo>
                  <a:lnTo>
                    <a:pt x="84705" y="110232"/>
                  </a:lnTo>
                  <a:lnTo>
                    <a:pt x="90196" y="108837"/>
                  </a:lnTo>
                  <a:lnTo>
                    <a:pt x="91764" y="108837"/>
                  </a:lnTo>
                  <a:lnTo>
                    <a:pt x="98039" y="110232"/>
                  </a:lnTo>
                  <a:lnTo>
                    <a:pt x="99607" y="110232"/>
                  </a:lnTo>
                  <a:lnTo>
                    <a:pt x="101176" y="108837"/>
                  </a:lnTo>
                  <a:lnTo>
                    <a:pt x="101176" y="108837"/>
                  </a:lnTo>
                  <a:lnTo>
                    <a:pt x="105098" y="108837"/>
                  </a:lnTo>
                  <a:lnTo>
                    <a:pt x="105098" y="107441"/>
                  </a:lnTo>
                  <a:lnTo>
                    <a:pt x="106666" y="107441"/>
                  </a:lnTo>
                  <a:lnTo>
                    <a:pt x="109019" y="107441"/>
                  </a:lnTo>
                  <a:lnTo>
                    <a:pt x="109019" y="105348"/>
                  </a:lnTo>
                  <a:lnTo>
                    <a:pt x="112156" y="103953"/>
                  </a:lnTo>
                  <a:lnTo>
                    <a:pt x="114509" y="103953"/>
                  </a:lnTo>
                  <a:lnTo>
                    <a:pt x="114509" y="101860"/>
                  </a:lnTo>
                  <a:lnTo>
                    <a:pt x="114509" y="101860"/>
                  </a:lnTo>
                  <a:lnTo>
                    <a:pt x="112156" y="100465"/>
                  </a:lnTo>
                  <a:lnTo>
                    <a:pt x="112156" y="100465"/>
                  </a:lnTo>
                  <a:lnTo>
                    <a:pt x="109019" y="101860"/>
                  </a:lnTo>
                  <a:lnTo>
                    <a:pt x="106666" y="101860"/>
                  </a:lnTo>
                  <a:lnTo>
                    <a:pt x="105098" y="100465"/>
                  </a:lnTo>
                  <a:lnTo>
                    <a:pt x="105098" y="100465"/>
                  </a:lnTo>
                  <a:lnTo>
                    <a:pt x="103529" y="100465"/>
                  </a:lnTo>
                  <a:lnTo>
                    <a:pt x="103529" y="100465"/>
                  </a:lnTo>
                  <a:lnTo>
                    <a:pt x="101176" y="100465"/>
                  </a:lnTo>
                  <a:lnTo>
                    <a:pt x="103529" y="99069"/>
                  </a:lnTo>
                  <a:lnTo>
                    <a:pt x="103529" y="99069"/>
                  </a:lnTo>
                  <a:lnTo>
                    <a:pt x="105098" y="99069"/>
                  </a:lnTo>
                  <a:lnTo>
                    <a:pt x="106666" y="99069"/>
                  </a:lnTo>
                  <a:lnTo>
                    <a:pt x="106666" y="99069"/>
                  </a:lnTo>
                  <a:lnTo>
                    <a:pt x="109019" y="96976"/>
                  </a:lnTo>
                  <a:lnTo>
                    <a:pt x="106666" y="96976"/>
                  </a:lnTo>
                  <a:lnTo>
                    <a:pt x="105098" y="95581"/>
                  </a:lnTo>
                  <a:lnTo>
                    <a:pt x="109019" y="95581"/>
                  </a:lnTo>
                  <a:lnTo>
                    <a:pt x="110588" y="95581"/>
                  </a:lnTo>
                  <a:lnTo>
                    <a:pt x="110588" y="95581"/>
                  </a:lnTo>
                  <a:lnTo>
                    <a:pt x="112156" y="94186"/>
                  </a:lnTo>
                  <a:lnTo>
                    <a:pt x="112156" y="94186"/>
                  </a:lnTo>
                  <a:lnTo>
                    <a:pt x="112156" y="94186"/>
                  </a:lnTo>
                  <a:lnTo>
                    <a:pt x="112156" y="92093"/>
                  </a:lnTo>
                  <a:lnTo>
                    <a:pt x="112156" y="92093"/>
                  </a:lnTo>
                  <a:lnTo>
                    <a:pt x="112156" y="92093"/>
                  </a:lnTo>
                  <a:lnTo>
                    <a:pt x="114509" y="92093"/>
                  </a:lnTo>
                  <a:lnTo>
                    <a:pt x="116078" y="90697"/>
                  </a:lnTo>
                  <a:lnTo>
                    <a:pt x="116078" y="90697"/>
                  </a:lnTo>
                  <a:lnTo>
                    <a:pt x="116078" y="90697"/>
                  </a:lnTo>
                  <a:lnTo>
                    <a:pt x="117647" y="89302"/>
                  </a:lnTo>
                  <a:lnTo>
                    <a:pt x="117647" y="87209"/>
                  </a:lnTo>
                  <a:lnTo>
                    <a:pt x="120000" y="85813"/>
                  </a:lnTo>
                  <a:lnTo>
                    <a:pt x="120000" y="83720"/>
                  </a:lnTo>
                  <a:lnTo>
                    <a:pt x="117647" y="82325"/>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61" name="Shape 361"/>
            <p:cNvSpPr/>
            <p:nvPr/>
          </p:nvSpPr>
          <p:spPr>
            <a:xfrm>
              <a:off x="4593" y="2257"/>
              <a:ext cx="0" cy="0"/>
            </a:xfrm>
            <a:custGeom>
              <a:avLst/>
              <a:gdLst/>
              <a:ahLst/>
              <a:cxnLst/>
              <a:rect l="0" t="0" r="0" b="0"/>
              <a:pathLst>
                <a:path w="120000" h="120000" extrusionOk="0">
                  <a:moveTo>
                    <a:pt x="120000" y="37808"/>
                  </a:moveTo>
                  <a:lnTo>
                    <a:pt x="117176" y="19726"/>
                  </a:lnTo>
                  <a:lnTo>
                    <a:pt x="117176" y="14794"/>
                  </a:lnTo>
                  <a:lnTo>
                    <a:pt x="117176" y="14794"/>
                  </a:lnTo>
                  <a:lnTo>
                    <a:pt x="117176" y="14794"/>
                  </a:lnTo>
                  <a:lnTo>
                    <a:pt x="112941" y="14794"/>
                  </a:lnTo>
                  <a:lnTo>
                    <a:pt x="112941" y="14794"/>
                  </a:lnTo>
                  <a:lnTo>
                    <a:pt x="112941" y="11506"/>
                  </a:lnTo>
                  <a:lnTo>
                    <a:pt x="112941" y="6575"/>
                  </a:lnTo>
                  <a:lnTo>
                    <a:pt x="112941" y="3287"/>
                  </a:lnTo>
                  <a:lnTo>
                    <a:pt x="112941" y="0"/>
                  </a:lnTo>
                  <a:lnTo>
                    <a:pt x="110117" y="0"/>
                  </a:lnTo>
                  <a:lnTo>
                    <a:pt x="110117" y="0"/>
                  </a:lnTo>
                  <a:lnTo>
                    <a:pt x="110117" y="0"/>
                  </a:lnTo>
                  <a:lnTo>
                    <a:pt x="110117" y="6575"/>
                  </a:lnTo>
                  <a:lnTo>
                    <a:pt x="107294" y="11506"/>
                  </a:lnTo>
                  <a:lnTo>
                    <a:pt x="97411" y="19726"/>
                  </a:lnTo>
                  <a:lnTo>
                    <a:pt x="93176" y="23013"/>
                  </a:lnTo>
                  <a:lnTo>
                    <a:pt x="93176" y="26301"/>
                  </a:lnTo>
                  <a:lnTo>
                    <a:pt x="93176" y="31232"/>
                  </a:lnTo>
                  <a:lnTo>
                    <a:pt x="87529" y="34520"/>
                  </a:lnTo>
                  <a:lnTo>
                    <a:pt x="80470" y="46027"/>
                  </a:lnTo>
                  <a:lnTo>
                    <a:pt x="76235" y="46027"/>
                  </a:lnTo>
                  <a:lnTo>
                    <a:pt x="76235" y="49315"/>
                  </a:lnTo>
                  <a:lnTo>
                    <a:pt x="76235" y="54246"/>
                  </a:lnTo>
                  <a:lnTo>
                    <a:pt x="73411" y="54246"/>
                  </a:lnTo>
                  <a:lnTo>
                    <a:pt x="73411" y="57534"/>
                  </a:lnTo>
                  <a:lnTo>
                    <a:pt x="73411" y="62465"/>
                  </a:lnTo>
                  <a:lnTo>
                    <a:pt x="70588" y="62465"/>
                  </a:lnTo>
                  <a:lnTo>
                    <a:pt x="70588" y="62465"/>
                  </a:lnTo>
                  <a:lnTo>
                    <a:pt x="66352" y="65753"/>
                  </a:lnTo>
                  <a:lnTo>
                    <a:pt x="60705" y="69041"/>
                  </a:lnTo>
                  <a:lnTo>
                    <a:pt x="56470" y="69041"/>
                  </a:lnTo>
                  <a:lnTo>
                    <a:pt x="43764" y="69041"/>
                  </a:lnTo>
                  <a:lnTo>
                    <a:pt x="36705" y="65753"/>
                  </a:lnTo>
                  <a:lnTo>
                    <a:pt x="26823" y="65753"/>
                  </a:lnTo>
                  <a:lnTo>
                    <a:pt x="24000" y="69041"/>
                  </a:lnTo>
                  <a:lnTo>
                    <a:pt x="16941" y="73972"/>
                  </a:lnTo>
                  <a:lnTo>
                    <a:pt x="14117" y="73972"/>
                  </a:lnTo>
                  <a:lnTo>
                    <a:pt x="7058" y="73972"/>
                  </a:lnTo>
                  <a:lnTo>
                    <a:pt x="7058" y="73972"/>
                  </a:lnTo>
                  <a:lnTo>
                    <a:pt x="4235" y="69041"/>
                  </a:lnTo>
                  <a:lnTo>
                    <a:pt x="4235" y="62465"/>
                  </a:lnTo>
                  <a:lnTo>
                    <a:pt x="4235" y="62465"/>
                  </a:lnTo>
                  <a:lnTo>
                    <a:pt x="0" y="65753"/>
                  </a:lnTo>
                  <a:lnTo>
                    <a:pt x="0" y="62465"/>
                  </a:lnTo>
                  <a:lnTo>
                    <a:pt x="0" y="62465"/>
                  </a:lnTo>
                  <a:lnTo>
                    <a:pt x="0" y="62465"/>
                  </a:lnTo>
                  <a:lnTo>
                    <a:pt x="0" y="62465"/>
                  </a:lnTo>
                  <a:lnTo>
                    <a:pt x="0" y="69041"/>
                  </a:lnTo>
                  <a:lnTo>
                    <a:pt x="0" y="69041"/>
                  </a:lnTo>
                  <a:lnTo>
                    <a:pt x="0" y="69041"/>
                  </a:lnTo>
                  <a:lnTo>
                    <a:pt x="4235" y="73972"/>
                  </a:lnTo>
                  <a:lnTo>
                    <a:pt x="4235" y="77260"/>
                  </a:lnTo>
                  <a:lnTo>
                    <a:pt x="7058" y="77260"/>
                  </a:lnTo>
                  <a:lnTo>
                    <a:pt x="7058" y="80547"/>
                  </a:lnTo>
                  <a:lnTo>
                    <a:pt x="9882" y="80547"/>
                  </a:lnTo>
                  <a:lnTo>
                    <a:pt x="9882" y="85479"/>
                  </a:lnTo>
                  <a:lnTo>
                    <a:pt x="9882" y="88767"/>
                  </a:lnTo>
                  <a:lnTo>
                    <a:pt x="14117" y="88767"/>
                  </a:lnTo>
                  <a:lnTo>
                    <a:pt x="14117" y="92054"/>
                  </a:lnTo>
                  <a:lnTo>
                    <a:pt x="16941" y="92054"/>
                  </a:lnTo>
                  <a:lnTo>
                    <a:pt x="16941" y="96986"/>
                  </a:lnTo>
                  <a:lnTo>
                    <a:pt x="19764" y="100273"/>
                  </a:lnTo>
                  <a:lnTo>
                    <a:pt x="24000" y="105205"/>
                  </a:lnTo>
                  <a:lnTo>
                    <a:pt x="24000" y="105205"/>
                  </a:lnTo>
                  <a:lnTo>
                    <a:pt x="26823" y="108493"/>
                  </a:lnTo>
                  <a:lnTo>
                    <a:pt x="26823" y="108493"/>
                  </a:lnTo>
                  <a:lnTo>
                    <a:pt x="31058" y="108493"/>
                  </a:lnTo>
                  <a:lnTo>
                    <a:pt x="31058" y="108493"/>
                  </a:lnTo>
                  <a:lnTo>
                    <a:pt x="31058" y="108493"/>
                  </a:lnTo>
                  <a:lnTo>
                    <a:pt x="33882" y="111780"/>
                  </a:lnTo>
                  <a:lnTo>
                    <a:pt x="40941" y="111780"/>
                  </a:lnTo>
                  <a:lnTo>
                    <a:pt x="43764" y="111780"/>
                  </a:lnTo>
                  <a:lnTo>
                    <a:pt x="50823" y="111780"/>
                  </a:lnTo>
                  <a:lnTo>
                    <a:pt x="53647" y="111780"/>
                  </a:lnTo>
                  <a:lnTo>
                    <a:pt x="60705" y="116712"/>
                  </a:lnTo>
                  <a:lnTo>
                    <a:pt x="66352" y="116712"/>
                  </a:lnTo>
                  <a:lnTo>
                    <a:pt x="70588" y="116712"/>
                  </a:lnTo>
                  <a:lnTo>
                    <a:pt x="76235" y="116712"/>
                  </a:lnTo>
                  <a:lnTo>
                    <a:pt x="80470" y="119999"/>
                  </a:lnTo>
                  <a:lnTo>
                    <a:pt x="87529" y="119999"/>
                  </a:lnTo>
                  <a:lnTo>
                    <a:pt x="87529" y="119999"/>
                  </a:lnTo>
                  <a:lnTo>
                    <a:pt x="90352" y="119999"/>
                  </a:lnTo>
                  <a:lnTo>
                    <a:pt x="90352" y="119999"/>
                  </a:lnTo>
                  <a:lnTo>
                    <a:pt x="93176" y="119999"/>
                  </a:lnTo>
                  <a:lnTo>
                    <a:pt x="93176" y="119999"/>
                  </a:lnTo>
                  <a:lnTo>
                    <a:pt x="93176" y="116712"/>
                  </a:lnTo>
                  <a:lnTo>
                    <a:pt x="93176" y="111780"/>
                  </a:lnTo>
                  <a:lnTo>
                    <a:pt x="93176" y="108493"/>
                  </a:lnTo>
                  <a:lnTo>
                    <a:pt x="93176" y="105205"/>
                  </a:lnTo>
                  <a:lnTo>
                    <a:pt x="97411" y="100273"/>
                  </a:lnTo>
                  <a:lnTo>
                    <a:pt x="97411" y="92054"/>
                  </a:lnTo>
                  <a:lnTo>
                    <a:pt x="100235" y="88767"/>
                  </a:lnTo>
                  <a:lnTo>
                    <a:pt x="100235" y="85479"/>
                  </a:lnTo>
                  <a:lnTo>
                    <a:pt x="100235" y="80547"/>
                  </a:lnTo>
                  <a:lnTo>
                    <a:pt x="100235" y="77260"/>
                  </a:lnTo>
                  <a:lnTo>
                    <a:pt x="100235" y="77260"/>
                  </a:lnTo>
                  <a:lnTo>
                    <a:pt x="100235" y="77260"/>
                  </a:lnTo>
                  <a:lnTo>
                    <a:pt x="100235" y="73972"/>
                  </a:lnTo>
                  <a:lnTo>
                    <a:pt x="100235" y="73972"/>
                  </a:lnTo>
                  <a:lnTo>
                    <a:pt x="107294" y="73972"/>
                  </a:lnTo>
                  <a:lnTo>
                    <a:pt x="107294" y="73972"/>
                  </a:lnTo>
                  <a:lnTo>
                    <a:pt x="110117" y="69041"/>
                  </a:lnTo>
                  <a:lnTo>
                    <a:pt x="112941" y="69041"/>
                  </a:lnTo>
                  <a:lnTo>
                    <a:pt x="112941" y="69041"/>
                  </a:lnTo>
                  <a:lnTo>
                    <a:pt x="112941" y="65753"/>
                  </a:lnTo>
                  <a:lnTo>
                    <a:pt x="110117" y="65753"/>
                  </a:lnTo>
                  <a:lnTo>
                    <a:pt x="107294" y="65753"/>
                  </a:lnTo>
                  <a:lnTo>
                    <a:pt x="107294" y="65753"/>
                  </a:lnTo>
                  <a:lnTo>
                    <a:pt x="107294" y="62465"/>
                  </a:lnTo>
                  <a:lnTo>
                    <a:pt x="107294" y="57534"/>
                  </a:lnTo>
                  <a:lnTo>
                    <a:pt x="107294" y="57534"/>
                  </a:lnTo>
                  <a:lnTo>
                    <a:pt x="107294" y="54246"/>
                  </a:lnTo>
                  <a:lnTo>
                    <a:pt x="107294" y="54246"/>
                  </a:lnTo>
                  <a:lnTo>
                    <a:pt x="107294" y="49315"/>
                  </a:lnTo>
                  <a:lnTo>
                    <a:pt x="107294" y="49315"/>
                  </a:lnTo>
                  <a:lnTo>
                    <a:pt x="107294" y="46027"/>
                  </a:lnTo>
                  <a:lnTo>
                    <a:pt x="107294" y="42739"/>
                  </a:lnTo>
                  <a:lnTo>
                    <a:pt x="107294" y="42739"/>
                  </a:lnTo>
                  <a:lnTo>
                    <a:pt x="107294" y="37808"/>
                  </a:lnTo>
                  <a:lnTo>
                    <a:pt x="110117" y="37808"/>
                  </a:lnTo>
                  <a:lnTo>
                    <a:pt x="110117" y="37808"/>
                  </a:lnTo>
                  <a:lnTo>
                    <a:pt x="110117" y="37808"/>
                  </a:lnTo>
                  <a:lnTo>
                    <a:pt x="110117" y="42739"/>
                  </a:lnTo>
                  <a:lnTo>
                    <a:pt x="110117" y="42739"/>
                  </a:lnTo>
                  <a:lnTo>
                    <a:pt x="110117" y="42739"/>
                  </a:lnTo>
                  <a:lnTo>
                    <a:pt x="110117" y="42739"/>
                  </a:lnTo>
                  <a:lnTo>
                    <a:pt x="110117" y="46027"/>
                  </a:lnTo>
                  <a:lnTo>
                    <a:pt x="112941" y="46027"/>
                  </a:lnTo>
                  <a:lnTo>
                    <a:pt x="112941" y="46027"/>
                  </a:lnTo>
                  <a:lnTo>
                    <a:pt x="112941" y="46027"/>
                  </a:lnTo>
                  <a:lnTo>
                    <a:pt x="117176" y="42739"/>
                  </a:lnTo>
                  <a:lnTo>
                    <a:pt x="117176" y="42739"/>
                  </a:lnTo>
                  <a:lnTo>
                    <a:pt x="120000" y="37808"/>
                  </a:lnTo>
                  <a:lnTo>
                    <a:pt x="120000" y="37808"/>
                  </a:lnTo>
                  <a:lnTo>
                    <a:pt x="120000" y="37808"/>
                  </a:lnTo>
                  <a:lnTo>
                    <a:pt x="120000" y="37808"/>
                  </a:lnTo>
                  <a:close/>
                  <a:moveTo>
                    <a:pt x="117176" y="31232"/>
                  </a:moveTo>
                  <a:lnTo>
                    <a:pt x="117176" y="31232"/>
                  </a:lnTo>
                  <a:lnTo>
                    <a:pt x="117176" y="31232"/>
                  </a:lnTo>
                  <a:lnTo>
                    <a:pt x="117176" y="26301"/>
                  </a:lnTo>
                  <a:lnTo>
                    <a:pt x="117176" y="26301"/>
                  </a:lnTo>
                  <a:lnTo>
                    <a:pt x="117176" y="26301"/>
                  </a:lnTo>
                  <a:lnTo>
                    <a:pt x="117176" y="26301"/>
                  </a:lnTo>
                  <a:lnTo>
                    <a:pt x="117176" y="31232"/>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62" name="Shape 362"/>
            <p:cNvSpPr/>
            <p:nvPr/>
          </p:nvSpPr>
          <p:spPr>
            <a:xfrm>
              <a:off x="4039" y="1707"/>
              <a:ext cx="300" cy="300"/>
            </a:xfrm>
            <a:custGeom>
              <a:avLst/>
              <a:gdLst/>
              <a:ahLst/>
              <a:cxnLst/>
              <a:rect l="0" t="0" r="0" b="0"/>
              <a:pathLst>
                <a:path w="120000" h="120000" extrusionOk="0">
                  <a:moveTo>
                    <a:pt x="66620" y="91084"/>
                  </a:moveTo>
                  <a:lnTo>
                    <a:pt x="65379" y="91084"/>
                  </a:lnTo>
                  <a:lnTo>
                    <a:pt x="65379" y="88915"/>
                  </a:lnTo>
                  <a:lnTo>
                    <a:pt x="65379" y="91084"/>
                  </a:lnTo>
                  <a:lnTo>
                    <a:pt x="65379" y="91084"/>
                  </a:lnTo>
                  <a:lnTo>
                    <a:pt x="66620" y="91084"/>
                  </a:lnTo>
                  <a:lnTo>
                    <a:pt x="68275" y="92530"/>
                  </a:lnTo>
                  <a:lnTo>
                    <a:pt x="69517" y="92530"/>
                  </a:lnTo>
                  <a:lnTo>
                    <a:pt x="68275" y="91084"/>
                  </a:lnTo>
                  <a:lnTo>
                    <a:pt x="66620" y="91084"/>
                  </a:lnTo>
                  <a:close/>
                  <a:moveTo>
                    <a:pt x="120000" y="59999"/>
                  </a:moveTo>
                  <a:lnTo>
                    <a:pt x="120000" y="59999"/>
                  </a:lnTo>
                  <a:lnTo>
                    <a:pt x="120000" y="59999"/>
                  </a:lnTo>
                  <a:lnTo>
                    <a:pt x="120000" y="59999"/>
                  </a:lnTo>
                  <a:lnTo>
                    <a:pt x="119172" y="59999"/>
                  </a:lnTo>
                  <a:lnTo>
                    <a:pt x="120000" y="59999"/>
                  </a:lnTo>
                  <a:lnTo>
                    <a:pt x="120000" y="58554"/>
                  </a:lnTo>
                  <a:lnTo>
                    <a:pt x="119172" y="58554"/>
                  </a:lnTo>
                  <a:lnTo>
                    <a:pt x="119172" y="56385"/>
                  </a:lnTo>
                  <a:lnTo>
                    <a:pt x="119172" y="56385"/>
                  </a:lnTo>
                  <a:lnTo>
                    <a:pt x="118344" y="56385"/>
                  </a:lnTo>
                  <a:lnTo>
                    <a:pt x="118344" y="54939"/>
                  </a:lnTo>
                  <a:lnTo>
                    <a:pt x="118344" y="52771"/>
                  </a:lnTo>
                  <a:lnTo>
                    <a:pt x="118344" y="52771"/>
                  </a:lnTo>
                  <a:lnTo>
                    <a:pt x="118344" y="52771"/>
                  </a:lnTo>
                  <a:lnTo>
                    <a:pt x="119172" y="52771"/>
                  </a:lnTo>
                  <a:lnTo>
                    <a:pt x="120000" y="52771"/>
                  </a:lnTo>
                  <a:lnTo>
                    <a:pt x="120000" y="52771"/>
                  </a:lnTo>
                  <a:lnTo>
                    <a:pt x="120000" y="51325"/>
                  </a:lnTo>
                  <a:lnTo>
                    <a:pt x="119172" y="51325"/>
                  </a:lnTo>
                  <a:lnTo>
                    <a:pt x="118344" y="51325"/>
                  </a:lnTo>
                  <a:lnTo>
                    <a:pt x="118344" y="49879"/>
                  </a:lnTo>
                  <a:lnTo>
                    <a:pt x="117103" y="49879"/>
                  </a:lnTo>
                  <a:lnTo>
                    <a:pt x="118344" y="49879"/>
                  </a:lnTo>
                  <a:lnTo>
                    <a:pt x="119172" y="47710"/>
                  </a:lnTo>
                  <a:lnTo>
                    <a:pt x="119172" y="47710"/>
                  </a:lnTo>
                  <a:lnTo>
                    <a:pt x="120000" y="46265"/>
                  </a:lnTo>
                  <a:lnTo>
                    <a:pt x="120000" y="46265"/>
                  </a:lnTo>
                  <a:lnTo>
                    <a:pt x="120000" y="44819"/>
                  </a:lnTo>
                  <a:lnTo>
                    <a:pt x="120000" y="44819"/>
                  </a:lnTo>
                  <a:lnTo>
                    <a:pt x="119172" y="42650"/>
                  </a:lnTo>
                  <a:lnTo>
                    <a:pt x="119172" y="42650"/>
                  </a:lnTo>
                  <a:lnTo>
                    <a:pt x="120000" y="41204"/>
                  </a:lnTo>
                  <a:lnTo>
                    <a:pt x="119172" y="41204"/>
                  </a:lnTo>
                  <a:lnTo>
                    <a:pt x="119172" y="41204"/>
                  </a:lnTo>
                  <a:lnTo>
                    <a:pt x="119172" y="41204"/>
                  </a:lnTo>
                  <a:lnTo>
                    <a:pt x="118344" y="41204"/>
                  </a:lnTo>
                  <a:lnTo>
                    <a:pt x="117103" y="41204"/>
                  </a:lnTo>
                  <a:lnTo>
                    <a:pt x="116275" y="39759"/>
                  </a:lnTo>
                  <a:lnTo>
                    <a:pt x="115448" y="39759"/>
                  </a:lnTo>
                  <a:lnTo>
                    <a:pt x="114206" y="39759"/>
                  </a:lnTo>
                  <a:lnTo>
                    <a:pt x="114206" y="39759"/>
                  </a:lnTo>
                  <a:lnTo>
                    <a:pt x="113379" y="37590"/>
                  </a:lnTo>
                  <a:lnTo>
                    <a:pt x="113379" y="37590"/>
                  </a:lnTo>
                  <a:lnTo>
                    <a:pt x="113379" y="37590"/>
                  </a:lnTo>
                  <a:lnTo>
                    <a:pt x="112137" y="37590"/>
                  </a:lnTo>
                  <a:lnTo>
                    <a:pt x="112137" y="37590"/>
                  </a:lnTo>
                  <a:lnTo>
                    <a:pt x="111310" y="37590"/>
                  </a:lnTo>
                  <a:lnTo>
                    <a:pt x="110482" y="36144"/>
                  </a:lnTo>
                  <a:lnTo>
                    <a:pt x="109241" y="36144"/>
                  </a:lnTo>
                  <a:lnTo>
                    <a:pt x="108413" y="36144"/>
                  </a:lnTo>
                  <a:lnTo>
                    <a:pt x="108413" y="36144"/>
                  </a:lnTo>
                  <a:lnTo>
                    <a:pt x="106344" y="33975"/>
                  </a:lnTo>
                  <a:lnTo>
                    <a:pt x="106344" y="33975"/>
                  </a:lnTo>
                  <a:lnTo>
                    <a:pt x="106344" y="33975"/>
                  </a:lnTo>
                  <a:lnTo>
                    <a:pt x="106344" y="36144"/>
                  </a:lnTo>
                  <a:lnTo>
                    <a:pt x="106344" y="36144"/>
                  </a:lnTo>
                  <a:lnTo>
                    <a:pt x="105517" y="36144"/>
                  </a:lnTo>
                  <a:lnTo>
                    <a:pt x="105517" y="36144"/>
                  </a:lnTo>
                  <a:lnTo>
                    <a:pt x="104689" y="36144"/>
                  </a:lnTo>
                  <a:lnTo>
                    <a:pt x="102620" y="32530"/>
                  </a:lnTo>
                  <a:lnTo>
                    <a:pt x="102620" y="31084"/>
                  </a:lnTo>
                  <a:lnTo>
                    <a:pt x="101793" y="31084"/>
                  </a:lnTo>
                  <a:lnTo>
                    <a:pt x="101793" y="28915"/>
                  </a:lnTo>
                  <a:lnTo>
                    <a:pt x="100551" y="28915"/>
                  </a:lnTo>
                  <a:lnTo>
                    <a:pt x="100551" y="28915"/>
                  </a:lnTo>
                  <a:lnTo>
                    <a:pt x="99724" y="28915"/>
                  </a:lnTo>
                  <a:lnTo>
                    <a:pt x="98482" y="28915"/>
                  </a:lnTo>
                  <a:lnTo>
                    <a:pt x="98482" y="28915"/>
                  </a:lnTo>
                  <a:lnTo>
                    <a:pt x="97655" y="28915"/>
                  </a:lnTo>
                  <a:lnTo>
                    <a:pt x="96827" y="31084"/>
                  </a:lnTo>
                  <a:lnTo>
                    <a:pt x="95586" y="31084"/>
                  </a:lnTo>
                  <a:lnTo>
                    <a:pt x="95586" y="32530"/>
                  </a:lnTo>
                  <a:lnTo>
                    <a:pt x="94758" y="31084"/>
                  </a:lnTo>
                  <a:lnTo>
                    <a:pt x="94758" y="31084"/>
                  </a:lnTo>
                  <a:lnTo>
                    <a:pt x="93931" y="31084"/>
                  </a:lnTo>
                  <a:lnTo>
                    <a:pt x="93931" y="31084"/>
                  </a:lnTo>
                  <a:lnTo>
                    <a:pt x="92689" y="31084"/>
                  </a:lnTo>
                  <a:lnTo>
                    <a:pt x="92689" y="28915"/>
                  </a:lnTo>
                  <a:lnTo>
                    <a:pt x="91862" y="28915"/>
                  </a:lnTo>
                  <a:lnTo>
                    <a:pt x="91034" y="28915"/>
                  </a:lnTo>
                  <a:lnTo>
                    <a:pt x="91034" y="28915"/>
                  </a:lnTo>
                  <a:lnTo>
                    <a:pt x="89793" y="28915"/>
                  </a:lnTo>
                  <a:lnTo>
                    <a:pt x="88965" y="28915"/>
                  </a:lnTo>
                  <a:lnTo>
                    <a:pt x="88965" y="28915"/>
                  </a:lnTo>
                  <a:lnTo>
                    <a:pt x="88137" y="28915"/>
                  </a:lnTo>
                  <a:lnTo>
                    <a:pt x="88137" y="27469"/>
                  </a:lnTo>
                  <a:lnTo>
                    <a:pt x="86896" y="27469"/>
                  </a:lnTo>
                  <a:lnTo>
                    <a:pt x="86896" y="26024"/>
                  </a:lnTo>
                  <a:lnTo>
                    <a:pt x="86896" y="26024"/>
                  </a:lnTo>
                  <a:lnTo>
                    <a:pt x="86896" y="23855"/>
                  </a:lnTo>
                  <a:lnTo>
                    <a:pt x="86896" y="23855"/>
                  </a:lnTo>
                  <a:lnTo>
                    <a:pt x="86896" y="23855"/>
                  </a:lnTo>
                  <a:lnTo>
                    <a:pt x="86896" y="22409"/>
                  </a:lnTo>
                  <a:lnTo>
                    <a:pt x="86068" y="22409"/>
                  </a:lnTo>
                  <a:lnTo>
                    <a:pt x="86068" y="20963"/>
                  </a:lnTo>
                  <a:lnTo>
                    <a:pt x="86068" y="20963"/>
                  </a:lnTo>
                  <a:lnTo>
                    <a:pt x="86068" y="20963"/>
                  </a:lnTo>
                  <a:lnTo>
                    <a:pt x="86068" y="18795"/>
                  </a:lnTo>
                  <a:lnTo>
                    <a:pt x="86068" y="18795"/>
                  </a:lnTo>
                  <a:lnTo>
                    <a:pt x="84827" y="18795"/>
                  </a:lnTo>
                  <a:lnTo>
                    <a:pt x="84827" y="18795"/>
                  </a:lnTo>
                  <a:lnTo>
                    <a:pt x="84827" y="18795"/>
                  </a:lnTo>
                  <a:lnTo>
                    <a:pt x="84000" y="17349"/>
                  </a:lnTo>
                  <a:lnTo>
                    <a:pt x="84000" y="17349"/>
                  </a:lnTo>
                  <a:lnTo>
                    <a:pt x="84000" y="17349"/>
                  </a:lnTo>
                  <a:lnTo>
                    <a:pt x="83172" y="17349"/>
                  </a:lnTo>
                  <a:lnTo>
                    <a:pt x="81931" y="17349"/>
                  </a:lnTo>
                  <a:lnTo>
                    <a:pt x="81931" y="17349"/>
                  </a:lnTo>
                  <a:lnTo>
                    <a:pt x="81103" y="17349"/>
                  </a:lnTo>
                  <a:lnTo>
                    <a:pt x="80275" y="17349"/>
                  </a:lnTo>
                  <a:lnTo>
                    <a:pt x="78206" y="17349"/>
                  </a:lnTo>
                  <a:lnTo>
                    <a:pt x="78206" y="17349"/>
                  </a:lnTo>
                  <a:lnTo>
                    <a:pt x="78206" y="15180"/>
                  </a:lnTo>
                  <a:lnTo>
                    <a:pt x="79034" y="15180"/>
                  </a:lnTo>
                  <a:lnTo>
                    <a:pt x="79034" y="15180"/>
                  </a:lnTo>
                  <a:lnTo>
                    <a:pt x="78206" y="15180"/>
                  </a:lnTo>
                  <a:lnTo>
                    <a:pt x="78206" y="13734"/>
                  </a:lnTo>
                  <a:lnTo>
                    <a:pt x="78206" y="13734"/>
                  </a:lnTo>
                  <a:lnTo>
                    <a:pt x="78206" y="12289"/>
                  </a:lnTo>
                  <a:lnTo>
                    <a:pt x="77379" y="10120"/>
                  </a:lnTo>
                  <a:lnTo>
                    <a:pt x="77379" y="10120"/>
                  </a:lnTo>
                  <a:lnTo>
                    <a:pt x="77379" y="10120"/>
                  </a:lnTo>
                  <a:lnTo>
                    <a:pt x="78206" y="10120"/>
                  </a:lnTo>
                  <a:lnTo>
                    <a:pt x="79034" y="10120"/>
                  </a:lnTo>
                  <a:lnTo>
                    <a:pt x="79034" y="8674"/>
                  </a:lnTo>
                  <a:lnTo>
                    <a:pt x="79034" y="8674"/>
                  </a:lnTo>
                  <a:lnTo>
                    <a:pt x="77379" y="5060"/>
                  </a:lnTo>
                  <a:lnTo>
                    <a:pt x="76137" y="3614"/>
                  </a:lnTo>
                  <a:lnTo>
                    <a:pt x="75310" y="2168"/>
                  </a:lnTo>
                  <a:lnTo>
                    <a:pt x="74482" y="0"/>
                  </a:lnTo>
                  <a:lnTo>
                    <a:pt x="74482" y="0"/>
                  </a:lnTo>
                  <a:lnTo>
                    <a:pt x="73241" y="0"/>
                  </a:lnTo>
                  <a:lnTo>
                    <a:pt x="72413" y="0"/>
                  </a:lnTo>
                  <a:lnTo>
                    <a:pt x="71172" y="0"/>
                  </a:lnTo>
                  <a:lnTo>
                    <a:pt x="70344" y="0"/>
                  </a:lnTo>
                  <a:lnTo>
                    <a:pt x="68275" y="2168"/>
                  </a:lnTo>
                  <a:lnTo>
                    <a:pt x="68275" y="2168"/>
                  </a:lnTo>
                  <a:lnTo>
                    <a:pt x="66620" y="2168"/>
                  </a:lnTo>
                  <a:lnTo>
                    <a:pt x="65379" y="0"/>
                  </a:lnTo>
                  <a:lnTo>
                    <a:pt x="65379" y="0"/>
                  </a:lnTo>
                  <a:lnTo>
                    <a:pt x="65379" y="2168"/>
                  </a:lnTo>
                  <a:lnTo>
                    <a:pt x="65379" y="2168"/>
                  </a:lnTo>
                  <a:lnTo>
                    <a:pt x="64551" y="3614"/>
                  </a:lnTo>
                  <a:lnTo>
                    <a:pt x="64551" y="3614"/>
                  </a:lnTo>
                  <a:lnTo>
                    <a:pt x="63724" y="5060"/>
                  </a:lnTo>
                  <a:lnTo>
                    <a:pt x="63724" y="5060"/>
                  </a:lnTo>
                  <a:lnTo>
                    <a:pt x="62482" y="5060"/>
                  </a:lnTo>
                  <a:lnTo>
                    <a:pt x="61655" y="5060"/>
                  </a:lnTo>
                  <a:lnTo>
                    <a:pt x="61655" y="3614"/>
                  </a:lnTo>
                  <a:lnTo>
                    <a:pt x="61655" y="3614"/>
                  </a:lnTo>
                  <a:lnTo>
                    <a:pt x="59586" y="3614"/>
                  </a:lnTo>
                  <a:lnTo>
                    <a:pt x="58758" y="3614"/>
                  </a:lnTo>
                  <a:lnTo>
                    <a:pt x="57517" y="5060"/>
                  </a:lnTo>
                  <a:lnTo>
                    <a:pt x="57517" y="5060"/>
                  </a:lnTo>
                  <a:lnTo>
                    <a:pt x="56689" y="3614"/>
                  </a:lnTo>
                  <a:lnTo>
                    <a:pt x="55862" y="5060"/>
                  </a:lnTo>
                  <a:lnTo>
                    <a:pt x="55862" y="7228"/>
                  </a:lnTo>
                  <a:lnTo>
                    <a:pt x="54620" y="7228"/>
                  </a:lnTo>
                  <a:lnTo>
                    <a:pt x="54620" y="8674"/>
                  </a:lnTo>
                  <a:lnTo>
                    <a:pt x="53793" y="8674"/>
                  </a:lnTo>
                  <a:lnTo>
                    <a:pt x="53793" y="10120"/>
                  </a:lnTo>
                  <a:lnTo>
                    <a:pt x="53793" y="12289"/>
                  </a:lnTo>
                  <a:lnTo>
                    <a:pt x="53793" y="12289"/>
                  </a:lnTo>
                  <a:lnTo>
                    <a:pt x="54620" y="13734"/>
                  </a:lnTo>
                  <a:lnTo>
                    <a:pt x="54620" y="13734"/>
                  </a:lnTo>
                  <a:lnTo>
                    <a:pt x="54620" y="15180"/>
                  </a:lnTo>
                  <a:lnTo>
                    <a:pt x="53793" y="15180"/>
                  </a:lnTo>
                  <a:lnTo>
                    <a:pt x="53793" y="15180"/>
                  </a:lnTo>
                  <a:lnTo>
                    <a:pt x="53793" y="15180"/>
                  </a:lnTo>
                  <a:lnTo>
                    <a:pt x="52965" y="15180"/>
                  </a:lnTo>
                  <a:lnTo>
                    <a:pt x="52965" y="13734"/>
                  </a:lnTo>
                  <a:lnTo>
                    <a:pt x="51724" y="13734"/>
                  </a:lnTo>
                  <a:lnTo>
                    <a:pt x="51724" y="13734"/>
                  </a:lnTo>
                  <a:lnTo>
                    <a:pt x="50896" y="13734"/>
                  </a:lnTo>
                  <a:lnTo>
                    <a:pt x="50068" y="13734"/>
                  </a:lnTo>
                  <a:lnTo>
                    <a:pt x="48000" y="13734"/>
                  </a:lnTo>
                  <a:lnTo>
                    <a:pt x="47172" y="13734"/>
                  </a:lnTo>
                  <a:lnTo>
                    <a:pt x="47172" y="13734"/>
                  </a:lnTo>
                  <a:lnTo>
                    <a:pt x="45931" y="13734"/>
                  </a:lnTo>
                  <a:lnTo>
                    <a:pt x="45931" y="13734"/>
                  </a:lnTo>
                  <a:lnTo>
                    <a:pt x="45103" y="12289"/>
                  </a:lnTo>
                  <a:lnTo>
                    <a:pt x="45103" y="12289"/>
                  </a:lnTo>
                  <a:lnTo>
                    <a:pt x="43862" y="10120"/>
                  </a:lnTo>
                  <a:lnTo>
                    <a:pt x="43862" y="10120"/>
                  </a:lnTo>
                  <a:lnTo>
                    <a:pt x="43862" y="10120"/>
                  </a:lnTo>
                  <a:lnTo>
                    <a:pt x="43862" y="12289"/>
                  </a:lnTo>
                  <a:lnTo>
                    <a:pt x="43034" y="12289"/>
                  </a:lnTo>
                  <a:lnTo>
                    <a:pt x="43034" y="12289"/>
                  </a:lnTo>
                  <a:lnTo>
                    <a:pt x="43034" y="12289"/>
                  </a:lnTo>
                  <a:lnTo>
                    <a:pt x="42206" y="12289"/>
                  </a:lnTo>
                  <a:lnTo>
                    <a:pt x="42206" y="13734"/>
                  </a:lnTo>
                  <a:lnTo>
                    <a:pt x="42206" y="13734"/>
                  </a:lnTo>
                  <a:lnTo>
                    <a:pt x="40965" y="13734"/>
                  </a:lnTo>
                  <a:lnTo>
                    <a:pt x="40965" y="12289"/>
                  </a:lnTo>
                  <a:lnTo>
                    <a:pt x="40137" y="12289"/>
                  </a:lnTo>
                  <a:lnTo>
                    <a:pt x="40137" y="12289"/>
                  </a:lnTo>
                  <a:lnTo>
                    <a:pt x="39310" y="12289"/>
                  </a:lnTo>
                  <a:lnTo>
                    <a:pt x="38068" y="10120"/>
                  </a:lnTo>
                  <a:lnTo>
                    <a:pt x="38068" y="12289"/>
                  </a:lnTo>
                  <a:lnTo>
                    <a:pt x="37241" y="12289"/>
                  </a:lnTo>
                  <a:lnTo>
                    <a:pt x="37241" y="12289"/>
                  </a:lnTo>
                  <a:lnTo>
                    <a:pt x="36413" y="12289"/>
                  </a:lnTo>
                  <a:lnTo>
                    <a:pt x="36413" y="12289"/>
                  </a:lnTo>
                  <a:lnTo>
                    <a:pt x="35172" y="12289"/>
                  </a:lnTo>
                  <a:lnTo>
                    <a:pt x="35172" y="13734"/>
                  </a:lnTo>
                  <a:lnTo>
                    <a:pt x="35172" y="13734"/>
                  </a:lnTo>
                  <a:lnTo>
                    <a:pt x="35172" y="12289"/>
                  </a:lnTo>
                  <a:lnTo>
                    <a:pt x="35172" y="12289"/>
                  </a:lnTo>
                  <a:lnTo>
                    <a:pt x="34344" y="12289"/>
                  </a:lnTo>
                  <a:lnTo>
                    <a:pt x="33517" y="10120"/>
                  </a:lnTo>
                  <a:lnTo>
                    <a:pt x="32275" y="12289"/>
                  </a:lnTo>
                  <a:lnTo>
                    <a:pt x="32275" y="12289"/>
                  </a:lnTo>
                  <a:lnTo>
                    <a:pt x="32275" y="10120"/>
                  </a:lnTo>
                  <a:lnTo>
                    <a:pt x="31448" y="8674"/>
                  </a:lnTo>
                  <a:lnTo>
                    <a:pt x="30620" y="8674"/>
                  </a:lnTo>
                  <a:lnTo>
                    <a:pt x="30620" y="8674"/>
                  </a:lnTo>
                  <a:lnTo>
                    <a:pt x="28551" y="8674"/>
                  </a:lnTo>
                  <a:lnTo>
                    <a:pt x="27310" y="8674"/>
                  </a:lnTo>
                  <a:lnTo>
                    <a:pt x="26482" y="8674"/>
                  </a:lnTo>
                  <a:lnTo>
                    <a:pt x="26482" y="7228"/>
                  </a:lnTo>
                  <a:lnTo>
                    <a:pt x="25655" y="7228"/>
                  </a:lnTo>
                  <a:lnTo>
                    <a:pt x="22758" y="7228"/>
                  </a:lnTo>
                  <a:lnTo>
                    <a:pt x="22758" y="7228"/>
                  </a:lnTo>
                  <a:lnTo>
                    <a:pt x="20689" y="7228"/>
                  </a:lnTo>
                  <a:lnTo>
                    <a:pt x="18620" y="7228"/>
                  </a:lnTo>
                  <a:lnTo>
                    <a:pt x="17793" y="7228"/>
                  </a:lnTo>
                  <a:lnTo>
                    <a:pt x="16965" y="7228"/>
                  </a:lnTo>
                  <a:lnTo>
                    <a:pt x="15724" y="7228"/>
                  </a:lnTo>
                  <a:lnTo>
                    <a:pt x="14896" y="7228"/>
                  </a:lnTo>
                  <a:lnTo>
                    <a:pt x="14896" y="7228"/>
                  </a:lnTo>
                  <a:lnTo>
                    <a:pt x="13655" y="7228"/>
                  </a:lnTo>
                  <a:lnTo>
                    <a:pt x="12827" y="7228"/>
                  </a:lnTo>
                  <a:lnTo>
                    <a:pt x="12827" y="8674"/>
                  </a:lnTo>
                  <a:lnTo>
                    <a:pt x="12000" y="8674"/>
                  </a:lnTo>
                  <a:lnTo>
                    <a:pt x="12000" y="10120"/>
                  </a:lnTo>
                  <a:lnTo>
                    <a:pt x="10758" y="12289"/>
                  </a:lnTo>
                  <a:lnTo>
                    <a:pt x="9931" y="12289"/>
                  </a:lnTo>
                  <a:lnTo>
                    <a:pt x="9931" y="10120"/>
                  </a:lnTo>
                  <a:lnTo>
                    <a:pt x="9103" y="10120"/>
                  </a:lnTo>
                  <a:lnTo>
                    <a:pt x="9103" y="10120"/>
                  </a:lnTo>
                  <a:lnTo>
                    <a:pt x="7862" y="10120"/>
                  </a:lnTo>
                  <a:lnTo>
                    <a:pt x="7862" y="10120"/>
                  </a:lnTo>
                  <a:lnTo>
                    <a:pt x="7862" y="12289"/>
                  </a:lnTo>
                  <a:lnTo>
                    <a:pt x="7862" y="12289"/>
                  </a:lnTo>
                  <a:lnTo>
                    <a:pt x="7862" y="13734"/>
                  </a:lnTo>
                  <a:lnTo>
                    <a:pt x="9103" y="13734"/>
                  </a:lnTo>
                  <a:lnTo>
                    <a:pt x="9103" y="15180"/>
                  </a:lnTo>
                  <a:lnTo>
                    <a:pt x="9103" y="15180"/>
                  </a:lnTo>
                  <a:lnTo>
                    <a:pt x="9103" y="15180"/>
                  </a:lnTo>
                  <a:lnTo>
                    <a:pt x="9931" y="18795"/>
                  </a:lnTo>
                  <a:lnTo>
                    <a:pt x="10758" y="20963"/>
                  </a:lnTo>
                  <a:lnTo>
                    <a:pt x="10758" y="20963"/>
                  </a:lnTo>
                  <a:lnTo>
                    <a:pt x="12000" y="22409"/>
                  </a:lnTo>
                  <a:lnTo>
                    <a:pt x="12000" y="22409"/>
                  </a:lnTo>
                  <a:lnTo>
                    <a:pt x="12000" y="22409"/>
                  </a:lnTo>
                  <a:lnTo>
                    <a:pt x="10758" y="22409"/>
                  </a:lnTo>
                  <a:lnTo>
                    <a:pt x="10758" y="22409"/>
                  </a:lnTo>
                  <a:lnTo>
                    <a:pt x="10758" y="23855"/>
                  </a:lnTo>
                  <a:lnTo>
                    <a:pt x="10758" y="23855"/>
                  </a:lnTo>
                  <a:lnTo>
                    <a:pt x="12000" y="23855"/>
                  </a:lnTo>
                  <a:lnTo>
                    <a:pt x="12000" y="26024"/>
                  </a:lnTo>
                  <a:lnTo>
                    <a:pt x="12000" y="27469"/>
                  </a:lnTo>
                  <a:lnTo>
                    <a:pt x="12000" y="27469"/>
                  </a:lnTo>
                  <a:lnTo>
                    <a:pt x="10758" y="27469"/>
                  </a:lnTo>
                  <a:lnTo>
                    <a:pt x="10758" y="28915"/>
                  </a:lnTo>
                  <a:lnTo>
                    <a:pt x="9931" y="28915"/>
                  </a:lnTo>
                  <a:lnTo>
                    <a:pt x="9103" y="31084"/>
                  </a:lnTo>
                  <a:lnTo>
                    <a:pt x="7862" y="31084"/>
                  </a:lnTo>
                  <a:lnTo>
                    <a:pt x="7862" y="32530"/>
                  </a:lnTo>
                  <a:lnTo>
                    <a:pt x="7034" y="33975"/>
                  </a:lnTo>
                  <a:lnTo>
                    <a:pt x="4965" y="36144"/>
                  </a:lnTo>
                  <a:lnTo>
                    <a:pt x="4965" y="37590"/>
                  </a:lnTo>
                  <a:lnTo>
                    <a:pt x="4137" y="37590"/>
                  </a:lnTo>
                  <a:lnTo>
                    <a:pt x="3310" y="41204"/>
                  </a:lnTo>
                  <a:lnTo>
                    <a:pt x="3310" y="41204"/>
                  </a:lnTo>
                  <a:lnTo>
                    <a:pt x="3310" y="42650"/>
                  </a:lnTo>
                  <a:lnTo>
                    <a:pt x="3310" y="44819"/>
                  </a:lnTo>
                  <a:lnTo>
                    <a:pt x="3310" y="44819"/>
                  </a:lnTo>
                  <a:lnTo>
                    <a:pt x="3310" y="46265"/>
                  </a:lnTo>
                  <a:lnTo>
                    <a:pt x="3310" y="46265"/>
                  </a:lnTo>
                  <a:lnTo>
                    <a:pt x="3310" y="47710"/>
                  </a:lnTo>
                  <a:lnTo>
                    <a:pt x="4137" y="47710"/>
                  </a:lnTo>
                  <a:lnTo>
                    <a:pt x="4137" y="47710"/>
                  </a:lnTo>
                  <a:lnTo>
                    <a:pt x="4137" y="47710"/>
                  </a:lnTo>
                  <a:lnTo>
                    <a:pt x="4137" y="49879"/>
                  </a:lnTo>
                  <a:lnTo>
                    <a:pt x="4137" y="49879"/>
                  </a:lnTo>
                  <a:lnTo>
                    <a:pt x="3310" y="49879"/>
                  </a:lnTo>
                  <a:lnTo>
                    <a:pt x="3310" y="47710"/>
                  </a:lnTo>
                  <a:lnTo>
                    <a:pt x="2068" y="47710"/>
                  </a:lnTo>
                  <a:lnTo>
                    <a:pt x="2068" y="49879"/>
                  </a:lnTo>
                  <a:lnTo>
                    <a:pt x="2068" y="49879"/>
                  </a:lnTo>
                  <a:lnTo>
                    <a:pt x="2068" y="51325"/>
                  </a:lnTo>
                  <a:lnTo>
                    <a:pt x="1241" y="51325"/>
                  </a:lnTo>
                  <a:lnTo>
                    <a:pt x="1241" y="52771"/>
                  </a:lnTo>
                  <a:lnTo>
                    <a:pt x="1241" y="54939"/>
                  </a:lnTo>
                  <a:lnTo>
                    <a:pt x="0" y="56385"/>
                  </a:lnTo>
                  <a:lnTo>
                    <a:pt x="0" y="58554"/>
                  </a:lnTo>
                  <a:lnTo>
                    <a:pt x="0" y="58554"/>
                  </a:lnTo>
                  <a:lnTo>
                    <a:pt x="0" y="58554"/>
                  </a:lnTo>
                  <a:lnTo>
                    <a:pt x="1241" y="58554"/>
                  </a:lnTo>
                  <a:lnTo>
                    <a:pt x="1241" y="59999"/>
                  </a:lnTo>
                  <a:lnTo>
                    <a:pt x="1241" y="59999"/>
                  </a:lnTo>
                  <a:lnTo>
                    <a:pt x="1241" y="59999"/>
                  </a:lnTo>
                  <a:lnTo>
                    <a:pt x="1241" y="59999"/>
                  </a:lnTo>
                  <a:lnTo>
                    <a:pt x="1241" y="61445"/>
                  </a:lnTo>
                  <a:lnTo>
                    <a:pt x="2068" y="61445"/>
                  </a:lnTo>
                  <a:lnTo>
                    <a:pt x="3310" y="61445"/>
                  </a:lnTo>
                  <a:lnTo>
                    <a:pt x="3310" y="63614"/>
                  </a:lnTo>
                  <a:lnTo>
                    <a:pt x="4137" y="63614"/>
                  </a:lnTo>
                  <a:lnTo>
                    <a:pt x="4137" y="63614"/>
                  </a:lnTo>
                  <a:lnTo>
                    <a:pt x="4137" y="63614"/>
                  </a:lnTo>
                  <a:lnTo>
                    <a:pt x="4137" y="63614"/>
                  </a:lnTo>
                  <a:lnTo>
                    <a:pt x="4137" y="63614"/>
                  </a:lnTo>
                  <a:lnTo>
                    <a:pt x="4965" y="63614"/>
                  </a:lnTo>
                  <a:lnTo>
                    <a:pt x="4965" y="65060"/>
                  </a:lnTo>
                  <a:lnTo>
                    <a:pt x="4965" y="65060"/>
                  </a:lnTo>
                  <a:lnTo>
                    <a:pt x="4965" y="65060"/>
                  </a:lnTo>
                  <a:lnTo>
                    <a:pt x="4965" y="65060"/>
                  </a:lnTo>
                  <a:lnTo>
                    <a:pt x="4965" y="65060"/>
                  </a:lnTo>
                  <a:lnTo>
                    <a:pt x="6206" y="65060"/>
                  </a:lnTo>
                  <a:lnTo>
                    <a:pt x="7034" y="63614"/>
                  </a:lnTo>
                  <a:lnTo>
                    <a:pt x="7034" y="63614"/>
                  </a:lnTo>
                  <a:lnTo>
                    <a:pt x="7034" y="63614"/>
                  </a:lnTo>
                  <a:lnTo>
                    <a:pt x="9103" y="65060"/>
                  </a:lnTo>
                  <a:lnTo>
                    <a:pt x="9931" y="65060"/>
                  </a:lnTo>
                  <a:lnTo>
                    <a:pt x="10758" y="65060"/>
                  </a:lnTo>
                  <a:lnTo>
                    <a:pt x="10758" y="65060"/>
                  </a:lnTo>
                  <a:lnTo>
                    <a:pt x="10758" y="65060"/>
                  </a:lnTo>
                  <a:lnTo>
                    <a:pt x="12827" y="65060"/>
                  </a:lnTo>
                  <a:lnTo>
                    <a:pt x="12827" y="65060"/>
                  </a:lnTo>
                  <a:lnTo>
                    <a:pt x="12827" y="65060"/>
                  </a:lnTo>
                  <a:lnTo>
                    <a:pt x="13655" y="66506"/>
                  </a:lnTo>
                  <a:lnTo>
                    <a:pt x="14896" y="66506"/>
                  </a:lnTo>
                  <a:lnTo>
                    <a:pt x="15724" y="65060"/>
                  </a:lnTo>
                  <a:lnTo>
                    <a:pt x="15724" y="65060"/>
                  </a:lnTo>
                  <a:lnTo>
                    <a:pt x="16965" y="65060"/>
                  </a:lnTo>
                  <a:lnTo>
                    <a:pt x="17793" y="66506"/>
                  </a:lnTo>
                  <a:lnTo>
                    <a:pt x="18620" y="68674"/>
                  </a:lnTo>
                  <a:lnTo>
                    <a:pt x="18620" y="68674"/>
                  </a:lnTo>
                  <a:lnTo>
                    <a:pt x="19862" y="68674"/>
                  </a:lnTo>
                  <a:lnTo>
                    <a:pt x="20689" y="68674"/>
                  </a:lnTo>
                  <a:lnTo>
                    <a:pt x="20689" y="66506"/>
                  </a:lnTo>
                  <a:lnTo>
                    <a:pt x="22758" y="66506"/>
                  </a:lnTo>
                  <a:lnTo>
                    <a:pt x="24413" y="65060"/>
                  </a:lnTo>
                  <a:lnTo>
                    <a:pt x="25655" y="65060"/>
                  </a:lnTo>
                  <a:lnTo>
                    <a:pt x="27310" y="65060"/>
                  </a:lnTo>
                  <a:lnTo>
                    <a:pt x="27310" y="63614"/>
                  </a:lnTo>
                  <a:lnTo>
                    <a:pt x="28551" y="63614"/>
                  </a:lnTo>
                  <a:lnTo>
                    <a:pt x="28551" y="61445"/>
                  </a:lnTo>
                  <a:lnTo>
                    <a:pt x="29379" y="61445"/>
                  </a:lnTo>
                  <a:lnTo>
                    <a:pt x="30620" y="61445"/>
                  </a:lnTo>
                  <a:lnTo>
                    <a:pt x="30620" y="59999"/>
                  </a:lnTo>
                  <a:lnTo>
                    <a:pt x="30620" y="59999"/>
                  </a:lnTo>
                  <a:lnTo>
                    <a:pt x="31448" y="58554"/>
                  </a:lnTo>
                  <a:lnTo>
                    <a:pt x="32275" y="59999"/>
                  </a:lnTo>
                  <a:lnTo>
                    <a:pt x="33517" y="59999"/>
                  </a:lnTo>
                  <a:lnTo>
                    <a:pt x="34344" y="59999"/>
                  </a:lnTo>
                  <a:lnTo>
                    <a:pt x="35172" y="58554"/>
                  </a:lnTo>
                  <a:lnTo>
                    <a:pt x="35172" y="58554"/>
                  </a:lnTo>
                  <a:lnTo>
                    <a:pt x="36413" y="58554"/>
                  </a:lnTo>
                  <a:lnTo>
                    <a:pt x="36413" y="58554"/>
                  </a:lnTo>
                  <a:lnTo>
                    <a:pt x="36413" y="58554"/>
                  </a:lnTo>
                  <a:lnTo>
                    <a:pt x="36413" y="58554"/>
                  </a:lnTo>
                  <a:lnTo>
                    <a:pt x="37241" y="58554"/>
                  </a:lnTo>
                  <a:lnTo>
                    <a:pt x="38068" y="58554"/>
                  </a:lnTo>
                  <a:lnTo>
                    <a:pt x="39310" y="59999"/>
                  </a:lnTo>
                  <a:lnTo>
                    <a:pt x="39310" y="59999"/>
                  </a:lnTo>
                  <a:lnTo>
                    <a:pt x="40137" y="59999"/>
                  </a:lnTo>
                  <a:lnTo>
                    <a:pt x="40137" y="59999"/>
                  </a:lnTo>
                  <a:lnTo>
                    <a:pt x="40137" y="61445"/>
                  </a:lnTo>
                  <a:lnTo>
                    <a:pt x="40965" y="61445"/>
                  </a:lnTo>
                  <a:lnTo>
                    <a:pt x="42206" y="61445"/>
                  </a:lnTo>
                  <a:lnTo>
                    <a:pt x="42206" y="61445"/>
                  </a:lnTo>
                  <a:lnTo>
                    <a:pt x="42206" y="61445"/>
                  </a:lnTo>
                  <a:lnTo>
                    <a:pt x="42206" y="61445"/>
                  </a:lnTo>
                  <a:lnTo>
                    <a:pt x="42206" y="61445"/>
                  </a:lnTo>
                  <a:lnTo>
                    <a:pt x="43034" y="61445"/>
                  </a:lnTo>
                  <a:lnTo>
                    <a:pt x="43034" y="63614"/>
                  </a:lnTo>
                  <a:lnTo>
                    <a:pt x="43034" y="63614"/>
                  </a:lnTo>
                  <a:lnTo>
                    <a:pt x="43034" y="61445"/>
                  </a:lnTo>
                  <a:lnTo>
                    <a:pt x="43862" y="61445"/>
                  </a:lnTo>
                  <a:lnTo>
                    <a:pt x="45103" y="63614"/>
                  </a:lnTo>
                  <a:lnTo>
                    <a:pt x="45931" y="65060"/>
                  </a:lnTo>
                  <a:lnTo>
                    <a:pt x="45931" y="65060"/>
                  </a:lnTo>
                  <a:lnTo>
                    <a:pt x="47172" y="65060"/>
                  </a:lnTo>
                  <a:lnTo>
                    <a:pt x="47172" y="65060"/>
                  </a:lnTo>
                  <a:lnTo>
                    <a:pt x="47172" y="65060"/>
                  </a:lnTo>
                  <a:lnTo>
                    <a:pt x="48000" y="65060"/>
                  </a:lnTo>
                  <a:lnTo>
                    <a:pt x="48000" y="66506"/>
                  </a:lnTo>
                  <a:lnTo>
                    <a:pt x="48000" y="68674"/>
                  </a:lnTo>
                  <a:lnTo>
                    <a:pt x="48000" y="68674"/>
                  </a:lnTo>
                  <a:lnTo>
                    <a:pt x="48000" y="70120"/>
                  </a:lnTo>
                  <a:lnTo>
                    <a:pt x="48000" y="70120"/>
                  </a:lnTo>
                  <a:lnTo>
                    <a:pt x="48000" y="72289"/>
                  </a:lnTo>
                  <a:lnTo>
                    <a:pt x="48000" y="72289"/>
                  </a:lnTo>
                  <a:lnTo>
                    <a:pt x="48000" y="73734"/>
                  </a:lnTo>
                  <a:lnTo>
                    <a:pt x="48000" y="73734"/>
                  </a:lnTo>
                  <a:lnTo>
                    <a:pt x="48827" y="73734"/>
                  </a:lnTo>
                  <a:lnTo>
                    <a:pt x="50068" y="75180"/>
                  </a:lnTo>
                  <a:lnTo>
                    <a:pt x="50068" y="75180"/>
                  </a:lnTo>
                  <a:lnTo>
                    <a:pt x="50896" y="75180"/>
                  </a:lnTo>
                  <a:lnTo>
                    <a:pt x="50896" y="75180"/>
                  </a:lnTo>
                  <a:lnTo>
                    <a:pt x="50896" y="75180"/>
                  </a:lnTo>
                  <a:lnTo>
                    <a:pt x="50896" y="77349"/>
                  </a:lnTo>
                  <a:lnTo>
                    <a:pt x="50896" y="77349"/>
                  </a:lnTo>
                  <a:lnTo>
                    <a:pt x="50896" y="78795"/>
                  </a:lnTo>
                  <a:lnTo>
                    <a:pt x="50896" y="78795"/>
                  </a:lnTo>
                  <a:lnTo>
                    <a:pt x="50896" y="80240"/>
                  </a:lnTo>
                  <a:lnTo>
                    <a:pt x="50896" y="80240"/>
                  </a:lnTo>
                  <a:lnTo>
                    <a:pt x="51724" y="80240"/>
                  </a:lnTo>
                  <a:lnTo>
                    <a:pt x="52965" y="82409"/>
                  </a:lnTo>
                  <a:lnTo>
                    <a:pt x="53793" y="82409"/>
                  </a:lnTo>
                  <a:lnTo>
                    <a:pt x="53793" y="82409"/>
                  </a:lnTo>
                  <a:lnTo>
                    <a:pt x="53793" y="83855"/>
                  </a:lnTo>
                  <a:lnTo>
                    <a:pt x="53793" y="85301"/>
                  </a:lnTo>
                  <a:lnTo>
                    <a:pt x="53793" y="87469"/>
                  </a:lnTo>
                  <a:lnTo>
                    <a:pt x="55862" y="88915"/>
                  </a:lnTo>
                  <a:lnTo>
                    <a:pt x="55862" y="88915"/>
                  </a:lnTo>
                  <a:lnTo>
                    <a:pt x="54620" y="88915"/>
                  </a:lnTo>
                  <a:lnTo>
                    <a:pt x="53793" y="88915"/>
                  </a:lnTo>
                  <a:lnTo>
                    <a:pt x="53793" y="88915"/>
                  </a:lnTo>
                  <a:lnTo>
                    <a:pt x="52965" y="87469"/>
                  </a:lnTo>
                  <a:lnTo>
                    <a:pt x="52965" y="87469"/>
                  </a:lnTo>
                  <a:lnTo>
                    <a:pt x="52965" y="88915"/>
                  </a:lnTo>
                  <a:lnTo>
                    <a:pt x="51724" y="88915"/>
                  </a:lnTo>
                  <a:lnTo>
                    <a:pt x="51724" y="88915"/>
                  </a:lnTo>
                  <a:lnTo>
                    <a:pt x="50896" y="87469"/>
                  </a:lnTo>
                  <a:lnTo>
                    <a:pt x="50896" y="87469"/>
                  </a:lnTo>
                  <a:lnTo>
                    <a:pt x="50896" y="87469"/>
                  </a:lnTo>
                  <a:lnTo>
                    <a:pt x="50896" y="87469"/>
                  </a:lnTo>
                  <a:lnTo>
                    <a:pt x="50068" y="87469"/>
                  </a:lnTo>
                  <a:lnTo>
                    <a:pt x="50068" y="87469"/>
                  </a:lnTo>
                  <a:lnTo>
                    <a:pt x="50068" y="88915"/>
                  </a:lnTo>
                  <a:lnTo>
                    <a:pt x="48827" y="88915"/>
                  </a:lnTo>
                  <a:lnTo>
                    <a:pt x="48827" y="88915"/>
                  </a:lnTo>
                  <a:lnTo>
                    <a:pt x="48827" y="87469"/>
                  </a:lnTo>
                  <a:lnTo>
                    <a:pt x="48827" y="87469"/>
                  </a:lnTo>
                  <a:lnTo>
                    <a:pt x="48827" y="87469"/>
                  </a:lnTo>
                  <a:lnTo>
                    <a:pt x="48000" y="87469"/>
                  </a:lnTo>
                  <a:lnTo>
                    <a:pt x="48000" y="87469"/>
                  </a:lnTo>
                  <a:lnTo>
                    <a:pt x="47172" y="88915"/>
                  </a:lnTo>
                  <a:lnTo>
                    <a:pt x="47172" y="88915"/>
                  </a:lnTo>
                  <a:lnTo>
                    <a:pt x="48000" y="91084"/>
                  </a:lnTo>
                  <a:lnTo>
                    <a:pt x="48000" y="92530"/>
                  </a:lnTo>
                  <a:lnTo>
                    <a:pt x="48000" y="92530"/>
                  </a:lnTo>
                  <a:lnTo>
                    <a:pt x="48000" y="93975"/>
                  </a:lnTo>
                  <a:lnTo>
                    <a:pt x="47172" y="93975"/>
                  </a:lnTo>
                  <a:lnTo>
                    <a:pt x="45931" y="96144"/>
                  </a:lnTo>
                  <a:lnTo>
                    <a:pt x="45931" y="97590"/>
                  </a:lnTo>
                  <a:lnTo>
                    <a:pt x="45931" y="97590"/>
                  </a:lnTo>
                  <a:lnTo>
                    <a:pt x="45103" y="99036"/>
                  </a:lnTo>
                  <a:lnTo>
                    <a:pt x="45103" y="99036"/>
                  </a:lnTo>
                  <a:lnTo>
                    <a:pt x="45103" y="101204"/>
                  </a:lnTo>
                  <a:lnTo>
                    <a:pt x="45103" y="101204"/>
                  </a:lnTo>
                  <a:lnTo>
                    <a:pt x="45103" y="101204"/>
                  </a:lnTo>
                  <a:lnTo>
                    <a:pt x="45103" y="101204"/>
                  </a:lnTo>
                  <a:lnTo>
                    <a:pt x="45103" y="102650"/>
                  </a:lnTo>
                  <a:lnTo>
                    <a:pt x="43862" y="102650"/>
                  </a:lnTo>
                  <a:lnTo>
                    <a:pt x="43034" y="102650"/>
                  </a:lnTo>
                  <a:lnTo>
                    <a:pt x="43034" y="102650"/>
                  </a:lnTo>
                  <a:lnTo>
                    <a:pt x="43862" y="104096"/>
                  </a:lnTo>
                  <a:lnTo>
                    <a:pt x="45103" y="104096"/>
                  </a:lnTo>
                  <a:lnTo>
                    <a:pt x="47172" y="106265"/>
                  </a:lnTo>
                  <a:lnTo>
                    <a:pt x="47172" y="106265"/>
                  </a:lnTo>
                  <a:lnTo>
                    <a:pt x="47172" y="106265"/>
                  </a:lnTo>
                  <a:lnTo>
                    <a:pt x="47172" y="106265"/>
                  </a:lnTo>
                  <a:lnTo>
                    <a:pt x="47172" y="104096"/>
                  </a:lnTo>
                  <a:lnTo>
                    <a:pt x="47172" y="104096"/>
                  </a:lnTo>
                  <a:lnTo>
                    <a:pt x="48000" y="104096"/>
                  </a:lnTo>
                  <a:lnTo>
                    <a:pt x="48000" y="104096"/>
                  </a:lnTo>
                  <a:lnTo>
                    <a:pt x="48827" y="104096"/>
                  </a:lnTo>
                  <a:lnTo>
                    <a:pt x="50068" y="102650"/>
                  </a:lnTo>
                  <a:lnTo>
                    <a:pt x="51724" y="102650"/>
                  </a:lnTo>
                  <a:lnTo>
                    <a:pt x="52965" y="104096"/>
                  </a:lnTo>
                  <a:lnTo>
                    <a:pt x="52965" y="104096"/>
                  </a:lnTo>
                  <a:lnTo>
                    <a:pt x="53793" y="106265"/>
                  </a:lnTo>
                  <a:lnTo>
                    <a:pt x="53793" y="104096"/>
                  </a:lnTo>
                  <a:lnTo>
                    <a:pt x="52965" y="101204"/>
                  </a:lnTo>
                  <a:lnTo>
                    <a:pt x="52965" y="101204"/>
                  </a:lnTo>
                  <a:lnTo>
                    <a:pt x="52965" y="99036"/>
                  </a:lnTo>
                  <a:lnTo>
                    <a:pt x="52965" y="99036"/>
                  </a:lnTo>
                  <a:lnTo>
                    <a:pt x="52965" y="97590"/>
                  </a:lnTo>
                  <a:lnTo>
                    <a:pt x="53793" y="99036"/>
                  </a:lnTo>
                  <a:lnTo>
                    <a:pt x="54620" y="97590"/>
                  </a:lnTo>
                  <a:lnTo>
                    <a:pt x="54620" y="97590"/>
                  </a:lnTo>
                  <a:lnTo>
                    <a:pt x="56689" y="97590"/>
                  </a:lnTo>
                  <a:lnTo>
                    <a:pt x="56689" y="96144"/>
                  </a:lnTo>
                  <a:lnTo>
                    <a:pt x="58758" y="92530"/>
                  </a:lnTo>
                  <a:lnTo>
                    <a:pt x="58758" y="92530"/>
                  </a:lnTo>
                  <a:lnTo>
                    <a:pt x="59586" y="91084"/>
                  </a:lnTo>
                  <a:lnTo>
                    <a:pt x="59586" y="91084"/>
                  </a:lnTo>
                  <a:lnTo>
                    <a:pt x="59586" y="88915"/>
                  </a:lnTo>
                  <a:lnTo>
                    <a:pt x="59586" y="87469"/>
                  </a:lnTo>
                  <a:lnTo>
                    <a:pt x="59586" y="85301"/>
                  </a:lnTo>
                  <a:lnTo>
                    <a:pt x="62482" y="85301"/>
                  </a:lnTo>
                  <a:lnTo>
                    <a:pt x="63724" y="85301"/>
                  </a:lnTo>
                  <a:lnTo>
                    <a:pt x="64551" y="85301"/>
                  </a:lnTo>
                  <a:lnTo>
                    <a:pt x="64551" y="83855"/>
                  </a:lnTo>
                  <a:lnTo>
                    <a:pt x="65379" y="82409"/>
                  </a:lnTo>
                  <a:lnTo>
                    <a:pt x="64551" y="83855"/>
                  </a:lnTo>
                  <a:lnTo>
                    <a:pt x="65379" y="85301"/>
                  </a:lnTo>
                  <a:lnTo>
                    <a:pt x="66620" y="85301"/>
                  </a:lnTo>
                  <a:lnTo>
                    <a:pt x="67448" y="85301"/>
                  </a:lnTo>
                  <a:lnTo>
                    <a:pt x="67448" y="83855"/>
                  </a:lnTo>
                  <a:lnTo>
                    <a:pt x="67448" y="80240"/>
                  </a:lnTo>
                  <a:lnTo>
                    <a:pt x="66620" y="78795"/>
                  </a:lnTo>
                  <a:lnTo>
                    <a:pt x="66620" y="78795"/>
                  </a:lnTo>
                  <a:lnTo>
                    <a:pt x="66620" y="77349"/>
                  </a:lnTo>
                  <a:lnTo>
                    <a:pt x="66620" y="77349"/>
                  </a:lnTo>
                  <a:lnTo>
                    <a:pt x="66620" y="78795"/>
                  </a:lnTo>
                  <a:lnTo>
                    <a:pt x="67448" y="80240"/>
                  </a:lnTo>
                  <a:lnTo>
                    <a:pt x="67448" y="82409"/>
                  </a:lnTo>
                  <a:lnTo>
                    <a:pt x="67448" y="82409"/>
                  </a:lnTo>
                  <a:lnTo>
                    <a:pt x="67448" y="83855"/>
                  </a:lnTo>
                  <a:lnTo>
                    <a:pt x="68275" y="85301"/>
                  </a:lnTo>
                  <a:lnTo>
                    <a:pt x="69517" y="85301"/>
                  </a:lnTo>
                  <a:lnTo>
                    <a:pt x="70344" y="85301"/>
                  </a:lnTo>
                  <a:lnTo>
                    <a:pt x="72413" y="85301"/>
                  </a:lnTo>
                  <a:lnTo>
                    <a:pt x="72413" y="85301"/>
                  </a:lnTo>
                  <a:lnTo>
                    <a:pt x="71172" y="87469"/>
                  </a:lnTo>
                  <a:lnTo>
                    <a:pt x="70344" y="87469"/>
                  </a:lnTo>
                  <a:lnTo>
                    <a:pt x="69517" y="87469"/>
                  </a:lnTo>
                  <a:lnTo>
                    <a:pt x="67448" y="87469"/>
                  </a:lnTo>
                  <a:lnTo>
                    <a:pt x="66620" y="85301"/>
                  </a:lnTo>
                  <a:lnTo>
                    <a:pt x="65379" y="85301"/>
                  </a:lnTo>
                  <a:lnTo>
                    <a:pt x="65379" y="87469"/>
                  </a:lnTo>
                  <a:lnTo>
                    <a:pt x="66620" y="87469"/>
                  </a:lnTo>
                  <a:lnTo>
                    <a:pt x="67448" y="87469"/>
                  </a:lnTo>
                  <a:lnTo>
                    <a:pt x="68275" y="87469"/>
                  </a:lnTo>
                  <a:lnTo>
                    <a:pt x="68275" y="88915"/>
                  </a:lnTo>
                  <a:lnTo>
                    <a:pt x="68275" y="88915"/>
                  </a:lnTo>
                  <a:lnTo>
                    <a:pt x="67448" y="88915"/>
                  </a:lnTo>
                  <a:lnTo>
                    <a:pt x="67448" y="88915"/>
                  </a:lnTo>
                  <a:lnTo>
                    <a:pt x="66620" y="88915"/>
                  </a:lnTo>
                  <a:lnTo>
                    <a:pt x="67448" y="91084"/>
                  </a:lnTo>
                  <a:lnTo>
                    <a:pt x="68275" y="91084"/>
                  </a:lnTo>
                  <a:lnTo>
                    <a:pt x="68275" y="91084"/>
                  </a:lnTo>
                  <a:lnTo>
                    <a:pt x="70344" y="92530"/>
                  </a:lnTo>
                  <a:lnTo>
                    <a:pt x="72413" y="92530"/>
                  </a:lnTo>
                  <a:lnTo>
                    <a:pt x="74482" y="92530"/>
                  </a:lnTo>
                  <a:lnTo>
                    <a:pt x="75310" y="92530"/>
                  </a:lnTo>
                  <a:lnTo>
                    <a:pt x="77379" y="92530"/>
                  </a:lnTo>
                  <a:lnTo>
                    <a:pt x="77379" y="92530"/>
                  </a:lnTo>
                  <a:lnTo>
                    <a:pt x="78206" y="93975"/>
                  </a:lnTo>
                  <a:lnTo>
                    <a:pt x="79034" y="93975"/>
                  </a:lnTo>
                  <a:lnTo>
                    <a:pt x="79034" y="92530"/>
                  </a:lnTo>
                  <a:lnTo>
                    <a:pt x="80275" y="93975"/>
                  </a:lnTo>
                  <a:lnTo>
                    <a:pt x="80275" y="96144"/>
                  </a:lnTo>
                  <a:lnTo>
                    <a:pt x="79034" y="97590"/>
                  </a:lnTo>
                  <a:lnTo>
                    <a:pt x="78206" y="97590"/>
                  </a:lnTo>
                  <a:lnTo>
                    <a:pt x="77379" y="97590"/>
                  </a:lnTo>
                  <a:lnTo>
                    <a:pt x="74482" y="101204"/>
                  </a:lnTo>
                  <a:lnTo>
                    <a:pt x="72413" y="102650"/>
                  </a:lnTo>
                  <a:lnTo>
                    <a:pt x="73241" y="104096"/>
                  </a:lnTo>
                  <a:lnTo>
                    <a:pt x="73241" y="104096"/>
                  </a:lnTo>
                  <a:lnTo>
                    <a:pt x="74482" y="104096"/>
                  </a:lnTo>
                  <a:lnTo>
                    <a:pt x="75310" y="104096"/>
                  </a:lnTo>
                  <a:lnTo>
                    <a:pt x="77379" y="106265"/>
                  </a:lnTo>
                  <a:lnTo>
                    <a:pt x="78206" y="106265"/>
                  </a:lnTo>
                  <a:lnTo>
                    <a:pt x="79034" y="106265"/>
                  </a:lnTo>
                  <a:lnTo>
                    <a:pt x="80275" y="107710"/>
                  </a:lnTo>
                  <a:lnTo>
                    <a:pt x="81103" y="111325"/>
                  </a:lnTo>
                  <a:lnTo>
                    <a:pt x="81103" y="111325"/>
                  </a:lnTo>
                  <a:lnTo>
                    <a:pt x="80275" y="114939"/>
                  </a:lnTo>
                  <a:lnTo>
                    <a:pt x="80275" y="116385"/>
                  </a:lnTo>
                  <a:lnTo>
                    <a:pt x="80275" y="116385"/>
                  </a:lnTo>
                  <a:lnTo>
                    <a:pt x="80275" y="116385"/>
                  </a:lnTo>
                  <a:lnTo>
                    <a:pt x="81103" y="119999"/>
                  </a:lnTo>
                  <a:lnTo>
                    <a:pt x="81931" y="119999"/>
                  </a:lnTo>
                  <a:lnTo>
                    <a:pt x="83172" y="119999"/>
                  </a:lnTo>
                  <a:lnTo>
                    <a:pt x="84000" y="119999"/>
                  </a:lnTo>
                  <a:lnTo>
                    <a:pt x="86068" y="117831"/>
                  </a:lnTo>
                  <a:lnTo>
                    <a:pt x="86896" y="114939"/>
                  </a:lnTo>
                  <a:lnTo>
                    <a:pt x="88965" y="112771"/>
                  </a:lnTo>
                  <a:lnTo>
                    <a:pt x="89793" y="112771"/>
                  </a:lnTo>
                  <a:lnTo>
                    <a:pt x="91034" y="112771"/>
                  </a:lnTo>
                  <a:lnTo>
                    <a:pt x="91862" y="112771"/>
                  </a:lnTo>
                  <a:lnTo>
                    <a:pt x="92689" y="111325"/>
                  </a:lnTo>
                  <a:lnTo>
                    <a:pt x="93931" y="107710"/>
                  </a:lnTo>
                  <a:lnTo>
                    <a:pt x="93931" y="107710"/>
                  </a:lnTo>
                  <a:lnTo>
                    <a:pt x="94758" y="107710"/>
                  </a:lnTo>
                  <a:lnTo>
                    <a:pt x="95586" y="107710"/>
                  </a:lnTo>
                  <a:lnTo>
                    <a:pt x="95586" y="109879"/>
                  </a:lnTo>
                  <a:lnTo>
                    <a:pt x="96827" y="109879"/>
                  </a:lnTo>
                  <a:lnTo>
                    <a:pt x="97655" y="109879"/>
                  </a:lnTo>
                  <a:lnTo>
                    <a:pt x="98482" y="109879"/>
                  </a:lnTo>
                  <a:lnTo>
                    <a:pt x="99724" y="107710"/>
                  </a:lnTo>
                  <a:lnTo>
                    <a:pt x="99724" y="107710"/>
                  </a:lnTo>
                  <a:lnTo>
                    <a:pt x="99724" y="106265"/>
                  </a:lnTo>
                  <a:lnTo>
                    <a:pt x="100551" y="104096"/>
                  </a:lnTo>
                  <a:lnTo>
                    <a:pt x="100551" y="102650"/>
                  </a:lnTo>
                  <a:lnTo>
                    <a:pt x="99724" y="102650"/>
                  </a:lnTo>
                  <a:lnTo>
                    <a:pt x="98482" y="102650"/>
                  </a:lnTo>
                  <a:lnTo>
                    <a:pt x="97655" y="102650"/>
                  </a:lnTo>
                  <a:lnTo>
                    <a:pt x="97655" y="102650"/>
                  </a:lnTo>
                  <a:lnTo>
                    <a:pt x="96827" y="104096"/>
                  </a:lnTo>
                  <a:lnTo>
                    <a:pt x="95586" y="102650"/>
                  </a:lnTo>
                  <a:lnTo>
                    <a:pt x="94758" y="104096"/>
                  </a:lnTo>
                  <a:lnTo>
                    <a:pt x="93931" y="104096"/>
                  </a:lnTo>
                  <a:lnTo>
                    <a:pt x="92689" y="104096"/>
                  </a:lnTo>
                  <a:lnTo>
                    <a:pt x="92689" y="104096"/>
                  </a:lnTo>
                  <a:lnTo>
                    <a:pt x="91862" y="102650"/>
                  </a:lnTo>
                  <a:lnTo>
                    <a:pt x="89793" y="99036"/>
                  </a:lnTo>
                  <a:lnTo>
                    <a:pt x="88965" y="96144"/>
                  </a:lnTo>
                  <a:lnTo>
                    <a:pt x="88137" y="93975"/>
                  </a:lnTo>
                  <a:lnTo>
                    <a:pt x="88137" y="93975"/>
                  </a:lnTo>
                  <a:lnTo>
                    <a:pt x="88137" y="92530"/>
                  </a:lnTo>
                  <a:lnTo>
                    <a:pt x="88965" y="91084"/>
                  </a:lnTo>
                  <a:lnTo>
                    <a:pt x="89793" y="91084"/>
                  </a:lnTo>
                  <a:lnTo>
                    <a:pt x="91034" y="87469"/>
                  </a:lnTo>
                  <a:lnTo>
                    <a:pt x="91034" y="88915"/>
                  </a:lnTo>
                  <a:lnTo>
                    <a:pt x="91034" y="88915"/>
                  </a:lnTo>
                  <a:lnTo>
                    <a:pt x="91034" y="91084"/>
                  </a:lnTo>
                  <a:lnTo>
                    <a:pt x="91034" y="91084"/>
                  </a:lnTo>
                  <a:lnTo>
                    <a:pt x="88965" y="92530"/>
                  </a:lnTo>
                  <a:lnTo>
                    <a:pt x="89793" y="92530"/>
                  </a:lnTo>
                  <a:lnTo>
                    <a:pt x="89793" y="92530"/>
                  </a:lnTo>
                  <a:lnTo>
                    <a:pt x="91034" y="92530"/>
                  </a:lnTo>
                  <a:lnTo>
                    <a:pt x="91034" y="91084"/>
                  </a:lnTo>
                  <a:lnTo>
                    <a:pt x="91862" y="88915"/>
                  </a:lnTo>
                  <a:lnTo>
                    <a:pt x="94758" y="85301"/>
                  </a:lnTo>
                  <a:lnTo>
                    <a:pt x="95586" y="83855"/>
                  </a:lnTo>
                  <a:lnTo>
                    <a:pt x="96827" y="85301"/>
                  </a:lnTo>
                  <a:lnTo>
                    <a:pt x="97655" y="83855"/>
                  </a:lnTo>
                  <a:lnTo>
                    <a:pt x="98482" y="83855"/>
                  </a:lnTo>
                  <a:lnTo>
                    <a:pt x="98482" y="83855"/>
                  </a:lnTo>
                  <a:lnTo>
                    <a:pt x="99724" y="83855"/>
                  </a:lnTo>
                  <a:lnTo>
                    <a:pt x="100551" y="83855"/>
                  </a:lnTo>
                  <a:lnTo>
                    <a:pt x="101793" y="82409"/>
                  </a:lnTo>
                  <a:lnTo>
                    <a:pt x="102620" y="82409"/>
                  </a:lnTo>
                  <a:lnTo>
                    <a:pt x="103448" y="80240"/>
                  </a:lnTo>
                  <a:lnTo>
                    <a:pt x="104689" y="80240"/>
                  </a:lnTo>
                  <a:lnTo>
                    <a:pt x="105517" y="78795"/>
                  </a:lnTo>
                  <a:lnTo>
                    <a:pt x="107586" y="78795"/>
                  </a:lnTo>
                  <a:lnTo>
                    <a:pt x="109241" y="78795"/>
                  </a:lnTo>
                  <a:lnTo>
                    <a:pt x="110482" y="78795"/>
                  </a:lnTo>
                  <a:lnTo>
                    <a:pt x="110482" y="77349"/>
                  </a:lnTo>
                  <a:lnTo>
                    <a:pt x="109241" y="77349"/>
                  </a:lnTo>
                  <a:lnTo>
                    <a:pt x="110482" y="77349"/>
                  </a:lnTo>
                  <a:lnTo>
                    <a:pt x="110482" y="75180"/>
                  </a:lnTo>
                  <a:lnTo>
                    <a:pt x="110482" y="75180"/>
                  </a:lnTo>
                  <a:lnTo>
                    <a:pt x="110482" y="75180"/>
                  </a:lnTo>
                  <a:lnTo>
                    <a:pt x="110482" y="75180"/>
                  </a:lnTo>
                  <a:lnTo>
                    <a:pt x="109241" y="75180"/>
                  </a:lnTo>
                  <a:lnTo>
                    <a:pt x="109241" y="75180"/>
                  </a:lnTo>
                  <a:lnTo>
                    <a:pt x="109241" y="73734"/>
                  </a:lnTo>
                  <a:lnTo>
                    <a:pt x="110482" y="73734"/>
                  </a:lnTo>
                  <a:lnTo>
                    <a:pt x="110482" y="73734"/>
                  </a:lnTo>
                  <a:lnTo>
                    <a:pt x="110482" y="72289"/>
                  </a:lnTo>
                  <a:lnTo>
                    <a:pt x="110482" y="72289"/>
                  </a:lnTo>
                  <a:lnTo>
                    <a:pt x="110482" y="70120"/>
                  </a:lnTo>
                  <a:lnTo>
                    <a:pt x="111310" y="70120"/>
                  </a:lnTo>
                  <a:lnTo>
                    <a:pt x="112137" y="70120"/>
                  </a:lnTo>
                  <a:lnTo>
                    <a:pt x="112137" y="68674"/>
                  </a:lnTo>
                  <a:lnTo>
                    <a:pt x="113379" y="66506"/>
                  </a:lnTo>
                  <a:lnTo>
                    <a:pt x="114206" y="66506"/>
                  </a:lnTo>
                  <a:lnTo>
                    <a:pt x="115448" y="66506"/>
                  </a:lnTo>
                  <a:lnTo>
                    <a:pt x="115448" y="66506"/>
                  </a:lnTo>
                  <a:lnTo>
                    <a:pt x="117103" y="66506"/>
                  </a:lnTo>
                  <a:lnTo>
                    <a:pt x="119172" y="66506"/>
                  </a:lnTo>
                  <a:lnTo>
                    <a:pt x="119172" y="66506"/>
                  </a:lnTo>
                  <a:lnTo>
                    <a:pt x="120000" y="66506"/>
                  </a:lnTo>
                  <a:lnTo>
                    <a:pt x="119172" y="65060"/>
                  </a:lnTo>
                  <a:lnTo>
                    <a:pt x="120000" y="63614"/>
                  </a:lnTo>
                  <a:lnTo>
                    <a:pt x="120000" y="61445"/>
                  </a:lnTo>
                  <a:lnTo>
                    <a:pt x="120000" y="61445"/>
                  </a:lnTo>
                  <a:lnTo>
                    <a:pt x="120000" y="59999"/>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63" name="Shape 363"/>
            <p:cNvSpPr/>
            <p:nvPr/>
          </p:nvSpPr>
          <p:spPr>
            <a:xfrm>
              <a:off x="4202" y="2718"/>
              <a:ext cx="0" cy="0"/>
            </a:xfrm>
            <a:custGeom>
              <a:avLst/>
              <a:gdLst/>
              <a:ahLst/>
              <a:cxnLst/>
              <a:rect l="0" t="0" r="0" b="0"/>
              <a:pathLst>
                <a:path w="120000" h="120000" extrusionOk="0">
                  <a:moveTo>
                    <a:pt x="120000" y="49000"/>
                  </a:moveTo>
                  <a:lnTo>
                    <a:pt x="120000" y="47000"/>
                  </a:lnTo>
                  <a:lnTo>
                    <a:pt x="117623" y="42000"/>
                  </a:lnTo>
                  <a:lnTo>
                    <a:pt x="117623" y="38000"/>
                  </a:lnTo>
                  <a:lnTo>
                    <a:pt x="117623" y="38000"/>
                  </a:lnTo>
                  <a:lnTo>
                    <a:pt x="117623" y="35000"/>
                  </a:lnTo>
                  <a:lnTo>
                    <a:pt x="117623" y="35000"/>
                  </a:lnTo>
                  <a:lnTo>
                    <a:pt x="117623" y="35000"/>
                  </a:lnTo>
                  <a:lnTo>
                    <a:pt x="115247" y="33000"/>
                  </a:lnTo>
                  <a:lnTo>
                    <a:pt x="115247" y="31000"/>
                  </a:lnTo>
                  <a:lnTo>
                    <a:pt x="115247" y="31000"/>
                  </a:lnTo>
                  <a:lnTo>
                    <a:pt x="111683" y="28000"/>
                  </a:lnTo>
                  <a:lnTo>
                    <a:pt x="109306" y="23000"/>
                  </a:lnTo>
                  <a:lnTo>
                    <a:pt x="109306" y="23000"/>
                  </a:lnTo>
                  <a:lnTo>
                    <a:pt x="106930" y="19000"/>
                  </a:lnTo>
                  <a:lnTo>
                    <a:pt x="106930" y="19000"/>
                  </a:lnTo>
                  <a:lnTo>
                    <a:pt x="109306" y="14000"/>
                  </a:lnTo>
                  <a:lnTo>
                    <a:pt x="106930" y="12000"/>
                  </a:lnTo>
                  <a:lnTo>
                    <a:pt x="106930" y="12000"/>
                  </a:lnTo>
                  <a:lnTo>
                    <a:pt x="103366" y="12000"/>
                  </a:lnTo>
                  <a:lnTo>
                    <a:pt x="100990" y="9000"/>
                  </a:lnTo>
                  <a:lnTo>
                    <a:pt x="100990" y="9000"/>
                  </a:lnTo>
                  <a:lnTo>
                    <a:pt x="100990" y="7000"/>
                  </a:lnTo>
                  <a:lnTo>
                    <a:pt x="100990" y="7000"/>
                  </a:lnTo>
                  <a:lnTo>
                    <a:pt x="98613" y="0"/>
                  </a:lnTo>
                  <a:lnTo>
                    <a:pt x="92673" y="5000"/>
                  </a:lnTo>
                  <a:lnTo>
                    <a:pt x="89108" y="9000"/>
                  </a:lnTo>
                  <a:lnTo>
                    <a:pt x="86732" y="9000"/>
                  </a:lnTo>
                  <a:lnTo>
                    <a:pt x="86732" y="12000"/>
                  </a:lnTo>
                  <a:lnTo>
                    <a:pt x="84356" y="12000"/>
                  </a:lnTo>
                  <a:lnTo>
                    <a:pt x="78415" y="9000"/>
                  </a:lnTo>
                  <a:lnTo>
                    <a:pt x="76039" y="7000"/>
                  </a:lnTo>
                  <a:lnTo>
                    <a:pt x="72475" y="9000"/>
                  </a:lnTo>
                  <a:lnTo>
                    <a:pt x="70099" y="9000"/>
                  </a:lnTo>
                  <a:lnTo>
                    <a:pt x="70099" y="9000"/>
                  </a:lnTo>
                  <a:lnTo>
                    <a:pt x="64158" y="12000"/>
                  </a:lnTo>
                  <a:lnTo>
                    <a:pt x="61782" y="12000"/>
                  </a:lnTo>
                  <a:lnTo>
                    <a:pt x="59405" y="12000"/>
                  </a:lnTo>
                  <a:lnTo>
                    <a:pt x="59405" y="14000"/>
                  </a:lnTo>
                  <a:lnTo>
                    <a:pt x="55841" y="16000"/>
                  </a:lnTo>
                  <a:lnTo>
                    <a:pt x="55841" y="16000"/>
                  </a:lnTo>
                  <a:lnTo>
                    <a:pt x="55841" y="16000"/>
                  </a:lnTo>
                  <a:lnTo>
                    <a:pt x="55841" y="14000"/>
                  </a:lnTo>
                  <a:lnTo>
                    <a:pt x="53465" y="14000"/>
                  </a:lnTo>
                  <a:lnTo>
                    <a:pt x="49900" y="12000"/>
                  </a:lnTo>
                  <a:lnTo>
                    <a:pt x="49900" y="9000"/>
                  </a:lnTo>
                  <a:lnTo>
                    <a:pt x="49900" y="9000"/>
                  </a:lnTo>
                  <a:lnTo>
                    <a:pt x="45148" y="12000"/>
                  </a:lnTo>
                  <a:lnTo>
                    <a:pt x="45148" y="12000"/>
                  </a:lnTo>
                  <a:lnTo>
                    <a:pt x="41584" y="12000"/>
                  </a:lnTo>
                  <a:lnTo>
                    <a:pt x="39207" y="12000"/>
                  </a:lnTo>
                  <a:lnTo>
                    <a:pt x="36831" y="9000"/>
                  </a:lnTo>
                  <a:lnTo>
                    <a:pt x="36831" y="9000"/>
                  </a:lnTo>
                  <a:lnTo>
                    <a:pt x="33267" y="12000"/>
                  </a:lnTo>
                  <a:lnTo>
                    <a:pt x="30891" y="14000"/>
                  </a:lnTo>
                  <a:lnTo>
                    <a:pt x="28514" y="14000"/>
                  </a:lnTo>
                  <a:lnTo>
                    <a:pt x="28514" y="16000"/>
                  </a:lnTo>
                  <a:lnTo>
                    <a:pt x="30891" y="16000"/>
                  </a:lnTo>
                  <a:lnTo>
                    <a:pt x="30891" y="19000"/>
                  </a:lnTo>
                  <a:lnTo>
                    <a:pt x="28514" y="19000"/>
                  </a:lnTo>
                  <a:lnTo>
                    <a:pt x="28514" y="21000"/>
                  </a:lnTo>
                  <a:lnTo>
                    <a:pt x="28514" y="23000"/>
                  </a:lnTo>
                  <a:lnTo>
                    <a:pt x="24950" y="26000"/>
                  </a:lnTo>
                  <a:lnTo>
                    <a:pt x="28514" y="26000"/>
                  </a:lnTo>
                  <a:lnTo>
                    <a:pt x="28514" y="28000"/>
                  </a:lnTo>
                  <a:lnTo>
                    <a:pt x="28514" y="28000"/>
                  </a:lnTo>
                  <a:lnTo>
                    <a:pt x="28514" y="28000"/>
                  </a:lnTo>
                  <a:lnTo>
                    <a:pt x="28514" y="31000"/>
                  </a:lnTo>
                  <a:lnTo>
                    <a:pt x="28514" y="33000"/>
                  </a:lnTo>
                  <a:lnTo>
                    <a:pt x="24950" y="35000"/>
                  </a:lnTo>
                  <a:lnTo>
                    <a:pt x="24950" y="38000"/>
                  </a:lnTo>
                  <a:lnTo>
                    <a:pt x="28514" y="40000"/>
                  </a:lnTo>
                  <a:lnTo>
                    <a:pt x="30891" y="40000"/>
                  </a:lnTo>
                  <a:lnTo>
                    <a:pt x="30891" y="40000"/>
                  </a:lnTo>
                  <a:lnTo>
                    <a:pt x="33267" y="40000"/>
                  </a:lnTo>
                  <a:lnTo>
                    <a:pt x="33267" y="42000"/>
                  </a:lnTo>
                  <a:lnTo>
                    <a:pt x="36831" y="42000"/>
                  </a:lnTo>
                  <a:lnTo>
                    <a:pt x="36831" y="42000"/>
                  </a:lnTo>
                  <a:lnTo>
                    <a:pt x="36831" y="42000"/>
                  </a:lnTo>
                  <a:lnTo>
                    <a:pt x="36831" y="42000"/>
                  </a:lnTo>
                  <a:lnTo>
                    <a:pt x="39207" y="45000"/>
                  </a:lnTo>
                  <a:lnTo>
                    <a:pt x="36831" y="45000"/>
                  </a:lnTo>
                  <a:lnTo>
                    <a:pt x="36831" y="47000"/>
                  </a:lnTo>
                  <a:lnTo>
                    <a:pt x="36831" y="49000"/>
                  </a:lnTo>
                  <a:lnTo>
                    <a:pt x="30891" y="54000"/>
                  </a:lnTo>
                  <a:lnTo>
                    <a:pt x="20198" y="64000"/>
                  </a:lnTo>
                  <a:lnTo>
                    <a:pt x="20198" y="64000"/>
                  </a:lnTo>
                  <a:lnTo>
                    <a:pt x="16633" y="64000"/>
                  </a:lnTo>
                  <a:lnTo>
                    <a:pt x="14257" y="66000"/>
                  </a:lnTo>
                  <a:lnTo>
                    <a:pt x="14257" y="68000"/>
                  </a:lnTo>
                  <a:lnTo>
                    <a:pt x="10693" y="71000"/>
                  </a:lnTo>
                  <a:lnTo>
                    <a:pt x="8316" y="73000"/>
                  </a:lnTo>
                  <a:lnTo>
                    <a:pt x="8316" y="73000"/>
                  </a:lnTo>
                  <a:lnTo>
                    <a:pt x="8316" y="75000"/>
                  </a:lnTo>
                  <a:lnTo>
                    <a:pt x="8316" y="80000"/>
                  </a:lnTo>
                  <a:lnTo>
                    <a:pt x="8316" y="80000"/>
                  </a:lnTo>
                  <a:lnTo>
                    <a:pt x="5940" y="85000"/>
                  </a:lnTo>
                  <a:lnTo>
                    <a:pt x="5940" y="87000"/>
                  </a:lnTo>
                  <a:lnTo>
                    <a:pt x="5940" y="87000"/>
                  </a:lnTo>
                  <a:lnTo>
                    <a:pt x="2376" y="87000"/>
                  </a:lnTo>
                  <a:lnTo>
                    <a:pt x="2376" y="92000"/>
                  </a:lnTo>
                  <a:lnTo>
                    <a:pt x="2376" y="92000"/>
                  </a:lnTo>
                  <a:lnTo>
                    <a:pt x="2376" y="99000"/>
                  </a:lnTo>
                  <a:lnTo>
                    <a:pt x="2376" y="101000"/>
                  </a:lnTo>
                  <a:lnTo>
                    <a:pt x="2376" y="104000"/>
                  </a:lnTo>
                  <a:lnTo>
                    <a:pt x="0" y="106000"/>
                  </a:lnTo>
                  <a:lnTo>
                    <a:pt x="0" y="109000"/>
                  </a:lnTo>
                  <a:lnTo>
                    <a:pt x="0" y="111000"/>
                  </a:lnTo>
                  <a:lnTo>
                    <a:pt x="0" y="113000"/>
                  </a:lnTo>
                  <a:lnTo>
                    <a:pt x="0" y="118000"/>
                  </a:lnTo>
                  <a:lnTo>
                    <a:pt x="0" y="118000"/>
                  </a:lnTo>
                  <a:lnTo>
                    <a:pt x="2376" y="118000"/>
                  </a:lnTo>
                  <a:lnTo>
                    <a:pt x="5940" y="118000"/>
                  </a:lnTo>
                  <a:lnTo>
                    <a:pt x="5940" y="118000"/>
                  </a:lnTo>
                  <a:lnTo>
                    <a:pt x="8316" y="120000"/>
                  </a:lnTo>
                  <a:lnTo>
                    <a:pt x="8316" y="120000"/>
                  </a:lnTo>
                  <a:lnTo>
                    <a:pt x="8316" y="120000"/>
                  </a:lnTo>
                  <a:lnTo>
                    <a:pt x="10693" y="120000"/>
                  </a:lnTo>
                  <a:lnTo>
                    <a:pt x="10693" y="118000"/>
                  </a:lnTo>
                  <a:lnTo>
                    <a:pt x="14257" y="118000"/>
                  </a:lnTo>
                  <a:lnTo>
                    <a:pt x="14257" y="116000"/>
                  </a:lnTo>
                  <a:lnTo>
                    <a:pt x="16633" y="116000"/>
                  </a:lnTo>
                  <a:lnTo>
                    <a:pt x="16633" y="113000"/>
                  </a:lnTo>
                  <a:lnTo>
                    <a:pt x="16633" y="113000"/>
                  </a:lnTo>
                  <a:lnTo>
                    <a:pt x="20198" y="113000"/>
                  </a:lnTo>
                  <a:lnTo>
                    <a:pt x="20198" y="113000"/>
                  </a:lnTo>
                  <a:lnTo>
                    <a:pt x="22574" y="113000"/>
                  </a:lnTo>
                  <a:lnTo>
                    <a:pt x="22574" y="113000"/>
                  </a:lnTo>
                  <a:lnTo>
                    <a:pt x="22574" y="113000"/>
                  </a:lnTo>
                  <a:lnTo>
                    <a:pt x="24950" y="111000"/>
                  </a:lnTo>
                  <a:lnTo>
                    <a:pt x="24950" y="111000"/>
                  </a:lnTo>
                  <a:lnTo>
                    <a:pt x="28514" y="111000"/>
                  </a:lnTo>
                  <a:lnTo>
                    <a:pt x="28514" y="111000"/>
                  </a:lnTo>
                  <a:lnTo>
                    <a:pt x="28514" y="111000"/>
                  </a:lnTo>
                  <a:lnTo>
                    <a:pt x="95049" y="111000"/>
                  </a:lnTo>
                  <a:lnTo>
                    <a:pt x="95049" y="106000"/>
                  </a:lnTo>
                  <a:lnTo>
                    <a:pt x="98613" y="99000"/>
                  </a:lnTo>
                  <a:lnTo>
                    <a:pt x="98613" y="90000"/>
                  </a:lnTo>
                  <a:lnTo>
                    <a:pt x="98613" y="85000"/>
                  </a:lnTo>
                  <a:lnTo>
                    <a:pt x="98613" y="83000"/>
                  </a:lnTo>
                  <a:lnTo>
                    <a:pt x="100990" y="83000"/>
                  </a:lnTo>
                  <a:lnTo>
                    <a:pt x="100990" y="80000"/>
                  </a:lnTo>
                  <a:lnTo>
                    <a:pt x="100990" y="78000"/>
                  </a:lnTo>
                  <a:lnTo>
                    <a:pt x="103366" y="75000"/>
                  </a:lnTo>
                  <a:lnTo>
                    <a:pt x="103366" y="75000"/>
                  </a:lnTo>
                  <a:lnTo>
                    <a:pt x="106930" y="71000"/>
                  </a:lnTo>
                  <a:lnTo>
                    <a:pt x="109306" y="68000"/>
                  </a:lnTo>
                  <a:lnTo>
                    <a:pt x="109306" y="66000"/>
                  </a:lnTo>
                  <a:lnTo>
                    <a:pt x="111683" y="66000"/>
                  </a:lnTo>
                  <a:lnTo>
                    <a:pt x="111683" y="64000"/>
                  </a:lnTo>
                  <a:lnTo>
                    <a:pt x="115247" y="64000"/>
                  </a:lnTo>
                  <a:lnTo>
                    <a:pt x="115247" y="64000"/>
                  </a:lnTo>
                  <a:lnTo>
                    <a:pt x="115247" y="64000"/>
                  </a:lnTo>
                  <a:lnTo>
                    <a:pt x="115247" y="64000"/>
                  </a:lnTo>
                  <a:lnTo>
                    <a:pt x="115247" y="61000"/>
                  </a:lnTo>
                  <a:lnTo>
                    <a:pt x="117623" y="59000"/>
                  </a:lnTo>
                  <a:lnTo>
                    <a:pt x="117623" y="59000"/>
                  </a:lnTo>
                  <a:lnTo>
                    <a:pt x="117623" y="57000"/>
                  </a:lnTo>
                  <a:lnTo>
                    <a:pt x="120000" y="57000"/>
                  </a:lnTo>
                  <a:lnTo>
                    <a:pt x="120000" y="54000"/>
                  </a:lnTo>
                  <a:lnTo>
                    <a:pt x="120000" y="54000"/>
                  </a:lnTo>
                  <a:lnTo>
                    <a:pt x="120000" y="52000"/>
                  </a:lnTo>
                  <a:lnTo>
                    <a:pt x="120000" y="4900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64" name="Shape 364"/>
            <p:cNvSpPr/>
            <p:nvPr/>
          </p:nvSpPr>
          <p:spPr>
            <a:xfrm>
              <a:off x="4563" y="1907"/>
              <a:ext cx="300" cy="300"/>
            </a:xfrm>
            <a:custGeom>
              <a:avLst/>
              <a:gdLst/>
              <a:ahLst/>
              <a:cxnLst/>
              <a:rect l="0" t="0" r="0" b="0"/>
              <a:pathLst>
                <a:path w="120000" h="120000" extrusionOk="0">
                  <a:moveTo>
                    <a:pt x="8803" y="56962"/>
                  </a:moveTo>
                  <a:lnTo>
                    <a:pt x="8803" y="55443"/>
                  </a:lnTo>
                  <a:lnTo>
                    <a:pt x="8803" y="55443"/>
                  </a:lnTo>
                  <a:lnTo>
                    <a:pt x="8803" y="56962"/>
                  </a:lnTo>
                  <a:lnTo>
                    <a:pt x="8803" y="59240"/>
                  </a:lnTo>
                  <a:lnTo>
                    <a:pt x="9729" y="60759"/>
                  </a:lnTo>
                  <a:lnTo>
                    <a:pt x="9729" y="60759"/>
                  </a:lnTo>
                  <a:lnTo>
                    <a:pt x="8803" y="56962"/>
                  </a:lnTo>
                  <a:close/>
                  <a:moveTo>
                    <a:pt x="119073" y="82784"/>
                  </a:moveTo>
                  <a:lnTo>
                    <a:pt x="119073" y="80506"/>
                  </a:lnTo>
                  <a:lnTo>
                    <a:pt x="119073" y="76708"/>
                  </a:lnTo>
                  <a:lnTo>
                    <a:pt x="119073" y="75189"/>
                  </a:lnTo>
                  <a:lnTo>
                    <a:pt x="119073" y="75189"/>
                  </a:lnTo>
                  <a:lnTo>
                    <a:pt x="119073" y="73670"/>
                  </a:lnTo>
                  <a:lnTo>
                    <a:pt x="119073" y="73670"/>
                  </a:lnTo>
                  <a:lnTo>
                    <a:pt x="116756" y="73670"/>
                  </a:lnTo>
                  <a:lnTo>
                    <a:pt x="116756" y="73670"/>
                  </a:lnTo>
                  <a:lnTo>
                    <a:pt x="115366" y="71392"/>
                  </a:lnTo>
                  <a:lnTo>
                    <a:pt x="114440" y="71392"/>
                  </a:lnTo>
                  <a:lnTo>
                    <a:pt x="114440" y="69873"/>
                  </a:lnTo>
                  <a:lnTo>
                    <a:pt x="113513" y="69873"/>
                  </a:lnTo>
                  <a:lnTo>
                    <a:pt x="112123" y="69873"/>
                  </a:lnTo>
                  <a:lnTo>
                    <a:pt x="111196" y="69873"/>
                  </a:lnTo>
                  <a:lnTo>
                    <a:pt x="111196" y="69873"/>
                  </a:lnTo>
                  <a:lnTo>
                    <a:pt x="111196" y="69873"/>
                  </a:lnTo>
                  <a:lnTo>
                    <a:pt x="110270" y="69873"/>
                  </a:lnTo>
                  <a:lnTo>
                    <a:pt x="107953" y="68354"/>
                  </a:lnTo>
                  <a:lnTo>
                    <a:pt x="105637" y="64556"/>
                  </a:lnTo>
                  <a:lnTo>
                    <a:pt x="103783" y="63037"/>
                  </a:lnTo>
                  <a:lnTo>
                    <a:pt x="101467" y="63037"/>
                  </a:lnTo>
                  <a:lnTo>
                    <a:pt x="101467" y="60759"/>
                  </a:lnTo>
                  <a:lnTo>
                    <a:pt x="100077" y="60759"/>
                  </a:lnTo>
                  <a:lnTo>
                    <a:pt x="98223" y="56962"/>
                  </a:lnTo>
                  <a:lnTo>
                    <a:pt x="96833" y="59240"/>
                  </a:lnTo>
                  <a:lnTo>
                    <a:pt x="95907" y="56962"/>
                  </a:lnTo>
                  <a:lnTo>
                    <a:pt x="93590" y="55443"/>
                  </a:lnTo>
                  <a:lnTo>
                    <a:pt x="93590" y="55443"/>
                  </a:lnTo>
                  <a:lnTo>
                    <a:pt x="91737" y="51645"/>
                  </a:lnTo>
                  <a:lnTo>
                    <a:pt x="89420" y="50126"/>
                  </a:lnTo>
                  <a:lnTo>
                    <a:pt x="87104" y="48607"/>
                  </a:lnTo>
                  <a:lnTo>
                    <a:pt x="86177" y="46329"/>
                  </a:lnTo>
                  <a:lnTo>
                    <a:pt x="83861" y="44810"/>
                  </a:lnTo>
                  <a:lnTo>
                    <a:pt x="81544" y="43291"/>
                  </a:lnTo>
                  <a:lnTo>
                    <a:pt x="81544" y="43291"/>
                  </a:lnTo>
                  <a:lnTo>
                    <a:pt x="81544" y="43291"/>
                  </a:lnTo>
                  <a:lnTo>
                    <a:pt x="80617" y="37215"/>
                  </a:lnTo>
                  <a:lnTo>
                    <a:pt x="79691" y="35696"/>
                  </a:lnTo>
                  <a:lnTo>
                    <a:pt x="78301" y="34177"/>
                  </a:lnTo>
                  <a:lnTo>
                    <a:pt x="77374" y="31898"/>
                  </a:lnTo>
                  <a:lnTo>
                    <a:pt x="76447" y="28860"/>
                  </a:lnTo>
                  <a:lnTo>
                    <a:pt x="75057" y="26582"/>
                  </a:lnTo>
                  <a:lnTo>
                    <a:pt x="75057" y="25063"/>
                  </a:lnTo>
                  <a:lnTo>
                    <a:pt x="74131" y="25063"/>
                  </a:lnTo>
                  <a:lnTo>
                    <a:pt x="73204" y="23544"/>
                  </a:lnTo>
                  <a:lnTo>
                    <a:pt x="70888" y="23544"/>
                  </a:lnTo>
                  <a:lnTo>
                    <a:pt x="70888" y="23544"/>
                  </a:lnTo>
                  <a:lnTo>
                    <a:pt x="70888" y="23544"/>
                  </a:lnTo>
                  <a:lnTo>
                    <a:pt x="70888" y="23544"/>
                  </a:lnTo>
                  <a:lnTo>
                    <a:pt x="69498" y="25063"/>
                  </a:lnTo>
                  <a:lnTo>
                    <a:pt x="69498" y="25063"/>
                  </a:lnTo>
                  <a:lnTo>
                    <a:pt x="68571" y="25063"/>
                  </a:lnTo>
                  <a:lnTo>
                    <a:pt x="68571" y="23544"/>
                  </a:lnTo>
                  <a:lnTo>
                    <a:pt x="66254" y="23544"/>
                  </a:lnTo>
                  <a:lnTo>
                    <a:pt x="66254" y="23544"/>
                  </a:lnTo>
                  <a:lnTo>
                    <a:pt x="65328" y="23544"/>
                  </a:lnTo>
                  <a:lnTo>
                    <a:pt x="63011" y="23544"/>
                  </a:lnTo>
                  <a:lnTo>
                    <a:pt x="63011" y="23544"/>
                  </a:lnTo>
                  <a:lnTo>
                    <a:pt x="61158" y="21265"/>
                  </a:lnTo>
                  <a:lnTo>
                    <a:pt x="59768" y="21265"/>
                  </a:lnTo>
                  <a:lnTo>
                    <a:pt x="59768" y="21265"/>
                  </a:lnTo>
                  <a:lnTo>
                    <a:pt x="59768" y="19746"/>
                  </a:lnTo>
                  <a:lnTo>
                    <a:pt x="59768" y="17468"/>
                  </a:lnTo>
                  <a:lnTo>
                    <a:pt x="59768" y="17468"/>
                  </a:lnTo>
                  <a:lnTo>
                    <a:pt x="59768" y="17468"/>
                  </a:lnTo>
                  <a:lnTo>
                    <a:pt x="58841" y="15949"/>
                  </a:lnTo>
                  <a:lnTo>
                    <a:pt x="58841" y="15949"/>
                  </a:lnTo>
                  <a:lnTo>
                    <a:pt x="58841" y="14430"/>
                  </a:lnTo>
                  <a:lnTo>
                    <a:pt x="59768" y="14430"/>
                  </a:lnTo>
                  <a:lnTo>
                    <a:pt x="59768" y="14430"/>
                  </a:lnTo>
                  <a:lnTo>
                    <a:pt x="59768" y="14430"/>
                  </a:lnTo>
                  <a:lnTo>
                    <a:pt x="59768" y="14430"/>
                  </a:lnTo>
                  <a:lnTo>
                    <a:pt x="58841" y="12151"/>
                  </a:lnTo>
                  <a:lnTo>
                    <a:pt x="57915" y="12151"/>
                  </a:lnTo>
                  <a:lnTo>
                    <a:pt x="57915" y="12151"/>
                  </a:lnTo>
                  <a:lnTo>
                    <a:pt x="57915" y="12151"/>
                  </a:lnTo>
                  <a:lnTo>
                    <a:pt x="57915" y="10632"/>
                  </a:lnTo>
                  <a:lnTo>
                    <a:pt x="57915" y="10632"/>
                  </a:lnTo>
                  <a:lnTo>
                    <a:pt x="57915" y="9113"/>
                  </a:lnTo>
                  <a:lnTo>
                    <a:pt x="57915" y="9113"/>
                  </a:lnTo>
                  <a:lnTo>
                    <a:pt x="57915" y="9113"/>
                  </a:lnTo>
                  <a:lnTo>
                    <a:pt x="57915" y="9113"/>
                  </a:lnTo>
                  <a:lnTo>
                    <a:pt x="56525" y="6835"/>
                  </a:lnTo>
                  <a:lnTo>
                    <a:pt x="56525" y="6835"/>
                  </a:lnTo>
                  <a:lnTo>
                    <a:pt x="55598" y="6835"/>
                  </a:lnTo>
                  <a:lnTo>
                    <a:pt x="53281" y="6835"/>
                  </a:lnTo>
                  <a:lnTo>
                    <a:pt x="52355" y="6835"/>
                  </a:lnTo>
                  <a:lnTo>
                    <a:pt x="50965" y="5316"/>
                  </a:lnTo>
                  <a:lnTo>
                    <a:pt x="50965" y="3797"/>
                  </a:lnTo>
                  <a:lnTo>
                    <a:pt x="50038" y="3797"/>
                  </a:lnTo>
                  <a:lnTo>
                    <a:pt x="50038" y="3797"/>
                  </a:lnTo>
                  <a:lnTo>
                    <a:pt x="49111" y="3797"/>
                  </a:lnTo>
                  <a:lnTo>
                    <a:pt x="47722" y="3797"/>
                  </a:lnTo>
                  <a:lnTo>
                    <a:pt x="47722" y="3797"/>
                  </a:lnTo>
                  <a:lnTo>
                    <a:pt x="46795" y="1518"/>
                  </a:lnTo>
                  <a:lnTo>
                    <a:pt x="45868" y="0"/>
                  </a:lnTo>
                  <a:lnTo>
                    <a:pt x="44478" y="1518"/>
                  </a:lnTo>
                  <a:lnTo>
                    <a:pt x="44478" y="1518"/>
                  </a:lnTo>
                  <a:lnTo>
                    <a:pt x="43552" y="1518"/>
                  </a:lnTo>
                  <a:lnTo>
                    <a:pt x="42625" y="1518"/>
                  </a:lnTo>
                  <a:lnTo>
                    <a:pt x="42625" y="1518"/>
                  </a:lnTo>
                  <a:lnTo>
                    <a:pt x="42625" y="1518"/>
                  </a:lnTo>
                  <a:lnTo>
                    <a:pt x="42625" y="1518"/>
                  </a:lnTo>
                  <a:lnTo>
                    <a:pt x="42625" y="3797"/>
                  </a:lnTo>
                  <a:lnTo>
                    <a:pt x="43552" y="3797"/>
                  </a:lnTo>
                  <a:lnTo>
                    <a:pt x="44478" y="5316"/>
                  </a:lnTo>
                  <a:lnTo>
                    <a:pt x="45868" y="6835"/>
                  </a:lnTo>
                  <a:lnTo>
                    <a:pt x="45868" y="6835"/>
                  </a:lnTo>
                  <a:lnTo>
                    <a:pt x="45868" y="6835"/>
                  </a:lnTo>
                  <a:lnTo>
                    <a:pt x="45868" y="6835"/>
                  </a:lnTo>
                  <a:lnTo>
                    <a:pt x="44478" y="6835"/>
                  </a:lnTo>
                  <a:lnTo>
                    <a:pt x="44478" y="6835"/>
                  </a:lnTo>
                  <a:lnTo>
                    <a:pt x="44478" y="6835"/>
                  </a:lnTo>
                  <a:lnTo>
                    <a:pt x="44478" y="6835"/>
                  </a:lnTo>
                  <a:lnTo>
                    <a:pt x="43552" y="5316"/>
                  </a:lnTo>
                  <a:lnTo>
                    <a:pt x="43552" y="5316"/>
                  </a:lnTo>
                  <a:lnTo>
                    <a:pt x="43552" y="5316"/>
                  </a:lnTo>
                  <a:lnTo>
                    <a:pt x="42625" y="5316"/>
                  </a:lnTo>
                  <a:lnTo>
                    <a:pt x="41235" y="3797"/>
                  </a:lnTo>
                  <a:lnTo>
                    <a:pt x="41235" y="3797"/>
                  </a:lnTo>
                  <a:lnTo>
                    <a:pt x="41235" y="5316"/>
                  </a:lnTo>
                  <a:lnTo>
                    <a:pt x="41235" y="5316"/>
                  </a:lnTo>
                  <a:lnTo>
                    <a:pt x="41235" y="6835"/>
                  </a:lnTo>
                  <a:lnTo>
                    <a:pt x="40308" y="9113"/>
                  </a:lnTo>
                  <a:lnTo>
                    <a:pt x="40308" y="9113"/>
                  </a:lnTo>
                  <a:lnTo>
                    <a:pt x="38918" y="9113"/>
                  </a:lnTo>
                  <a:lnTo>
                    <a:pt x="37065" y="9113"/>
                  </a:lnTo>
                  <a:lnTo>
                    <a:pt x="35675" y="9113"/>
                  </a:lnTo>
                  <a:lnTo>
                    <a:pt x="35675" y="10632"/>
                  </a:lnTo>
                  <a:lnTo>
                    <a:pt x="35675" y="12151"/>
                  </a:lnTo>
                  <a:lnTo>
                    <a:pt x="34749" y="12151"/>
                  </a:lnTo>
                  <a:lnTo>
                    <a:pt x="34749" y="14430"/>
                  </a:lnTo>
                  <a:lnTo>
                    <a:pt x="34749" y="15949"/>
                  </a:lnTo>
                  <a:lnTo>
                    <a:pt x="35675" y="19746"/>
                  </a:lnTo>
                  <a:lnTo>
                    <a:pt x="35675" y="21265"/>
                  </a:lnTo>
                  <a:lnTo>
                    <a:pt x="37065" y="21265"/>
                  </a:lnTo>
                  <a:lnTo>
                    <a:pt x="37065" y="21265"/>
                  </a:lnTo>
                  <a:lnTo>
                    <a:pt x="37065" y="21265"/>
                  </a:lnTo>
                  <a:lnTo>
                    <a:pt x="35675" y="23544"/>
                  </a:lnTo>
                  <a:lnTo>
                    <a:pt x="35675" y="23544"/>
                  </a:lnTo>
                  <a:lnTo>
                    <a:pt x="35675" y="23544"/>
                  </a:lnTo>
                  <a:lnTo>
                    <a:pt x="34749" y="23544"/>
                  </a:lnTo>
                  <a:lnTo>
                    <a:pt x="33822" y="23544"/>
                  </a:lnTo>
                  <a:lnTo>
                    <a:pt x="31505" y="23544"/>
                  </a:lnTo>
                  <a:lnTo>
                    <a:pt x="29189" y="23544"/>
                  </a:lnTo>
                  <a:lnTo>
                    <a:pt x="27335" y="21265"/>
                  </a:lnTo>
                  <a:lnTo>
                    <a:pt x="27335" y="21265"/>
                  </a:lnTo>
                  <a:lnTo>
                    <a:pt x="25945" y="23544"/>
                  </a:lnTo>
                  <a:lnTo>
                    <a:pt x="25019" y="23544"/>
                  </a:lnTo>
                  <a:lnTo>
                    <a:pt x="24092" y="23544"/>
                  </a:lnTo>
                  <a:lnTo>
                    <a:pt x="24092" y="23544"/>
                  </a:lnTo>
                  <a:lnTo>
                    <a:pt x="24092" y="23544"/>
                  </a:lnTo>
                  <a:lnTo>
                    <a:pt x="22702" y="21265"/>
                  </a:lnTo>
                  <a:lnTo>
                    <a:pt x="22702" y="21265"/>
                  </a:lnTo>
                  <a:lnTo>
                    <a:pt x="21776" y="19746"/>
                  </a:lnTo>
                  <a:lnTo>
                    <a:pt x="20386" y="17468"/>
                  </a:lnTo>
                  <a:lnTo>
                    <a:pt x="20386" y="17468"/>
                  </a:lnTo>
                  <a:lnTo>
                    <a:pt x="18532" y="14430"/>
                  </a:lnTo>
                  <a:lnTo>
                    <a:pt x="18532" y="14430"/>
                  </a:lnTo>
                  <a:lnTo>
                    <a:pt x="18532" y="12151"/>
                  </a:lnTo>
                  <a:lnTo>
                    <a:pt x="17142" y="12151"/>
                  </a:lnTo>
                  <a:lnTo>
                    <a:pt x="16216" y="10632"/>
                  </a:lnTo>
                  <a:lnTo>
                    <a:pt x="13899" y="9113"/>
                  </a:lnTo>
                  <a:lnTo>
                    <a:pt x="12972" y="6835"/>
                  </a:lnTo>
                  <a:lnTo>
                    <a:pt x="12046" y="6835"/>
                  </a:lnTo>
                  <a:lnTo>
                    <a:pt x="10656" y="6835"/>
                  </a:lnTo>
                  <a:lnTo>
                    <a:pt x="10656" y="6835"/>
                  </a:lnTo>
                  <a:lnTo>
                    <a:pt x="9729" y="6835"/>
                  </a:lnTo>
                  <a:lnTo>
                    <a:pt x="7413" y="6835"/>
                  </a:lnTo>
                  <a:lnTo>
                    <a:pt x="6486" y="6835"/>
                  </a:lnTo>
                  <a:lnTo>
                    <a:pt x="4169" y="9113"/>
                  </a:lnTo>
                  <a:lnTo>
                    <a:pt x="3243" y="9113"/>
                  </a:lnTo>
                  <a:lnTo>
                    <a:pt x="3243" y="9113"/>
                  </a:lnTo>
                  <a:lnTo>
                    <a:pt x="1853" y="10632"/>
                  </a:lnTo>
                  <a:lnTo>
                    <a:pt x="926" y="12151"/>
                  </a:lnTo>
                  <a:lnTo>
                    <a:pt x="0" y="14430"/>
                  </a:lnTo>
                  <a:lnTo>
                    <a:pt x="926" y="19746"/>
                  </a:lnTo>
                  <a:lnTo>
                    <a:pt x="1853" y="21265"/>
                  </a:lnTo>
                  <a:lnTo>
                    <a:pt x="3243" y="23544"/>
                  </a:lnTo>
                  <a:lnTo>
                    <a:pt x="3243" y="23544"/>
                  </a:lnTo>
                  <a:lnTo>
                    <a:pt x="3243" y="23544"/>
                  </a:lnTo>
                  <a:lnTo>
                    <a:pt x="3243" y="21265"/>
                  </a:lnTo>
                  <a:lnTo>
                    <a:pt x="3243" y="17468"/>
                  </a:lnTo>
                  <a:lnTo>
                    <a:pt x="3243" y="17468"/>
                  </a:lnTo>
                  <a:lnTo>
                    <a:pt x="1853" y="15949"/>
                  </a:lnTo>
                  <a:lnTo>
                    <a:pt x="1853" y="12151"/>
                  </a:lnTo>
                  <a:lnTo>
                    <a:pt x="3243" y="12151"/>
                  </a:lnTo>
                  <a:lnTo>
                    <a:pt x="4169" y="10632"/>
                  </a:lnTo>
                  <a:lnTo>
                    <a:pt x="4169" y="10632"/>
                  </a:lnTo>
                  <a:lnTo>
                    <a:pt x="5096" y="10632"/>
                  </a:lnTo>
                  <a:lnTo>
                    <a:pt x="6486" y="9113"/>
                  </a:lnTo>
                  <a:lnTo>
                    <a:pt x="7413" y="9113"/>
                  </a:lnTo>
                  <a:lnTo>
                    <a:pt x="8803" y="9113"/>
                  </a:lnTo>
                  <a:lnTo>
                    <a:pt x="8803" y="10632"/>
                  </a:lnTo>
                  <a:lnTo>
                    <a:pt x="9729" y="10632"/>
                  </a:lnTo>
                  <a:lnTo>
                    <a:pt x="10656" y="14430"/>
                  </a:lnTo>
                  <a:lnTo>
                    <a:pt x="10656" y="15949"/>
                  </a:lnTo>
                  <a:lnTo>
                    <a:pt x="12046" y="17468"/>
                  </a:lnTo>
                  <a:lnTo>
                    <a:pt x="12972" y="19746"/>
                  </a:lnTo>
                  <a:lnTo>
                    <a:pt x="12972" y="19746"/>
                  </a:lnTo>
                  <a:lnTo>
                    <a:pt x="13899" y="21265"/>
                  </a:lnTo>
                  <a:lnTo>
                    <a:pt x="17142" y="25063"/>
                  </a:lnTo>
                  <a:lnTo>
                    <a:pt x="17142" y="25063"/>
                  </a:lnTo>
                  <a:lnTo>
                    <a:pt x="18532" y="26582"/>
                  </a:lnTo>
                  <a:lnTo>
                    <a:pt x="18532" y="26582"/>
                  </a:lnTo>
                  <a:lnTo>
                    <a:pt x="18532" y="28860"/>
                  </a:lnTo>
                  <a:lnTo>
                    <a:pt x="18532" y="28860"/>
                  </a:lnTo>
                  <a:lnTo>
                    <a:pt x="18532" y="28860"/>
                  </a:lnTo>
                  <a:lnTo>
                    <a:pt x="18532" y="28860"/>
                  </a:lnTo>
                  <a:lnTo>
                    <a:pt x="17142" y="30379"/>
                  </a:lnTo>
                  <a:lnTo>
                    <a:pt x="16216" y="28860"/>
                  </a:lnTo>
                  <a:lnTo>
                    <a:pt x="15289" y="30379"/>
                  </a:lnTo>
                  <a:lnTo>
                    <a:pt x="16216" y="30379"/>
                  </a:lnTo>
                  <a:lnTo>
                    <a:pt x="16216" y="31898"/>
                  </a:lnTo>
                  <a:lnTo>
                    <a:pt x="16216" y="31898"/>
                  </a:lnTo>
                  <a:lnTo>
                    <a:pt x="15289" y="31898"/>
                  </a:lnTo>
                  <a:lnTo>
                    <a:pt x="15289" y="31898"/>
                  </a:lnTo>
                  <a:lnTo>
                    <a:pt x="13899" y="31898"/>
                  </a:lnTo>
                  <a:lnTo>
                    <a:pt x="12046" y="31898"/>
                  </a:lnTo>
                  <a:lnTo>
                    <a:pt x="12046" y="31898"/>
                  </a:lnTo>
                  <a:lnTo>
                    <a:pt x="10656" y="30379"/>
                  </a:lnTo>
                  <a:lnTo>
                    <a:pt x="9729" y="30379"/>
                  </a:lnTo>
                  <a:lnTo>
                    <a:pt x="9729" y="30379"/>
                  </a:lnTo>
                  <a:lnTo>
                    <a:pt x="8803" y="30379"/>
                  </a:lnTo>
                  <a:lnTo>
                    <a:pt x="7413" y="30379"/>
                  </a:lnTo>
                  <a:lnTo>
                    <a:pt x="6486" y="30379"/>
                  </a:lnTo>
                  <a:lnTo>
                    <a:pt x="6486" y="30379"/>
                  </a:lnTo>
                  <a:lnTo>
                    <a:pt x="5096" y="28860"/>
                  </a:lnTo>
                  <a:lnTo>
                    <a:pt x="5096" y="28860"/>
                  </a:lnTo>
                  <a:lnTo>
                    <a:pt x="4169" y="26582"/>
                  </a:lnTo>
                  <a:lnTo>
                    <a:pt x="4169" y="28860"/>
                  </a:lnTo>
                  <a:lnTo>
                    <a:pt x="4169" y="31898"/>
                  </a:lnTo>
                  <a:lnTo>
                    <a:pt x="4169" y="34177"/>
                  </a:lnTo>
                  <a:lnTo>
                    <a:pt x="4169" y="37215"/>
                  </a:lnTo>
                  <a:lnTo>
                    <a:pt x="4169" y="39493"/>
                  </a:lnTo>
                  <a:lnTo>
                    <a:pt x="5096" y="43291"/>
                  </a:lnTo>
                  <a:lnTo>
                    <a:pt x="5096" y="43291"/>
                  </a:lnTo>
                  <a:lnTo>
                    <a:pt x="6486" y="44810"/>
                  </a:lnTo>
                  <a:lnTo>
                    <a:pt x="7413" y="44810"/>
                  </a:lnTo>
                  <a:lnTo>
                    <a:pt x="6486" y="43291"/>
                  </a:lnTo>
                  <a:lnTo>
                    <a:pt x="6486" y="41012"/>
                  </a:lnTo>
                  <a:lnTo>
                    <a:pt x="7413" y="43291"/>
                  </a:lnTo>
                  <a:lnTo>
                    <a:pt x="8803" y="43291"/>
                  </a:lnTo>
                  <a:lnTo>
                    <a:pt x="9729" y="43291"/>
                  </a:lnTo>
                  <a:lnTo>
                    <a:pt x="9729" y="43291"/>
                  </a:lnTo>
                  <a:lnTo>
                    <a:pt x="10656" y="43291"/>
                  </a:lnTo>
                  <a:lnTo>
                    <a:pt x="10656" y="44810"/>
                  </a:lnTo>
                  <a:lnTo>
                    <a:pt x="10656" y="46329"/>
                  </a:lnTo>
                  <a:lnTo>
                    <a:pt x="10656" y="46329"/>
                  </a:lnTo>
                  <a:lnTo>
                    <a:pt x="12046" y="48607"/>
                  </a:lnTo>
                  <a:lnTo>
                    <a:pt x="12046" y="48607"/>
                  </a:lnTo>
                  <a:lnTo>
                    <a:pt x="12046" y="48607"/>
                  </a:lnTo>
                  <a:lnTo>
                    <a:pt x="10656" y="48607"/>
                  </a:lnTo>
                  <a:lnTo>
                    <a:pt x="10656" y="48607"/>
                  </a:lnTo>
                  <a:lnTo>
                    <a:pt x="9729" y="48607"/>
                  </a:lnTo>
                  <a:lnTo>
                    <a:pt x="8803" y="48607"/>
                  </a:lnTo>
                  <a:lnTo>
                    <a:pt x="8803" y="50126"/>
                  </a:lnTo>
                  <a:lnTo>
                    <a:pt x="8803" y="51645"/>
                  </a:lnTo>
                  <a:lnTo>
                    <a:pt x="8803" y="53924"/>
                  </a:lnTo>
                  <a:lnTo>
                    <a:pt x="9729" y="51645"/>
                  </a:lnTo>
                  <a:lnTo>
                    <a:pt x="9729" y="51645"/>
                  </a:lnTo>
                  <a:lnTo>
                    <a:pt x="10656" y="51645"/>
                  </a:lnTo>
                  <a:lnTo>
                    <a:pt x="12046" y="53924"/>
                  </a:lnTo>
                  <a:lnTo>
                    <a:pt x="12046" y="53924"/>
                  </a:lnTo>
                  <a:lnTo>
                    <a:pt x="12972" y="53924"/>
                  </a:lnTo>
                  <a:lnTo>
                    <a:pt x="12972" y="53924"/>
                  </a:lnTo>
                  <a:lnTo>
                    <a:pt x="13899" y="55443"/>
                  </a:lnTo>
                  <a:lnTo>
                    <a:pt x="13899" y="55443"/>
                  </a:lnTo>
                  <a:lnTo>
                    <a:pt x="15289" y="56962"/>
                  </a:lnTo>
                  <a:lnTo>
                    <a:pt x="15289" y="59240"/>
                  </a:lnTo>
                  <a:lnTo>
                    <a:pt x="15289" y="59240"/>
                  </a:lnTo>
                  <a:lnTo>
                    <a:pt x="15289" y="63037"/>
                  </a:lnTo>
                  <a:lnTo>
                    <a:pt x="15289" y="64556"/>
                  </a:lnTo>
                  <a:lnTo>
                    <a:pt x="15289" y="66075"/>
                  </a:lnTo>
                  <a:lnTo>
                    <a:pt x="16216" y="68354"/>
                  </a:lnTo>
                  <a:lnTo>
                    <a:pt x="16216" y="69873"/>
                  </a:lnTo>
                  <a:lnTo>
                    <a:pt x="16216" y="73670"/>
                  </a:lnTo>
                  <a:lnTo>
                    <a:pt x="16216" y="75189"/>
                  </a:lnTo>
                  <a:lnTo>
                    <a:pt x="17142" y="78987"/>
                  </a:lnTo>
                  <a:lnTo>
                    <a:pt x="17142" y="84303"/>
                  </a:lnTo>
                  <a:lnTo>
                    <a:pt x="18532" y="84303"/>
                  </a:lnTo>
                  <a:lnTo>
                    <a:pt x="20386" y="84303"/>
                  </a:lnTo>
                  <a:lnTo>
                    <a:pt x="21776" y="84303"/>
                  </a:lnTo>
                  <a:lnTo>
                    <a:pt x="22702" y="84303"/>
                  </a:lnTo>
                  <a:lnTo>
                    <a:pt x="22702" y="82784"/>
                  </a:lnTo>
                  <a:lnTo>
                    <a:pt x="24092" y="82784"/>
                  </a:lnTo>
                  <a:lnTo>
                    <a:pt x="24092" y="82784"/>
                  </a:lnTo>
                  <a:lnTo>
                    <a:pt x="25019" y="82784"/>
                  </a:lnTo>
                  <a:lnTo>
                    <a:pt x="25019" y="78987"/>
                  </a:lnTo>
                  <a:lnTo>
                    <a:pt x="25019" y="76708"/>
                  </a:lnTo>
                  <a:lnTo>
                    <a:pt x="25945" y="75189"/>
                  </a:lnTo>
                  <a:lnTo>
                    <a:pt x="27335" y="73670"/>
                  </a:lnTo>
                  <a:lnTo>
                    <a:pt x="28262" y="73670"/>
                  </a:lnTo>
                  <a:lnTo>
                    <a:pt x="30579" y="71392"/>
                  </a:lnTo>
                  <a:lnTo>
                    <a:pt x="32432" y="71392"/>
                  </a:lnTo>
                  <a:lnTo>
                    <a:pt x="33822" y="73670"/>
                  </a:lnTo>
                  <a:lnTo>
                    <a:pt x="34749" y="73670"/>
                  </a:lnTo>
                  <a:lnTo>
                    <a:pt x="35675" y="73670"/>
                  </a:lnTo>
                  <a:lnTo>
                    <a:pt x="35675" y="73670"/>
                  </a:lnTo>
                  <a:lnTo>
                    <a:pt x="35675" y="71392"/>
                  </a:lnTo>
                  <a:lnTo>
                    <a:pt x="35675" y="71392"/>
                  </a:lnTo>
                  <a:lnTo>
                    <a:pt x="35675" y="69873"/>
                  </a:lnTo>
                  <a:lnTo>
                    <a:pt x="37065" y="69873"/>
                  </a:lnTo>
                  <a:lnTo>
                    <a:pt x="37992" y="69873"/>
                  </a:lnTo>
                  <a:lnTo>
                    <a:pt x="38918" y="69873"/>
                  </a:lnTo>
                  <a:lnTo>
                    <a:pt x="38918" y="69873"/>
                  </a:lnTo>
                  <a:lnTo>
                    <a:pt x="40308" y="69873"/>
                  </a:lnTo>
                  <a:lnTo>
                    <a:pt x="42625" y="69873"/>
                  </a:lnTo>
                  <a:lnTo>
                    <a:pt x="42625" y="69873"/>
                  </a:lnTo>
                  <a:lnTo>
                    <a:pt x="43552" y="71392"/>
                  </a:lnTo>
                  <a:lnTo>
                    <a:pt x="43552" y="71392"/>
                  </a:lnTo>
                  <a:lnTo>
                    <a:pt x="44478" y="71392"/>
                  </a:lnTo>
                  <a:lnTo>
                    <a:pt x="44478" y="73670"/>
                  </a:lnTo>
                  <a:lnTo>
                    <a:pt x="44478" y="73670"/>
                  </a:lnTo>
                  <a:lnTo>
                    <a:pt x="44478" y="75189"/>
                  </a:lnTo>
                  <a:lnTo>
                    <a:pt x="45868" y="75189"/>
                  </a:lnTo>
                  <a:lnTo>
                    <a:pt x="45868" y="75189"/>
                  </a:lnTo>
                  <a:lnTo>
                    <a:pt x="47722" y="75189"/>
                  </a:lnTo>
                  <a:lnTo>
                    <a:pt x="49111" y="76708"/>
                  </a:lnTo>
                  <a:lnTo>
                    <a:pt x="50038" y="76708"/>
                  </a:lnTo>
                  <a:lnTo>
                    <a:pt x="50965" y="76708"/>
                  </a:lnTo>
                  <a:lnTo>
                    <a:pt x="52355" y="78987"/>
                  </a:lnTo>
                  <a:lnTo>
                    <a:pt x="53281" y="78987"/>
                  </a:lnTo>
                  <a:lnTo>
                    <a:pt x="53281" y="80506"/>
                  </a:lnTo>
                  <a:lnTo>
                    <a:pt x="54208" y="80506"/>
                  </a:lnTo>
                  <a:lnTo>
                    <a:pt x="54208" y="78987"/>
                  </a:lnTo>
                  <a:lnTo>
                    <a:pt x="55598" y="78987"/>
                  </a:lnTo>
                  <a:lnTo>
                    <a:pt x="55598" y="78987"/>
                  </a:lnTo>
                  <a:lnTo>
                    <a:pt x="56525" y="78987"/>
                  </a:lnTo>
                  <a:lnTo>
                    <a:pt x="57915" y="78987"/>
                  </a:lnTo>
                  <a:lnTo>
                    <a:pt x="61158" y="82784"/>
                  </a:lnTo>
                  <a:lnTo>
                    <a:pt x="61158" y="82784"/>
                  </a:lnTo>
                  <a:lnTo>
                    <a:pt x="61158" y="82784"/>
                  </a:lnTo>
                  <a:lnTo>
                    <a:pt x="61158" y="82784"/>
                  </a:lnTo>
                  <a:lnTo>
                    <a:pt x="62084" y="82784"/>
                  </a:lnTo>
                  <a:lnTo>
                    <a:pt x="62084" y="84303"/>
                  </a:lnTo>
                  <a:lnTo>
                    <a:pt x="63011" y="85822"/>
                  </a:lnTo>
                  <a:lnTo>
                    <a:pt x="64401" y="88101"/>
                  </a:lnTo>
                  <a:lnTo>
                    <a:pt x="65328" y="88101"/>
                  </a:lnTo>
                  <a:lnTo>
                    <a:pt x="67644" y="89620"/>
                  </a:lnTo>
                  <a:lnTo>
                    <a:pt x="68571" y="91139"/>
                  </a:lnTo>
                  <a:lnTo>
                    <a:pt x="69498" y="93417"/>
                  </a:lnTo>
                  <a:lnTo>
                    <a:pt x="70888" y="96455"/>
                  </a:lnTo>
                  <a:lnTo>
                    <a:pt x="70888" y="96455"/>
                  </a:lnTo>
                  <a:lnTo>
                    <a:pt x="74131" y="96455"/>
                  </a:lnTo>
                  <a:lnTo>
                    <a:pt x="77374" y="96455"/>
                  </a:lnTo>
                  <a:lnTo>
                    <a:pt x="77374" y="96455"/>
                  </a:lnTo>
                  <a:lnTo>
                    <a:pt x="78301" y="100253"/>
                  </a:lnTo>
                  <a:lnTo>
                    <a:pt x="78301" y="102531"/>
                  </a:lnTo>
                  <a:lnTo>
                    <a:pt x="78301" y="104050"/>
                  </a:lnTo>
                  <a:lnTo>
                    <a:pt x="78301" y="105569"/>
                  </a:lnTo>
                  <a:lnTo>
                    <a:pt x="78301" y="105569"/>
                  </a:lnTo>
                  <a:lnTo>
                    <a:pt x="78301" y="105569"/>
                  </a:lnTo>
                  <a:lnTo>
                    <a:pt x="78301" y="107848"/>
                  </a:lnTo>
                  <a:lnTo>
                    <a:pt x="79691" y="107848"/>
                  </a:lnTo>
                  <a:lnTo>
                    <a:pt x="79691" y="109367"/>
                  </a:lnTo>
                  <a:lnTo>
                    <a:pt x="79691" y="110886"/>
                  </a:lnTo>
                  <a:lnTo>
                    <a:pt x="79691" y="110886"/>
                  </a:lnTo>
                  <a:lnTo>
                    <a:pt x="79691" y="113164"/>
                  </a:lnTo>
                  <a:lnTo>
                    <a:pt x="80617" y="113164"/>
                  </a:lnTo>
                  <a:lnTo>
                    <a:pt x="80617" y="113164"/>
                  </a:lnTo>
                  <a:lnTo>
                    <a:pt x="80617" y="113164"/>
                  </a:lnTo>
                  <a:lnTo>
                    <a:pt x="81544" y="114683"/>
                  </a:lnTo>
                  <a:lnTo>
                    <a:pt x="82934" y="114683"/>
                  </a:lnTo>
                  <a:lnTo>
                    <a:pt x="83861" y="116202"/>
                  </a:lnTo>
                  <a:lnTo>
                    <a:pt x="83861" y="116202"/>
                  </a:lnTo>
                  <a:lnTo>
                    <a:pt x="84787" y="116202"/>
                  </a:lnTo>
                  <a:lnTo>
                    <a:pt x="86177" y="114683"/>
                  </a:lnTo>
                  <a:lnTo>
                    <a:pt x="86177" y="116202"/>
                  </a:lnTo>
                  <a:lnTo>
                    <a:pt x="87104" y="116202"/>
                  </a:lnTo>
                  <a:lnTo>
                    <a:pt x="88494" y="118481"/>
                  </a:lnTo>
                  <a:lnTo>
                    <a:pt x="88494" y="118481"/>
                  </a:lnTo>
                  <a:lnTo>
                    <a:pt x="89420" y="120000"/>
                  </a:lnTo>
                  <a:lnTo>
                    <a:pt x="89420" y="120000"/>
                  </a:lnTo>
                  <a:lnTo>
                    <a:pt x="90347" y="118481"/>
                  </a:lnTo>
                  <a:lnTo>
                    <a:pt x="90347" y="118481"/>
                  </a:lnTo>
                  <a:lnTo>
                    <a:pt x="91737" y="118481"/>
                  </a:lnTo>
                  <a:lnTo>
                    <a:pt x="91737" y="118481"/>
                  </a:lnTo>
                  <a:lnTo>
                    <a:pt x="92664" y="118481"/>
                  </a:lnTo>
                  <a:lnTo>
                    <a:pt x="92664" y="118481"/>
                  </a:lnTo>
                  <a:lnTo>
                    <a:pt x="93590" y="116202"/>
                  </a:lnTo>
                  <a:lnTo>
                    <a:pt x="94980" y="116202"/>
                  </a:lnTo>
                  <a:lnTo>
                    <a:pt x="94980" y="116202"/>
                  </a:lnTo>
                  <a:lnTo>
                    <a:pt x="94980" y="113164"/>
                  </a:lnTo>
                  <a:lnTo>
                    <a:pt x="94980" y="113164"/>
                  </a:lnTo>
                  <a:lnTo>
                    <a:pt x="95907" y="110886"/>
                  </a:lnTo>
                  <a:lnTo>
                    <a:pt x="94980" y="110886"/>
                  </a:lnTo>
                  <a:lnTo>
                    <a:pt x="94980" y="110886"/>
                  </a:lnTo>
                  <a:lnTo>
                    <a:pt x="94980" y="109367"/>
                  </a:lnTo>
                  <a:lnTo>
                    <a:pt x="94980" y="109367"/>
                  </a:lnTo>
                  <a:lnTo>
                    <a:pt x="94980" y="109367"/>
                  </a:lnTo>
                  <a:lnTo>
                    <a:pt x="95907" y="109367"/>
                  </a:lnTo>
                  <a:lnTo>
                    <a:pt x="98223" y="107848"/>
                  </a:lnTo>
                  <a:lnTo>
                    <a:pt x="99150" y="107848"/>
                  </a:lnTo>
                  <a:lnTo>
                    <a:pt x="100077" y="105569"/>
                  </a:lnTo>
                  <a:lnTo>
                    <a:pt x="101467" y="105569"/>
                  </a:lnTo>
                  <a:lnTo>
                    <a:pt x="101467" y="105569"/>
                  </a:lnTo>
                  <a:lnTo>
                    <a:pt x="102393" y="105569"/>
                  </a:lnTo>
                  <a:lnTo>
                    <a:pt x="102393" y="105569"/>
                  </a:lnTo>
                  <a:lnTo>
                    <a:pt x="102393" y="104050"/>
                  </a:lnTo>
                  <a:lnTo>
                    <a:pt x="102393" y="104050"/>
                  </a:lnTo>
                  <a:lnTo>
                    <a:pt x="104710" y="102531"/>
                  </a:lnTo>
                  <a:lnTo>
                    <a:pt x="104710" y="100253"/>
                  </a:lnTo>
                  <a:lnTo>
                    <a:pt x="105637" y="100253"/>
                  </a:lnTo>
                  <a:lnTo>
                    <a:pt x="105637" y="96455"/>
                  </a:lnTo>
                  <a:lnTo>
                    <a:pt x="105637" y="94936"/>
                  </a:lnTo>
                  <a:lnTo>
                    <a:pt x="105637" y="91139"/>
                  </a:lnTo>
                  <a:lnTo>
                    <a:pt x="105637" y="89620"/>
                  </a:lnTo>
                  <a:lnTo>
                    <a:pt x="105637" y="88101"/>
                  </a:lnTo>
                  <a:lnTo>
                    <a:pt x="107027" y="88101"/>
                  </a:lnTo>
                  <a:lnTo>
                    <a:pt x="107953" y="85822"/>
                  </a:lnTo>
                  <a:lnTo>
                    <a:pt x="110270" y="85822"/>
                  </a:lnTo>
                  <a:lnTo>
                    <a:pt x="112123" y="85822"/>
                  </a:lnTo>
                  <a:lnTo>
                    <a:pt x="112123" y="84303"/>
                  </a:lnTo>
                  <a:lnTo>
                    <a:pt x="112123" y="82784"/>
                  </a:lnTo>
                  <a:lnTo>
                    <a:pt x="112123" y="82784"/>
                  </a:lnTo>
                  <a:lnTo>
                    <a:pt x="112123" y="80506"/>
                  </a:lnTo>
                  <a:lnTo>
                    <a:pt x="113513" y="80506"/>
                  </a:lnTo>
                  <a:lnTo>
                    <a:pt x="114440" y="82784"/>
                  </a:lnTo>
                  <a:lnTo>
                    <a:pt x="115366" y="84303"/>
                  </a:lnTo>
                  <a:lnTo>
                    <a:pt x="117683" y="84303"/>
                  </a:lnTo>
                  <a:lnTo>
                    <a:pt x="119073" y="84303"/>
                  </a:lnTo>
                  <a:lnTo>
                    <a:pt x="120000" y="84303"/>
                  </a:lnTo>
                  <a:lnTo>
                    <a:pt x="119073" y="82784"/>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65" name="Shape 365"/>
            <p:cNvSpPr/>
            <p:nvPr/>
          </p:nvSpPr>
          <p:spPr>
            <a:xfrm>
              <a:off x="4108" y="1921"/>
              <a:ext cx="300" cy="0"/>
            </a:xfrm>
            <a:custGeom>
              <a:avLst/>
              <a:gdLst/>
              <a:ahLst/>
              <a:cxnLst/>
              <a:rect l="0" t="0" r="0" b="0"/>
              <a:pathLst>
                <a:path w="120000" h="120000" extrusionOk="0">
                  <a:moveTo>
                    <a:pt x="1780" y="35076"/>
                  </a:moveTo>
                  <a:lnTo>
                    <a:pt x="712" y="35076"/>
                  </a:lnTo>
                  <a:lnTo>
                    <a:pt x="0" y="36923"/>
                  </a:lnTo>
                  <a:lnTo>
                    <a:pt x="712" y="36923"/>
                  </a:lnTo>
                  <a:lnTo>
                    <a:pt x="1780" y="36923"/>
                  </a:lnTo>
                  <a:lnTo>
                    <a:pt x="2492" y="35076"/>
                  </a:lnTo>
                  <a:lnTo>
                    <a:pt x="1780" y="35076"/>
                  </a:lnTo>
                  <a:lnTo>
                    <a:pt x="1780" y="35076"/>
                  </a:lnTo>
                  <a:close/>
                  <a:moveTo>
                    <a:pt x="118931" y="91384"/>
                  </a:moveTo>
                  <a:lnTo>
                    <a:pt x="120000" y="91384"/>
                  </a:lnTo>
                  <a:lnTo>
                    <a:pt x="120000" y="91384"/>
                  </a:lnTo>
                  <a:lnTo>
                    <a:pt x="118931" y="89538"/>
                  </a:lnTo>
                  <a:lnTo>
                    <a:pt x="118219" y="89538"/>
                  </a:lnTo>
                  <a:lnTo>
                    <a:pt x="118219" y="87692"/>
                  </a:lnTo>
                  <a:lnTo>
                    <a:pt x="118219" y="87692"/>
                  </a:lnTo>
                  <a:lnTo>
                    <a:pt x="118219" y="84923"/>
                  </a:lnTo>
                  <a:lnTo>
                    <a:pt x="118219" y="84923"/>
                  </a:lnTo>
                  <a:lnTo>
                    <a:pt x="117507" y="84923"/>
                  </a:lnTo>
                  <a:lnTo>
                    <a:pt x="117507" y="83076"/>
                  </a:lnTo>
                  <a:lnTo>
                    <a:pt x="118219" y="83076"/>
                  </a:lnTo>
                  <a:lnTo>
                    <a:pt x="117507" y="83076"/>
                  </a:lnTo>
                  <a:lnTo>
                    <a:pt x="116439" y="80307"/>
                  </a:lnTo>
                  <a:lnTo>
                    <a:pt x="116439" y="78461"/>
                  </a:lnTo>
                  <a:lnTo>
                    <a:pt x="115727" y="78461"/>
                  </a:lnTo>
                  <a:lnTo>
                    <a:pt x="115727" y="78461"/>
                  </a:lnTo>
                  <a:lnTo>
                    <a:pt x="115727" y="78461"/>
                  </a:lnTo>
                  <a:lnTo>
                    <a:pt x="115727" y="76615"/>
                  </a:lnTo>
                  <a:lnTo>
                    <a:pt x="115727" y="73846"/>
                  </a:lnTo>
                  <a:lnTo>
                    <a:pt x="115727" y="73846"/>
                  </a:lnTo>
                  <a:lnTo>
                    <a:pt x="115727" y="72000"/>
                  </a:lnTo>
                  <a:lnTo>
                    <a:pt x="115727" y="72000"/>
                  </a:lnTo>
                  <a:lnTo>
                    <a:pt x="116439" y="70153"/>
                  </a:lnTo>
                  <a:lnTo>
                    <a:pt x="116439" y="70153"/>
                  </a:lnTo>
                  <a:lnTo>
                    <a:pt x="116439" y="70153"/>
                  </a:lnTo>
                  <a:lnTo>
                    <a:pt x="115727" y="70153"/>
                  </a:lnTo>
                  <a:lnTo>
                    <a:pt x="115727" y="70153"/>
                  </a:lnTo>
                  <a:lnTo>
                    <a:pt x="115727" y="70153"/>
                  </a:lnTo>
                  <a:lnTo>
                    <a:pt x="115727" y="67384"/>
                  </a:lnTo>
                  <a:lnTo>
                    <a:pt x="115727" y="65538"/>
                  </a:lnTo>
                  <a:lnTo>
                    <a:pt x="115014" y="63692"/>
                  </a:lnTo>
                  <a:lnTo>
                    <a:pt x="115014" y="63692"/>
                  </a:lnTo>
                  <a:lnTo>
                    <a:pt x="115014" y="60923"/>
                  </a:lnTo>
                  <a:lnTo>
                    <a:pt x="115014" y="59076"/>
                  </a:lnTo>
                  <a:lnTo>
                    <a:pt x="113946" y="59076"/>
                  </a:lnTo>
                  <a:lnTo>
                    <a:pt x="113946" y="56307"/>
                  </a:lnTo>
                  <a:lnTo>
                    <a:pt x="113946" y="56307"/>
                  </a:lnTo>
                  <a:lnTo>
                    <a:pt x="113946" y="56307"/>
                  </a:lnTo>
                  <a:lnTo>
                    <a:pt x="113946" y="54461"/>
                  </a:lnTo>
                  <a:lnTo>
                    <a:pt x="113946" y="54461"/>
                  </a:lnTo>
                  <a:lnTo>
                    <a:pt x="113946" y="54461"/>
                  </a:lnTo>
                  <a:lnTo>
                    <a:pt x="113234" y="52615"/>
                  </a:lnTo>
                  <a:lnTo>
                    <a:pt x="113234" y="52615"/>
                  </a:lnTo>
                  <a:lnTo>
                    <a:pt x="113234" y="49846"/>
                  </a:lnTo>
                  <a:lnTo>
                    <a:pt x="113234" y="49846"/>
                  </a:lnTo>
                  <a:lnTo>
                    <a:pt x="113234" y="49846"/>
                  </a:lnTo>
                  <a:lnTo>
                    <a:pt x="113234" y="49846"/>
                  </a:lnTo>
                  <a:lnTo>
                    <a:pt x="113234" y="49846"/>
                  </a:lnTo>
                  <a:lnTo>
                    <a:pt x="113946" y="49846"/>
                  </a:lnTo>
                  <a:lnTo>
                    <a:pt x="115014" y="49846"/>
                  </a:lnTo>
                  <a:lnTo>
                    <a:pt x="115014" y="48000"/>
                  </a:lnTo>
                  <a:lnTo>
                    <a:pt x="115014" y="43384"/>
                  </a:lnTo>
                  <a:lnTo>
                    <a:pt x="115727" y="43384"/>
                  </a:lnTo>
                  <a:lnTo>
                    <a:pt x="115727" y="41538"/>
                  </a:lnTo>
                  <a:lnTo>
                    <a:pt x="116439" y="43384"/>
                  </a:lnTo>
                  <a:lnTo>
                    <a:pt x="117507" y="43384"/>
                  </a:lnTo>
                  <a:lnTo>
                    <a:pt x="117507" y="43384"/>
                  </a:lnTo>
                  <a:lnTo>
                    <a:pt x="117507" y="43384"/>
                  </a:lnTo>
                  <a:lnTo>
                    <a:pt x="117507" y="43384"/>
                  </a:lnTo>
                  <a:lnTo>
                    <a:pt x="116439" y="43384"/>
                  </a:lnTo>
                  <a:lnTo>
                    <a:pt x="115727" y="39692"/>
                  </a:lnTo>
                  <a:lnTo>
                    <a:pt x="115014" y="36923"/>
                  </a:lnTo>
                  <a:lnTo>
                    <a:pt x="113946" y="39692"/>
                  </a:lnTo>
                  <a:lnTo>
                    <a:pt x="113234" y="39692"/>
                  </a:lnTo>
                  <a:lnTo>
                    <a:pt x="112522" y="39692"/>
                  </a:lnTo>
                  <a:lnTo>
                    <a:pt x="111454" y="39692"/>
                  </a:lnTo>
                  <a:lnTo>
                    <a:pt x="110741" y="36923"/>
                  </a:lnTo>
                  <a:lnTo>
                    <a:pt x="110029" y="36923"/>
                  </a:lnTo>
                  <a:lnTo>
                    <a:pt x="110029" y="36923"/>
                  </a:lnTo>
                  <a:lnTo>
                    <a:pt x="110029" y="36923"/>
                  </a:lnTo>
                  <a:lnTo>
                    <a:pt x="110029" y="35076"/>
                  </a:lnTo>
                  <a:lnTo>
                    <a:pt x="108961" y="32307"/>
                  </a:lnTo>
                  <a:lnTo>
                    <a:pt x="108961" y="32307"/>
                  </a:lnTo>
                  <a:lnTo>
                    <a:pt x="108961" y="30461"/>
                  </a:lnTo>
                  <a:lnTo>
                    <a:pt x="108961" y="30461"/>
                  </a:lnTo>
                  <a:lnTo>
                    <a:pt x="110029" y="28615"/>
                  </a:lnTo>
                  <a:lnTo>
                    <a:pt x="110029" y="25846"/>
                  </a:lnTo>
                  <a:lnTo>
                    <a:pt x="110029" y="25846"/>
                  </a:lnTo>
                  <a:lnTo>
                    <a:pt x="108961" y="24000"/>
                  </a:lnTo>
                  <a:lnTo>
                    <a:pt x="108961" y="22153"/>
                  </a:lnTo>
                  <a:lnTo>
                    <a:pt x="108249" y="22153"/>
                  </a:lnTo>
                  <a:lnTo>
                    <a:pt x="108249" y="19384"/>
                  </a:lnTo>
                  <a:lnTo>
                    <a:pt x="107181" y="19384"/>
                  </a:lnTo>
                  <a:lnTo>
                    <a:pt x="107181" y="17538"/>
                  </a:lnTo>
                  <a:lnTo>
                    <a:pt x="107181" y="17538"/>
                  </a:lnTo>
                  <a:lnTo>
                    <a:pt x="107181" y="17538"/>
                  </a:lnTo>
                  <a:lnTo>
                    <a:pt x="107181" y="17538"/>
                  </a:lnTo>
                  <a:lnTo>
                    <a:pt x="107181" y="17538"/>
                  </a:lnTo>
                  <a:lnTo>
                    <a:pt x="106468" y="17538"/>
                  </a:lnTo>
                  <a:lnTo>
                    <a:pt x="105756" y="15692"/>
                  </a:lnTo>
                  <a:lnTo>
                    <a:pt x="105756" y="15692"/>
                  </a:lnTo>
                  <a:lnTo>
                    <a:pt x="105756" y="15692"/>
                  </a:lnTo>
                  <a:lnTo>
                    <a:pt x="105756" y="15692"/>
                  </a:lnTo>
                  <a:lnTo>
                    <a:pt x="105756" y="15692"/>
                  </a:lnTo>
                  <a:lnTo>
                    <a:pt x="104688" y="12923"/>
                  </a:lnTo>
                  <a:lnTo>
                    <a:pt x="103976" y="11076"/>
                  </a:lnTo>
                  <a:lnTo>
                    <a:pt x="103264" y="11076"/>
                  </a:lnTo>
                  <a:lnTo>
                    <a:pt x="103264" y="8307"/>
                  </a:lnTo>
                  <a:lnTo>
                    <a:pt x="103264" y="8307"/>
                  </a:lnTo>
                  <a:lnTo>
                    <a:pt x="102195" y="8307"/>
                  </a:lnTo>
                  <a:lnTo>
                    <a:pt x="102195" y="8307"/>
                  </a:lnTo>
                  <a:lnTo>
                    <a:pt x="102195" y="8307"/>
                  </a:lnTo>
                  <a:lnTo>
                    <a:pt x="101483" y="8307"/>
                  </a:lnTo>
                  <a:lnTo>
                    <a:pt x="101483" y="11076"/>
                  </a:lnTo>
                  <a:lnTo>
                    <a:pt x="101483" y="11076"/>
                  </a:lnTo>
                  <a:lnTo>
                    <a:pt x="100771" y="11076"/>
                  </a:lnTo>
                  <a:lnTo>
                    <a:pt x="99703" y="11076"/>
                  </a:lnTo>
                  <a:lnTo>
                    <a:pt x="99703" y="11076"/>
                  </a:lnTo>
                  <a:lnTo>
                    <a:pt x="98991" y="11076"/>
                  </a:lnTo>
                  <a:lnTo>
                    <a:pt x="98278" y="11076"/>
                  </a:lnTo>
                  <a:lnTo>
                    <a:pt x="97210" y="11076"/>
                  </a:lnTo>
                  <a:lnTo>
                    <a:pt x="97210" y="11076"/>
                  </a:lnTo>
                  <a:lnTo>
                    <a:pt x="96498" y="11076"/>
                  </a:lnTo>
                  <a:lnTo>
                    <a:pt x="95430" y="11076"/>
                  </a:lnTo>
                  <a:lnTo>
                    <a:pt x="95430" y="11076"/>
                  </a:lnTo>
                  <a:lnTo>
                    <a:pt x="94718" y="12923"/>
                  </a:lnTo>
                  <a:lnTo>
                    <a:pt x="92937" y="15692"/>
                  </a:lnTo>
                  <a:lnTo>
                    <a:pt x="92225" y="15692"/>
                  </a:lnTo>
                  <a:lnTo>
                    <a:pt x="91513" y="17538"/>
                  </a:lnTo>
                  <a:lnTo>
                    <a:pt x="90445" y="17538"/>
                  </a:lnTo>
                  <a:lnTo>
                    <a:pt x="87952" y="22153"/>
                  </a:lnTo>
                  <a:lnTo>
                    <a:pt x="87240" y="22153"/>
                  </a:lnTo>
                  <a:lnTo>
                    <a:pt x="86528" y="19384"/>
                  </a:lnTo>
                  <a:lnTo>
                    <a:pt x="86528" y="22153"/>
                  </a:lnTo>
                  <a:lnTo>
                    <a:pt x="85459" y="19384"/>
                  </a:lnTo>
                  <a:lnTo>
                    <a:pt x="82967" y="17538"/>
                  </a:lnTo>
                  <a:lnTo>
                    <a:pt x="79762" y="19384"/>
                  </a:lnTo>
                  <a:lnTo>
                    <a:pt x="77982" y="22153"/>
                  </a:lnTo>
                  <a:lnTo>
                    <a:pt x="77270" y="22153"/>
                  </a:lnTo>
                  <a:lnTo>
                    <a:pt x="73709" y="19384"/>
                  </a:lnTo>
                  <a:lnTo>
                    <a:pt x="72997" y="19384"/>
                  </a:lnTo>
                  <a:lnTo>
                    <a:pt x="71216" y="17538"/>
                  </a:lnTo>
                  <a:lnTo>
                    <a:pt x="68724" y="17538"/>
                  </a:lnTo>
                  <a:lnTo>
                    <a:pt x="68011" y="15692"/>
                  </a:lnTo>
                  <a:lnTo>
                    <a:pt x="66943" y="12923"/>
                  </a:lnTo>
                  <a:lnTo>
                    <a:pt x="66231" y="12923"/>
                  </a:lnTo>
                  <a:lnTo>
                    <a:pt x="65519" y="12923"/>
                  </a:lnTo>
                  <a:lnTo>
                    <a:pt x="65519" y="15692"/>
                  </a:lnTo>
                  <a:lnTo>
                    <a:pt x="64451" y="15692"/>
                  </a:lnTo>
                  <a:lnTo>
                    <a:pt x="63738" y="12923"/>
                  </a:lnTo>
                  <a:lnTo>
                    <a:pt x="63026" y="12923"/>
                  </a:lnTo>
                  <a:lnTo>
                    <a:pt x="61958" y="6461"/>
                  </a:lnTo>
                  <a:lnTo>
                    <a:pt x="61958" y="6461"/>
                  </a:lnTo>
                  <a:lnTo>
                    <a:pt x="61246" y="6461"/>
                  </a:lnTo>
                  <a:lnTo>
                    <a:pt x="59465" y="8307"/>
                  </a:lnTo>
                  <a:lnTo>
                    <a:pt x="57685" y="6461"/>
                  </a:lnTo>
                  <a:lnTo>
                    <a:pt x="56973" y="4615"/>
                  </a:lnTo>
                  <a:lnTo>
                    <a:pt x="56261" y="1846"/>
                  </a:lnTo>
                  <a:lnTo>
                    <a:pt x="56261" y="1846"/>
                  </a:lnTo>
                  <a:lnTo>
                    <a:pt x="56261" y="1846"/>
                  </a:lnTo>
                  <a:lnTo>
                    <a:pt x="56261" y="0"/>
                  </a:lnTo>
                  <a:lnTo>
                    <a:pt x="55192" y="0"/>
                  </a:lnTo>
                  <a:lnTo>
                    <a:pt x="54480" y="1846"/>
                  </a:lnTo>
                  <a:lnTo>
                    <a:pt x="51275" y="1846"/>
                  </a:lnTo>
                  <a:lnTo>
                    <a:pt x="45934" y="0"/>
                  </a:lnTo>
                  <a:lnTo>
                    <a:pt x="45222" y="0"/>
                  </a:lnTo>
                  <a:lnTo>
                    <a:pt x="43442" y="1846"/>
                  </a:lnTo>
                  <a:lnTo>
                    <a:pt x="40949" y="4615"/>
                  </a:lnTo>
                  <a:lnTo>
                    <a:pt x="39525" y="6461"/>
                  </a:lnTo>
                  <a:lnTo>
                    <a:pt x="38456" y="8307"/>
                  </a:lnTo>
                  <a:lnTo>
                    <a:pt x="34183" y="12923"/>
                  </a:lnTo>
                  <a:lnTo>
                    <a:pt x="34183" y="17538"/>
                  </a:lnTo>
                  <a:lnTo>
                    <a:pt x="33471" y="17538"/>
                  </a:lnTo>
                  <a:lnTo>
                    <a:pt x="30979" y="17538"/>
                  </a:lnTo>
                  <a:lnTo>
                    <a:pt x="27774" y="17538"/>
                  </a:lnTo>
                  <a:lnTo>
                    <a:pt x="24925" y="17538"/>
                  </a:lnTo>
                  <a:lnTo>
                    <a:pt x="21721" y="15692"/>
                  </a:lnTo>
                  <a:lnTo>
                    <a:pt x="21008" y="15692"/>
                  </a:lnTo>
                  <a:lnTo>
                    <a:pt x="19940" y="17538"/>
                  </a:lnTo>
                  <a:lnTo>
                    <a:pt x="19940" y="17538"/>
                  </a:lnTo>
                  <a:lnTo>
                    <a:pt x="19940" y="19384"/>
                  </a:lnTo>
                  <a:lnTo>
                    <a:pt x="21008" y="22153"/>
                  </a:lnTo>
                  <a:lnTo>
                    <a:pt x="21008" y="22153"/>
                  </a:lnTo>
                  <a:lnTo>
                    <a:pt x="21721" y="24000"/>
                  </a:lnTo>
                  <a:lnTo>
                    <a:pt x="22433" y="24000"/>
                  </a:lnTo>
                  <a:lnTo>
                    <a:pt x="24925" y="24000"/>
                  </a:lnTo>
                  <a:lnTo>
                    <a:pt x="24925" y="24000"/>
                  </a:lnTo>
                  <a:lnTo>
                    <a:pt x="24925" y="25846"/>
                  </a:lnTo>
                  <a:lnTo>
                    <a:pt x="23501" y="25846"/>
                  </a:lnTo>
                  <a:lnTo>
                    <a:pt x="21008" y="25846"/>
                  </a:lnTo>
                  <a:lnTo>
                    <a:pt x="19940" y="25846"/>
                  </a:lnTo>
                  <a:lnTo>
                    <a:pt x="19228" y="28615"/>
                  </a:lnTo>
                  <a:lnTo>
                    <a:pt x="19228" y="30461"/>
                  </a:lnTo>
                  <a:lnTo>
                    <a:pt x="19228" y="30461"/>
                  </a:lnTo>
                  <a:lnTo>
                    <a:pt x="19940" y="30461"/>
                  </a:lnTo>
                  <a:lnTo>
                    <a:pt x="21008" y="30461"/>
                  </a:lnTo>
                  <a:lnTo>
                    <a:pt x="19940" y="32307"/>
                  </a:lnTo>
                  <a:lnTo>
                    <a:pt x="18516" y="32307"/>
                  </a:lnTo>
                  <a:lnTo>
                    <a:pt x="18516" y="32307"/>
                  </a:lnTo>
                  <a:lnTo>
                    <a:pt x="16023" y="30461"/>
                  </a:lnTo>
                  <a:lnTo>
                    <a:pt x="14243" y="32307"/>
                  </a:lnTo>
                  <a:lnTo>
                    <a:pt x="14243" y="32307"/>
                  </a:lnTo>
                  <a:lnTo>
                    <a:pt x="14243" y="30461"/>
                  </a:lnTo>
                  <a:lnTo>
                    <a:pt x="14243" y="30461"/>
                  </a:lnTo>
                  <a:lnTo>
                    <a:pt x="14243" y="30461"/>
                  </a:lnTo>
                  <a:lnTo>
                    <a:pt x="13175" y="30461"/>
                  </a:lnTo>
                  <a:lnTo>
                    <a:pt x="12462" y="30461"/>
                  </a:lnTo>
                  <a:lnTo>
                    <a:pt x="12462" y="30461"/>
                  </a:lnTo>
                  <a:lnTo>
                    <a:pt x="13175" y="32307"/>
                  </a:lnTo>
                  <a:lnTo>
                    <a:pt x="13175" y="32307"/>
                  </a:lnTo>
                  <a:lnTo>
                    <a:pt x="12462" y="32307"/>
                  </a:lnTo>
                  <a:lnTo>
                    <a:pt x="10682" y="32307"/>
                  </a:lnTo>
                  <a:lnTo>
                    <a:pt x="9970" y="32307"/>
                  </a:lnTo>
                  <a:lnTo>
                    <a:pt x="9970" y="30461"/>
                  </a:lnTo>
                  <a:lnTo>
                    <a:pt x="9970" y="30461"/>
                  </a:lnTo>
                  <a:lnTo>
                    <a:pt x="9258" y="30461"/>
                  </a:lnTo>
                  <a:lnTo>
                    <a:pt x="8189" y="32307"/>
                  </a:lnTo>
                  <a:lnTo>
                    <a:pt x="6765" y="32307"/>
                  </a:lnTo>
                  <a:lnTo>
                    <a:pt x="4985" y="35076"/>
                  </a:lnTo>
                  <a:lnTo>
                    <a:pt x="4272" y="39692"/>
                  </a:lnTo>
                  <a:lnTo>
                    <a:pt x="3204" y="36923"/>
                  </a:lnTo>
                  <a:lnTo>
                    <a:pt x="3204" y="39692"/>
                  </a:lnTo>
                  <a:lnTo>
                    <a:pt x="3204" y="43384"/>
                  </a:lnTo>
                  <a:lnTo>
                    <a:pt x="3204" y="46153"/>
                  </a:lnTo>
                  <a:lnTo>
                    <a:pt x="3204" y="48000"/>
                  </a:lnTo>
                  <a:lnTo>
                    <a:pt x="3204" y="48000"/>
                  </a:lnTo>
                  <a:lnTo>
                    <a:pt x="4985" y="48000"/>
                  </a:lnTo>
                  <a:lnTo>
                    <a:pt x="5697" y="48000"/>
                  </a:lnTo>
                  <a:lnTo>
                    <a:pt x="7477" y="46153"/>
                  </a:lnTo>
                  <a:lnTo>
                    <a:pt x="8189" y="46153"/>
                  </a:lnTo>
                  <a:lnTo>
                    <a:pt x="8189" y="48000"/>
                  </a:lnTo>
                  <a:lnTo>
                    <a:pt x="7477" y="48000"/>
                  </a:lnTo>
                  <a:lnTo>
                    <a:pt x="6765" y="49846"/>
                  </a:lnTo>
                  <a:lnTo>
                    <a:pt x="6765" y="52615"/>
                  </a:lnTo>
                  <a:lnTo>
                    <a:pt x="6765" y="52615"/>
                  </a:lnTo>
                  <a:lnTo>
                    <a:pt x="7477" y="54461"/>
                  </a:lnTo>
                  <a:lnTo>
                    <a:pt x="7477" y="56307"/>
                  </a:lnTo>
                  <a:lnTo>
                    <a:pt x="7477" y="56307"/>
                  </a:lnTo>
                  <a:lnTo>
                    <a:pt x="7477" y="59076"/>
                  </a:lnTo>
                  <a:lnTo>
                    <a:pt x="8189" y="59076"/>
                  </a:lnTo>
                  <a:lnTo>
                    <a:pt x="8189" y="59076"/>
                  </a:lnTo>
                  <a:lnTo>
                    <a:pt x="8189" y="59076"/>
                  </a:lnTo>
                  <a:lnTo>
                    <a:pt x="9258" y="59076"/>
                  </a:lnTo>
                  <a:lnTo>
                    <a:pt x="8189" y="60923"/>
                  </a:lnTo>
                  <a:lnTo>
                    <a:pt x="7477" y="63692"/>
                  </a:lnTo>
                  <a:lnTo>
                    <a:pt x="7477" y="63692"/>
                  </a:lnTo>
                  <a:lnTo>
                    <a:pt x="7477" y="63692"/>
                  </a:lnTo>
                  <a:lnTo>
                    <a:pt x="7477" y="65538"/>
                  </a:lnTo>
                  <a:lnTo>
                    <a:pt x="8189" y="65538"/>
                  </a:lnTo>
                  <a:lnTo>
                    <a:pt x="8189" y="67384"/>
                  </a:lnTo>
                  <a:lnTo>
                    <a:pt x="9258" y="67384"/>
                  </a:lnTo>
                  <a:lnTo>
                    <a:pt x="9970" y="67384"/>
                  </a:lnTo>
                  <a:lnTo>
                    <a:pt x="9970" y="70153"/>
                  </a:lnTo>
                  <a:lnTo>
                    <a:pt x="8189" y="70153"/>
                  </a:lnTo>
                  <a:lnTo>
                    <a:pt x="7477" y="70153"/>
                  </a:lnTo>
                  <a:lnTo>
                    <a:pt x="7477" y="67384"/>
                  </a:lnTo>
                  <a:lnTo>
                    <a:pt x="7477" y="70153"/>
                  </a:lnTo>
                  <a:lnTo>
                    <a:pt x="7477" y="70153"/>
                  </a:lnTo>
                  <a:lnTo>
                    <a:pt x="6765" y="70153"/>
                  </a:lnTo>
                  <a:lnTo>
                    <a:pt x="6765" y="67384"/>
                  </a:lnTo>
                  <a:lnTo>
                    <a:pt x="6765" y="67384"/>
                  </a:lnTo>
                  <a:lnTo>
                    <a:pt x="6765" y="65538"/>
                  </a:lnTo>
                  <a:lnTo>
                    <a:pt x="5697" y="65538"/>
                  </a:lnTo>
                  <a:lnTo>
                    <a:pt x="5697" y="63692"/>
                  </a:lnTo>
                  <a:lnTo>
                    <a:pt x="4985" y="65538"/>
                  </a:lnTo>
                  <a:lnTo>
                    <a:pt x="4985" y="65538"/>
                  </a:lnTo>
                  <a:lnTo>
                    <a:pt x="5697" y="67384"/>
                  </a:lnTo>
                  <a:lnTo>
                    <a:pt x="5697" y="70153"/>
                  </a:lnTo>
                  <a:lnTo>
                    <a:pt x="4985" y="70153"/>
                  </a:lnTo>
                  <a:lnTo>
                    <a:pt x="4985" y="72000"/>
                  </a:lnTo>
                  <a:lnTo>
                    <a:pt x="4985" y="72000"/>
                  </a:lnTo>
                  <a:lnTo>
                    <a:pt x="5697" y="72000"/>
                  </a:lnTo>
                  <a:lnTo>
                    <a:pt x="6765" y="73846"/>
                  </a:lnTo>
                  <a:lnTo>
                    <a:pt x="6765" y="73846"/>
                  </a:lnTo>
                  <a:lnTo>
                    <a:pt x="6765" y="73846"/>
                  </a:lnTo>
                  <a:lnTo>
                    <a:pt x="7477" y="72000"/>
                  </a:lnTo>
                  <a:lnTo>
                    <a:pt x="8189" y="73846"/>
                  </a:lnTo>
                  <a:lnTo>
                    <a:pt x="8189" y="76615"/>
                  </a:lnTo>
                  <a:lnTo>
                    <a:pt x="9258" y="76615"/>
                  </a:lnTo>
                  <a:lnTo>
                    <a:pt x="9970" y="76615"/>
                  </a:lnTo>
                  <a:lnTo>
                    <a:pt x="10682" y="76615"/>
                  </a:lnTo>
                  <a:lnTo>
                    <a:pt x="10682" y="78461"/>
                  </a:lnTo>
                  <a:lnTo>
                    <a:pt x="10682" y="83076"/>
                  </a:lnTo>
                  <a:lnTo>
                    <a:pt x="9970" y="83076"/>
                  </a:lnTo>
                  <a:lnTo>
                    <a:pt x="9970" y="83076"/>
                  </a:lnTo>
                  <a:lnTo>
                    <a:pt x="9970" y="84923"/>
                  </a:lnTo>
                  <a:lnTo>
                    <a:pt x="10682" y="87692"/>
                  </a:lnTo>
                  <a:lnTo>
                    <a:pt x="10682" y="89538"/>
                  </a:lnTo>
                  <a:lnTo>
                    <a:pt x="11750" y="89538"/>
                  </a:lnTo>
                  <a:lnTo>
                    <a:pt x="11750" y="89538"/>
                  </a:lnTo>
                  <a:lnTo>
                    <a:pt x="11750" y="91384"/>
                  </a:lnTo>
                  <a:lnTo>
                    <a:pt x="12462" y="91384"/>
                  </a:lnTo>
                  <a:lnTo>
                    <a:pt x="13175" y="94153"/>
                  </a:lnTo>
                  <a:lnTo>
                    <a:pt x="11750" y="94153"/>
                  </a:lnTo>
                  <a:lnTo>
                    <a:pt x="11750" y="94153"/>
                  </a:lnTo>
                  <a:lnTo>
                    <a:pt x="11750" y="96000"/>
                  </a:lnTo>
                  <a:lnTo>
                    <a:pt x="11750" y="97846"/>
                  </a:lnTo>
                  <a:lnTo>
                    <a:pt x="11750" y="97846"/>
                  </a:lnTo>
                  <a:lnTo>
                    <a:pt x="11750" y="96000"/>
                  </a:lnTo>
                  <a:lnTo>
                    <a:pt x="14243" y="96000"/>
                  </a:lnTo>
                  <a:lnTo>
                    <a:pt x="16735" y="96000"/>
                  </a:lnTo>
                  <a:lnTo>
                    <a:pt x="17448" y="96000"/>
                  </a:lnTo>
                  <a:lnTo>
                    <a:pt x="17448" y="96000"/>
                  </a:lnTo>
                  <a:lnTo>
                    <a:pt x="16735" y="97846"/>
                  </a:lnTo>
                  <a:lnTo>
                    <a:pt x="16023" y="100615"/>
                  </a:lnTo>
                  <a:lnTo>
                    <a:pt x="16023" y="100615"/>
                  </a:lnTo>
                  <a:lnTo>
                    <a:pt x="13175" y="100615"/>
                  </a:lnTo>
                  <a:lnTo>
                    <a:pt x="13175" y="102461"/>
                  </a:lnTo>
                  <a:lnTo>
                    <a:pt x="12462" y="102461"/>
                  </a:lnTo>
                  <a:lnTo>
                    <a:pt x="12462" y="102461"/>
                  </a:lnTo>
                  <a:lnTo>
                    <a:pt x="13175" y="102461"/>
                  </a:lnTo>
                  <a:lnTo>
                    <a:pt x="14243" y="102461"/>
                  </a:lnTo>
                  <a:lnTo>
                    <a:pt x="14955" y="102461"/>
                  </a:lnTo>
                  <a:lnTo>
                    <a:pt x="16735" y="102461"/>
                  </a:lnTo>
                  <a:lnTo>
                    <a:pt x="16023" y="102461"/>
                  </a:lnTo>
                  <a:lnTo>
                    <a:pt x="16023" y="104307"/>
                  </a:lnTo>
                  <a:lnTo>
                    <a:pt x="16735" y="104307"/>
                  </a:lnTo>
                  <a:lnTo>
                    <a:pt x="17448" y="102461"/>
                  </a:lnTo>
                  <a:lnTo>
                    <a:pt x="17448" y="100615"/>
                  </a:lnTo>
                  <a:lnTo>
                    <a:pt x="19228" y="100615"/>
                  </a:lnTo>
                  <a:lnTo>
                    <a:pt x="21008" y="102461"/>
                  </a:lnTo>
                  <a:lnTo>
                    <a:pt x="21008" y="102461"/>
                  </a:lnTo>
                  <a:lnTo>
                    <a:pt x="21721" y="102461"/>
                  </a:lnTo>
                  <a:lnTo>
                    <a:pt x="21721" y="102461"/>
                  </a:lnTo>
                  <a:lnTo>
                    <a:pt x="22433" y="102461"/>
                  </a:lnTo>
                  <a:lnTo>
                    <a:pt x="22433" y="104307"/>
                  </a:lnTo>
                  <a:lnTo>
                    <a:pt x="22433" y="104307"/>
                  </a:lnTo>
                  <a:lnTo>
                    <a:pt x="23501" y="107076"/>
                  </a:lnTo>
                  <a:lnTo>
                    <a:pt x="23501" y="108923"/>
                  </a:lnTo>
                  <a:lnTo>
                    <a:pt x="23501" y="111692"/>
                  </a:lnTo>
                  <a:lnTo>
                    <a:pt x="24213" y="111692"/>
                  </a:lnTo>
                  <a:lnTo>
                    <a:pt x="26706" y="113538"/>
                  </a:lnTo>
                  <a:lnTo>
                    <a:pt x="27774" y="113538"/>
                  </a:lnTo>
                  <a:lnTo>
                    <a:pt x="29198" y="111692"/>
                  </a:lnTo>
                  <a:lnTo>
                    <a:pt x="30267" y="111692"/>
                  </a:lnTo>
                  <a:lnTo>
                    <a:pt x="30267" y="111692"/>
                  </a:lnTo>
                  <a:lnTo>
                    <a:pt x="30979" y="111692"/>
                  </a:lnTo>
                  <a:lnTo>
                    <a:pt x="31691" y="111692"/>
                  </a:lnTo>
                  <a:lnTo>
                    <a:pt x="31691" y="111692"/>
                  </a:lnTo>
                  <a:lnTo>
                    <a:pt x="31691" y="107076"/>
                  </a:lnTo>
                  <a:lnTo>
                    <a:pt x="31691" y="107076"/>
                  </a:lnTo>
                  <a:lnTo>
                    <a:pt x="31691" y="100615"/>
                  </a:lnTo>
                  <a:lnTo>
                    <a:pt x="32759" y="100615"/>
                  </a:lnTo>
                  <a:lnTo>
                    <a:pt x="34183" y="100615"/>
                  </a:lnTo>
                  <a:lnTo>
                    <a:pt x="35964" y="100615"/>
                  </a:lnTo>
                  <a:lnTo>
                    <a:pt x="36676" y="100615"/>
                  </a:lnTo>
                  <a:lnTo>
                    <a:pt x="39525" y="104307"/>
                  </a:lnTo>
                  <a:lnTo>
                    <a:pt x="40949" y="107076"/>
                  </a:lnTo>
                  <a:lnTo>
                    <a:pt x="42017" y="107076"/>
                  </a:lnTo>
                  <a:lnTo>
                    <a:pt x="42729" y="111692"/>
                  </a:lnTo>
                  <a:lnTo>
                    <a:pt x="43442" y="113538"/>
                  </a:lnTo>
                  <a:lnTo>
                    <a:pt x="44510" y="115384"/>
                  </a:lnTo>
                  <a:lnTo>
                    <a:pt x="45934" y="115384"/>
                  </a:lnTo>
                  <a:lnTo>
                    <a:pt x="47002" y="115384"/>
                  </a:lnTo>
                  <a:lnTo>
                    <a:pt x="47715" y="115384"/>
                  </a:lnTo>
                  <a:lnTo>
                    <a:pt x="50207" y="113538"/>
                  </a:lnTo>
                  <a:lnTo>
                    <a:pt x="50207" y="113538"/>
                  </a:lnTo>
                  <a:lnTo>
                    <a:pt x="51988" y="113538"/>
                  </a:lnTo>
                  <a:lnTo>
                    <a:pt x="53768" y="111692"/>
                  </a:lnTo>
                  <a:lnTo>
                    <a:pt x="53768" y="108923"/>
                  </a:lnTo>
                  <a:lnTo>
                    <a:pt x="55192" y="104307"/>
                  </a:lnTo>
                  <a:lnTo>
                    <a:pt x="56973" y="100615"/>
                  </a:lnTo>
                  <a:lnTo>
                    <a:pt x="57685" y="100615"/>
                  </a:lnTo>
                  <a:lnTo>
                    <a:pt x="57685" y="100615"/>
                  </a:lnTo>
                  <a:lnTo>
                    <a:pt x="58753" y="102461"/>
                  </a:lnTo>
                  <a:lnTo>
                    <a:pt x="60178" y="104307"/>
                  </a:lnTo>
                  <a:lnTo>
                    <a:pt x="61958" y="104307"/>
                  </a:lnTo>
                  <a:lnTo>
                    <a:pt x="63026" y="104307"/>
                  </a:lnTo>
                  <a:lnTo>
                    <a:pt x="63738" y="104307"/>
                  </a:lnTo>
                  <a:lnTo>
                    <a:pt x="63738" y="102461"/>
                  </a:lnTo>
                  <a:lnTo>
                    <a:pt x="63738" y="102461"/>
                  </a:lnTo>
                  <a:lnTo>
                    <a:pt x="64451" y="100615"/>
                  </a:lnTo>
                  <a:lnTo>
                    <a:pt x="64451" y="100615"/>
                  </a:lnTo>
                  <a:lnTo>
                    <a:pt x="66231" y="97846"/>
                  </a:lnTo>
                  <a:lnTo>
                    <a:pt x="66231" y="100615"/>
                  </a:lnTo>
                  <a:lnTo>
                    <a:pt x="66943" y="100615"/>
                  </a:lnTo>
                  <a:lnTo>
                    <a:pt x="66943" y="102461"/>
                  </a:lnTo>
                  <a:lnTo>
                    <a:pt x="66943" y="102461"/>
                  </a:lnTo>
                  <a:lnTo>
                    <a:pt x="66231" y="107076"/>
                  </a:lnTo>
                  <a:lnTo>
                    <a:pt x="65519" y="108923"/>
                  </a:lnTo>
                  <a:lnTo>
                    <a:pt x="64451" y="111692"/>
                  </a:lnTo>
                  <a:lnTo>
                    <a:pt x="65519" y="113538"/>
                  </a:lnTo>
                  <a:lnTo>
                    <a:pt x="66231" y="115384"/>
                  </a:lnTo>
                  <a:lnTo>
                    <a:pt x="65519" y="118153"/>
                  </a:lnTo>
                  <a:lnTo>
                    <a:pt x="66231" y="118153"/>
                  </a:lnTo>
                  <a:lnTo>
                    <a:pt x="66943" y="120000"/>
                  </a:lnTo>
                  <a:lnTo>
                    <a:pt x="66943" y="120000"/>
                  </a:lnTo>
                  <a:lnTo>
                    <a:pt x="66943" y="118153"/>
                  </a:lnTo>
                  <a:lnTo>
                    <a:pt x="68011" y="118153"/>
                  </a:lnTo>
                  <a:lnTo>
                    <a:pt x="68011" y="115384"/>
                  </a:lnTo>
                  <a:lnTo>
                    <a:pt x="68724" y="113538"/>
                  </a:lnTo>
                  <a:lnTo>
                    <a:pt x="68724" y="113538"/>
                  </a:lnTo>
                  <a:lnTo>
                    <a:pt x="68724" y="111692"/>
                  </a:lnTo>
                  <a:lnTo>
                    <a:pt x="69436" y="111692"/>
                  </a:lnTo>
                  <a:lnTo>
                    <a:pt x="69436" y="111692"/>
                  </a:lnTo>
                  <a:lnTo>
                    <a:pt x="69436" y="111692"/>
                  </a:lnTo>
                  <a:lnTo>
                    <a:pt x="68724" y="107076"/>
                  </a:lnTo>
                  <a:lnTo>
                    <a:pt x="69436" y="107076"/>
                  </a:lnTo>
                  <a:lnTo>
                    <a:pt x="69436" y="102461"/>
                  </a:lnTo>
                  <a:lnTo>
                    <a:pt x="69436" y="100615"/>
                  </a:lnTo>
                  <a:lnTo>
                    <a:pt x="69436" y="100615"/>
                  </a:lnTo>
                  <a:lnTo>
                    <a:pt x="70504" y="100615"/>
                  </a:lnTo>
                  <a:lnTo>
                    <a:pt x="71216" y="102461"/>
                  </a:lnTo>
                  <a:lnTo>
                    <a:pt x="71928" y="102461"/>
                  </a:lnTo>
                  <a:lnTo>
                    <a:pt x="71928" y="104307"/>
                  </a:lnTo>
                  <a:lnTo>
                    <a:pt x="72997" y="104307"/>
                  </a:lnTo>
                  <a:lnTo>
                    <a:pt x="73709" y="104307"/>
                  </a:lnTo>
                  <a:lnTo>
                    <a:pt x="74777" y="104307"/>
                  </a:lnTo>
                  <a:lnTo>
                    <a:pt x="75489" y="102461"/>
                  </a:lnTo>
                  <a:lnTo>
                    <a:pt x="76201" y="102461"/>
                  </a:lnTo>
                  <a:lnTo>
                    <a:pt x="77270" y="102461"/>
                  </a:lnTo>
                  <a:lnTo>
                    <a:pt x="77270" y="100615"/>
                  </a:lnTo>
                  <a:lnTo>
                    <a:pt x="78694" y="97846"/>
                  </a:lnTo>
                  <a:lnTo>
                    <a:pt x="79762" y="97846"/>
                  </a:lnTo>
                  <a:lnTo>
                    <a:pt x="80474" y="97846"/>
                  </a:lnTo>
                  <a:lnTo>
                    <a:pt x="80474" y="100615"/>
                  </a:lnTo>
                  <a:lnTo>
                    <a:pt x="81186" y="100615"/>
                  </a:lnTo>
                  <a:lnTo>
                    <a:pt x="82255" y="102461"/>
                  </a:lnTo>
                  <a:lnTo>
                    <a:pt x="82967" y="102461"/>
                  </a:lnTo>
                  <a:lnTo>
                    <a:pt x="83679" y="102461"/>
                  </a:lnTo>
                  <a:lnTo>
                    <a:pt x="84747" y="102461"/>
                  </a:lnTo>
                  <a:lnTo>
                    <a:pt x="86528" y="102461"/>
                  </a:lnTo>
                  <a:lnTo>
                    <a:pt x="87240" y="102461"/>
                  </a:lnTo>
                  <a:lnTo>
                    <a:pt x="89020" y="102461"/>
                  </a:lnTo>
                  <a:lnTo>
                    <a:pt x="90445" y="100615"/>
                  </a:lnTo>
                  <a:lnTo>
                    <a:pt x="92937" y="96000"/>
                  </a:lnTo>
                  <a:lnTo>
                    <a:pt x="94718" y="94153"/>
                  </a:lnTo>
                  <a:lnTo>
                    <a:pt x="94718" y="94153"/>
                  </a:lnTo>
                  <a:lnTo>
                    <a:pt x="96498" y="94153"/>
                  </a:lnTo>
                  <a:lnTo>
                    <a:pt x="97210" y="96000"/>
                  </a:lnTo>
                  <a:lnTo>
                    <a:pt x="98278" y="96000"/>
                  </a:lnTo>
                  <a:lnTo>
                    <a:pt x="98278" y="96000"/>
                  </a:lnTo>
                  <a:lnTo>
                    <a:pt x="99703" y="96000"/>
                  </a:lnTo>
                  <a:lnTo>
                    <a:pt x="100771" y="94153"/>
                  </a:lnTo>
                  <a:lnTo>
                    <a:pt x="101483" y="94153"/>
                  </a:lnTo>
                  <a:lnTo>
                    <a:pt x="103264" y="91384"/>
                  </a:lnTo>
                  <a:lnTo>
                    <a:pt x="103264" y="91384"/>
                  </a:lnTo>
                  <a:lnTo>
                    <a:pt x="103976" y="91384"/>
                  </a:lnTo>
                  <a:lnTo>
                    <a:pt x="103976" y="91384"/>
                  </a:lnTo>
                  <a:lnTo>
                    <a:pt x="103976" y="91384"/>
                  </a:lnTo>
                  <a:lnTo>
                    <a:pt x="103976" y="91384"/>
                  </a:lnTo>
                  <a:lnTo>
                    <a:pt x="104688" y="94153"/>
                  </a:lnTo>
                  <a:lnTo>
                    <a:pt x="105756" y="94153"/>
                  </a:lnTo>
                  <a:lnTo>
                    <a:pt x="106468" y="91384"/>
                  </a:lnTo>
                  <a:lnTo>
                    <a:pt x="106468" y="89538"/>
                  </a:lnTo>
                  <a:lnTo>
                    <a:pt x="107181" y="89538"/>
                  </a:lnTo>
                  <a:lnTo>
                    <a:pt x="107181" y="89538"/>
                  </a:lnTo>
                  <a:lnTo>
                    <a:pt x="108249" y="89538"/>
                  </a:lnTo>
                  <a:lnTo>
                    <a:pt x="108961" y="89538"/>
                  </a:lnTo>
                  <a:lnTo>
                    <a:pt x="110029" y="89538"/>
                  </a:lnTo>
                  <a:lnTo>
                    <a:pt x="110029" y="89538"/>
                  </a:lnTo>
                  <a:lnTo>
                    <a:pt x="110741" y="91384"/>
                  </a:lnTo>
                  <a:lnTo>
                    <a:pt x="111454" y="91384"/>
                  </a:lnTo>
                  <a:lnTo>
                    <a:pt x="112522" y="91384"/>
                  </a:lnTo>
                  <a:lnTo>
                    <a:pt x="112522" y="91384"/>
                  </a:lnTo>
                  <a:lnTo>
                    <a:pt x="113946" y="91384"/>
                  </a:lnTo>
                  <a:lnTo>
                    <a:pt x="113946" y="91384"/>
                  </a:lnTo>
                  <a:lnTo>
                    <a:pt x="115014" y="91384"/>
                  </a:lnTo>
                  <a:lnTo>
                    <a:pt x="115014" y="91384"/>
                  </a:lnTo>
                  <a:lnTo>
                    <a:pt x="115727" y="91384"/>
                  </a:lnTo>
                  <a:lnTo>
                    <a:pt x="115727" y="91384"/>
                  </a:lnTo>
                  <a:lnTo>
                    <a:pt x="115727" y="91384"/>
                  </a:lnTo>
                  <a:lnTo>
                    <a:pt x="115727" y="94153"/>
                  </a:lnTo>
                  <a:lnTo>
                    <a:pt x="116439" y="96000"/>
                  </a:lnTo>
                  <a:lnTo>
                    <a:pt x="116439" y="96000"/>
                  </a:lnTo>
                  <a:lnTo>
                    <a:pt x="116439" y="97846"/>
                  </a:lnTo>
                  <a:lnTo>
                    <a:pt x="116439" y="97846"/>
                  </a:lnTo>
                  <a:lnTo>
                    <a:pt x="116439" y="96000"/>
                  </a:lnTo>
                  <a:lnTo>
                    <a:pt x="117507" y="96000"/>
                  </a:lnTo>
                  <a:lnTo>
                    <a:pt x="118219" y="94153"/>
                  </a:lnTo>
                  <a:lnTo>
                    <a:pt x="118219" y="94153"/>
                  </a:lnTo>
                  <a:lnTo>
                    <a:pt x="118219" y="94153"/>
                  </a:lnTo>
                  <a:lnTo>
                    <a:pt x="118931" y="94153"/>
                  </a:lnTo>
                  <a:lnTo>
                    <a:pt x="118931" y="94153"/>
                  </a:lnTo>
                  <a:lnTo>
                    <a:pt x="120000" y="94153"/>
                  </a:lnTo>
                  <a:lnTo>
                    <a:pt x="120000" y="94153"/>
                  </a:lnTo>
                  <a:lnTo>
                    <a:pt x="118931" y="91384"/>
                  </a:lnTo>
                  <a:close/>
                  <a:moveTo>
                    <a:pt x="4272" y="28615"/>
                  </a:moveTo>
                  <a:lnTo>
                    <a:pt x="5697" y="28615"/>
                  </a:lnTo>
                  <a:lnTo>
                    <a:pt x="6765" y="28615"/>
                  </a:lnTo>
                  <a:lnTo>
                    <a:pt x="6765" y="28615"/>
                  </a:lnTo>
                  <a:lnTo>
                    <a:pt x="4985" y="30461"/>
                  </a:lnTo>
                  <a:lnTo>
                    <a:pt x="4272" y="32307"/>
                  </a:lnTo>
                  <a:lnTo>
                    <a:pt x="3204" y="32307"/>
                  </a:lnTo>
                  <a:lnTo>
                    <a:pt x="3204" y="35076"/>
                  </a:lnTo>
                  <a:lnTo>
                    <a:pt x="4272" y="35076"/>
                  </a:lnTo>
                  <a:lnTo>
                    <a:pt x="3204" y="36923"/>
                  </a:lnTo>
                  <a:lnTo>
                    <a:pt x="3204" y="36923"/>
                  </a:lnTo>
                  <a:lnTo>
                    <a:pt x="4272" y="36923"/>
                  </a:lnTo>
                  <a:lnTo>
                    <a:pt x="4272" y="36923"/>
                  </a:lnTo>
                  <a:lnTo>
                    <a:pt x="4985" y="35076"/>
                  </a:lnTo>
                  <a:lnTo>
                    <a:pt x="6765" y="30461"/>
                  </a:lnTo>
                  <a:lnTo>
                    <a:pt x="8189" y="28615"/>
                  </a:lnTo>
                  <a:lnTo>
                    <a:pt x="9970" y="25846"/>
                  </a:lnTo>
                  <a:lnTo>
                    <a:pt x="10682" y="24000"/>
                  </a:lnTo>
                  <a:lnTo>
                    <a:pt x="10682" y="19384"/>
                  </a:lnTo>
                  <a:lnTo>
                    <a:pt x="12462" y="19384"/>
                  </a:lnTo>
                  <a:lnTo>
                    <a:pt x="13175" y="19384"/>
                  </a:lnTo>
                  <a:lnTo>
                    <a:pt x="14243" y="19384"/>
                  </a:lnTo>
                  <a:lnTo>
                    <a:pt x="14955" y="19384"/>
                  </a:lnTo>
                  <a:lnTo>
                    <a:pt x="16023" y="19384"/>
                  </a:lnTo>
                  <a:lnTo>
                    <a:pt x="18516" y="19384"/>
                  </a:lnTo>
                  <a:lnTo>
                    <a:pt x="19940" y="19384"/>
                  </a:lnTo>
                  <a:lnTo>
                    <a:pt x="19940" y="19384"/>
                  </a:lnTo>
                  <a:lnTo>
                    <a:pt x="19940" y="17538"/>
                  </a:lnTo>
                  <a:lnTo>
                    <a:pt x="19940" y="15692"/>
                  </a:lnTo>
                  <a:lnTo>
                    <a:pt x="19228" y="15692"/>
                  </a:lnTo>
                  <a:lnTo>
                    <a:pt x="16023" y="11076"/>
                  </a:lnTo>
                  <a:lnTo>
                    <a:pt x="14955" y="8307"/>
                  </a:lnTo>
                  <a:lnTo>
                    <a:pt x="14243" y="6461"/>
                  </a:lnTo>
                  <a:lnTo>
                    <a:pt x="13175" y="4615"/>
                  </a:lnTo>
                  <a:lnTo>
                    <a:pt x="13175" y="1846"/>
                  </a:lnTo>
                  <a:lnTo>
                    <a:pt x="12462" y="1846"/>
                  </a:lnTo>
                  <a:lnTo>
                    <a:pt x="12462" y="1846"/>
                  </a:lnTo>
                  <a:lnTo>
                    <a:pt x="12462" y="1846"/>
                  </a:lnTo>
                  <a:lnTo>
                    <a:pt x="11750" y="1846"/>
                  </a:lnTo>
                  <a:lnTo>
                    <a:pt x="11750" y="1846"/>
                  </a:lnTo>
                  <a:lnTo>
                    <a:pt x="10682" y="1846"/>
                  </a:lnTo>
                  <a:lnTo>
                    <a:pt x="10682" y="1846"/>
                  </a:lnTo>
                  <a:lnTo>
                    <a:pt x="9970" y="1846"/>
                  </a:lnTo>
                  <a:lnTo>
                    <a:pt x="9258" y="0"/>
                  </a:lnTo>
                  <a:lnTo>
                    <a:pt x="9258" y="0"/>
                  </a:lnTo>
                  <a:lnTo>
                    <a:pt x="9258" y="0"/>
                  </a:lnTo>
                  <a:lnTo>
                    <a:pt x="8189" y="0"/>
                  </a:lnTo>
                  <a:lnTo>
                    <a:pt x="7477" y="0"/>
                  </a:lnTo>
                  <a:lnTo>
                    <a:pt x="7477" y="0"/>
                  </a:lnTo>
                  <a:lnTo>
                    <a:pt x="6765" y="1846"/>
                  </a:lnTo>
                  <a:lnTo>
                    <a:pt x="5697" y="1846"/>
                  </a:lnTo>
                  <a:lnTo>
                    <a:pt x="5697" y="1846"/>
                  </a:lnTo>
                  <a:lnTo>
                    <a:pt x="4985" y="1846"/>
                  </a:lnTo>
                  <a:lnTo>
                    <a:pt x="4985" y="1846"/>
                  </a:lnTo>
                  <a:lnTo>
                    <a:pt x="4985" y="1846"/>
                  </a:lnTo>
                  <a:lnTo>
                    <a:pt x="4985" y="4615"/>
                  </a:lnTo>
                  <a:lnTo>
                    <a:pt x="4272" y="4615"/>
                  </a:lnTo>
                  <a:lnTo>
                    <a:pt x="3204" y="4615"/>
                  </a:lnTo>
                  <a:lnTo>
                    <a:pt x="3204" y="6461"/>
                  </a:lnTo>
                  <a:lnTo>
                    <a:pt x="3204" y="6461"/>
                  </a:lnTo>
                  <a:lnTo>
                    <a:pt x="3204" y="6461"/>
                  </a:lnTo>
                  <a:lnTo>
                    <a:pt x="4272" y="6461"/>
                  </a:lnTo>
                  <a:lnTo>
                    <a:pt x="4272" y="6461"/>
                  </a:lnTo>
                  <a:lnTo>
                    <a:pt x="4272" y="8307"/>
                  </a:lnTo>
                  <a:lnTo>
                    <a:pt x="4985" y="8307"/>
                  </a:lnTo>
                  <a:lnTo>
                    <a:pt x="4985" y="8307"/>
                  </a:lnTo>
                  <a:lnTo>
                    <a:pt x="4985" y="11076"/>
                  </a:lnTo>
                  <a:lnTo>
                    <a:pt x="4985" y="12923"/>
                  </a:lnTo>
                  <a:lnTo>
                    <a:pt x="4985" y="12923"/>
                  </a:lnTo>
                  <a:lnTo>
                    <a:pt x="4985" y="12923"/>
                  </a:lnTo>
                  <a:lnTo>
                    <a:pt x="3204" y="15692"/>
                  </a:lnTo>
                  <a:lnTo>
                    <a:pt x="3204" y="17538"/>
                  </a:lnTo>
                  <a:lnTo>
                    <a:pt x="4272" y="17538"/>
                  </a:lnTo>
                  <a:lnTo>
                    <a:pt x="4272" y="19384"/>
                  </a:lnTo>
                  <a:lnTo>
                    <a:pt x="4272" y="19384"/>
                  </a:lnTo>
                  <a:lnTo>
                    <a:pt x="4272" y="19384"/>
                  </a:lnTo>
                  <a:lnTo>
                    <a:pt x="4272" y="22153"/>
                  </a:lnTo>
                  <a:lnTo>
                    <a:pt x="3204" y="22153"/>
                  </a:lnTo>
                  <a:lnTo>
                    <a:pt x="3204" y="24000"/>
                  </a:lnTo>
                  <a:lnTo>
                    <a:pt x="2492" y="24000"/>
                  </a:lnTo>
                  <a:lnTo>
                    <a:pt x="2492" y="25846"/>
                  </a:lnTo>
                  <a:lnTo>
                    <a:pt x="2492" y="25846"/>
                  </a:lnTo>
                  <a:lnTo>
                    <a:pt x="2492" y="25846"/>
                  </a:lnTo>
                  <a:lnTo>
                    <a:pt x="2492" y="28615"/>
                  </a:lnTo>
                  <a:lnTo>
                    <a:pt x="3204" y="28615"/>
                  </a:lnTo>
                  <a:lnTo>
                    <a:pt x="4272" y="28615"/>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66" name="Shape 366"/>
            <p:cNvSpPr/>
            <p:nvPr/>
          </p:nvSpPr>
          <p:spPr>
            <a:xfrm>
              <a:off x="3797" y="2018"/>
              <a:ext cx="0" cy="300"/>
            </a:xfrm>
            <a:custGeom>
              <a:avLst/>
              <a:gdLst/>
              <a:ahLst/>
              <a:cxnLst/>
              <a:rect l="0" t="0" r="0" b="0"/>
              <a:pathLst>
                <a:path w="120000" h="120000" extrusionOk="0">
                  <a:moveTo>
                    <a:pt x="101142" y="58013"/>
                  </a:moveTo>
                  <a:lnTo>
                    <a:pt x="96000" y="60397"/>
                  </a:lnTo>
                  <a:lnTo>
                    <a:pt x="96000" y="60397"/>
                  </a:lnTo>
                  <a:lnTo>
                    <a:pt x="96000" y="61986"/>
                  </a:lnTo>
                  <a:lnTo>
                    <a:pt x="96000" y="61986"/>
                  </a:lnTo>
                  <a:lnTo>
                    <a:pt x="96000" y="61986"/>
                  </a:lnTo>
                  <a:lnTo>
                    <a:pt x="101142" y="61986"/>
                  </a:lnTo>
                  <a:lnTo>
                    <a:pt x="101142" y="61986"/>
                  </a:lnTo>
                  <a:lnTo>
                    <a:pt x="101142" y="61986"/>
                  </a:lnTo>
                  <a:lnTo>
                    <a:pt x="101142" y="61986"/>
                  </a:lnTo>
                  <a:lnTo>
                    <a:pt x="104571" y="61986"/>
                  </a:lnTo>
                  <a:lnTo>
                    <a:pt x="104571" y="60397"/>
                  </a:lnTo>
                  <a:lnTo>
                    <a:pt x="104571" y="60397"/>
                  </a:lnTo>
                  <a:lnTo>
                    <a:pt x="104571" y="60397"/>
                  </a:lnTo>
                  <a:lnTo>
                    <a:pt x="101142" y="58013"/>
                  </a:lnTo>
                  <a:close/>
                  <a:moveTo>
                    <a:pt x="120000" y="82649"/>
                  </a:moveTo>
                  <a:lnTo>
                    <a:pt x="116571" y="81059"/>
                  </a:lnTo>
                  <a:lnTo>
                    <a:pt x="116571" y="77086"/>
                  </a:lnTo>
                  <a:lnTo>
                    <a:pt x="116571" y="75496"/>
                  </a:lnTo>
                  <a:lnTo>
                    <a:pt x="116571" y="75496"/>
                  </a:lnTo>
                  <a:lnTo>
                    <a:pt x="116571" y="71523"/>
                  </a:lnTo>
                  <a:lnTo>
                    <a:pt x="116571" y="71523"/>
                  </a:lnTo>
                  <a:lnTo>
                    <a:pt x="116571" y="69139"/>
                  </a:lnTo>
                  <a:lnTo>
                    <a:pt x="113142" y="71523"/>
                  </a:lnTo>
                  <a:lnTo>
                    <a:pt x="108000" y="69139"/>
                  </a:lnTo>
                  <a:lnTo>
                    <a:pt x="108000" y="69139"/>
                  </a:lnTo>
                  <a:lnTo>
                    <a:pt x="108000" y="69139"/>
                  </a:lnTo>
                  <a:lnTo>
                    <a:pt x="113142" y="69139"/>
                  </a:lnTo>
                  <a:lnTo>
                    <a:pt x="113142" y="69139"/>
                  </a:lnTo>
                  <a:lnTo>
                    <a:pt x="108000" y="67549"/>
                  </a:lnTo>
                  <a:lnTo>
                    <a:pt x="104571" y="63576"/>
                  </a:lnTo>
                  <a:lnTo>
                    <a:pt x="101142" y="63576"/>
                  </a:lnTo>
                  <a:lnTo>
                    <a:pt x="101142" y="65960"/>
                  </a:lnTo>
                  <a:lnTo>
                    <a:pt x="96000" y="65960"/>
                  </a:lnTo>
                  <a:lnTo>
                    <a:pt x="96000" y="65960"/>
                  </a:lnTo>
                  <a:lnTo>
                    <a:pt x="96000" y="63576"/>
                  </a:lnTo>
                  <a:lnTo>
                    <a:pt x="96000" y="61986"/>
                  </a:lnTo>
                  <a:lnTo>
                    <a:pt x="89142" y="63576"/>
                  </a:lnTo>
                  <a:lnTo>
                    <a:pt x="84000" y="61986"/>
                  </a:lnTo>
                  <a:lnTo>
                    <a:pt x="75428" y="60397"/>
                  </a:lnTo>
                  <a:lnTo>
                    <a:pt x="75428" y="56423"/>
                  </a:lnTo>
                  <a:lnTo>
                    <a:pt x="75428" y="54834"/>
                  </a:lnTo>
                  <a:lnTo>
                    <a:pt x="75428" y="54834"/>
                  </a:lnTo>
                  <a:lnTo>
                    <a:pt x="75428" y="52450"/>
                  </a:lnTo>
                  <a:lnTo>
                    <a:pt x="80571" y="50860"/>
                  </a:lnTo>
                  <a:lnTo>
                    <a:pt x="89142" y="48476"/>
                  </a:lnTo>
                  <a:lnTo>
                    <a:pt x="92571" y="45298"/>
                  </a:lnTo>
                  <a:lnTo>
                    <a:pt x="101142" y="42913"/>
                  </a:lnTo>
                  <a:lnTo>
                    <a:pt x="101142" y="39735"/>
                  </a:lnTo>
                  <a:lnTo>
                    <a:pt x="108000" y="35761"/>
                  </a:lnTo>
                  <a:lnTo>
                    <a:pt x="104571" y="35761"/>
                  </a:lnTo>
                  <a:lnTo>
                    <a:pt x="104571" y="31788"/>
                  </a:lnTo>
                  <a:lnTo>
                    <a:pt x="104571" y="31788"/>
                  </a:lnTo>
                  <a:lnTo>
                    <a:pt x="104571" y="30198"/>
                  </a:lnTo>
                  <a:lnTo>
                    <a:pt x="96000" y="27814"/>
                  </a:lnTo>
                  <a:lnTo>
                    <a:pt x="92571" y="26225"/>
                  </a:lnTo>
                  <a:lnTo>
                    <a:pt x="92571" y="24635"/>
                  </a:lnTo>
                  <a:lnTo>
                    <a:pt x="89142" y="22251"/>
                  </a:lnTo>
                  <a:lnTo>
                    <a:pt x="89142" y="20662"/>
                  </a:lnTo>
                  <a:lnTo>
                    <a:pt x="89142" y="19072"/>
                  </a:lnTo>
                  <a:lnTo>
                    <a:pt x="89142" y="19072"/>
                  </a:lnTo>
                  <a:lnTo>
                    <a:pt x="92571" y="16688"/>
                  </a:lnTo>
                  <a:lnTo>
                    <a:pt x="96000" y="15099"/>
                  </a:lnTo>
                  <a:lnTo>
                    <a:pt x="101142" y="11125"/>
                  </a:lnTo>
                  <a:lnTo>
                    <a:pt x="104571" y="9536"/>
                  </a:lnTo>
                  <a:lnTo>
                    <a:pt x="108000" y="9536"/>
                  </a:lnTo>
                  <a:lnTo>
                    <a:pt x="104571" y="7152"/>
                  </a:lnTo>
                  <a:lnTo>
                    <a:pt x="104571" y="5562"/>
                  </a:lnTo>
                  <a:lnTo>
                    <a:pt x="101142" y="5562"/>
                  </a:lnTo>
                  <a:lnTo>
                    <a:pt x="96000" y="7152"/>
                  </a:lnTo>
                  <a:lnTo>
                    <a:pt x="92571" y="7152"/>
                  </a:lnTo>
                  <a:lnTo>
                    <a:pt x="89142" y="9536"/>
                  </a:lnTo>
                  <a:lnTo>
                    <a:pt x="84000" y="11125"/>
                  </a:lnTo>
                  <a:lnTo>
                    <a:pt x="84000" y="9536"/>
                  </a:lnTo>
                  <a:lnTo>
                    <a:pt x="84000" y="9536"/>
                  </a:lnTo>
                  <a:lnTo>
                    <a:pt x="80571" y="5562"/>
                  </a:lnTo>
                  <a:lnTo>
                    <a:pt x="80571" y="3973"/>
                  </a:lnTo>
                  <a:lnTo>
                    <a:pt x="75428" y="1589"/>
                  </a:lnTo>
                  <a:lnTo>
                    <a:pt x="72000" y="1589"/>
                  </a:lnTo>
                  <a:lnTo>
                    <a:pt x="68571" y="1589"/>
                  </a:lnTo>
                  <a:lnTo>
                    <a:pt x="68571" y="1589"/>
                  </a:lnTo>
                  <a:lnTo>
                    <a:pt x="72000" y="3973"/>
                  </a:lnTo>
                  <a:lnTo>
                    <a:pt x="68571" y="3973"/>
                  </a:lnTo>
                  <a:lnTo>
                    <a:pt x="68571" y="1589"/>
                  </a:lnTo>
                  <a:lnTo>
                    <a:pt x="68571" y="1589"/>
                  </a:lnTo>
                  <a:lnTo>
                    <a:pt x="68571" y="1589"/>
                  </a:lnTo>
                  <a:lnTo>
                    <a:pt x="68571" y="0"/>
                  </a:lnTo>
                  <a:lnTo>
                    <a:pt x="63428" y="0"/>
                  </a:lnTo>
                  <a:lnTo>
                    <a:pt x="48000" y="3973"/>
                  </a:lnTo>
                  <a:lnTo>
                    <a:pt x="44571" y="3973"/>
                  </a:lnTo>
                  <a:lnTo>
                    <a:pt x="39428" y="5562"/>
                  </a:lnTo>
                  <a:lnTo>
                    <a:pt x="32571" y="7152"/>
                  </a:lnTo>
                  <a:lnTo>
                    <a:pt x="32571" y="7152"/>
                  </a:lnTo>
                  <a:lnTo>
                    <a:pt x="32571" y="9536"/>
                  </a:lnTo>
                  <a:lnTo>
                    <a:pt x="27428" y="9536"/>
                  </a:lnTo>
                  <a:lnTo>
                    <a:pt x="27428" y="11125"/>
                  </a:lnTo>
                  <a:lnTo>
                    <a:pt x="24000" y="12715"/>
                  </a:lnTo>
                  <a:lnTo>
                    <a:pt x="18857" y="15099"/>
                  </a:lnTo>
                  <a:lnTo>
                    <a:pt x="18857" y="15099"/>
                  </a:lnTo>
                  <a:lnTo>
                    <a:pt x="18857" y="15099"/>
                  </a:lnTo>
                  <a:lnTo>
                    <a:pt x="24000" y="15099"/>
                  </a:lnTo>
                  <a:lnTo>
                    <a:pt x="24000" y="16688"/>
                  </a:lnTo>
                  <a:lnTo>
                    <a:pt x="24000" y="16688"/>
                  </a:lnTo>
                  <a:lnTo>
                    <a:pt x="24000" y="20662"/>
                  </a:lnTo>
                  <a:lnTo>
                    <a:pt x="24000" y="22251"/>
                  </a:lnTo>
                  <a:lnTo>
                    <a:pt x="18857" y="26225"/>
                  </a:lnTo>
                  <a:lnTo>
                    <a:pt x="18857" y="26225"/>
                  </a:lnTo>
                  <a:lnTo>
                    <a:pt x="24000" y="27814"/>
                  </a:lnTo>
                  <a:lnTo>
                    <a:pt x="24000" y="30198"/>
                  </a:lnTo>
                  <a:lnTo>
                    <a:pt x="24000" y="30198"/>
                  </a:lnTo>
                  <a:lnTo>
                    <a:pt x="24000" y="33377"/>
                  </a:lnTo>
                  <a:lnTo>
                    <a:pt x="24000" y="35761"/>
                  </a:lnTo>
                  <a:lnTo>
                    <a:pt x="24000" y="37350"/>
                  </a:lnTo>
                  <a:lnTo>
                    <a:pt x="24000" y="39735"/>
                  </a:lnTo>
                  <a:lnTo>
                    <a:pt x="18857" y="41324"/>
                  </a:lnTo>
                  <a:lnTo>
                    <a:pt x="18857" y="42913"/>
                  </a:lnTo>
                  <a:lnTo>
                    <a:pt x="18857" y="45298"/>
                  </a:lnTo>
                  <a:lnTo>
                    <a:pt x="18857" y="46887"/>
                  </a:lnTo>
                  <a:lnTo>
                    <a:pt x="15428" y="46887"/>
                  </a:lnTo>
                  <a:lnTo>
                    <a:pt x="15428" y="48476"/>
                  </a:lnTo>
                  <a:lnTo>
                    <a:pt x="12000" y="48476"/>
                  </a:lnTo>
                  <a:lnTo>
                    <a:pt x="6857" y="50860"/>
                  </a:lnTo>
                  <a:lnTo>
                    <a:pt x="3428" y="52450"/>
                  </a:lnTo>
                  <a:lnTo>
                    <a:pt x="0" y="54834"/>
                  </a:lnTo>
                  <a:lnTo>
                    <a:pt x="0" y="56423"/>
                  </a:lnTo>
                  <a:lnTo>
                    <a:pt x="0" y="58013"/>
                  </a:lnTo>
                  <a:lnTo>
                    <a:pt x="0" y="60397"/>
                  </a:lnTo>
                  <a:lnTo>
                    <a:pt x="0" y="61986"/>
                  </a:lnTo>
                  <a:lnTo>
                    <a:pt x="0" y="65960"/>
                  </a:lnTo>
                  <a:lnTo>
                    <a:pt x="3428" y="67549"/>
                  </a:lnTo>
                  <a:lnTo>
                    <a:pt x="3428" y="69139"/>
                  </a:lnTo>
                  <a:lnTo>
                    <a:pt x="3428" y="69139"/>
                  </a:lnTo>
                  <a:lnTo>
                    <a:pt x="6857" y="71523"/>
                  </a:lnTo>
                  <a:lnTo>
                    <a:pt x="15428" y="73112"/>
                  </a:lnTo>
                  <a:lnTo>
                    <a:pt x="15428" y="73112"/>
                  </a:lnTo>
                  <a:lnTo>
                    <a:pt x="18857" y="75496"/>
                  </a:lnTo>
                  <a:lnTo>
                    <a:pt x="18857" y="78675"/>
                  </a:lnTo>
                  <a:lnTo>
                    <a:pt x="24000" y="82649"/>
                  </a:lnTo>
                  <a:lnTo>
                    <a:pt x="27428" y="84238"/>
                  </a:lnTo>
                  <a:lnTo>
                    <a:pt x="32571" y="86622"/>
                  </a:lnTo>
                  <a:lnTo>
                    <a:pt x="39428" y="88211"/>
                  </a:lnTo>
                  <a:lnTo>
                    <a:pt x="44571" y="88211"/>
                  </a:lnTo>
                  <a:lnTo>
                    <a:pt x="44571" y="89801"/>
                  </a:lnTo>
                  <a:lnTo>
                    <a:pt x="44571" y="93774"/>
                  </a:lnTo>
                  <a:lnTo>
                    <a:pt x="48000" y="97748"/>
                  </a:lnTo>
                  <a:lnTo>
                    <a:pt x="48000" y="101721"/>
                  </a:lnTo>
                  <a:lnTo>
                    <a:pt x="51428" y="104900"/>
                  </a:lnTo>
                  <a:lnTo>
                    <a:pt x="51428" y="110463"/>
                  </a:lnTo>
                  <a:lnTo>
                    <a:pt x="56571" y="112847"/>
                  </a:lnTo>
                  <a:lnTo>
                    <a:pt x="56571" y="116821"/>
                  </a:lnTo>
                  <a:lnTo>
                    <a:pt x="60000" y="120000"/>
                  </a:lnTo>
                  <a:lnTo>
                    <a:pt x="60000" y="120000"/>
                  </a:lnTo>
                  <a:lnTo>
                    <a:pt x="68571" y="118410"/>
                  </a:lnTo>
                  <a:lnTo>
                    <a:pt x="68571" y="118410"/>
                  </a:lnTo>
                  <a:lnTo>
                    <a:pt x="72000" y="116821"/>
                  </a:lnTo>
                  <a:lnTo>
                    <a:pt x="75428" y="114437"/>
                  </a:lnTo>
                  <a:lnTo>
                    <a:pt x="75428" y="112847"/>
                  </a:lnTo>
                  <a:lnTo>
                    <a:pt x="80571" y="110463"/>
                  </a:lnTo>
                  <a:lnTo>
                    <a:pt x="80571" y="108874"/>
                  </a:lnTo>
                  <a:lnTo>
                    <a:pt x="80571" y="108874"/>
                  </a:lnTo>
                  <a:lnTo>
                    <a:pt x="80571" y="107284"/>
                  </a:lnTo>
                  <a:lnTo>
                    <a:pt x="75428" y="103311"/>
                  </a:lnTo>
                  <a:lnTo>
                    <a:pt x="75428" y="99337"/>
                  </a:lnTo>
                  <a:lnTo>
                    <a:pt x="75428" y="97748"/>
                  </a:lnTo>
                  <a:lnTo>
                    <a:pt x="80571" y="97748"/>
                  </a:lnTo>
                  <a:lnTo>
                    <a:pt x="80571" y="96158"/>
                  </a:lnTo>
                  <a:lnTo>
                    <a:pt x="80571" y="96158"/>
                  </a:lnTo>
                  <a:lnTo>
                    <a:pt x="89142" y="96158"/>
                  </a:lnTo>
                  <a:lnTo>
                    <a:pt x="89142" y="93774"/>
                  </a:lnTo>
                  <a:lnTo>
                    <a:pt x="92571" y="92185"/>
                  </a:lnTo>
                  <a:lnTo>
                    <a:pt x="92571" y="92185"/>
                  </a:lnTo>
                  <a:lnTo>
                    <a:pt x="92571" y="92185"/>
                  </a:lnTo>
                  <a:lnTo>
                    <a:pt x="96000" y="89801"/>
                  </a:lnTo>
                  <a:lnTo>
                    <a:pt x="96000" y="89801"/>
                  </a:lnTo>
                  <a:lnTo>
                    <a:pt x="104571" y="88211"/>
                  </a:lnTo>
                  <a:lnTo>
                    <a:pt x="108000" y="86622"/>
                  </a:lnTo>
                  <a:lnTo>
                    <a:pt x="113142" y="84238"/>
                  </a:lnTo>
                  <a:lnTo>
                    <a:pt x="120000" y="84238"/>
                  </a:lnTo>
                  <a:lnTo>
                    <a:pt x="120000" y="82649"/>
                  </a:lnTo>
                  <a:lnTo>
                    <a:pt x="120000" y="82649"/>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67" name="Shape 367"/>
            <p:cNvSpPr/>
            <p:nvPr/>
          </p:nvSpPr>
          <p:spPr>
            <a:xfrm>
              <a:off x="2508" y="2578"/>
              <a:ext cx="0" cy="0"/>
            </a:xfrm>
            <a:custGeom>
              <a:avLst/>
              <a:gdLst/>
              <a:ahLst/>
              <a:cxnLst/>
              <a:rect l="0" t="0" r="0" b="0"/>
              <a:pathLst>
                <a:path w="120000" h="120000" extrusionOk="0">
                  <a:moveTo>
                    <a:pt x="120000" y="0"/>
                  </a:moveTo>
                  <a:lnTo>
                    <a:pt x="106666" y="0"/>
                  </a:lnTo>
                  <a:lnTo>
                    <a:pt x="93333" y="21176"/>
                  </a:lnTo>
                  <a:lnTo>
                    <a:pt x="73333" y="21176"/>
                  </a:lnTo>
                  <a:lnTo>
                    <a:pt x="60000" y="21176"/>
                  </a:lnTo>
                  <a:lnTo>
                    <a:pt x="46666" y="21176"/>
                  </a:lnTo>
                  <a:lnTo>
                    <a:pt x="46666" y="21176"/>
                  </a:lnTo>
                  <a:lnTo>
                    <a:pt x="46666" y="35294"/>
                  </a:lnTo>
                  <a:lnTo>
                    <a:pt x="46666" y="35294"/>
                  </a:lnTo>
                  <a:lnTo>
                    <a:pt x="60000" y="35294"/>
                  </a:lnTo>
                  <a:lnTo>
                    <a:pt x="60000" y="35294"/>
                  </a:lnTo>
                  <a:lnTo>
                    <a:pt x="60000" y="49411"/>
                  </a:lnTo>
                  <a:lnTo>
                    <a:pt x="60000" y="84705"/>
                  </a:lnTo>
                  <a:lnTo>
                    <a:pt x="46666" y="84705"/>
                  </a:lnTo>
                  <a:lnTo>
                    <a:pt x="26666" y="105882"/>
                  </a:lnTo>
                  <a:lnTo>
                    <a:pt x="26666" y="105882"/>
                  </a:lnTo>
                  <a:lnTo>
                    <a:pt x="0" y="120000"/>
                  </a:lnTo>
                  <a:lnTo>
                    <a:pt x="13333" y="120000"/>
                  </a:lnTo>
                  <a:lnTo>
                    <a:pt x="46666" y="120000"/>
                  </a:lnTo>
                  <a:lnTo>
                    <a:pt x="93333" y="120000"/>
                  </a:lnTo>
                  <a:lnTo>
                    <a:pt x="106666" y="120000"/>
                  </a:lnTo>
                  <a:lnTo>
                    <a:pt x="106666" y="105882"/>
                  </a:lnTo>
                  <a:lnTo>
                    <a:pt x="106666" y="84705"/>
                  </a:lnTo>
                  <a:lnTo>
                    <a:pt x="120000" y="84705"/>
                  </a:lnTo>
                  <a:lnTo>
                    <a:pt x="106666" y="70588"/>
                  </a:lnTo>
                  <a:lnTo>
                    <a:pt x="106666" y="49411"/>
                  </a:lnTo>
                  <a:lnTo>
                    <a:pt x="106666" y="49411"/>
                  </a:lnTo>
                  <a:lnTo>
                    <a:pt x="106666" y="35294"/>
                  </a:lnTo>
                  <a:lnTo>
                    <a:pt x="120000" y="21176"/>
                  </a:lnTo>
                  <a:lnTo>
                    <a:pt x="120000" y="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68" name="Shape 368"/>
            <p:cNvSpPr/>
            <p:nvPr/>
          </p:nvSpPr>
          <p:spPr>
            <a:xfrm>
              <a:off x="3653" y="2574"/>
              <a:ext cx="0" cy="0"/>
            </a:xfrm>
            <a:custGeom>
              <a:avLst/>
              <a:gdLst/>
              <a:ahLst/>
              <a:cxnLst/>
              <a:rect l="0" t="0" r="0" b="0"/>
              <a:pathLst>
                <a:path w="120000" h="120000" extrusionOk="0">
                  <a:moveTo>
                    <a:pt x="120000" y="114339"/>
                  </a:moveTo>
                  <a:lnTo>
                    <a:pt x="120000" y="112075"/>
                  </a:lnTo>
                  <a:lnTo>
                    <a:pt x="112727" y="106415"/>
                  </a:lnTo>
                  <a:lnTo>
                    <a:pt x="112727" y="106415"/>
                  </a:lnTo>
                  <a:lnTo>
                    <a:pt x="112727" y="104150"/>
                  </a:lnTo>
                  <a:lnTo>
                    <a:pt x="112727" y="104150"/>
                  </a:lnTo>
                  <a:lnTo>
                    <a:pt x="112727" y="104150"/>
                  </a:lnTo>
                  <a:lnTo>
                    <a:pt x="112727" y="100754"/>
                  </a:lnTo>
                  <a:lnTo>
                    <a:pt x="101818" y="98490"/>
                  </a:lnTo>
                  <a:lnTo>
                    <a:pt x="112727" y="98490"/>
                  </a:lnTo>
                  <a:lnTo>
                    <a:pt x="112727" y="88301"/>
                  </a:lnTo>
                  <a:lnTo>
                    <a:pt x="112727" y="80377"/>
                  </a:lnTo>
                  <a:lnTo>
                    <a:pt x="112727" y="71320"/>
                  </a:lnTo>
                  <a:lnTo>
                    <a:pt x="112727" y="66792"/>
                  </a:lnTo>
                  <a:lnTo>
                    <a:pt x="112727" y="61132"/>
                  </a:lnTo>
                  <a:lnTo>
                    <a:pt x="112727" y="55471"/>
                  </a:lnTo>
                  <a:lnTo>
                    <a:pt x="112727" y="47547"/>
                  </a:lnTo>
                  <a:lnTo>
                    <a:pt x="112727" y="45283"/>
                  </a:lnTo>
                  <a:lnTo>
                    <a:pt x="94545" y="41886"/>
                  </a:lnTo>
                  <a:lnTo>
                    <a:pt x="94545" y="39622"/>
                  </a:lnTo>
                  <a:lnTo>
                    <a:pt x="94545" y="39622"/>
                  </a:lnTo>
                  <a:lnTo>
                    <a:pt x="94545" y="37358"/>
                  </a:lnTo>
                  <a:lnTo>
                    <a:pt x="94545" y="31698"/>
                  </a:lnTo>
                  <a:lnTo>
                    <a:pt x="94545" y="26037"/>
                  </a:lnTo>
                  <a:lnTo>
                    <a:pt x="94545" y="26037"/>
                  </a:lnTo>
                  <a:lnTo>
                    <a:pt x="83636" y="23773"/>
                  </a:lnTo>
                  <a:lnTo>
                    <a:pt x="69090" y="21509"/>
                  </a:lnTo>
                  <a:lnTo>
                    <a:pt x="58181" y="18113"/>
                  </a:lnTo>
                  <a:lnTo>
                    <a:pt x="50909" y="18113"/>
                  </a:lnTo>
                  <a:lnTo>
                    <a:pt x="50909" y="15849"/>
                  </a:lnTo>
                  <a:lnTo>
                    <a:pt x="58181" y="7924"/>
                  </a:lnTo>
                  <a:lnTo>
                    <a:pt x="58181" y="7924"/>
                  </a:lnTo>
                  <a:lnTo>
                    <a:pt x="58181" y="4528"/>
                  </a:lnTo>
                  <a:lnTo>
                    <a:pt x="58181" y="2264"/>
                  </a:lnTo>
                  <a:lnTo>
                    <a:pt x="43636" y="2264"/>
                  </a:lnTo>
                  <a:lnTo>
                    <a:pt x="43636" y="2264"/>
                  </a:lnTo>
                  <a:lnTo>
                    <a:pt x="32727" y="2264"/>
                  </a:lnTo>
                  <a:lnTo>
                    <a:pt x="32727" y="2264"/>
                  </a:lnTo>
                  <a:lnTo>
                    <a:pt x="32727" y="2264"/>
                  </a:lnTo>
                  <a:lnTo>
                    <a:pt x="18181" y="0"/>
                  </a:lnTo>
                  <a:lnTo>
                    <a:pt x="0" y="0"/>
                  </a:lnTo>
                  <a:lnTo>
                    <a:pt x="0" y="0"/>
                  </a:lnTo>
                  <a:lnTo>
                    <a:pt x="0" y="2264"/>
                  </a:lnTo>
                  <a:lnTo>
                    <a:pt x="0" y="4528"/>
                  </a:lnTo>
                  <a:lnTo>
                    <a:pt x="0" y="7924"/>
                  </a:lnTo>
                  <a:lnTo>
                    <a:pt x="0" y="7924"/>
                  </a:lnTo>
                  <a:lnTo>
                    <a:pt x="0" y="10188"/>
                  </a:lnTo>
                  <a:lnTo>
                    <a:pt x="0" y="10188"/>
                  </a:lnTo>
                  <a:lnTo>
                    <a:pt x="7272" y="12452"/>
                  </a:lnTo>
                  <a:lnTo>
                    <a:pt x="7272" y="12452"/>
                  </a:lnTo>
                  <a:lnTo>
                    <a:pt x="18181" y="15849"/>
                  </a:lnTo>
                  <a:lnTo>
                    <a:pt x="18181" y="15849"/>
                  </a:lnTo>
                  <a:lnTo>
                    <a:pt x="25454" y="18113"/>
                  </a:lnTo>
                  <a:lnTo>
                    <a:pt x="25454" y="18113"/>
                  </a:lnTo>
                  <a:lnTo>
                    <a:pt x="25454" y="18113"/>
                  </a:lnTo>
                  <a:lnTo>
                    <a:pt x="25454" y="21509"/>
                  </a:lnTo>
                  <a:lnTo>
                    <a:pt x="25454" y="26037"/>
                  </a:lnTo>
                  <a:lnTo>
                    <a:pt x="25454" y="29433"/>
                  </a:lnTo>
                  <a:lnTo>
                    <a:pt x="25454" y="29433"/>
                  </a:lnTo>
                  <a:lnTo>
                    <a:pt x="25454" y="33962"/>
                  </a:lnTo>
                  <a:lnTo>
                    <a:pt x="25454" y="33962"/>
                  </a:lnTo>
                  <a:lnTo>
                    <a:pt x="25454" y="33962"/>
                  </a:lnTo>
                  <a:lnTo>
                    <a:pt x="18181" y="33962"/>
                  </a:lnTo>
                  <a:lnTo>
                    <a:pt x="18181" y="33962"/>
                  </a:lnTo>
                  <a:lnTo>
                    <a:pt x="18181" y="33962"/>
                  </a:lnTo>
                  <a:lnTo>
                    <a:pt x="25454" y="33962"/>
                  </a:lnTo>
                  <a:lnTo>
                    <a:pt x="25454" y="33962"/>
                  </a:lnTo>
                  <a:lnTo>
                    <a:pt x="18181" y="37358"/>
                  </a:lnTo>
                  <a:lnTo>
                    <a:pt x="18181" y="37358"/>
                  </a:lnTo>
                  <a:lnTo>
                    <a:pt x="18181" y="37358"/>
                  </a:lnTo>
                  <a:lnTo>
                    <a:pt x="18181" y="39622"/>
                  </a:lnTo>
                  <a:lnTo>
                    <a:pt x="18181" y="39622"/>
                  </a:lnTo>
                  <a:lnTo>
                    <a:pt x="18181" y="39622"/>
                  </a:lnTo>
                  <a:lnTo>
                    <a:pt x="25454" y="39622"/>
                  </a:lnTo>
                  <a:lnTo>
                    <a:pt x="25454" y="37358"/>
                  </a:lnTo>
                  <a:lnTo>
                    <a:pt x="25454" y="37358"/>
                  </a:lnTo>
                  <a:lnTo>
                    <a:pt x="32727" y="37358"/>
                  </a:lnTo>
                  <a:lnTo>
                    <a:pt x="32727" y="39622"/>
                  </a:lnTo>
                  <a:lnTo>
                    <a:pt x="32727" y="39622"/>
                  </a:lnTo>
                  <a:lnTo>
                    <a:pt x="32727" y="45283"/>
                  </a:lnTo>
                  <a:lnTo>
                    <a:pt x="32727" y="47547"/>
                  </a:lnTo>
                  <a:lnTo>
                    <a:pt x="32727" y="50943"/>
                  </a:lnTo>
                  <a:lnTo>
                    <a:pt x="32727" y="53207"/>
                  </a:lnTo>
                  <a:lnTo>
                    <a:pt x="32727" y="53207"/>
                  </a:lnTo>
                  <a:lnTo>
                    <a:pt x="32727" y="53207"/>
                  </a:lnTo>
                  <a:lnTo>
                    <a:pt x="25454" y="55471"/>
                  </a:lnTo>
                  <a:lnTo>
                    <a:pt x="25454" y="55471"/>
                  </a:lnTo>
                  <a:lnTo>
                    <a:pt x="32727" y="58867"/>
                  </a:lnTo>
                  <a:lnTo>
                    <a:pt x="32727" y="58867"/>
                  </a:lnTo>
                  <a:lnTo>
                    <a:pt x="43636" y="61132"/>
                  </a:lnTo>
                  <a:lnTo>
                    <a:pt x="50909" y="63396"/>
                  </a:lnTo>
                  <a:lnTo>
                    <a:pt x="50909" y="66792"/>
                  </a:lnTo>
                  <a:lnTo>
                    <a:pt x="43636" y="66792"/>
                  </a:lnTo>
                  <a:lnTo>
                    <a:pt x="43636" y="69056"/>
                  </a:lnTo>
                  <a:lnTo>
                    <a:pt x="43636" y="69056"/>
                  </a:lnTo>
                  <a:lnTo>
                    <a:pt x="43636" y="80377"/>
                  </a:lnTo>
                  <a:lnTo>
                    <a:pt x="32727" y="84905"/>
                  </a:lnTo>
                  <a:lnTo>
                    <a:pt x="32727" y="84905"/>
                  </a:lnTo>
                  <a:lnTo>
                    <a:pt x="32727" y="88301"/>
                  </a:lnTo>
                  <a:lnTo>
                    <a:pt x="32727" y="88301"/>
                  </a:lnTo>
                  <a:lnTo>
                    <a:pt x="43636" y="88301"/>
                  </a:lnTo>
                  <a:lnTo>
                    <a:pt x="43636" y="88301"/>
                  </a:lnTo>
                  <a:lnTo>
                    <a:pt x="43636" y="92830"/>
                  </a:lnTo>
                  <a:lnTo>
                    <a:pt x="43636" y="96226"/>
                  </a:lnTo>
                  <a:lnTo>
                    <a:pt x="43636" y="96226"/>
                  </a:lnTo>
                  <a:lnTo>
                    <a:pt x="43636" y="96226"/>
                  </a:lnTo>
                  <a:lnTo>
                    <a:pt x="32727" y="98490"/>
                  </a:lnTo>
                  <a:lnTo>
                    <a:pt x="32727" y="98490"/>
                  </a:lnTo>
                  <a:lnTo>
                    <a:pt x="32727" y="100754"/>
                  </a:lnTo>
                  <a:lnTo>
                    <a:pt x="32727" y="100754"/>
                  </a:lnTo>
                  <a:lnTo>
                    <a:pt x="32727" y="100754"/>
                  </a:lnTo>
                  <a:lnTo>
                    <a:pt x="43636" y="104150"/>
                  </a:lnTo>
                  <a:lnTo>
                    <a:pt x="43636" y="106415"/>
                  </a:lnTo>
                  <a:lnTo>
                    <a:pt x="50909" y="106415"/>
                  </a:lnTo>
                  <a:lnTo>
                    <a:pt x="50909" y="109811"/>
                  </a:lnTo>
                  <a:lnTo>
                    <a:pt x="50909" y="109811"/>
                  </a:lnTo>
                  <a:lnTo>
                    <a:pt x="50909" y="109811"/>
                  </a:lnTo>
                  <a:lnTo>
                    <a:pt x="58181" y="112075"/>
                  </a:lnTo>
                  <a:lnTo>
                    <a:pt x="58181" y="114339"/>
                  </a:lnTo>
                  <a:lnTo>
                    <a:pt x="69090" y="114339"/>
                  </a:lnTo>
                  <a:lnTo>
                    <a:pt x="69090" y="114339"/>
                  </a:lnTo>
                  <a:lnTo>
                    <a:pt x="69090" y="117735"/>
                  </a:lnTo>
                  <a:lnTo>
                    <a:pt x="76363" y="117735"/>
                  </a:lnTo>
                  <a:lnTo>
                    <a:pt x="76363" y="117735"/>
                  </a:lnTo>
                  <a:lnTo>
                    <a:pt x="76363" y="117735"/>
                  </a:lnTo>
                  <a:lnTo>
                    <a:pt x="76363" y="120000"/>
                  </a:lnTo>
                  <a:lnTo>
                    <a:pt x="83636" y="117735"/>
                  </a:lnTo>
                  <a:lnTo>
                    <a:pt x="112727" y="117735"/>
                  </a:lnTo>
                  <a:lnTo>
                    <a:pt x="112727" y="114339"/>
                  </a:lnTo>
                  <a:lnTo>
                    <a:pt x="120000" y="114339"/>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69" name="Shape 369"/>
            <p:cNvSpPr/>
            <p:nvPr/>
          </p:nvSpPr>
          <p:spPr>
            <a:xfrm>
              <a:off x="5439" y="2377"/>
              <a:ext cx="300" cy="300"/>
            </a:xfrm>
            <a:custGeom>
              <a:avLst/>
              <a:gdLst/>
              <a:ahLst/>
              <a:cxnLst/>
              <a:rect l="0" t="0" r="0" b="0"/>
              <a:pathLst>
                <a:path w="120000" h="120000" extrusionOk="0">
                  <a:moveTo>
                    <a:pt x="28860" y="100000"/>
                  </a:moveTo>
                  <a:lnTo>
                    <a:pt x="27341" y="99230"/>
                  </a:lnTo>
                  <a:lnTo>
                    <a:pt x="27341" y="99230"/>
                  </a:lnTo>
                  <a:lnTo>
                    <a:pt x="27341" y="101153"/>
                  </a:lnTo>
                  <a:lnTo>
                    <a:pt x="27341" y="103076"/>
                  </a:lnTo>
                  <a:lnTo>
                    <a:pt x="28860" y="103076"/>
                  </a:lnTo>
                  <a:lnTo>
                    <a:pt x="28860" y="101923"/>
                  </a:lnTo>
                  <a:lnTo>
                    <a:pt x="28860" y="101923"/>
                  </a:lnTo>
                  <a:lnTo>
                    <a:pt x="28860" y="101153"/>
                  </a:lnTo>
                  <a:lnTo>
                    <a:pt x="28860" y="101153"/>
                  </a:lnTo>
                  <a:lnTo>
                    <a:pt x="28860" y="100000"/>
                  </a:lnTo>
                  <a:lnTo>
                    <a:pt x="28860" y="100000"/>
                  </a:lnTo>
                  <a:close/>
                  <a:moveTo>
                    <a:pt x="27341" y="91923"/>
                  </a:moveTo>
                  <a:lnTo>
                    <a:pt x="27341" y="91153"/>
                  </a:lnTo>
                  <a:lnTo>
                    <a:pt x="27341" y="91923"/>
                  </a:lnTo>
                  <a:lnTo>
                    <a:pt x="25063" y="91923"/>
                  </a:lnTo>
                  <a:lnTo>
                    <a:pt x="25063" y="91923"/>
                  </a:lnTo>
                  <a:lnTo>
                    <a:pt x="27341" y="91923"/>
                  </a:lnTo>
                  <a:lnTo>
                    <a:pt x="27341" y="91923"/>
                  </a:lnTo>
                  <a:close/>
                  <a:moveTo>
                    <a:pt x="120000" y="43846"/>
                  </a:moveTo>
                  <a:lnTo>
                    <a:pt x="120000" y="42692"/>
                  </a:lnTo>
                  <a:lnTo>
                    <a:pt x="118481" y="41923"/>
                  </a:lnTo>
                  <a:lnTo>
                    <a:pt x="118481" y="41153"/>
                  </a:lnTo>
                  <a:lnTo>
                    <a:pt x="120000" y="41153"/>
                  </a:lnTo>
                  <a:lnTo>
                    <a:pt x="120000" y="40000"/>
                  </a:lnTo>
                  <a:lnTo>
                    <a:pt x="120000" y="40000"/>
                  </a:lnTo>
                  <a:lnTo>
                    <a:pt x="120000" y="39230"/>
                  </a:lnTo>
                  <a:lnTo>
                    <a:pt x="120000" y="38461"/>
                  </a:lnTo>
                  <a:lnTo>
                    <a:pt x="120000" y="38461"/>
                  </a:lnTo>
                  <a:lnTo>
                    <a:pt x="118481" y="37307"/>
                  </a:lnTo>
                  <a:lnTo>
                    <a:pt x="118481" y="37307"/>
                  </a:lnTo>
                  <a:lnTo>
                    <a:pt x="116962" y="37307"/>
                  </a:lnTo>
                  <a:lnTo>
                    <a:pt x="116962" y="36538"/>
                  </a:lnTo>
                  <a:lnTo>
                    <a:pt x="116962" y="36538"/>
                  </a:lnTo>
                  <a:lnTo>
                    <a:pt x="116962" y="35769"/>
                  </a:lnTo>
                  <a:lnTo>
                    <a:pt x="114683" y="35769"/>
                  </a:lnTo>
                  <a:lnTo>
                    <a:pt x="113164" y="34615"/>
                  </a:lnTo>
                  <a:lnTo>
                    <a:pt x="111645" y="34615"/>
                  </a:lnTo>
                  <a:lnTo>
                    <a:pt x="111645" y="33846"/>
                  </a:lnTo>
                  <a:lnTo>
                    <a:pt x="109367" y="32692"/>
                  </a:lnTo>
                  <a:lnTo>
                    <a:pt x="107848" y="31923"/>
                  </a:lnTo>
                  <a:lnTo>
                    <a:pt x="105569" y="30000"/>
                  </a:lnTo>
                  <a:lnTo>
                    <a:pt x="105569" y="28461"/>
                  </a:lnTo>
                  <a:lnTo>
                    <a:pt x="105569" y="27307"/>
                  </a:lnTo>
                  <a:lnTo>
                    <a:pt x="105569" y="25769"/>
                  </a:lnTo>
                  <a:lnTo>
                    <a:pt x="104050" y="23846"/>
                  </a:lnTo>
                  <a:lnTo>
                    <a:pt x="102531" y="22692"/>
                  </a:lnTo>
                  <a:lnTo>
                    <a:pt x="100253" y="22692"/>
                  </a:lnTo>
                  <a:lnTo>
                    <a:pt x="98734" y="21923"/>
                  </a:lnTo>
                  <a:lnTo>
                    <a:pt x="97215" y="21153"/>
                  </a:lnTo>
                  <a:lnTo>
                    <a:pt x="94936" y="19230"/>
                  </a:lnTo>
                  <a:lnTo>
                    <a:pt x="93417" y="17307"/>
                  </a:lnTo>
                  <a:lnTo>
                    <a:pt x="91898" y="16538"/>
                  </a:lnTo>
                  <a:lnTo>
                    <a:pt x="91898" y="17307"/>
                  </a:lnTo>
                  <a:lnTo>
                    <a:pt x="89620" y="16538"/>
                  </a:lnTo>
                  <a:lnTo>
                    <a:pt x="86582" y="16538"/>
                  </a:lnTo>
                  <a:lnTo>
                    <a:pt x="84303" y="16538"/>
                  </a:lnTo>
                  <a:lnTo>
                    <a:pt x="82784" y="16538"/>
                  </a:lnTo>
                  <a:lnTo>
                    <a:pt x="82784" y="16538"/>
                  </a:lnTo>
                  <a:lnTo>
                    <a:pt x="80506" y="16538"/>
                  </a:lnTo>
                  <a:lnTo>
                    <a:pt x="82784" y="16538"/>
                  </a:lnTo>
                  <a:lnTo>
                    <a:pt x="82784" y="17307"/>
                  </a:lnTo>
                  <a:lnTo>
                    <a:pt x="82784" y="17307"/>
                  </a:lnTo>
                  <a:lnTo>
                    <a:pt x="80506" y="17307"/>
                  </a:lnTo>
                  <a:lnTo>
                    <a:pt x="80506" y="17307"/>
                  </a:lnTo>
                  <a:lnTo>
                    <a:pt x="80506" y="18461"/>
                  </a:lnTo>
                  <a:lnTo>
                    <a:pt x="78987" y="19230"/>
                  </a:lnTo>
                  <a:lnTo>
                    <a:pt x="78987" y="19230"/>
                  </a:lnTo>
                  <a:lnTo>
                    <a:pt x="77468" y="20000"/>
                  </a:lnTo>
                  <a:lnTo>
                    <a:pt x="77468" y="20000"/>
                  </a:lnTo>
                  <a:lnTo>
                    <a:pt x="75189" y="20000"/>
                  </a:lnTo>
                  <a:lnTo>
                    <a:pt x="75189" y="21153"/>
                  </a:lnTo>
                  <a:lnTo>
                    <a:pt x="75189" y="21153"/>
                  </a:lnTo>
                  <a:lnTo>
                    <a:pt x="75189" y="21153"/>
                  </a:lnTo>
                  <a:lnTo>
                    <a:pt x="73670" y="21153"/>
                  </a:lnTo>
                  <a:lnTo>
                    <a:pt x="73670" y="20000"/>
                  </a:lnTo>
                  <a:lnTo>
                    <a:pt x="73670" y="20000"/>
                  </a:lnTo>
                  <a:lnTo>
                    <a:pt x="73670" y="20000"/>
                  </a:lnTo>
                  <a:lnTo>
                    <a:pt x="72151" y="19230"/>
                  </a:lnTo>
                  <a:lnTo>
                    <a:pt x="69873" y="19230"/>
                  </a:lnTo>
                  <a:lnTo>
                    <a:pt x="68354" y="18461"/>
                  </a:lnTo>
                  <a:lnTo>
                    <a:pt x="66835" y="17307"/>
                  </a:lnTo>
                  <a:lnTo>
                    <a:pt x="66835" y="17307"/>
                  </a:lnTo>
                  <a:lnTo>
                    <a:pt x="64556" y="18461"/>
                  </a:lnTo>
                  <a:lnTo>
                    <a:pt x="64556" y="19230"/>
                  </a:lnTo>
                  <a:lnTo>
                    <a:pt x="63037" y="19230"/>
                  </a:lnTo>
                  <a:lnTo>
                    <a:pt x="63037" y="19230"/>
                  </a:lnTo>
                  <a:lnTo>
                    <a:pt x="61518" y="19230"/>
                  </a:lnTo>
                  <a:lnTo>
                    <a:pt x="61518" y="20000"/>
                  </a:lnTo>
                  <a:lnTo>
                    <a:pt x="61518" y="20000"/>
                  </a:lnTo>
                  <a:lnTo>
                    <a:pt x="59240" y="21153"/>
                  </a:lnTo>
                  <a:lnTo>
                    <a:pt x="59240" y="21153"/>
                  </a:lnTo>
                  <a:lnTo>
                    <a:pt x="57721" y="21923"/>
                  </a:lnTo>
                  <a:lnTo>
                    <a:pt x="55443" y="22692"/>
                  </a:lnTo>
                  <a:lnTo>
                    <a:pt x="53924" y="23846"/>
                  </a:lnTo>
                  <a:lnTo>
                    <a:pt x="53924" y="23846"/>
                  </a:lnTo>
                  <a:lnTo>
                    <a:pt x="52405" y="23846"/>
                  </a:lnTo>
                  <a:lnTo>
                    <a:pt x="52405" y="22692"/>
                  </a:lnTo>
                  <a:lnTo>
                    <a:pt x="50126" y="22692"/>
                  </a:lnTo>
                  <a:lnTo>
                    <a:pt x="52405" y="21153"/>
                  </a:lnTo>
                  <a:lnTo>
                    <a:pt x="52405" y="19230"/>
                  </a:lnTo>
                  <a:lnTo>
                    <a:pt x="52405" y="18461"/>
                  </a:lnTo>
                  <a:lnTo>
                    <a:pt x="52405" y="17307"/>
                  </a:lnTo>
                  <a:lnTo>
                    <a:pt x="52405" y="17307"/>
                  </a:lnTo>
                  <a:lnTo>
                    <a:pt x="52405" y="16538"/>
                  </a:lnTo>
                  <a:lnTo>
                    <a:pt x="50126" y="16538"/>
                  </a:lnTo>
                  <a:lnTo>
                    <a:pt x="50126" y="15769"/>
                  </a:lnTo>
                  <a:lnTo>
                    <a:pt x="50126" y="15769"/>
                  </a:lnTo>
                  <a:lnTo>
                    <a:pt x="52405" y="15769"/>
                  </a:lnTo>
                  <a:lnTo>
                    <a:pt x="52405" y="14615"/>
                  </a:lnTo>
                  <a:lnTo>
                    <a:pt x="52405" y="12692"/>
                  </a:lnTo>
                  <a:lnTo>
                    <a:pt x="53924" y="11923"/>
                  </a:lnTo>
                  <a:lnTo>
                    <a:pt x="52405" y="11153"/>
                  </a:lnTo>
                  <a:lnTo>
                    <a:pt x="52405" y="10000"/>
                  </a:lnTo>
                  <a:lnTo>
                    <a:pt x="50126" y="8461"/>
                  </a:lnTo>
                  <a:lnTo>
                    <a:pt x="50126" y="7307"/>
                  </a:lnTo>
                  <a:lnTo>
                    <a:pt x="50126" y="6538"/>
                  </a:lnTo>
                  <a:lnTo>
                    <a:pt x="50126" y="6538"/>
                  </a:lnTo>
                  <a:lnTo>
                    <a:pt x="47088" y="6538"/>
                  </a:lnTo>
                  <a:lnTo>
                    <a:pt x="47088" y="6538"/>
                  </a:lnTo>
                  <a:lnTo>
                    <a:pt x="44810" y="6538"/>
                  </a:lnTo>
                  <a:lnTo>
                    <a:pt x="44810" y="7307"/>
                  </a:lnTo>
                  <a:lnTo>
                    <a:pt x="44810" y="7307"/>
                  </a:lnTo>
                  <a:lnTo>
                    <a:pt x="43291" y="7307"/>
                  </a:lnTo>
                  <a:lnTo>
                    <a:pt x="41772" y="6538"/>
                  </a:lnTo>
                  <a:lnTo>
                    <a:pt x="39493" y="6538"/>
                  </a:lnTo>
                  <a:lnTo>
                    <a:pt x="39493" y="5769"/>
                  </a:lnTo>
                  <a:lnTo>
                    <a:pt x="39493" y="3846"/>
                  </a:lnTo>
                  <a:lnTo>
                    <a:pt x="39493" y="2692"/>
                  </a:lnTo>
                  <a:lnTo>
                    <a:pt x="39493" y="2692"/>
                  </a:lnTo>
                  <a:lnTo>
                    <a:pt x="39493" y="1923"/>
                  </a:lnTo>
                  <a:lnTo>
                    <a:pt x="39493" y="1923"/>
                  </a:lnTo>
                  <a:lnTo>
                    <a:pt x="39493" y="1923"/>
                  </a:lnTo>
                  <a:lnTo>
                    <a:pt x="37974" y="1153"/>
                  </a:lnTo>
                  <a:lnTo>
                    <a:pt x="37974" y="0"/>
                  </a:lnTo>
                  <a:lnTo>
                    <a:pt x="36455" y="0"/>
                  </a:lnTo>
                  <a:lnTo>
                    <a:pt x="36455" y="0"/>
                  </a:lnTo>
                  <a:lnTo>
                    <a:pt x="36455" y="0"/>
                  </a:lnTo>
                  <a:lnTo>
                    <a:pt x="34177" y="1153"/>
                  </a:lnTo>
                  <a:lnTo>
                    <a:pt x="34177" y="1153"/>
                  </a:lnTo>
                  <a:lnTo>
                    <a:pt x="34177" y="1153"/>
                  </a:lnTo>
                  <a:lnTo>
                    <a:pt x="34177" y="1153"/>
                  </a:lnTo>
                  <a:lnTo>
                    <a:pt x="32658" y="0"/>
                  </a:lnTo>
                  <a:lnTo>
                    <a:pt x="30379" y="0"/>
                  </a:lnTo>
                  <a:lnTo>
                    <a:pt x="30379" y="0"/>
                  </a:lnTo>
                  <a:lnTo>
                    <a:pt x="30379" y="0"/>
                  </a:lnTo>
                  <a:lnTo>
                    <a:pt x="28860" y="0"/>
                  </a:lnTo>
                  <a:lnTo>
                    <a:pt x="28860" y="1153"/>
                  </a:lnTo>
                  <a:lnTo>
                    <a:pt x="27341" y="1153"/>
                  </a:lnTo>
                  <a:lnTo>
                    <a:pt x="25063" y="0"/>
                  </a:lnTo>
                  <a:lnTo>
                    <a:pt x="25063" y="0"/>
                  </a:lnTo>
                  <a:lnTo>
                    <a:pt x="25063" y="0"/>
                  </a:lnTo>
                  <a:lnTo>
                    <a:pt x="25063" y="1153"/>
                  </a:lnTo>
                  <a:lnTo>
                    <a:pt x="25063" y="1923"/>
                  </a:lnTo>
                  <a:lnTo>
                    <a:pt x="25063" y="1923"/>
                  </a:lnTo>
                  <a:lnTo>
                    <a:pt x="25063" y="1923"/>
                  </a:lnTo>
                  <a:lnTo>
                    <a:pt x="25063" y="2692"/>
                  </a:lnTo>
                  <a:lnTo>
                    <a:pt x="23544" y="2692"/>
                  </a:lnTo>
                  <a:lnTo>
                    <a:pt x="23544" y="2692"/>
                  </a:lnTo>
                  <a:lnTo>
                    <a:pt x="22025" y="1923"/>
                  </a:lnTo>
                  <a:lnTo>
                    <a:pt x="19746" y="1923"/>
                  </a:lnTo>
                  <a:lnTo>
                    <a:pt x="19746" y="2692"/>
                  </a:lnTo>
                  <a:lnTo>
                    <a:pt x="19746" y="2692"/>
                  </a:lnTo>
                  <a:lnTo>
                    <a:pt x="19746" y="2692"/>
                  </a:lnTo>
                  <a:lnTo>
                    <a:pt x="19746" y="4615"/>
                  </a:lnTo>
                  <a:lnTo>
                    <a:pt x="18227" y="4615"/>
                  </a:lnTo>
                  <a:lnTo>
                    <a:pt x="18227" y="4615"/>
                  </a:lnTo>
                  <a:lnTo>
                    <a:pt x="18227" y="5769"/>
                  </a:lnTo>
                  <a:lnTo>
                    <a:pt x="16708" y="4615"/>
                  </a:lnTo>
                  <a:lnTo>
                    <a:pt x="16708" y="5769"/>
                  </a:lnTo>
                  <a:lnTo>
                    <a:pt x="12911" y="5769"/>
                  </a:lnTo>
                  <a:lnTo>
                    <a:pt x="12911" y="5769"/>
                  </a:lnTo>
                  <a:lnTo>
                    <a:pt x="11392" y="5769"/>
                  </a:lnTo>
                  <a:lnTo>
                    <a:pt x="9113" y="5769"/>
                  </a:lnTo>
                  <a:lnTo>
                    <a:pt x="9113" y="5769"/>
                  </a:lnTo>
                  <a:lnTo>
                    <a:pt x="7594" y="5769"/>
                  </a:lnTo>
                  <a:lnTo>
                    <a:pt x="5316" y="5769"/>
                  </a:lnTo>
                  <a:lnTo>
                    <a:pt x="5316" y="5769"/>
                  </a:lnTo>
                  <a:lnTo>
                    <a:pt x="5316" y="6538"/>
                  </a:lnTo>
                  <a:lnTo>
                    <a:pt x="5316" y="6538"/>
                  </a:lnTo>
                  <a:lnTo>
                    <a:pt x="3797" y="7307"/>
                  </a:lnTo>
                  <a:lnTo>
                    <a:pt x="3797" y="9230"/>
                  </a:lnTo>
                  <a:lnTo>
                    <a:pt x="3797" y="10000"/>
                  </a:lnTo>
                  <a:lnTo>
                    <a:pt x="3797" y="11153"/>
                  </a:lnTo>
                  <a:lnTo>
                    <a:pt x="3797" y="11923"/>
                  </a:lnTo>
                  <a:lnTo>
                    <a:pt x="5316" y="14615"/>
                  </a:lnTo>
                  <a:lnTo>
                    <a:pt x="3797" y="14615"/>
                  </a:lnTo>
                  <a:lnTo>
                    <a:pt x="3797" y="14615"/>
                  </a:lnTo>
                  <a:lnTo>
                    <a:pt x="3797" y="14615"/>
                  </a:lnTo>
                  <a:lnTo>
                    <a:pt x="2278" y="15769"/>
                  </a:lnTo>
                  <a:lnTo>
                    <a:pt x="2278" y="15769"/>
                  </a:lnTo>
                  <a:lnTo>
                    <a:pt x="2278" y="15769"/>
                  </a:lnTo>
                  <a:lnTo>
                    <a:pt x="0" y="15769"/>
                  </a:lnTo>
                  <a:lnTo>
                    <a:pt x="0" y="15769"/>
                  </a:lnTo>
                  <a:lnTo>
                    <a:pt x="0" y="15769"/>
                  </a:lnTo>
                  <a:lnTo>
                    <a:pt x="0" y="16538"/>
                  </a:lnTo>
                  <a:lnTo>
                    <a:pt x="2278" y="17307"/>
                  </a:lnTo>
                  <a:lnTo>
                    <a:pt x="3797" y="17307"/>
                  </a:lnTo>
                  <a:lnTo>
                    <a:pt x="3797" y="17307"/>
                  </a:lnTo>
                  <a:lnTo>
                    <a:pt x="3797" y="17307"/>
                  </a:lnTo>
                  <a:lnTo>
                    <a:pt x="3797" y="18461"/>
                  </a:lnTo>
                  <a:lnTo>
                    <a:pt x="5316" y="19230"/>
                  </a:lnTo>
                  <a:lnTo>
                    <a:pt x="5316" y="20000"/>
                  </a:lnTo>
                  <a:lnTo>
                    <a:pt x="5316" y="21153"/>
                  </a:lnTo>
                  <a:lnTo>
                    <a:pt x="5316" y="21153"/>
                  </a:lnTo>
                  <a:lnTo>
                    <a:pt x="5316" y="21153"/>
                  </a:lnTo>
                  <a:lnTo>
                    <a:pt x="7594" y="21923"/>
                  </a:lnTo>
                  <a:lnTo>
                    <a:pt x="9113" y="22692"/>
                  </a:lnTo>
                  <a:lnTo>
                    <a:pt x="11392" y="24615"/>
                  </a:lnTo>
                  <a:lnTo>
                    <a:pt x="12911" y="25769"/>
                  </a:lnTo>
                  <a:lnTo>
                    <a:pt x="14430" y="26538"/>
                  </a:lnTo>
                  <a:lnTo>
                    <a:pt x="18227" y="27307"/>
                  </a:lnTo>
                  <a:lnTo>
                    <a:pt x="18227" y="28461"/>
                  </a:lnTo>
                  <a:lnTo>
                    <a:pt x="18227" y="30000"/>
                  </a:lnTo>
                  <a:lnTo>
                    <a:pt x="19746" y="30000"/>
                  </a:lnTo>
                  <a:lnTo>
                    <a:pt x="19746" y="31153"/>
                  </a:lnTo>
                  <a:lnTo>
                    <a:pt x="19746" y="31923"/>
                  </a:lnTo>
                  <a:lnTo>
                    <a:pt x="22025" y="32692"/>
                  </a:lnTo>
                  <a:lnTo>
                    <a:pt x="22025" y="32692"/>
                  </a:lnTo>
                  <a:lnTo>
                    <a:pt x="23544" y="31923"/>
                  </a:lnTo>
                  <a:lnTo>
                    <a:pt x="25063" y="32692"/>
                  </a:lnTo>
                  <a:lnTo>
                    <a:pt x="25063" y="32692"/>
                  </a:lnTo>
                  <a:lnTo>
                    <a:pt x="25063" y="33846"/>
                  </a:lnTo>
                  <a:lnTo>
                    <a:pt x="25063" y="33846"/>
                  </a:lnTo>
                  <a:lnTo>
                    <a:pt x="23544" y="34615"/>
                  </a:lnTo>
                  <a:lnTo>
                    <a:pt x="22025" y="35769"/>
                  </a:lnTo>
                  <a:lnTo>
                    <a:pt x="22025" y="36538"/>
                  </a:lnTo>
                  <a:lnTo>
                    <a:pt x="22025" y="37307"/>
                  </a:lnTo>
                  <a:lnTo>
                    <a:pt x="22025" y="39230"/>
                  </a:lnTo>
                  <a:lnTo>
                    <a:pt x="22025" y="41153"/>
                  </a:lnTo>
                  <a:lnTo>
                    <a:pt x="22025" y="41153"/>
                  </a:lnTo>
                  <a:lnTo>
                    <a:pt x="22025" y="41153"/>
                  </a:lnTo>
                  <a:lnTo>
                    <a:pt x="19746" y="41153"/>
                  </a:lnTo>
                  <a:lnTo>
                    <a:pt x="19746" y="41923"/>
                  </a:lnTo>
                  <a:lnTo>
                    <a:pt x="18227" y="41923"/>
                  </a:lnTo>
                  <a:lnTo>
                    <a:pt x="18227" y="41923"/>
                  </a:lnTo>
                  <a:lnTo>
                    <a:pt x="16708" y="41923"/>
                  </a:lnTo>
                  <a:lnTo>
                    <a:pt x="16708" y="42692"/>
                  </a:lnTo>
                  <a:lnTo>
                    <a:pt x="18227" y="43846"/>
                  </a:lnTo>
                  <a:lnTo>
                    <a:pt x="18227" y="45769"/>
                  </a:lnTo>
                  <a:lnTo>
                    <a:pt x="19746" y="46538"/>
                  </a:lnTo>
                  <a:lnTo>
                    <a:pt x="22025" y="47307"/>
                  </a:lnTo>
                  <a:lnTo>
                    <a:pt x="23544" y="48461"/>
                  </a:lnTo>
                  <a:lnTo>
                    <a:pt x="23544" y="49230"/>
                  </a:lnTo>
                  <a:lnTo>
                    <a:pt x="27341" y="50000"/>
                  </a:lnTo>
                  <a:lnTo>
                    <a:pt x="28860" y="51923"/>
                  </a:lnTo>
                  <a:lnTo>
                    <a:pt x="30379" y="52692"/>
                  </a:lnTo>
                  <a:lnTo>
                    <a:pt x="32658" y="53846"/>
                  </a:lnTo>
                  <a:lnTo>
                    <a:pt x="32658" y="54615"/>
                  </a:lnTo>
                  <a:lnTo>
                    <a:pt x="32658" y="55769"/>
                  </a:lnTo>
                  <a:lnTo>
                    <a:pt x="34177" y="56538"/>
                  </a:lnTo>
                  <a:lnTo>
                    <a:pt x="34177" y="58461"/>
                  </a:lnTo>
                  <a:lnTo>
                    <a:pt x="34177" y="58461"/>
                  </a:lnTo>
                  <a:lnTo>
                    <a:pt x="32658" y="59230"/>
                  </a:lnTo>
                  <a:lnTo>
                    <a:pt x="34177" y="60000"/>
                  </a:lnTo>
                  <a:lnTo>
                    <a:pt x="34177" y="60000"/>
                  </a:lnTo>
                  <a:lnTo>
                    <a:pt x="34177" y="61153"/>
                  </a:lnTo>
                  <a:lnTo>
                    <a:pt x="36455" y="61923"/>
                  </a:lnTo>
                  <a:lnTo>
                    <a:pt x="36455" y="62692"/>
                  </a:lnTo>
                  <a:lnTo>
                    <a:pt x="37974" y="63846"/>
                  </a:lnTo>
                  <a:lnTo>
                    <a:pt x="37974" y="63846"/>
                  </a:lnTo>
                  <a:lnTo>
                    <a:pt x="37974" y="64615"/>
                  </a:lnTo>
                  <a:lnTo>
                    <a:pt x="37974" y="64615"/>
                  </a:lnTo>
                  <a:lnTo>
                    <a:pt x="39493" y="65769"/>
                  </a:lnTo>
                  <a:lnTo>
                    <a:pt x="39493" y="66538"/>
                  </a:lnTo>
                  <a:lnTo>
                    <a:pt x="41772" y="67307"/>
                  </a:lnTo>
                  <a:lnTo>
                    <a:pt x="41772" y="70000"/>
                  </a:lnTo>
                  <a:lnTo>
                    <a:pt x="41772" y="70000"/>
                  </a:lnTo>
                  <a:lnTo>
                    <a:pt x="41772" y="71153"/>
                  </a:lnTo>
                  <a:lnTo>
                    <a:pt x="41772" y="71153"/>
                  </a:lnTo>
                  <a:lnTo>
                    <a:pt x="39493" y="71153"/>
                  </a:lnTo>
                  <a:lnTo>
                    <a:pt x="39493" y="71923"/>
                  </a:lnTo>
                  <a:lnTo>
                    <a:pt x="39493" y="72692"/>
                  </a:lnTo>
                  <a:lnTo>
                    <a:pt x="37974" y="75769"/>
                  </a:lnTo>
                  <a:lnTo>
                    <a:pt x="34177" y="77307"/>
                  </a:lnTo>
                  <a:lnTo>
                    <a:pt x="32658" y="78461"/>
                  </a:lnTo>
                  <a:lnTo>
                    <a:pt x="32658" y="78461"/>
                  </a:lnTo>
                  <a:lnTo>
                    <a:pt x="30379" y="79230"/>
                  </a:lnTo>
                  <a:lnTo>
                    <a:pt x="30379" y="79230"/>
                  </a:lnTo>
                  <a:lnTo>
                    <a:pt x="32658" y="80000"/>
                  </a:lnTo>
                  <a:lnTo>
                    <a:pt x="32658" y="81153"/>
                  </a:lnTo>
                  <a:lnTo>
                    <a:pt x="32658" y="81923"/>
                  </a:lnTo>
                  <a:lnTo>
                    <a:pt x="30379" y="81923"/>
                  </a:lnTo>
                  <a:lnTo>
                    <a:pt x="30379" y="83076"/>
                  </a:lnTo>
                  <a:lnTo>
                    <a:pt x="28860" y="85769"/>
                  </a:lnTo>
                  <a:lnTo>
                    <a:pt x="28860" y="88461"/>
                  </a:lnTo>
                  <a:lnTo>
                    <a:pt x="28860" y="88461"/>
                  </a:lnTo>
                  <a:lnTo>
                    <a:pt x="27341" y="90000"/>
                  </a:lnTo>
                  <a:lnTo>
                    <a:pt x="27341" y="93076"/>
                  </a:lnTo>
                  <a:lnTo>
                    <a:pt x="25063" y="94615"/>
                  </a:lnTo>
                  <a:lnTo>
                    <a:pt x="25063" y="96538"/>
                  </a:lnTo>
                  <a:lnTo>
                    <a:pt x="27341" y="97307"/>
                  </a:lnTo>
                  <a:lnTo>
                    <a:pt x="27341" y="99230"/>
                  </a:lnTo>
                  <a:lnTo>
                    <a:pt x="28860" y="99230"/>
                  </a:lnTo>
                  <a:lnTo>
                    <a:pt x="28860" y="99230"/>
                  </a:lnTo>
                  <a:lnTo>
                    <a:pt x="30379" y="98461"/>
                  </a:lnTo>
                  <a:lnTo>
                    <a:pt x="30379" y="98461"/>
                  </a:lnTo>
                  <a:lnTo>
                    <a:pt x="30379" y="98461"/>
                  </a:lnTo>
                  <a:lnTo>
                    <a:pt x="32658" y="98461"/>
                  </a:lnTo>
                  <a:lnTo>
                    <a:pt x="32658" y="98461"/>
                  </a:lnTo>
                  <a:lnTo>
                    <a:pt x="34177" y="100000"/>
                  </a:lnTo>
                  <a:lnTo>
                    <a:pt x="36455" y="100000"/>
                  </a:lnTo>
                  <a:lnTo>
                    <a:pt x="37974" y="101153"/>
                  </a:lnTo>
                  <a:lnTo>
                    <a:pt x="37974" y="101923"/>
                  </a:lnTo>
                  <a:lnTo>
                    <a:pt x="37974" y="103076"/>
                  </a:lnTo>
                  <a:lnTo>
                    <a:pt x="39493" y="103076"/>
                  </a:lnTo>
                  <a:lnTo>
                    <a:pt x="39493" y="103076"/>
                  </a:lnTo>
                  <a:lnTo>
                    <a:pt x="41772" y="103846"/>
                  </a:lnTo>
                  <a:lnTo>
                    <a:pt x="41772" y="104615"/>
                  </a:lnTo>
                  <a:lnTo>
                    <a:pt x="43291" y="105769"/>
                  </a:lnTo>
                  <a:lnTo>
                    <a:pt x="44810" y="106538"/>
                  </a:lnTo>
                  <a:lnTo>
                    <a:pt x="44810" y="106538"/>
                  </a:lnTo>
                  <a:lnTo>
                    <a:pt x="47088" y="105769"/>
                  </a:lnTo>
                  <a:lnTo>
                    <a:pt x="44810" y="107307"/>
                  </a:lnTo>
                  <a:lnTo>
                    <a:pt x="47088" y="107307"/>
                  </a:lnTo>
                  <a:lnTo>
                    <a:pt x="47088" y="107307"/>
                  </a:lnTo>
                  <a:lnTo>
                    <a:pt x="48607" y="108461"/>
                  </a:lnTo>
                  <a:lnTo>
                    <a:pt x="48607" y="110000"/>
                  </a:lnTo>
                  <a:lnTo>
                    <a:pt x="50126" y="111153"/>
                  </a:lnTo>
                  <a:lnTo>
                    <a:pt x="53924" y="113846"/>
                  </a:lnTo>
                  <a:lnTo>
                    <a:pt x="53924" y="113076"/>
                  </a:lnTo>
                  <a:lnTo>
                    <a:pt x="55443" y="111923"/>
                  </a:lnTo>
                  <a:lnTo>
                    <a:pt x="55443" y="111153"/>
                  </a:lnTo>
                  <a:lnTo>
                    <a:pt x="55443" y="111153"/>
                  </a:lnTo>
                  <a:lnTo>
                    <a:pt x="55443" y="111153"/>
                  </a:lnTo>
                  <a:lnTo>
                    <a:pt x="57721" y="113076"/>
                  </a:lnTo>
                  <a:lnTo>
                    <a:pt x="61518" y="113076"/>
                  </a:lnTo>
                  <a:lnTo>
                    <a:pt x="61518" y="113076"/>
                  </a:lnTo>
                  <a:lnTo>
                    <a:pt x="63037" y="113076"/>
                  </a:lnTo>
                  <a:lnTo>
                    <a:pt x="63037" y="113076"/>
                  </a:lnTo>
                  <a:lnTo>
                    <a:pt x="64556" y="113846"/>
                  </a:lnTo>
                  <a:lnTo>
                    <a:pt x="64556" y="113846"/>
                  </a:lnTo>
                  <a:lnTo>
                    <a:pt x="64556" y="114615"/>
                  </a:lnTo>
                  <a:lnTo>
                    <a:pt x="66835" y="114615"/>
                  </a:lnTo>
                  <a:lnTo>
                    <a:pt x="68354" y="114615"/>
                  </a:lnTo>
                  <a:lnTo>
                    <a:pt x="68354" y="114615"/>
                  </a:lnTo>
                  <a:lnTo>
                    <a:pt x="68354" y="115769"/>
                  </a:lnTo>
                  <a:lnTo>
                    <a:pt x="68354" y="116538"/>
                  </a:lnTo>
                  <a:lnTo>
                    <a:pt x="68354" y="117307"/>
                  </a:lnTo>
                  <a:lnTo>
                    <a:pt x="66835" y="118461"/>
                  </a:lnTo>
                  <a:lnTo>
                    <a:pt x="66835" y="119230"/>
                  </a:lnTo>
                  <a:lnTo>
                    <a:pt x="68354" y="119230"/>
                  </a:lnTo>
                  <a:lnTo>
                    <a:pt x="68354" y="119230"/>
                  </a:lnTo>
                  <a:lnTo>
                    <a:pt x="68354" y="120000"/>
                  </a:lnTo>
                  <a:lnTo>
                    <a:pt x="69873" y="120000"/>
                  </a:lnTo>
                  <a:lnTo>
                    <a:pt x="69873" y="119230"/>
                  </a:lnTo>
                  <a:lnTo>
                    <a:pt x="69873" y="119230"/>
                  </a:lnTo>
                  <a:lnTo>
                    <a:pt x="69873" y="118461"/>
                  </a:lnTo>
                  <a:lnTo>
                    <a:pt x="73670" y="118461"/>
                  </a:lnTo>
                  <a:lnTo>
                    <a:pt x="75189" y="117307"/>
                  </a:lnTo>
                  <a:lnTo>
                    <a:pt x="75189" y="117307"/>
                  </a:lnTo>
                  <a:lnTo>
                    <a:pt x="75189" y="118461"/>
                  </a:lnTo>
                  <a:lnTo>
                    <a:pt x="77468" y="118461"/>
                  </a:lnTo>
                  <a:lnTo>
                    <a:pt x="77468" y="118461"/>
                  </a:lnTo>
                  <a:lnTo>
                    <a:pt x="77468" y="119230"/>
                  </a:lnTo>
                  <a:lnTo>
                    <a:pt x="78987" y="118461"/>
                  </a:lnTo>
                  <a:lnTo>
                    <a:pt x="78987" y="118461"/>
                  </a:lnTo>
                  <a:lnTo>
                    <a:pt x="80506" y="117307"/>
                  </a:lnTo>
                  <a:lnTo>
                    <a:pt x="80506" y="117307"/>
                  </a:lnTo>
                  <a:lnTo>
                    <a:pt x="82784" y="116538"/>
                  </a:lnTo>
                  <a:lnTo>
                    <a:pt x="82784" y="115769"/>
                  </a:lnTo>
                  <a:lnTo>
                    <a:pt x="82784" y="114615"/>
                  </a:lnTo>
                  <a:lnTo>
                    <a:pt x="77468" y="113076"/>
                  </a:lnTo>
                  <a:lnTo>
                    <a:pt x="75189" y="111153"/>
                  </a:lnTo>
                  <a:lnTo>
                    <a:pt x="73670" y="110000"/>
                  </a:lnTo>
                  <a:lnTo>
                    <a:pt x="72151" y="109230"/>
                  </a:lnTo>
                  <a:lnTo>
                    <a:pt x="69873" y="109230"/>
                  </a:lnTo>
                  <a:lnTo>
                    <a:pt x="68354" y="110000"/>
                  </a:lnTo>
                  <a:lnTo>
                    <a:pt x="66835" y="110000"/>
                  </a:lnTo>
                  <a:lnTo>
                    <a:pt x="63037" y="109230"/>
                  </a:lnTo>
                  <a:lnTo>
                    <a:pt x="63037" y="108461"/>
                  </a:lnTo>
                  <a:lnTo>
                    <a:pt x="61518" y="107307"/>
                  </a:lnTo>
                  <a:lnTo>
                    <a:pt x="59240" y="107307"/>
                  </a:lnTo>
                  <a:lnTo>
                    <a:pt x="57721" y="107307"/>
                  </a:lnTo>
                  <a:lnTo>
                    <a:pt x="57721" y="106538"/>
                  </a:lnTo>
                  <a:lnTo>
                    <a:pt x="53924" y="104615"/>
                  </a:lnTo>
                  <a:lnTo>
                    <a:pt x="53924" y="103846"/>
                  </a:lnTo>
                  <a:lnTo>
                    <a:pt x="53924" y="103076"/>
                  </a:lnTo>
                  <a:lnTo>
                    <a:pt x="55443" y="103076"/>
                  </a:lnTo>
                  <a:lnTo>
                    <a:pt x="55443" y="103076"/>
                  </a:lnTo>
                  <a:lnTo>
                    <a:pt x="55443" y="103846"/>
                  </a:lnTo>
                  <a:lnTo>
                    <a:pt x="55443" y="103846"/>
                  </a:lnTo>
                  <a:lnTo>
                    <a:pt x="55443" y="104615"/>
                  </a:lnTo>
                  <a:lnTo>
                    <a:pt x="57721" y="104615"/>
                  </a:lnTo>
                  <a:lnTo>
                    <a:pt x="57721" y="104615"/>
                  </a:lnTo>
                  <a:lnTo>
                    <a:pt x="57721" y="104615"/>
                  </a:lnTo>
                  <a:lnTo>
                    <a:pt x="57721" y="106538"/>
                  </a:lnTo>
                  <a:lnTo>
                    <a:pt x="59240" y="107307"/>
                  </a:lnTo>
                  <a:lnTo>
                    <a:pt x="59240" y="106538"/>
                  </a:lnTo>
                  <a:lnTo>
                    <a:pt x="57721" y="105769"/>
                  </a:lnTo>
                  <a:lnTo>
                    <a:pt x="55443" y="98461"/>
                  </a:lnTo>
                  <a:lnTo>
                    <a:pt x="53924" y="97307"/>
                  </a:lnTo>
                  <a:lnTo>
                    <a:pt x="53924" y="96538"/>
                  </a:lnTo>
                  <a:lnTo>
                    <a:pt x="53924" y="96538"/>
                  </a:lnTo>
                  <a:lnTo>
                    <a:pt x="53924" y="97307"/>
                  </a:lnTo>
                  <a:lnTo>
                    <a:pt x="52405" y="97307"/>
                  </a:lnTo>
                  <a:lnTo>
                    <a:pt x="52405" y="96538"/>
                  </a:lnTo>
                  <a:lnTo>
                    <a:pt x="50126" y="95769"/>
                  </a:lnTo>
                  <a:lnTo>
                    <a:pt x="50126" y="95769"/>
                  </a:lnTo>
                  <a:lnTo>
                    <a:pt x="48607" y="91923"/>
                  </a:lnTo>
                  <a:lnTo>
                    <a:pt x="48607" y="91153"/>
                  </a:lnTo>
                  <a:lnTo>
                    <a:pt x="48607" y="90000"/>
                  </a:lnTo>
                  <a:lnTo>
                    <a:pt x="47088" y="90000"/>
                  </a:lnTo>
                  <a:lnTo>
                    <a:pt x="41772" y="91153"/>
                  </a:lnTo>
                  <a:lnTo>
                    <a:pt x="41772" y="91153"/>
                  </a:lnTo>
                  <a:lnTo>
                    <a:pt x="39493" y="90000"/>
                  </a:lnTo>
                  <a:lnTo>
                    <a:pt x="39493" y="90000"/>
                  </a:lnTo>
                  <a:lnTo>
                    <a:pt x="39493" y="89230"/>
                  </a:lnTo>
                  <a:lnTo>
                    <a:pt x="37974" y="87307"/>
                  </a:lnTo>
                  <a:lnTo>
                    <a:pt x="37974" y="86538"/>
                  </a:lnTo>
                  <a:lnTo>
                    <a:pt x="37974" y="84615"/>
                  </a:lnTo>
                  <a:lnTo>
                    <a:pt x="37974" y="83076"/>
                  </a:lnTo>
                  <a:lnTo>
                    <a:pt x="37974" y="81923"/>
                  </a:lnTo>
                  <a:lnTo>
                    <a:pt x="37974" y="81923"/>
                  </a:lnTo>
                  <a:lnTo>
                    <a:pt x="37974" y="81153"/>
                  </a:lnTo>
                  <a:lnTo>
                    <a:pt x="39493" y="80000"/>
                  </a:lnTo>
                  <a:lnTo>
                    <a:pt x="41772" y="77307"/>
                  </a:lnTo>
                  <a:lnTo>
                    <a:pt x="41772" y="75769"/>
                  </a:lnTo>
                  <a:lnTo>
                    <a:pt x="41772" y="74615"/>
                  </a:lnTo>
                  <a:lnTo>
                    <a:pt x="43291" y="72692"/>
                  </a:lnTo>
                  <a:lnTo>
                    <a:pt x="43291" y="71153"/>
                  </a:lnTo>
                  <a:lnTo>
                    <a:pt x="44810" y="70000"/>
                  </a:lnTo>
                  <a:lnTo>
                    <a:pt x="44810" y="68461"/>
                  </a:lnTo>
                  <a:lnTo>
                    <a:pt x="47088" y="67307"/>
                  </a:lnTo>
                  <a:lnTo>
                    <a:pt x="47088" y="66538"/>
                  </a:lnTo>
                  <a:lnTo>
                    <a:pt x="47088" y="65769"/>
                  </a:lnTo>
                  <a:lnTo>
                    <a:pt x="47088" y="62692"/>
                  </a:lnTo>
                  <a:lnTo>
                    <a:pt x="47088" y="61923"/>
                  </a:lnTo>
                  <a:lnTo>
                    <a:pt x="47088" y="60000"/>
                  </a:lnTo>
                  <a:lnTo>
                    <a:pt x="47088" y="58461"/>
                  </a:lnTo>
                  <a:lnTo>
                    <a:pt x="44810" y="58461"/>
                  </a:lnTo>
                  <a:lnTo>
                    <a:pt x="44810" y="57307"/>
                  </a:lnTo>
                  <a:lnTo>
                    <a:pt x="47088" y="56538"/>
                  </a:lnTo>
                  <a:lnTo>
                    <a:pt x="48607" y="56538"/>
                  </a:lnTo>
                  <a:lnTo>
                    <a:pt x="52405" y="55769"/>
                  </a:lnTo>
                  <a:lnTo>
                    <a:pt x="53924" y="55769"/>
                  </a:lnTo>
                  <a:lnTo>
                    <a:pt x="53924" y="55769"/>
                  </a:lnTo>
                  <a:lnTo>
                    <a:pt x="57721" y="56538"/>
                  </a:lnTo>
                  <a:lnTo>
                    <a:pt x="59240" y="56538"/>
                  </a:lnTo>
                  <a:lnTo>
                    <a:pt x="59240" y="57307"/>
                  </a:lnTo>
                  <a:lnTo>
                    <a:pt x="59240" y="57307"/>
                  </a:lnTo>
                  <a:lnTo>
                    <a:pt x="59240" y="58461"/>
                  </a:lnTo>
                  <a:lnTo>
                    <a:pt x="59240" y="60000"/>
                  </a:lnTo>
                  <a:lnTo>
                    <a:pt x="59240" y="61923"/>
                  </a:lnTo>
                  <a:lnTo>
                    <a:pt x="59240" y="62692"/>
                  </a:lnTo>
                  <a:lnTo>
                    <a:pt x="59240" y="62692"/>
                  </a:lnTo>
                  <a:lnTo>
                    <a:pt x="59240" y="62692"/>
                  </a:lnTo>
                  <a:lnTo>
                    <a:pt x="61518" y="62692"/>
                  </a:lnTo>
                  <a:lnTo>
                    <a:pt x="66835" y="62692"/>
                  </a:lnTo>
                  <a:lnTo>
                    <a:pt x="69873" y="62692"/>
                  </a:lnTo>
                  <a:lnTo>
                    <a:pt x="72151" y="62692"/>
                  </a:lnTo>
                  <a:lnTo>
                    <a:pt x="73670" y="63846"/>
                  </a:lnTo>
                  <a:lnTo>
                    <a:pt x="73670" y="63846"/>
                  </a:lnTo>
                  <a:lnTo>
                    <a:pt x="75189" y="63846"/>
                  </a:lnTo>
                  <a:lnTo>
                    <a:pt x="77468" y="64615"/>
                  </a:lnTo>
                  <a:lnTo>
                    <a:pt x="78987" y="65769"/>
                  </a:lnTo>
                  <a:lnTo>
                    <a:pt x="78987" y="65769"/>
                  </a:lnTo>
                  <a:lnTo>
                    <a:pt x="78987" y="64615"/>
                  </a:lnTo>
                  <a:lnTo>
                    <a:pt x="78987" y="66538"/>
                  </a:lnTo>
                  <a:lnTo>
                    <a:pt x="80506" y="66538"/>
                  </a:lnTo>
                  <a:lnTo>
                    <a:pt x="82784" y="67307"/>
                  </a:lnTo>
                  <a:lnTo>
                    <a:pt x="82784" y="66538"/>
                  </a:lnTo>
                  <a:lnTo>
                    <a:pt x="82784" y="66538"/>
                  </a:lnTo>
                  <a:lnTo>
                    <a:pt x="84303" y="67307"/>
                  </a:lnTo>
                  <a:lnTo>
                    <a:pt x="86582" y="68461"/>
                  </a:lnTo>
                  <a:lnTo>
                    <a:pt x="86582" y="69230"/>
                  </a:lnTo>
                  <a:lnTo>
                    <a:pt x="88101" y="70000"/>
                  </a:lnTo>
                  <a:lnTo>
                    <a:pt x="88101" y="71153"/>
                  </a:lnTo>
                  <a:lnTo>
                    <a:pt x="89620" y="71153"/>
                  </a:lnTo>
                  <a:lnTo>
                    <a:pt x="88101" y="70000"/>
                  </a:lnTo>
                  <a:lnTo>
                    <a:pt x="86582" y="67307"/>
                  </a:lnTo>
                  <a:lnTo>
                    <a:pt x="84303" y="66538"/>
                  </a:lnTo>
                  <a:lnTo>
                    <a:pt x="84303" y="64615"/>
                  </a:lnTo>
                  <a:lnTo>
                    <a:pt x="86582" y="64615"/>
                  </a:lnTo>
                  <a:lnTo>
                    <a:pt x="84303" y="63846"/>
                  </a:lnTo>
                  <a:lnTo>
                    <a:pt x="82784" y="63846"/>
                  </a:lnTo>
                  <a:lnTo>
                    <a:pt x="80506" y="62692"/>
                  </a:lnTo>
                  <a:lnTo>
                    <a:pt x="80506" y="61153"/>
                  </a:lnTo>
                  <a:lnTo>
                    <a:pt x="80506" y="60000"/>
                  </a:lnTo>
                  <a:lnTo>
                    <a:pt x="78987" y="59230"/>
                  </a:lnTo>
                  <a:lnTo>
                    <a:pt x="78987" y="58461"/>
                  </a:lnTo>
                  <a:lnTo>
                    <a:pt x="78987" y="57307"/>
                  </a:lnTo>
                  <a:lnTo>
                    <a:pt x="77468" y="55769"/>
                  </a:lnTo>
                  <a:lnTo>
                    <a:pt x="77468" y="55769"/>
                  </a:lnTo>
                  <a:lnTo>
                    <a:pt x="78987" y="55769"/>
                  </a:lnTo>
                  <a:lnTo>
                    <a:pt x="80506" y="55769"/>
                  </a:lnTo>
                  <a:lnTo>
                    <a:pt x="80506" y="54615"/>
                  </a:lnTo>
                  <a:lnTo>
                    <a:pt x="80506" y="54615"/>
                  </a:lnTo>
                  <a:lnTo>
                    <a:pt x="80506" y="54615"/>
                  </a:lnTo>
                  <a:lnTo>
                    <a:pt x="82784" y="52692"/>
                  </a:lnTo>
                  <a:lnTo>
                    <a:pt x="84303" y="51923"/>
                  </a:lnTo>
                  <a:lnTo>
                    <a:pt x="84303" y="51923"/>
                  </a:lnTo>
                  <a:lnTo>
                    <a:pt x="84303" y="51153"/>
                  </a:lnTo>
                  <a:lnTo>
                    <a:pt x="86582" y="50000"/>
                  </a:lnTo>
                  <a:lnTo>
                    <a:pt x="88101" y="49230"/>
                  </a:lnTo>
                  <a:lnTo>
                    <a:pt x="89620" y="49230"/>
                  </a:lnTo>
                  <a:lnTo>
                    <a:pt x="91898" y="49230"/>
                  </a:lnTo>
                  <a:lnTo>
                    <a:pt x="93417" y="48461"/>
                  </a:lnTo>
                  <a:lnTo>
                    <a:pt x="93417" y="48461"/>
                  </a:lnTo>
                  <a:lnTo>
                    <a:pt x="97215" y="49230"/>
                  </a:lnTo>
                  <a:lnTo>
                    <a:pt x="97215" y="49230"/>
                  </a:lnTo>
                  <a:lnTo>
                    <a:pt x="98734" y="49230"/>
                  </a:lnTo>
                  <a:lnTo>
                    <a:pt x="100253" y="49230"/>
                  </a:lnTo>
                  <a:lnTo>
                    <a:pt x="100253" y="49230"/>
                  </a:lnTo>
                  <a:lnTo>
                    <a:pt x="102531" y="49230"/>
                  </a:lnTo>
                  <a:lnTo>
                    <a:pt x="105569" y="49230"/>
                  </a:lnTo>
                  <a:lnTo>
                    <a:pt x="107848" y="49230"/>
                  </a:lnTo>
                  <a:lnTo>
                    <a:pt x="111645" y="48461"/>
                  </a:lnTo>
                  <a:lnTo>
                    <a:pt x="111645" y="48461"/>
                  </a:lnTo>
                  <a:lnTo>
                    <a:pt x="113164" y="49230"/>
                  </a:lnTo>
                  <a:lnTo>
                    <a:pt x="113164" y="49230"/>
                  </a:lnTo>
                  <a:lnTo>
                    <a:pt x="114683" y="50000"/>
                  </a:lnTo>
                  <a:lnTo>
                    <a:pt x="114683" y="50000"/>
                  </a:lnTo>
                  <a:lnTo>
                    <a:pt x="114683" y="50000"/>
                  </a:lnTo>
                  <a:lnTo>
                    <a:pt x="116962" y="50000"/>
                  </a:lnTo>
                  <a:lnTo>
                    <a:pt x="116962" y="49230"/>
                  </a:lnTo>
                  <a:lnTo>
                    <a:pt x="116962" y="49230"/>
                  </a:lnTo>
                  <a:lnTo>
                    <a:pt x="116962" y="49230"/>
                  </a:lnTo>
                  <a:lnTo>
                    <a:pt x="118481" y="48461"/>
                  </a:lnTo>
                  <a:lnTo>
                    <a:pt x="120000" y="48461"/>
                  </a:lnTo>
                  <a:lnTo>
                    <a:pt x="120000" y="47307"/>
                  </a:lnTo>
                  <a:lnTo>
                    <a:pt x="120000" y="47307"/>
                  </a:lnTo>
                  <a:lnTo>
                    <a:pt x="120000" y="46538"/>
                  </a:lnTo>
                  <a:lnTo>
                    <a:pt x="120000" y="45769"/>
                  </a:lnTo>
                  <a:lnTo>
                    <a:pt x="120000" y="44615"/>
                  </a:lnTo>
                  <a:lnTo>
                    <a:pt x="120000" y="43846"/>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70" name="Shape 370"/>
            <p:cNvSpPr/>
            <p:nvPr/>
          </p:nvSpPr>
          <p:spPr>
            <a:xfrm>
              <a:off x="4197" y="2829"/>
              <a:ext cx="300" cy="300"/>
            </a:xfrm>
            <a:custGeom>
              <a:avLst/>
              <a:gdLst/>
              <a:ahLst/>
              <a:cxnLst/>
              <a:rect l="0" t="0" r="0" b="0"/>
              <a:pathLst>
                <a:path w="120000" h="120000" extrusionOk="0">
                  <a:moveTo>
                    <a:pt x="111804" y="77709"/>
                  </a:moveTo>
                  <a:lnTo>
                    <a:pt x="113560" y="77709"/>
                  </a:lnTo>
                  <a:lnTo>
                    <a:pt x="113560" y="77709"/>
                  </a:lnTo>
                  <a:lnTo>
                    <a:pt x="113560" y="77709"/>
                  </a:lnTo>
                  <a:lnTo>
                    <a:pt x="114731" y="75066"/>
                  </a:lnTo>
                  <a:lnTo>
                    <a:pt x="114731" y="73480"/>
                  </a:lnTo>
                  <a:lnTo>
                    <a:pt x="114731" y="73480"/>
                  </a:lnTo>
                  <a:lnTo>
                    <a:pt x="114731" y="75066"/>
                  </a:lnTo>
                  <a:lnTo>
                    <a:pt x="113560" y="76123"/>
                  </a:lnTo>
                  <a:lnTo>
                    <a:pt x="111804" y="77709"/>
                  </a:lnTo>
                  <a:lnTo>
                    <a:pt x="111804" y="77709"/>
                  </a:lnTo>
                  <a:lnTo>
                    <a:pt x="111804" y="77709"/>
                  </a:lnTo>
                  <a:lnTo>
                    <a:pt x="111804" y="77709"/>
                  </a:lnTo>
                  <a:close/>
                  <a:moveTo>
                    <a:pt x="107707" y="56035"/>
                  </a:moveTo>
                  <a:lnTo>
                    <a:pt x="107707" y="57621"/>
                  </a:lnTo>
                  <a:lnTo>
                    <a:pt x="107707" y="58678"/>
                  </a:lnTo>
                  <a:lnTo>
                    <a:pt x="109463" y="58678"/>
                  </a:lnTo>
                  <a:lnTo>
                    <a:pt x="109463" y="59735"/>
                  </a:lnTo>
                  <a:lnTo>
                    <a:pt x="109463" y="59735"/>
                  </a:lnTo>
                  <a:lnTo>
                    <a:pt x="110634" y="59735"/>
                  </a:lnTo>
                  <a:lnTo>
                    <a:pt x="110634" y="61321"/>
                  </a:lnTo>
                  <a:lnTo>
                    <a:pt x="110634" y="61321"/>
                  </a:lnTo>
                  <a:lnTo>
                    <a:pt x="111804" y="59735"/>
                  </a:lnTo>
                  <a:lnTo>
                    <a:pt x="111804" y="59735"/>
                  </a:lnTo>
                  <a:lnTo>
                    <a:pt x="110634" y="57621"/>
                  </a:lnTo>
                  <a:lnTo>
                    <a:pt x="110634" y="57621"/>
                  </a:lnTo>
                  <a:lnTo>
                    <a:pt x="110634" y="57621"/>
                  </a:lnTo>
                  <a:lnTo>
                    <a:pt x="109463" y="54977"/>
                  </a:lnTo>
                  <a:lnTo>
                    <a:pt x="109463" y="53920"/>
                  </a:lnTo>
                  <a:lnTo>
                    <a:pt x="109463" y="52334"/>
                  </a:lnTo>
                  <a:lnTo>
                    <a:pt x="107707" y="53920"/>
                  </a:lnTo>
                  <a:lnTo>
                    <a:pt x="107707" y="54977"/>
                  </a:lnTo>
                  <a:lnTo>
                    <a:pt x="107707" y="56035"/>
                  </a:lnTo>
                  <a:close/>
                  <a:moveTo>
                    <a:pt x="113560" y="48634"/>
                  </a:moveTo>
                  <a:lnTo>
                    <a:pt x="113560" y="50220"/>
                  </a:lnTo>
                  <a:lnTo>
                    <a:pt x="113560" y="50220"/>
                  </a:lnTo>
                  <a:lnTo>
                    <a:pt x="114731" y="48634"/>
                  </a:lnTo>
                  <a:lnTo>
                    <a:pt x="114731" y="47577"/>
                  </a:lnTo>
                  <a:lnTo>
                    <a:pt x="114731" y="45991"/>
                  </a:lnTo>
                  <a:lnTo>
                    <a:pt x="114731" y="44933"/>
                  </a:lnTo>
                  <a:lnTo>
                    <a:pt x="114731" y="43876"/>
                  </a:lnTo>
                  <a:lnTo>
                    <a:pt x="114731" y="43876"/>
                  </a:lnTo>
                  <a:lnTo>
                    <a:pt x="113560" y="43876"/>
                  </a:lnTo>
                  <a:lnTo>
                    <a:pt x="113560" y="43876"/>
                  </a:lnTo>
                  <a:lnTo>
                    <a:pt x="113560" y="45991"/>
                  </a:lnTo>
                  <a:lnTo>
                    <a:pt x="111804" y="48634"/>
                  </a:lnTo>
                  <a:lnTo>
                    <a:pt x="113560" y="48634"/>
                  </a:lnTo>
                  <a:close/>
                  <a:moveTo>
                    <a:pt x="120000" y="105198"/>
                  </a:moveTo>
                  <a:lnTo>
                    <a:pt x="120000" y="105198"/>
                  </a:lnTo>
                  <a:lnTo>
                    <a:pt x="118829" y="103612"/>
                  </a:lnTo>
                  <a:lnTo>
                    <a:pt x="117658" y="102555"/>
                  </a:lnTo>
                  <a:lnTo>
                    <a:pt x="115902" y="102555"/>
                  </a:lnTo>
                  <a:lnTo>
                    <a:pt x="115902" y="102555"/>
                  </a:lnTo>
                  <a:lnTo>
                    <a:pt x="114731" y="102555"/>
                  </a:lnTo>
                  <a:lnTo>
                    <a:pt x="114731" y="100969"/>
                  </a:lnTo>
                  <a:lnTo>
                    <a:pt x="113560" y="100969"/>
                  </a:lnTo>
                  <a:lnTo>
                    <a:pt x="111804" y="99911"/>
                  </a:lnTo>
                  <a:lnTo>
                    <a:pt x="113560" y="99911"/>
                  </a:lnTo>
                  <a:lnTo>
                    <a:pt x="113560" y="98854"/>
                  </a:lnTo>
                  <a:lnTo>
                    <a:pt x="111804" y="97268"/>
                  </a:lnTo>
                  <a:lnTo>
                    <a:pt x="111804" y="96211"/>
                  </a:lnTo>
                  <a:lnTo>
                    <a:pt x="111804" y="93568"/>
                  </a:lnTo>
                  <a:lnTo>
                    <a:pt x="111804" y="91453"/>
                  </a:lnTo>
                  <a:lnTo>
                    <a:pt x="109463" y="88810"/>
                  </a:lnTo>
                  <a:lnTo>
                    <a:pt x="110634" y="88810"/>
                  </a:lnTo>
                  <a:lnTo>
                    <a:pt x="110634" y="87224"/>
                  </a:lnTo>
                  <a:lnTo>
                    <a:pt x="109463" y="86167"/>
                  </a:lnTo>
                  <a:lnTo>
                    <a:pt x="107707" y="82466"/>
                  </a:lnTo>
                  <a:lnTo>
                    <a:pt x="107707" y="82466"/>
                  </a:lnTo>
                  <a:lnTo>
                    <a:pt x="109463" y="81409"/>
                  </a:lnTo>
                  <a:lnTo>
                    <a:pt x="109463" y="78766"/>
                  </a:lnTo>
                  <a:lnTo>
                    <a:pt x="109463" y="76123"/>
                  </a:lnTo>
                  <a:lnTo>
                    <a:pt x="109463" y="75066"/>
                  </a:lnTo>
                  <a:lnTo>
                    <a:pt x="107707" y="76123"/>
                  </a:lnTo>
                  <a:lnTo>
                    <a:pt x="107707" y="72422"/>
                  </a:lnTo>
                  <a:lnTo>
                    <a:pt x="109463" y="71365"/>
                  </a:lnTo>
                  <a:lnTo>
                    <a:pt x="109463" y="68722"/>
                  </a:lnTo>
                  <a:lnTo>
                    <a:pt x="110634" y="68722"/>
                  </a:lnTo>
                  <a:lnTo>
                    <a:pt x="110634" y="67665"/>
                  </a:lnTo>
                  <a:lnTo>
                    <a:pt x="110634" y="65022"/>
                  </a:lnTo>
                  <a:lnTo>
                    <a:pt x="107707" y="65022"/>
                  </a:lnTo>
                  <a:lnTo>
                    <a:pt x="107707" y="63964"/>
                  </a:lnTo>
                  <a:lnTo>
                    <a:pt x="106536" y="62378"/>
                  </a:lnTo>
                  <a:lnTo>
                    <a:pt x="106536" y="61321"/>
                  </a:lnTo>
                  <a:lnTo>
                    <a:pt x="104780" y="61321"/>
                  </a:lnTo>
                  <a:lnTo>
                    <a:pt x="103609" y="59735"/>
                  </a:lnTo>
                  <a:lnTo>
                    <a:pt x="103609" y="57621"/>
                  </a:lnTo>
                  <a:lnTo>
                    <a:pt x="103609" y="56035"/>
                  </a:lnTo>
                  <a:lnTo>
                    <a:pt x="103609" y="54977"/>
                  </a:lnTo>
                  <a:lnTo>
                    <a:pt x="104780" y="51277"/>
                  </a:lnTo>
                  <a:lnTo>
                    <a:pt x="104780" y="50220"/>
                  </a:lnTo>
                  <a:lnTo>
                    <a:pt x="106536" y="47577"/>
                  </a:lnTo>
                  <a:lnTo>
                    <a:pt x="106536" y="45991"/>
                  </a:lnTo>
                  <a:lnTo>
                    <a:pt x="106536" y="44933"/>
                  </a:lnTo>
                  <a:lnTo>
                    <a:pt x="106536" y="43876"/>
                  </a:lnTo>
                  <a:lnTo>
                    <a:pt x="107707" y="42290"/>
                  </a:lnTo>
                  <a:lnTo>
                    <a:pt x="107707" y="41233"/>
                  </a:lnTo>
                  <a:lnTo>
                    <a:pt x="107707" y="41233"/>
                  </a:lnTo>
                  <a:lnTo>
                    <a:pt x="106536" y="40176"/>
                  </a:lnTo>
                  <a:lnTo>
                    <a:pt x="104780" y="38590"/>
                  </a:lnTo>
                  <a:lnTo>
                    <a:pt x="103609" y="37533"/>
                  </a:lnTo>
                  <a:lnTo>
                    <a:pt x="102439" y="36475"/>
                  </a:lnTo>
                  <a:lnTo>
                    <a:pt x="99512" y="34889"/>
                  </a:lnTo>
                  <a:lnTo>
                    <a:pt x="98341" y="33832"/>
                  </a:lnTo>
                  <a:lnTo>
                    <a:pt x="95414" y="31189"/>
                  </a:lnTo>
                  <a:lnTo>
                    <a:pt x="94243" y="30132"/>
                  </a:lnTo>
                  <a:lnTo>
                    <a:pt x="92487" y="30132"/>
                  </a:lnTo>
                  <a:lnTo>
                    <a:pt x="92487" y="28546"/>
                  </a:lnTo>
                  <a:lnTo>
                    <a:pt x="91317" y="28546"/>
                  </a:lnTo>
                  <a:lnTo>
                    <a:pt x="91317" y="28546"/>
                  </a:lnTo>
                  <a:lnTo>
                    <a:pt x="91317" y="27488"/>
                  </a:lnTo>
                  <a:lnTo>
                    <a:pt x="91317" y="27488"/>
                  </a:lnTo>
                  <a:lnTo>
                    <a:pt x="90146" y="27488"/>
                  </a:lnTo>
                  <a:lnTo>
                    <a:pt x="90146" y="27488"/>
                  </a:lnTo>
                  <a:lnTo>
                    <a:pt x="91317" y="26431"/>
                  </a:lnTo>
                  <a:lnTo>
                    <a:pt x="91317" y="26431"/>
                  </a:lnTo>
                  <a:lnTo>
                    <a:pt x="91317" y="24845"/>
                  </a:lnTo>
                  <a:lnTo>
                    <a:pt x="91317" y="23788"/>
                  </a:lnTo>
                  <a:lnTo>
                    <a:pt x="91317" y="22731"/>
                  </a:lnTo>
                  <a:lnTo>
                    <a:pt x="91317" y="22731"/>
                  </a:lnTo>
                  <a:lnTo>
                    <a:pt x="90146" y="22731"/>
                  </a:lnTo>
                  <a:lnTo>
                    <a:pt x="87219" y="21145"/>
                  </a:lnTo>
                  <a:lnTo>
                    <a:pt x="85463" y="20088"/>
                  </a:lnTo>
                  <a:lnTo>
                    <a:pt x="83121" y="18502"/>
                  </a:lnTo>
                  <a:lnTo>
                    <a:pt x="80195" y="16387"/>
                  </a:lnTo>
                  <a:lnTo>
                    <a:pt x="79024" y="14801"/>
                  </a:lnTo>
                  <a:lnTo>
                    <a:pt x="76097" y="13744"/>
                  </a:lnTo>
                  <a:lnTo>
                    <a:pt x="73170" y="12687"/>
                  </a:lnTo>
                  <a:lnTo>
                    <a:pt x="72000" y="11101"/>
                  </a:lnTo>
                  <a:lnTo>
                    <a:pt x="69073" y="10044"/>
                  </a:lnTo>
                  <a:lnTo>
                    <a:pt x="66146" y="8986"/>
                  </a:lnTo>
                  <a:lnTo>
                    <a:pt x="64975" y="7400"/>
                  </a:lnTo>
                  <a:lnTo>
                    <a:pt x="62048" y="6343"/>
                  </a:lnTo>
                  <a:lnTo>
                    <a:pt x="59707" y="4757"/>
                  </a:lnTo>
                  <a:lnTo>
                    <a:pt x="57951" y="3700"/>
                  </a:lnTo>
                  <a:lnTo>
                    <a:pt x="55609" y="2643"/>
                  </a:lnTo>
                  <a:lnTo>
                    <a:pt x="52682" y="1057"/>
                  </a:lnTo>
                  <a:lnTo>
                    <a:pt x="52682" y="0"/>
                  </a:lnTo>
                  <a:lnTo>
                    <a:pt x="51512" y="0"/>
                  </a:lnTo>
                  <a:lnTo>
                    <a:pt x="16975" y="0"/>
                  </a:lnTo>
                  <a:lnTo>
                    <a:pt x="16975" y="0"/>
                  </a:lnTo>
                  <a:lnTo>
                    <a:pt x="16975" y="0"/>
                  </a:lnTo>
                  <a:lnTo>
                    <a:pt x="15219" y="0"/>
                  </a:lnTo>
                  <a:lnTo>
                    <a:pt x="15219" y="0"/>
                  </a:lnTo>
                  <a:lnTo>
                    <a:pt x="14048" y="1057"/>
                  </a:lnTo>
                  <a:lnTo>
                    <a:pt x="14048" y="1057"/>
                  </a:lnTo>
                  <a:lnTo>
                    <a:pt x="14048" y="1057"/>
                  </a:lnTo>
                  <a:lnTo>
                    <a:pt x="12878" y="1057"/>
                  </a:lnTo>
                  <a:lnTo>
                    <a:pt x="12878" y="1057"/>
                  </a:lnTo>
                  <a:lnTo>
                    <a:pt x="14048" y="2643"/>
                  </a:lnTo>
                  <a:lnTo>
                    <a:pt x="15219" y="3700"/>
                  </a:lnTo>
                  <a:lnTo>
                    <a:pt x="15219" y="4757"/>
                  </a:lnTo>
                  <a:lnTo>
                    <a:pt x="16975" y="4757"/>
                  </a:lnTo>
                  <a:lnTo>
                    <a:pt x="16975" y="6343"/>
                  </a:lnTo>
                  <a:lnTo>
                    <a:pt x="16975" y="7400"/>
                  </a:lnTo>
                  <a:lnTo>
                    <a:pt x="16975" y="10044"/>
                  </a:lnTo>
                  <a:lnTo>
                    <a:pt x="16975" y="11101"/>
                  </a:lnTo>
                  <a:lnTo>
                    <a:pt x="16975" y="11101"/>
                  </a:lnTo>
                  <a:lnTo>
                    <a:pt x="16975" y="12687"/>
                  </a:lnTo>
                  <a:lnTo>
                    <a:pt x="16975" y="13744"/>
                  </a:lnTo>
                  <a:lnTo>
                    <a:pt x="16975" y="14801"/>
                  </a:lnTo>
                  <a:lnTo>
                    <a:pt x="16975" y="14801"/>
                  </a:lnTo>
                  <a:lnTo>
                    <a:pt x="16975" y="14801"/>
                  </a:lnTo>
                  <a:lnTo>
                    <a:pt x="15219" y="14801"/>
                  </a:lnTo>
                  <a:lnTo>
                    <a:pt x="15219" y="14801"/>
                  </a:lnTo>
                  <a:lnTo>
                    <a:pt x="14048" y="14801"/>
                  </a:lnTo>
                  <a:lnTo>
                    <a:pt x="14048" y="14801"/>
                  </a:lnTo>
                  <a:lnTo>
                    <a:pt x="14048" y="16387"/>
                  </a:lnTo>
                  <a:lnTo>
                    <a:pt x="12878" y="17444"/>
                  </a:lnTo>
                  <a:lnTo>
                    <a:pt x="12878" y="18502"/>
                  </a:lnTo>
                  <a:lnTo>
                    <a:pt x="12878" y="18502"/>
                  </a:lnTo>
                  <a:lnTo>
                    <a:pt x="12878" y="18502"/>
                  </a:lnTo>
                  <a:lnTo>
                    <a:pt x="12878" y="20088"/>
                  </a:lnTo>
                  <a:lnTo>
                    <a:pt x="12878" y="20088"/>
                  </a:lnTo>
                  <a:lnTo>
                    <a:pt x="12878" y="20088"/>
                  </a:lnTo>
                  <a:lnTo>
                    <a:pt x="12878" y="21145"/>
                  </a:lnTo>
                  <a:lnTo>
                    <a:pt x="12878" y="21145"/>
                  </a:lnTo>
                  <a:lnTo>
                    <a:pt x="14048" y="21145"/>
                  </a:lnTo>
                  <a:lnTo>
                    <a:pt x="14048" y="21145"/>
                  </a:lnTo>
                  <a:lnTo>
                    <a:pt x="15219" y="22731"/>
                  </a:lnTo>
                  <a:lnTo>
                    <a:pt x="16975" y="22731"/>
                  </a:lnTo>
                  <a:lnTo>
                    <a:pt x="16975" y="22731"/>
                  </a:lnTo>
                  <a:lnTo>
                    <a:pt x="16975" y="22731"/>
                  </a:lnTo>
                  <a:lnTo>
                    <a:pt x="16975" y="23788"/>
                  </a:lnTo>
                  <a:lnTo>
                    <a:pt x="16975" y="24845"/>
                  </a:lnTo>
                  <a:lnTo>
                    <a:pt x="16975" y="24845"/>
                  </a:lnTo>
                  <a:lnTo>
                    <a:pt x="15219" y="26431"/>
                  </a:lnTo>
                  <a:lnTo>
                    <a:pt x="14048" y="26431"/>
                  </a:lnTo>
                  <a:lnTo>
                    <a:pt x="14048" y="26431"/>
                  </a:lnTo>
                  <a:lnTo>
                    <a:pt x="14048" y="26431"/>
                  </a:lnTo>
                  <a:lnTo>
                    <a:pt x="14048" y="27488"/>
                  </a:lnTo>
                  <a:lnTo>
                    <a:pt x="14048" y="27488"/>
                  </a:lnTo>
                  <a:lnTo>
                    <a:pt x="12878" y="28546"/>
                  </a:lnTo>
                  <a:lnTo>
                    <a:pt x="12878" y="30132"/>
                  </a:lnTo>
                  <a:lnTo>
                    <a:pt x="11121" y="30132"/>
                  </a:lnTo>
                  <a:lnTo>
                    <a:pt x="11121" y="31189"/>
                  </a:lnTo>
                  <a:lnTo>
                    <a:pt x="11121" y="31189"/>
                  </a:lnTo>
                  <a:lnTo>
                    <a:pt x="9951" y="33832"/>
                  </a:lnTo>
                  <a:lnTo>
                    <a:pt x="9951" y="34889"/>
                  </a:lnTo>
                  <a:lnTo>
                    <a:pt x="7024" y="36475"/>
                  </a:lnTo>
                  <a:lnTo>
                    <a:pt x="5853" y="37533"/>
                  </a:lnTo>
                  <a:lnTo>
                    <a:pt x="4097" y="38590"/>
                  </a:lnTo>
                  <a:lnTo>
                    <a:pt x="1756" y="38590"/>
                  </a:lnTo>
                  <a:lnTo>
                    <a:pt x="1756" y="38590"/>
                  </a:lnTo>
                  <a:lnTo>
                    <a:pt x="0" y="41233"/>
                  </a:lnTo>
                  <a:lnTo>
                    <a:pt x="0" y="42290"/>
                  </a:lnTo>
                  <a:lnTo>
                    <a:pt x="0" y="43876"/>
                  </a:lnTo>
                  <a:lnTo>
                    <a:pt x="0" y="44933"/>
                  </a:lnTo>
                  <a:lnTo>
                    <a:pt x="1756" y="45991"/>
                  </a:lnTo>
                  <a:lnTo>
                    <a:pt x="1756" y="47577"/>
                  </a:lnTo>
                  <a:lnTo>
                    <a:pt x="1756" y="48634"/>
                  </a:lnTo>
                  <a:lnTo>
                    <a:pt x="2926" y="50220"/>
                  </a:lnTo>
                  <a:lnTo>
                    <a:pt x="2926" y="51277"/>
                  </a:lnTo>
                  <a:lnTo>
                    <a:pt x="2926" y="52334"/>
                  </a:lnTo>
                  <a:lnTo>
                    <a:pt x="2926" y="53920"/>
                  </a:lnTo>
                  <a:lnTo>
                    <a:pt x="1756" y="54977"/>
                  </a:lnTo>
                  <a:lnTo>
                    <a:pt x="1756" y="56035"/>
                  </a:lnTo>
                  <a:lnTo>
                    <a:pt x="1756" y="57621"/>
                  </a:lnTo>
                  <a:lnTo>
                    <a:pt x="2926" y="58678"/>
                  </a:lnTo>
                  <a:lnTo>
                    <a:pt x="2926" y="59735"/>
                  </a:lnTo>
                  <a:lnTo>
                    <a:pt x="4097" y="62378"/>
                  </a:lnTo>
                  <a:lnTo>
                    <a:pt x="5853" y="63964"/>
                  </a:lnTo>
                  <a:lnTo>
                    <a:pt x="7024" y="65022"/>
                  </a:lnTo>
                  <a:lnTo>
                    <a:pt x="8195" y="66079"/>
                  </a:lnTo>
                  <a:lnTo>
                    <a:pt x="9951" y="66079"/>
                  </a:lnTo>
                  <a:lnTo>
                    <a:pt x="9951" y="67665"/>
                  </a:lnTo>
                  <a:lnTo>
                    <a:pt x="11121" y="68722"/>
                  </a:lnTo>
                  <a:lnTo>
                    <a:pt x="11121" y="71365"/>
                  </a:lnTo>
                  <a:lnTo>
                    <a:pt x="11121" y="72422"/>
                  </a:lnTo>
                  <a:lnTo>
                    <a:pt x="12878" y="73480"/>
                  </a:lnTo>
                  <a:lnTo>
                    <a:pt x="14048" y="76123"/>
                  </a:lnTo>
                  <a:lnTo>
                    <a:pt x="14048" y="77709"/>
                  </a:lnTo>
                  <a:lnTo>
                    <a:pt x="15219" y="78766"/>
                  </a:lnTo>
                  <a:lnTo>
                    <a:pt x="15219" y="79823"/>
                  </a:lnTo>
                  <a:lnTo>
                    <a:pt x="15219" y="81409"/>
                  </a:lnTo>
                  <a:lnTo>
                    <a:pt x="16975" y="82466"/>
                  </a:lnTo>
                  <a:lnTo>
                    <a:pt x="16975" y="83524"/>
                  </a:lnTo>
                  <a:lnTo>
                    <a:pt x="18146" y="83524"/>
                  </a:lnTo>
                  <a:lnTo>
                    <a:pt x="18146" y="85110"/>
                  </a:lnTo>
                  <a:lnTo>
                    <a:pt x="19317" y="85110"/>
                  </a:lnTo>
                  <a:lnTo>
                    <a:pt x="22243" y="85110"/>
                  </a:lnTo>
                  <a:lnTo>
                    <a:pt x="22243" y="85110"/>
                  </a:lnTo>
                  <a:lnTo>
                    <a:pt x="23414" y="86167"/>
                  </a:lnTo>
                  <a:lnTo>
                    <a:pt x="23414" y="87224"/>
                  </a:lnTo>
                  <a:lnTo>
                    <a:pt x="25170" y="87224"/>
                  </a:lnTo>
                  <a:lnTo>
                    <a:pt x="25170" y="88810"/>
                  </a:lnTo>
                  <a:lnTo>
                    <a:pt x="25170" y="88810"/>
                  </a:lnTo>
                  <a:lnTo>
                    <a:pt x="26341" y="88810"/>
                  </a:lnTo>
                  <a:lnTo>
                    <a:pt x="26341" y="88810"/>
                  </a:lnTo>
                  <a:lnTo>
                    <a:pt x="27512" y="88810"/>
                  </a:lnTo>
                  <a:lnTo>
                    <a:pt x="27512" y="88810"/>
                  </a:lnTo>
                  <a:lnTo>
                    <a:pt x="27512" y="89867"/>
                  </a:lnTo>
                  <a:lnTo>
                    <a:pt x="27512" y="89867"/>
                  </a:lnTo>
                  <a:lnTo>
                    <a:pt x="29268" y="89867"/>
                  </a:lnTo>
                  <a:lnTo>
                    <a:pt x="30439" y="89867"/>
                  </a:lnTo>
                  <a:lnTo>
                    <a:pt x="30439" y="91453"/>
                  </a:lnTo>
                  <a:lnTo>
                    <a:pt x="32195" y="91453"/>
                  </a:lnTo>
                  <a:lnTo>
                    <a:pt x="33365" y="91453"/>
                  </a:lnTo>
                  <a:lnTo>
                    <a:pt x="34536" y="91453"/>
                  </a:lnTo>
                  <a:lnTo>
                    <a:pt x="36292" y="92511"/>
                  </a:lnTo>
                  <a:lnTo>
                    <a:pt x="37463" y="92511"/>
                  </a:lnTo>
                  <a:lnTo>
                    <a:pt x="37463" y="93568"/>
                  </a:lnTo>
                  <a:lnTo>
                    <a:pt x="38634" y="93568"/>
                  </a:lnTo>
                  <a:lnTo>
                    <a:pt x="38634" y="93568"/>
                  </a:lnTo>
                  <a:lnTo>
                    <a:pt x="38634" y="93568"/>
                  </a:lnTo>
                  <a:lnTo>
                    <a:pt x="41560" y="95154"/>
                  </a:lnTo>
                  <a:lnTo>
                    <a:pt x="41560" y="95154"/>
                  </a:lnTo>
                  <a:lnTo>
                    <a:pt x="42731" y="95154"/>
                  </a:lnTo>
                  <a:lnTo>
                    <a:pt x="44487" y="96211"/>
                  </a:lnTo>
                  <a:lnTo>
                    <a:pt x="44487" y="96211"/>
                  </a:lnTo>
                  <a:lnTo>
                    <a:pt x="45658" y="96211"/>
                  </a:lnTo>
                  <a:lnTo>
                    <a:pt x="46829" y="96211"/>
                  </a:lnTo>
                  <a:lnTo>
                    <a:pt x="48585" y="96211"/>
                  </a:lnTo>
                  <a:lnTo>
                    <a:pt x="48585" y="96211"/>
                  </a:lnTo>
                  <a:lnTo>
                    <a:pt x="49756" y="96211"/>
                  </a:lnTo>
                  <a:lnTo>
                    <a:pt x="49756" y="96211"/>
                  </a:lnTo>
                  <a:lnTo>
                    <a:pt x="49756" y="96211"/>
                  </a:lnTo>
                  <a:lnTo>
                    <a:pt x="49756" y="96211"/>
                  </a:lnTo>
                  <a:lnTo>
                    <a:pt x="49756" y="95154"/>
                  </a:lnTo>
                  <a:lnTo>
                    <a:pt x="49756" y="95154"/>
                  </a:lnTo>
                  <a:lnTo>
                    <a:pt x="49756" y="95154"/>
                  </a:lnTo>
                  <a:lnTo>
                    <a:pt x="51512" y="95154"/>
                  </a:lnTo>
                  <a:lnTo>
                    <a:pt x="53853" y="97268"/>
                  </a:lnTo>
                  <a:lnTo>
                    <a:pt x="53853" y="97268"/>
                  </a:lnTo>
                  <a:lnTo>
                    <a:pt x="55609" y="99911"/>
                  </a:lnTo>
                  <a:lnTo>
                    <a:pt x="55609" y="100969"/>
                  </a:lnTo>
                  <a:lnTo>
                    <a:pt x="55609" y="100969"/>
                  </a:lnTo>
                  <a:lnTo>
                    <a:pt x="56780" y="102555"/>
                  </a:lnTo>
                  <a:lnTo>
                    <a:pt x="56780" y="103612"/>
                  </a:lnTo>
                  <a:lnTo>
                    <a:pt x="56780" y="105198"/>
                  </a:lnTo>
                  <a:lnTo>
                    <a:pt x="56780" y="105198"/>
                  </a:lnTo>
                  <a:lnTo>
                    <a:pt x="56780" y="106255"/>
                  </a:lnTo>
                  <a:lnTo>
                    <a:pt x="56780" y="106255"/>
                  </a:lnTo>
                  <a:lnTo>
                    <a:pt x="56780" y="107312"/>
                  </a:lnTo>
                  <a:lnTo>
                    <a:pt x="56780" y="108898"/>
                  </a:lnTo>
                  <a:lnTo>
                    <a:pt x="56780" y="108898"/>
                  </a:lnTo>
                  <a:lnTo>
                    <a:pt x="56780" y="109955"/>
                  </a:lnTo>
                  <a:lnTo>
                    <a:pt x="56780" y="111013"/>
                  </a:lnTo>
                  <a:lnTo>
                    <a:pt x="56780" y="112599"/>
                  </a:lnTo>
                  <a:lnTo>
                    <a:pt x="56780" y="112599"/>
                  </a:lnTo>
                  <a:lnTo>
                    <a:pt x="56780" y="112599"/>
                  </a:lnTo>
                  <a:lnTo>
                    <a:pt x="57951" y="113656"/>
                  </a:lnTo>
                  <a:lnTo>
                    <a:pt x="57951" y="113656"/>
                  </a:lnTo>
                  <a:lnTo>
                    <a:pt x="57951" y="114713"/>
                  </a:lnTo>
                  <a:lnTo>
                    <a:pt x="57951" y="114713"/>
                  </a:lnTo>
                  <a:lnTo>
                    <a:pt x="57951" y="114713"/>
                  </a:lnTo>
                  <a:lnTo>
                    <a:pt x="59707" y="114713"/>
                  </a:lnTo>
                  <a:lnTo>
                    <a:pt x="59707" y="116299"/>
                  </a:lnTo>
                  <a:lnTo>
                    <a:pt x="59707" y="116299"/>
                  </a:lnTo>
                  <a:lnTo>
                    <a:pt x="60878" y="117356"/>
                  </a:lnTo>
                  <a:lnTo>
                    <a:pt x="60878" y="117356"/>
                  </a:lnTo>
                  <a:lnTo>
                    <a:pt x="62048" y="117356"/>
                  </a:lnTo>
                  <a:lnTo>
                    <a:pt x="64975" y="117356"/>
                  </a:lnTo>
                  <a:lnTo>
                    <a:pt x="64975" y="118942"/>
                  </a:lnTo>
                  <a:lnTo>
                    <a:pt x="66146" y="118942"/>
                  </a:lnTo>
                  <a:lnTo>
                    <a:pt x="66146" y="118942"/>
                  </a:lnTo>
                  <a:lnTo>
                    <a:pt x="67902" y="117356"/>
                  </a:lnTo>
                  <a:lnTo>
                    <a:pt x="67902" y="117356"/>
                  </a:lnTo>
                  <a:lnTo>
                    <a:pt x="69073" y="116299"/>
                  </a:lnTo>
                  <a:lnTo>
                    <a:pt x="70829" y="116299"/>
                  </a:lnTo>
                  <a:lnTo>
                    <a:pt x="72000" y="117356"/>
                  </a:lnTo>
                  <a:lnTo>
                    <a:pt x="73170" y="118942"/>
                  </a:lnTo>
                  <a:lnTo>
                    <a:pt x="73170" y="118942"/>
                  </a:lnTo>
                  <a:lnTo>
                    <a:pt x="74926" y="120000"/>
                  </a:lnTo>
                  <a:lnTo>
                    <a:pt x="77268" y="120000"/>
                  </a:lnTo>
                  <a:lnTo>
                    <a:pt x="79024" y="118942"/>
                  </a:lnTo>
                  <a:lnTo>
                    <a:pt x="80195" y="118942"/>
                  </a:lnTo>
                  <a:lnTo>
                    <a:pt x="81365" y="117356"/>
                  </a:lnTo>
                  <a:lnTo>
                    <a:pt x="81365" y="117356"/>
                  </a:lnTo>
                  <a:lnTo>
                    <a:pt x="83121" y="118942"/>
                  </a:lnTo>
                  <a:lnTo>
                    <a:pt x="83121" y="118942"/>
                  </a:lnTo>
                  <a:lnTo>
                    <a:pt x="84292" y="118942"/>
                  </a:lnTo>
                  <a:lnTo>
                    <a:pt x="85463" y="120000"/>
                  </a:lnTo>
                  <a:lnTo>
                    <a:pt x="88390" y="118942"/>
                  </a:lnTo>
                  <a:lnTo>
                    <a:pt x="90146" y="117356"/>
                  </a:lnTo>
                  <a:lnTo>
                    <a:pt x="91317" y="117356"/>
                  </a:lnTo>
                  <a:lnTo>
                    <a:pt x="91317" y="116299"/>
                  </a:lnTo>
                  <a:lnTo>
                    <a:pt x="92487" y="114713"/>
                  </a:lnTo>
                  <a:lnTo>
                    <a:pt x="92487" y="114713"/>
                  </a:lnTo>
                  <a:lnTo>
                    <a:pt x="94243" y="114713"/>
                  </a:lnTo>
                  <a:lnTo>
                    <a:pt x="95414" y="114713"/>
                  </a:lnTo>
                  <a:lnTo>
                    <a:pt x="96585" y="114713"/>
                  </a:lnTo>
                  <a:lnTo>
                    <a:pt x="98341" y="116299"/>
                  </a:lnTo>
                  <a:lnTo>
                    <a:pt x="99512" y="114713"/>
                  </a:lnTo>
                  <a:lnTo>
                    <a:pt x="102439" y="113656"/>
                  </a:lnTo>
                  <a:lnTo>
                    <a:pt x="103609" y="113656"/>
                  </a:lnTo>
                  <a:lnTo>
                    <a:pt x="106536" y="113656"/>
                  </a:lnTo>
                  <a:lnTo>
                    <a:pt x="107707" y="112599"/>
                  </a:lnTo>
                  <a:lnTo>
                    <a:pt x="109463" y="112599"/>
                  </a:lnTo>
                  <a:lnTo>
                    <a:pt x="110634" y="111013"/>
                  </a:lnTo>
                  <a:lnTo>
                    <a:pt x="111804" y="111013"/>
                  </a:lnTo>
                  <a:lnTo>
                    <a:pt x="113560" y="109955"/>
                  </a:lnTo>
                  <a:lnTo>
                    <a:pt x="114731" y="109955"/>
                  </a:lnTo>
                  <a:lnTo>
                    <a:pt x="117658" y="107312"/>
                  </a:lnTo>
                  <a:lnTo>
                    <a:pt x="118829" y="106255"/>
                  </a:lnTo>
                  <a:lnTo>
                    <a:pt x="120000" y="105198"/>
                  </a:lnTo>
                  <a:lnTo>
                    <a:pt x="120000" y="105198"/>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71" name="Shape 371"/>
            <p:cNvSpPr/>
            <p:nvPr/>
          </p:nvSpPr>
          <p:spPr>
            <a:xfrm>
              <a:off x="4827" y="1942"/>
              <a:ext cx="0" cy="0"/>
            </a:xfrm>
            <a:custGeom>
              <a:avLst/>
              <a:gdLst/>
              <a:ahLst/>
              <a:cxnLst/>
              <a:rect l="0" t="0" r="0" b="0"/>
              <a:pathLst>
                <a:path w="120000" h="120000" extrusionOk="0">
                  <a:moveTo>
                    <a:pt x="42797" y="32000"/>
                  </a:moveTo>
                  <a:lnTo>
                    <a:pt x="42797" y="29333"/>
                  </a:lnTo>
                  <a:lnTo>
                    <a:pt x="41118" y="29333"/>
                  </a:lnTo>
                  <a:lnTo>
                    <a:pt x="42797" y="32000"/>
                  </a:lnTo>
                  <a:lnTo>
                    <a:pt x="42797" y="32000"/>
                  </a:lnTo>
                  <a:lnTo>
                    <a:pt x="42797" y="32000"/>
                  </a:lnTo>
                  <a:lnTo>
                    <a:pt x="45314" y="32000"/>
                  </a:lnTo>
                  <a:lnTo>
                    <a:pt x="45314" y="32000"/>
                  </a:lnTo>
                  <a:lnTo>
                    <a:pt x="45314" y="32000"/>
                  </a:lnTo>
                  <a:lnTo>
                    <a:pt x="45314" y="32000"/>
                  </a:lnTo>
                  <a:lnTo>
                    <a:pt x="42797" y="32000"/>
                  </a:lnTo>
                  <a:close/>
                  <a:moveTo>
                    <a:pt x="39440" y="4000"/>
                  </a:moveTo>
                  <a:lnTo>
                    <a:pt x="39440" y="4000"/>
                  </a:lnTo>
                  <a:lnTo>
                    <a:pt x="39440" y="4000"/>
                  </a:lnTo>
                  <a:lnTo>
                    <a:pt x="39440" y="0"/>
                  </a:lnTo>
                  <a:lnTo>
                    <a:pt x="39440" y="0"/>
                  </a:lnTo>
                  <a:lnTo>
                    <a:pt x="36923" y="0"/>
                  </a:lnTo>
                  <a:lnTo>
                    <a:pt x="39440" y="0"/>
                  </a:lnTo>
                  <a:lnTo>
                    <a:pt x="39440" y="4000"/>
                  </a:lnTo>
                  <a:close/>
                  <a:moveTo>
                    <a:pt x="118321" y="98666"/>
                  </a:moveTo>
                  <a:lnTo>
                    <a:pt x="116643" y="98666"/>
                  </a:lnTo>
                  <a:lnTo>
                    <a:pt x="116643" y="94666"/>
                  </a:lnTo>
                  <a:lnTo>
                    <a:pt x="116643" y="94666"/>
                  </a:lnTo>
                  <a:lnTo>
                    <a:pt x="116643" y="92000"/>
                  </a:lnTo>
                  <a:lnTo>
                    <a:pt x="116643" y="88000"/>
                  </a:lnTo>
                  <a:lnTo>
                    <a:pt x="114125" y="88000"/>
                  </a:lnTo>
                  <a:lnTo>
                    <a:pt x="114125" y="88000"/>
                  </a:lnTo>
                  <a:lnTo>
                    <a:pt x="114125" y="85333"/>
                  </a:lnTo>
                  <a:lnTo>
                    <a:pt x="112447" y="82666"/>
                  </a:lnTo>
                  <a:lnTo>
                    <a:pt x="112447" y="78666"/>
                  </a:lnTo>
                  <a:lnTo>
                    <a:pt x="110769" y="78666"/>
                  </a:lnTo>
                  <a:lnTo>
                    <a:pt x="110769" y="76000"/>
                  </a:lnTo>
                  <a:lnTo>
                    <a:pt x="110769" y="73333"/>
                  </a:lnTo>
                  <a:lnTo>
                    <a:pt x="110769" y="69333"/>
                  </a:lnTo>
                  <a:lnTo>
                    <a:pt x="110769" y="69333"/>
                  </a:lnTo>
                  <a:lnTo>
                    <a:pt x="106573" y="66666"/>
                  </a:lnTo>
                  <a:lnTo>
                    <a:pt x="102377" y="64000"/>
                  </a:lnTo>
                  <a:lnTo>
                    <a:pt x="100699" y="64000"/>
                  </a:lnTo>
                  <a:lnTo>
                    <a:pt x="100699" y="64000"/>
                  </a:lnTo>
                  <a:lnTo>
                    <a:pt x="98181" y="66666"/>
                  </a:lnTo>
                  <a:lnTo>
                    <a:pt x="98181" y="66666"/>
                  </a:lnTo>
                  <a:lnTo>
                    <a:pt x="98181" y="66666"/>
                  </a:lnTo>
                  <a:lnTo>
                    <a:pt x="96503" y="66666"/>
                  </a:lnTo>
                  <a:lnTo>
                    <a:pt x="94825" y="66666"/>
                  </a:lnTo>
                  <a:lnTo>
                    <a:pt x="94825" y="64000"/>
                  </a:lnTo>
                  <a:lnTo>
                    <a:pt x="92307" y="60000"/>
                  </a:lnTo>
                  <a:lnTo>
                    <a:pt x="92307" y="60000"/>
                  </a:lnTo>
                  <a:lnTo>
                    <a:pt x="92307" y="57333"/>
                  </a:lnTo>
                  <a:lnTo>
                    <a:pt x="92307" y="57333"/>
                  </a:lnTo>
                  <a:lnTo>
                    <a:pt x="94825" y="57333"/>
                  </a:lnTo>
                  <a:lnTo>
                    <a:pt x="94825" y="57333"/>
                  </a:lnTo>
                  <a:lnTo>
                    <a:pt x="94825" y="53333"/>
                  </a:lnTo>
                  <a:lnTo>
                    <a:pt x="92307" y="53333"/>
                  </a:lnTo>
                  <a:lnTo>
                    <a:pt x="92307" y="50666"/>
                  </a:lnTo>
                  <a:lnTo>
                    <a:pt x="90629" y="48000"/>
                  </a:lnTo>
                  <a:lnTo>
                    <a:pt x="90629" y="48000"/>
                  </a:lnTo>
                  <a:lnTo>
                    <a:pt x="88951" y="44000"/>
                  </a:lnTo>
                  <a:lnTo>
                    <a:pt x="88951" y="41333"/>
                  </a:lnTo>
                  <a:lnTo>
                    <a:pt x="88951" y="41333"/>
                  </a:lnTo>
                  <a:lnTo>
                    <a:pt x="86433" y="41333"/>
                  </a:lnTo>
                  <a:lnTo>
                    <a:pt x="86433" y="41333"/>
                  </a:lnTo>
                  <a:lnTo>
                    <a:pt x="84755" y="44000"/>
                  </a:lnTo>
                  <a:lnTo>
                    <a:pt x="84755" y="44000"/>
                  </a:lnTo>
                  <a:lnTo>
                    <a:pt x="83076" y="44000"/>
                  </a:lnTo>
                  <a:lnTo>
                    <a:pt x="80559" y="44000"/>
                  </a:lnTo>
                  <a:lnTo>
                    <a:pt x="78881" y="44000"/>
                  </a:lnTo>
                  <a:lnTo>
                    <a:pt x="74685" y="44000"/>
                  </a:lnTo>
                  <a:lnTo>
                    <a:pt x="74685" y="44000"/>
                  </a:lnTo>
                  <a:lnTo>
                    <a:pt x="73006" y="44000"/>
                  </a:lnTo>
                  <a:lnTo>
                    <a:pt x="70489" y="44000"/>
                  </a:lnTo>
                  <a:lnTo>
                    <a:pt x="70489" y="48000"/>
                  </a:lnTo>
                  <a:lnTo>
                    <a:pt x="70489" y="48000"/>
                  </a:lnTo>
                  <a:lnTo>
                    <a:pt x="70489" y="48000"/>
                  </a:lnTo>
                  <a:lnTo>
                    <a:pt x="68811" y="48000"/>
                  </a:lnTo>
                  <a:lnTo>
                    <a:pt x="67132" y="44000"/>
                  </a:lnTo>
                  <a:lnTo>
                    <a:pt x="67132" y="44000"/>
                  </a:lnTo>
                  <a:lnTo>
                    <a:pt x="67132" y="44000"/>
                  </a:lnTo>
                  <a:lnTo>
                    <a:pt x="62937" y="48000"/>
                  </a:lnTo>
                  <a:lnTo>
                    <a:pt x="62937" y="48000"/>
                  </a:lnTo>
                  <a:lnTo>
                    <a:pt x="62937" y="48000"/>
                  </a:lnTo>
                  <a:lnTo>
                    <a:pt x="62937" y="44000"/>
                  </a:lnTo>
                  <a:lnTo>
                    <a:pt x="62937" y="41333"/>
                  </a:lnTo>
                  <a:lnTo>
                    <a:pt x="61258" y="41333"/>
                  </a:lnTo>
                  <a:lnTo>
                    <a:pt x="58741" y="41333"/>
                  </a:lnTo>
                  <a:lnTo>
                    <a:pt x="58741" y="41333"/>
                  </a:lnTo>
                  <a:lnTo>
                    <a:pt x="58741" y="41333"/>
                  </a:lnTo>
                  <a:lnTo>
                    <a:pt x="58741" y="38666"/>
                  </a:lnTo>
                  <a:lnTo>
                    <a:pt x="58741" y="38666"/>
                  </a:lnTo>
                  <a:lnTo>
                    <a:pt x="57062" y="38666"/>
                  </a:lnTo>
                  <a:lnTo>
                    <a:pt x="57062" y="38666"/>
                  </a:lnTo>
                  <a:lnTo>
                    <a:pt x="55384" y="38666"/>
                  </a:lnTo>
                  <a:lnTo>
                    <a:pt x="55384" y="38666"/>
                  </a:lnTo>
                  <a:lnTo>
                    <a:pt x="52867" y="41333"/>
                  </a:lnTo>
                  <a:lnTo>
                    <a:pt x="52867" y="41333"/>
                  </a:lnTo>
                  <a:lnTo>
                    <a:pt x="52867" y="41333"/>
                  </a:lnTo>
                  <a:lnTo>
                    <a:pt x="51188" y="44000"/>
                  </a:lnTo>
                  <a:lnTo>
                    <a:pt x="49510" y="44000"/>
                  </a:lnTo>
                  <a:lnTo>
                    <a:pt x="46993" y="44000"/>
                  </a:lnTo>
                  <a:lnTo>
                    <a:pt x="46993" y="41333"/>
                  </a:lnTo>
                  <a:lnTo>
                    <a:pt x="45314" y="38666"/>
                  </a:lnTo>
                  <a:lnTo>
                    <a:pt x="45314" y="38666"/>
                  </a:lnTo>
                  <a:lnTo>
                    <a:pt x="42797" y="38666"/>
                  </a:lnTo>
                  <a:lnTo>
                    <a:pt x="41118" y="38666"/>
                  </a:lnTo>
                  <a:lnTo>
                    <a:pt x="39440" y="38666"/>
                  </a:lnTo>
                  <a:lnTo>
                    <a:pt x="39440" y="38666"/>
                  </a:lnTo>
                  <a:lnTo>
                    <a:pt x="39440" y="38666"/>
                  </a:lnTo>
                  <a:lnTo>
                    <a:pt x="39440" y="38666"/>
                  </a:lnTo>
                  <a:lnTo>
                    <a:pt x="36923" y="38666"/>
                  </a:lnTo>
                  <a:lnTo>
                    <a:pt x="35244" y="38666"/>
                  </a:lnTo>
                  <a:lnTo>
                    <a:pt x="33566" y="38666"/>
                  </a:lnTo>
                  <a:lnTo>
                    <a:pt x="31048" y="38666"/>
                  </a:lnTo>
                  <a:lnTo>
                    <a:pt x="31048" y="38666"/>
                  </a:lnTo>
                  <a:lnTo>
                    <a:pt x="29370" y="38666"/>
                  </a:lnTo>
                  <a:lnTo>
                    <a:pt x="27692" y="38666"/>
                  </a:lnTo>
                  <a:lnTo>
                    <a:pt x="27692" y="41333"/>
                  </a:lnTo>
                  <a:lnTo>
                    <a:pt x="25174" y="34666"/>
                  </a:lnTo>
                  <a:lnTo>
                    <a:pt x="25174" y="32000"/>
                  </a:lnTo>
                  <a:lnTo>
                    <a:pt x="25174" y="32000"/>
                  </a:lnTo>
                  <a:lnTo>
                    <a:pt x="25174" y="29333"/>
                  </a:lnTo>
                  <a:lnTo>
                    <a:pt x="25174" y="29333"/>
                  </a:lnTo>
                  <a:lnTo>
                    <a:pt x="25174" y="29333"/>
                  </a:lnTo>
                  <a:lnTo>
                    <a:pt x="27692" y="29333"/>
                  </a:lnTo>
                  <a:lnTo>
                    <a:pt x="27692" y="29333"/>
                  </a:lnTo>
                  <a:lnTo>
                    <a:pt x="27692" y="29333"/>
                  </a:lnTo>
                  <a:lnTo>
                    <a:pt x="27692" y="25333"/>
                  </a:lnTo>
                  <a:lnTo>
                    <a:pt x="27692" y="29333"/>
                  </a:lnTo>
                  <a:lnTo>
                    <a:pt x="27692" y="29333"/>
                  </a:lnTo>
                  <a:lnTo>
                    <a:pt x="27692" y="25333"/>
                  </a:lnTo>
                  <a:lnTo>
                    <a:pt x="27692" y="25333"/>
                  </a:lnTo>
                  <a:lnTo>
                    <a:pt x="27692" y="25333"/>
                  </a:lnTo>
                  <a:lnTo>
                    <a:pt x="31048" y="25333"/>
                  </a:lnTo>
                  <a:lnTo>
                    <a:pt x="33566" y="22666"/>
                  </a:lnTo>
                  <a:lnTo>
                    <a:pt x="35244" y="25333"/>
                  </a:lnTo>
                  <a:lnTo>
                    <a:pt x="36923" y="25333"/>
                  </a:lnTo>
                  <a:lnTo>
                    <a:pt x="39440" y="25333"/>
                  </a:lnTo>
                  <a:lnTo>
                    <a:pt x="41118" y="29333"/>
                  </a:lnTo>
                  <a:lnTo>
                    <a:pt x="42797" y="29333"/>
                  </a:lnTo>
                  <a:lnTo>
                    <a:pt x="42797" y="29333"/>
                  </a:lnTo>
                  <a:lnTo>
                    <a:pt x="42797" y="29333"/>
                  </a:lnTo>
                  <a:lnTo>
                    <a:pt x="42797" y="25333"/>
                  </a:lnTo>
                  <a:lnTo>
                    <a:pt x="42797" y="25333"/>
                  </a:lnTo>
                  <a:lnTo>
                    <a:pt x="45314" y="25333"/>
                  </a:lnTo>
                  <a:lnTo>
                    <a:pt x="46993" y="22666"/>
                  </a:lnTo>
                  <a:lnTo>
                    <a:pt x="46993" y="22666"/>
                  </a:lnTo>
                  <a:lnTo>
                    <a:pt x="46993" y="22666"/>
                  </a:lnTo>
                  <a:lnTo>
                    <a:pt x="46993" y="22666"/>
                  </a:lnTo>
                  <a:lnTo>
                    <a:pt x="42797" y="22666"/>
                  </a:lnTo>
                  <a:lnTo>
                    <a:pt x="42797" y="22666"/>
                  </a:lnTo>
                  <a:lnTo>
                    <a:pt x="41118" y="22666"/>
                  </a:lnTo>
                  <a:lnTo>
                    <a:pt x="41118" y="18666"/>
                  </a:lnTo>
                  <a:lnTo>
                    <a:pt x="39440" y="18666"/>
                  </a:lnTo>
                  <a:lnTo>
                    <a:pt x="39440" y="18666"/>
                  </a:lnTo>
                  <a:lnTo>
                    <a:pt x="39440" y="18666"/>
                  </a:lnTo>
                  <a:lnTo>
                    <a:pt x="36923" y="16000"/>
                  </a:lnTo>
                  <a:lnTo>
                    <a:pt x="36923" y="16000"/>
                  </a:lnTo>
                  <a:lnTo>
                    <a:pt x="36923" y="16000"/>
                  </a:lnTo>
                  <a:lnTo>
                    <a:pt x="39440" y="13333"/>
                  </a:lnTo>
                  <a:lnTo>
                    <a:pt x="41118" y="9333"/>
                  </a:lnTo>
                  <a:lnTo>
                    <a:pt x="41118" y="9333"/>
                  </a:lnTo>
                  <a:lnTo>
                    <a:pt x="41118" y="9333"/>
                  </a:lnTo>
                  <a:lnTo>
                    <a:pt x="42797" y="9333"/>
                  </a:lnTo>
                  <a:lnTo>
                    <a:pt x="41118" y="9333"/>
                  </a:lnTo>
                  <a:lnTo>
                    <a:pt x="41118" y="6666"/>
                  </a:lnTo>
                  <a:lnTo>
                    <a:pt x="41118" y="6666"/>
                  </a:lnTo>
                  <a:lnTo>
                    <a:pt x="41118" y="6666"/>
                  </a:lnTo>
                  <a:lnTo>
                    <a:pt x="41118" y="6666"/>
                  </a:lnTo>
                  <a:lnTo>
                    <a:pt x="39440" y="4000"/>
                  </a:lnTo>
                  <a:lnTo>
                    <a:pt x="36923" y="0"/>
                  </a:lnTo>
                  <a:lnTo>
                    <a:pt x="35244" y="0"/>
                  </a:lnTo>
                  <a:lnTo>
                    <a:pt x="35244" y="0"/>
                  </a:lnTo>
                  <a:lnTo>
                    <a:pt x="35244" y="4000"/>
                  </a:lnTo>
                  <a:lnTo>
                    <a:pt x="35244" y="4000"/>
                  </a:lnTo>
                  <a:lnTo>
                    <a:pt x="33566" y="6666"/>
                  </a:lnTo>
                  <a:lnTo>
                    <a:pt x="31048" y="6666"/>
                  </a:lnTo>
                  <a:lnTo>
                    <a:pt x="29370" y="9333"/>
                  </a:lnTo>
                  <a:lnTo>
                    <a:pt x="27692" y="9333"/>
                  </a:lnTo>
                  <a:lnTo>
                    <a:pt x="27692" y="9333"/>
                  </a:lnTo>
                  <a:lnTo>
                    <a:pt x="25174" y="9333"/>
                  </a:lnTo>
                  <a:lnTo>
                    <a:pt x="23496" y="6666"/>
                  </a:lnTo>
                  <a:lnTo>
                    <a:pt x="23496" y="6666"/>
                  </a:lnTo>
                  <a:lnTo>
                    <a:pt x="21818" y="6666"/>
                  </a:lnTo>
                  <a:lnTo>
                    <a:pt x="21818" y="9333"/>
                  </a:lnTo>
                  <a:lnTo>
                    <a:pt x="21818" y="9333"/>
                  </a:lnTo>
                  <a:lnTo>
                    <a:pt x="21818" y="13333"/>
                  </a:lnTo>
                  <a:lnTo>
                    <a:pt x="21818" y="13333"/>
                  </a:lnTo>
                  <a:lnTo>
                    <a:pt x="23496" y="18666"/>
                  </a:lnTo>
                  <a:lnTo>
                    <a:pt x="23496" y="18666"/>
                  </a:lnTo>
                  <a:lnTo>
                    <a:pt x="21818" y="18666"/>
                  </a:lnTo>
                  <a:lnTo>
                    <a:pt x="23496" y="22666"/>
                  </a:lnTo>
                  <a:lnTo>
                    <a:pt x="23496" y="22666"/>
                  </a:lnTo>
                  <a:lnTo>
                    <a:pt x="21818" y="22666"/>
                  </a:lnTo>
                  <a:lnTo>
                    <a:pt x="19300" y="22666"/>
                  </a:lnTo>
                  <a:lnTo>
                    <a:pt x="13426" y="22666"/>
                  </a:lnTo>
                  <a:lnTo>
                    <a:pt x="13426" y="25333"/>
                  </a:lnTo>
                  <a:lnTo>
                    <a:pt x="13426" y="25333"/>
                  </a:lnTo>
                  <a:lnTo>
                    <a:pt x="15104" y="25333"/>
                  </a:lnTo>
                  <a:lnTo>
                    <a:pt x="17622" y="25333"/>
                  </a:lnTo>
                  <a:lnTo>
                    <a:pt x="19300" y="25333"/>
                  </a:lnTo>
                  <a:lnTo>
                    <a:pt x="19300" y="25333"/>
                  </a:lnTo>
                  <a:lnTo>
                    <a:pt x="19300" y="25333"/>
                  </a:lnTo>
                  <a:lnTo>
                    <a:pt x="19300" y="25333"/>
                  </a:lnTo>
                  <a:lnTo>
                    <a:pt x="19300" y="25333"/>
                  </a:lnTo>
                  <a:lnTo>
                    <a:pt x="17622" y="29333"/>
                  </a:lnTo>
                  <a:lnTo>
                    <a:pt x="17622" y="29333"/>
                  </a:lnTo>
                  <a:lnTo>
                    <a:pt x="17622" y="29333"/>
                  </a:lnTo>
                  <a:lnTo>
                    <a:pt x="17622" y="29333"/>
                  </a:lnTo>
                  <a:lnTo>
                    <a:pt x="19300" y="29333"/>
                  </a:lnTo>
                  <a:lnTo>
                    <a:pt x="19300" y="29333"/>
                  </a:lnTo>
                  <a:lnTo>
                    <a:pt x="19300" y="29333"/>
                  </a:lnTo>
                  <a:lnTo>
                    <a:pt x="17622" y="29333"/>
                  </a:lnTo>
                  <a:lnTo>
                    <a:pt x="17622" y="29333"/>
                  </a:lnTo>
                  <a:lnTo>
                    <a:pt x="17622" y="29333"/>
                  </a:lnTo>
                  <a:lnTo>
                    <a:pt x="17622" y="29333"/>
                  </a:lnTo>
                  <a:lnTo>
                    <a:pt x="17622" y="32000"/>
                  </a:lnTo>
                  <a:lnTo>
                    <a:pt x="17622" y="32000"/>
                  </a:lnTo>
                  <a:lnTo>
                    <a:pt x="15104" y="32000"/>
                  </a:lnTo>
                  <a:lnTo>
                    <a:pt x="15104" y="32000"/>
                  </a:lnTo>
                  <a:lnTo>
                    <a:pt x="15104" y="34666"/>
                  </a:lnTo>
                  <a:lnTo>
                    <a:pt x="15104" y="38666"/>
                  </a:lnTo>
                  <a:lnTo>
                    <a:pt x="15104" y="38666"/>
                  </a:lnTo>
                  <a:lnTo>
                    <a:pt x="13426" y="38666"/>
                  </a:lnTo>
                  <a:lnTo>
                    <a:pt x="13426" y="41333"/>
                  </a:lnTo>
                  <a:lnTo>
                    <a:pt x="11748" y="38666"/>
                  </a:lnTo>
                  <a:lnTo>
                    <a:pt x="11748" y="38666"/>
                  </a:lnTo>
                  <a:lnTo>
                    <a:pt x="9230" y="38666"/>
                  </a:lnTo>
                  <a:lnTo>
                    <a:pt x="5874" y="38666"/>
                  </a:lnTo>
                  <a:lnTo>
                    <a:pt x="3356" y="38666"/>
                  </a:lnTo>
                  <a:lnTo>
                    <a:pt x="1678" y="38666"/>
                  </a:lnTo>
                  <a:lnTo>
                    <a:pt x="0" y="41333"/>
                  </a:lnTo>
                  <a:lnTo>
                    <a:pt x="0" y="41333"/>
                  </a:lnTo>
                  <a:lnTo>
                    <a:pt x="0" y="41333"/>
                  </a:lnTo>
                  <a:lnTo>
                    <a:pt x="0" y="48000"/>
                  </a:lnTo>
                  <a:lnTo>
                    <a:pt x="0" y="48000"/>
                  </a:lnTo>
                  <a:lnTo>
                    <a:pt x="0" y="48000"/>
                  </a:lnTo>
                  <a:lnTo>
                    <a:pt x="3356" y="50666"/>
                  </a:lnTo>
                  <a:lnTo>
                    <a:pt x="3356" y="50666"/>
                  </a:lnTo>
                  <a:lnTo>
                    <a:pt x="5874" y="50666"/>
                  </a:lnTo>
                  <a:lnTo>
                    <a:pt x="5874" y="53333"/>
                  </a:lnTo>
                  <a:lnTo>
                    <a:pt x="5874" y="53333"/>
                  </a:lnTo>
                  <a:lnTo>
                    <a:pt x="7552" y="53333"/>
                  </a:lnTo>
                  <a:lnTo>
                    <a:pt x="7552" y="53333"/>
                  </a:lnTo>
                  <a:lnTo>
                    <a:pt x="9230" y="53333"/>
                  </a:lnTo>
                  <a:lnTo>
                    <a:pt x="11748" y="53333"/>
                  </a:lnTo>
                  <a:lnTo>
                    <a:pt x="11748" y="57333"/>
                  </a:lnTo>
                  <a:lnTo>
                    <a:pt x="11748" y="57333"/>
                  </a:lnTo>
                  <a:lnTo>
                    <a:pt x="11748" y="57333"/>
                  </a:lnTo>
                  <a:lnTo>
                    <a:pt x="11748" y="64000"/>
                  </a:lnTo>
                  <a:lnTo>
                    <a:pt x="11748" y="66666"/>
                  </a:lnTo>
                  <a:lnTo>
                    <a:pt x="13426" y="69333"/>
                  </a:lnTo>
                  <a:lnTo>
                    <a:pt x="13426" y="73333"/>
                  </a:lnTo>
                  <a:lnTo>
                    <a:pt x="15104" y="76000"/>
                  </a:lnTo>
                  <a:lnTo>
                    <a:pt x="17622" y="76000"/>
                  </a:lnTo>
                  <a:lnTo>
                    <a:pt x="17622" y="76000"/>
                  </a:lnTo>
                  <a:lnTo>
                    <a:pt x="17622" y="78666"/>
                  </a:lnTo>
                  <a:lnTo>
                    <a:pt x="17622" y="78666"/>
                  </a:lnTo>
                  <a:lnTo>
                    <a:pt x="17622" y="82666"/>
                  </a:lnTo>
                  <a:lnTo>
                    <a:pt x="17622" y="85333"/>
                  </a:lnTo>
                  <a:lnTo>
                    <a:pt x="17622" y="85333"/>
                  </a:lnTo>
                  <a:lnTo>
                    <a:pt x="15104" y="88000"/>
                  </a:lnTo>
                  <a:lnTo>
                    <a:pt x="15104" y="92000"/>
                  </a:lnTo>
                  <a:lnTo>
                    <a:pt x="13426" y="94666"/>
                  </a:lnTo>
                  <a:lnTo>
                    <a:pt x="13426" y="98666"/>
                  </a:lnTo>
                  <a:lnTo>
                    <a:pt x="13426" y="104000"/>
                  </a:lnTo>
                  <a:lnTo>
                    <a:pt x="13426" y="108000"/>
                  </a:lnTo>
                  <a:lnTo>
                    <a:pt x="13426" y="108000"/>
                  </a:lnTo>
                  <a:lnTo>
                    <a:pt x="15104" y="110666"/>
                  </a:lnTo>
                  <a:lnTo>
                    <a:pt x="17622" y="113333"/>
                  </a:lnTo>
                  <a:lnTo>
                    <a:pt x="19300" y="113333"/>
                  </a:lnTo>
                  <a:lnTo>
                    <a:pt x="21818" y="110666"/>
                  </a:lnTo>
                  <a:lnTo>
                    <a:pt x="21818" y="110666"/>
                  </a:lnTo>
                  <a:lnTo>
                    <a:pt x="21818" y="110666"/>
                  </a:lnTo>
                  <a:lnTo>
                    <a:pt x="21818" y="110666"/>
                  </a:lnTo>
                  <a:lnTo>
                    <a:pt x="23496" y="108000"/>
                  </a:lnTo>
                  <a:lnTo>
                    <a:pt x="25174" y="108000"/>
                  </a:lnTo>
                  <a:lnTo>
                    <a:pt x="25174" y="104000"/>
                  </a:lnTo>
                  <a:lnTo>
                    <a:pt x="27692" y="104000"/>
                  </a:lnTo>
                  <a:lnTo>
                    <a:pt x="27692" y="104000"/>
                  </a:lnTo>
                  <a:lnTo>
                    <a:pt x="27692" y="104000"/>
                  </a:lnTo>
                  <a:lnTo>
                    <a:pt x="29370" y="104000"/>
                  </a:lnTo>
                  <a:lnTo>
                    <a:pt x="29370" y="104000"/>
                  </a:lnTo>
                  <a:lnTo>
                    <a:pt x="29370" y="101333"/>
                  </a:lnTo>
                  <a:lnTo>
                    <a:pt x="29370" y="101333"/>
                  </a:lnTo>
                  <a:lnTo>
                    <a:pt x="29370" y="101333"/>
                  </a:lnTo>
                  <a:lnTo>
                    <a:pt x="31048" y="101333"/>
                  </a:lnTo>
                  <a:lnTo>
                    <a:pt x="31048" y="104000"/>
                  </a:lnTo>
                  <a:lnTo>
                    <a:pt x="33566" y="108000"/>
                  </a:lnTo>
                  <a:lnTo>
                    <a:pt x="35244" y="108000"/>
                  </a:lnTo>
                  <a:lnTo>
                    <a:pt x="35244" y="108000"/>
                  </a:lnTo>
                  <a:lnTo>
                    <a:pt x="36923" y="108000"/>
                  </a:lnTo>
                  <a:lnTo>
                    <a:pt x="36923" y="104000"/>
                  </a:lnTo>
                  <a:lnTo>
                    <a:pt x="36923" y="104000"/>
                  </a:lnTo>
                  <a:lnTo>
                    <a:pt x="36923" y="101333"/>
                  </a:lnTo>
                  <a:lnTo>
                    <a:pt x="36923" y="98666"/>
                  </a:lnTo>
                  <a:lnTo>
                    <a:pt x="36923" y="94666"/>
                  </a:lnTo>
                  <a:lnTo>
                    <a:pt x="39440" y="94666"/>
                  </a:lnTo>
                  <a:lnTo>
                    <a:pt x="41118" y="94666"/>
                  </a:lnTo>
                  <a:lnTo>
                    <a:pt x="42797" y="94666"/>
                  </a:lnTo>
                  <a:lnTo>
                    <a:pt x="45314" y="94666"/>
                  </a:lnTo>
                  <a:lnTo>
                    <a:pt x="45314" y="94666"/>
                  </a:lnTo>
                  <a:lnTo>
                    <a:pt x="46993" y="94666"/>
                  </a:lnTo>
                  <a:lnTo>
                    <a:pt x="46993" y="94666"/>
                  </a:lnTo>
                  <a:lnTo>
                    <a:pt x="46993" y="92000"/>
                  </a:lnTo>
                  <a:lnTo>
                    <a:pt x="46993" y="88000"/>
                  </a:lnTo>
                  <a:lnTo>
                    <a:pt x="46993" y="85333"/>
                  </a:lnTo>
                  <a:lnTo>
                    <a:pt x="46993" y="85333"/>
                  </a:lnTo>
                  <a:lnTo>
                    <a:pt x="46993" y="85333"/>
                  </a:lnTo>
                  <a:lnTo>
                    <a:pt x="46993" y="82666"/>
                  </a:lnTo>
                  <a:lnTo>
                    <a:pt x="49510" y="82666"/>
                  </a:lnTo>
                  <a:lnTo>
                    <a:pt x="49510" y="78666"/>
                  </a:lnTo>
                  <a:lnTo>
                    <a:pt x="51188" y="73333"/>
                  </a:lnTo>
                  <a:lnTo>
                    <a:pt x="51188" y="69333"/>
                  </a:lnTo>
                  <a:lnTo>
                    <a:pt x="52867" y="69333"/>
                  </a:lnTo>
                  <a:lnTo>
                    <a:pt x="57062" y="73333"/>
                  </a:lnTo>
                  <a:lnTo>
                    <a:pt x="58741" y="76000"/>
                  </a:lnTo>
                  <a:lnTo>
                    <a:pt x="61258" y="78666"/>
                  </a:lnTo>
                  <a:lnTo>
                    <a:pt x="61258" y="82666"/>
                  </a:lnTo>
                  <a:lnTo>
                    <a:pt x="61258" y="85333"/>
                  </a:lnTo>
                  <a:lnTo>
                    <a:pt x="62937" y="85333"/>
                  </a:lnTo>
                  <a:lnTo>
                    <a:pt x="62937" y="85333"/>
                  </a:lnTo>
                  <a:lnTo>
                    <a:pt x="64615" y="85333"/>
                  </a:lnTo>
                  <a:lnTo>
                    <a:pt x="64615" y="85333"/>
                  </a:lnTo>
                  <a:lnTo>
                    <a:pt x="67132" y="85333"/>
                  </a:lnTo>
                  <a:lnTo>
                    <a:pt x="67132" y="88000"/>
                  </a:lnTo>
                  <a:lnTo>
                    <a:pt x="67132" y="88000"/>
                  </a:lnTo>
                  <a:lnTo>
                    <a:pt x="67132" y="94666"/>
                  </a:lnTo>
                  <a:lnTo>
                    <a:pt x="67132" y="98666"/>
                  </a:lnTo>
                  <a:lnTo>
                    <a:pt x="67132" y="104000"/>
                  </a:lnTo>
                  <a:lnTo>
                    <a:pt x="67132" y="108000"/>
                  </a:lnTo>
                  <a:lnTo>
                    <a:pt x="68811" y="110666"/>
                  </a:lnTo>
                  <a:lnTo>
                    <a:pt x="68811" y="117333"/>
                  </a:lnTo>
                  <a:lnTo>
                    <a:pt x="70489" y="120000"/>
                  </a:lnTo>
                  <a:lnTo>
                    <a:pt x="73006" y="120000"/>
                  </a:lnTo>
                  <a:lnTo>
                    <a:pt x="73006" y="120000"/>
                  </a:lnTo>
                  <a:lnTo>
                    <a:pt x="74685" y="120000"/>
                  </a:lnTo>
                  <a:lnTo>
                    <a:pt x="77202" y="117333"/>
                  </a:lnTo>
                  <a:lnTo>
                    <a:pt x="78881" y="113333"/>
                  </a:lnTo>
                  <a:lnTo>
                    <a:pt x="80559" y="113333"/>
                  </a:lnTo>
                  <a:lnTo>
                    <a:pt x="84755" y="110666"/>
                  </a:lnTo>
                  <a:lnTo>
                    <a:pt x="86433" y="108000"/>
                  </a:lnTo>
                  <a:lnTo>
                    <a:pt x="88951" y="104000"/>
                  </a:lnTo>
                  <a:lnTo>
                    <a:pt x="92307" y="101333"/>
                  </a:lnTo>
                  <a:lnTo>
                    <a:pt x="94825" y="98666"/>
                  </a:lnTo>
                  <a:lnTo>
                    <a:pt x="96503" y="98666"/>
                  </a:lnTo>
                  <a:lnTo>
                    <a:pt x="96503" y="98666"/>
                  </a:lnTo>
                  <a:lnTo>
                    <a:pt x="98181" y="98666"/>
                  </a:lnTo>
                  <a:lnTo>
                    <a:pt x="98181" y="98666"/>
                  </a:lnTo>
                  <a:lnTo>
                    <a:pt x="98181" y="101333"/>
                  </a:lnTo>
                  <a:lnTo>
                    <a:pt x="100699" y="101333"/>
                  </a:lnTo>
                  <a:lnTo>
                    <a:pt x="100699" y="101333"/>
                  </a:lnTo>
                  <a:lnTo>
                    <a:pt x="98181" y="104000"/>
                  </a:lnTo>
                  <a:lnTo>
                    <a:pt x="98181" y="104000"/>
                  </a:lnTo>
                  <a:lnTo>
                    <a:pt x="98181" y="104000"/>
                  </a:lnTo>
                  <a:lnTo>
                    <a:pt x="100699" y="104000"/>
                  </a:lnTo>
                  <a:lnTo>
                    <a:pt x="102377" y="104000"/>
                  </a:lnTo>
                  <a:lnTo>
                    <a:pt x="104895" y="101333"/>
                  </a:lnTo>
                  <a:lnTo>
                    <a:pt x="106573" y="101333"/>
                  </a:lnTo>
                  <a:lnTo>
                    <a:pt x="106573" y="101333"/>
                  </a:lnTo>
                  <a:lnTo>
                    <a:pt x="106573" y="101333"/>
                  </a:lnTo>
                  <a:lnTo>
                    <a:pt x="108251" y="101333"/>
                  </a:lnTo>
                  <a:lnTo>
                    <a:pt x="110769" y="101333"/>
                  </a:lnTo>
                  <a:lnTo>
                    <a:pt x="110769" y="101333"/>
                  </a:lnTo>
                  <a:lnTo>
                    <a:pt x="112447" y="101333"/>
                  </a:lnTo>
                  <a:lnTo>
                    <a:pt x="114125" y="101333"/>
                  </a:lnTo>
                  <a:lnTo>
                    <a:pt x="116643" y="104000"/>
                  </a:lnTo>
                  <a:lnTo>
                    <a:pt x="116643" y="104000"/>
                  </a:lnTo>
                  <a:lnTo>
                    <a:pt x="116643" y="104000"/>
                  </a:lnTo>
                  <a:lnTo>
                    <a:pt x="118321" y="104000"/>
                  </a:lnTo>
                  <a:lnTo>
                    <a:pt x="118321" y="104000"/>
                  </a:lnTo>
                  <a:lnTo>
                    <a:pt x="120000" y="101333"/>
                  </a:lnTo>
                  <a:lnTo>
                    <a:pt x="120000" y="101333"/>
                  </a:lnTo>
                  <a:lnTo>
                    <a:pt x="118321" y="98666"/>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72" name="Shape 372"/>
            <p:cNvSpPr/>
            <p:nvPr/>
          </p:nvSpPr>
          <p:spPr>
            <a:xfrm>
              <a:off x="5800" y="2273"/>
              <a:ext cx="0" cy="0"/>
            </a:xfrm>
            <a:custGeom>
              <a:avLst/>
              <a:gdLst/>
              <a:ahLst/>
              <a:cxnLst/>
              <a:rect l="0" t="0" r="0" b="0"/>
              <a:pathLst>
                <a:path w="120000" h="120000" extrusionOk="0">
                  <a:moveTo>
                    <a:pt x="3750" y="32112"/>
                  </a:moveTo>
                  <a:lnTo>
                    <a:pt x="0" y="28732"/>
                  </a:lnTo>
                  <a:lnTo>
                    <a:pt x="0" y="32112"/>
                  </a:lnTo>
                  <a:lnTo>
                    <a:pt x="3750" y="32112"/>
                  </a:lnTo>
                  <a:lnTo>
                    <a:pt x="3750" y="32112"/>
                  </a:lnTo>
                  <a:lnTo>
                    <a:pt x="3750" y="28732"/>
                  </a:lnTo>
                  <a:lnTo>
                    <a:pt x="3750" y="32112"/>
                  </a:lnTo>
                  <a:close/>
                  <a:moveTo>
                    <a:pt x="120000" y="37183"/>
                  </a:moveTo>
                  <a:lnTo>
                    <a:pt x="120000" y="28732"/>
                  </a:lnTo>
                  <a:lnTo>
                    <a:pt x="120000" y="23661"/>
                  </a:lnTo>
                  <a:lnTo>
                    <a:pt x="120000" y="20281"/>
                  </a:lnTo>
                  <a:lnTo>
                    <a:pt x="120000" y="16901"/>
                  </a:lnTo>
                  <a:lnTo>
                    <a:pt x="120000" y="16901"/>
                  </a:lnTo>
                  <a:lnTo>
                    <a:pt x="120000" y="11830"/>
                  </a:lnTo>
                  <a:lnTo>
                    <a:pt x="120000" y="8450"/>
                  </a:lnTo>
                  <a:lnTo>
                    <a:pt x="114375" y="8450"/>
                  </a:lnTo>
                  <a:lnTo>
                    <a:pt x="110625" y="5070"/>
                  </a:lnTo>
                  <a:lnTo>
                    <a:pt x="110625" y="5070"/>
                  </a:lnTo>
                  <a:lnTo>
                    <a:pt x="110625" y="5070"/>
                  </a:lnTo>
                  <a:lnTo>
                    <a:pt x="106875" y="0"/>
                  </a:lnTo>
                  <a:lnTo>
                    <a:pt x="106875" y="0"/>
                  </a:lnTo>
                  <a:lnTo>
                    <a:pt x="101250" y="5070"/>
                  </a:lnTo>
                  <a:lnTo>
                    <a:pt x="101250" y="5070"/>
                  </a:lnTo>
                  <a:lnTo>
                    <a:pt x="91875" y="8450"/>
                  </a:lnTo>
                  <a:lnTo>
                    <a:pt x="88125" y="11830"/>
                  </a:lnTo>
                  <a:lnTo>
                    <a:pt x="88125" y="11830"/>
                  </a:lnTo>
                  <a:lnTo>
                    <a:pt x="88125" y="16901"/>
                  </a:lnTo>
                  <a:lnTo>
                    <a:pt x="84375" y="20281"/>
                  </a:lnTo>
                  <a:lnTo>
                    <a:pt x="84375" y="23661"/>
                  </a:lnTo>
                  <a:lnTo>
                    <a:pt x="78750" y="28732"/>
                  </a:lnTo>
                  <a:lnTo>
                    <a:pt x="71250" y="55774"/>
                  </a:lnTo>
                  <a:lnTo>
                    <a:pt x="71250" y="60845"/>
                  </a:lnTo>
                  <a:lnTo>
                    <a:pt x="71250" y="64225"/>
                  </a:lnTo>
                  <a:lnTo>
                    <a:pt x="71250" y="67605"/>
                  </a:lnTo>
                  <a:lnTo>
                    <a:pt x="71250" y="72676"/>
                  </a:lnTo>
                  <a:lnTo>
                    <a:pt x="71250" y="76056"/>
                  </a:lnTo>
                  <a:lnTo>
                    <a:pt x="71250" y="76056"/>
                  </a:lnTo>
                  <a:lnTo>
                    <a:pt x="71250" y="81126"/>
                  </a:lnTo>
                  <a:lnTo>
                    <a:pt x="75000" y="81126"/>
                  </a:lnTo>
                  <a:lnTo>
                    <a:pt x="75000" y="84507"/>
                  </a:lnTo>
                  <a:lnTo>
                    <a:pt x="78750" y="92957"/>
                  </a:lnTo>
                  <a:lnTo>
                    <a:pt x="84375" y="96338"/>
                  </a:lnTo>
                  <a:lnTo>
                    <a:pt x="84375" y="99718"/>
                  </a:lnTo>
                  <a:lnTo>
                    <a:pt x="84375" y="99718"/>
                  </a:lnTo>
                  <a:lnTo>
                    <a:pt x="88125" y="99718"/>
                  </a:lnTo>
                  <a:lnTo>
                    <a:pt x="88125" y="104788"/>
                  </a:lnTo>
                  <a:lnTo>
                    <a:pt x="91875" y="104788"/>
                  </a:lnTo>
                  <a:lnTo>
                    <a:pt x="97500" y="108169"/>
                  </a:lnTo>
                  <a:lnTo>
                    <a:pt x="97500" y="113239"/>
                  </a:lnTo>
                  <a:lnTo>
                    <a:pt x="101250" y="116619"/>
                  </a:lnTo>
                  <a:lnTo>
                    <a:pt x="101250" y="120000"/>
                  </a:lnTo>
                  <a:lnTo>
                    <a:pt x="106875" y="120000"/>
                  </a:lnTo>
                  <a:lnTo>
                    <a:pt x="106875" y="116619"/>
                  </a:lnTo>
                  <a:lnTo>
                    <a:pt x="106875" y="113239"/>
                  </a:lnTo>
                  <a:lnTo>
                    <a:pt x="106875" y="108169"/>
                  </a:lnTo>
                  <a:lnTo>
                    <a:pt x="106875" y="104788"/>
                  </a:lnTo>
                  <a:lnTo>
                    <a:pt x="106875" y="99718"/>
                  </a:lnTo>
                  <a:lnTo>
                    <a:pt x="106875" y="96338"/>
                  </a:lnTo>
                  <a:lnTo>
                    <a:pt x="110625" y="92957"/>
                  </a:lnTo>
                  <a:lnTo>
                    <a:pt x="114375" y="84507"/>
                  </a:lnTo>
                  <a:lnTo>
                    <a:pt x="114375" y="81126"/>
                  </a:lnTo>
                  <a:lnTo>
                    <a:pt x="114375" y="76056"/>
                  </a:lnTo>
                  <a:lnTo>
                    <a:pt x="120000" y="67605"/>
                  </a:lnTo>
                  <a:lnTo>
                    <a:pt x="114375" y="60845"/>
                  </a:lnTo>
                  <a:lnTo>
                    <a:pt x="120000" y="52394"/>
                  </a:lnTo>
                  <a:lnTo>
                    <a:pt x="114375" y="43943"/>
                  </a:lnTo>
                  <a:lnTo>
                    <a:pt x="120000" y="43943"/>
                  </a:lnTo>
                  <a:lnTo>
                    <a:pt x="120000" y="37183"/>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73" name="Shape 373"/>
            <p:cNvSpPr/>
            <p:nvPr/>
          </p:nvSpPr>
          <p:spPr>
            <a:xfrm>
              <a:off x="4289" y="2020"/>
              <a:ext cx="0" cy="0"/>
            </a:xfrm>
            <a:custGeom>
              <a:avLst/>
              <a:gdLst/>
              <a:ahLst/>
              <a:cxnLst/>
              <a:rect l="0" t="0" r="0" b="0"/>
              <a:pathLst>
                <a:path w="120000" h="120000" extrusionOk="0">
                  <a:moveTo>
                    <a:pt x="120000" y="3364"/>
                  </a:moveTo>
                  <a:lnTo>
                    <a:pt x="117876" y="0"/>
                  </a:lnTo>
                  <a:lnTo>
                    <a:pt x="117876" y="0"/>
                  </a:lnTo>
                  <a:lnTo>
                    <a:pt x="117876" y="0"/>
                  </a:lnTo>
                  <a:lnTo>
                    <a:pt x="117876" y="0"/>
                  </a:lnTo>
                  <a:lnTo>
                    <a:pt x="115752" y="0"/>
                  </a:lnTo>
                  <a:lnTo>
                    <a:pt x="115752" y="0"/>
                  </a:lnTo>
                  <a:lnTo>
                    <a:pt x="110442" y="3364"/>
                  </a:lnTo>
                  <a:lnTo>
                    <a:pt x="108318" y="3364"/>
                  </a:lnTo>
                  <a:lnTo>
                    <a:pt x="105132" y="5607"/>
                  </a:lnTo>
                  <a:lnTo>
                    <a:pt x="100884" y="5607"/>
                  </a:lnTo>
                  <a:lnTo>
                    <a:pt x="100884" y="5607"/>
                  </a:lnTo>
                  <a:lnTo>
                    <a:pt x="97699" y="5607"/>
                  </a:lnTo>
                  <a:lnTo>
                    <a:pt x="95575" y="3364"/>
                  </a:lnTo>
                  <a:lnTo>
                    <a:pt x="90265" y="3364"/>
                  </a:lnTo>
                  <a:lnTo>
                    <a:pt x="90265" y="3364"/>
                  </a:lnTo>
                  <a:lnTo>
                    <a:pt x="84955" y="5607"/>
                  </a:lnTo>
                  <a:lnTo>
                    <a:pt x="77522" y="11214"/>
                  </a:lnTo>
                  <a:lnTo>
                    <a:pt x="73274" y="13457"/>
                  </a:lnTo>
                  <a:lnTo>
                    <a:pt x="67964" y="13457"/>
                  </a:lnTo>
                  <a:lnTo>
                    <a:pt x="65840" y="13457"/>
                  </a:lnTo>
                  <a:lnTo>
                    <a:pt x="60530" y="13457"/>
                  </a:lnTo>
                  <a:lnTo>
                    <a:pt x="57345" y="13457"/>
                  </a:lnTo>
                  <a:lnTo>
                    <a:pt x="55221" y="13457"/>
                  </a:lnTo>
                  <a:lnTo>
                    <a:pt x="53097" y="13457"/>
                  </a:lnTo>
                  <a:lnTo>
                    <a:pt x="49911" y="11214"/>
                  </a:lnTo>
                  <a:lnTo>
                    <a:pt x="47787" y="11214"/>
                  </a:lnTo>
                  <a:lnTo>
                    <a:pt x="47787" y="7850"/>
                  </a:lnTo>
                  <a:lnTo>
                    <a:pt x="45663" y="7850"/>
                  </a:lnTo>
                  <a:lnTo>
                    <a:pt x="42477" y="7850"/>
                  </a:lnTo>
                  <a:lnTo>
                    <a:pt x="38230" y="11214"/>
                  </a:lnTo>
                  <a:lnTo>
                    <a:pt x="38230" y="13457"/>
                  </a:lnTo>
                  <a:lnTo>
                    <a:pt x="35044" y="13457"/>
                  </a:lnTo>
                  <a:lnTo>
                    <a:pt x="32920" y="13457"/>
                  </a:lnTo>
                  <a:lnTo>
                    <a:pt x="30796" y="15700"/>
                  </a:lnTo>
                  <a:lnTo>
                    <a:pt x="27610" y="15700"/>
                  </a:lnTo>
                  <a:lnTo>
                    <a:pt x="25486" y="15700"/>
                  </a:lnTo>
                  <a:lnTo>
                    <a:pt x="22300" y="15700"/>
                  </a:lnTo>
                  <a:lnTo>
                    <a:pt x="22300" y="13457"/>
                  </a:lnTo>
                  <a:lnTo>
                    <a:pt x="20176" y="13457"/>
                  </a:lnTo>
                  <a:lnTo>
                    <a:pt x="18053" y="11214"/>
                  </a:lnTo>
                  <a:lnTo>
                    <a:pt x="14867" y="11214"/>
                  </a:lnTo>
                  <a:lnTo>
                    <a:pt x="14867" y="11214"/>
                  </a:lnTo>
                  <a:lnTo>
                    <a:pt x="14867" y="13457"/>
                  </a:lnTo>
                  <a:lnTo>
                    <a:pt x="14867" y="19065"/>
                  </a:lnTo>
                  <a:lnTo>
                    <a:pt x="12743" y="19065"/>
                  </a:lnTo>
                  <a:lnTo>
                    <a:pt x="14867" y="24672"/>
                  </a:lnTo>
                  <a:lnTo>
                    <a:pt x="14867" y="24672"/>
                  </a:lnTo>
                  <a:lnTo>
                    <a:pt x="14867" y="24672"/>
                  </a:lnTo>
                  <a:lnTo>
                    <a:pt x="12743" y="24672"/>
                  </a:lnTo>
                  <a:lnTo>
                    <a:pt x="12743" y="26915"/>
                  </a:lnTo>
                  <a:lnTo>
                    <a:pt x="12743" y="26915"/>
                  </a:lnTo>
                  <a:lnTo>
                    <a:pt x="10619" y="29158"/>
                  </a:lnTo>
                  <a:lnTo>
                    <a:pt x="10619" y="32523"/>
                  </a:lnTo>
                  <a:lnTo>
                    <a:pt x="7433" y="32523"/>
                  </a:lnTo>
                  <a:lnTo>
                    <a:pt x="7433" y="34766"/>
                  </a:lnTo>
                  <a:lnTo>
                    <a:pt x="7433" y="34766"/>
                  </a:lnTo>
                  <a:lnTo>
                    <a:pt x="5309" y="32523"/>
                  </a:lnTo>
                  <a:lnTo>
                    <a:pt x="3185" y="32523"/>
                  </a:lnTo>
                  <a:lnTo>
                    <a:pt x="3185" y="34766"/>
                  </a:lnTo>
                  <a:lnTo>
                    <a:pt x="0" y="40373"/>
                  </a:lnTo>
                  <a:lnTo>
                    <a:pt x="5309" y="44859"/>
                  </a:lnTo>
                  <a:lnTo>
                    <a:pt x="5309" y="44859"/>
                  </a:lnTo>
                  <a:lnTo>
                    <a:pt x="5309" y="48224"/>
                  </a:lnTo>
                  <a:lnTo>
                    <a:pt x="5309" y="50467"/>
                  </a:lnTo>
                  <a:lnTo>
                    <a:pt x="5309" y="53831"/>
                  </a:lnTo>
                  <a:lnTo>
                    <a:pt x="5309" y="56074"/>
                  </a:lnTo>
                  <a:lnTo>
                    <a:pt x="5309" y="58317"/>
                  </a:lnTo>
                  <a:lnTo>
                    <a:pt x="7433" y="63925"/>
                  </a:lnTo>
                  <a:lnTo>
                    <a:pt x="10619" y="63925"/>
                  </a:lnTo>
                  <a:lnTo>
                    <a:pt x="12743" y="63925"/>
                  </a:lnTo>
                  <a:lnTo>
                    <a:pt x="12743" y="61682"/>
                  </a:lnTo>
                  <a:lnTo>
                    <a:pt x="14867" y="63925"/>
                  </a:lnTo>
                  <a:lnTo>
                    <a:pt x="14867" y="63925"/>
                  </a:lnTo>
                  <a:lnTo>
                    <a:pt x="14867" y="63925"/>
                  </a:lnTo>
                  <a:lnTo>
                    <a:pt x="12743" y="66168"/>
                  </a:lnTo>
                  <a:lnTo>
                    <a:pt x="12743" y="66168"/>
                  </a:lnTo>
                  <a:lnTo>
                    <a:pt x="14867" y="66168"/>
                  </a:lnTo>
                  <a:lnTo>
                    <a:pt x="14867" y="66168"/>
                  </a:lnTo>
                  <a:lnTo>
                    <a:pt x="18053" y="69532"/>
                  </a:lnTo>
                  <a:lnTo>
                    <a:pt x="20176" y="75140"/>
                  </a:lnTo>
                  <a:lnTo>
                    <a:pt x="18053" y="75140"/>
                  </a:lnTo>
                  <a:lnTo>
                    <a:pt x="18053" y="77383"/>
                  </a:lnTo>
                  <a:lnTo>
                    <a:pt x="18053" y="77383"/>
                  </a:lnTo>
                  <a:lnTo>
                    <a:pt x="14867" y="77383"/>
                  </a:lnTo>
                  <a:lnTo>
                    <a:pt x="14867" y="79626"/>
                  </a:lnTo>
                  <a:lnTo>
                    <a:pt x="14867" y="79626"/>
                  </a:lnTo>
                  <a:lnTo>
                    <a:pt x="14867" y="79626"/>
                  </a:lnTo>
                  <a:lnTo>
                    <a:pt x="14867" y="82990"/>
                  </a:lnTo>
                  <a:lnTo>
                    <a:pt x="14867" y="82990"/>
                  </a:lnTo>
                  <a:lnTo>
                    <a:pt x="14867" y="82990"/>
                  </a:lnTo>
                  <a:lnTo>
                    <a:pt x="14867" y="82990"/>
                  </a:lnTo>
                  <a:lnTo>
                    <a:pt x="12743" y="82990"/>
                  </a:lnTo>
                  <a:lnTo>
                    <a:pt x="12743" y="82990"/>
                  </a:lnTo>
                  <a:lnTo>
                    <a:pt x="10619" y="82990"/>
                  </a:lnTo>
                  <a:lnTo>
                    <a:pt x="10619" y="82990"/>
                  </a:lnTo>
                  <a:lnTo>
                    <a:pt x="7433" y="85233"/>
                  </a:lnTo>
                  <a:lnTo>
                    <a:pt x="7433" y="85233"/>
                  </a:lnTo>
                  <a:lnTo>
                    <a:pt x="7433" y="87476"/>
                  </a:lnTo>
                  <a:lnTo>
                    <a:pt x="7433" y="87476"/>
                  </a:lnTo>
                  <a:lnTo>
                    <a:pt x="10619" y="87476"/>
                  </a:lnTo>
                  <a:lnTo>
                    <a:pt x="10619" y="87476"/>
                  </a:lnTo>
                  <a:lnTo>
                    <a:pt x="10619" y="87476"/>
                  </a:lnTo>
                  <a:lnTo>
                    <a:pt x="7433" y="90841"/>
                  </a:lnTo>
                  <a:lnTo>
                    <a:pt x="7433" y="90841"/>
                  </a:lnTo>
                  <a:lnTo>
                    <a:pt x="7433" y="90841"/>
                  </a:lnTo>
                  <a:lnTo>
                    <a:pt x="7433" y="93084"/>
                  </a:lnTo>
                  <a:lnTo>
                    <a:pt x="7433" y="93084"/>
                  </a:lnTo>
                  <a:lnTo>
                    <a:pt x="7433" y="95327"/>
                  </a:lnTo>
                  <a:lnTo>
                    <a:pt x="7433" y="95327"/>
                  </a:lnTo>
                  <a:lnTo>
                    <a:pt x="7433" y="95327"/>
                  </a:lnTo>
                  <a:lnTo>
                    <a:pt x="7433" y="98691"/>
                  </a:lnTo>
                  <a:lnTo>
                    <a:pt x="7433" y="98691"/>
                  </a:lnTo>
                  <a:lnTo>
                    <a:pt x="7433" y="100934"/>
                  </a:lnTo>
                  <a:lnTo>
                    <a:pt x="7433" y="100934"/>
                  </a:lnTo>
                  <a:lnTo>
                    <a:pt x="7433" y="104299"/>
                  </a:lnTo>
                  <a:lnTo>
                    <a:pt x="7433" y="104299"/>
                  </a:lnTo>
                  <a:lnTo>
                    <a:pt x="7433" y="106542"/>
                  </a:lnTo>
                  <a:lnTo>
                    <a:pt x="7433" y="106542"/>
                  </a:lnTo>
                  <a:lnTo>
                    <a:pt x="7433" y="108785"/>
                  </a:lnTo>
                  <a:lnTo>
                    <a:pt x="10619" y="108785"/>
                  </a:lnTo>
                  <a:lnTo>
                    <a:pt x="10619" y="108785"/>
                  </a:lnTo>
                  <a:lnTo>
                    <a:pt x="12743" y="114392"/>
                  </a:lnTo>
                  <a:lnTo>
                    <a:pt x="14867" y="114392"/>
                  </a:lnTo>
                  <a:lnTo>
                    <a:pt x="18053" y="114392"/>
                  </a:lnTo>
                  <a:lnTo>
                    <a:pt x="18053" y="116635"/>
                  </a:lnTo>
                  <a:lnTo>
                    <a:pt x="20176" y="116635"/>
                  </a:lnTo>
                  <a:lnTo>
                    <a:pt x="27610" y="120000"/>
                  </a:lnTo>
                  <a:lnTo>
                    <a:pt x="32920" y="114392"/>
                  </a:lnTo>
                  <a:lnTo>
                    <a:pt x="35044" y="112149"/>
                  </a:lnTo>
                  <a:lnTo>
                    <a:pt x="40353" y="108785"/>
                  </a:lnTo>
                  <a:lnTo>
                    <a:pt x="42477" y="106542"/>
                  </a:lnTo>
                  <a:lnTo>
                    <a:pt x="49911" y="104299"/>
                  </a:lnTo>
                  <a:lnTo>
                    <a:pt x="53097" y="100934"/>
                  </a:lnTo>
                  <a:lnTo>
                    <a:pt x="57345" y="95327"/>
                  </a:lnTo>
                  <a:lnTo>
                    <a:pt x="62654" y="93084"/>
                  </a:lnTo>
                  <a:lnTo>
                    <a:pt x="67964" y="90841"/>
                  </a:lnTo>
                  <a:lnTo>
                    <a:pt x="70088" y="87476"/>
                  </a:lnTo>
                  <a:lnTo>
                    <a:pt x="75398" y="85233"/>
                  </a:lnTo>
                  <a:lnTo>
                    <a:pt x="80707" y="79626"/>
                  </a:lnTo>
                  <a:lnTo>
                    <a:pt x="84955" y="77383"/>
                  </a:lnTo>
                  <a:lnTo>
                    <a:pt x="90265" y="75140"/>
                  </a:lnTo>
                  <a:lnTo>
                    <a:pt x="95575" y="71775"/>
                  </a:lnTo>
                  <a:lnTo>
                    <a:pt x="100884" y="69532"/>
                  </a:lnTo>
                  <a:lnTo>
                    <a:pt x="100884" y="69532"/>
                  </a:lnTo>
                  <a:lnTo>
                    <a:pt x="103008" y="63925"/>
                  </a:lnTo>
                  <a:lnTo>
                    <a:pt x="103008" y="61682"/>
                  </a:lnTo>
                  <a:lnTo>
                    <a:pt x="103008" y="58317"/>
                  </a:lnTo>
                  <a:lnTo>
                    <a:pt x="103008" y="53831"/>
                  </a:lnTo>
                  <a:lnTo>
                    <a:pt x="103008" y="48224"/>
                  </a:lnTo>
                  <a:lnTo>
                    <a:pt x="103008" y="44859"/>
                  </a:lnTo>
                  <a:lnTo>
                    <a:pt x="105132" y="42616"/>
                  </a:lnTo>
                  <a:lnTo>
                    <a:pt x="105132" y="40373"/>
                  </a:lnTo>
                  <a:lnTo>
                    <a:pt x="105132" y="37009"/>
                  </a:lnTo>
                  <a:lnTo>
                    <a:pt x="105132" y="34766"/>
                  </a:lnTo>
                  <a:lnTo>
                    <a:pt x="103008" y="32523"/>
                  </a:lnTo>
                  <a:lnTo>
                    <a:pt x="103008" y="29158"/>
                  </a:lnTo>
                  <a:lnTo>
                    <a:pt x="103008" y="26915"/>
                  </a:lnTo>
                  <a:lnTo>
                    <a:pt x="103008" y="24672"/>
                  </a:lnTo>
                  <a:lnTo>
                    <a:pt x="103008" y="21308"/>
                  </a:lnTo>
                  <a:lnTo>
                    <a:pt x="103008" y="19065"/>
                  </a:lnTo>
                  <a:lnTo>
                    <a:pt x="103008" y="19065"/>
                  </a:lnTo>
                  <a:lnTo>
                    <a:pt x="108318" y="15700"/>
                  </a:lnTo>
                  <a:lnTo>
                    <a:pt x="110442" y="15700"/>
                  </a:lnTo>
                  <a:lnTo>
                    <a:pt x="112566" y="13457"/>
                  </a:lnTo>
                  <a:lnTo>
                    <a:pt x="115752" y="11214"/>
                  </a:lnTo>
                  <a:lnTo>
                    <a:pt x="117876" y="7850"/>
                  </a:lnTo>
                  <a:lnTo>
                    <a:pt x="120000" y="5607"/>
                  </a:lnTo>
                  <a:lnTo>
                    <a:pt x="120000" y="5607"/>
                  </a:lnTo>
                  <a:lnTo>
                    <a:pt x="120000" y="3364"/>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74" name="Shape 374"/>
            <p:cNvSpPr/>
            <p:nvPr/>
          </p:nvSpPr>
          <p:spPr>
            <a:xfrm>
              <a:off x="3773" y="1803"/>
              <a:ext cx="0" cy="0"/>
            </a:xfrm>
            <a:custGeom>
              <a:avLst/>
              <a:gdLst/>
              <a:ahLst/>
              <a:cxnLst/>
              <a:rect l="0" t="0" r="0" b="0"/>
              <a:pathLst>
                <a:path w="120000" h="120000" extrusionOk="0">
                  <a:moveTo>
                    <a:pt x="120000" y="57000"/>
                  </a:moveTo>
                  <a:lnTo>
                    <a:pt x="120000" y="48000"/>
                  </a:lnTo>
                  <a:lnTo>
                    <a:pt x="120000" y="48000"/>
                  </a:lnTo>
                  <a:lnTo>
                    <a:pt x="115263" y="48000"/>
                  </a:lnTo>
                  <a:lnTo>
                    <a:pt x="112105" y="57000"/>
                  </a:lnTo>
                  <a:lnTo>
                    <a:pt x="112105" y="57000"/>
                  </a:lnTo>
                  <a:lnTo>
                    <a:pt x="107368" y="48000"/>
                  </a:lnTo>
                  <a:lnTo>
                    <a:pt x="104210" y="48000"/>
                  </a:lnTo>
                  <a:lnTo>
                    <a:pt x="104210" y="48000"/>
                  </a:lnTo>
                  <a:lnTo>
                    <a:pt x="104210" y="42000"/>
                  </a:lnTo>
                  <a:lnTo>
                    <a:pt x="101052" y="42000"/>
                  </a:lnTo>
                  <a:lnTo>
                    <a:pt x="96315" y="42000"/>
                  </a:lnTo>
                  <a:lnTo>
                    <a:pt x="96315" y="42000"/>
                  </a:lnTo>
                  <a:lnTo>
                    <a:pt x="93157" y="42000"/>
                  </a:lnTo>
                  <a:lnTo>
                    <a:pt x="93157" y="42000"/>
                  </a:lnTo>
                  <a:lnTo>
                    <a:pt x="93157" y="42000"/>
                  </a:lnTo>
                  <a:lnTo>
                    <a:pt x="93157" y="36000"/>
                  </a:lnTo>
                  <a:lnTo>
                    <a:pt x="93157" y="27000"/>
                  </a:lnTo>
                  <a:lnTo>
                    <a:pt x="96315" y="21000"/>
                  </a:lnTo>
                  <a:lnTo>
                    <a:pt x="96315" y="15000"/>
                  </a:lnTo>
                  <a:lnTo>
                    <a:pt x="96315" y="15000"/>
                  </a:lnTo>
                  <a:lnTo>
                    <a:pt x="93157" y="15000"/>
                  </a:lnTo>
                  <a:lnTo>
                    <a:pt x="90000" y="6000"/>
                  </a:lnTo>
                  <a:lnTo>
                    <a:pt x="85263" y="6000"/>
                  </a:lnTo>
                  <a:lnTo>
                    <a:pt x="85263" y="6000"/>
                  </a:lnTo>
                  <a:lnTo>
                    <a:pt x="78947" y="6000"/>
                  </a:lnTo>
                  <a:lnTo>
                    <a:pt x="78947" y="6000"/>
                  </a:lnTo>
                  <a:lnTo>
                    <a:pt x="78947" y="0"/>
                  </a:lnTo>
                  <a:lnTo>
                    <a:pt x="74210" y="0"/>
                  </a:lnTo>
                  <a:lnTo>
                    <a:pt x="74210" y="0"/>
                  </a:lnTo>
                  <a:lnTo>
                    <a:pt x="74210" y="0"/>
                  </a:lnTo>
                  <a:lnTo>
                    <a:pt x="74210" y="0"/>
                  </a:lnTo>
                  <a:lnTo>
                    <a:pt x="71052" y="0"/>
                  </a:lnTo>
                  <a:lnTo>
                    <a:pt x="71052" y="0"/>
                  </a:lnTo>
                  <a:lnTo>
                    <a:pt x="67894" y="0"/>
                  </a:lnTo>
                  <a:lnTo>
                    <a:pt x="67894" y="0"/>
                  </a:lnTo>
                  <a:lnTo>
                    <a:pt x="67894" y="0"/>
                  </a:lnTo>
                  <a:lnTo>
                    <a:pt x="67894" y="6000"/>
                  </a:lnTo>
                  <a:lnTo>
                    <a:pt x="67894" y="6000"/>
                  </a:lnTo>
                  <a:lnTo>
                    <a:pt x="71052" y="6000"/>
                  </a:lnTo>
                  <a:lnTo>
                    <a:pt x="71052" y="6000"/>
                  </a:lnTo>
                  <a:lnTo>
                    <a:pt x="71052" y="6000"/>
                  </a:lnTo>
                  <a:lnTo>
                    <a:pt x="71052" y="6000"/>
                  </a:lnTo>
                  <a:lnTo>
                    <a:pt x="67894" y="6000"/>
                  </a:lnTo>
                  <a:lnTo>
                    <a:pt x="67894" y="6000"/>
                  </a:lnTo>
                  <a:lnTo>
                    <a:pt x="67894" y="6000"/>
                  </a:lnTo>
                  <a:lnTo>
                    <a:pt x="67894" y="6000"/>
                  </a:lnTo>
                  <a:lnTo>
                    <a:pt x="63157" y="6000"/>
                  </a:lnTo>
                  <a:lnTo>
                    <a:pt x="60000" y="6000"/>
                  </a:lnTo>
                  <a:lnTo>
                    <a:pt x="55263" y="6000"/>
                  </a:lnTo>
                  <a:lnTo>
                    <a:pt x="52105" y="15000"/>
                  </a:lnTo>
                  <a:lnTo>
                    <a:pt x="48947" y="15000"/>
                  </a:lnTo>
                  <a:lnTo>
                    <a:pt x="44210" y="6000"/>
                  </a:lnTo>
                  <a:lnTo>
                    <a:pt x="41052" y="15000"/>
                  </a:lnTo>
                  <a:lnTo>
                    <a:pt x="41052" y="15000"/>
                  </a:lnTo>
                  <a:lnTo>
                    <a:pt x="41052" y="21000"/>
                  </a:lnTo>
                  <a:lnTo>
                    <a:pt x="37894" y="21000"/>
                  </a:lnTo>
                  <a:lnTo>
                    <a:pt x="37894" y="21000"/>
                  </a:lnTo>
                  <a:lnTo>
                    <a:pt x="33157" y="21000"/>
                  </a:lnTo>
                  <a:lnTo>
                    <a:pt x="33157" y="21000"/>
                  </a:lnTo>
                  <a:lnTo>
                    <a:pt x="33157" y="15000"/>
                  </a:lnTo>
                  <a:lnTo>
                    <a:pt x="33157" y="15000"/>
                  </a:lnTo>
                  <a:lnTo>
                    <a:pt x="30000" y="15000"/>
                  </a:lnTo>
                  <a:lnTo>
                    <a:pt x="30000" y="21000"/>
                  </a:lnTo>
                  <a:lnTo>
                    <a:pt x="26842" y="21000"/>
                  </a:lnTo>
                  <a:lnTo>
                    <a:pt x="26842" y="21000"/>
                  </a:lnTo>
                  <a:lnTo>
                    <a:pt x="30000" y="21000"/>
                  </a:lnTo>
                  <a:lnTo>
                    <a:pt x="30000" y="27000"/>
                  </a:lnTo>
                  <a:lnTo>
                    <a:pt x="30000" y="27000"/>
                  </a:lnTo>
                  <a:lnTo>
                    <a:pt x="30000" y="27000"/>
                  </a:lnTo>
                  <a:lnTo>
                    <a:pt x="26842" y="27000"/>
                  </a:lnTo>
                  <a:lnTo>
                    <a:pt x="26842" y="36000"/>
                  </a:lnTo>
                  <a:lnTo>
                    <a:pt x="22105" y="42000"/>
                  </a:lnTo>
                  <a:lnTo>
                    <a:pt x="18947" y="42000"/>
                  </a:lnTo>
                  <a:lnTo>
                    <a:pt x="18947" y="42000"/>
                  </a:lnTo>
                  <a:lnTo>
                    <a:pt x="15789" y="48000"/>
                  </a:lnTo>
                  <a:lnTo>
                    <a:pt x="15789" y="48000"/>
                  </a:lnTo>
                  <a:lnTo>
                    <a:pt x="15789" y="57000"/>
                  </a:lnTo>
                  <a:lnTo>
                    <a:pt x="15789" y="63000"/>
                  </a:lnTo>
                  <a:lnTo>
                    <a:pt x="11052" y="63000"/>
                  </a:lnTo>
                  <a:lnTo>
                    <a:pt x="7894" y="69000"/>
                  </a:lnTo>
                  <a:lnTo>
                    <a:pt x="7894" y="69000"/>
                  </a:lnTo>
                  <a:lnTo>
                    <a:pt x="3157" y="78000"/>
                  </a:lnTo>
                  <a:lnTo>
                    <a:pt x="3157" y="78000"/>
                  </a:lnTo>
                  <a:lnTo>
                    <a:pt x="3157" y="78000"/>
                  </a:lnTo>
                  <a:lnTo>
                    <a:pt x="7894" y="84000"/>
                  </a:lnTo>
                  <a:lnTo>
                    <a:pt x="3157" y="84000"/>
                  </a:lnTo>
                  <a:lnTo>
                    <a:pt x="3157" y="93000"/>
                  </a:lnTo>
                  <a:lnTo>
                    <a:pt x="3157" y="93000"/>
                  </a:lnTo>
                  <a:lnTo>
                    <a:pt x="0" y="93000"/>
                  </a:lnTo>
                  <a:lnTo>
                    <a:pt x="0" y="99000"/>
                  </a:lnTo>
                  <a:lnTo>
                    <a:pt x="3157" y="99000"/>
                  </a:lnTo>
                  <a:lnTo>
                    <a:pt x="3157" y="99000"/>
                  </a:lnTo>
                  <a:lnTo>
                    <a:pt x="7894" y="99000"/>
                  </a:lnTo>
                  <a:lnTo>
                    <a:pt x="11052" y="93000"/>
                  </a:lnTo>
                  <a:lnTo>
                    <a:pt x="7894" y="93000"/>
                  </a:lnTo>
                  <a:lnTo>
                    <a:pt x="7894" y="84000"/>
                  </a:lnTo>
                  <a:lnTo>
                    <a:pt x="7894" y="84000"/>
                  </a:lnTo>
                  <a:lnTo>
                    <a:pt x="11052" y="84000"/>
                  </a:lnTo>
                  <a:lnTo>
                    <a:pt x="15789" y="78000"/>
                  </a:lnTo>
                  <a:lnTo>
                    <a:pt x="18947" y="78000"/>
                  </a:lnTo>
                  <a:lnTo>
                    <a:pt x="22105" y="84000"/>
                  </a:lnTo>
                  <a:lnTo>
                    <a:pt x="22105" y="84000"/>
                  </a:lnTo>
                  <a:lnTo>
                    <a:pt x="22105" y="84000"/>
                  </a:lnTo>
                  <a:lnTo>
                    <a:pt x="22105" y="84000"/>
                  </a:lnTo>
                  <a:lnTo>
                    <a:pt x="22105" y="93000"/>
                  </a:lnTo>
                  <a:lnTo>
                    <a:pt x="22105" y="99000"/>
                  </a:lnTo>
                  <a:lnTo>
                    <a:pt x="22105" y="99000"/>
                  </a:lnTo>
                  <a:lnTo>
                    <a:pt x="26842" y="99000"/>
                  </a:lnTo>
                  <a:lnTo>
                    <a:pt x="26842" y="105000"/>
                  </a:lnTo>
                  <a:lnTo>
                    <a:pt x="26842" y="105000"/>
                  </a:lnTo>
                  <a:lnTo>
                    <a:pt x="30000" y="114000"/>
                  </a:lnTo>
                  <a:lnTo>
                    <a:pt x="30000" y="114000"/>
                  </a:lnTo>
                  <a:lnTo>
                    <a:pt x="30000" y="114000"/>
                  </a:lnTo>
                  <a:lnTo>
                    <a:pt x="30000" y="114000"/>
                  </a:lnTo>
                  <a:lnTo>
                    <a:pt x="37894" y="114000"/>
                  </a:lnTo>
                  <a:lnTo>
                    <a:pt x="41052" y="114000"/>
                  </a:lnTo>
                  <a:lnTo>
                    <a:pt x="41052" y="105000"/>
                  </a:lnTo>
                  <a:lnTo>
                    <a:pt x="44210" y="105000"/>
                  </a:lnTo>
                  <a:lnTo>
                    <a:pt x="48947" y="114000"/>
                  </a:lnTo>
                  <a:lnTo>
                    <a:pt x="52105" y="114000"/>
                  </a:lnTo>
                  <a:lnTo>
                    <a:pt x="55263" y="105000"/>
                  </a:lnTo>
                  <a:lnTo>
                    <a:pt x="55263" y="105000"/>
                  </a:lnTo>
                  <a:lnTo>
                    <a:pt x="60000" y="99000"/>
                  </a:lnTo>
                  <a:lnTo>
                    <a:pt x="60000" y="99000"/>
                  </a:lnTo>
                  <a:lnTo>
                    <a:pt x="55263" y="93000"/>
                  </a:lnTo>
                  <a:lnTo>
                    <a:pt x="55263" y="93000"/>
                  </a:lnTo>
                  <a:lnTo>
                    <a:pt x="60000" y="84000"/>
                  </a:lnTo>
                  <a:lnTo>
                    <a:pt x="63157" y="84000"/>
                  </a:lnTo>
                  <a:lnTo>
                    <a:pt x="63157" y="78000"/>
                  </a:lnTo>
                  <a:lnTo>
                    <a:pt x="67894" y="78000"/>
                  </a:lnTo>
                  <a:lnTo>
                    <a:pt x="67894" y="78000"/>
                  </a:lnTo>
                  <a:lnTo>
                    <a:pt x="67894" y="84000"/>
                  </a:lnTo>
                  <a:lnTo>
                    <a:pt x="67894" y="93000"/>
                  </a:lnTo>
                  <a:lnTo>
                    <a:pt x="67894" y="93000"/>
                  </a:lnTo>
                  <a:lnTo>
                    <a:pt x="71052" y="99000"/>
                  </a:lnTo>
                  <a:lnTo>
                    <a:pt x="71052" y="99000"/>
                  </a:lnTo>
                  <a:lnTo>
                    <a:pt x="74210" y="105000"/>
                  </a:lnTo>
                  <a:lnTo>
                    <a:pt x="74210" y="105000"/>
                  </a:lnTo>
                  <a:lnTo>
                    <a:pt x="74210" y="105000"/>
                  </a:lnTo>
                  <a:lnTo>
                    <a:pt x="78947" y="114000"/>
                  </a:lnTo>
                  <a:lnTo>
                    <a:pt x="78947" y="114000"/>
                  </a:lnTo>
                  <a:lnTo>
                    <a:pt x="78947" y="120000"/>
                  </a:lnTo>
                  <a:lnTo>
                    <a:pt x="82105" y="120000"/>
                  </a:lnTo>
                  <a:lnTo>
                    <a:pt x="82105" y="114000"/>
                  </a:lnTo>
                  <a:lnTo>
                    <a:pt x="82105" y="114000"/>
                  </a:lnTo>
                  <a:lnTo>
                    <a:pt x="82105" y="105000"/>
                  </a:lnTo>
                  <a:lnTo>
                    <a:pt x="82105" y="105000"/>
                  </a:lnTo>
                  <a:lnTo>
                    <a:pt x="82105" y="105000"/>
                  </a:lnTo>
                  <a:lnTo>
                    <a:pt x="82105" y="99000"/>
                  </a:lnTo>
                  <a:lnTo>
                    <a:pt x="85263" y="93000"/>
                  </a:lnTo>
                  <a:lnTo>
                    <a:pt x="85263" y="93000"/>
                  </a:lnTo>
                  <a:lnTo>
                    <a:pt x="90000" y="84000"/>
                  </a:lnTo>
                  <a:lnTo>
                    <a:pt x="90000" y="78000"/>
                  </a:lnTo>
                  <a:lnTo>
                    <a:pt x="90000" y="78000"/>
                  </a:lnTo>
                  <a:lnTo>
                    <a:pt x="93157" y="78000"/>
                  </a:lnTo>
                  <a:lnTo>
                    <a:pt x="93157" y="78000"/>
                  </a:lnTo>
                  <a:lnTo>
                    <a:pt x="93157" y="78000"/>
                  </a:lnTo>
                  <a:lnTo>
                    <a:pt x="93157" y="84000"/>
                  </a:lnTo>
                  <a:lnTo>
                    <a:pt x="93157" y="93000"/>
                  </a:lnTo>
                  <a:lnTo>
                    <a:pt x="96315" y="93000"/>
                  </a:lnTo>
                  <a:lnTo>
                    <a:pt x="96315" y="93000"/>
                  </a:lnTo>
                  <a:lnTo>
                    <a:pt x="101052" y="84000"/>
                  </a:lnTo>
                  <a:lnTo>
                    <a:pt x="104210" y="84000"/>
                  </a:lnTo>
                  <a:lnTo>
                    <a:pt x="104210" y="84000"/>
                  </a:lnTo>
                  <a:lnTo>
                    <a:pt x="107368" y="84000"/>
                  </a:lnTo>
                  <a:lnTo>
                    <a:pt x="107368" y="93000"/>
                  </a:lnTo>
                  <a:lnTo>
                    <a:pt x="107368" y="93000"/>
                  </a:lnTo>
                  <a:lnTo>
                    <a:pt x="112105" y="93000"/>
                  </a:lnTo>
                  <a:lnTo>
                    <a:pt x="112105" y="93000"/>
                  </a:lnTo>
                  <a:lnTo>
                    <a:pt x="112105" y="93000"/>
                  </a:lnTo>
                  <a:lnTo>
                    <a:pt x="107368" y="84000"/>
                  </a:lnTo>
                  <a:lnTo>
                    <a:pt x="107368" y="84000"/>
                  </a:lnTo>
                  <a:lnTo>
                    <a:pt x="107368" y="78000"/>
                  </a:lnTo>
                  <a:lnTo>
                    <a:pt x="107368" y="78000"/>
                  </a:lnTo>
                  <a:lnTo>
                    <a:pt x="107368" y="69000"/>
                  </a:lnTo>
                  <a:lnTo>
                    <a:pt x="107368" y="69000"/>
                  </a:lnTo>
                  <a:lnTo>
                    <a:pt x="112105" y="69000"/>
                  </a:lnTo>
                  <a:lnTo>
                    <a:pt x="112105" y="69000"/>
                  </a:lnTo>
                  <a:lnTo>
                    <a:pt x="115263" y="69000"/>
                  </a:lnTo>
                  <a:lnTo>
                    <a:pt x="115263" y="69000"/>
                  </a:lnTo>
                  <a:lnTo>
                    <a:pt x="120000" y="69000"/>
                  </a:lnTo>
                  <a:lnTo>
                    <a:pt x="120000" y="69000"/>
                  </a:lnTo>
                  <a:lnTo>
                    <a:pt x="120000" y="69000"/>
                  </a:lnTo>
                  <a:lnTo>
                    <a:pt x="120000" y="63000"/>
                  </a:lnTo>
                  <a:lnTo>
                    <a:pt x="120000" y="63000"/>
                  </a:lnTo>
                  <a:lnTo>
                    <a:pt x="120000" y="5700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75" name="Shape 375"/>
            <p:cNvSpPr/>
            <p:nvPr/>
          </p:nvSpPr>
          <p:spPr>
            <a:xfrm>
              <a:off x="3860" y="1389"/>
              <a:ext cx="300" cy="300"/>
            </a:xfrm>
            <a:custGeom>
              <a:avLst/>
              <a:gdLst/>
              <a:ahLst/>
              <a:cxnLst/>
              <a:rect l="0" t="0" r="0" b="0"/>
              <a:pathLst>
                <a:path w="120000" h="120000" extrusionOk="0">
                  <a:moveTo>
                    <a:pt x="59340" y="101538"/>
                  </a:moveTo>
                  <a:lnTo>
                    <a:pt x="59340" y="101538"/>
                  </a:lnTo>
                  <a:lnTo>
                    <a:pt x="58021" y="101538"/>
                  </a:lnTo>
                  <a:lnTo>
                    <a:pt x="58021" y="102461"/>
                  </a:lnTo>
                  <a:lnTo>
                    <a:pt x="58021" y="102461"/>
                  </a:lnTo>
                  <a:lnTo>
                    <a:pt x="58021" y="103846"/>
                  </a:lnTo>
                  <a:lnTo>
                    <a:pt x="56043" y="105692"/>
                  </a:lnTo>
                  <a:lnTo>
                    <a:pt x="54725" y="105692"/>
                  </a:lnTo>
                  <a:lnTo>
                    <a:pt x="52747" y="108000"/>
                  </a:lnTo>
                  <a:lnTo>
                    <a:pt x="52747" y="108923"/>
                  </a:lnTo>
                  <a:lnTo>
                    <a:pt x="52747" y="111230"/>
                  </a:lnTo>
                  <a:lnTo>
                    <a:pt x="52747" y="111230"/>
                  </a:lnTo>
                  <a:lnTo>
                    <a:pt x="52747" y="111230"/>
                  </a:lnTo>
                  <a:lnTo>
                    <a:pt x="54725" y="111230"/>
                  </a:lnTo>
                  <a:lnTo>
                    <a:pt x="56043" y="107076"/>
                  </a:lnTo>
                  <a:lnTo>
                    <a:pt x="58021" y="105692"/>
                  </a:lnTo>
                  <a:lnTo>
                    <a:pt x="58021" y="104769"/>
                  </a:lnTo>
                  <a:lnTo>
                    <a:pt x="59340" y="102461"/>
                  </a:lnTo>
                  <a:lnTo>
                    <a:pt x="59340" y="102461"/>
                  </a:lnTo>
                  <a:lnTo>
                    <a:pt x="59340" y="102461"/>
                  </a:lnTo>
                  <a:lnTo>
                    <a:pt x="59340" y="101538"/>
                  </a:lnTo>
                  <a:lnTo>
                    <a:pt x="59340" y="101538"/>
                  </a:lnTo>
                  <a:close/>
                  <a:moveTo>
                    <a:pt x="76483" y="96000"/>
                  </a:moveTo>
                  <a:lnTo>
                    <a:pt x="76483" y="96000"/>
                  </a:lnTo>
                  <a:lnTo>
                    <a:pt x="76483" y="96923"/>
                  </a:lnTo>
                  <a:lnTo>
                    <a:pt x="74505" y="96923"/>
                  </a:lnTo>
                  <a:lnTo>
                    <a:pt x="73186" y="96923"/>
                  </a:lnTo>
                  <a:lnTo>
                    <a:pt x="71868" y="98307"/>
                  </a:lnTo>
                  <a:lnTo>
                    <a:pt x="71868" y="98307"/>
                  </a:lnTo>
                  <a:lnTo>
                    <a:pt x="69890" y="99230"/>
                  </a:lnTo>
                  <a:lnTo>
                    <a:pt x="69890" y="99230"/>
                  </a:lnTo>
                  <a:lnTo>
                    <a:pt x="69890" y="100615"/>
                  </a:lnTo>
                  <a:lnTo>
                    <a:pt x="69890" y="101538"/>
                  </a:lnTo>
                  <a:lnTo>
                    <a:pt x="69890" y="102461"/>
                  </a:lnTo>
                  <a:lnTo>
                    <a:pt x="69890" y="102461"/>
                  </a:lnTo>
                  <a:lnTo>
                    <a:pt x="69890" y="103846"/>
                  </a:lnTo>
                  <a:lnTo>
                    <a:pt x="71868" y="103846"/>
                  </a:lnTo>
                  <a:lnTo>
                    <a:pt x="69890" y="104769"/>
                  </a:lnTo>
                  <a:lnTo>
                    <a:pt x="69890" y="105692"/>
                  </a:lnTo>
                  <a:lnTo>
                    <a:pt x="71868" y="104769"/>
                  </a:lnTo>
                  <a:lnTo>
                    <a:pt x="71868" y="104769"/>
                  </a:lnTo>
                  <a:lnTo>
                    <a:pt x="73186" y="103846"/>
                  </a:lnTo>
                  <a:lnTo>
                    <a:pt x="73186" y="103846"/>
                  </a:lnTo>
                  <a:lnTo>
                    <a:pt x="73186" y="102461"/>
                  </a:lnTo>
                  <a:lnTo>
                    <a:pt x="74505" y="102461"/>
                  </a:lnTo>
                  <a:lnTo>
                    <a:pt x="76483" y="101538"/>
                  </a:lnTo>
                  <a:lnTo>
                    <a:pt x="76483" y="101538"/>
                  </a:lnTo>
                  <a:lnTo>
                    <a:pt x="76483" y="101538"/>
                  </a:lnTo>
                  <a:lnTo>
                    <a:pt x="77802" y="101538"/>
                  </a:lnTo>
                  <a:lnTo>
                    <a:pt x="76483" y="100615"/>
                  </a:lnTo>
                  <a:lnTo>
                    <a:pt x="76483" y="98307"/>
                  </a:lnTo>
                  <a:lnTo>
                    <a:pt x="76483" y="98307"/>
                  </a:lnTo>
                  <a:lnTo>
                    <a:pt x="77802" y="98307"/>
                  </a:lnTo>
                  <a:lnTo>
                    <a:pt x="77802" y="96923"/>
                  </a:lnTo>
                  <a:lnTo>
                    <a:pt x="79780" y="96923"/>
                  </a:lnTo>
                  <a:lnTo>
                    <a:pt x="77802" y="96000"/>
                  </a:lnTo>
                  <a:lnTo>
                    <a:pt x="76483" y="96000"/>
                  </a:lnTo>
                  <a:close/>
                  <a:moveTo>
                    <a:pt x="79780" y="96000"/>
                  </a:moveTo>
                  <a:lnTo>
                    <a:pt x="77802" y="96000"/>
                  </a:lnTo>
                  <a:lnTo>
                    <a:pt x="79780" y="96923"/>
                  </a:lnTo>
                  <a:lnTo>
                    <a:pt x="79780" y="96923"/>
                  </a:lnTo>
                  <a:lnTo>
                    <a:pt x="79780" y="96000"/>
                  </a:lnTo>
                  <a:lnTo>
                    <a:pt x="81098" y="96000"/>
                  </a:lnTo>
                  <a:lnTo>
                    <a:pt x="81098" y="96000"/>
                  </a:lnTo>
                  <a:lnTo>
                    <a:pt x="79780" y="96000"/>
                  </a:lnTo>
                  <a:close/>
                  <a:moveTo>
                    <a:pt x="71868" y="84923"/>
                  </a:moveTo>
                  <a:lnTo>
                    <a:pt x="71868" y="84923"/>
                  </a:lnTo>
                  <a:lnTo>
                    <a:pt x="71868" y="86307"/>
                  </a:lnTo>
                  <a:lnTo>
                    <a:pt x="71868" y="86307"/>
                  </a:lnTo>
                  <a:lnTo>
                    <a:pt x="69890" y="86307"/>
                  </a:lnTo>
                  <a:lnTo>
                    <a:pt x="71868" y="86307"/>
                  </a:lnTo>
                  <a:lnTo>
                    <a:pt x="71868" y="86307"/>
                  </a:lnTo>
                  <a:lnTo>
                    <a:pt x="71868" y="84923"/>
                  </a:lnTo>
                  <a:close/>
                  <a:moveTo>
                    <a:pt x="73186" y="81692"/>
                  </a:moveTo>
                  <a:lnTo>
                    <a:pt x="73186" y="81692"/>
                  </a:lnTo>
                  <a:lnTo>
                    <a:pt x="73186" y="81692"/>
                  </a:lnTo>
                  <a:lnTo>
                    <a:pt x="71868" y="81692"/>
                  </a:lnTo>
                  <a:lnTo>
                    <a:pt x="73186" y="83076"/>
                  </a:lnTo>
                  <a:lnTo>
                    <a:pt x="73186" y="81692"/>
                  </a:lnTo>
                  <a:lnTo>
                    <a:pt x="73186" y="81692"/>
                  </a:lnTo>
                  <a:lnTo>
                    <a:pt x="73186" y="81692"/>
                  </a:lnTo>
                  <a:lnTo>
                    <a:pt x="73186" y="81692"/>
                  </a:lnTo>
                  <a:lnTo>
                    <a:pt x="73186" y="81692"/>
                  </a:lnTo>
                  <a:close/>
                  <a:moveTo>
                    <a:pt x="118021" y="24923"/>
                  </a:moveTo>
                  <a:lnTo>
                    <a:pt x="118021" y="24923"/>
                  </a:lnTo>
                  <a:lnTo>
                    <a:pt x="116703" y="24000"/>
                  </a:lnTo>
                  <a:lnTo>
                    <a:pt x="115384" y="24000"/>
                  </a:lnTo>
                  <a:lnTo>
                    <a:pt x="115384" y="23076"/>
                  </a:lnTo>
                  <a:lnTo>
                    <a:pt x="115384" y="23076"/>
                  </a:lnTo>
                  <a:lnTo>
                    <a:pt x="115384" y="23076"/>
                  </a:lnTo>
                  <a:lnTo>
                    <a:pt x="115384" y="21692"/>
                  </a:lnTo>
                  <a:lnTo>
                    <a:pt x="115384" y="21692"/>
                  </a:lnTo>
                  <a:lnTo>
                    <a:pt x="115384" y="20769"/>
                  </a:lnTo>
                  <a:lnTo>
                    <a:pt x="115384" y="20769"/>
                  </a:lnTo>
                  <a:lnTo>
                    <a:pt x="116703" y="20769"/>
                  </a:lnTo>
                  <a:lnTo>
                    <a:pt x="116703" y="19846"/>
                  </a:lnTo>
                  <a:lnTo>
                    <a:pt x="116703" y="19846"/>
                  </a:lnTo>
                  <a:lnTo>
                    <a:pt x="116703" y="18461"/>
                  </a:lnTo>
                  <a:lnTo>
                    <a:pt x="116703" y="18461"/>
                  </a:lnTo>
                  <a:lnTo>
                    <a:pt x="116703" y="18461"/>
                  </a:lnTo>
                  <a:lnTo>
                    <a:pt x="116703" y="17538"/>
                  </a:lnTo>
                  <a:lnTo>
                    <a:pt x="115384" y="17538"/>
                  </a:lnTo>
                  <a:lnTo>
                    <a:pt x="115384" y="16153"/>
                  </a:lnTo>
                  <a:lnTo>
                    <a:pt x="113406" y="16153"/>
                  </a:lnTo>
                  <a:lnTo>
                    <a:pt x="113406" y="15230"/>
                  </a:lnTo>
                  <a:lnTo>
                    <a:pt x="113406" y="15230"/>
                  </a:lnTo>
                  <a:lnTo>
                    <a:pt x="113406" y="15230"/>
                  </a:lnTo>
                  <a:lnTo>
                    <a:pt x="113406" y="14307"/>
                  </a:lnTo>
                  <a:lnTo>
                    <a:pt x="113406" y="14307"/>
                  </a:lnTo>
                  <a:lnTo>
                    <a:pt x="113406" y="14307"/>
                  </a:lnTo>
                  <a:lnTo>
                    <a:pt x="113406" y="12923"/>
                  </a:lnTo>
                  <a:lnTo>
                    <a:pt x="113406" y="12923"/>
                  </a:lnTo>
                  <a:lnTo>
                    <a:pt x="112087" y="12923"/>
                  </a:lnTo>
                  <a:lnTo>
                    <a:pt x="110769" y="12923"/>
                  </a:lnTo>
                  <a:lnTo>
                    <a:pt x="110769" y="12923"/>
                  </a:lnTo>
                  <a:lnTo>
                    <a:pt x="110769" y="12923"/>
                  </a:lnTo>
                  <a:lnTo>
                    <a:pt x="110769" y="12000"/>
                  </a:lnTo>
                  <a:lnTo>
                    <a:pt x="112087" y="12000"/>
                  </a:lnTo>
                  <a:lnTo>
                    <a:pt x="112087" y="12000"/>
                  </a:lnTo>
                  <a:lnTo>
                    <a:pt x="112087" y="12000"/>
                  </a:lnTo>
                  <a:lnTo>
                    <a:pt x="110769" y="11076"/>
                  </a:lnTo>
                  <a:lnTo>
                    <a:pt x="110769" y="9692"/>
                  </a:lnTo>
                  <a:lnTo>
                    <a:pt x="110769" y="9692"/>
                  </a:lnTo>
                  <a:lnTo>
                    <a:pt x="112087" y="8769"/>
                  </a:lnTo>
                  <a:lnTo>
                    <a:pt x="112087" y="8769"/>
                  </a:lnTo>
                  <a:lnTo>
                    <a:pt x="110769" y="8769"/>
                  </a:lnTo>
                  <a:lnTo>
                    <a:pt x="108791" y="7846"/>
                  </a:lnTo>
                  <a:lnTo>
                    <a:pt x="108791" y="7846"/>
                  </a:lnTo>
                  <a:lnTo>
                    <a:pt x="107472" y="7846"/>
                  </a:lnTo>
                  <a:lnTo>
                    <a:pt x="107472" y="6461"/>
                  </a:lnTo>
                  <a:lnTo>
                    <a:pt x="106153" y="5538"/>
                  </a:lnTo>
                  <a:lnTo>
                    <a:pt x="104175" y="5538"/>
                  </a:lnTo>
                  <a:lnTo>
                    <a:pt x="104175" y="5538"/>
                  </a:lnTo>
                  <a:lnTo>
                    <a:pt x="99560" y="4153"/>
                  </a:lnTo>
                  <a:lnTo>
                    <a:pt x="98241" y="4153"/>
                  </a:lnTo>
                  <a:lnTo>
                    <a:pt x="96263" y="4153"/>
                  </a:lnTo>
                  <a:lnTo>
                    <a:pt x="94945" y="3230"/>
                  </a:lnTo>
                  <a:lnTo>
                    <a:pt x="94945" y="3230"/>
                  </a:lnTo>
                  <a:lnTo>
                    <a:pt x="93626" y="3230"/>
                  </a:lnTo>
                  <a:lnTo>
                    <a:pt x="91648" y="3230"/>
                  </a:lnTo>
                  <a:lnTo>
                    <a:pt x="91648" y="2307"/>
                  </a:lnTo>
                  <a:lnTo>
                    <a:pt x="90329" y="2307"/>
                  </a:lnTo>
                  <a:lnTo>
                    <a:pt x="89010" y="923"/>
                  </a:lnTo>
                  <a:lnTo>
                    <a:pt x="87032" y="923"/>
                  </a:lnTo>
                  <a:lnTo>
                    <a:pt x="87032" y="923"/>
                  </a:lnTo>
                  <a:lnTo>
                    <a:pt x="87032" y="0"/>
                  </a:lnTo>
                  <a:lnTo>
                    <a:pt x="85714" y="0"/>
                  </a:lnTo>
                  <a:lnTo>
                    <a:pt x="84395" y="0"/>
                  </a:lnTo>
                  <a:lnTo>
                    <a:pt x="82417" y="0"/>
                  </a:lnTo>
                  <a:lnTo>
                    <a:pt x="79780" y="0"/>
                  </a:lnTo>
                  <a:lnTo>
                    <a:pt x="81098" y="923"/>
                  </a:lnTo>
                  <a:lnTo>
                    <a:pt x="81098" y="923"/>
                  </a:lnTo>
                  <a:lnTo>
                    <a:pt x="81098" y="923"/>
                  </a:lnTo>
                  <a:lnTo>
                    <a:pt x="81098" y="2307"/>
                  </a:lnTo>
                  <a:lnTo>
                    <a:pt x="81098" y="3230"/>
                  </a:lnTo>
                  <a:lnTo>
                    <a:pt x="79780" y="3230"/>
                  </a:lnTo>
                  <a:lnTo>
                    <a:pt x="77802" y="4153"/>
                  </a:lnTo>
                  <a:lnTo>
                    <a:pt x="81098" y="4153"/>
                  </a:lnTo>
                  <a:lnTo>
                    <a:pt x="79780" y="5538"/>
                  </a:lnTo>
                  <a:lnTo>
                    <a:pt x="79780" y="5538"/>
                  </a:lnTo>
                  <a:lnTo>
                    <a:pt x="77802" y="5538"/>
                  </a:lnTo>
                  <a:lnTo>
                    <a:pt x="76483" y="5538"/>
                  </a:lnTo>
                  <a:lnTo>
                    <a:pt x="71868" y="4153"/>
                  </a:lnTo>
                  <a:lnTo>
                    <a:pt x="69890" y="4153"/>
                  </a:lnTo>
                  <a:lnTo>
                    <a:pt x="68571" y="4153"/>
                  </a:lnTo>
                  <a:lnTo>
                    <a:pt x="68571" y="4153"/>
                  </a:lnTo>
                  <a:lnTo>
                    <a:pt x="63956" y="3230"/>
                  </a:lnTo>
                  <a:lnTo>
                    <a:pt x="63956" y="4153"/>
                  </a:lnTo>
                  <a:lnTo>
                    <a:pt x="62637" y="4153"/>
                  </a:lnTo>
                  <a:lnTo>
                    <a:pt x="62637" y="4153"/>
                  </a:lnTo>
                  <a:lnTo>
                    <a:pt x="62637" y="5538"/>
                  </a:lnTo>
                  <a:lnTo>
                    <a:pt x="62637" y="6461"/>
                  </a:lnTo>
                  <a:lnTo>
                    <a:pt x="62637" y="7846"/>
                  </a:lnTo>
                  <a:lnTo>
                    <a:pt x="62637" y="7846"/>
                  </a:lnTo>
                  <a:lnTo>
                    <a:pt x="60659" y="8769"/>
                  </a:lnTo>
                  <a:lnTo>
                    <a:pt x="58021" y="7846"/>
                  </a:lnTo>
                  <a:lnTo>
                    <a:pt x="54725" y="7846"/>
                  </a:lnTo>
                  <a:lnTo>
                    <a:pt x="54725" y="8769"/>
                  </a:lnTo>
                  <a:lnTo>
                    <a:pt x="50109" y="9692"/>
                  </a:lnTo>
                  <a:lnTo>
                    <a:pt x="48131" y="12000"/>
                  </a:lnTo>
                  <a:lnTo>
                    <a:pt x="48131" y="12000"/>
                  </a:lnTo>
                  <a:lnTo>
                    <a:pt x="48131" y="12000"/>
                  </a:lnTo>
                  <a:lnTo>
                    <a:pt x="46813" y="12000"/>
                  </a:lnTo>
                  <a:lnTo>
                    <a:pt x="45494" y="12923"/>
                  </a:lnTo>
                  <a:lnTo>
                    <a:pt x="45494" y="12923"/>
                  </a:lnTo>
                  <a:lnTo>
                    <a:pt x="46813" y="14307"/>
                  </a:lnTo>
                  <a:lnTo>
                    <a:pt x="46813" y="14307"/>
                  </a:lnTo>
                  <a:lnTo>
                    <a:pt x="48131" y="15230"/>
                  </a:lnTo>
                  <a:lnTo>
                    <a:pt x="46813" y="16153"/>
                  </a:lnTo>
                  <a:lnTo>
                    <a:pt x="46813" y="16153"/>
                  </a:lnTo>
                  <a:lnTo>
                    <a:pt x="45494" y="17538"/>
                  </a:lnTo>
                  <a:lnTo>
                    <a:pt x="42197" y="18461"/>
                  </a:lnTo>
                  <a:lnTo>
                    <a:pt x="40879" y="20769"/>
                  </a:lnTo>
                  <a:lnTo>
                    <a:pt x="38901" y="20769"/>
                  </a:lnTo>
                  <a:lnTo>
                    <a:pt x="38901" y="23076"/>
                  </a:lnTo>
                  <a:lnTo>
                    <a:pt x="38901" y="23076"/>
                  </a:lnTo>
                  <a:lnTo>
                    <a:pt x="36263" y="24000"/>
                  </a:lnTo>
                  <a:lnTo>
                    <a:pt x="36263" y="24000"/>
                  </a:lnTo>
                  <a:lnTo>
                    <a:pt x="34285" y="24000"/>
                  </a:lnTo>
                  <a:lnTo>
                    <a:pt x="30989" y="24000"/>
                  </a:lnTo>
                  <a:lnTo>
                    <a:pt x="30989" y="26307"/>
                  </a:lnTo>
                  <a:lnTo>
                    <a:pt x="30989" y="26307"/>
                  </a:lnTo>
                  <a:lnTo>
                    <a:pt x="30989" y="27230"/>
                  </a:lnTo>
                  <a:lnTo>
                    <a:pt x="30989" y="27230"/>
                  </a:lnTo>
                  <a:lnTo>
                    <a:pt x="30989" y="28153"/>
                  </a:lnTo>
                  <a:lnTo>
                    <a:pt x="30989" y="31846"/>
                  </a:lnTo>
                  <a:lnTo>
                    <a:pt x="29670" y="31846"/>
                  </a:lnTo>
                  <a:lnTo>
                    <a:pt x="29670" y="32769"/>
                  </a:lnTo>
                  <a:lnTo>
                    <a:pt x="26373" y="33692"/>
                  </a:lnTo>
                  <a:lnTo>
                    <a:pt x="25054" y="36000"/>
                  </a:lnTo>
                  <a:lnTo>
                    <a:pt x="23736" y="36923"/>
                  </a:lnTo>
                  <a:lnTo>
                    <a:pt x="25054" y="38307"/>
                  </a:lnTo>
                  <a:lnTo>
                    <a:pt x="26373" y="38307"/>
                  </a:lnTo>
                  <a:lnTo>
                    <a:pt x="28351" y="39230"/>
                  </a:lnTo>
                  <a:lnTo>
                    <a:pt x="28351" y="40153"/>
                  </a:lnTo>
                  <a:lnTo>
                    <a:pt x="28351" y="41538"/>
                  </a:lnTo>
                  <a:lnTo>
                    <a:pt x="26373" y="41538"/>
                  </a:lnTo>
                  <a:lnTo>
                    <a:pt x="26373" y="42461"/>
                  </a:lnTo>
                  <a:lnTo>
                    <a:pt x="26373" y="42461"/>
                  </a:lnTo>
                  <a:lnTo>
                    <a:pt x="23736" y="42461"/>
                  </a:lnTo>
                  <a:lnTo>
                    <a:pt x="20439" y="41538"/>
                  </a:lnTo>
                  <a:lnTo>
                    <a:pt x="19120" y="41538"/>
                  </a:lnTo>
                  <a:lnTo>
                    <a:pt x="17142" y="41538"/>
                  </a:lnTo>
                  <a:lnTo>
                    <a:pt x="15824" y="42461"/>
                  </a:lnTo>
                  <a:lnTo>
                    <a:pt x="14505" y="42461"/>
                  </a:lnTo>
                  <a:lnTo>
                    <a:pt x="14505" y="42461"/>
                  </a:lnTo>
                  <a:lnTo>
                    <a:pt x="12527" y="43846"/>
                  </a:lnTo>
                  <a:lnTo>
                    <a:pt x="11208" y="44769"/>
                  </a:lnTo>
                  <a:lnTo>
                    <a:pt x="9230" y="45692"/>
                  </a:lnTo>
                  <a:lnTo>
                    <a:pt x="9230" y="47076"/>
                  </a:lnTo>
                  <a:lnTo>
                    <a:pt x="7912" y="48923"/>
                  </a:lnTo>
                  <a:lnTo>
                    <a:pt x="9230" y="50307"/>
                  </a:lnTo>
                  <a:lnTo>
                    <a:pt x="9230" y="50307"/>
                  </a:lnTo>
                  <a:lnTo>
                    <a:pt x="9230" y="51230"/>
                  </a:lnTo>
                  <a:lnTo>
                    <a:pt x="9230" y="51230"/>
                  </a:lnTo>
                  <a:lnTo>
                    <a:pt x="9230" y="51230"/>
                  </a:lnTo>
                  <a:lnTo>
                    <a:pt x="9230" y="52153"/>
                  </a:lnTo>
                  <a:lnTo>
                    <a:pt x="9230" y="53538"/>
                  </a:lnTo>
                  <a:lnTo>
                    <a:pt x="9230" y="54461"/>
                  </a:lnTo>
                  <a:lnTo>
                    <a:pt x="9230" y="54461"/>
                  </a:lnTo>
                  <a:lnTo>
                    <a:pt x="11208" y="57692"/>
                  </a:lnTo>
                  <a:lnTo>
                    <a:pt x="11208" y="57692"/>
                  </a:lnTo>
                  <a:lnTo>
                    <a:pt x="11208" y="59076"/>
                  </a:lnTo>
                  <a:lnTo>
                    <a:pt x="9230" y="60000"/>
                  </a:lnTo>
                  <a:lnTo>
                    <a:pt x="9230" y="62307"/>
                  </a:lnTo>
                  <a:lnTo>
                    <a:pt x="11208" y="63230"/>
                  </a:lnTo>
                  <a:lnTo>
                    <a:pt x="12527" y="63230"/>
                  </a:lnTo>
                  <a:lnTo>
                    <a:pt x="14505" y="64153"/>
                  </a:lnTo>
                  <a:lnTo>
                    <a:pt x="15824" y="64153"/>
                  </a:lnTo>
                  <a:lnTo>
                    <a:pt x="15824" y="65538"/>
                  </a:lnTo>
                  <a:lnTo>
                    <a:pt x="15824" y="66461"/>
                  </a:lnTo>
                  <a:lnTo>
                    <a:pt x="15824" y="66461"/>
                  </a:lnTo>
                  <a:lnTo>
                    <a:pt x="15824" y="67846"/>
                  </a:lnTo>
                  <a:lnTo>
                    <a:pt x="14505" y="67846"/>
                  </a:lnTo>
                  <a:lnTo>
                    <a:pt x="14505" y="67846"/>
                  </a:lnTo>
                  <a:lnTo>
                    <a:pt x="14505" y="68769"/>
                  </a:lnTo>
                  <a:lnTo>
                    <a:pt x="12527" y="68769"/>
                  </a:lnTo>
                  <a:lnTo>
                    <a:pt x="11208" y="68769"/>
                  </a:lnTo>
                  <a:lnTo>
                    <a:pt x="11208" y="68769"/>
                  </a:lnTo>
                  <a:lnTo>
                    <a:pt x="11208" y="69692"/>
                  </a:lnTo>
                  <a:lnTo>
                    <a:pt x="12527" y="71076"/>
                  </a:lnTo>
                  <a:lnTo>
                    <a:pt x="12527" y="72923"/>
                  </a:lnTo>
                  <a:lnTo>
                    <a:pt x="14505" y="72923"/>
                  </a:lnTo>
                  <a:lnTo>
                    <a:pt x="12527" y="74307"/>
                  </a:lnTo>
                  <a:lnTo>
                    <a:pt x="12527" y="75230"/>
                  </a:lnTo>
                  <a:lnTo>
                    <a:pt x="12527" y="75230"/>
                  </a:lnTo>
                  <a:lnTo>
                    <a:pt x="12527" y="76615"/>
                  </a:lnTo>
                  <a:lnTo>
                    <a:pt x="12527" y="77538"/>
                  </a:lnTo>
                  <a:lnTo>
                    <a:pt x="11208" y="77538"/>
                  </a:lnTo>
                  <a:lnTo>
                    <a:pt x="9230" y="78461"/>
                  </a:lnTo>
                  <a:lnTo>
                    <a:pt x="7912" y="78461"/>
                  </a:lnTo>
                  <a:lnTo>
                    <a:pt x="7912" y="78461"/>
                  </a:lnTo>
                  <a:lnTo>
                    <a:pt x="7912" y="78461"/>
                  </a:lnTo>
                  <a:lnTo>
                    <a:pt x="6593" y="79846"/>
                  </a:lnTo>
                  <a:lnTo>
                    <a:pt x="6593" y="80769"/>
                  </a:lnTo>
                  <a:lnTo>
                    <a:pt x="4615" y="80769"/>
                  </a:lnTo>
                  <a:lnTo>
                    <a:pt x="4615" y="81692"/>
                  </a:lnTo>
                  <a:lnTo>
                    <a:pt x="4615" y="83076"/>
                  </a:lnTo>
                  <a:lnTo>
                    <a:pt x="6593" y="84000"/>
                  </a:lnTo>
                  <a:lnTo>
                    <a:pt x="4615" y="84923"/>
                  </a:lnTo>
                  <a:lnTo>
                    <a:pt x="4615" y="86307"/>
                  </a:lnTo>
                  <a:lnTo>
                    <a:pt x="4615" y="87230"/>
                  </a:lnTo>
                  <a:lnTo>
                    <a:pt x="3296" y="87230"/>
                  </a:lnTo>
                  <a:lnTo>
                    <a:pt x="3296" y="87230"/>
                  </a:lnTo>
                  <a:lnTo>
                    <a:pt x="1978" y="86307"/>
                  </a:lnTo>
                  <a:lnTo>
                    <a:pt x="1978" y="86307"/>
                  </a:lnTo>
                  <a:lnTo>
                    <a:pt x="0" y="86307"/>
                  </a:lnTo>
                  <a:lnTo>
                    <a:pt x="0" y="86307"/>
                  </a:lnTo>
                  <a:lnTo>
                    <a:pt x="0" y="86307"/>
                  </a:lnTo>
                  <a:lnTo>
                    <a:pt x="0" y="87230"/>
                  </a:lnTo>
                  <a:lnTo>
                    <a:pt x="0" y="87230"/>
                  </a:lnTo>
                  <a:lnTo>
                    <a:pt x="0" y="89538"/>
                  </a:lnTo>
                  <a:lnTo>
                    <a:pt x="0" y="91846"/>
                  </a:lnTo>
                  <a:lnTo>
                    <a:pt x="0" y="91846"/>
                  </a:lnTo>
                  <a:lnTo>
                    <a:pt x="0" y="92769"/>
                  </a:lnTo>
                  <a:lnTo>
                    <a:pt x="1978" y="91846"/>
                  </a:lnTo>
                  <a:lnTo>
                    <a:pt x="1978" y="92769"/>
                  </a:lnTo>
                  <a:lnTo>
                    <a:pt x="3296" y="95076"/>
                  </a:lnTo>
                  <a:lnTo>
                    <a:pt x="3296" y="96000"/>
                  </a:lnTo>
                  <a:lnTo>
                    <a:pt x="4615" y="96000"/>
                  </a:lnTo>
                  <a:lnTo>
                    <a:pt x="4615" y="98307"/>
                  </a:lnTo>
                  <a:lnTo>
                    <a:pt x="4615" y="98307"/>
                  </a:lnTo>
                  <a:lnTo>
                    <a:pt x="6593" y="98307"/>
                  </a:lnTo>
                  <a:lnTo>
                    <a:pt x="6593" y="99230"/>
                  </a:lnTo>
                  <a:lnTo>
                    <a:pt x="7912" y="100615"/>
                  </a:lnTo>
                  <a:lnTo>
                    <a:pt x="7912" y="100615"/>
                  </a:lnTo>
                  <a:lnTo>
                    <a:pt x="9230" y="100615"/>
                  </a:lnTo>
                  <a:lnTo>
                    <a:pt x="9230" y="102461"/>
                  </a:lnTo>
                  <a:lnTo>
                    <a:pt x="12527" y="105692"/>
                  </a:lnTo>
                  <a:lnTo>
                    <a:pt x="14505" y="105692"/>
                  </a:lnTo>
                  <a:lnTo>
                    <a:pt x="15824" y="108000"/>
                  </a:lnTo>
                  <a:lnTo>
                    <a:pt x="15824" y="108000"/>
                  </a:lnTo>
                  <a:lnTo>
                    <a:pt x="17142" y="108000"/>
                  </a:lnTo>
                  <a:lnTo>
                    <a:pt x="17142" y="108923"/>
                  </a:lnTo>
                  <a:lnTo>
                    <a:pt x="17142" y="108923"/>
                  </a:lnTo>
                  <a:lnTo>
                    <a:pt x="15824" y="108923"/>
                  </a:lnTo>
                  <a:lnTo>
                    <a:pt x="14505" y="110307"/>
                  </a:lnTo>
                  <a:lnTo>
                    <a:pt x="15824" y="110307"/>
                  </a:lnTo>
                  <a:lnTo>
                    <a:pt x="15824" y="110307"/>
                  </a:lnTo>
                  <a:lnTo>
                    <a:pt x="15824" y="111230"/>
                  </a:lnTo>
                  <a:lnTo>
                    <a:pt x="15824" y="111230"/>
                  </a:lnTo>
                  <a:lnTo>
                    <a:pt x="15824" y="111230"/>
                  </a:lnTo>
                  <a:lnTo>
                    <a:pt x="14505" y="111230"/>
                  </a:lnTo>
                  <a:lnTo>
                    <a:pt x="12527" y="111230"/>
                  </a:lnTo>
                  <a:lnTo>
                    <a:pt x="14505" y="111230"/>
                  </a:lnTo>
                  <a:lnTo>
                    <a:pt x="14505" y="112615"/>
                  </a:lnTo>
                  <a:lnTo>
                    <a:pt x="17142" y="114461"/>
                  </a:lnTo>
                  <a:lnTo>
                    <a:pt x="17142" y="115846"/>
                  </a:lnTo>
                  <a:lnTo>
                    <a:pt x="19120" y="115846"/>
                  </a:lnTo>
                  <a:lnTo>
                    <a:pt x="19120" y="116769"/>
                  </a:lnTo>
                  <a:lnTo>
                    <a:pt x="19120" y="116769"/>
                  </a:lnTo>
                  <a:lnTo>
                    <a:pt x="17142" y="117692"/>
                  </a:lnTo>
                  <a:lnTo>
                    <a:pt x="17142" y="119076"/>
                  </a:lnTo>
                  <a:lnTo>
                    <a:pt x="17142" y="119076"/>
                  </a:lnTo>
                  <a:lnTo>
                    <a:pt x="21758" y="120000"/>
                  </a:lnTo>
                  <a:lnTo>
                    <a:pt x="26373" y="119076"/>
                  </a:lnTo>
                  <a:lnTo>
                    <a:pt x="29670" y="119076"/>
                  </a:lnTo>
                  <a:lnTo>
                    <a:pt x="30989" y="119076"/>
                  </a:lnTo>
                  <a:lnTo>
                    <a:pt x="32967" y="117692"/>
                  </a:lnTo>
                  <a:lnTo>
                    <a:pt x="30989" y="116769"/>
                  </a:lnTo>
                  <a:lnTo>
                    <a:pt x="30989" y="116769"/>
                  </a:lnTo>
                  <a:lnTo>
                    <a:pt x="30989" y="115846"/>
                  </a:lnTo>
                  <a:lnTo>
                    <a:pt x="30989" y="114461"/>
                  </a:lnTo>
                  <a:lnTo>
                    <a:pt x="32967" y="113538"/>
                  </a:lnTo>
                  <a:lnTo>
                    <a:pt x="32967" y="113538"/>
                  </a:lnTo>
                  <a:lnTo>
                    <a:pt x="34285" y="113538"/>
                  </a:lnTo>
                  <a:lnTo>
                    <a:pt x="36263" y="113538"/>
                  </a:lnTo>
                  <a:lnTo>
                    <a:pt x="36263" y="113538"/>
                  </a:lnTo>
                  <a:lnTo>
                    <a:pt x="36263" y="112615"/>
                  </a:lnTo>
                  <a:lnTo>
                    <a:pt x="36263" y="112615"/>
                  </a:lnTo>
                  <a:lnTo>
                    <a:pt x="38901" y="112615"/>
                  </a:lnTo>
                  <a:lnTo>
                    <a:pt x="42197" y="112615"/>
                  </a:lnTo>
                  <a:lnTo>
                    <a:pt x="43516" y="112615"/>
                  </a:lnTo>
                  <a:lnTo>
                    <a:pt x="45494" y="112615"/>
                  </a:lnTo>
                  <a:lnTo>
                    <a:pt x="46813" y="112615"/>
                  </a:lnTo>
                  <a:lnTo>
                    <a:pt x="46813" y="112615"/>
                  </a:lnTo>
                  <a:lnTo>
                    <a:pt x="48131" y="112615"/>
                  </a:lnTo>
                  <a:lnTo>
                    <a:pt x="48131" y="111230"/>
                  </a:lnTo>
                  <a:lnTo>
                    <a:pt x="50109" y="108923"/>
                  </a:lnTo>
                  <a:lnTo>
                    <a:pt x="51428" y="108000"/>
                  </a:lnTo>
                  <a:lnTo>
                    <a:pt x="51428" y="107076"/>
                  </a:lnTo>
                  <a:lnTo>
                    <a:pt x="52747" y="105692"/>
                  </a:lnTo>
                  <a:lnTo>
                    <a:pt x="52747" y="104769"/>
                  </a:lnTo>
                  <a:lnTo>
                    <a:pt x="52747" y="103846"/>
                  </a:lnTo>
                  <a:lnTo>
                    <a:pt x="52747" y="103846"/>
                  </a:lnTo>
                  <a:lnTo>
                    <a:pt x="52747" y="102461"/>
                  </a:lnTo>
                  <a:lnTo>
                    <a:pt x="52747" y="102461"/>
                  </a:lnTo>
                  <a:lnTo>
                    <a:pt x="54725" y="100615"/>
                  </a:lnTo>
                  <a:lnTo>
                    <a:pt x="54725" y="100615"/>
                  </a:lnTo>
                  <a:lnTo>
                    <a:pt x="54725" y="99230"/>
                  </a:lnTo>
                  <a:lnTo>
                    <a:pt x="54725" y="99230"/>
                  </a:lnTo>
                  <a:lnTo>
                    <a:pt x="54725" y="98307"/>
                  </a:lnTo>
                  <a:lnTo>
                    <a:pt x="52747" y="96923"/>
                  </a:lnTo>
                  <a:lnTo>
                    <a:pt x="54725" y="96000"/>
                  </a:lnTo>
                  <a:lnTo>
                    <a:pt x="54725" y="96000"/>
                  </a:lnTo>
                  <a:lnTo>
                    <a:pt x="54725" y="93692"/>
                  </a:lnTo>
                  <a:lnTo>
                    <a:pt x="56043" y="93692"/>
                  </a:lnTo>
                  <a:lnTo>
                    <a:pt x="54725" y="92769"/>
                  </a:lnTo>
                  <a:lnTo>
                    <a:pt x="54725" y="91846"/>
                  </a:lnTo>
                  <a:lnTo>
                    <a:pt x="56043" y="91846"/>
                  </a:lnTo>
                  <a:lnTo>
                    <a:pt x="58021" y="90461"/>
                  </a:lnTo>
                  <a:lnTo>
                    <a:pt x="56043" y="90461"/>
                  </a:lnTo>
                  <a:lnTo>
                    <a:pt x="54725" y="90461"/>
                  </a:lnTo>
                  <a:lnTo>
                    <a:pt x="52747" y="89538"/>
                  </a:lnTo>
                  <a:lnTo>
                    <a:pt x="51428" y="90461"/>
                  </a:lnTo>
                  <a:lnTo>
                    <a:pt x="51428" y="89538"/>
                  </a:lnTo>
                  <a:lnTo>
                    <a:pt x="50109" y="89538"/>
                  </a:lnTo>
                  <a:lnTo>
                    <a:pt x="51428" y="89538"/>
                  </a:lnTo>
                  <a:lnTo>
                    <a:pt x="54725" y="89538"/>
                  </a:lnTo>
                  <a:lnTo>
                    <a:pt x="58021" y="89538"/>
                  </a:lnTo>
                  <a:lnTo>
                    <a:pt x="59340" y="89538"/>
                  </a:lnTo>
                  <a:lnTo>
                    <a:pt x="60659" y="88615"/>
                  </a:lnTo>
                  <a:lnTo>
                    <a:pt x="62637" y="87230"/>
                  </a:lnTo>
                  <a:lnTo>
                    <a:pt x="63956" y="87230"/>
                  </a:lnTo>
                  <a:lnTo>
                    <a:pt x="65274" y="87230"/>
                  </a:lnTo>
                  <a:lnTo>
                    <a:pt x="65274" y="87230"/>
                  </a:lnTo>
                  <a:lnTo>
                    <a:pt x="67252" y="86307"/>
                  </a:lnTo>
                  <a:lnTo>
                    <a:pt x="68571" y="86307"/>
                  </a:lnTo>
                  <a:lnTo>
                    <a:pt x="69890" y="84923"/>
                  </a:lnTo>
                  <a:lnTo>
                    <a:pt x="69890" y="84923"/>
                  </a:lnTo>
                  <a:lnTo>
                    <a:pt x="71868" y="84923"/>
                  </a:lnTo>
                  <a:lnTo>
                    <a:pt x="71868" y="84000"/>
                  </a:lnTo>
                  <a:lnTo>
                    <a:pt x="71868" y="84000"/>
                  </a:lnTo>
                  <a:lnTo>
                    <a:pt x="73186" y="84000"/>
                  </a:lnTo>
                  <a:lnTo>
                    <a:pt x="73186" y="83076"/>
                  </a:lnTo>
                  <a:lnTo>
                    <a:pt x="71868" y="83076"/>
                  </a:lnTo>
                  <a:lnTo>
                    <a:pt x="71868" y="83076"/>
                  </a:lnTo>
                  <a:lnTo>
                    <a:pt x="71868" y="83076"/>
                  </a:lnTo>
                  <a:lnTo>
                    <a:pt x="69890" y="83076"/>
                  </a:lnTo>
                  <a:lnTo>
                    <a:pt x="69890" y="83076"/>
                  </a:lnTo>
                  <a:lnTo>
                    <a:pt x="68571" y="84000"/>
                  </a:lnTo>
                  <a:lnTo>
                    <a:pt x="68571" y="84000"/>
                  </a:lnTo>
                  <a:lnTo>
                    <a:pt x="67252" y="84000"/>
                  </a:lnTo>
                  <a:lnTo>
                    <a:pt x="67252" y="83076"/>
                  </a:lnTo>
                  <a:lnTo>
                    <a:pt x="68571" y="83076"/>
                  </a:lnTo>
                  <a:lnTo>
                    <a:pt x="68571" y="83076"/>
                  </a:lnTo>
                  <a:lnTo>
                    <a:pt x="69890" y="83076"/>
                  </a:lnTo>
                  <a:lnTo>
                    <a:pt x="69890" y="81692"/>
                  </a:lnTo>
                  <a:lnTo>
                    <a:pt x="71868" y="81692"/>
                  </a:lnTo>
                  <a:lnTo>
                    <a:pt x="73186" y="81692"/>
                  </a:lnTo>
                  <a:lnTo>
                    <a:pt x="73186" y="80769"/>
                  </a:lnTo>
                  <a:lnTo>
                    <a:pt x="74505" y="80769"/>
                  </a:lnTo>
                  <a:lnTo>
                    <a:pt x="76483" y="79846"/>
                  </a:lnTo>
                  <a:lnTo>
                    <a:pt x="76483" y="79846"/>
                  </a:lnTo>
                  <a:lnTo>
                    <a:pt x="76483" y="79846"/>
                  </a:lnTo>
                  <a:lnTo>
                    <a:pt x="76483" y="78461"/>
                  </a:lnTo>
                  <a:lnTo>
                    <a:pt x="74505" y="77538"/>
                  </a:lnTo>
                  <a:lnTo>
                    <a:pt x="74505" y="77538"/>
                  </a:lnTo>
                  <a:lnTo>
                    <a:pt x="74505" y="76615"/>
                  </a:lnTo>
                  <a:lnTo>
                    <a:pt x="73186" y="76615"/>
                  </a:lnTo>
                  <a:lnTo>
                    <a:pt x="71868" y="76615"/>
                  </a:lnTo>
                  <a:lnTo>
                    <a:pt x="71868" y="75230"/>
                  </a:lnTo>
                  <a:lnTo>
                    <a:pt x="69890" y="74307"/>
                  </a:lnTo>
                  <a:lnTo>
                    <a:pt x="68571" y="74307"/>
                  </a:lnTo>
                  <a:lnTo>
                    <a:pt x="68571" y="74307"/>
                  </a:lnTo>
                  <a:lnTo>
                    <a:pt x="67252" y="72923"/>
                  </a:lnTo>
                  <a:lnTo>
                    <a:pt x="65274" y="72000"/>
                  </a:lnTo>
                  <a:lnTo>
                    <a:pt x="65274" y="72000"/>
                  </a:lnTo>
                  <a:lnTo>
                    <a:pt x="63956" y="72923"/>
                  </a:lnTo>
                  <a:lnTo>
                    <a:pt x="62637" y="72923"/>
                  </a:lnTo>
                  <a:lnTo>
                    <a:pt x="62637" y="72000"/>
                  </a:lnTo>
                  <a:lnTo>
                    <a:pt x="62637" y="72000"/>
                  </a:lnTo>
                  <a:lnTo>
                    <a:pt x="62637" y="72000"/>
                  </a:lnTo>
                  <a:lnTo>
                    <a:pt x="60659" y="72000"/>
                  </a:lnTo>
                  <a:lnTo>
                    <a:pt x="60659" y="72000"/>
                  </a:lnTo>
                  <a:lnTo>
                    <a:pt x="59340" y="71076"/>
                  </a:lnTo>
                  <a:lnTo>
                    <a:pt x="59340" y="71076"/>
                  </a:lnTo>
                  <a:lnTo>
                    <a:pt x="59340" y="69692"/>
                  </a:lnTo>
                  <a:lnTo>
                    <a:pt x="58021" y="68769"/>
                  </a:lnTo>
                  <a:lnTo>
                    <a:pt x="58021" y="68769"/>
                  </a:lnTo>
                  <a:lnTo>
                    <a:pt x="58021" y="67846"/>
                  </a:lnTo>
                  <a:lnTo>
                    <a:pt x="58021" y="66461"/>
                  </a:lnTo>
                  <a:lnTo>
                    <a:pt x="58021" y="66461"/>
                  </a:lnTo>
                  <a:lnTo>
                    <a:pt x="58021" y="65538"/>
                  </a:lnTo>
                  <a:lnTo>
                    <a:pt x="58021" y="65538"/>
                  </a:lnTo>
                  <a:lnTo>
                    <a:pt x="58021" y="65538"/>
                  </a:lnTo>
                  <a:lnTo>
                    <a:pt x="58021" y="64153"/>
                  </a:lnTo>
                  <a:lnTo>
                    <a:pt x="58021" y="64153"/>
                  </a:lnTo>
                  <a:lnTo>
                    <a:pt x="58021" y="63230"/>
                  </a:lnTo>
                  <a:lnTo>
                    <a:pt x="58021" y="63230"/>
                  </a:lnTo>
                  <a:lnTo>
                    <a:pt x="58021" y="62307"/>
                  </a:lnTo>
                  <a:lnTo>
                    <a:pt x="59340" y="62307"/>
                  </a:lnTo>
                  <a:lnTo>
                    <a:pt x="60659" y="62307"/>
                  </a:lnTo>
                  <a:lnTo>
                    <a:pt x="59340" y="62307"/>
                  </a:lnTo>
                  <a:lnTo>
                    <a:pt x="59340" y="62307"/>
                  </a:lnTo>
                  <a:lnTo>
                    <a:pt x="59340" y="60923"/>
                  </a:lnTo>
                  <a:lnTo>
                    <a:pt x="59340" y="60000"/>
                  </a:lnTo>
                  <a:lnTo>
                    <a:pt x="60659" y="60000"/>
                  </a:lnTo>
                  <a:lnTo>
                    <a:pt x="60659" y="59076"/>
                  </a:lnTo>
                  <a:lnTo>
                    <a:pt x="60659" y="57692"/>
                  </a:lnTo>
                  <a:lnTo>
                    <a:pt x="62637" y="57692"/>
                  </a:lnTo>
                  <a:lnTo>
                    <a:pt x="60659" y="57692"/>
                  </a:lnTo>
                  <a:lnTo>
                    <a:pt x="59340" y="56769"/>
                  </a:lnTo>
                  <a:lnTo>
                    <a:pt x="59340" y="55846"/>
                  </a:lnTo>
                  <a:lnTo>
                    <a:pt x="59340" y="55846"/>
                  </a:lnTo>
                  <a:lnTo>
                    <a:pt x="59340" y="55846"/>
                  </a:lnTo>
                  <a:lnTo>
                    <a:pt x="60659" y="55846"/>
                  </a:lnTo>
                  <a:lnTo>
                    <a:pt x="60659" y="55846"/>
                  </a:lnTo>
                  <a:lnTo>
                    <a:pt x="62637" y="55846"/>
                  </a:lnTo>
                  <a:lnTo>
                    <a:pt x="62637" y="55846"/>
                  </a:lnTo>
                  <a:lnTo>
                    <a:pt x="63956" y="55846"/>
                  </a:lnTo>
                  <a:lnTo>
                    <a:pt x="63956" y="54461"/>
                  </a:lnTo>
                  <a:lnTo>
                    <a:pt x="65274" y="54461"/>
                  </a:lnTo>
                  <a:lnTo>
                    <a:pt x="65274" y="54461"/>
                  </a:lnTo>
                  <a:lnTo>
                    <a:pt x="63956" y="54461"/>
                  </a:lnTo>
                  <a:lnTo>
                    <a:pt x="63956" y="54461"/>
                  </a:lnTo>
                  <a:lnTo>
                    <a:pt x="63956" y="53538"/>
                  </a:lnTo>
                  <a:lnTo>
                    <a:pt x="65274" y="53538"/>
                  </a:lnTo>
                  <a:lnTo>
                    <a:pt x="63956" y="53538"/>
                  </a:lnTo>
                  <a:lnTo>
                    <a:pt x="63956" y="52153"/>
                  </a:lnTo>
                  <a:lnTo>
                    <a:pt x="63956" y="52153"/>
                  </a:lnTo>
                  <a:lnTo>
                    <a:pt x="63956" y="52153"/>
                  </a:lnTo>
                  <a:lnTo>
                    <a:pt x="63956" y="52153"/>
                  </a:lnTo>
                  <a:lnTo>
                    <a:pt x="65274" y="52153"/>
                  </a:lnTo>
                  <a:lnTo>
                    <a:pt x="65274" y="52153"/>
                  </a:lnTo>
                  <a:lnTo>
                    <a:pt x="65274" y="53538"/>
                  </a:lnTo>
                  <a:lnTo>
                    <a:pt x="67252" y="53538"/>
                  </a:lnTo>
                  <a:lnTo>
                    <a:pt x="67252" y="52153"/>
                  </a:lnTo>
                  <a:lnTo>
                    <a:pt x="67252" y="52153"/>
                  </a:lnTo>
                  <a:lnTo>
                    <a:pt x="68571" y="52153"/>
                  </a:lnTo>
                  <a:lnTo>
                    <a:pt x="69890" y="51230"/>
                  </a:lnTo>
                  <a:lnTo>
                    <a:pt x="69890" y="51230"/>
                  </a:lnTo>
                  <a:lnTo>
                    <a:pt x="69890" y="51230"/>
                  </a:lnTo>
                  <a:lnTo>
                    <a:pt x="67252" y="51230"/>
                  </a:lnTo>
                  <a:lnTo>
                    <a:pt x="68571" y="51230"/>
                  </a:lnTo>
                  <a:lnTo>
                    <a:pt x="68571" y="51230"/>
                  </a:lnTo>
                  <a:lnTo>
                    <a:pt x="69890" y="50307"/>
                  </a:lnTo>
                  <a:lnTo>
                    <a:pt x="69890" y="50307"/>
                  </a:lnTo>
                  <a:lnTo>
                    <a:pt x="69890" y="48923"/>
                  </a:lnTo>
                  <a:lnTo>
                    <a:pt x="71868" y="48923"/>
                  </a:lnTo>
                  <a:lnTo>
                    <a:pt x="71868" y="48923"/>
                  </a:lnTo>
                  <a:lnTo>
                    <a:pt x="71868" y="48923"/>
                  </a:lnTo>
                  <a:lnTo>
                    <a:pt x="73186" y="48923"/>
                  </a:lnTo>
                  <a:lnTo>
                    <a:pt x="73186" y="48923"/>
                  </a:lnTo>
                  <a:lnTo>
                    <a:pt x="71868" y="48923"/>
                  </a:lnTo>
                  <a:lnTo>
                    <a:pt x="71868" y="48923"/>
                  </a:lnTo>
                  <a:lnTo>
                    <a:pt x="74505" y="48923"/>
                  </a:lnTo>
                  <a:lnTo>
                    <a:pt x="76483" y="48000"/>
                  </a:lnTo>
                  <a:lnTo>
                    <a:pt x="76483" y="47076"/>
                  </a:lnTo>
                  <a:lnTo>
                    <a:pt x="77802" y="47076"/>
                  </a:lnTo>
                  <a:lnTo>
                    <a:pt x="77802" y="47076"/>
                  </a:lnTo>
                  <a:lnTo>
                    <a:pt x="77802" y="47076"/>
                  </a:lnTo>
                  <a:lnTo>
                    <a:pt x="77802" y="47076"/>
                  </a:lnTo>
                  <a:lnTo>
                    <a:pt x="79780" y="47076"/>
                  </a:lnTo>
                  <a:lnTo>
                    <a:pt x="79780" y="47076"/>
                  </a:lnTo>
                  <a:lnTo>
                    <a:pt x="81098" y="47076"/>
                  </a:lnTo>
                  <a:lnTo>
                    <a:pt x="81098" y="47076"/>
                  </a:lnTo>
                  <a:lnTo>
                    <a:pt x="82417" y="45692"/>
                  </a:lnTo>
                  <a:lnTo>
                    <a:pt x="85714" y="45692"/>
                  </a:lnTo>
                  <a:lnTo>
                    <a:pt x="87032" y="44769"/>
                  </a:lnTo>
                  <a:lnTo>
                    <a:pt x="87032" y="44769"/>
                  </a:lnTo>
                  <a:lnTo>
                    <a:pt x="89010" y="43846"/>
                  </a:lnTo>
                  <a:lnTo>
                    <a:pt x="90329" y="43846"/>
                  </a:lnTo>
                  <a:lnTo>
                    <a:pt x="91648" y="40153"/>
                  </a:lnTo>
                  <a:lnTo>
                    <a:pt x="94945" y="40153"/>
                  </a:lnTo>
                  <a:lnTo>
                    <a:pt x="96263" y="39230"/>
                  </a:lnTo>
                  <a:lnTo>
                    <a:pt x="96263" y="39230"/>
                  </a:lnTo>
                  <a:lnTo>
                    <a:pt x="96263" y="38307"/>
                  </a:lnTo>
                  <a:lnTo>
                    <a:pt x="94945" y="38307"/>
                  </a:lnTo>
                  <a:lnTo>
                    <a:pt x="94945" y="36923"/>
                  </a:lnTo>
                  <a:lnTo>
                    <a:pt x="94945" y="36000"/>
                  </a:lnTo>
                  <a:lnTo>
                    <a:pt x="93626" y="36000"/>
                  </a:lnTo>
                  <a:lnTo>
                    <a:pt x="93626" y="35076"/>
                  </a:lnTo>
                  <a:lnTo>
                    <a:pt x="93626" y="35076"/>
                  </a:lnTo>
                  <a:lnTo>
                    <a:pt x="93626" y="33692"/>
                  </a:lnTo>
                  <a:lnTo>
                    <a:pt x="94945" y="33692"/>
                  </a:lnTo>
                  <a:lnTo>
                    <a:pt x="96263" y="32769"/>
                  </a:lnTo>
                  <a:lnTo>
                    <a:pt x="96263" y="32769"/>
                  </a:lnTo>
                  <a:lnTo>
                    <a:pt x="96263" y="31846"/>
                  </a:lnTo>
                  <a:lnTo>
                    <a:pt x="96263" y="31846"/>
                  </a:lnTo>
                  <a:lnTo>
                    <a:pt x="94945" y="31846"/>
                  </a:lnTo>
                  <a:lnTo>
                    <a:pt x="94945" y="31846"/>
                  </a:lnTo>
                  <a:lnTo>
                    <a:pt x="94945" y="30461"/>
                  </a:lnTo>
                  <a:lnTo>
                    <a:pt x="96263" y="31846"/>
                  </a:lnTo>
                  <a:lnTo>
                    <a:pt x="96263" y="31846"/>
                  </a:lnTo>
                  <a:lnTo>
                    <a:pt x="96263" y="31846"/>
                  </a:lnTo>
                  <a:lnTo>
                    <a:pt x="96263" y="31846"/>
                  </a:lnTo>
                  <a:lnTo>
                    <a:pt x="96263" y="30461"/>
                  </a:lnTo>
                  <a:lnTo>
                    <a:pt x="96263" y="30461"/>
                  </a:lnTo>
                  <a:lnTo>
                    <a:pt x="96263" y="30461"/>
                  </a:lnTo>
                  <a:lnTo>
                    <a:pt x="96263" y="30461"/>
                  </a:lnTo>
                  <a:lnTo>
                    <a:pt x="96263" y="30461"/>
                  </a:lnTo>
                  <a:lnTo>
                    <a:pt x="99560" y="30461"/>
                  </a:lnTo>
                  <a:lnTo>
                    <a:pt x="99560" y="30461"/>
                  </a:lnTo>
                  <a:lnTo>
                    <a:pt x="99560" y="29538"/>
                  </a:lnTo>
                  <a:lnTo>
                    <a:pt x="99560" y="29538"/>
                  </a:lnTo>
                  <a:lnTo>
                    <a:pt x="99560" y="29538"/>
                  </a:lnTo>
                  <a:lnTo>
                    <a:pt x="101538" y="29538"/>
                  </a:lnTo>
                  <a:lnTo>
                    <a:pt x="101538" y="29538"/>
                  </a:lnTo>
                  <a:lnTo>
                    <a:pt x="101538" y="29538"/>
                  </a:lnTo>
                  <a:lnTo>
                    <a:pt x="101538" y="28153"/>
                  </a:lnTo>
                  <a:lnTo>
                    <a:pt x="101538" y="28153"/>
                  </a:lnTo>
                  <a:lnTo>
                    <a:pt x="102857" y="28153"/>
                  </a:lnTo>
                  <a:lnTo>
                    <a:pt x="102857" y="28153"/>
                  </a:lnTo>
                  <a:lnTo>
                    <a:pt x="102857" y="27230"/>
                  </a:lnTo>
                  <a:lnTo>
                    <a:pt x="102857" y="27230"/>
                  </a:lnTo>
                  <a:lnTo>
                    <a:pt x="102857" y="27230"/>
                  </a:lnTo>
                  <a:lnTo>
                    <a:pt x="102857" y="26307"/>
                  </a:lnTo>
                  <a:lnTo>
                    <a:pt x="102857" y="26307"/>
                  </a:lnTo>
                  <a:lnTo>
                    <a:pt x="104175" y="26307"/>
                  </a:lnTo>
                  <a:lnTo>
                    <a:pt x="104175" y="27230"/>
                  </a:lnTo>
                  <a:lnTo>
                    <a:pt x="106153" y="27230"/>
                  </a:lnTo>
                  <a:lnTo>
                    <a:pt x="106153" y="26307"/>
                  </a:lnTo>
                  <a:lnTo>
                    <a:pt x="108791" y="27230"/>
                  </a:lnTo>
                  <a:lnTo>
                    <a:pt x="110769" y="27230"/>
                  </a:lnTo>
                  <a:lnTo>
                    <a:pt x="110769" y="27230"/>
                  </a:lnTo>
                  <a:lnTo>
                    <a:pt x="110769" y="27230"/>
                  </a:lnTo>
                  <a:lnTo>
                    <a:pt x="113406" y="27230"/>
                  </a:lnTo>
                  <a:lnTo>
                    <a:pt x="115384" y="27230"/>
                  </a:lnTo>
                  <a:lnTo>
                    <a:pt x="115384" y="27230"/>
                  </a:lnTo>
                  <a:lnTo>
                    <a:pt x="116703" y="27230"/>
                  </a:lnTo>
                  <a:lnTo>
                    <a:pt x="120000" y="27230"/>
                  </a:lnTo>
                  <a:lnTo>
                    <a:pt x="118021" y="24923"/>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76" name="Shape 376"/>
            <p:cNvSpPr/>
            <p:nvPr/>
          </p:nvSpPr>
          <p:spPr>
            <a:xfrm>
              <a:off x="4214" y="3352"/>
              <a:ext cx="0" cy="0"/>
            </a:xfrm>
            <a:custGeom>
              <a:avLst/>
              <a:gdLst/>
              <a:ahLst/>
              <a:cxnLst/>
              <a:rect l="0" t="0" r="0" b="0"/>
              <a:pathLst>
                <a:path w="120000" h="120000" extrusionOk="0">
                  <a:moveTo>
                    <a:pt x="120000" y="50909"/>
                  </a:moveTo>
                  <a:lnTo>
                    <a:pt x="120000" y="40000"/>
                  </a:lnTo>
                  <a:lnTo>
                    <a:pt x="120000" y="40000"/>
                  </a:lnTo>
                  <a:lnTo>
                    <a:pt x="120000" y="32727"/>
                  </a:lnTo>
                  <a:lnTo>
                    <a:pt x="120000" y="25454"/>
                  </a:lnTo>
                  <a:lnTo>
                    <a:pt x="120000" y="14545"/>
                  </a:lnTo>
                  <a:lnTo>
                    <a:pt x="109565" y="14545"/>
                  </a:lnTo>
                  <a:lnTo>
                    <a:pt x="109565" y="14545"/>
                  </a:lnTo>
                  <a:lnTo>
                    <a:pt x="109565" y="14545"/>
                  </a:lnTo>
                  <a:lnTo>
                    <a:pt x="109565" y="14545"/>
                  </a:lnTo>
                  <a:lnTo>
                    <a:pt x="83478" y="7272"/>
                  </a:lnTo>
                  <a:lnTo>
                    <a:pt x="62608" y="0"/>
                  </a:lnTo>
                  <a:lnTo>
                    <a:pt x="62608" y="0"/>
                  </a:lnTo>
                  <a:lnTo>
                    <a:pt x="62608" y="0"/>
                  </a:lnTo>
                  <a:lnTo>
                    <a:pt x="46956" y="7272"/>
                  </a:lnTo>
                  <a:lnTo>
                    <a:pt x="36521" y="14545"/>
                  </a:lnTo>
                  <a:lnTo>
                    <a:pt x="26086" y="25454"/>
                  </a:lnTo>
                  <a:lnTo>
                    <a:pt x="10434" y="32727"/>
                  </a:lnTo>
                  <a:lnTo>
                    <a:pt x="0" y="50909"/>
                  </a:lnTo>
                  <a:lnTo>
                    <a:pt x="0" y="50909"/>
                  </a:lnTo>
                  <a:lnTo>
                    <a:pt x="0" y="65454"/>
                  </a:lnTo>
                  <a:lnTo>
                    <a:pt x="0" y="76363"/>
                  </a:lnTo>
                  <a:lnTo>
                    <a:pt x="0" y="76363"/>
                  </a:lnTo>
                  <a:lnTo>
                    <a:pt x="10434" y="76363"/>
                  </a:lnTo>
                  <a:lnTo>
                    <a:pt x="10434" y="83636"/>
                  </a:lnTo>
                  <a:lnTo>
                    <a:pt x="26086" y="101818"/>
                  </a:lnTo>
                  <a:lnTo>
                    <a:pt x="36521" y="109090"/>
                  </a:lnTo>
                  <a:lnTo>
                    <a:pt x="62608" y="120000"/>
                  </a:lnTo>
                  <a:lnTo>
                    <a:pt x="83478" y="120000"/>
                  </a:lnTo>
                  <a:lnTo>
                    <a:pt x="109565" y="120000"/>
                  </a:lnTo>
                  <a:lnTo>
                    <a:pt x="109565" y="109090"/>
                  </a:lnTo>
                  <a:lnTo>
                    <a:pt x="109565" y="94545"/>
                  </a:lnTo>
                  <a:lnTo>
                    <a:pt x="109565" y="76363"/>
                  </a:lnTo>
                  <a:lnTo>
                    <a:pt x="109565" y="76363"/>
                  </a:lnTo>
                  <a:lnTo>
                    <a:pt x="120000" y="83636"/>
                  </a:lnTo>
                  <a:lnTo>
                    <a:pt x="120000" y="83636"/>
                  </a:lnTo>
                  <a:lnTo>
                    <a:pt x="120000" y="58181"/>
                  </a:lnTo>
                  <a:lnTo>
                    <a:pt x="120000" y="50909"/>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77" name="Shape 377"/>
            <p:cNvSpPr/>
            <p:nvPr/>
          </p:nvSpPr>
          <p:spPr>
            <a:xfrm>
              <a:off x="2574" y="2682"/>
              <a:ext cx="0" cy="0"/>
            </a:xfrm>
            <a:custGeom>
              <a:avLst/>
              <a:gdLst/>
              <a:ahLst/>
              <a:cxnLst/>
              <a:rect l="0" t="0" r="0" b="0"/>
              <a:pathLst>
                <a:path w="120000" h="120000" extrusionOk="0">
                  <a:moveTo>
                    <a:pt x="113766" y="20454"/>
                  </a:moveTo>
                  <a:lnTo>
                    <a:pt x="116883" y="16363"/>
                  </a:lnTo>
                  <a:lnTo>
                    <a:pt x="116883" y="13636"/>
                  </a:lnTo>
                  <a:lnTo>
                    <a:pt x="116883" y="9545"/>
                  </a:lnTo>
                  <a:lnTo>
                    <a:pt x="120000" y="6818"/>
                  </a:lnTo>
                  <a:lnTo>
                    <a:pt x="116883" y="4090"/>
                  </a:lnTo>
                  <a:lnTo>
                    <a:pt x="116883" y="4090"/>
                  </a:lnTo>
                  <a:lnTo>
                    <a:pt x="109090" y="0"/>
                  </a:lnTo>
                  <a:lnTo>
                    <a:pt x="95064" y="0"/>
                  </a:lnTo>
                  <a:lnTo>
                    <a:pt x="87272" y="0"/>
                  </a:lnTo>
                  <a:lnTo>
                    <a:pt x="79480" y="0"/>
                  </a:lnTo>
                  <a:lnTo>
                    <a:pt x="73246" y="0"/>
                  </a:lnTo>
                  <a:lnTo>
                    <a:pt x="68571" y="0"/>
                  </a:lnTo>
                  <a:lnTo>
                    <a:pt x="65454" y="0"/>
                  </a:lnTo>
                  <a:lnTo>
                    <a:pt x="65454" y="4090"/>
                  </a:lnTo>
                  <a:lnTo>
                    <a:pt x="65454" y="6818"/>
                  </a:lnTo>
                  <a:lnTo>
                    <a:pt x="65454" y="4090"/>
                  </a:lnTo>
                  <a:lnTo>
                    <a:pt x="54545" y="0"/>
                  </a:lnTo>
                  <a:lnTo>
                    <a:pt x="46753" y="0"/>
                  </a:lnTo>
                  <a:lnTo>
                    <a:pt x="35844" y="0"/>
                  </a:lnTo>
                  <a:lnTo>
                    <a:pt x="32727" y="0"/>
                  </a:lnTo>
                  <a:lnTo>
                    <a:pt x="28051" y="4090"/>
                  </a:lnTo>
                  <a:lnTo>
                    <a:pt x="28051" y="6818"/>
                  </a:lnTo>
                  <a:lnTo>
                    <a:pt x="28051" y="9545"/>
                  </a:lnTo>
                  <a:lnTo>
                    <a:pt x="28051" y="13636"/>
                  </a:lnTo>
                  <a:lnTo>
                    <a:pt x="28051" y="9545"/>
                  </a:lnTo>
                  <a:lnTo>
                    <a:pt x="24935" y="13636"/>
                  </a:lnTo>
                  <a:lnTo>
                    <a:pt x="24935" y="13636"/>
                  </a:lnTo>
                  <a:lnTo>
                    <a:pt x="24935" y="16363"/>
                  </a:lnTo>
                  <a:lnTo>
                    <a:pt x="24935" y="16363"/>
                  </a:lnTo>
                  <a:lnTo>
                    <a:pt x="24935" y="20454"/>
                  </a:lnTo>
                  <a:lnTo>
                    <a:pt x="24935" y="20454"/>
                  </a:lnTo>
                  <a:lnTo>
                    <a:pt x="24935" y="20454"/>
                  </a:lnTo>
                  <a:lnTo>
                    <a:pt x="24935" y="20454"/>
                  </a:lnTo>
                  <a:lnTo>
                    <a:pt x="24935" y="23181"/>
                  </a:lnTo>
                  <a:lnTo>
                    <a:pt x="24935" y="23181"/>
                  </a:lnTo>
                  <a:lnTo>
                    <a:pt x="24935" y="23181"/>
                  </a:lnTo>
                  <a:lnTo>
                    <a:pt x="24935" y="23181"/>
                  </a:lnTo>
                  <a:lnTo>
                    <a:pt x="24935" y="25909"/>
                  </a:lnTo>
                  <a:lnTo>
                    <a:pt x="21818" y="25909"/>
                  </a:lnTo>
                  <a:lnTo>
                    <a:pt x="21818" y="25909"/>
                  </a:lnTo>
                  <a:lnTo>
                    <a:pt x="17142" y="25909"/>
                  </a:lnTo>
                  <a:lnTo>
                    <a:pt x="14025" y="25909"/>
                  </a:lnTo>
                  <a:lnTo>
                    <a:pt x="10909" y="25909"/>
                  </a:lnTo>
                  <a:lnTo>
                    <a:pt x="10909" y="30000"/>
                  </a:lnTo>
                  <a:lnTo>
                    <a:pt x="10909" y="30000"/>
                  </a:lnTo>
                  <a:lnTo>
                    <a:pt x="6233" y="30000"/>
                  </a:lnTo>
                  <a:lnTo>
                    <a:pt x="6233" y="30000"/>
                  </a:lnTo>
                  <a:lnTo>
                    <a:pt x="6233" y="32727"/>
                  </a:lnTo>
                  <a:lnTo>
                    <a:pt x="6233" y="32727"/>
                  </a:lnTo>
                  <a:lnTo>
                    <a:pt x="6233" y="35454"/>
                  </a:lnTo>
                  <a:lnTo>
                    <a:pt x="6233" y="35454"/>
                  </a:lnTo>
                  <a:lnTo>
                    <a:pt x="6233" y="39545"/>
                  </a:lnTo>
                  <a:lnTo>
                    <a:pt x="6233" y="42272"/>
                  </a:lnTo>
                  <a:lnTo>
                    <a:pt x="6233" y="42272"/>
                  </a:lnTo>
                  <a:lnTo>
                    <a:pt x="3116" y="45000"/>
                  </a:lnTo>
                  <a:lnTo>
                    <a:pt x="3116" y="49090"/>
                  </a:lnTo>
                  <a:lnTo>
                    <a:pt x="3116" y="51818"/>
                  </a:lnTo>
                  <a:lnTo>
                    <a:pt x="0" y="51818"/>
                  </a:lnTo>
                  <a:lnTo>
                    <a:pt x="3116" y="55909"/>
                  </a:lnTo>
                  <a:lnTo>
                    <a:pt x="6233" y="61363"/>
                  </a:lnTo>
                  <a:lnTo>
                    <a:pt x="6233" y="61363"/>
                  </a:lnTo>
                  <a:lnTo>
                    <a:pt x="6233" y="65454"/>
                  </a:lnTo>
                  <a:lnTo>
                    <a:pt x="10909" y="68181"/>
                  </a:lnTo>
                  <a:lnTo>
                    <a:pt x="14025" y="70909"/>
                  </a:lnTo>
                  <a:lnTo>
                    <a:pt x="10909" y="70909"/>
                  </a:lnTo>
                  <a:lnTo>
                    <a:pt x="14025" y="75000"/>
                  </a:lnTo>
                  <a:lnTo>
                    <a:pt x="14025" y="75000"/>
                  </a:lnTo>
                  <a:lnTo>
                    <a:pt x="14025" y="75000"/>
                  </a:lnTo>
                  <a:lnTo>
                    <a:pt x="17142" y="75000"/>
                  </a:lnTo>
                  <a:lnTo>
                    <a:pt x="17142" y="75000"/>
                  </a:lnTo>
                  <a:lnTo>
                    <a:pt x="17142" y="75000"/>
                  </a:lnTo>
                  <a:lnTo>
                    <a:pt x="21818" y="75000"/>
                  </a:lnTo>
                  <a:lnTo>
                    <a:pt x="21818" y="75000"/>
                  </a:lnTo>
                  <a:lnTo>
                    <a:pt x="21818" y="77727"/>
                  </a:lnTo>
                  <a:lnTo>
                    <a:pt x="21818" y="80454"/>
                  </a:lnTo>
                  <a:lnTo>
                    <a:pt x="24935" y="80454"/>
                  </a:lnTo>
                  <a:lnTo>
                    <a:pt x="24935" y="80454"/>
                  </a:lnTo>
                  <a:lnTo>
                    <a:pt x="24935" y="84545"/>
                  </a:lnTo>
                  <a:lnTo>
                    <a:pt x="24935" y="84545"/>
                  </a:lnTo>
                  <a:lnTo>
                    <a:pt x="24935" y="87272"/>
                  </a:lnTo>
                  <a:lnTo>
                    <a:pt x="24935" y="87272"/>
                  </a:lnTo>
                  <a:lnTo>
                    <a:pt x="24935" y="91363"/>
                  </a:lnTo>
                  <a:lnTo>
                    <a:pt x="24935" y="91363"/>
                  </a:lnTo>
                  <a:lnTo>
                    <a:pt x="28051" y="91363"/>
                  </a:lnTo>
                  <a:lnTo>
                    <a:pt x="28051" y="91363"/>
                  </a:lnTo>
                  <a:lnTo>
                    <a:pt x="28051" y="91363"/>
                  </a:lnTo>
                  <a:lnTo>
                    <a:pt x="28051" y="94090"/>
                  </a:lnTo>
                  <a:lnTo>
                    <a:pt x="28051" y="94090"/>
                  </a:lnTo>
                  <a:lnTo>
                    <a:pt x="28051" y="94090"/>
                  </a:lnTo>
                  <a:lnTo>
                    <a:pt x="28051" y="96818"/>
                  </a:lnTo>
                  <a:lnTo>
                    <a:pt x="32727" y="96818"/>
                  </a:lnTo>
                  <a:lnTo>
                    <a:pt x="32727" y="100909"/>
                  </a:lnTo>
                  <a:lnTo>
                    <a:pt x="32727" y="100909"/>
                  </a:lnTo>
                  <a:lnTo>
                    <a:pt x="32727" y="103636"/>
                  </a:lnTo>
                  <a:lnTo>
                    <a:pt x="32727" y="103636"/>
                  </a:lnTo>
                  <a:lnTo>
                    <a:pt x="35844" y="106363"/>
                  </a:lnTo>
                  <a:lnTo>
                    <a:pt x="35844" y="106363"/>
                  </a:lnTo>
                  <a:lnTo>
                    <a:pt x="35844" y="110454"/>
                  </a:lnTo>
                  <a:lnTo>
                    <a:pt x="38961" y="113181"/>
                  </a:lnTo>
                  <a:lnTo>
                    <a:pt x="38961" y="113181"/>
                  </a:lnTo>
                  <a:lnTo>
                    <a:pt x="43636" y="113181"/>
                  </a:lnTo>
                  <a:lnTo>
                    <a:pt x="43636" y="113181"/>
                  </a:lnTo>
                  <a:lnTo>
                    <a:pt x="43636" y="115909"/>
                  </a:lnTo>
                  <a:lnTo>
                    <a:pt x="46753" y="115909"/>
                  </a:lnTo>
                  <a:lnTo>
                    <a:pt x="46753" y="115909"/>
                  </a:lnTo>
                  <a:lnTo>
                    <a:pt x="51428" y="115909"/>
                  </a:lnTo>
                  <a:lnTo>
                    <a:pt x="57662" y="120000"/>
                  </a:lnTo>
                  <a:lnTo>
                    <a:pt x="62337" y="115909"/>
                  </a:lnTo>
                  <a:lnTo>
                    <a:pt x="62337" y="115909"/>
                  </a:lnTo>
                  <a:lnTo>
                    <a:pt x="62337" y="113181"/>
                  </a:lnTo>
                  <a:lnTo>
                    <a:pt x="62337" y="113181"/>
                  </a:lnTo>
                  <a:lnTo>
                    <a:pt x="62337" y="110454"/>
                  </a:lnTo>
                  <a:lnTo>
                    <a:pt x="57662" y="110454"/>
                  </a:lnTo>
                  <a:lnTo>
                    <a:pt x="57662" y="106363"/>
                  </a:lnTo>
                  <a:lnTo>
                    <a:pt x="54545" y="106363"/>
                  </a:lnTo>
                  <a:lnTo>
                    <a:pt x="54545" y="103636"/>
                  </a:lnTo>
                  <a:lnTo>
                    <a:pt x="57662" y="103636"/>
                  </a:lnTo>
                  <a:lnTo>
                    <a:pt x="57662" y="103636"/>
                  </a:lnTo>
                  <a:lnTo>
                    <a:pt x="57662" y="103636"/>
                  </a:lnTo>
                  <a:lnTo>
                    <a:pt x="57662" y="100909"/>
                  </a:lnTo>
                  <a:lnTo>
                    <a:pt x="62337" y="100909"/>
                  </a:lnTo>
                  <a:lnTo>
                    <a:pt x="62337" y="100909"/>
                  </a:lnTo>
                  <a:lnTo>
                    <a:pt x="62337" y="100909"/>
                  </a:lnTo>
                  <a:lnTo>
                    <a:pt x="62337" y="100909"/>
                  </a:lnTo>
                  <a:lnTo>
                    <a:pt x="65454" y="103636"/>
                  </a:lnTo>
                  <a:lnTo>
                    <a:pt x="68571" y="100909"/>
                  </a:lnTo>
                  <a:lnTo>
                    <a:pt x="76363" y="100909"/>
                  </a:lnTo>
                  <a:lnTo>
                    <a:pt x="79480" y="100909"/>
                  </a:lnTo>
                  <a:lnTo>
                    <a:pt x="79480" y="100909"/>
                  </a:lnTo>
                  <a:lnTo>
                    <a:pt x="84155" y="96818"/>
                  </a:lnTo>
                  <a:lnTo>
                    <a:pt x="84155" y="96818"/>
                  </a:lnTo>
                  <a:lnTo>
                    <a:pt x="84155" y="96818"/>
                  </a:lnTo>
                  <a:lnTo>
                    <a:pt x="87272" y="96818"/>
                  </a:lnTo>
                  <a:lnTo>
                    <a:pt x="87272" y="96818"/>
                  </a:lnTo>
                  <a:lnTo>
                    <a:pt x="87272" y="96818"/>
                  </a:lnTo>
                  <a:lnTo>
                    <a:pt x="90389" y="96818"/>
                  </a:lnTo>
                  <a:lnTo>
                    <a:pt x="90389" y="100909"/>
                  </a:lnTo>
                  <a:lnTo>
                    <a:pt x="90389" y="100909"/>
                  </a:lnTo>
                  <a:lnTo>
                    <a:pt x="90389" y="100909"/>
                  </a:lnTo>
                  <a:lnTo>
                    <a:pt x="95064" y="100909"/>
                  </a:lnTo>
                  <a:lnTo>
                    <a:pt x="95064" y="100909"/>
                  </a:lnTo>
                  <a:lnTo>
                    <a:pt x="98181" y="103636"/>
                  </a:lnTo>
                  <a:lnTo>
                    <a:pt x="98181" y="103636"/>
                  </a:lnTo>
                  <a:lnTo>
                    <a:pt x="98181" y="103636"/>
                  </a:lnTo>
                  <a:lnTo>
                    <a:pt x="98181" y="103636"/>
                  </a:lnTo>
                  <a:lnTo>
                    <a:pt x="98181" y="103636"/>
                  </a:lnTo>
                  <a:lnTo>
                    <a:pt x="101298" y="103636"/>
                  </a:lnTo>
                  <a:lnTo>
                    <a:pt x="101298" y="103636"/>
                  </a:lnTo>
                  <a:lnTo>
                    <a:pt x="101298" y="100909"/>
                  </a:lnTo>
                  <a:lnTo>
                    <a:pt x="105974" y="100909"/>
                  </a:lnTo>
                  <a:lnTo>
                    <a:pt x="109090" y="94090"/>
                  </a:lnTo>
                  <a:lnTo>
                    <a:pt x="113766" y="91363"/>
                  </a:lnTo>
                  <a:lnTo>
                    <a:pt x="113766" y="87272"/>
                  </a:lnTo>
                  <a:lnTo>
                    <a:pt x="113766" y="84545"/>
                  </a:lnTo>
                  <a:lnTo>
                    <a:pt x="113766" y="80454"/>
                  </a:lnTo>
                  <a:lnTo>
                    <a:pt x="113766" y="80454"/>
                  </a:lnTo>
                  <a:lnTo>
                    <a:pt x="116883" y="75000"/>
                  </a:lnTo>
                  <a:lnTo>
                    <a:pt x="116883" y="70909"/>
                  </a:lnTo>
                  <a:lnTo>
                    <a:pt x="116883" y="70909"/>
                  </a:lnTo>
                  <a:lnTo>
                    <a:pt x="116883" y="68181"/>
                  </a:lnTo>
                  <a:lnTo>
                    <a:pt x="116883" y="68181"/>
                  </a:lnTo>
                  <a:lnTo>
                    <a:pt x="116883" y="68181"/>
                  </a:lnTo>
                  <a:lnTo>
                    <a:pt x="116883" y="65454"/>
                  </a:lnTo>
                  <a:lnTo>
                    <a:pt x="113766" y="61363"/>
                  </a:lnTo>
                  <a:lnTo>
                    <a:pt x="113766" y="61363"/>
                  </a:lnTo>
                  <a:lnTo>
                    <a:pt x="109090" y="58636"/>
                  </a:lnTo>
                  <a:lnTo>
                    <a:pt x="109090" y="55909"/>
                  </a:lnTo>
                  <a:lnTo>
                    <a:pt x="109090" y="51818"/>
                  </a:lnTo>
                  <a:lnTo>
                    <a:pt x="109090" y="51818"/>
                  </a:lnTo>
                  <a:lnTo>
                    <a:pt x="105974" y="51818"/>
                  </a:lnTo>
                  <a:lnTo>
                    <a:pt x="105974" y="49090"/>
                  </a:lnTo>
                  <a:lnTo>
                    <a:pt x="105974" y="45000"/>
                  </a:lnTo>
                  <a:lnTo>
                    <a:pt x="105974" y="42272"/>
                  </a:lnTo>
                  <a:lnTo>
                    <a:pt x="105974" y="42272"/>
                  </a:lnTo>
                  <a:lnTo>
                    <a:pt x="105974" y="39545"/>
                  </a:lnTo>
                  <a:lnTo>
                    <a:pt x="105974" y="35454"/>
                  </a:lnTo>
                  <a:lnTo>
                    <a:pt x="105974" y="35454"/>
                  </a:lnTo>
                  <a:lnTo>
                    <a:pt x="105974" y="32727"/>
                  </a:lnTo>
                  <a:lnTo>
                    <a:pt x="105974" y="30000"/>
                  </a:lnTo>
                  <a:lnTo>
                    <a:pt x="105974" y="30000"/>
                  </a:lnTo>
                  <a:lnTo>
                    <a:pt x="105974" y="25909"/>
                  </a:lnTo>
                  <a:lnTo>
                    <a:pt x="109090" y="23181"/>
                  </a:lnTo>
                  <a:lnTo>
                    <a:pt x="113766" y="20454"/>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78" name="Shape 378"/>
            <p:cNvSpPr/>
            <p:nvPr/>
          </p:nvSpPr>
          <p:spPr>
            <a:xfrm>
              <a:off x="4056" y="2340"/>
              <a:ext cx="300" cy="300"/>
            </a:xfrm>
            <a:custGeom>
              <a:avLst/>
              <a:gdLst/>
              <a:ahLst/>
              <a:cxnLst/>
              <a:rect l="0" t="0" r="0" b="0"/>
              <a:pathLst>
                <a:path w="120000" h="120000" extrusionOk="0">
                  <a:moveTo>
                    <a:pt x="120000" y="36503"/>
                  </a:moveTo>
                  <a:lnTo>
                    <a:pt x="118431" y="34405"/>
                  </a:lnTo>
                  <a:lnTo>
                    <a:pt x="118431" y="34405"/>
                  </a:lnTo>
                  <a:lnTo>
                    <a:pt x="117254" y="34405"/>
                  </a:lnTo>
                  <a:lnTo>
                    <a:pt x="117254" y="34405"/>
                  </a:lnTo>
                  <a:lnTo>
                    <a:pt x="117254" y="33566"/>
                  </a:lnTo>
                  <a:lnTo>
                    <a:pt x="116470" y="33566"/>
                  </a:lnTo>
                  <a:lnTo>
                    <a:pt x="115686" y="31468"/>
                  </a:lnTo>
                  <a:lnTo>
                    <a:pt x="113725" y="30629"/>
                  </a:lnTo>
                  <a:lnTo>
                    <a:pt x="112549" y="30629"/>
                  </a:lnTo>
                  <a:lnTo>
                    <a:pt x="112549" y="30629"/>
                  </a:lnTo>
                  <a:lnTo>
                    <a:pt x="111764" y="29370"/>
                  </a:lnTo>
                  <a:lnTo>
                    <a:pt x="110980" y="27692"/>
                  </a:lnTo>
                  <a:lnTo>
                    <a:pt x="109803" y="22657"/>
                  </a:lnTo>
                  <a:lnTo>
                    <a:pt x="109803" y="20559"/>
                  </a:lnTo>
                  <a:lnTo>
                    <a:pt x="109803" y="17622"/>
                  </a:lnTo>
                  <a:lnTo>
                    <a:pt x="109019" y="15524"/>
                  </a:lnTo>
                  <a:lnTo>
                    <a:pt x="109803" y="13846"/>
                  </a:lnTo>
                  <a:lnTo>
                    <a:pt x="109019" y="12587"/>
                  </a:lnTo>
                  <a:lnTo>
                    <a:pt x="109019" y="10909"/>
                  </a:lnTo>
                  <a:lnTo>
                    <a:pt x="109019" y="10909"/>
                  </a:lnTo>
                  <a:lnTo>
                    <a:pt x="109019" y="9650"/>
                  </a:lnTo>
                  <a:lnTo>
                    <a:pt x="109019" y="9650"/>
                  </a:lnTo>
                  <a:lnTo>
                    <a:pt x="109803" y="9650"/>
                  </a:lnTo>
                  <a:lnTo>
                    <a:pt x="109803" y="9650"/>
                  </a:lnTo>
                  <a:lnTo>
                    <a:pt x="109803" y="9650"/>
                  </a:lnTo>
                  <a:lnTo>
                    <a:pt x="109019" y="8811"/>
                  </a:lnTo>
                  <a:lnTo>
                    <a:pt x="108235" y="7552"/>
                  </a:lnTo>
                  <a:lnTo>
                    <a:pt x="107058" y="4615"/>
                  </a:lnTo>
                  <a:lnTo>
                    <a:pt x="107058" y="3776"/>
                  </a:lnTo>
                  <a:lnTo>
                    <a:pt x="106274" y="1678"/>
                  </a:lnTo>
                  <a:lnTo>
                    <a:pt x="104313" y="1678"/>
                  </a:lnTo>
                  <a:lnTo>
                    <a:pt x="101568" y="1678"/>
                  </a:lnTo>
                  <a:lnTo>
                    <a:pt x="99607" y="1678"/>
                  </a:lnTo>
                  <a:lnTo>
                    <a:pt x="96862" y="1678"/>
                  </a:lnTo>
                  <a:lnTo>
                    <a:pt x="95294" y="1678"/>
                  </a:lnTo>
                  <a:lnTo>
                    <a:pt x="92549" y="1678"/>
                  </a:lnTo>
                  <a:lnTo>
                    <a:pt x="90588" y="1678"/>
                  </a:lnTo>
                  <a:lnTo>
                    <a:pt x="87843" y="1678"/>
                  </a:lnTo>
                  <a:lnTo>
                    <a:pt x="85882" y="1678"/>
                  </a:lnTo>
                  <a:lnTo>
                    <a:pt x="78431" y="1678"/>
                  </a:lnTo>
                  <a:lnTo>
                    <a:pt x="76862" y="1678"/>
                  </a:lnTo>
                  <a:lnTo>
                    <a:pt x="73725" y="1678"/>
                  </a:lnTo>
                  <a:lnTo>
                    <a:pt x="70980" y="1678"/>
                  </a:lnTo>
                  <a:lnTo>
                    <a:pt x="69411" y="1678"/>
                  </a:lnTo>
                  <a:lnTo>
                    <a:pt x="68235" y="1678"/>
                  </a:lnTo>
                  <a:lnTo>
                    <a:pt x="68235" y="839"/>
                  </a:lnTo>
                  <a:lnTo>
                    <a:pt x="68235" y="0"/>
                  </a:lnTo>
                  <a:lnTo>
                    <a:pt x="68235" y="0"/>
                  </a:lnTo>
                  <a:lnTo>
                    <a:pt x="67450" y="0"/>
                  </a:lnTo>
                  <a:lnTo>
                    <a:pt x="67450" y="0"/>
                  </a:lnTo>
                  <a:lnTo>
                    <a:pt x="66666" y="1678"/>
                  </a:lnTo>
                  <a:lnTo>
                    <a:pt x="66666" y="1678"/>
                  </a:lnTo>
                  <a:lnTo>
                    <a:pt x="65490" y="1678"/>
                  </a:lnTo>
                  <a:lnTo>
                    <a:pt x="62745" y="1678"/>
                  </a:lnTo>
                  <a:lnTo>
                    <a:pt x="60000" y="1678"/>
                  </a:lnTo>
                  <a:lnTo>
                    <a:pt x="57254" y="1678"/>
                  </a:lnTo>
                  <a:lnTo>
                    <a:pt x="54509" y="1678"/>
                  </a:lnTo>
                  <a:lnTo>
                    <a:pt x="51764" y="1678"/>
                  </a:lnTo>
                  <a:lnTo>
                    <a:pt x="49019" y="1678"/>
                  </a:lnTo>
                  <a:lnTo>
                    <a:pt x="46274" y="1678"/>
                  </a:lnTo>
                  <a:lnTo>
                    <a:pt x="43529" y="1678"/>
                  </a:lnTo>
                  <a:lnTo>
                    <a:pt x="40784" y="1678"/>
                  </a:lnTo>
                  <a:lnTo>
                    <a:pt x="34901" y="1678"/>
                  </a:lnTo>
                  <a:lnTo>
                    <a:pt x="32156" y="1678"/>
                  </a:lnTo>
                  <a:lnTo>
                    <a:pt x="30588" y="1678"/>
                  </a:lnTo>
                  <a:lnTo>
                    <a:pt x="27843" y="1678"/>
                  </a:lnTo>
                  <a:lnTo>
                    <a:pt x="22352" y="1678"/>
                  </a:lnTo>
                  <a:lnTo>
                    <a:pt x="22352" y="5874"/>
                  </a:lnTo>
                  <a:lnTo>
                    <a:pt x="22352" y="10909"/>
                  </a:lnTo>
                  <a:lnTo>
                    <a:pt x="22352" y="14685"/>
                  </a:lnTo>
                  <a:lnTo>
                    <a:pt x="22352" y="18461"/>
                  </a:lnTo>
                  <a:lnTo>
                    <a:pt x="22352" y="18461"/>
                  </a:lnTo>
                  <a:lnTo>
                    <a:pt x="22352" y="18461"/>
                  </a:lnTo>
                  <a:lnTo>
                    <a:pt x="22352" y="18461"/>
                  </a:lnTo>
                  <a:lnTo>
                    <a:pt x="22352" y="19720"/>
                  </a:lnTo>
                  <a:lnTo>
                    <a:pt x="20392" y="19720"/>
                  </a:lnTo>
                  <a:lnTo>
                    <a:pt x="18431" y="19720"/>
                  </a:lnTo>
                  <a:lnTo>
                    <a:pt x="16470" y="19720"/>
                  </a:lnTo>
                  <a:lnTo>
                    <a:pt x="14901" y="19720"/>
                  </a:lnTo>
                  <a:lnTo>
                    <a:pt x="14901" y="20559"/>
                  </a:lnTo>
                  <a:lnTo>
                    <a:pt x="14901" y="21818"/>
                  </a:lnTo>
                  <a:lnTo>
                    <a:pt x="14901" y="22657"/>
                  </a:lnTo>
                  <a:lnTo>
                    <a:pt x="14901" y="23496"/>
                  </a:lnTo>
                  <a:lnTo>
                    <a:pt x="14901" y="27692"/>
                  </a:lnTo>
                  <a:lnTo>
                    <a:pt x="15686" y="31468"/>
                  </a:lnTo>
                  <a:lnTo>
                    <a:pt x="15686" y="35664"/>
                  </a:lnTo>
                  <a:lnTo>
                    <a:pt x="15686" y="39440"/>
                  </a:lnTo>
                  <a:lnTo>
                    <a:pt x="15686" y="43636"/>
                  </a:lnTo>
                  <a:lnTo>
                    <a:pt x="15686" y="47412"/>
                  </a:lnTo>
                  <a:lnTo>
                    <a:pt x="15686" y="51188"/>
                  </a:lnTo>
                  <a:lnTo>
                    <a:pt x="15686" y="55384"/>
                  </a:lnTo>
                  <a:lnTo>
                    <a:pt x="15686" y="56223"/>
                  </a:lnTo>
                  <a:lnTo>
                    <a:pt x="15686" y="57482"/>
                  </a:lnTo>
                  <a:lnTo>
                    <a:pt x="15686" y="57482"/>
                  </a:lnTo>
                  <a:lnTo>
                    <a:pt x="15686" y="57482"/>
                  </a:lnTo>
                  <a:lnTo>
                    <a:pt x="13725" y="56223"/>
                  </a:lnTo>
                  <a:lnTo>
                    <a:pt x="12941" y="56223"/>
                  </a:lnTo>
                  <a:lnTo>
                    <a:pt x="12156" y="57482"/>
                  </a:lnTo>
                  <a:lnTo>
                    <a:pt x="10196" y="57482"/>
                  </a:lnTo>
                  <a:lnTo>
                    <a:pt x="9411" y="57482"/>
                  </a:lnTo>
                  <a:lnTo>
                    <a:pt x="8235" y="58321"/>
                  </a:lnTo>
                  <a:lnTo>
                    <a:pt x="8235" y="58321"/>
                  </a:lnTo>
                  <a:lnTo>
                    <a:pt x="8235" y="60419"/>
                  </a:lnTo>
                  <a:lnTo>
                    <a:pt x="8235" y="61258"/>
                  </a:lnTo>
                  <a:lnTo>
                    <a:pt x="8235" y="62097"/>
                  </a:lnTo>
                  <a:lnTo>
                    <a:pt x="7450" y="62097"/>
                  </a:lnTo>
                  <a:lnTo>
                    <a:pt x="7450" y="63356"/>
                  </a:lnTo>
                  <a:lnTo>
                    <a:pt x="7450" y="63356"/>
                  </a:lnTo>
                  <a:lnTo>
                    <a:pt x="6274" y="64195"/>
                  </a:lnTo>
                  <a:lnTo>
                    <a:pt x="6274" y="64195"/>
                  </a:lnTo>
                  <a:lnTo>
                    <a:pt x="6274" y="65454"/>
                  </a:lnTo>
                  <a:lnTo>
                    <a:pt x="6274" y="66293"/>
                  </a:lnTo>
                  <a:lnTo>
                    <a:pt x="6274" y="66293"/>
                  </a:lnTo>
                  <a:lnTo>
                    <a:pt x="5490" y="66293"/>
                  </a:lnTo>
                  <a:lnTo>
                    <a:pt x="4705" y="66293"/>
                  </a:lnTo>
                  <a:lnTo>
                    <a:pt x="4705" y="67132"/>
                  </a:lnTo>
                  <a:lnTo>
                    <a:pt x="4705" y="67132"/>
                  </a:lnTo>
                  <a:lnTo>
                    <a:pt x="4705" y="68391"/>
                  </a:lnTo>
                  <a:lnTo>
                    <a:pt x="4705" y="68391"/>
                  </a:lnTo>
                  <a:lnTo>
                    <a:pt x="4705" y="69230"/>
                  </a:lnTo>
                  <a:lnTo>
                    <a:pt x="4705" y="69230"/>
                  </a:lnTo>
                  <a:lnTo>
                    <a:pt x="5490" y="70069"/>
                  </a:lnTo>
                  <a:lnTo>
                    <a:pt x="5490" y="70069"/>
                  </a:lnTo>
                  <a:lnTo>
                    <a:pt x="5490" y="71328"/>
                  </a:lnTo>
                  <a:lnTo>
                    <a:pt x="5490" y="71328"/>
                  </a:lnTo>
                  <a:lnTo>
                    <a:pt x="4705" y="72167"/>
                  </a:lnTo>
                  <a:lnTo>
                    <a:pt x="3529" y="72167"/>
                  </a:lnTo>
                  <a:lnTo>
                    <a:pt x="3529" y="72167"/>
                  </a:lnTo>
                  <a:lnTo>
                    <a:pt x="3529" y="72167"/>
                  </a:lnTo>
                  <a:lnTo>
                    <a:pt x="2745" y="73006"/>
                  </a:lnTo>
                  <a:lnTo>
                    <a:pt x="2745" y="73006"/>
                  </a:lnTo>
                  <a:lnTo>
                    <a:pt x="2745" y="74265"/>
                  </a:lnTo>
                  <a:lnTo>
                    <a:pt x="2745" y="74265"/>
                  </a:lnTo>
                  <a:lnTo>
                    <a:pt x="2745" y="75104"/>
                  </a:lnTo>
                  <a:lnTo>
                    <a:pt x="2745" y="76363"/>
                  </a:lnTo>
                  <a:lnTo>
                    <a:pt x="3529" y="77202"/>
                  </a:lnTo>
                  <a:lnTo>
                    <a:pt x="3529" y="77202"/>
                  </a:lnTo>
                  <a:lnTo>
                    <a:pt x="3529" y="78041"/>
                  </a:lnTo>
                  <a:lnTo>
                    <a:pt x="2745" y="79300"/>
                  </a:lnTo>
                  <a:lnTo>
                    <a:pt x="2745" y="79300"/>
                  </a:lnTo>
                  <a:lnTo>
                    <a:pt x="1960" y="80139"/>
                  </a:lnTo>
                  <a:lnTo>
                    <a:pt x="784" y="80979"/>
                  </a:lnTo>
                  <a:lnTo>
                    <a:pt x="784" y="82237"/>
                  </a:lnTo>
                  <a:lnTo>
                    <a:pt x="0" y="83076"/>
                  </a:lnTo>
                  <a:lnTo>
                    <a:pt x="784" y="83076"/>
                  </a:lnTo>
                  <a:lnTo>
                    <a:pt x="784" y="83916"/>
                  </a:lnTo>
                  <a:lnTo>
                    <a:pt x="784" y="83916"/>
                  </a:lnTo>
                  <a:lnTo>
                    <a:pt x="1960" y="83916"/>
                  </a:lnTo>
                  <a:lnTo>
                    <a:pt x="2745" y="83916"/>
                  </a:lnTo>
                  <a:lnTo>
                    <a:pt x="3529" y="83916"/>
                  </a:lnTo>
                  <a:lnTo>
                    <a:pt x="4705" y="83916"/>
                  </a:lnTo>
                  <a:lnTo>
                    <a:pt x="4705" y="85174"/>
                  </a:lnTo>
                  <a:lnTo>
                    <a:pt x="4705" y="86013"/>
                  </a:lnTo>
                  <a:lnTo>
                    <a:pt x="4705" y="87272"/>
                  </a:lnTo>
                  <a:lnTo>
                    <a:pt x="5490" y="88951"/>
                  </a:lnTo>
                  <a:lnTo>
                    <a:pt x="5490" y="88951"/>
                  </a:lnTo>
                  <a:lnTo>
                    <a:pt x="5490" y="88951"/>
                  </a:lnTo>
                  <a:lnTo>
                    <a:pt x="5490" y="90209"/>
                  </a:lnTo>
                  <a:lnTo>
                    <a:pt x="5490" y="90209"/>
                  </a:lnTo>
                  <a:lnTo>
                    <a:pt x="5490" y="93146"/>
                  </a:lnTo>
                  <a:lnTo>
                    <a:pt x="6274" y="93986"/>
                  </a:lnTo>
                  <a:lnTo>
                    <a:pt x="6274" y="93986"/>
                  </a:lnTo>
                  <a:lnTo>
                    <a:pt x="6274" y="94825"/>
                  </a:lnTo>
                  <a:lnTo>
                    <a:pt x="7450" y="94825"/>
                  </a:lnTo>
                  <a:lnTo>
                    <a:pt x="7450" y="94825"/>
                  </a:lnTo>
                  <a:lnTo>
                    <a:pt x="8235" y="94825"/>
                  </a:lnTo>
                  <a:lnTo>
                    <a:pt x="8235" y="96083"/>
                  </a:lnTo>
                  <a:lnTo>
                    <a:pt x="8235" y="96083"/>
                  </a:lnTo>
                  <a:lnTo>
                    <a:pt x="8235" y="96923"/>
                  </a:lnTo>
                  <a:lnTo>
                    <a:pt x="8235" y="99020"/>
                  </a:lnTo>
                  <a:lnTo>
                    <a:pt x="8235" y="99860"/>
                  </a:lnTo>
                  <a:lnTo>
                    <a:pt x="8235" y="101118"/>
                  </a:lnTo>
                  <a:lnTo>
                    <a:pt x="9411" y="101118"/>
                  </a:lnTo>
                  <a:lnTo>
                    <a:pt x="10980" y="104055"/>
                  </a:lnTo>
                  <a:lnTo>
                    <a:pt x="10980" y="104055"/>
                  </a:lnTo>
                  <a:lnTo>
                    <a:pt x="12941" y="106153"/>
                  </a:lnTo>
                  <a:lnTo>
                    <a:pt x="12941" y="106993"/>
                  </a:lnTo>
                  <a:lnTo>
                    <a:pt x="13725" y="109090"/>
                  </a:lnTo>
                  <a:lnTo>
                    <a:pt x="13725" y="109930"/>
                  </a:lnTo>
                  <a:lnTo>
                    <a:pt x="13725" y="110769"/>
                  </a:lnTo>
                  <a:lnTo>
                    <a:pt x="13725" y="113706"/>
                  </a:lnTo>
                  <a:lnTo>
                    <a:pt x="13725" y="113706"/>
                  </a:lnTo>
                  <a:lnTo>
                    <a:pt x="12941" y="115804"/>
                  </a:lnTo>
                  <a:lnTo>
                    <a:pt x="12941" y="115804"/>
                  </a:lnTo>
                  <a:lnTo>
                    <a:pt x="12941" y="117062"/>
                  </a:lnTo>
                  <a:lnTo>
                    <a:pt x="12941" y="117062"/>
                  </a:lnTo>
                  <a:lnTo>
                    <a:pt x="12941" y="117062"/>
                  </a:lnTo>
                  <a:lnTo>
                    <a:pt x="12941" y="117902"/>
                  </a:lnTo>
                  <a:lnTo>
                    <a:pt x="13725" y="118741"/>
                  </a:lnTo>
                  <a:lnTo>
                    <a:pt x="13725" y="118741"/>
                  </a:lnTo>
                  <a:lnTo>
                    <a:pt x="15686" y="118741"/>
                  </a:lnTo>
                  <a:lnTo>
                    <a:pt x="16470" y="118741"/>
                  </a:lnTo>
                  <a:lnTo>
                    <a:pt x="17647" y="120000"/>
                  </a:lnTo>
                  <a:lnTo>
                    <a:pt x="17647" y="118741"/>
                  </a:lnTo>
                  <a:lnTo>
                    <a:pt x="18431" y="118741"/>
                  </a:lnTo>
                  <a:lnTo>
                    <a:pt x="18431" y="117902"/>
                  </a:lnTo>
                  <a:lnTo>
                    <a:pt x="20392" y="117902"/>
                  </a:lnTo>
                  <a:lnTo>
                    <a:pt x="20392" y="117062"/>
                  </a:lnTo>
                  <a:lnTo>
                    <a:pt x="20392" y="117062"/>
                  </a:lnTo>
                  <a:lnTo>
                    <a:pt x="20392" y="115804"/>
                  </a:lnTo>
                  <a:lnTo>
                    <a:pt x="21176" y="114965"/>
                  </a:lnTo>
                  <a:lnTo>
                    <a:pt x="21176" y="114965"/>
                  </a:lnTo>
                  <a:lnTo>
                    <a:pt x="21176" y="113706"/>
                  </a:lnTo>
                  <a:lnTo>
                    <a:pt x="21176" y="112867"/>
                  </a:lnTo>
                  <a:lnTo>
                    <a:pt x="21176" y="112867"/>
                  </a:lnTo>
                  <a:lnTo>
                    <a:pt x="22352" y="112027"/>
                  </a:lnTo>
                  <a:lnTo>
                    <a:pt x="22352" y="112027"/>
                  </a:lnTo>
                  <a:lnTo>
                    <a:pt x="22352" y="110769"/>
                  </a:lnTo>
                  <a:lnTo>
                    <a:pt x="22352" y="109930"/>
                  </a:lnTo>
                  <a:lnTo>
                    <a:pt x="22352" y="109090"/>
                  </a:lnTo>
                  <a:lnTo>
                    <a:pt x="23137" y="107832"/>
                  </a:lnTo>
                  <a:lnTo>
                    <a:pt x="23921" y="106993"/>
                  </a:lnTo>
                  <a:lnTo>
                    <a:pt x="23921" y="106993"/>
                  </a:lnTo>
                  <a:lnTo>
                    <a:pt x="23921" y="106153"/>
                  </a:lnTo>
                  <a:lnTo>
                    <a:pt x="23921" y="106153"/>
                  </a:lnTo>
                  <a:lnTo>
                    <a:pt x="23921" y="104895"/>
                  </a:lnTo>
                  <a:lnTo>
                    <a:pt x="23921" y="104895"/>
                  </a:lnTo>
                  <a:lnTo>
                    <a:pt x="25098" y="104895"/>
                  </a:lnTo>
                  <a:lnTo>
                    <a:pt x="25882" y="104895"/>
                  </a:lnTo>
                  <a:lnTo>
                    <a:pt x="29411" y="104055"/>
                  </a:lnTo>
                  <a:lnTo>
                    <a:pt x="29411" y="104055"/>
                  </a:lnTo>
                  <a:lnTo>
                    <a:pt x="30588" y="104895"/>
                  </a:lnTo>
                  <a:lnTo>
                    <a:pt x="30588" y="106153"/>
                  </a:lnTo>
                  <a:lnTo>
                    <a:pt x="30588" y="106153"/>
                  </a:lnTo>
                  <a:lnTo>
                    <a:pt x="30588" y="106153"/>
                  </a:lnTo>
                  <a:lnTo>
                    <a:pt x="31372" y="106993"/>
                  </a:lnTo>
                  <a:lnTo>
                    <a:pt x="31372" y="106993"/>
                  </a:lnTo>
                  <a:lnTo>
                    <a:pt x="31372" y="107832"/>
                  </a:lnTo>
                  <a:lnTo>
                    <a:pt x="32156" y="107832"/>
                  </a:lnTo>
                  <a:lnTo>
                    <a:pt x="34901" y="112027"/>
                  </a:lnTo>
                  <a:lnTo>
                    <a:pt x="36078" y="112027"/>
                  </a:lnTo>
                  <a:lnTo>
                    <a:pt x="36862" y="112027"/>
                  </a:lnTo>
                  <a:lnTo>
                    <a:pt x="38039" y="110769"/>
                  </a:lnTo>
                  <a:lnTo>
                    <a:pt x="38823" y="110769"/>
                  </a:lnTo>
                  <a:lnTo>
                    <a:pt x="44313" y="110769"/>
                  </a:lnTo>
                  <a:lnTo>
                    <a:pt x="44313" y="110769"/>
                  </a:lnTo>
                  <a:lnTo>
                    <a:pt x="44313" y="110769"/>
                  </a:lnTo>
                  <a:lnTo>
                    <a:pt x="45098" y="112867"/>
                  </a:lnTo>
                  <a:lnTo>
                    <a:pt x="46274" y="113706"/>
                  </a:lnTo>
                  <a:lnTo>
                    <a:pt x="51764" y="113706"/>
                  </a:lnTo>
                  <a:lnTo>
                    <a:pt x="51764" y="112867"/>
                  </a:lnTo>
                  <a:lnTo>
                    <a:pt x="51764" y="112867"/>
                  </a:lnTo>
                  <a:lnTo>
                    <a:pt x="52549" y="112027"/>
                  </a:lnTo>
                  <a:lnTo>
                    <a:pt x="52549" y="110769"/>
                  </a:lnTo>
                  <a:lnTo>
                    <a:pt x="52549" y="110769"/>
                  </a:lnTo>
                  <a:lnTo>
                    <a:pt x="52549" y="110769"/>
                  </a:lnTo>
                  <a:lnTo>
                    <a:pt x="53725" y="110769"/>
                  </a:lnTo>
                  <a:lnTo>
                    <a:pt x="54509" y="109930"/>
                  </a:lnTo>
                  <a:lnTo>
                    <a:pt x="56470" y="109930"/>
                  </a:lnTo>
                  <a:lnTo>
                    <a:pt x="56470" y="109090"/>
                  </a:lnTo>
                  <a:lnTo>
                    <a:pt x="57254" y="107832"/>
                  </a:lnTo>
                  <a:lnTo>
                    <a:pt x="57254" y="106993"/>
                  </a:lnTo>
                  <a:lnTo>
                    <a:pt x="57254" y="106993"/>
                  </a:lnTo>
                  <a:lnTo>
                    <a:pt x="57254" y="106993"/>
                  </a:lnTo>
                  <a:lnTo>
                    <a:pt x="60000" y="106153"/>
                  </a:lnTo>
                  <a:lnTo>
                    <a:pt x="60000" y="104895"/>
                  </a:lnTo>
                  <a:lnTo>
                    <a:pt x="63921" y="107832"/>
                  </a:lnTo>
                  <a:lnTo>
                    <a:pt x="65490" y="109930"/>
                  </a:lnTo>
                  <a:lnTo>
                    <a:pt x="65490" y="109930"/>
                  </a:lnTo>
                  <a:lnTo>
                    <a:pt x="65490" y="109930"/>
                  </a:lnTo>
                  <a:lnTo>
                    <a:pt x="65490" y="109930"/>
                  </a:lnTo>
                  <a:lnTo>
                    <a:pt x="65490" y="109930"/>
                  </a:lnTo>
                  <a:lnTo>
                    <a:pt x="65490" y="109930"/>
                  </a:lnTo>
                  <a:lnTo>
                    <a:pt x="65490" y="109930"/>
                  </a:lnTo>
                  <a:lnTo>
                    <a:pt x="66666" y="109930"/>
                  </a:lnTo>
                  <a:lnTo>
                    <a:pt x="68235" y="109930"/>
                  </a:lnTo>
                  <a:lnTo>
                    <a:pt x="69411" y="109930"/>
                  </a:lnTo>
                  <a:lnTo>
                    <a:pt x="72156" y="106153"/>
                  </a:lnTo>
                  <a:lnTo>
                    <a:pt x="72941" y="104895"/>
                  </a:lnTo>
                  <a:lnTo>
                    <a:pt x="72941" y="104055"/>
                  </a:lnTo>
                  <a:lnTo>
                    <a:pt x="72941" y="102797"/>
                  </a:lnTo>
                  <a:lnTo>
                    <a:pt x="73725" y="101958"/>
                  </a:lnTo>
                  <a:lnTo>
                    <a:pt x="73725" y="101958"/>
                  </a:lnTo>
                  <a:lnTo>
                    <a:pt x="77647" y="98181"/>
                  </a:lnTo>
                  <a:lnTo>
                    <a:pt x="77647" y="98181"/>
                  </a:lnTo>
                  <a:lnTo>
                    <a:pt x="77647" y="98181"/>
                  </a:lnTo>
                  <a:lnTo>
                    <a:pt x="76862" y="96923"/>
                  </a:lnTo>
                  <a:lnTo>
                    <a:pt x="76862" y="96083"/>
                  </a:lnTo>
                  <a:lnTo>
                    <a:pt x="76862" y="94825"/>
                  </a:lnTo>
                  <a:lnTo>
                    <a:pt x="76862" y="93986"/>
                  </a:lnTo>
                  <a:lnTo>
                    <a:pt x="76862" y="93146"/>
                  </a:lnTo>
                  <a:lnTo>
                    <a:pt x="76862" y="93146"/>
                  </a:lnTo>
                  <a:lnTo>
                    <a:pt x="76862" y="91888"/>
                  </a:lnTo>
                  <a:lnTo>
                    <a:pt x="76862" y="91888"/>
                  </a:lnTo>
                  <a:lnTo>
                    <a:pt x="74901" y="90209"/>
                  </a:lnTo>
                  <a:lnTo>
                    <a:pt x="79607" y="90209"/>
                  </a:lnTo>
                  <a:lnTo>
                    <a:pt x="79607" y="90209"/>
                  </a:lnTo>
                  <a:lnTo>
                    <a:pt x="79607" y="88951"/>
                  </a:lnTo>
                  <a:lnTo>
                    <a:pt x="79607" y="88951"/>
                  </a:lnTo>
                  <a:lnTo>
                    <a:pt x="79607" y="88951"/>
                  </a:lnTo>
                  <a:lnTo>
                    <a:pt x="79607" y="88951"/>
                  </a:lnTo>
                  <a:lnTo>
                    <a:pt x="79607" y="88951"/>
                  </a:lnTo>
                  <a:lnTo>
                    <a:pt x="79607" y="88111"/>
                  </a:lnTo>
                  <a:lnTo>
                    <a:pt x="79607" y="88111"/>
                  </a:lnTo>
                  <a:lnTo>
                    <a:pt x="79607" y="88111"/>
                  </a:lnTo>
                  <a:lnTo>
                    <a:pt x="79607" y="88111"/>
                  </a:lnTo>
                  <a:lnTo>
                    <a:pt x="79607" y="88111"/>
                  </a:lnTo>
                  <a:lnTo>
                    <a:pt x="79607" y="88111"/>
                  </a:lnTo>
                  <a:lnTo>
                    <a:pt x="79607" y="88111"/>
                  </a:lnTo>
                  <a:lnTo>
                    <a:pt x="83137" y="88111"/>
                  </a:lnTo>
                  <a:lnTo>
                    <a:pt x="83137" y="88951"/>
                  </a:lnTo>
                  <a:lnTo>
                    <a:pt x="82352" y="90209"/>
                  </a:lnTo>
                  <a:lnTo>
                    <a:pt x="82352" y="91048"/>
                  </a:lnTo>
                  <a:lnTo>
                    <a:pt x="82352" y="93146"/>
                  </a:lnTo>
                  <a:lnTo>
                    <a:pt x="82352" y="93146"/>
                  </a:lnTo>
                  <a:lnTo>
                    <a:pt x="82352" y="93146"/>
                  </a:lnTo>
                  <a:lnTo>
                    <a:pt x="82352" y="93146"/>
                  </a:lnTo>
                  <a:lnTo>
                    <a:pt x="82352" y="93146"/>
                  </a:lnTo>
                  <a:lnTo>
                    <a:pt x="82352" y="93146"/>
                  </a:lnTo>
                  <a:lnTo>
                    <a:pt x="82352" y="93146"/>
                  </a:lnTo>
                  <a:lnTo>
                    <a:pt x="82352" y="93986"/>
                  </a:lnTo>
                  <a:lnTo>
                    <a:pt x="83137" y="99860"/>
                  </a:lnTo>
                  <a:lnTo>
                    <a:pt x="83137" y="99860"/>
                  </a:lnTo>
                  <a:lnTo>
                    <a:pt x="83137" y="99860"/>
                  </a:lnTo>
                  <a:lnTo>
                    <a:pt x="82352" y="101118"/>
                  </a:lnTo>
                  <a:lnTo>
                    <a:pt x="82352" y="101118"/>
                  </a:lnTo>
                  <a:lnTo>
                    <a:pt x="82352" y="101118"/>
                  </a:lnTo>
                  <a:lnTo>
                    <a:pt x="82352" y="101118"/>
                  </a:lnTo>
                  <a:lnTo>
                    <a:pt x="83921" y="101958"/>
                  </a:lnTo>
                  <a:lnTo>
                    <a:pt x="83921" y="101958"/>
                  </a:lnTo>
                  <a:lnTo>
                    <a:pt x="83921" y="101958"/>
                  </a:lnTo>
                  <a:lnTo>
                    <a:pt x="85098" y="102797"/>
                  </a:lnTo>
                  <a:lnTo>
                    <a:pt x="87843" y="106153"/>
                  </a:lnTo>
                  <a:lnTo>
                    <a:pt x="88627" y="106153"/>
                  </a:lnTo>
                  <a:lnTo>
                    <a:pt x="88627" y="106993"/>
                  </a:lnTo>
                  <a:lnTo>
                    <a:pt x="88627" y="106993"/>
                  </a:lnTo>
                  <a:lnTo>
                    <a:pt x="88627" y="106993"/>
                  </a:lnTo>
                  <a:lnTo>
                    <a:pt x="88627" y="107832"/>
                  </a:lnTo>
                  <a:lnTo>
                    <a:pt x="88627" y="107832"/>
                  </a:lnTo>
                  <a:lnTo>
                    <a:pt x="88627" y="109090"/>
                  </a:lnTo>
                  <a:lnTo>
                    <a:pt x="88627" y="109090"/>
                  </a:lnTo>
                  <a:lnTo>
                    <a:pt x="88627" y="109090"/>
                  </a:lnTo>
                  <a:lnTo>
                    <a:pt x="88627" y="109090"/>
                  </a:lnTo>
                  <a:lnTo>
                    <a:pt x="88627" y="109090"/>
                  </a:lnTo>
                  <a:lnTo>
                    <a:pt x="88627" y="109090"/>
                  </a:lnTo>
                  <a:lnTo>
                    <a:pt x="88627" y="109930"/>
                  </a:lnTo>
                  <a:lnTo>
                    <a:pt x="87843" y="110769"/>
                  </a:lnTo>
                  <a:lnTo>
                    <a:pt x="87843" y="112027"/>
                  </a:lnTo>
                  <a:lnTo>
                    <a:pt x="87843" y="112027"/>
                  </a:lnTo>
                  <a:lnTo>
                    <a:pt x="87843" y="112027"/>
                  </a:lnTo>
                  <a:lnTo>
                    <a:pt x="87843" y="112027"/>
                  </a:lnTo>
                  <a:lnTo>
                    <a:pt x="88627" y="112867"/>
                  </a:lnTo>
                  <a:lnTo>
                    <a:pt x="88627" y="112867"/>
                  </a:lnTo>
                  <a:lnTo>
                    <a:pt x="88627" y="112867"/>
                  </a:lnTo>
                  <a:lnTo>
                    <a:pt x="89803" y="112867"/>
                  </a:lnTo>
                  <a:lnTo>
                    <a:pt x="89803" y="112867"/>
                  </a:lnTo>
                  <a:lnTo>
                    <a:pt x="89803" y="112027"/>
                  </a:lnTo>
                  <a:lnTo>
                    <a:pt x="89803" y="109930"/>
                  </a:lnTo>
                  <a:lnTo>
                    <a:pt x="90588" y="109090"/>
                  </a:lnTo>
                  <a:lnTo>
                    <a:pt x="90588" y="107832"/>
                  </a:lnTo>
                  <a:lnTo>
                    <a:pt x="91372" y="106993"/>
                  </a:lnTo>
                  <a:lnTo>
                    <a:pt x="91372" y="106153"/>
                  </a:lnTo>
                  <a:lnTo>
                    <a:pt x="91372" y="106153"/>
                  </a:lnTo>
                  <a:lnTo>
                    <a:pt x="90588" y="102797"/>
                  </a:lnTo>
                  <a:lnTo>
                    <a:pt x="91372" y="101958"/>
                  </a:lnTo>
                  <a:lnTo>
                    <a:pt x="92549" y="101118"/>
                  </a:lnTo>
                  <a:lnTo>
                    <a:pt x="92549" y="99860"/>
                  </a:lnTo>
                  <a:lnTo>
                    <a:pt x="93333" y="99860"/>
                  </a:lnTo>
                  <a:lnTo>
                    <a:pt x="93333" y="99860"/>
                  </a:lnTo>
                  <a:lnTo>
                    <a:pt x="93333" y="101118"/>
                  </a:lnTo>
                  <a:lnTo>
                    <a:pt x="94117" y="101118"/>
                  </a:lnTo>
                  <a:lnTo>
                    <a:pt x="95294" y="101118"/>
                  </a:lnTo>
                  <a:lnTo>
                    <a:pt x="95294" y="101118"/>
                  </a:lnTo>
                  <a:lnTo>
                    <a:pt x="96078" y="99860"/>
                  </a:lnTo>
                  <a:lnTo>
                    <a:pt x="95294" y="99020"/>
                  </a:lnTo>
                  <a:lnTo>
                    <a:pt x="96078" y="96923"/>
                  </a:lnTo>
                  <a:lnTo>
                    <a:pt x="96078" y="96083"/>
                  </a:lnTo>
                  <a:lnTo>
                    <a:pt x="96078" y="94825"/>
                  </a:lnTo>
                  <a:lnTo>
                    <a:pt x="96078" y="93146"/>
                  </a:lnTo>
                  <a:lnTo>
                    <a:pt x="96862" y="91888"/>
                  </a:lnTo>
                  <a:lnTo>
                    <a:pt x="96862" y="91888"/>
                  </a:lnTo>
                  <a:lnTo>
                    <a:pt x="98039" y="90209"/>
                  </a:lnTo>
                  <a:lnTo>
                    <a:pt x="98823" y="88951"/>
                  </a:lnTo>
                  <a:lnTo>
                    <a:pt x="98823" y="87272"/>
                  </a:lnTo>
                  <a:lnTo>
                    <a:pt x="99607" y="85174"/>
                  </a:lnTo>
                  <a:lnTo>
                    <a:pt x="100784" y="83916"/>
                  </a:lnTo>
                  <a:lnTo>
                    <a:pt x="100784" y="83916"/>
                  </a:lnTo>
                  <a:lnTo>
                    <a:pt x="101568" y="83916"/>
                  </a:lnTo>
                  <a:lnTo>
                    <a:pt x="102745" y="83916"/>
                  </a:lnTo>
                  <a:lnTo>
                    <a:pt x="103529" y="83076"/>
                  </a:lnTo>
                  <a:lnTo>
                    <a:pt x="103529" y="83076"/>
                  </a:lnTo>
                  <a:lnTo>
                    <a:pt x="104313" y="83076"/>
                  </a:lnTo>
                  <a:lnTo>
                    <a:pt x="104313" y="82237"/>
                  </a:lnTo>
                  <a:lnTo>
                    <a:pt x="104313" y="80139"/>
                  </a:lnTo>
                  <a:lnTo>
                    <a:pt x="104313" y="79300"/>
                  </a:lnTo>
                  <a:lnTo>
                    <a:pt x="105490" y="77202"/>
                  </a:lnTo>
                  <a:lnTo>
                    <a:pt x="105490" y="77202"/>
                  </a:lnTo>
                  <a:lnTo>
                    <a:pt x="105490" y="76363"/>
                  </a:lnTo>
                  <a:lnTo>
                    <a:pt x="105490" y="75104"/>
                  </a:lnTo>
                  <a:lnTo>
                    <a:pt x="106274" y="73006"/>
                  </a:lnTo>
                  <a:lnTo>
                    <a:pt x="106274" y="72167"/>
                  </a:lnTo>
                  <a:lnTo>
                    <a:pt x="106274" y="70069"/>
                  </a:lnTo>
                  <a:lnTo>
                    <a:pt x="106274" y="67132"/>
                  </a:lnTo>
                  <a:lnTo>
                    <a:pt x="106274" y="65454"/>
                  </a:lnTo>
                  <a:lnTo>
                    <a:pt x="105490" y="64195"/>
                  </a:lnTo>
                  <a:lnTo>
                    <a:pt x="105490" y="62097"/>
                  </a:lnTo>
                  <a:lnTo>
                    <a:pt x="106274" y="61258"/>
                  </a:lnTo>
                  <a:lnTo>
                    <a:pt x="106274" y="60419"/>
                  </a:lnTo>
                  <a:lnTo>
                    <a:pt x="107058" y="57482"/>
                  </a:lnTo>
                  <a:lnTo>
                    <a:pt x="107058" y="56223"/>
                  </a:lnTo>
                  <a:lnTo>
                    <a:pt x="108235" y="54545"/>
                  </a:lnTo>
                  <a:lnTo>
                    <a:pt x="108235" y="54545"/>
                  </a:lnTo>
                  <a:lnTo>
                    <a:pt x="109019" y="52447"/>
                  </a:lnTo>
                  <a:lnTo>
                    <a:pt x="109019" y="50349"/>
                  </a:lnTo>
                  <a:lnTo>
                    <a:pt x="108235" y="49510"/>
                  </a:lnTo>
                  <a:lnTo>
                    <a:pt x="109019" y="48251"/>
                  </a:lnTo>
                  <a:lnTo>
                    <a:pt x="109019" y="47412"/>
                  </a:lnTo>
                  <a:lnTo>
                    <a:pt x="109019" y="46573"/>
                  </a:lnTo>
                  <a:lnTo>
                    <a:pt x="109019" y="45314"/>
                  </a:lnTo>
                  <a:lnTo>
                    <a:pt x="109019" y="45314"/>
                  </a:lnTo>
                  <a:lnTo>
                    <a:pt x="109803" y="45314"/>
                  </a:lnTo>
                  <a:lnTo>
                    <a:pt x="109803" y="45314"/>
                  </a:lnTo>
                  <a:lnTo>
                    <a:pt x="110980" y="45314"/>
                  </a:lnTo>
                  <a:lnTo>
                    <a:pt x="111764" y="45314"/>
                  </a:lnTo>
                  <a:lnTo>
                    <a:pt x="111764" y="45314"/>
                  </a:lnTo>
                  <a:lnTo>
                    <a:pt x="112549" y="44475"/>
                  </a:lnTo>
                  <a:lnTo>
                    <a:pt x="112549" y="43636"/>
                  </a:lnTo>
                  <a:lnTo>
                    <a:pt x="112549" y="42377"/>
                  </a:lnTo>
                  <a:lnTo>
                    <a:pt x="113725" y="42377"/>
                  </a:lnTo>
                  <a:lnTo>
                    <a:pt x="113725" y="42377"/>
                  </a:lnTo>
                  <a:lnTo>
                    <a:pt x="114509" y="41538"/>
                  </a:lnTo>
                  <a:lnTo>
                    <a:pt x="114509" y="41538"/>
                  </a:lnTo>
                  <a:lnTo>
                    <a:pt x="114509" y="41538"/>
                  </a:lnTo>
                  <a:lnTo>
                    <a:pt x="115686" y="41538"/>
                  </a:lnTo>
                  <a:lnTo>
                    <a:pt x="115686" y="41538"/>
                  </a:lnTo>
                  <a:lnTo>
                    <a:pt x="115686" y="41538"/>
                  </a:lnTo>
                  <a:lnTo>
                    <a:pt x="116470" y="40279"/>
                  </a:lnTo>
                  <a:lnTo>
                    <a:pt x="117254" y="41538"/>
                  </a:lnTo>
                  <a:lnTo>
                    <a:pt x="117254" y="40279"/>
                  </a:lnTo>
                  <a:lnTo>
                    <a:pt x="117254" y="40279"/>
                  </a:lnTo>
                  <a:lnTo>
                    <a:pt x="117254" y="40279"/>
                  </a:lnTo>
                  <a:lnTo>
                    <a:pt x="118431" y="40279"/>
                  </a:lnTo>
                  <a:lnTo>
                    <a:pt x="118431" y="40279"/>
                  </a:lnTo>
                  <a:lnTo>
                    <a:pt x="118431" y="40279"/>
                  </a:lnTo>
                  <a:lnTo>
                    <a:pt x="118431" y="39440"/>
                  </a:lnTo>
                  <a:lnTo>
                    <a:pt x="119215" y="39440"/>
                  </a:lnTo>
                  <a:lnTo>
                    <a:pt x="119215" y="39440"/>
                  </a:lnTo>
                  <a:lnTo>
                    <a:pt x="119215" y="38601"/>
                  </a:lnTo>
                  <a:lnTo>
                    <a:pt x="119215" y="38601"/>
                  </a:lnTo>
                  <a:lnTo>
                    <a:pt x="120000" y="37342"/>
                  </a:lnTo>
                  <a:lnTo>
                    <a:pt x="120000" y="36503"/>
                  </a:lnTo>
                  <a:lnTo>
                    <a:pt x="120000" y="36503"/>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79" name="Shape 379"/>
            <p:cNvSpPr/>
            <p:nvPr/>
          </p:nvSpPr>
          <p:spPr>
            <a:xfrm>
              <a:off x="4282" y="2129"/>
              <a:ext cx="300" cy="300"/>
            </a:xfrm>
            <a:custGeom>
              <a:avLst/>
              <a:gdLst/>
              <a:ahLst/>
              <a:cxnLst/>
              <a:rect l="0" t="0" r="0" b="0"/>
              <a:pathLst>
                <a:path w="120000" h="120000" extrusionOk="0">
                  <a:moveTo>
                    <a:pt x="12403" y="50450"/>
                  </a:moveTo>
                  <a:lnTo>
                    <a:pt x="11782" y="49369"/>
                  </a:lnTo>
                  <a:lnTo>
                    <a:pt x="11782" y="49369"/>
                  </a:lnTo>
                  <a:lnTo>
                    <a:pt x="11162" y="49369"/>
                  </a:lnTo>
                  <a:lnTo>
                    <a:pt x="11162" y="49369"/>
                  </a:lnTo>
                  <a:lnTo>
                    <a:pt x="11162" y="49369"/>
                  </a:lnTo>
                  <a:lnTo>
                    <a:pt x="12403" y="50450"/>
                  </a:lnTo>
                  <a:lnTo>
                    <a:pt x="12403" y="50450"/>
                  </a:lnTo>
                  <a:lnTo>
                    <a:pt x="13333" y="51171"/>
                  </a:lnTo>
                  <a:lnTo>
                    <a:pt x="13333" y="51171"/>
                  </a:lnTo>
                  <a:lnTo>
                    <a:pt x="13333" y="51171"/>
                  </a:lnTo>
                  <a:lnTo>
                    <a:pt x="13953" y="51171"/>
                  </a:lnTo>
                  <a:lnTo>
                    <a:pt x="13953" y="51171"/>
                  </a:lnTo>
                  <a:lnTo>
                    <a:pt x="12403" y="50450"/>
                  </a:lnTo>
                  <a:close/>
                  <a:moveTo>
                    <a:pt x="11782" y="48648"/>
                  </a:moveTo>
                  <a:lnTo>
                    <a:pt x="11782" y="48648"/>
                  </a:lnTo>
                  <a:lnTo>
                    <a:pt x="11782" y="48648"/>
                  </a:lnTo>
                  <a:lnTo>
                    <a:pt x="11782" y="47567"/>
                  </a:lnTo>
                  <a:lnTo>
                    <a:pt x="11162" y="48648"/>
                  </a:lnTo>
                  <a:lnTo>
                    <a:pt x="11162" y="48648"/>
                  </a:lnTo>
                  <a:lnTo>
                    <a:pt x="11782" y="49369"/>
                  </a:lnTo>
                  <a:lnTo>
                    <a:pt x="11782" y="48648"/>
                  </a:lnTo>
                  <a:close/>
                  <a:moveTo>
                    <a:pt x="120000" y="76756"/>
                  </a:moveTo>
                  <a:lnTo>
                    <a:pt x="119069" y="76036"/>
                  </a:lnTo>
                  <a:lnTo>
                    <a:pt x="118449" y="74234"/>
                  </a:lnTo>
                  <a:lnTo>
                    <a:pt x="118449" y="73153"/>
                  </a:lnTo>
                  <a:lnTo>
                    <a:pt x="117829" y="72432"/>
                  </a:lnTo>
                  <a:lnTo>
                    <a:pt x="116899" y="71711"/>
                  </a:lnTo>
                  <a:lnTo>
                    <a:pt x="116899" y="72432"/>
                  </a:lnTo>
                  <a:lnTo>
                    <a:pt x="116899" y="72432"/>
                  </a:lnTo>
                  <a:lnTo>
                    <a:pt x="116279" y="72432"/>
                  </a:lnTo>
                  <a:lnTo>
                    <a:pt x="116279" y="72432"/>
                  </a:lnTo>
                  <a:lnTo>
                    <a:pt x="115658" y="72432"/>
                  </a:lnTo>
                  <a:lnTo>
                    <a:pt x="115658" y="72432"/>
                  </a:lnTo>
                  <a:lnTo>
                    <a:pt x="114108" y="72432"/>
                  </a:lnTo>
                  <a:lnTo>
                    <a:pt x="113178" y="71711"/>
                  </a:lnTo>
                  <a:lnTo>
                    <a:pt x="111937" y="71711"/>
                  </a:lnTo>
                  <a:lnTo>
                    <a:pt x="111007" y="71711"/>
                  </a:lnTo>
                  <a:lnTo>
                    <a:pt x="109767" y="71711"/>
                  </a:lnTo>
                  <a:lnTo>
                    <a:pt x="108217" y="70630"/>
                  </a:lnTo>
                  <a:lnTo>
                    <a:pt x="107596" y="70630"/>
                  </a:lnTo>
                  <a:lnTo>
                    <a:pt x="106046" y="70630"/>
                  </a:lnTo>
                  <a:lnTo>
                    <a:pt x="105426" y="70630"/>
                  </a:lnTo>
                  <a:lnTo>
                    <a:pt x="103875" y="70630"/>
                  </a:lnTo>
                  <a:lnTo>
                    <a:pt x="103255" y="69909"/>
                  </a:lnTo>
                  <a:lnTo>
                    <a:pt x="103255" y="69909"/>
                  </a:lnTo>
                  <a:lnTo>
                    <a:pt x="103255" y="69909"/>
                  </a:lnTo>
                  <a:lnTo>
                    <a:pt x="102325" y="69909"/>
                  </a:lnTo>
                  <a:lnTo>
                    <a:pt x="102325" y="69909"/>
                  </a:lnTo>
                  <a:lnTo>
                    <a:pt x="101705" y="69189"/>
                  </a:lnTo>
                  <a:lnTo>
                    <a:pt x="101705" y="69189"/>
                  </a:lnTo>
                  <a:lnTo>
                    <a:pt x="100775" y="68108"/>
                  </a:lnTo>
                  <a:lnTo>
                    <a:pt x="100155" y="67387"/>
                  </a:lnTo>
                  <a:lnTo>
                    <a:pt x="100155" y="66306"/>
                  </a:lnTo>
                  <a:lnTo>
                    <a:pt x="99534" y="66306"/>
                  </a:lnTo>
                  <a:lnTo>
                    <a:pt x="99534" y="65585"/>
                  </a:lnTo>
                  <a:lnTo>
                    <a:pt x="98604" y="65585"/>
                  </a:lnTo>
                  <a:lnTo>
                    <a:pt x="98604" y="64864"/>
                  </a:lnTo>
                  <a:lnTo>
                    <a:pt x="98604" y="63783"/>
                  </a:lnTo>
                  <a:lnTo>
                    <a:pt x="97984" y="63783"/>
                  </a:lnTo>
                  <a:lnTo>
                    <a:pt x="97984" y="63063"/>
                  </a:lnTo>
                  <a:lnTo>
                    <a:pt x="97364" y="63063"/>
                  </a:lnTo>
                  <a:lnTo>
                    <a:pt x="97364" y="62342"/>
                  </a:lnTo>
                  <a:lnTo>
                    <a:pt x="96434" y="61261"/>
                  </a:lnTo>
                  <a:lnTo>
                    <a:pt x="96434" y="61261"/>
                  </a:lnTo>
                  <a:lnTo>
                    <a:pt x="96434" y="61261"/>
                  </a:lnTo>
                  <a:lnTo>
                    <a:pt x="96434" y="59819"/>
                  </a:lnTo>
                  <a:lnTo>
                    <a:pt x="96434" y="59819"/>
                  </a:lnTo>
                  <a:lnTo>
                    <a:pt x="95813" y="59819"/>
                  </a:lnTo>
                  <a:lnTo>
                    <a:pt x="95813" y="59819"/>
                  </a:lnTo>
                  <a:lnTo>
                    <a:pt x="95193" y="59819"/>
                  </a:lnTo>
                  <a:lnTo>
                    <a:pt x="95193" y="59819"/>
                  </a:lnTo>
                  <a:lnTo>
                    <a:pt x="95193" y="58018"/>
                  </a:lnTo>
                  <a:lnTo>
                    <a:pt x="95193" y="58018"/>
                  </a:lnTo>
                  <a:lnTo>
                    <a:pt x="95193" y="58018"/>
                  </a:lnTo>
                  <a:lnTo>
                    <a:pt x="95193" y="58018"/>
                  </a:lnTo>
                  <a:lnTo>
                    <a:pt x="94263" y="56936"/>
                  </a:lnTo>
                  <a:lnTo>
                    <a:pt x="93643" y="58018"/>
                  </a:lnTo>
                  <a:lnTo>
                    <a:pt x="93643" y="58018"/>
                  </a:lnTo>
                  <a:lnTo>
                    <a:pt x="93023" y="58018"/>
                  </a:lnTo>
                  <a:lnTo>
                    <a:pt x="93023" y="58018"/>
                  </a:lnTo>
                  <a:lnTo>
                    <a:pt x="92093" y="56936"/>
                  </a:lnTo>
                  <a:lnTo>
                    <a:pt x="92093" y="56936"/>
                  </a:lnTo>
                  <a:lnTo>
                    <a:pt x="91472" y="56216"/>
                  </a:lnTo>
                  <a:lnTo>
                    <a:pt x="91472" y="55495"/>
                  </a:lnTo>
                  <a:lnTo>
                    <a:pt x="90542" y="54414"/>
                  </a:lnTo>
                  <a:lnTo>
                    <a:pt x="89922" y="53693"/>
                  </a:lnTo>
                  <a:lnTo>
                    <a:pt x="89922" y="51891"/>
                  </a:lnTo>
                  <a:lnTo>
                    <a:pt x="89302" y="51171"/>
                  </a:lnTo>
                  <a:lnTo>
                    <a:pt x="88372" y="50450"/>
                  </a:lnTo>
                  <a:lnTo>
                    <a:pt x="87751" y="49369"/>
                  </a:lnTo>
                  <a:lnTo>
                    <a:pt x="87751" y="48648"/>
                  </a:lnTo>
                  <a:lnTo>
                    <a:pt x="87131" y="47567"/>
                  </a:lnTo>
                  <a:lnTo>
                    <a:pt x="87131" y="46846"/>
                  </a:lnTo>
                  <a:lnTo>
                    <a:pt x="87131" y="46126"/>
                  </a:lnTo>
                  <a:lnTo>
                    <a:pt x="87131" y="46126"/>
                  </a:lnTo>
                  <a:lnTo>
                    <a:pt x="87131" y="46126"/>
                  </a:lnTo>
                  <a:lnTo>
                    <a:pt x="87131" y="46126"/>
                  </a:lnTo>
                  <a:lnTo>
                    <a:pt x="87751" y="46126"/>
                  </a:lnTo>
                  <a:lnTo>
                    <a:pt x="87751" y="44324"/>
                  </a:lnTo>
                  <a:lnTo>
                    <a:pt x="87751" y="43603"/>
                  </a:lnTo>
                  <a:lnTo>
                    <a:pt x="87131" y="43603"/>
                  </a:lnTo>
                  <a:lnTo>
                    <a:pt x="86201" y="42522"/>
                  </a:lnTo>
                  <a:lnTo>
                    <a:pt x="86201" y="41801"/>
                  </a:lnTo>
                  <a:lnTo>
                    <a:pt x="86201" y="41801"/>
                  </a:lnTo>
                  <a:lnTo>
                    <a:pt x="86201" y="41801"/>
                  </a:lnTo>
                  <a:lnTo>
                    <a:pt x="87131" y="41801"/>
                  </a:lnTo>
                  <a:lnTo>
                    <a:pt x="87131" y="41801"/>
                  </a:lnTo>
                  <a:lnTo>
                    <a:pt x="87131" y="41801"/>
                  </a:lnTo>
                  <a:lnTo>
                    <a:pt x="86201" y="40000"/>
                  </a:lnTo>
                  <a:lnTo>
                    <a:pt x="84961" y="39279"/>
                  </a:lnTo>
                  <a:lnTo>
                    <a:pt x="83410" y="38198"/>
                  </a:lnTo>
                  <a:lnTo>
                    <a:pt x="82790" y="37477"/>
                  </a:lnTo>
                  <a:lnTo>
                    <a:pt x="81860" y="36756"/>
                  </a:lnTo>
                  <a:lnTo>
                    <a:pt x="81240" y="35675"/>
                  </a:lnTo>
                  <a:lnTo>
                    <a:pt x="81240" y="35675"/>
                  </a:lnTo>
                  <a:lnTo>
                    <a:pt x="81240" y="34954"/>
                  </a:lnTo>
                  <a:lnTo>
                    <a:pt x="80310" y="34954"/>
                  </a:lnTo>
                  <a:lnTo>
                    <a:pt x="79689" y="34234"/>
                  </a:lnTo>
                  <a:lnTo>
                    <a:pt x="79069" y="33153"/>
                  </a:lnTo>
                  <a:lnTo>
                    <a:pt x="79069" y="33153"/>
                  </a:lnTo>
                  <a:lnTo>
                    <a:pt x="79069" y="33153"/>
                  </a:lnTo>
                  <a:lnTo>
                    <a:pt x="79069" y="32432"/>
                  </a:lnTo>
                  <a:lnTo>
                    <a:pt x="79069" y="31711"/>
                  </a:lnTo>
                  <a:lnTo>
                    <a:pt x="77519" y="30630"/>
                  </a:lnTo>
                  <a:lnTo>
                    <a:pt x="76899" y="28828"/>
                  </a:lnTo>
                  <a:lnTo>
                    <a:pt x="76899" y="28108"/>
                  </a:lnTo>
                  <a:lnTo>
                    <a:pt x="76899" y="27387"/>
                  </a:lnTo>
                  <a:lnTo>
                    <a:pt x="75348" y="27387"/>
                  </a:lnTo>
                  <a:lnTo>
                    <a:pt x="74728" y="27387"/>
                  </a:lnTo>
                  <a:lnTo>
                    <a:pt x="73178" y="27387"/>
                  </a:lnTo>
                  <a:lnTo>
                    <a:pt x="72558" y="27387"/>
                  </a:lnTo>
                  <a:lnTo>
                    <a:pt x="71627" y="26306"/>
                  </a:lnTo>
                  <a:lnTo>
                    <a:pt x="71627" y="25585"/>
                  </a:lnTo>
                  <a:lnTo>
                    <a:pt x="71007" y="25585"/>
                  </a:lnTo>
                  <a:lnTo>
                    <a:pt x="71007" y="23783"/>
                  </a:lnTo>
                  <a:lnTo>
                    <a:pt x="68837" y="23783"/>
                  </a:lnTo>
                  <a:lnTo>
                    <a:pt x="67906" y="23783"/>
                  </a:lnTo>
                  <a:lnTo>
                    <a:pt x="66666" y="23063"/>
                  </a:lnTo>
                  <a:lnTo>
                    <a:pt x="65736" y="23063"/>
                  </a:lnTo>
                  <a:lnTo>
                    <a:pt x="64496" y="23783"/>
                  </a:lnTo>
                  <a:lnTo>
                    <a:pt x="62325" y="23063"/>
                  </a:lnTo>
                  <a:lnTo>
                    <a:pt x="59844" y="23063"/>
                  </a:lnTo>
                  <a:lnTo>
                    <a:pt x="57054" y="23063"/>
                  </a:lnTo>
                  <a:lnTo>
                    <a:pt x="55503" y="22342"/>
                  </a:lnTo>
                  <a:lnTo>
                    <a:pt x="55503" y="22342"/>
                  </a:lnTo>
                  <a:lnTo>
                    <a:pt x="53333" y="20540"/>
                  </a:lnTo>
                  <a:lnTo>
                    <a:pt x="52093" y="19459"/>
                  </a:lnTo>
                  <a:lnTo>
                    <a:pt x="49612" y="18018"/>
                  </a:lnTo>
                  <a:lnTo>
                    <a:pt x="47441" y="15495"/>
                  </a:lnTo>
                  <a:lnTo>
                    <a:pt x="46201" y="13693"/>
                  </a:lnTo>
                  <a:lnTo>
                    <a:pt x="44651" y="12972"/>
                  </a:lnTo>
                  <a:lnTo>
                    <a:pt x="42480" y="11171"/>
                  </a:lnTo>
                  <a:lnTo>
                    <a:pt x="40930" y="9369"/>
                  </a:lnTo>
                  <a:lnTo>
                    <a:pt x="39379" y="8648"/>
                  </a:lnTo>
                  <a:lnTo>
                    <a:pt x="38139" y="6846"/>
                  </a:lnTo>
                  <a:lnTo>
                    <a:pt x="36589" y="6126"/>
                  </a:lnTo>
                  <a:lnTo>
                    <a:pt x="35038" y="5045"/>
                  </a:lnTo>
                  <a:lnTo>
                    <a:pt x="33798" y="4324"/>
                  </a:lnTo>
                  <a:lnTo>
                    <a:pt x="32248" y="3603"/>
                  </a:lnTo>
                  <a:lnTo>
                    <a:pt x="30697" y="1801"/>
                  </a:lnTo>
                  <a:lnTo>
                    <a:pt x="30077" y="1801"/>
                  </a:lnTo>
                  <a:lnTo>
                    <a:pt x="27906" y="720"/>
                  </a:lnTo>
                  <a:lnTo>
                    <a:pt x="26356" y="720"/>
                  </a:lnTo>
                  <a:lnTo>
                    <a:pt x="24186" y="720"/>
                  </a:lnTo>
                  <a:lnTo>
                    <a:pt x="22635" y="0"/>
                  </a:lnTo>
                  <a:lnTo>
                    <a:pt x="22015" y="720"/>
                  </a:lnTo>
                  <a:lnTo>
                    <a:pt x="22015" y="720"/>
                  </a:lnTo>
                  <a:lnTo>
                    <a:pt x="21395" y="1801"/>
                  </a:lnTo>
                  <a:lnTo>
                    <a:pt x="18914" y="2522"/>
                  </a:lnTo>
                  <a:lnTo>
                    <a:pt x="17674" y="2522"/>
                  </a:lnTo>
                  <a:lnTo>
                    <a:pt x="15503" y="3603"/>
                  </a:lnTo>
                  <a:lnTo>
                    <a:pt x="13953" y="4324"/>
                  </a:lnTo>
                  <a:lnTo>
                    <a:pt x="12403" y="4324"/>
                  </a:lnTo>
                  <a:lnTo>
                    <a:pt x="11162" y="5045"/>
                  </a:lnTo>
                  <a:lnTo>
                    <a:pt x="12403" y="6126"/>
                  </a:lnTo>
                  <a:lnTo>
                    <a:pt x="13333" y="7567"/>
                  </a:lnTo>
                  <a:lnTo>
                    <a:pt x="14573" y="8648"/>
                  </a:lnTo>
                  <a:lnTo>
                    <a:pt x="15503" y="10090"/>
                  </a:lnTo>
                  <a:lnTo>
                    <a:pt x="16124" y="11171"/>
                  </a:lnTo>
                  <a:lnTo>
                    <a:pt x="17674" y="12972"/>
                  </a:lnTo>
                  <a:lnTo>
                    <a:pt x="16744" y="12972"/>
                  </a:lnTo>
                  <a:lnTo>
                    <a:pt x="15503" y="13693"/>
                  </a:lnTo>
                  <a:lnTo>
                    <a:pt x="15503" y="13693"/>
                  </a:lnTo>
                  <a:lnTo>
                    <a:pt x="15503" y="13693"/>
                  </a:lnTo>
                  <a:lnTo>
                    <a:pt x="15503" y="15495"/>
                  </a:lnTo>
                  <a:lnTo>
                    <a:pt x="14573" y="16216"/>
                  </a:lnTo>
                  <a:lnTo>
                    <a:pt x="14573" y="16216"/>
                  </a:lnTo>
                  <a:lnTo>
                    <a:pt x="13333" y="16936"/>
                  </a:lnTo>
                  <a:lnTo>
                    <a:pt x="11782" y="16936"/>
                  </a:lnTo>
                  <a:lnTo>
                    <a:pt x="11162" y="16936"/>
                  </a:lnTo>
                  <a:lnTo>
                    <a:pt x="10232" y="18018"/>
                  </a:lnTo>
                  <a:lnTo>
                    <a:pt x="10232" y="18738"/>
                  </a:lnTo>
                  <a:lnTo>
                    <a:pt x="9612" y="20540"/>
                  </a:lnTo>
                  <a:lnTo>
                    <a:pt x="8682" y="21261"/>
                  </a:lnTo>
                  <a:lnTo>
                    <a:pt x="7441" y="22342"/>
                  </a:lnTo>
                  <a:lnTo>
                    <a:pt x="7441" y="22342"/>
                  </a:lnTo>
                  <a:lnTo>
                    <a:pt x="5891" y="22342"/>
                  </a:lnTo>
                  <a:lnTo>
                    <a:pt x="4341" y="22342"/>
                  </a:lnTo>
                  <a:lnTo>
                    <a:pt x="3100" y="21261"/>
                  </a:lnTo>
                  <a:lnTo>
                    <a:pt x="2170" y="21261"/>
                  </a:lnTo>
                  <a:lnTo>
                    <a:pt x="930" y="21261"/>
                  </a:lnTo>
                  <a:lnTo>
                    <a:pt x="930" y="26306"/>
                  </a:lnTo>
                  <a:lnTo>
                    <a:pt x="930" y="27387"/>
                  </a:lnTo>
                  <a:lnTo>
                    <a:pt x="0" y="29909"/>
                  </a:lnTo>
                  <a:lnTo>
                    <a:pt x="0" y="30630"/>
                  </a:lnTo>
                  <a:lnTo>
                    <a:pt x="0" y="30630"/>
                  </a:lnTo>
                  <a:lnTo>
                    <a:pt x="0" y="30630"/>
                  </a:lnTo>
                  <a:lnTo>
                    <a:pt x="930" y="30630"/>
                  </a:lnTo>
                  <a:lnTo>
                    <a:pt x="2170" y="30630"/>
                  </a:lnTo>
                  <a:lnTo>
                    <a:pt x="3100" y="31711"/>
                  </a:lnTo>
                  <a:lnTo>
                    <a:pt x="4341" y="33153"/>
                  </a:lnTo>
                  <a:lnTo>
                    <a:pt x="5271" y="35675"/>
                  </a:lnTo>
                  <a:lnTo>
                    <a:pt x="6511" y="37477"/>
                  </a:lnTo>
                  <a:lnTo>
                    <a:pt x="7441" y="38198"/>
                  </a:lnTo>
                  <a:lnTo>
                    <a:pt x="8062" y="40000"/>
                  </a:lnTo>
                  <a:lnTo>
                    <a:pt x="8682" y="41081"/>
                  </a:lnTo>
                  <a:lnTo>
                    <a:pt x="9612" y="42522"/>
                  </a:lnTo>
                  <a:lnTo>
                    <a:pt x="11162" y="46126"/>
                  </a:lnTo>
                  <a:lnTo>
                    <a:pt x="11782" y="46846"/>
                  </a:lnTo>
                  <a:lnTo>
                    <a:pt x="12403" y="47567"/>
                  </a:lnTo>
                  <a:lnTo>
                    <a:pt x="12403" y="48648"/>
                  </a:lnTo>
                  <a:lnTo>
                    <a:pt x="13333" y="49369"/>
                  </a:lnTo>
                  <a:lnTo>
                    <a:pt x="13333" y="49369"/>
                  </a:lnTo>
                  <a:lnTo>
                    <a:pt x="14573" y="51891"/>
                  </a:lnTo>
                  <a:lnTo>
                    <a:pt x="15503" y="52972"/>
                  </a:lnTo>
                  <a:lnTo>
                    <a:pt x="15503" y="53693"/>
                  </a:lnTo>
                  <a:lnTo>
                    <a:pt x="15503" y="54414"/>
                  </a:lnTo>
                  <a:lnTo>
                    <a:pt x="15503" y="55495"/>
                  </a:lnTo>
                  <a:lnTo>
                    <a:pt x="15503" y="55495"/>
                  </a:lnTo>
                  <a:lnTo>
                    <a:pt x="16124" y="56936"/>
                  </a:lnTo>
                  <a:lnTo>
                    <a:pt x="16744" y="58738"/>
                  </a:lnTo>
                  <a:lnTo>
                    <a:pt x="17674" y="59819"/>
                  </a:lnTo>
                  <a:lnTo>
                    <a:pt x="18294" y="59819"/>
                  </a:lnTo>
                  <a:lnTo>
                    <a:pt x="18294" y="59819"/>
                  </a:lnTo>
                  <a:lnTo>
                    <a:pt x="18914" y="60540"/>
                  </a:lnTo>
                  <a:lnTo>
                    <a:pt x="19844" y="60540"/>
                  </a:lnTo>
                  <a:lnTo>
                    <a:pt x="19844" y="61261"/>
                  </a:lnTo>
                  <a:lnTo>
                    <a:pt x="20465" y="61261"/>
                  </a:lnTo>
                  <a:lnTo>
                    <a:pt x="22015" y="63063"/>
                  </a:lnTo>
                  <a:lnTo>
                    <a:pt x="22635" y="63783"/>
                  </a:lnTo>
                  <a:lnTo>
                    <a:pt x="23565" y="65585"/>
                  </a:lnTo>
                  <a:lnTo>
                    <a:pt x="24186" y="67387"/>
                  </a:lnTo>
                  <a:lnTo>
                    <a:pt x="24806" y="68108"/>
                  </a:lnTo>
                  <a:lnTo>
                    <a:pt x="24806" y="69189"/>
                  </a:lnTo>
                  <a:lnTo>
                    <a:pt x="24806" y="69909"/>
                  </a:lnTo>
                  <a:lnTo>
                    <a:pt x="25736" y="70630"/>
                  </a:lnTo>
                  <a:lnTo>
                    <a:pt x="25736" y="70630"/>
                  </a:lnTo>
                  <a:lnTo>
                    <a:pt x="25736" y="70630"/>
                  </a:lnTo>
                  <a:lnTo>
                    <a:pt x="26356" y="71711"/>
                  </a:lnTo>
                  <a:lnTo>
                    <a:pt x="26356" y="71711"/>
                  </a:lnTo>
                  <a:lnTo>
                    <a:pt x="26356" y="72432"/>
                  </a:lnTo>
                  <a:lnTo>
                    <a:pt x="26976" y="74234"/>
                  </a:lnTo>
                  <a:lnTo>
                    <a:pt x="26356" y="74954"/>
                  </a:lnTo>
                  <a:lnTo>
                    <a:pt x="26356" y="76036"/>
                  </a:lnTo>
                  <a:lnTo>
                    <a:pt x="26356" y="76756"/>
                  </a:lnTo>
                  <a:lnTo>
                    <a:pt x="26356" y="78558"/>
                  </a:lnTo>
                  <a:lnTo>
                    <a:pt x="26356" y="79279"/>
                  </a:lnTo>
                  <a:lnTo>
                    <a:pt x="26976" y="80000"/>
                  </a:lnTo>
                  <a:lnTo>
                    <a:pt x="26976" y="81081"/>
                  </a:lnTo>
                  <a:lnTo>
                    <a:pt x="26976" y="81801"/>
                  </a:lnTo>
                  <a:lnTo>
                    <a:pt x="26976" y="82522"/>
                  </a:lnTo>
                  <a:lnTo>
                    <a:pt x="27906" y="85405"/>
                  </a:lnTo>
                  <a:lnTo>
                    <a:pt x="29147" y="86846"/>
                  </a:lnTo>
                  <a:lnTo>
                    <a:pt x="30077" y="88648"/>
                  </a:lnTo>
                  <a:lnTo>
                    <a:pt x="30697" y="89369"/>
                  </a:lnTo>
                  <a:lnTo>
                    <a:pt x="31627" y="90450"/>
                  </a:lnTo>
                  <a:lnTo>
                    <a:pt x="32868" y="90450"/>
                  </a:lnTo>
                  <a:lnTo>
                    <a:pt x="35038" y="92972"/>
                  </a:lnTo>
                  <a:lnTo>
                    <a:pt x="35968" y="93693"/>
                  </a:lnTo>
                  <a:lnTo>
                    <a:pt x="36589" y="94774"/>
                  </a:lnTo>
                  <a:lnTo>
                    <a:pt x="37209" y="94774"/>
                  </a:lnTo>
                  <a:lnTo>
                    <a:pt x="37209" y="95495"/>
                  </a:lnTo>
                  <a:lnTo>
                    <a:pt x="37209" y="95495"/>
                  </a:lnTo>
                  <a:lnTo>
                    <a:pt x="38139" y="96216"/>
                  </a:lnTo>
                  <a:lnTo>
                    <a:pt x="38759" y="99819"/>
                  </a:lnTo>
                  <a:lnTo>
                    <a:pt x="39379" y="99819"/>
                  </a:lnTo>
                  <a:lnTo>
                    <a:pt x="39379" y="101261"/>
                  </a:lnTo>
                  <a:lnTo>
                    <a:pt x="39379" y="101261"/>
                  </a:lnTo>
                  <a:lnTo>
                    <a:pt x="39379" y="102342"/>
                  </a:lnTo>
                  <a:lnTo>
                    <a:pt x="40930" y="104144"/>
                  </a:lnTo>
                  <a:lnTo>
                    <a:pt x="41860" y="105585"/>
                  </a:lnTo>
                  <a:lnTo>
                    <a:pt x="42480" y="107387"/>
                  </a:lnTo>
                  <a:lnTo>
                    <a:pt x="43100" y="108108"/>
                  </a:lnTo>
                  <a:lnTo>
                    <a:pt x="44651" y="109909"/>
                  </a:lnTo>
                  <a:lnTo>
                    <a:pt x="46201" y="111711"/>
                  </a:lnTo>
                  <a:lnTo>
                    <a:pt x="46821" y="113513"/>
                  </a:lnTo>
                  <a:lnTo>
                    <a:pt x="46821" y="114234"/>
                  </a:lnTo>
                  <a:lnTo>
                    <a:pt x="47441" y="114954"/>
                  </a:lnTo>
                  <a:lnTo>
                    <a:pt x="47441" y="116036"/>
                  </a:lnTo>
                  <a:lnTo>
                    <a:pt x="47441" y="116036"/>
                  </a:lnTo>
                  <a:lnTo>
                    <a:pt x="48372" y="116756"/>
                  </a:lnTo>
                  <a:lnTo>
                    <a:pt x="48992" y="117477"/>
                  </a:lnTo>
                  <a:lnTo>
                    <a:pt x="48992" y="117477"/>
                  </a:lnTo>
                  <a:lnTo>
                    <a:pt x="48992" y="118558"/>
                  </a:lnTo>
                  <a:lnTo>
                    <a:pt x="48992" y="119279"/>
                  </a:lnTo>
                  <a:lnTo>
                    <a:pt x="49612" y="120000"/>
                  </a:lnTo>
                  <a:lnTo>
                    <a:pt x="50542" y="119279"/>
                  </a:lnTo>
                  <a:lnTo>
                    <a:pt x="50542" y="118558"/>
                  </a:lnTo>
                  <a:lnTo>
                    <a:pt x="51162" y="118558"/>
                  </a:lnTo>
                  <a:lnTo>
                    <a:pt x="51162" y="117477"/>
                  </a:lnTo>
                  <a:lnTo>
                    <a:pt x="51162" y="117477"/>
                  </a:lnTo>
                  <a:lnTo>
                    <a:pt x="51162" y="116756"/>
                  </a:lnTo>
                  <a:lnTo>
                    <a:pt x="51162" y="116756"/>
                  </a:lnTo>
                  <a:lnTo>
                    <a:pt x="51162" y="116756"/>
                  </a:lnTo>
                  <a:lnTo>
                    <a:pt x="51162" y="116036"/>
                  </a:lnTo>
                  <a:lnTo>
                    <a:pt x="51162" y="114954"/>
                  </a:lnTo>
                  <a:lnTo>
                    <a:pt x="51162" y="114234"/>
                  </a:lnTo>
                  <a:lnTo>
                    <a:pt x="51162" y="113513"/>
                  </a:lnTo>
                  <a:lnTo>
                    <a:pt x="52093" y="113513"/>
                  </a:lnTo>
                  <a:lnTo>
                    <a:pt x="52093" y="113513"/>
                  </a:lnTo>
                  <a:lnTo>
                    <a:pt x="51162" y="112432"/>
                  </a:lnTo>
                  <a:lnTo>
                    <a:pt x="51162" y="112432"/>
                  </a:lnTo>
                  <a:lnTo>
                    <a:pt x="52093" y="111711"/>
                  </a:lnTo>
                  <a:lnTo>
                    <a:pt x="52093" y="111711"/>
                  </a:lnTo>
                  <a:lnTo>
                    <a:pt x="52713" y="111711"/>
                  </a:lnTo>
                  <a:lnTo>
                    <a:pt x="52713" y="111711"/>
                  </a:lnTo>
                  <a:lnTo>
                    <a:pt x="53333" y="111711"/>
                  </a:lnTo>
                  <a:lnTo>
                    <a:pt x="53333" y="111711"/>
                  </a:lnTo>
                  <a:lnTo>
                    <a:pt x="54263" y="111711"/>
                  </a:lnTo>
                  <a:lnTo>
                    <a:pt x="54263" y="112432"/>
                  </a:lnTo>
                  <a:lnTo>
                    <a:pt x="54883" y="112432"/>
                  </a:lnTo>
                  <a:lnTo>
                    <a:pt x="55503" y="112432"/>
                  </a:lnTo>
                  <a:lnTo>
                    <a:pt x="55503" y="112432"/>
                  </a:lnTo>
                  <a:lnTo>
                    <a:pt x="55503" y="112432"/>
                  </a:lnTo>
                  <a:lnTo>
                    <a:pt x="56434" y="112432"/>
                  </a:lnTo>
                  <a:lnTo>
                    <a:pt x="56434" y="112432"/>
                  </a:lnTo>
                  <a:lnTo>
                    <a:pt x="57054" y="112432"/>
                  </a:lnTo>
                  <a:lnTo>
                    <a:pt x="57674" y="112432"/>
                  </a:lnTo>
                  <a:lnTo>
                    <a:pt x="59224" y="112432"/>
                  </a:lnTo>
                  <a:lnTo>
                    <a:pt x="59844" y="111711"/>
                  </a:lnTo>
                  <a:lnTo>
                    <a:pt x="61395" y="111711"/>
                  </a:lnTo>
                  <a:lnTo>
                    <a:pt x="62325" y="111711"/>
                  </a:lnTo>
                  <a:lnTo>
                    <a:pt x="62945" y="111711"/>
                  </a:lnTo>
                  <a:lnTo>
                    <a:pt x="62945" y="112432"/>
                  </a:lnTo>
                  <a:lnTo>
                    <a:pt x="64496" y="112432"/>
                  </a:lnTo>
                  <a:lnTo>
                    <a:pt x="65116" y="113513"/>
                  </a:lnTo>
                  <a:lnTo>
                    <a:pt x="66666" y="113513"/>
                  </a:lnTo>
                  <a:lnTo>
                    <a:pt x="67906" y="113513"/>
                  </a:lnTo>
                  <a:lnTo>
                    <a:pt x="69457" y="113513"/>
                  </a:lnTo>
                  <a:lnTo>
                    <a:pt x="70077" y="113513"/>
                  </a:lnTo>
                  <a:lnTo>
                    <a:pt x="71007" y="113513"/>
                  </a:lnTo>
                  <a:lnTo>
                    <a:pt x="71627" y="113513"/>
                  </a:lnTo>
                  <a:lnTo>
                    <a:pt x="71627" y="113513"/>
                  </a:lnTo>
                  <a:lnTo>
                    <a:pt x="72558" y="114954"/>
                  </a:lnTo>
                  <a:lnTo>
                    <a:pt x="73178" y="116036"/>
                  </a:lnTo>
                  <a:lnTo>
                    <a:pt x="73798" y="116036"/>
                  </a:lnTo>
                  <a:lnTo>
                    <a:pt x="74728" y="114954"/>
                  </a:lnTo>
                  <a:lnTo>
                    <a:pt x="75348" y="114954"/>
                  </a:lnTo>
                  <a:lnTo>
                    <a:pt x="75348" y="114234"/>
                  </a:lnTo>
                  <a:lnTo>
                    <a:pt x="75968" y="112432"/>
                  </a:lnTo>
                  <a:lnTo>
                    <a:pt x="75968" y="111711"/>
                  </a:lnTo>
                  <a:lnTo>
                    <a:pt x="76899" y="110630"/>
                  </a:lnTo>
                  <a:lnTo>
                    <a:pt x="77519" y="109909"/>
                  </a:lnTo>
                  <a:lnTo>
                    <a:pt x="78139" y="108108"/>
                  </a:lnTo>
                  <a:lnTo>
                    <a:pt x="79069" y="108108"/>
                  </a:lnTo>
                  <a:lnTo>
                    <a:pt x="79689" y="106666"/>
                  </a:lnTo>
                  <a:lnTo>
                    <a:pt x="80310" y="105585"/>
                  </a:lnTo>
                  <a:lnTo>
                    <a:pt x="81860" y="104864"/>
                  </a:lnTo>
                  <a:lnTo>
                    <a:pt x="83410" y="104144"/>
                  </a:lnTo>
                  <a:lnTo>
                    <a:pt x="84031" y="103063"/>
                  </a:lnTo>
                  <a:lnTo>
                    <a:pt x="84961" y="103063"/>
                  </a:lnTo>
                  <a:lnTo>
                    <a:pt x="86201" y="102342"/>
                  </a:lnTo>
                  <a:lnTo>
                    <a:pt x="88372" y="102342"/>
                  </a:lnTo>
                  <a:lnTo>
                    <a:pt x="89922" y="102342"/>
                  </a:lnTo>
                  <a:lnTo>
                    <a:pt x="91472" y="101261"/>
                  </a:lnTo>
                  <a:lnTo>
                    <a:pt x="93643" y="101261"/>
                  </a:lnTo>
                  <a:lnTo>
                    <a:pt x="95193" y="101261"/>
                  </a:lnTo>
                  <a:lnTo>
                    <a:pt x="96434" y="100540"/>
                  </a:lnTo>
                  <a:lnTo>
                    <a:pt x="97984" y="100540"/>
                  </a:lnTo>
                  <a:lnTo>
                    <a:pt x="99534" y="100540"/>
                  </a:lnTo>
                  <a:lnTo>
                    <a:pt x="100775" y="99819"/>
                  </a:lnTo>
                  <a:lnTo>
                    <a:pt x="101705" y="99819"/>
                  </a:lnTo>
                  <a:lnTo>
                    <a:pt x="102325" y="98738"/>
                  </a:lnTo>
                  <a:lnTo>
                    <a:pt x="103255" y="98738"/>
                  </a:lnTo>
                  <a:lnTo>
                    <a:pt x="104496" y="98018"/>
                  </a:lnTo>
                  <a:lnTo>
                    <a:pt x="105426" y="98018"/>
                  </a:lnTo>
                  <a:lnTo>
                    <a:pt x="106046" y="97297"/>
                  </a:lnTo>
                  <a:lnTo>
                    <a:pt x="107596" y="97297"/>
                  </a:lnTo>
                  <a:lnTo>
                    <a:pt x="108217" y="96216"/>
                  </a:lnTo>
                  <a:lnTo>
                    <a:pt x="108837" y="96216"/>
                  </a:lnTo>
                  <a:lnTo>
                    <a:pt x="110387" y="95495"/>
                  </a:lnTo>
                  <a:lnTo>
                    <a:pt x="111007" y="95495"/>
                  </a:lnTo>
                  <a:lnTo>
                    <a:pt x="111937" y="94774"/>
                  </a:lnTo>
                  <a:lnTo>
                    <a:pt x="112558" y="94774"/>
                  </a:lnTo>
                  <a:lnTo>
                    <a:pt x="114108" y="93693"/>
                  </a:lnTo>
                  <a:lnTo>
                    <a:pt x="114728" y="93693"/>
                  </a:lnTo>
                  <a:lnTo>
                    <a:pt x="115658" y="92972"/>
                  </a:lnTo>
                  <a:lnTo>
                    <a:pt x="116899" y="92972"/>
                  </a:lnTo>
                  <a:lnTo>
                    <a:pt x="116899" y="92972"/>
                  </a:lnTo>
                  <a:lnTo>
                    <a:pt x="117829" y="91171"/>
                  </a:lnTo>
                  <a:lnTo>
                    <a:pt x="117829" y="90450"/>
                  </a:lnTo>
                  <a:lnTo>
                    <a:pt x="117829" y="89369"/>
                  </a:lnTo>
                  <a:lnTo>
                    <a:pt x="117829" y="88648"/>
                  </a:lnTo>
                  <a:lnTo>
                    <a:pt x="118449" y="87927"/>
                  </a:lnTo>
                  <a:lnTo>
                    <a:pt x="118449" y="86846"/>
                  </a:lnTo>
                  <a:lnTo>
                    <a:pt x="118449" y="86126"/>
                  </a:lnTo>
                  <a:lnTo>
                    <a:pt x="118449" y="85405"/>
                  </a:lnTo>
                  <a:lnTo>
                    <a:pt x="118449" y="84324"/>
                  </a:lnTo>
                  <a:lnTo>
                    <a:pt x="119069" y="83603"/>
                  </a:lnTo>
                  <a:lnTo>
                    <a:pt x="119069" y="82522"/>
                  </a:lnTo>
                  <a:lnTo>
                    <a:pt x="119069" y="81801"/>
                  </a:lnTo>
                  <a:lnTo>
                    <a:pt x="120000" y="80000"/>
                  </a:lnTo>
                  <a:lnTo>
                    <a:pt x="120000" y="79279"/>
                  </a:lnTo>
                  <a:lnTo>
                    <a:pt x="120000" y="78558"/>
                  </a:lnTo>
                  <a:lnTo>
                    <a:pt x="120000" y="78558"/>
                  </a:lnTo>
                  <a:lnTo>
                    <a:pt x="120000" y="77477"/>
                  </a:lnTo>
                  <a:lnTo>
                    <a:pt x="120000" y="76756"/>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80" name="Shape 380"/>
            <p:cNvSpPr/>
            <p:nvPr/>
          </p:nvSpPr>
          <p:spPr>
            <a:xfrm>
              <a:off x="2524" y="2526"/>
              <a:ext cx="0" cy="0"/>
            </a:xfrm>
            <a:custGeom>
              <a:avLst/>
              <a:gdLst/>
              <a:ahLst/>
              <a:cxnLst/>
              <a:rect l="0" t="0" r="0" b="0"/>
              <a:pathLst>
                <a:path w="120000" h="120000" extrusionOk="0">
                  <a:moveTo>
                    <a:pt x="120000" y="0"/>
                  </a:moveTo>
                  <a:lnTo>
                    <a:pt x="120000" y="0"/>
                  </a:lnTo>
                  <a:lnTo>
                    <a:pt x="0" y="0"/>
                  </a:lnTo>
                  <a:lnTo>
                    <a:pt x="0" y="0"/>
                  </a:lnTo>
                  <a:lnTo>
                    <a:pt x="0" y="72000"/>
                  </a:lnTo>
                  <a:lnTo>
                    <a:pt x="0" y="120000"/>
                  </a:lnTo>
                  <a:lnTo>
                    <a:pt x="120000" y="120000"/>
                  </a:lnTo>
                  <a:lnTo>
                    <a:pt x="120000" y="72000"/>
                  </a:lnTo>
                  <a:lnTo>
                    <a:pt x="120000" y="0"/>
                  </a:lnTo>
                  <a:lnTo>
                    <a:pt x="120000" y="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81" name="Shape 381"/>
            <p:cNvSpPr/>
            <p:nvPr/>
          </p:nvSpPr>
          <p:spPr>
            <a:xfrm>
              <a:off x="2529" y="2510"/>
              <a:ext cx="0" cy="0"/>
            </a:xfrm>
            <a:custGeom>
              <a:avLst/>
              <a:gdLst/>
              <a:ahLst/>
              <a:cxnLst/>
              <a:rect l="0" t="0" r="0" b="0"/>
              <a:pathLst>
                <a:path w="120000" h="120000" extrusionOk="0">
                  <a:moveTo>
                    <a:pt x="60000" y="0"/>
                  </a:moveTo>
                  <a:lnTo>
                    <a:pt x="60000" y="0"/>
                  </a:lnTo>
                  <a:lnTo>
                    <a:pt x="60000" y="26666"/>
                  </a:lnTo>
                  <a:lnTo>
                    <a:pt x="0" y="53333"/>
                  </a:lnTo>
                  <a:lnTo>
                    <a:pt x="0" y="53333"/>
                  </a:lnTo>
                  <a:lnTo>
                    <a:pt x="0" y="93333"/>
                  </a:lnTo>
                  <a:lnTo>
                    <a:pt x="60000" y="120000"/>
                  </a:lnTo>
                  <a:lnTo>
                    <a:pt x="60000" y="93333"/>
                  </a:lnTo>
                  <a:lnTo>
                    <a:pt x="120000" y="26666"/>
                  </a:lnTo>
                  <a:lnTo>
                    <a:pt x="60000" y="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82" name="Shape 382"/>
            <p:cNvSpPr/>
            <p:nvPr/>
          </p:nvSpPr>
          <p:spPr>
            <a:xfrm>
              <a:off x="5131" y="2600"/>
              <a:ext cx="0" cy="0"/>
            </a:xfrm>
            <a:custGeom>
              <a:avLst/>
              <a:gdLst/>
              <a:ahLst/>
              <a:cxnLst/>
              <a:rect l="0" t="0" r="0" b="0"/>
              <a:pathLst>
                <a:path w="120000" h="120000" extrusionOk="0">
                  <a:moveTo>
                    <a:pt x="120000" y="79024"/>
                  </a:moveTo>
                  <a:lnTo>
                    <a:pt x="120000" y="76097"/>
                  </a:lnTo>
                  <a:lnTo>
                    <a:pt x="120000" y="71707"/>
                  </a:lnTo>
                  <a:lnTo>
                    <a:pt x="111000" y="68780"/>
                  </a:lnTo>
                  <a:lnTo>
                    <a:pt x="111000" y="65853"/>
                  </a:lnTo>
                  <a:lnTo>
                    <a:pt x="111000" y="65853"/>
                  </a:lnTo>
                  <a:lnTo>
                    <a:pt x="111000" y="65853"/>
                  </a:lnTo>
                  <a:lnTo>
                    <a:pt x="111000" y="65853"/>
                  </a:lnTo>
                  <a:lnTo>
                    <a:pt x="99000" y="54146"/>
                  </a:lnTo>
                  <a:lnTo>
                    <a:pt x="90000" y="51219"/>
                  </a:lnTo>
                  <a:lnTo>
                    <a:pt x="90000" y="51219"/>
                  </a:lnTo>
                  <a:lnTo>
                    <a:pt x="90000" y="43902"/>
                  </a:lnTo>
                  <a:lnTo>
                    <a:pt x="90000" y="40975"/>
                  </a:lnTo>
                  <a:lnTo>
                    <a:pt x="84000" y="40975"/>
                  </a:lnTo>
                  <a:lnTo>
                    <a:pt x="84000" y="40975"/>
                  </a:lnTo>
                  <a:lnTo>
                    <a:pt x="84000" y="40975"/>
                  </a:lnTo>
                  <a:lnTo>
                    <a:pt x="84000" y="38048"/>
                  </a:lnTo>
                  <a:lnTo>
                    <a:pt x="84000" y="38048"/>
                  </a:lnTo>
                  <a:lnTo>
                    <a:pt x="69000" y="27804"/>
                  </a:lnTo>
                  <a:lnTo>
                    <a:pt x="69000" y="27804"/>
                  </a:lnTo>
                  <a:lnTo>
                    <a:pt x="63000" y="27804"/>
                  </a:lnTo>
                  <a:lnTo>
                    <a:pt x="63000" y="23414"/>
                  </a:lnTo>
                  <a:lnTo>
                    <a:pt x="63000" y="23414"/>
                  </a:lnTo>
                  <a:lnTo>
                    <a:pt x="48000" y="13170"/>
                  </a:lnTo>
                  <a:lnTo>
                    <a:pt x="33000" y="5853"/>
                  </a:lnTo>
                  <a:lnTo>
                    <a:pt x="27000" y="2926"/>
                  </a:lnTo>
                  <a:lnTo>
                    <a:pt x="21000" y="0"/>
                  </a:lnTo>
                  <a:lnTo>
                    <a:pt x="12000" y="0"/>
                  </a:lnTo>
                  <a:lnTo>
                    <a:pt x="6000" y="0"/>
                  </a:lnTo>
                  <a:lnTo>
                    <a:pt x="6000" y="2926"/>
                  </a:lnTo>
                  <a:lnTo>
                    <a:pt x="6000" y="2926"/>
                  </a:lnTo>
                  <a:lnTo>
                    <a:pt x="12000" y="2926"/>
                  </a:lnTo>
                  <a:lnTo>
                    <a:pt x="12000" y="5853"/>
                  </a:lnTo>
                  <a:lnTo>
                    <a:pt x="27000" y="5853"/>
                  </a:lnTo>
                  <a:lnTo>
                    <a:pt x="33000" y="10243"/>
                  </a:lnTo>
                  <a:lnTo>
                    <a:pt x="33000" y="10243"/>
                  </a:lnTo>
                  <a:lnTo>
                    <a:pt x="33000" y="10243"/>
                  </a:lnTo>
                  <a:lnTo>
                    <a:pt x="27000" y="13170"/>
                  </a:lnTo>
                  <a:lnTo>
                    <a:pt x="27000" y="10243"/>
                  </a:lnTo>
                  <a:lnTo>
                    <a:pt x="21000" y="10243"/>
                  </a:lnTo>
                  <a:lnTo>
                    <a:pt x="12000" y="10243"/>
                  </a:lnTo>
                  <a:lnTo>
                    <a:pt x="21000" y="13170"/>
                  </a:lnTo>
                  <a:lnTo>
                    <a:pt x="21000" y="16097"/>
                  </a:lnTo>
                  <a:lnTo>
                    <a:pt x="21000" y="20487"/>
                  </a:lnTo>
                  <a:lnTo>
                    <a:pt x="12000" y="23414"/>
                  </a:lnTo>
                  <a:lnTo>
                    <a:pt x="6000" y="30731"/>
                  </a:lnTo>
                  <a:lnTo>
                    <a:pt x="6000" y="30731"/>
                  </a:lnTo>
                  <a:lnTo>
                    <a:pt x="12000" y="33658"/>
                  </a:lnTo>
                  <a:lnTo>
                    <a:pt x="12000" y="33658"/>
                  </a:lnTo>
                  <a:lnTo>
                    <a:pt x="6000" y="43902"/>
                  </a:lnTo>
                  <a:lnTo>
                    <a:pt x="6000" y="48292"/>
                  </a:lnTo>
                  <a:lnTo>
                    <a:pt x="6000" y="54146"/>
                  </a:lnTo>
                  <a:lnTo>
                    <a:pt x="6000" y="54146"/>
                  </a:lnTo>
                  <a:lnTo>
                    <a:pt x="0" y="54146"/>
                  </a:lnTo>
                  <a:lnTo>
                    <a:pt x="0" y="48292"/>
                  </a:lnTo>
                  <a:lnTo>
                    <a:pt x="0" y="51219"/>
                  </a:lnTo>
                  <a:lnTo>
                    <a:pt x="0" y="54146"/>
                  </a:lnTo>
                  <a:lnTo>
                    <a:pt x="6000" y="61463"/>
                  </a:lnTo>
                  <a:lnTo>
                    <a:pt x="6000" y="68780"/>
                  </a:lnTo>
                  <a:lnTo>
                    <a:pt x="12000" y="92195"/>
                  </a:lnTo>
                  <a:lnTo>
                    <a:pt x="12000" y="99512"/>
                  </a:lnTo>
                  <a:lnTo>
                    <a:pt x="21000" y="106829"/>
                  </a:lnTo>
                  <a:lnTo>
                    <a:pt x="27000" y="114146"/>
                  </a:lnTo>
                  <a:lnTo>
                    <a:pt x="33000" y="117073"/>
                  </a:lnTo>
                  <a:lnTo>
                    <a:pt x="48000" y="120000"/>
                  </a:lnTo>
                  <a:lnTo>
                    <a:pt x="63000" y="120000"/>
                  </a:lnTo>
                  <a:lnTo>
                    <a:pt x="78000" y="117073"/>
                  </a:lnTo>
                  <a:lnTo>
                    <a:pt x="90000" y="114146"/>
                  </a:lnTo>
                  <a:lnTo>
                    <a:pt x="99000" y="109756"/>
                  </a:lnTo>
                  <a:lnTo>
                    <a:pt x="111000" y="106829"/>
                  </a:lnTo>
                  <a:lnTo>
                    <a:pt x="111000" y="103902"/>
                  </a:lnTo>
                  <a:lnTo>
                    <a:pt x="120000" y="99512"/>
                  </a:lnTo>
                  <a:lnTo>
                    <a:pt x="120000" y="96585"/>
                  </a:lnTo>
                  <a:lnTo>
                    <a:pt x="120000" y="89268"/>
                  </a:lnTo>
                  <a:lnTo>
                    <a:pt x="120000" y="86341"/>
                  </a:lnTo>
                  <a:lnTo>
                    <a:pt x="120000" y="79024"/>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83" name="Shape 383"/>
            <p:cNvSpPr/>
            <p:nvPr/>
          </p:nvSpPr>
          <p:spPr>
            <a:xfrm>
              <a:off x="3515" y="1886"/>
              <a:ext cx="300" cy="300"/>
            </a:xfrm>
            <a:custGeom>
              <a:avLst/>
              <a:gdLst/>
              <a:ahLst/>
              <a:cxnLst/>
              <a:rect l="0" t="0" r="0" b="0"/>
              <a:pathLst>
                <a:path w="120000" h="120000" extrusionOk="0">
                  <a:moveTo>
                    <a:pt x="118867" y="60000"/>
                  </a:moveTo>
                  <a:lnTo>
                    <a:pt x="118867" y="60000"/>
                  </a:lnTo>
                  <a:lnTo>
                    <a:pt x="117735" y="60000"/>
                  </a:lnTo>
                  <a:lnTo>
                    <a:pt x="117735" y="60000"/>
                  </a:lnTo>
                  <a:lnTo>
                    <a:pt x="117735" y="60000"/>
                  </a:lnTo>
                  <a:lnTo>
                    <a:pt x="117735" y="60000"/>
                  </a:lnTo>
                  <a:lnTo>
                    <a:pt x="117735" y="58500"/>
                  </a:lnTo>
                  <a:lnTo>
                    <a:pt x="117735" y="58500"/>
                  </a:lnTo>
                  <a:lnTo>
                    <a:pt x="117735" y="58500"/>
                  </a:lnTo>
                  <a:lnTo>
                    <a:pt x="117735" y="58500"/>
                  </a:lnTo>
                  <a:lnTo>
                    <a:pt x="117735" y="58500"/>
                  </a:lnTo>
                  <a:lnTo>
                    <a:pt x="114905" y="58500"/>
                  </a:lnTo>
                  <a:lnTo>
                    <a:pt x="113773" y="60000"/>
                  </a:lnTo>
                  <a:lnTo>
                    <a:pt x="109245" y="63750"/>
                  </a:lnTo>
                  <a:lnTo>
                    <a:pt x="109245" y="63750"/>
                  </a:lnTo>
                  <a:lnTo>
                    <a:pt x="109245" y="63750"/>
                  </a:lnTo>
                  <a:lnTo>
                    <a:pt x="109245" y="65250"/>
                  </a:lnTo>
                  <a:lnTo>
                    <a:pt x="110943" y="65250"/>
                  </a:lnTo>
                  <a:lnTo>
                    <a:pt x="110943" y="63750"/>
                  </a:lnTo>
                  <a:lnTo>
                    <a:pt x="112075" y="63750"/>
                  </a:lnTo>
                  <a:lnTo>
                    <a:pt x="112075" y="63750"/>
                  </a:lnTo>
                  <a:lnTo>
                    <a:pt x="113773" y="65250"/>
                  </a:lnTo>
                  <a:lnTo>
                    <a:pt x="113773" y="66750"/>
                  </a:lnTo>
                  <a:lnTo>
                    <a:pt x="113773" y="66750"/>
                  </a:lnTo>
                  <a:lnTo>
                    <a:pt x="114905" y="66750"/>
                  </a:lnTo>
                  <a:lnTo>
                    <a:pt x="116037" y="69000"/>
                  </a:lnTo>
                  <a:lnTo>
                    <a:pt x="116037" y="66750"/>
                  </a:lnTo>
                  <a:lnTo>
                    <a:pt x="117735" y="66750"/>
                  </a:lnTo>
                  <a:lnTo>
                    <a:pt x="118867" y="65250"/>
                  </a:lnTo>
                  <a:lnTo>
                    <a:pt x="118867" y="63750"/>
                  </a:lnTo>
                  <a:lnTo>
                    <a:pt x="118867" y="63750"/>
                  </a:lnTo>
                  <a:lnTo>
                    <a:pt x="120000" y="61500"/>
                  </a:lnTo>
                  <a:lnTo>
                    <a:pt x="120000" y="60000"/>
                  </a:lnTo>
                  <a:lnTo>
                    <a:pt x="118867" y="60000"/>
                  </a:lnTo>
                  <a:close/>
                  <a:moveTo>
                    <a:pt x="116037" y="31500"/>
                  </a:moveTo>
                  <a:lnTo>
                    <a:pt x="117735" y="30000"/>
                  </a:lnTo>
                  <a:lnTo>
                    <a:pt x="118867" y="27750"/>
                  </a:lnTo>
                  <a:lnTo>
                    <a:pt x="118867" y="26250"/>
                  </a:lnTo>
                  <a:lnTo>
                    <a:pt x="118867" y="26250"/>
                  </a:lnTo>
                  <a:lnTo>
                    <a:pt x="117735" y="24750"/>
                  </a:lnTo>
                  <a:lnTo>
                    <a:pt x="117735" y="24750"/>
                  </a:lnTo>
                  <a:lnTo>
                    <a:pt x="117735" y="22500"/>
                  </a:lnTo>
                  <a:lnTo>
                    <a:pt x="118867" y="22500"/>
                  </a:lnTo>
                  <a:lnTo>
                    <a:pt x="118867" y="22500"/>
                  </a:lnTo>
                  <a:lnTo>
                    <a:pt x="118867" y="22500"/>
                  </a:lnTo>
                  <a:lnTo>
                    <a:pt x="118867" y="21000"/>
                  </a:lnTo>
                  <a:lnTo>
                    <a:pt x="118867" y="21000"/>
                  </a:lnTo>
                  <a:lnTo>
                    <a:pt x="117735" y="21000"/>
                  </a:lnTo>
                  <a:lnTo>
                    <a:pt x="117735" y="21000"/>
                  </a:lnTo>
                  <a:lnTo>
                    <a:pt x="116037" y="19500"/>
                  </a:lnTo>
                  <a:lnTo>
                    <a:pt x="116037" y="21000"/>
                  </a:lnTo>
                  <a:lnTo>
                    <a:pt x="114905" y="21000"/>
                  </a:lnTo>
                  <a:lnTo>
                    <a:pt x="114905" y="21000"/>
                  </a:lnTo>
                  <a:lnTo>
                    <a:pt x="113773" y="21000"/>
                  </a:lnTo>
                  <a:lnTo>
                    <a:pt x="113773" y="21000"/>
                  </a:lnTo>
                  <a:lnTo>
                    <a:pt x="113773" y="21000"/>
                  </a:lnTo>
                  <a:lnTo>
                    <a:pt x="113773" y="22500"/>
                  </a:lnTo>
                  <a:lnTo>
                    <a:pt x="112075" y="22500"/>
                  </a:lnTo>
                  <a:lnTo>
                    <a:pt x="110943" y="21000"/>
                  </a:lnTo>
                  <a:lnTo>
                    <a:pt x="109245" y="21000"/>
                  </a:lnTo>
                  <a:lnTo>
                    <a:pt x="108113" y="21000"/>
                  </a:lnTo>
                  <a:lnTo>
                    <a:pt x="106981" y="21000"/>
                  </a:lnTo>
                  <a:lnTo>
                    <a:pt x="106981" y="21000"/>
                  </a:lnTo>
                  <a:lnTo>
                    <a:pt x="106981" y="21000"/>
                  </a:lnTo>
                  <a:lnTo>
                    <a:pt x="106981" y="21000"/>
                  </a:lnTo>
                  <a:lnTo>
                    <a:pt x="105283" y="21000"/>
                  </a:lnTo>
                  <a:lnTo>
                    <a:pt x="104150" y="19500"/>
                  </a:lnTo>
                  <a:lnTo>
                    <a:pt x="104150" y="19500"/>
                  </a:lnTo>
                  <a:lnTo>
                    <a:pt x="103018" y="21000"/>
                  </a:lnTo>
                  <a:lnTo>
                    <a:pt x="103018" y="21000"/>
                  </a:lnTo>
                  <a:lnTo>
                    <a:pt x="101320" y="21000"/>
                  </a:lnTo>
                  <a:lnTo>
                    <a:pt x="101320" y="21000"/>
                  </a:lnTo>
                  <a:lnTo>
                    <a:pt x="101320" y="21000"/>
                  </a:lnTo>
                  <a:lnTo>
                    <a:pt x="101320" y="19500"/>
                  </a:lnTo>
                  <a:lnTo>
                    <a:pt x="101320" y="19500"/>
                  </a:lnTo>
                  <a:lnTo>
                    <a:pt x="101320" y="19500"/>
                  </a:lnTo>
                  <a:lnTo>
                    <a:pt x="101320" y="17250"/>
                  </a:lnTo>
                  <a:lnTo>
                    <a:pt x="101320" y="17250"/>
                  </a:lnTo>
                  <a:lnTo>
                    <a:pt x="100188" y="15750"/>
                  </a:lnTo>
                  <a:lnTo>
                    <a:pt x="100188" y="15750"/>
                  </a:lnTo>
                  <a:lnTo>
                    <a:pt x="99056" y="15750"/>
                  </a:lnTo>
                  <a:lnTo>
                    <a:pt x="97358" y="15750"/>
                  </a:lnTo>
                  <a:lnTo>
                    <a:pt x="95094" y="13500"/>
                  </a:lnTo>
                  <a:lnTo>
                    <a:pt x="95094" y="13500"/>
                  </a:lnTo>
                  <a:lnTo>
                    <a:pt x="95094" y="13500"/>
                  </a:lnTo>
                  <a:lnTo>
                    <a:pt x="95094" y="15750"/>
                  </a:lnTo>
                  <a:lnTo>
                    <a:pt x="93396" y="15750"/>
                  </a:lnTo>
                  <a:lnTo>
                    <a:pt x="93396" y="17250"/>
                  </a:lnTo>
                  <a:lnTo>
                    <a:pt x="93396" y="17250"/>
                  </a:lnTo>
                  <a:lnTo>
                    <a:pt x="92264" y="15750"/>
                  </a:lnTo>
                  <a:lnTo>
                    <a:pt x="90566" y="17250"/>
                  </a:lnTo>
                  <a:lnTo>
                    <a:pt x="90566" y="17250"/>
                  </a:lnTo>
                  <a:lnTo>
                    <a:pt x="89433" y="15750"/>
                  </a:lnTo>
                  <a:lnTo>
                    <a:pt x="88301" y="17250"/>
                  </a:lnTo>
                  <a:lnTo>
                    <a:pt x="86603" y="15750"/>
                  </a:lnTo>
                  <a:lnTo>
                    <a:pt x="86603" y="15750"/>
                  </a:lnTo>
                  <a:lnTo>
                    <a:pt x="85471" y="15750"/>
                  </a:lnTo>
                  <a:lnTo>
                    <a:pt x="85471" y="15750"/>
                  </a:lnTo>
                  <a:lnTo>
                    <a:pt x="85471" y="13500"/>
                  </a:lnTo>
                  <a:lnTo>
                    <a:pt x="85471" y="13500"/>
                  </a:lnTo>
                  <a:lnTo>
                    <a:pt x="84339" y="15750"/>
                  </a:lnTo>
                  <a:lnTo>
                    <a:pt x="82641" y="15750"/>
                  </a:lnTo>
                  <a:lnTo>
                    <a:pt x="82641" y="15750"/>
                  </a:lnTo>
                  <a:lnTo>
                    <a:pt x="82641" y="15750"/>
                  </a:lnTo>
                  <a:lnTo>
                    <a:pt x="81509" y="13500"/>
                  </a:lnTo>
                  <a:lnTo>
                    <a:pt x="81509" y="12000"/>
                  </a:lnTo>
                  <a:lnTo>
                    <a:pt x="80377" y="12000"/>
                  </a:lnTo>
                  <a:lnTo>
                    <a:pt x="78679" y="12000"/>
                  </a:lnTo>
                  <a:lnTo>
                    <a:pt x="77547" y="12000"/>
                  </a:lnTo>
                  <a:lnTo>
                    <a:pt x="76415" y="10500"/>
                  </a:lnTo>
                  <a:lnTo>
                    <a:pt x="76415" y="10500"/>
                  </a:lnTo>
                  <a:lnTo>
                    <a:pt x="76415" y="10500"/>
                  </a:lnTo>
                  <a:lnTo>
                    <a:pt x="76415" y="10500"/>
                  </a:lnTo>
                  <a:lnTo>
                    <a:pt x="74716" y="10500"/>
                  </a:lnTo>
                  <a:lnTo>
                    <a:pt x="74716" y="12000"/>
                  </a:lnTo>
                  <a:lnTo>
                    <a:pt x="74716" y="12000"/>
                  </a:lnTo>
                  <a:lnTo>
                    <a:pt x="74716" y="12000"/>
                  </a:lnTo>
                  <a:lnTo>
                    <a:pt x="74716" y="10500"/>
                  </a:lnTo>
                  <a:lnTo>
                    <a:pt x="73584" y="10500"/>
                  </a:lnTo>
                  <a:lnTo>
                    <a:pt x="74716" y="10500"/>
                  </a:lnTo>
                  <a:lnTo>
                    <a:pt x="74716" y="10500"/>
                  </a:lnTo>
                  <a:lnTo>
                    <a:pt x="74716" y="8250"/>
                  </a:lnTo>
                  <a:lnTo>
                    <a:pt x="74716" y="8250"/>
                  </a:lnTo>
                  <a:lnTo>
                    <a:pt x="74716" y="8250"/>
                  </a:lnTo>
                  <a:lnTo>
                    <a:pt x="73584" y="6750"/>
                  </a:lnTo>
                  <a:lnTo>
                    <a:pt x="73584" y="6750"/>
                  </a:lnTo>
                  <a:lnTo>
                    <a:pt x="71886" y="6750"/>
                  </a:lnTo>
                  <a:lnTo>
                    <a:pt x="71886" y="6750"/>
                  </a:lnTo>
                  <a:lnTo>
                    <a:pt x="70754" y="6750"/>
                  </a:lnTo>
                  <a:lnTo>
                    <a:pt x="70754" y="5250"/>
                  </a:lnTo>
                  <a:lnTo>
                    <a:pt x="70754" y="5250"/>
                  </a:lnTo>
                  <a:lnTo>
                    <a:pt x="69622" y="6750"/>
                  </a:lnTo>
                  <a:lnTo>
                    <a:pt x="66792" y="6750"/>
                  </a:lnTo>
                  <a:lnTo>
                    <a:pt x="65660" y="6750"/>
                  </a:lnTo>
                  <a:lnTo>
                    <a:pt x="63962" y="5250"/>
                  </a:lnTo>
                  <a:lnTo>
                    <a:pt x="61698" y="5250"/>
                  </a:lnTo>
                  <a:lnTo>
                    <a:pt x="60000" y="5250"/>
                  </a:lnTo>
                  <a:lnTo>
                    <a:pt x="58867" y="6750"/>
                  </a:lnTo>
                  <a:lnTo>
                    <a:pt x="56037" y="5250"/>
                  </a:lnTo>
                  <a:lnTo>
                    <a:pt x="54905" y="3000"/>
                  </a:lnTo>
                  <a:lnTo>
                    <a:pt x="54905" y="3000"/>
                  </a:lnTo>
                  <a:lnTo>
                    <a:pt x="52075" y="5250"/>
                  </a:lnTo>
                  <a:lnTo>
                    <a:pt x="52075" y="5250"/>
                  </a:lnTo>
                  <a:lnTo>
                    <a:pt x="50943" y="5250"/>
                  </a:lnTo>
                  <a:lnTo>
                    <a:pt x="46981" y="5250"/>
                  </a:lnTo>
                  <a:lnTo>
                    <a:pt x="45283" y="5250"/>
                  </a:lnTo>
                  <a:lnTo>
                    <a:pt x="40188" y="5250"/>
                  </a:lnTo>
                  <a:lnTo>
                    <a:pt x="37358" y="3000"/>
                  </a:lnTo>
                  <a:lnTo>
                    <a:pt x="35094" y="3000"/>
                  </a:lnTo>
                  <a:lnTo>
                    <a:pt x="33396" y="1500"/>
                  </a:lnTo>
                  <a:lnTo>
                    <a:pt x="30566" y="3000"/>
                  </a:lnTo>
                  <a:lnTo>
                    <a:pt x="29433" y="3000"/>
                  </a:lnTo>
                  <a:lnTo>
                    <a:pt x="26603" y="3000"/>
                  </a:lnTo>
                  <a:lnTo>
                    <a:pt x="25471" y="3000"/>
                  </a:lnTo>
                  <a:lnTo>
                    <a:pt x="22641" y="3000"/>
                  </a:lnTo>
                  <a:lnTo>
                    <a:pt x="21509" y="3000"/>
                  </a:lnTo>
                  <a:lnTo>
                    <a:pt x="20377" y="3000"/>
                  </a:lnTo>
                  <a:lnTo>
                    <a:pt x="18679" y="1500"/>
                  </a:lnTo>
                  <a:lnTo>
                    <a:pt x="17547" y="1500"/>
                  </a:lnTo>
                  <a:lnTo>
                    <a:pt x="16415" y="1500"/>
                  </a:lnTo>
                  <a:lnTo>
                    <a:pt x="16415" y="0"/>
                  </a:lnTo>
                  <a:lnTo>
                    <a:pt x="13584" y="1500"/>
                  </a:lnTo>
                  <a:lnTo>
                    <a:pt x="11886" y="1500"/>
                  </a:lnTo>
                  <a:lnTo>
                    <a:pt x="10754" y="1500"/>
                  </a:lnTo>
                  <a:lnTo>
                    <a:pt x="9622" y="3000"/>
                  </a:lnTo>
                  <a:lnTo>
                    <a:pt x="9622" y="3000"/>
                  </a:lnTo>
                  <a:lnTo>
                    <a:pt x="9622" y="5250"/>
                  </a:lnTo>
                  <a:lnTo>
                    <a:pt x="9622" y="5250"/>
                  </a:lnTo>
                  <a:lnTo>
                    <a:pt x="9622" y="5250"/>
                  </a:lnTo>
                  <a:lnTo>
                    <a:pt x="7924" y="6750"/>
                  </a:lnTo>
                  <a:lnTo>
                    <a:pt x="6792" y="6750"/>
                  </a:lnTo>
                  <a:lnTo>
                    <a:pt x="5660" y="6750"/>
                  </a:lnTo>
                  <a:lnTo>
                    <a:pt x="3962" y="6750"/>
                  </a:lnTo>
                  <a:lnTo>
                    <a:pt x="2830" y="8250"/>
                  </a:lnTo>
                  <a:lnTo>
                    <a:pt x="1698" y="8250"/>
                  </a:lnTo>
                  <a:lnTo>
                    <a:pt x="1698" y="8250"/>
                  </a:lnTo>
                  <a:lnTo>
                    <a:pt x="0" y="12000"/>
                  </a:lnTo>
                  <a:lnTo>
                    <a:pt x="0" y="12000"/>
                  </a:lnTo>
                  <a:lnTo>
                    <a:pt x="0" y="13500"/>
                  </a:lnTo>
                  <a:lnTo>
                    <a:pt x="1698" y="13500"/>
                  </a:lnTo>
                  <a:lnTo>
                    <a:pt x="1698" y="13500"/>
                  </a:lnTo>
                  <a:lnTo>
                    <a:pt x="2830" y="15750"/>
                  </a:lnTo>
                  <a:lnTo>
                    <a:pt x="2830" y="15750"/>
                  </a:lnTo>
                  <a:lnTo>
                    <a:pt x="1698" y="17250"/>
                  </a:lnTo>
                  <a:lnTo>
                    <a:pt x="1698" y="17250"/>
                  </a:lnTo>
                  <a:lnTo>
                    <a:pt x="1698" y="17250"/>
                  </a:lnTo>
                  <a:lnTo>
                    <a:pt x="3962" y="17250"/>
                  </a:lnTo>
                  <a:lnTo>
                    <a:pt x="3962" y="17250"/>
                  </a:lnTo>
                  <a:lnTo>
                    <a:pt x="3962" y="19500"/>
                  </a:lnTo>
                  <a:lnTo>
                    <a:pt x="3962" y="19500"/>
                  </a:lnTo>
                  <a:lnTo>
                    <a:pt x="3962" y="21000"/>
                  </a:lnTo>
                  <a:lnTo>
                    <a:pt x="3962" y="21000"/>
                  </a:lnTo>
                  <a:lnTo>
                    <a:pt x="3962" y="21000"/>
                  </a:lnTo>
                  <a:lnTo>
                    <a:pt x="2830" y="22500"/>
                  </a:lnTo>
                  <a:lnTo>
                    <a:pt x="2830" y="22500"/>
                  </a:lnTo>
                  <a:lnTo>
                    <a:pt x="3962" y="22500"/>
                  </a:lnTo>
                  <a:lnTo>
                    <a:pt x="3962" y="22500"/>
                  </a:lnTo>
                  <a:lnTo>
                    <a:pt x="3962" y="24750"/>
                  </a:lnTo>
                  <a:lnTo>
                    <a:pt x="2830" y="26250"/>
                  </a:lnTo>
                  <a:lnTo>
                    <a:pt x="2830" y="27750"/>
                  </a:lnTo>
                  <a:lnTo>
                    <a:pt x="2830" y="27750"/>
                  </a:lnTo>
                  <a:lnTo>
                    <a:pt x="2830" y="27750"/>
                  </a:lnTo>
                  <a:lnTo>
                    <a:pt x="3962" y="26250"/>
                  </a:lnTo>
                  <a:lnTo>
                    <a:pt x="5660" y="26250"/>
                  </a:lnTo>
                  <a:lnTo>
                    <a:pt x="5660" y="26250"/>
                  </a:lnTo>
                  <a:lnTo>
                    <a:pt x="7924" y="26250"/>
                  </a:lnTo>
                  <a:lnTo>
                    <a:pt x="7924" y="24750"/>
                  </a:lnTo>
                  <a:lnTo>
                    <a:pt x="9622" y="24750"/>
                  </a:lnTo>
                  <a:lnTo>
                    <a:pt x="9622" y="26250"/>
                  </a:lnTo>
                  <a:lnTo>
                    <a:pt x="9622" y="26250"/>
                  </a:lnTo>
                  <a:lnTo>
                    <a:pt x="9622" y="26250"/>
                  </a:lnTo>
                  <a:lnTo>
                    <a:pt x="9622" y="26250"/>
                  </a:lnTo>
                  <a:lnTo>
                    <a:pt x="7924" y="27750"/>
                  </a:lnTo>
                  <a:lnTo>
                    <a:pt x="7924" y="27750"/>
                  </a:lnTo>
                  <a:lnTo>
                    <a:pt x="9622" y="30000"/>
                  </a:lnTo>
                  <a:lnTo>
                    <a:pt x="9622" y="30000"/>
                  </a:lnTo>
                  <a:lnTo>
                    <a:pt x="9622" y="30000"/>
                  </a:lnTo>
                  <a:lnTo>
                    <a:pt x="9622" y="30000"/>
                  </a:lnTo>
                  <a:lnTo>
                    <a:pt x="10754" y="30000"/>
                  </a:lnTo>
                  <a:lnTo>
                    <a:pt x="11886" y="30000"/>
                  </a:lnTo>
                  <a:lnTo>
                    <a:pt x="11886" y="30000"/>
                  </a:lnTo>
                  <a:lnTo>
                    <a:pt x="13584" y="27750"/>
                  </a:lnTo>
                  <a:lnTo>
                    <a:pt x="14716" y="30000"/>
                  </a:lnTo>
                  <a:lnTo>
                    <a:pt x="14716" y="30000"/>
                  </a:lnTo>
                  <a:lnTo>
                    <a:pt x="14716" y="30000"/>
                  </a:lnTo>
                  <a:lnTo>
                    <a:pt x="16415" y="30000"/>
                  </a:lnTo>
                  <a:lnTo>
                    <a:pt x="17547" y="30000"/>
                  </a:lnTo>
                  <a:lnTo>
                    <a:pt x="18679" y="27750"/>
                  </a:lnTo>
                  <a:lnTo>
                    <a:pt x="18679" y="27750"/>
                  </a:lnTo>
                  <a:lnTo>
                    <a:pt x="18679" y="27750"/>
                  </a:lnTo>
                  <a:lnTo>
                    <a:pt x="18679" y="27750"/>
                  </a:lnTo>
                  <a:lnTo>
                    <a:pt x="18679" y="27750"/>
                  </a:lnTo>
                  <a:lnTo>
                    <a:pt x="18679" y="27750"/>
                  </a:lnTo>
                  <a:lnTo>
                    <a:pt x="20377" y="27750"/>
                  </a:lnTo>
                  <a:lnTo>
                    <a:pt x="21509" y="27750"/>
                  </a:lnTo>
                  <a:lnTo>
                    <a:pt x="21509" y="27750"/>
                  </a:lnTo>
                  <a:lnTo>
                    <a:pt x="22641" y="27750"/>
                  </a:lnTo>
                  <a:lnTo>
                    <a:pt x="22641" y="27750"/>
                  </a:lnTo>
                  <a:lnTo>
                    <a:pt x="24339" y="27750"/>
                  </a:lnTo>
                  <a:lnTo>
                    <a:pt x="24339" y="27750"/>
                  </a:lnTo>
                  <a:lnTo>
                    <a:pt x="24339" y="30000"/>
                  </a:lnTo>
                  <a:lnTo>
                    <a:pt x="24339" y="30000"/>
                  </a:lnTo>
                  <a:lnTo>
                    <a:pt x="24339" y="31500"/>
                  </a:lnTo>
                  <a:lnTo>
                    <a:pt x="24339" y="31500"/>
                  </a:lnTo>
                  <a:lnTo>
                    <a:pt x="25471" y="31500"/>
                  </a:lnTo>
                  <a:lnTo>
                    <a:pt x="25471" y="31500"/>
                  </a:lnTo>
                  <a:lnTo>
                    <a:pt x="26603" y="33000"/>
                  </a:lnTo>
                  <a:lnTo>
                    <a:pt x="26603" y="33000"/>
                  </a:lnTo>
                  <a:lnTo>
                    <a:pt x="28301" y="33000"/>
                  </a:lnTo>
                  <a:lnTo>
                    <a:pt x="28301" y="35250"/>
                  </a:lnTo>
                  <a:lnTo>
                    <a:pt x="26603" y="35250"/>
                  </a:lnTo>
                  <a:lnTo>
                    <a:pt x="26603" y="35250"/>
                  </a:lnTo>
                  <a:lnTo>
                    <a:pt x="25471" y="36750"/>
                  </a:lnTo>
                  <a:lnTo>
                    <a:pt x="24339" y="39000"/>
                  </a:lnTo>
                  <a:lnTo>
                    <a:pt x="22641" y="39000"/>
                  </a:lnTo>
                  <a:lnTo>
                    <a:pt x="21509" y="40500"/>
                  </a:lnTo>
                  <a:lnTo>
                    <a:pt x="20377" y="42000"/>
                  </a:lnTo>
                  <a:lnTo>
                    <a:pt x="20377" y="42000"/>
                  </a:lnTo>
                  <a:lnTo>
                    <a:pt x="20377" y="42000"/>
                  </a:lnTo>
                  <a:lnTo>
                    <a:pt x="20377" y="44250"/>
                  </a:lnTo>
                  <a:lnTo>
                    <a:pt x="21509" y="45750"/>
                  </a:lnTo>
                  <a:lnTo>
                    <a:pt x="21509" y="47250"/>
                  </a:lnTo>
                  <a:lnTo>
                    <a:pt x="20377" y="49500"/>
                  </a:lnTo>
                  <a:lnTo>
                    <a:pt x="20377" y="51000"/>
                  </a:lnTo>
                  <a:lnTo>
                    <a:pt x="20377" y="51000"/>
                  </a:lnTo>
                  <a:lnTo>
                    <a:pt x="20377" y="51000"/>
                  </a:lnTo>
                  <a:lnTo>
                    <a:pt x="20377" y="52500"/>
                  </a:lnTo>
                  <a:lnTo>
                    <a:pt x="20377" y="52500"/>
                  </a:lnTo>
                  <a:lnTo>
                    <a:pt x="20377" y="52500"/>
                  </a:lnTo>
                  <a:lnTo>
                    <a:pt x="18679" y="54750"/>
                  </a:lnTo>
                  <a:lnTo>
                    <a:pt x="18679" y="54750"/>
                  </a:lnTo>
                  <a:lnTo>
                    <a:pt x="18679" y="56250"/>
                  </a:lnTo>
                  <a:lnTo>
                    <a:pt x="18679" y="56250"/>
                  </a:lnTo>
                  <a:lnTo>
                    <a:pt x="18679" y="58500"/>
                  </a:lnTo>
                  <a:lnTo>
                    <a:pt x="20377" y="58500"/>
                  </a:lnTo>
                  <a:lnTo>
                    <a:pt x="18679" y="58500"/>
                  </a:lnTo>
                  <a:lnTo>
                    <a:pt x="18679" y="60000"/>
                  </a:lnTo>
                  <a:lnTo>
                    <a:pt x="17547" y="61500"/>
                  </a:lnTo>
                  <a:lnTo>
                    <a:pt x="17547" y="61500"/>
                  </a:lnTo>
                  <a:lnTo>
                    <a:pt x="17547" y="61500"/>
                  </a:lnTo>
                  <a:lnTo>
                    <a:pt x="13584" y="61500"/>
                  </a:lnTo>
                  <a:lnTo>
                    <a:pt x="13584" y="61500"/>
                  </a:lnTo>
                  <a:lnTo>
                    <a:pt x="13584" y="61500"/>
                  </a:lnTo>
                  <a:lnTo>
                    <a:pt x="13584" y="63750"/>
                  </a:lnTo>
                  <a:lnTo>
                    <a:pt x="14716" y="65250"/>
                  </a:lnTo>
                  <a:lnTo>
                    <a:pt x="14716" y="65250"/>
                  </a:lnTo>
                  <a:lnTo>
                    <a:pt x="14716" y="66750"/>
                  </a:lnTo>
                  <a:lnTo>
                    <a:pt x="16415" y="70500"/>
                  </a:lnTo>
                  <a:lnTo>
                    <a:pt x="17547" y="70500"/>
                  </a:lnTo>
                  <a:lnTo>
                    <a:pt x="17547" y="72000"/>
                  </a:lnTo>
                  <a:lnTo>
                    <a:pt x="17547" y="72000"/>
                  </a:lnTo>
                  <a:lnTo>
                    <a:pt x="17547" y="74250"/>
                  </a:lnTo>
                  <a:lnTo>
                    <a:pt x="16415" y="75750"/>
                  </a:lnTo>
                  <a:lnTo>
                    <a:pt x="14716" y="75750"/>
                  </a:lnTo>
                  <a:lnTo>
                    <a:pt x="14716" y="78000"/>
                  </a:lnTo>
                  <a:lnTo>
                    <a:pt x="14716" y="78000"/>
                  </a:lnTo>
                  <a:lnTo>
                    <a:pt x="14716" y="79500"/>
                  </a:lnTo>
                  <a:lnTo>
                    <a:pt x="13584" y="81000"/>
                  </a:lnTo>
                  <a:lnTo>
                    <a:pt x="13584" y="81000"/>
                  </a:lnTo>
                  <a:lnTo>
                    <a:pt x="16415" y="86250"/>
                  </a:lnTo>
                  <a:lnTo>
                    <a:pt x="17547" y="86250"/>
                  </a:lnTo>
                  <a:lnTo>
                    <a:pt x="17547" y="86250"/>
                  </a:lnTo>
                  <a:lnTo>
                    <a:pt x="17547" y="86250"/>
                  </a:lnTo>
                  <a:lnTo>
                    <a:pt x="16415" y="88500"/>
                  </a:lnTo>
                  <a:lnTo>
                    <a:pt x="16415" y="88500"/>
                  </a:lnTo>
                  <a:lnTo>
                    <a:pt x="14716" y="88500"/>
                  </a:lnTo>
                  <a:lnTo>
                    <a:pt x="13584" y="90000"/>
                  </a:lnTo>
                  <a:lnTo>
                    <a:pt x="13584" y="91500"/>
                  </a:lnTo>
                  <a:lnTo>
                    <a:pt x="11886" y="93750"/>
                  </a:lnTo>
                  <a:lnTo>
                    <a:pt x="11886" y="95250"/>
                  </a:lnTo>
                  <a:lnTo>
                    <a:pt x="11886" y="97500"/>
                  </a:lnTo>
                  <a:lnTo>
                    <a:pt x="11886" y="97500"/>
                  </a:lnTo>
                  <a:lnTo>
                    <a:pt x="11886" y="102750"/>
                  </a:lnTo>
                  <a:lnTo>
                    <a:pt x="14716" y="100500"/>
                  </a:lnTo>
                  <a:lnTo>
                    <a:pt x="16415" y="102750"/>
                  </a:lnTo>
                  <a:lnTo>
                    <a:pt x="17547" y="100500"/>
                  </a:lnTo>
                  <a:lnTo>
                    <a:pt x="17547" y="100500"/>
                  </a:lnTo>
                  <a:lnTo>
                    <a:pt x="17547" y="100500"/>
                  </a:lnTo>
                  <a:lnTo>
                    <a:pt x="17547" y="102750"/>
                  </a:lnTo>
                  <a:lnTo>
                    <a:pt x="21509" y="105750"/>
                  </a:lnTo>
                  <a:lnTo>
                    <a:pt x="21509" y="108000"/>
                  </a:lnTo>
                  <a:lnTo>
                    <a:pt x="22641" y="105750"/>
                  </a:lnTo>
                  <a:lnTo>
                    <a:pt x="24339" y="105750"/>
                  </a:lnTo>
                  <a:lnTo>
                    <a:pt x="22641" y="105750"/>
                  </a:lnTo>
                  <a:lnTo>
                    <a:pt x="22641" y="108000"/>
                  </a:lnTo>
                  <a:lnTo>
                    <a:pt x="21509" y="109500"/>
                  </a:lnTo>
                  <a:lnTo>
                    <a:pt x="21509" y="111000"/>
                  </a:lnTo>
                  <a:lnTo>
                    <a:pt x="22641" y="111000"/>
                  </a:lnTo>
                  <a:lnTo>
                    <a:pt x="22641" y="111000"/>
                  </a:lnTo>
                  <a:lnTo>
                    <a:pt x="22641" y="113250"/>
                  </a:lnTo>
                  <a:lnTo>
                    <a:pt x="22641" y="114750"/>
                  </a:lnTo>
                  <a:lnTo>
                    <a:pt x="24339" y="114750"/>
                  </a:lnTo>
                  <a:lnTo>
                    <a:pt x="25471" y="118500"/>
                  </a:lnTo>
                  <a:lnTo>
                    <a:pt x="25471" y="118500"/>
                  </a:lnTo>
                  <a:lnTo>
                    <a:pt x="26603" y="120000"/>
                  </a:lnTo>
                  <a:lnTo>
                    <a:pt x="29433" y="120000"/>
                  </a:lnTo>
                  <a:lnTo>
                    <a:pt x="29433" y="120000"/>
                  </a:lnTo>
                  <a:lnTo>
                    <a:pt x="30566" y="120000"/>
                  </a:lnTo>
                  <a:lnTo>
                    <a:pt x="30566" y="118500"/>
                  </a:lnTo>
                  <a:lnTo>
                    <a:pt x="30566" y="118500"/>
                  </a:lnTo>
                  <a:lnTo>
                    <a:pt x="30566" y="118500"/>
                  </a:lnTo>
                  <a:lnTo>
                    <a:pt x="32264" y="118500"/>
                  </a:lnTo>
                  <a:lnTo>
                    <a:pt x="32264" y="117000"/>
                  </a:lnTo>
                  <a:lnTo>
                    <a:pt x="33396" y="114750"/>
                  </a:lnTo>
                  <a:lnTo>
                    <a:pt x="33396" y="114750"/>
                  </a:lnTo>
                  <a:lnTo>
                    <a:pt x="36226" y="113250"/>
                  </a:lnTo>
                  <a:lnTo>
                    <a:pt x="39056" y="113250"/>
                  </a:lnTo>
                  <a:lnTo>
                    <a:pt x="40188" y="111000"/>
                  </a:lnTo>
                  <a:lnTo>
                    <a:pt x="41320" y="109500"/>
                  </a:lnTo>
                  <a:lnTo>
                    <a:pt x="41320" y="109500"/>
                  </a:lnTo>
                  <a:lnTo>
                    <a:pt x="46981" y="109500"/>
                  </a:lnTo>
                  <a:lnTo>
                    <a:pt x="49245" y="109500"/>
                  </a:lnTo>
                  <a:lnTo>
                    <a:pt x="50943" y="109500"/>
                  </a:lnTo>
                  <a:lnTo>
                    <a:pt x="52075" y="109500"/>
                  </a:lnTo>
                  <a:lnTo>
                    <a:pt x="53773" y="109500"/>
                  </a:lnTo>
                  <a:lnTo>
                    <a:pt x="56037" y="109500"/>
                  </a:lnTo>
                  <a:lnTo>
                    <a:pt x="57735" y="109500"/>
                  </a:lnTo>
                  <a:lnTo>
                    <a:pt x="58867" y="109500"/>
                  </a:lnTo>
                  <a:lnTo>
                    <a:pt x="58867" y="108000"/>
                  </a:lnTo>
                  <a:lnTo>
                    <a:pt x="60000" y="108000"/>
                  </a:lnTo>
                  <a:lnTo>
                    <a:pt x="62830" y="108000"/>
                  </a:lnTo>
                  <a:lnTo>
                    <a:pt x="62830" y="109500"/>
                  </a:lnTo>
                  <a:lnTo>
                    <a:pt x="63962" y="108000"/>
                  </a:lnTo>
                  <a:lnTo>
                    <a:pt x="65660" y="105750"/>
                  </a:lnTo>
                  <a:lnTo>
                    <a:pt x="66792" y="100500"/>
                  </a:lnTo>
                  <a:lnTo>
                    <a:pt x="69622" y="99000"/>
                  </a:lnTo>
                  <a:lnTo>
                    <a:pt x="71886" y="95250"/>
                  </a:lnTo>
                  <a:lnTo>
                    <a:pt x="76415" y="95250"/>
                  </a:lnTo>
                  <a:lnTo>
                    <a:pt x="77547" y="95250"/>
                  </a:lnTo>
                  <a:lnTo>
                    <a:pt x="77547" y="95250"/>
                  </a:lnTo>
                  <a:lnTo>
                    <a:pt x="78679" y="95250"/>
                  </a:lnTo>
                  <a:lnTo>
                    <a:pt x="77547" y="93750"/>
                  </a:lnTo>
                  <a:lnTo>
                    <a:pt x="77547" y="91500"/>
                  </a:lnTo>
                  <a:lnTo>
                    <a:pt x="77547" y="91500"/>
                  </a:lnTo>
                  <a:lnTo>
                    <a:pt x="77547" y="90000"/>
                  </a:lnTo>
                  <a:lnTo>
                    <a:pt x="78679" y="88500"/>
                  </a:lnTo>
                  <a:lnTo>
                    <a:pt x="78679" y="86250"/>
                  </a:lnTo>
                  <a:lnTo>
                    <a:pt x="80377" y="84750"/>
                  </a:lnTo>
                  <a:lnTo>
                    <a:pt x="80377" y="83250"/>
                  </a:lnTo>
                  <a:lnTo>
                    <a:pt x="81509" y="81000"/>
                  </a:lnTo>
                  <a:lnTo>
                    <a:pt x="85471" y="79500"/>
                  </a:lnTo>
                  <a:lnTo>
                    <a:pt x="86603" y="78000"/>
                  </a:lnTo>
                  <a:lnTo>
                    <a:pt x="88301" y="75750"/>
                  </a:lnTo>
                  <a:lnTo>
                    <a:pt x="86603" y="75750"/>
                  </a:lnTo>
                  <a:lnTo>
                    <a:pt x="85471" y="74250"/>
                  </a:lnTo>
                  <a:lnTo>
                    <a:pt x="84339" y="74250"/>
                  </a:lnTo>
                  <a:lnTo>
                    <a:pt x="84339" y="72000"/>
                  </a:lnTo>
                  <a:lnTo>
                    <a:pt x="82641" y="66750"/>
                  </a:lnTo>
                  <a:lnTo>
                    <a:pt x="82641" y="65250"/>
                  </a:lnTo>
                  <a:lnTo>
                    <a:pt x="85471" y="58500"/>
                  </a:lnTo>
                  <a:lnTo>
                    <a:pt x="86603" y="58500"/>
                  </a:lnTo>
                  <a:lnTo>
                    <a:pt x="88301" y="56250"/>
                  </a:lnTo>
                  <a:lnTo>
                    <a:pt x="90566" y="52500"/>
                  </a:lnTo>
                  <a:lnTo>
                    <a:pt x="92264" y="49500"/>
                  </a:lnTo>
                  <a:lnTo>
                    <a:pt x="93396" y="49500"/>
                  </a:lnTo>
                  <a:lnTo>
                    <a:pt x="93396" y="49500"/>
                  </a:lnTo>
                  <a:lnTo>
                    <a:pt x="93396" y="47250"/>
                  </a:lnTo>
                  <a:lnTo>
                    <a:pt x="95094" y="47250"/>
                  </a:lnTo>
                  <a:lnTo>
                    <a:pt x="95094" y="47250"/>
                  </a:lnTo>
                  <a:lnTo>
                    <a:pt x="95094" y="45750"/>
                  </a:lnTo>
                  <a:lnTo>
                    <a:pt x="93396" y="45750"/>
                  </a:lnTo>
                  <a:lnTo>
                    <a:pt x="95094" y="44250"/>
                  </a:lnTo>
                  <a:lnTo>
                    <a:pt x="97358" y="42000"/>
                  </a:lnTo>
                  <a:lnTo>
                    <a:pt x="99056" y="40500"/>
                  </a:lnTo>
                  <a:lnTo>
                    <a:pt x="103018" y="40500"/>
                  </a:lnTo>
                  <a:lnTo>
                    <a:pt x="106981" y="39000"/>
                  </a:lnTo>
                  <a:lnTo>
                    <a:pt x="108113" y="36750"/>
                  </a:lnTo>
                  <a:lnTo>
                    <a:pt x="109245" y="35250"/>
                  </a:lnTo>
                  <a:lnTo>
                    <a:pt x="116037" y="3150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84" name="Shape 384"/>
            <p:cNvSpPr/>
            <p:nvPr/>
          </p:nvSpPr>
          <p:spPr>
            <a:xfrm>
              <a:off x="4101" y="2550"/>
              <a:ext cx="300" cy="300"/>
            </a:xfrm>
            <a:custGeom>
              <a:avLst/>
              <a:gdLst/>
              <a:ahLst/>
              <a:cxnLst/>
              <a:rect l="0" t="0" r="0" b="0"/>
              <a:pathLst>
                <a:path w="120000" h="120000" extrusionOk="0">
                  <a:moveTo>
                    <a:pt x="120000" y="92608"/>
                  </a:moveTo>
                  <a:lnTo>
                    <a:pt x="118840" y="90652"/>
                  </a:lnTo>
                  <a:lnTo>
                    <a:pt x="117101" y="89347"/>
                  </a:lnTo>
                  <a:lnTo>
                    <a:pt x="117101" y="88043"/>
                  </a:lnTo>
                  <a:lnTo>
                    <a:pt x="117101" y="88043"/>
                  </a:lnTo>
                  <a:lnTo>
                    <a:pt x="115942" y="84782"/>
                  </a:lnTo>
                  <a:lnTo>
                    <a:pt x="115942" y="83478"/>
                  </a:lnTo>
                  <a:lnTo>
                    <a:pt x="114782" y="81521"/>
                  </a:lnTo>
                  <a:lnTo>
                    <a:pt x="114782" y="76956"/>
                  </a:lnTo>
                  <a:lnTo>
                    <a:pt x="113043" y="76956"/>
                  </a:lnTo>
                  <a:lnTo>
                    <a:pt x="113043" y="75652"/>
                  </a:lnTo>
                  <a:lnTo>
                    <a:pt x="111884" y="73695"/>
                  </a:lnTo>
                  <a:lnTo>
                    <a:pt x="111884" y="72391"/>
                  </a:lnTo>
                  <a:lnTo>
                    <a:pt x="108985" y="72391"/>
                  </a:lnTo>
                  <a:lnTo>
                    <a:pt x="107826" y="71086"/>
                  </a:lnTo>
                  <a:lnTo>
                    <a:pt x="106666" y="69130"/>
                  </a:lnTo>
                  <a:lnTo>
                    <a:pt x="106666" y="67826"/>
                  </a:lnTo>
                  <a:lnTo>
                    <a:pt x="106666" y="66521"/>
                  </a:lnTo>
                  <a:lnTo>
                    <a:pt x="104927" y="66521"/>
                  </a:lnTo>
                  <a:lnTo>
                    <a:pt x="104927" y="64565"/>
                  </a:lnTo>
                  <a:lnTo>
                    <a:pt x="102028" y="63260"/>
                  </a:lnTo>
                  <a:lnTo>
                    <a:pt x="100869" y="61956"/>
                  </a:lnTo>
                  <a:lnTo>
                    <a:pt x="100869" y="61956"/>
                  </a:lnTo>
                  <a:lnTo>
                    <a:pt x="99710" y="61956"/>
                  </a:lnTo>
                  <a:lnTo>
                    <a:pt x="97971" y="61956"/>
                  </a:lnTo>
                  <a:lnTo>
                    <a:pt x="95652" y="60000"/>
                  </a:lnTo>
                  <a:lnTo>
                    <a:pt x="95652" y="60000"/>
                  </a:lnTo>
                  <a:lnTo>
                    <a:pt x="95652" y="60000"/>
                  </a:lnTo>
                  <a:lnTo>
                    <a:pt x="95652" y="58695"/>
                  </a:lnTo>
                  <a:lnTo>
                    <a:pt x="95652" y="56739"/>
                  </a:lnTo>
                  <a:lnTo>
                    <a:pt x="96811" y="54130"/>
                  </a:lnTo>
                  <a:lnTo>
                    <a:pt x="97971" y="52173"/>
                  </a:lnTo>
                  <a:lnTo>
                    <a:pt x="97971" y="52173"/>
                  </a:lnTo>
                  <a:lnTo>
                    <a:pt x="99710" y="52173"/>
                  </a:lnTo>
                  <a:lnTo>
                    <a:pt x="100869" y="52173"/>
                  </a:lnTo>
                  <a:lnTo>
                    <a:pt x="102028" y="52173"/>
                  </a:lnTo>
                  <a:lnTo>
                    <a:pt x="103768" y="52173"/>
                  </a:lnTo>
                  <a:lnTo>
                    <a:pt x="104927" y="52173"/>
                  </a:lnTo>
                  <a:lnTo>
                    <a:pt x="106666" y="50869"/>
                  </a:lnTo>
                  <a:lnTo>
                    <a:pt x="106666" y="50869"/>
                  </a:lnTo>
                  <a:lnTo>
                    <a:pt x="106666" y="49565"/>
                  </a:lnTo>
                  <a:lnTo>
                    <a:pt x="106666" y="49565"/>
                  </a:lnTo>
                  <a:lnTo>
                    <a:pt x="106666" y="47608"/>
                  </a:lnTo>
                  <a:lnTo>
                    <a:pt x="106666" y="43043"/>
                  </a:lnTo>
                  <a:lnTo>
                    <a:pt x="106666" y="41739"/>
                  </a:lnTo>
                  <a:lnTo>
                    <a:pt x="106666" y="38478"/>
                  </a:lnTo>
                  <a:lnTo>
                    <a:pt x="106666" y="38478"/>
                  </a:lnTo>
                  <a:lnTo>
                    <a:pt x="106666" y="38478"/>
                  </a:lnTo>
                  <a:lnTo>
                    <a:pt x="104927" y="38478"/>
                  </a:lnTo>
                  <a:lnTo>
                    <a:pt x="104927" y="38478"/>
                  </a:lnTo>
                  <a:lnTo>
                    <a:pt x="104927" y="38478"/>
                  </a:lnTo>
                  <a:lnTo>
                    <a:pt x="103768" y="37173"/>
                  </a:lnTo>
                  <a:lnTo>
                    <a:pt x="103768" y="37173"/>
                  </a:lnTo>
                  <a:lnTo>
                    <a:pt x="103768" y="37173"/>
                  </a:lnTo>
                  <a:lnTo>
                    <a:pt x="103768" y="37173"/>
                  </a:lnTo>
                  <a:lnTo>
                    <a:pt x="103768" y="35217"/>
                  </a:lnTo>
                  <a:lnTo>
                    <a:pt x="104927" y="33913"/>
                  </a:lnTo>
                  <a:lnTo>
                    <a:pt x="104927" y="32608"/>
                  </a:lnTo>
                  <a:lnTo>
                    <a:pt x="104927" y="32608"/>
                  </a:lnTo>
                  <a:lnTo>
                    <a:pt x="104927" y="32608"/>
                  </a:lnTo>
                  <a:lnTo>
                    <a:pt x="104927" y="32608"/>
                  </a:lnTo>
                  <a:lnTo>
                    <a:pt x="104927" y="32608"/>
                  </a:lnTo>
                  <a:lnTo>
                    <a:pt x="104927" y="32608"/>
                  </a:lnTo>
                  <a:lnTo>
                    <a:pt x="104927" y="30652"/>
                  </a:lnTo>
                  <a:lnTo>
                    <a:pt x="104927" y="30652"/>
                  </a:lnTo>
                  <a:lnTo>
                    <a:pt x="104927" y="29347"/>
                  </a:lnTo>
                  <a:lnTo>
                    <a:pt x="104927" y="29347"/>
                  </a:lnTo>
                  <a:lnTo>
                    <a:pt x="104927" y="29347"/>
                  </a:lnTo>
                  <a:lnTo>
                    <a:pt x="104927" y="28043"/>
                  </a:lnTo>
                  <a:lnTo>
                    <a:pt x="103768" y="28043"/>
                  </a:lnTo>
                  <a:lnTo>
                    <a:pt x="99710" y="22826"/>
                  </a:lnTo>
                  <a:lnTo>
                    <a:pt x="97971" y="21521"/>
                  </a:lnTo>
                  <a:lnTo>
                    <a:pt x="97971" y="21521"/>
                  </a:lnTo>
                  <a:lnTo>
                    <a:pt x="97971" y="21521"/>
                  </a:lnTo>
                  <a:lnTo>
                    <a:pt x="95652" y="20217"/>
                  </a:lnTo>
                  <a:lnTo>
                    <a:pt x="95652" y="20217"/>
                  </a:lnTo>
                  <a:lnTo>
                    <a:pt x="95652" y="20217"/>
                  </a:lnTo>
                  <a:lnTo>
                    <a:pt x="95652" y="20217"/>
                  </a:lnTo>
                  <a:lnTo>
                    <a:pt x="96811" y="18260"/>
                  </a:lnTo>
                  <a:lnTo>
                    <a:pt x="96811" y="18260"/>
                  </a:lnTo>
                  <a:lnTo>
                    <a:pt x="96811" y="18260"/>
                  </a:lnTo>
                  <a:lnTo>
                    <a:pt x="95652" y="9130"/>
                  </a:lnTo>
                  <a:lnTo>
                    <a:pt x="95652" y="7826"/>
                  </a:lnTo>
                  <a:lnTo>
                    <a:pt x="95652" y="7826"/>
                  </a:lnTo>
                  <a:lnTo>
                    <a:pt x="95652" y="7826"/>
                  </a:lnTo>
                  <a:lnTo>
                    <a:pt x="95652" y="7826"/>
                  </a:lnTo>
                  <a:lnTo>
                    <a:pt x="95652" y="7826"/>
                  </a:lnTo>
                  <a:lnTo>
                    <a:pt x="95652" y="7826"/>
                  </a:lnTo>
                  <a:lnTo>
                    <a:pt x="95652" y="7826"/>
                  </a:lnTo>
                  <a:lnTo>
                    <a:pt x="95652" y="4565"/>
                  </a:lnTo>
                  <a:lnTo>
                    <a:pt x="95652" y="3260"/>
                  </a:lnTo>
                  <a:lnTo>
                    <a:pt x="96811" y="1304"/>
                  </a:lnTo>
                  <a:lnTo>
                    <a:pt x="96811" y="0"/>
                  </a:lnTo>
                  <a:lnTo>
                    <a:pt x="91594" y="0"/>
                  </a:lnTo>
                  <a:lnTo>
                    <a:pt x="91594" y="0"/>
                  </a:lnTo>
                  <a:lnTo>
                    <a:pt x="91594" y="0"/>
                  </a:lnTo>
                  <a:lnTo>
                    <a:pt x="91594" y="0"/>
                  </a:lnTo>
                  <a:lnTo>
                    <a:pt x="91594" y="0"/>
                  </a:lnTo>
                  <a:lnTo>
                    <a:pt x="91594" y="0"/>
                  </a:lnTo>
                  <a:lnTo>
                    <a:pt x="91594" y="0"/>
                  </a:lnTo>
                  <a:lnTo>
                    <a:pt x="91594" y="1304"/>
                  </a:lnTo>
                  <a:lnTo>
                    <a:pt x="91594" y="1304"/>
                  </a:lnTo>
                  <a:lnTo>
                    <a:pt x="91594" y="1304"/>
                  </a:lnTo>
                  <a:lnTo>
                    <a:pt x="91594" y="1304"/>
                  </a:lnTo>
                  <a:lnTo>
                    <a:pt x="91594" y="1304"/>
                  </a:lnTo>
                  <a:lnTo>
                    <a:pt x="91594" y="3260"/>
                  </a:lnTo>
                  <a:lnTo>
                    <a:pt x="91594" y="3260"/>
                  </a:lnTo>
                  <a:lnTo>
                    <a:pt x="84637" y="3260"/>
                  </a:lnTo>
                  <a:lnTo>
                    <a:pt x="87536" y="5869"/>
                  </a:lnTo>
                  <a:lnTo>
                    <a:pt x="87536" y="5869"/>
                  </a:lnTo>
                  <a:lnTo>
                    <a:pt x="87536" y="7826"/>
                  </a:lnTo>
                  <a:lnTo>
                    <a:pt x="87536" y="7826"/>
                  </a:lnTo>
                  <a:lnTo>
                    <a:pt x="87536" y="9130"/>
                  </a:lnTo>
                  <a:lnTo>
                    <a:pt x="87536" y="10434"/>
                  </a:lnTo>
                  <a:lnTo>
                    <a:pt x="87536" y="12391"/>
                  </a:lnTo>
                  <a:lnTo>
                    <a:pt x="87536" y="13695"/>
                  </a:lnTo>
                  <a:lnTo>
                    <a:pt x="88695" y="15652"/>
                  </a:lnTo>
                  <a:lnTo>
                    <a:pt x="88695" y="15652"/>
                  </a:lnTo>
                  <a:lnTo>
                    <a:pt x="88695" y="15652"/>
                  </a:lnTo>
                  <a:lnTo>
                    <a:pt x="82898" y="21521"/>
                  </a:lnTo>
                  <a:lnTo>
                    <a:pt x="82898" y="21521"/>
                  </a:lnTo>
                  <a:lnTo>
                    <a:pt x="81739" y="22826"/>
                  </a:lnTo>
                  <a:lnTo>
                    <a:pt x="81739" y="24782"/>
                  </a:lnTo>
                  <a:lnTo>
                    <a:pt x="81739" y="26086"/>
                  </a:lnTo>
                  <a:lnTo>
                    <a:pt x="80579" y="28043"/>
                  </a:lnTo>
                  <a:lnTo>
                    <a:pt x="76521" y="33913"/>
                  </a:lnTo>
                  <a:lnTo>
                    <a:pt x="74782" y="33913"/>
                  </a:lnTo>
                  <a:lnTo>
                    <a:pt x="72463" y="33913"/>
                  </a:lnTo>
                  <a:lnTo>
                    <a:pt x="70724" y="33913"/>
                  </a:lnTo>
                  <a:lnTo>
                    <a:pt x="70724" y="33913"/>
                  </a:lnTo>
                  <a:lnTo>
                    <a:pt x="70724" y="33913"/>
                  </a:lnTo>
                  <a:lnTo>
                    <a:pt x="70724" y="33913"/>
                  </a:lnTo>
                  <a:lnTo>
                    <a:pt x="70724" y="33913"/>
                  </a:lnTo>
                  <a:lnTo>
                    <a:pt x="70724" y="33913"/>
                  </a:lnTo>
                  <a:lnTo>
                    <a:pt x="70724" y="33913"/>
                  </a:lnTo>
                  <a:lnTo>
                    <a:pt x="68405" y="30652"/>
                  </a:lnTo>
                  <a:lnTo>
                    <a:pt x="62608" y="26086"/>
                  </a:lnTo>
                  <a:lnTo>
                    <a:pt x="62608" y="28043"/>
                  </a:lnTo>
                  <a:lnTo>
                    <a:pt x="58550" y="29347"/>
                  </a:lnTo>
                  <a:lnTo>
                    <a:pt x="58550" y="29347"/>
                  </a:lnTo>
                  <a:lnTo>
                    <a:pt x="58550" y="29347"/>
                  </a:lnTo>
                  <a:lnTo>
                    <a:pt x="58550" y="30652"/>
                  </a:lnTo>
                  <a:lnTo>
                    <a:pt x="57391" y="32608"/>
                  </a:lnTo>
                  <a:lnTo>
                    <a:pt x="57391" y="33913"/>
                  </a:lnTo>
                  <a:lnTo>
                    <a:pt x="54492" y="33913"/>
                  </a:lnTo>
                  <a:lnTo>
                    <a:pt x="53333" y="35217"/>
                  </a:lnTo>
                  <a:lnTo>
                    <a:pt x="51594" y="35217"/>
                  </a:lnTo>
                  <a:lnTo>
                    <a:pt x="51594" y="35217"/>
                  </a:lnTo>
                  <a:lnTo>
                    <a:pt x="51594" y="35217"/>
                  </a:lnTo>
                  <a:lnTo>
                    <a:pt x="51594" y="37173"/>
                  </a:lnTo>
                  <a:lnTo>
                    <a:pt x="50434" y="38478"/>
                  </a:lnTo>
                  <a:lnTo>
                    <a:pt x="50434" y="38478"/>
                  </a:lnTo>
                  <a:lnTo>
                    <a:pt x="50434" y="39782"/>
                  </a:lnTo>
                  <a:lnTo>
                    <a:pt x="42318" y="39782"/>
                  </a:lnTo>
                  <a:lnTo>
                    <a:pt x="40579" y="38478"/>
                  </a:lnTo>
                  <a:lnTo>
                    <a:pt x="39420" y="35217"/>
                  </a:lnTo>
                  <a:lnTo>
                    <a:pt x="39420" y="35217"/>
                  </a:lnTo>
                  <a:lnTo>
                    <a:pt x="39420" y="35217"/>
                  </a:lnTo>
                  <a:lnTo>
                    <a:pt x="31304" y="35217"/>
                  </a:lnTo>
                  <a:lnTo>
                    <a:pt x="30144" y="35217"/>
                  </a:lnTo>
                  <a:lnTo>
                    <a:pt x="28405" y="37173"/>
                  </a:lnTo>
                  <a:lnTo>
                    <a:pt x="27246" y="37173"/>
                  </a:lnTo>
                  <a:lnTo>
                    <a:pt x="25507" y="37173"/>
                  </a:lnTo>
                  <a:lnTo>
                    <a:pt x="21449" y="30652"/>
                  </a:lnTo>
                  <a:lnTo>
                    <a:pt x="20289" y="30652"/>
                  </a:lnTo>
                  <a:lnTo>
                    <a:pt x="20289" y="29347"/>
                  </a:lnTo>
                  <a:lnTo>
                    <a:pt x="20289" y="29347"/>
                  </a:lnTo>
                  <a:lnTo>
                    <a:pt x="19130" y="28043"/>
                  </a:lnTo>
                  <a:lnTo>
                    <a:pt x="19130" y="28043"/>
                  </a:lnTo>
                  <a:lnTo>
                    <a:pt x="19130" y="28043"/>
                  </a:lnTo>
                  <a:lnTo>
                    <a:pt x="19130" y="26086"/>
                  </a:lnTo>
                  <a:lnTo>
                    <a:pt x="17391" y="24782"/>
                  </a:lnTo>
                  <a:lnTo>
                    <a:pt x="17391" y="24782"/>
                  </a:lnTo>
                  <a:lnTo>
                    <a:pt x="12173" y="26086"/>
                  </a:lnTo>
                  <a:lnTo>
                    <a:pt x="11014" y="26086"/>
                  </a:lnTo>
                  <a:lnTo>
                    <a:pt x="9275" y="26086"/>
                  </a:lnTo>
                  <a:lnTo>
                    <a:pt x="9275" y="26086"/>
                  </a:lnTo>
                  <a:lnTo>
                    <a:pt x="9275" y="28043"/>
                  </a:lnTo>
                  <a:lnTo>
                    <a:pt x="9275" y="28043"/>
                  </a:lnTo>
                  <a:lnTo>
                    <a:pt x="9275" y="29347"/>
                  </a:lnTo>
                  <a:lnTo>
                    <a:pt x="9275" y="29347"/>
                  </a:lnTo>
                  <a:lnTo>
                    <a:pt x="8115" y="30652"/>
                  </a:lnTo>
                  <a:lnTo>
                    <a:pt x="6956" y="32608"/>
                  </a:lnTo>
                  <a:lnTo>
                    <a:pt x="6956" y="33913"/>
                  </a:lnTo>
                  <a:lnTo>
                    <a:pt x="6956" y="35217"/>
                  </a:lnTo>
                  <a:lnTo>
                    <a:pt x="6956" y="37173"/>
                  </a:lnTo>
                  <a:lnTo>
                    <a:pt x="6956" y="37173"/>
                  </a:lnTo>
                  <a:lnTo>
                    <a:pt x="5217" y="38478"/>
                  </a:lnTo>
                  <a:lnTo>
                    <a:pt x="5217" y="38478"/>
                  </a:lnTo>
                  <a:lnTo>
                    <a:pt x="5217" y="39782"/>
                  </a:lnTo>
                  <a:lnTo>
                    <a:pt x="5217" y="41739"/>
                  </a:lnTo>
                  <a:lnTo>
                    <a:pt x="5217" y="41739"/>
                  </a:lnTo>
                  <a:lnTo>
                    <a:pt x="4057" y="43043"/>
                  </a:lnTo>
                  <a:lnTo>
                    <a:pt x="4057" y="45000"/>
                  </a:lnTo>
                  <a:lnTo>
                    <a:pt x="4057" y="45000"/>
                  </a:lnTo>
                  <a:lnTo>
                    <a:pt x="4057" y="46304"/>
                  </a:lnTo>
                  <a:lnTo>
                    <a:pt x="1159" y="46304"/>
                  </a:lnTo>
                  <a:lnTo>
                    <a:pt x="1159" y="47608"/>
                  </a:lnTo>
                  <a:lnTo>
                    <a:pt x="0" y="47608"/>
                  </a:lnTo>
                  <a:lnTo>
                    <a:pt x="0" y="49565"/>
                  </a:lnTo>
                  <a:lnTo>
                    <a:pt x="0" y="49565"/>
                  </a:lnTo>
                  <a:lnTo>
                    <a:pt x="1159" y="49565"/>
                  </a:lnTo>
                  <a:lnTo>
                    <a:pt x="0" y="50869"/>
                  </a:lnTo>
                  <a:lnTo>
                    <a:pt x="1159" y="52173"/>
                  </a:lnTo>
                  <a:lnTo>
                    <a:pt x="1159" y="54130"/>
                  </a:lnTo>
                  <a:lnTo>
                    <a:pt x="2318" y="54130"/>
                  </a:lnTo>
                  <a:lnTo>
                    <a:pt x="4057" y="54130"/>
                  </a:lnTo>
                  <a:lnTo>
                    <a:pt x="6956" y="55434"/>
                  </a:lnTo>
                  <a:lnTo>
                    <a:pt x="8115" y="55434"/>
                  </a:lnTo>
                  <a:lnTo>
                    <a:pt x="9275" y="58695"/>
                  </a:lnTo>
                  <a:lnTo>
                    <a:pt x="11014" y="60000"/>
                  </a:lnTo>
                  <a:lnTo>
                    <a:pt x="12173" y="61956"/>
                  </a:lnTo>
                  <a:lnTo>
                    <a:pt x="12173" y="63260"/>
                  </a:lnTo>
                  <a:lnTo>
                    <a:pt x="11014" y="64565"/>
                  </a:lnTo>
                  <a:lnTo>
                    <a:pt x="11014" y="64565"/>
                  </a:lnTo>
                  <a:lnTo>
                    <a:pt x="12173" y="66521"/>
                  </a:lnTo>
                  <a:lnTo>
                    <a:pt x="13333" y="67826"/>
                  </a:lnTo>
                  <a:lnTo>
                    <a:pt x="15072" y="67826"/>
                  </a:lnTo>
                  <a:lnTo>
                    <a:pt x="19130" y="71086"/>
                  </a:lnTo>
                  <a:lnTo>
                    <a:pt x="20289" y="72391"/>
                  </a:lnTo>
                  <a:lnTo>
                    <a:pt x="20289" y="73695"/>
                  </a:lnTo>
                  <a:lnTo>
                    <a:pt x="21449" y="73695"/>
                  </a:lnTo>
                  <a:lnTo>
                    <a:pt x="23188" y="75652"/>
                  </a:lnTo>
                  <a:lnTo>
                    <a:pt x="24347" y="76956"/>
                  </a:lnTo>
                  <a:lnTo>
                    <a:pt x="23188" y="78913"/>
                  </a:lnTo>
                  <a:lnTo>
                    <a:pt x="23188" y="80217"/>
                  </a:lnTo>
                  <a:lnTo>
                    <a:pt x="24347" y="80217"/>
                  </a:lnTo>
                  <a:lnTo>
                    <a:pt x="24347" y="81521"/>
                  </a:lnTo>
                  <a:lnTo>
                    <a:pt x="24347" y="83478"/>
                  </a:lnTo>
                  <a:lnTo>
                    <a:pt x="25507" y="84782"/>
                  </a:lnTo>
                  <a:lnTo>
                    <a:pt x="25507" y="84782"/>
                  </a:lnTo>
                  <a:lnTo>
                    <a:pt x="28405" y="84782"/>
                  </a:lnTo>
                  <a:lnTo>
                    <a:pt x="28405" y="86086"/>
                  </a:lnTo>
                  <a:lnTo>
                    <a:pt x="30144" y="88043"/>
                  </a:lnTo>
                  <a:lnTo>
                    <a:pt x="31304" y="88043"/>
                  </a:lnTo>
                  <a:lnTo>
                    <a:pt x="32463" y="89347"/>
                  </a:lnTo>
                  <a:lnTo>
                    <a:pt x="32463" y="89347"/>
                  </a:lnTo>
                  <a:lnTo>
                    <a:pt x="32463" y="90652"/>
                  </a:lnTo>
                  <a:lnTo>
                    <a:pt x="34202" y="90652"/>
                  </a:lnTo>
                  <a:lnTo>
                    <a:pt x="34202" y="92608"/>
                  </a:lnTo>
                  <a:lnTo>
                    <a:pt x="34202" y="95869"/>
                  </a:lnTo>
                  <a:lnTo>
                    <a:pt x="34202" y="97173"/>
                  </a:lnTo>
                  <a:lnTo>
                    <a:pt x="35362" y="97173"/>
                  </a:lnTo>
                  <a:lnTo>
                    <a:pt x="35362" y="98478"/>
                  </a:lnTo>
                  <a:lnTo>
                    <a:pt x="36521" y="100434"/>
                  </a:lnTo>
                  <a:lnTo>
                    <a:pt x="38260" y="101739"/>
                  </a:lnTo>
                  <a:lnTo>
                    <a:pt x="38260" y="101739"/>
                  </a:lnTo>
                  <a:lnTo>
                    <a:pt x="39420" y="103043"/>
                  </a:lnTo>
                  <a:lnTo>
                    <a:pt x="39420" y="105000"/>
                  </a:lnTo>
                  <a:lnTo>
                    <a:pt x="39420" y="105000"/>
                  </a:lnTo>
                  <a:lnTo>
                    <a:pt x="40579" y="105000"/>
                  </a:lnTo>
                  <a:lnTo>
                    <a:pt x="42318" y="106304"/>
                  </a:lnTo>
                  <a:lnTo>
                    <a:pt x="42318" y="106304"/>
                  </a:lnTo>
                  <a:lnTo>
                    <a:pt x="42318" y="107608"/>
                  </a:lnTo>
                  <a:lnTo>
                    <a:pt x="43478" y="107608"/>
                  </a:lnTo>
                  <a:lnTo>
                    <a:pt x="44637" y="107608"/>
                  </a:lnTo>
                  <a:lnTo>
                    <a:pt x="44637" y="107608"/>
                  </a:lnTo>
                  <a:lnTo>
                    <a:pt x="46376" y="107608"/>
                  </a:lnTo>
                  <a:lnTo>
                    <a:pt x="46376" y="107608"/>
                  </a:lnTo>
                  <a:lnTo>
                    <a:pt x="47536" y="107608"/>
                  </a:lnTo>
                  <a:lnTo>
                    <a:pt x="49275" y="106304"/>
                  </a:lnTo>
                  <a:lnTo>
                    <a:pt x="49275" y="106304"/>
                  </a:lnTo>
                  <a:lnTo>
                    <a:pt x="51594" y="106304"/>
                  </a:lnTo>
                  <a:lnTo>
                    <a:pt x="53333" y="106304"/>
                  </a:lnTo>
                  <a:lnTo>
                    <a:pt x="54492" y="107608"/>
                  </a:lnTo>
                  <a:lnTo>
                    <a:pt x="54492" y="107608"/>
                  </a:lnTo>
                  <a:lnTo>
                    <a:pt x="57391" y="106304"/>
                  </a:lnTo>
                  <a:lnTo>
                    <a:pt x="57391" y="105000"/>
                  </a:lnTo>
                  <a:lnTo>
                    <a:pt x="58550" y="105000"/>
                  </a:lnTo>
                  <a:lnTo>
                    <a:pt x="59710" y="105000"/>
                  </a:lnTo>
                  <a:lnTo>
                    <a:pt x="61449" y="106304"/>
                  </a:lnTo>
                  <a:lnTo>
                    <a:pt x="61449" y="107608"/>
                  </a:lnTo>
                  <a:lnTo>
                    <a:pt x="62608" y="109565"/>
                  </a:lnTo>
                  <a:lnTo>
                    <a:pt x="63768" y="110869"/>
                  </a:lnTo>
                  <a:lnTo>
                    <a:pt x="65507" y="112826"/>
                  </a:lnTo>
                  <a:lnTo>
                    <a:pt x="68405" y="114130"/>
                  </a:lnTo>
                  <a:lnTo>
                    <a:pt x="68405" y="115434"/>
                  </a:lnTo>
                  <a:lnTo>
                    <a:pt x="69565" y="115434"/>
                  </a:lnTo>
                  <a:lnTo>
                    <a:pt x="69565" y="117391"/>
                  </a:lnTo>
                  <a:lnTo>
                    <a:pt x="69565" y="117391"/>
                  </a:lnTo>
                  <a:lnTo>
                    <a:pt x="69565" y="118695"/>
                  </a:lnTo>
                  <a:lnTo>
                    <a:pt x="70724" y="118695"/>
                  </a:lnTo>
                  <a:lnTo>
                    <a:pt x="70724" y="117391"/>
                  </a:lnTo>
                  <a:lnTo>
                    <a:pt x="70724" y="118695"/>
                  </a:lnTo>
                  <a:lnTo>
                    <a:pt x="72463" y="118695"/>
                  </a:lnTo>
                  <a:lnTo>
                    <a:pt x="72463" y="118695"/>
                  </a:lnTo>
                  <a:lnTo>
                    <a:pt x="72463" y="120000"/>
                  </a:lnTo>
                  <a:lnTo>
                    <a:pt x="72463" y="118695"/>
                  </a:lnTo>
                  <a:lnTo>
                    <a:pt x="73623" y="118695"/>
                  </a:lnTo>
                  <a:lnTo>
                    <a:pt x="74782" y="117391"/>
                  </a:lnTo>
                  <a:lnTo>
                    <a:pt x="76521" y="115434"/>
                  </a:lnTo>
                  <a:lnTo>
                    <a:pt x="76521" y="115434"/>
                  </a:lnTo>
                  <a:lnTo>
                    <a:pt x="77681" y="117391"/>
                  </a:lnTo>
                  <a:lnTo>
                    <a:pt x="78840" y="117391"/>
                  </a:lnTo>
                  <a:lnTo>
                    <a:pt x="80579" y="117391"/>
                  </a:lnTo>
                  <a:lnTo>
                    <a:pt x="80579" y="117391"/>
                  </a:lnTo>
                  <a:lnTo>
                    <a:pt x="82898" y="115434"/>
                  </a:lnTo>
                  <a:lnTo>
                    <a:pt x="82898" y="115434"/>
                  </a:lnTo>
                  <a:lnTo>
                    <a:pt x="82898" y="117391"/>
                  </a:lnTo>
                  <a:lnTo>
                    <a:pt x="84637" y="118695"/>
                  </a:lnTo>
                  <a:lnTo>
                    <a:pt x="85797" y="118695"/>
                  </a:lnTo>
                  <a:lnTo>
                    <a:pt x="85797" y="120000"/>
                  </a:lnTo>
                  <a:lnTo>
                    <a:pt x="85797" y="120000"/>
                  </a:lnTo>
                  <a:lnTo>
                    <a:pt x="85797" y="120000"/>
                  </a:lnTo>
                  <a:lnTo>
                    <a:pt x="87536" y="118695"/>
                  </a:lnTo>
                  <a:lnTo>
                    <a:pt x="87536" y="117391"/>
                  </a:lnTo>
                  <a:lnTo>
                    <a:pt x="88695" y="117391"/>
                  </a:lnTo>
                  <a:lnTo>
                    <a:pt x="89855" y="117391"/>
                  </a:lnTo>
                  <a:lnTo>
                    <a:pt x="92753" y="115434"/>
                  </a:lnTo>
                  <a:lnTo>
                    <a:pt x="92753" y="115434"/>
                  </a:lnTo>
                  <a:lnTo>
                    <a:pt x="93913" y="115434"/>
                  </a:lnTo>
                  <a:lnTo>
                    <a:pt x="95652" y="114130"/>
                  </a:lnTo>
                  <a:lnTo>
                    <a:pt x="96811" y="115434"/>
                  </a:lnTo>
                  <a:lnTo>
                    <a:pt x="99710" y="117391"/>
                  </a:lnTo>
                  <a:lnTo>
                    <a:pt x="100869" y="117391"/>
                  </a:lnTo>
                  <a:lnTo>
                    <a:pt x="100869" y="115434"/>
                  </a:lnTo>
                  <a:lnTo>
                    <a:pt x="102028" y="115434"/>
                  </a:lnTo>
                  <a:lnTo>
                    <a:pt x="103768" y="112826"/>
                  </a:lnTo>
                  <a:lnTo>
                    <a:pt x="106666" y="109565"/>
                  </a:lnTo>
                  <a:lnTo>
                    <a:pt x="107826" y="107608"/>
                  </a:lnTo>
                  <a:lnTo>
                    <a:pt x="110724" y="105000"/>
                  </a:lnTo>
                  <a:lnTo>
                    <a:pt x="113043" y="101739"/>
                  </a:lnTo>
                  <a:lnTo>
                    <a:pt x="115942" y="97173"/>
                  </a:lnTo>
                  <a:lnTo>
                    <a:pt x="117101" y="95869"/>
                  </a:lnTo>
                  <a:lnTo>
                    <a:pt x="120000" y="92608"/>
                  </a:lnTo>
                  <a:lnTo>
                    <a:pt x="120000" y="92608"/>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85" name="Shape 385"/>
            <p:cNvSpPr/>
            <p:nvPr/>
          </p:nvSpPr>
          <p:spPr>
            <a:xfrm>
              <a:off x="5857" y="1992"/>
              <a:ext cx="0" cy="0"/>
            </a:xfrm>
            <a:custGeom>
              <a:avLst/>
              <a:gdLst/>
              <a:ahLst/>
              <a:cxnLst/>
              <a:rect l="0" t="0" r="0" b="0"/>
              <a:pathLst>
                <a:path w="120000" h="120000" extrusionOk="0">
                  <a:moveTo>
                    <a:pt x="54246" y="120000"/>
                  </a:moveTo>
                  <a:lnTo>
                    <a:pt x="57534" y="120000"/>
                  </a:lnTo>
                  <a:lnTo>
                    <a:pt x="57534" y="117391"/>
                  </a:lnTo>
                  <a:lnTo>
                    <a:pt x="54246" y="117391"/>
                  </a:lnTo>
                  <a:lnTo>
                    <a:pt x="54246" y="117391"/>
                  </a:lnTo>
                  <a:lnTo>
                    <a:pt x="54246" y="117391"/>
                  </a:lnTo>
                  <a:lnTo>
                    <a:pt x="54246" y="120000"/>
                  </a:lnTo>
                  <a:close/>
                  <a:moveTo>
                    <a:pt x="37808" y="110869"/>
                  </a:moveTo>
                  <a:lnTo>
                    <a:pt x="37808" y="113478"/>
                  </a:lnTo>
                  <a:lnTo>
                    <a:pt x="37808" y="117391"/>
                  </a:lnTo>
                  <a:lnTo>
                    <a:pt x="37808" y="117391"/>
                  </a:lnTo>
                  <a:lnTo>
                    <a:pt x="37808" y="117391"/>
                  </a:lnTo>
                  <a:lnTo>
                    <a:pt x="37808" y="117391"/>
                  </a:lnTo>
                  <a:lnTo>
                    <a:pt x="41095" y="117391"/>
                  </a:lnTo>
                  <a:lnTo>
                    <a:pt x="41095" y="117391"/>
                  </a:lnTo>
                  <a:lnTo>
                    <a:pt x="46027" y="113478"/>
                  </a:lnTo>
                  <a:lnTo>
                    <a:pt x="41095" y="113478"/>
                  </a:lnTo>
                  <a:lnTo>
                    <a:pt x="37808" y="110869"/>
                  </a:lnTo>
                  <a:close/>
                  <a:moveTo>
                    <a:pt x="80547" y="108260"/>
                  </a:moveTo>
                  <a:lnTo>
                    <a:pt x="80547" y="110869"/>
                  </a:lnTo>
                  <a:lnTo>
                    <a:pt x="83835" y="110869"/>
                  </a:lnTo>
                  <a:lnTo>
                    <a:pt x="83835" y="110869"/>
                  </a:lnTo>
                  <a:lnTo>
                    <a:pt x="80547" y="108260"/>
                  </a:lnTo>
                  <a:close/>
                  <a:moveTo>
                    <a:pt x="29589" y="101739"/>
                  </a:moveTo>
                  <a:lnTo>
                    <a:pt x="26301" y="104347"/>
                  </a:lnTo>
                  <a:lnTo>
                    <a:pt x="29589" y="104347"/>
                  </a:lnTo>
                  <a:lnTo>
                    <a:pt x="29589" y="104347"/>
                  </a:lnTo>
                  <a:lnTo>
                    <a:pt x="34520" y="108260"/>
                  </a:lnTo>
                  <a:lnTo>
                    <a:pt x="34520" y="108260"/>
                  </a:lnTo>
                  <a:lnTo>
                    <a:pt x="34520" y="108260"/>
                  </a:lnTo>
                  <a:lnTo>
                    <a:pt x="34520" y="104347"/>
                  </a:lnTo>
                  <a:lnTo>
                    <a:pt x="29589" y="101739"/>
                  </a:lnTo>
                  <a:close/>
                  <a:moveTo>
                    <a:pt x="88767" y="104347"/>
                  </a:moveTo>
                  <a:lnTo>
                    <a:pt x="83835" y="104347"/>
                  </a:lnTo>
                  <a:lnTo>
                    <a:pt x="80547" y="101739"/>
                  </a:lnTo>
                  <a:lnTo>
                    <a:pt x="80547" y="104347"/>
                  </a:lnTo>
                  <a:lnTo>
                    <a:pt x="80547" y="104347"/>
                  </a:lnTo>
                  <a:lnTo>
                    <a:pt x="83835" y="108260"/>
                  </a:lnTo>
                  <a:lnTo>
                    <a:pt x="83835" y="108260"/>
                  </a:lnTo>
                  <a:lnTo>
                    <a:pt x="83835" y="108260"/>
                  </a:lnTo>
                  <a:lnTo>
                    <a:pt x="88767" y="108260"/>
                  </a:lnTo>
                  <a:lnTo>
                    <a:pt x="88767" y="108260"/>
                  </a:lnTo>
                  <a:lnTo>
                    <a:pt x="88767" y="104347"/>
                  </a:lnTo>
                  <a:lnTo>
                    <a:pt x="88767" y="104347"/>
                  </a:lnTo>
                  <a:close/>
                  <a:moveTo>
                    <a:pt x="103561" y="99130"/>
                  </a:moveTo>
                  <a:lnTo>
                    <a:pt x="100273" y="101739"/>
                  </a:lnTo>
                  <a:lnTo>
                    <a:pt x="100273" y="104347"/>
                  </a:lnTo>
                  <a:lnTo>
                    <a:pt x="100273" y="104347"/>
                  </a:lnTo>
                  <a:lnTo>
                    <a:pt x="108493" y="108260"/>
                  </a:lnTo>
                  <a:lnTo>
                    <a:pt x="108493" y="104347"/>
                  </a:lnTo>
                  <a:lnTo>
                    <a:pt x="103561" y="99130"/>
                  </a:lnTo>
                  <a:lnTo>
                    <a:pt x="103561" y="99130"/>
                  </a:lnTo>
                  <a:close/>
                  <a:moveTo>
                    <a:pt x="14794" y="54782"/>
                  </a:moveTo>
                  <a:lnTo>
                    <a:pt x="14794" y="54782"/>
                  </a:lnTo>
                  <a:lnTo>
                    <a:pt x="14794" y="58695"/>
                  </a:lnTo>
                  <a:lnTo>
                    <a:pt x="18082" y="61304"/>
                  </a:lnTo>
                  <a:lnTo>
                    <a:pt x="18082" y="58695"/>
                  </a:lnTo>
                  <a:lnTo>
                    <a:pt x="14794" y="54782"/>
                  </a:lnTo>
                  <a:close/>
                  <a:moveTo>
                    <a:pt x="0" y="20869"/>
                  </a:moveTo>
                  <a:lnTo>
                    <a:pt x="0" y="20869"/>
                  </a:lnTo>
                  <a:lnTo>
                    <a:pt x="0" y="20869"/>
                  </a:lnTo>
                  <a:lnTo>
                    <a:pt x="0" y="24782"/>
                  </a:lnTo>
                  <a:lnTo>
                    <a:pt x="3287" y="27391"/>
                  </a:lnTo>
                  <a:lnTo>
                    <a:pt x="3287" y="27391"/>
                  </a:lnTo>
                  <a:lnTo>
                    <a:pt x="3287" y="27391"/>
                  </a:lnTo>
                  <a:lnTo>
                    <a:pt x="3287" y="24782"/>
                  </a:lnTo>
                  <a:lnTo>
                    <a:pt x="0" y="20869"/>
                  </a:lnTo>
                  <a:close/>
                  <a:moveTo>
                    <a:pt x="115068" y="74347"/>
                  </a:moveTo>
                  <a:lnTo>
                    <a:pt x="115068" y="70434"/>
                  </a:lnTo>
                  <a:lnTo>
                    <a:pt x="111780" y="70434"/>
                  </a:lnTo>
                  <a:lnTo>
                    <a:pt x="111780" y="70434"/>
                  </a:lnTo>
                  <a:lnTo>
                    <a:pt x="111780" y="70434"/>
                  </a:lnTo>
                  <a:lnTo>
                    <a:pt x="108493" y="70434"/>
                  </a:lnTo>
                  <a:lnTo>
                    <a:pt x="108493" y="67826"/>
                  </a:lnTo>
                  <a:lnTo>
                    <a:pt x="108493" y="67826"/>
                  </a:lnTo>
                  <a:lnTo>
                    <a:pt x="103561" y="65217"/>
                  </a:lnTo>
                  <a:lnTo>
                    <a:pt x="103561" y="61304"/>
                  </a:lnTo>
                  <a:lnTo>
                    <a:pt x="103561" y="58695"/>
                  </a:lnTo>
                  <a:lnTo>
                    <a:pt x="100273" y="54782"/>
                  </a:lnTo>
                  <a:lnTo>
                    <a:pt x="100273" y="52173"/>
                  </a:lnTo>
                  <a:lnTo>
                    <a:pt x="95342" y="45652"/>
                  </a:lnTo>
                  <a:lnTo>
                    <a:pt x="95342" y="43043"/>
                  </a:lnTo>
                  <a:lnTo>
                    <a:pt x="88767" y="36521"/>
                  </a:lnTo>
                  <a:lnTo>
                    <a:pt x="77260" y="24782"/>
                  </a:lnTo>
                  <a:lnTo>
                    <a:pt x="65753" y="18260"/>
                  </a:lnTo>
                  <a:lnTo>
                    <a:pt x="54246" y="11739"/>
                  </a:lnTo>
                  <a:lnTo>
                    <a:pt x="41095" y="0"/>
                  </a:lnTo>
                  <a:lnTo>
                    <a:pt x="41095" y="0"/>
                  </a:lnTo>
                  <a:lnTo>
                    <a:pt x="41095" y="2608"/>
                  </a:lnTo>
                  <a:lnTo>
                    <a:pt x="41095" y="6521"/>
                  </a:lnTo>
                  <a:lnTo>
                    <a:pt x="37808" y="6521"/>
                  </a:lnTo>
                  <a:lnTo>
                    <a:pt x="37808" y="6521"/>
                  </a:lnTo>
                  <a:lnTo>
                    <a:pt x="37808" y="6521"/>
                  </a:lnTo>
                  <a:lnTo>
                    <a:pt x="34520" y="9130"/>
                  </a:lnTo>
                  <a:lnTo>
                    <a:pt x="29589" y="9130"/>
                  </a:lnTo>
                  <a:lnTo>
                    <a:pt x="26301" y="6521"/>
                  </a:lnTo>
                  <a:lnTo>
                    <a:pt x="23013" y="6521"/>
                  </a:lnTo>
                  <a:lnTo>
                    <a:pt x="23013" y="9130"/>
                  </a:lnTo>
                  <a:lnTo>
                    <a:pt x="14794" y="6521"/>
                  </a:lnTo>
                  <a:lnTo>
                    <a:pt x="11506" y="9130"/>
                  </a:lnTo>
                  <a:lnTo>
                    <a:pt x="11506" y="9130"/>
                  </a:lnTo>
                  <a:lnTo>
                    <a:pt x="6575" y="9130"/>
                  </a:lnTo>
                  <a:lnTo>
                    <a:pt x="6575" y="11739"/>
                  </a:lnTo>
                  <a:lnTo>
                    <a:pt x="6575" y="11739"/>
                  </a:lnTo>
                  <a:lnTo>
                    <a:pt x="6575" y="15652"/>
                  </a:lnTo>
                  <a:lnTo>
                    <a:pt x="3287" y="18260"/>
                  </a:lnTo>
                  <a:lnTo>
                    <a:pt x="6575" y="20869"/>
                  </a:lnTo>
                  <a:lnTo>
                    <a:pt x="6575" y="20869"/>
                  </a:lnTo>
                  <a:lnTo>
                    <a:pt x="3287" y="20869"/>
                  </a:lnTo>
                  <a:lnTo>
                    <a:pt x="3287" y="24782"/>
                  </a:lnTo>
                  <a:lnTo>
                    <a:pt x="3287" y="24782"/>
                  </a:lnTo>
                  <a:lnTo>
                    <a:pt x="3287" y="24782"/>
                  </a:lnTo>
                  <a:lnTo>
                    <a:pt x="6575" y="24782"/>
                  </a:lnTo>
                  <a:lnTo>
                    <a:pt x="6575" y="27391"/>
                  </a:lnTo>
                  <a:lnTo>
                    <a:pt x="11506" y="27391"/>
                  </a:lnTo>
                  <a:lnTo>
                    <a:pt x="11506" y="31304"/>
                  </a:lnTo>
                  <a:lnTo>
                    <a:pt x="11506" y="33913"/>
                  </a:lnTo>
                  <a:lnTo>
                    <a:pt x="14794" y="36521"/>
                  </a:lnTo>
                  <a:lnTo>
                    <a:pt x="18082" y="40434"/>
                  </a:lnTo>
                  <a:lnTo>
                    <a:pt x="18082" y="40434"/>
                  </a:lnTo>
                  <a:lnTo>
                    <a:pt x="18082" y="40434"/>
                  </a:lnTo>
                  <a:lnTo>
                    <a:pt x="23013" y="45652"/>
                  </a:lnTo>
                  <a:lnTo>
                    <a:pt x="26301" y="45652"/>
                  </a:lnTo>
                  <a:lnTo>
                    <a:pt x="26301" y="45652"/>
                  </a:lnTo>
                  <a:lnTo>
                    <a:pt x="26301" y="45652"/>
                  </a:lnTo>
                  <a:lnTo>
                    <a:pt x="26301" y="49565"/>
                  </a:lnTo>
                  <a:lnTo>
                    <a:pt x="26301" y="49565"/>
                  </a:lnTo>
                  <a:lnTo>
                    <a:pt x="26301" y="49565"/>
                  </a:lnTo>
                  <a:lnTo>
                    <a:pt x="23013" y="45652"/>
                  </a:lnTo>
                  <a:lnTo>
                    <a:pt x="18082" y="45652"/>
                  </a:lnTo>
                  <a:lnTo>
                    <a:pt x="14794" y="43043"/>
                  </a:lnTo>
                  <a:lnTo>
                    <a:pt x="11506" y="43043"/>
                  </a:lnTo>
                  <a:lnTo>
                    <a:pt x="11506" y="45652"/>
                  </a:lnTo>
                  <a:lnTo>
                    <a:pt x="11506" y="45652"/>
                  </a:lnTo>
                  <a:lnTo>
                    <a:pt x="6575" y="49565"/>
                  </a:lnTo>
                  <a:lnTo>
                    <a:pt x="6575" y="49565"/>
                  </a:lnTo>
                  <a:lnTo>
                    <a:pt x="6575" y="52173"/>
                  </a:lnTo>
                  <a:lnTo>
                    <a:pt x="11506" y="52173"/>
                  </a:lnTo>
                  <a:lnTo>
                    <a:pt x="14794" y="54782"/>
                  </a:lnTo>
                  <a:lnTo>
                    <a:pt x="14794" y="52173"/>
                  </a:lnTo>
                  <a:lnTo>
                    <a:pt x="18082" y="52173"/>
                  </a:lnTo>
                  <a:lnTo>
                    <a:pt x="18082" y="54782"/>
                  </a:lnTo>
                  <a:lnTo>
                    <a:pt x="23013" y="58695"/>
                  </a:lnTo>
                  <a:lnTo>
                    <a:pt x="23013" y="61304"/>
                  </a:lnTo>
                  <a:lnTo>
                    <a:pt x="23013" y="61304"/>
                  </a:lnTo>
                  <a:lnTo>
                    <a:pt x="26301" y="65217"/>
                  </a:lnTo>
                  <a:lnTo>
                    <a:pt x="26301" y="67826"/>
                  </a:lnTo>
                  <a:lnTo>
                    <a:pt x="26301" y="70434"/>
                  </a:lnTo>
                  <a:lnTo>
                    <a:pt x="29589" y="70434"/>
                  </a:lnTo>
                  <a:lnTo>
                    <a:pt x="34520" y="70434"/>
                  </a:lnTo>
                  <a:lnTo>
                    <a:pt x="29589" y="74347"/>
                  </a:lnTo>
                  <a:lnTo>
                    <a:pt x="34520" y="74347"/>
                  </a:lnTo>
                  <a:lnTo>
                    <a:pt x="34520" y="74347"/>
                  </a:lnTo>
                  <a:lnTo>
                    <a:pt x="34520" y="76956"/>
                  </a:lnTo>
                  <a:lnTo>
                    <a:pt x="37808" y="79565"/>
                  </a:lnTo>
                  <a:lnTo>
                    <a:pt x="34520" y="79565"/>
                  </a:lnTo>
                  <a:lnTo>
                    <a:pt x="34520" y="79565"/>
                  </a:lnTo>
                  <a:lnTo>
                    <a:pt x="29589" y="83478"/>
                  </a:lnTo>
                  <a:lnTo>
                    <a:pt x="29589" y="83478"/>
                  </a:lnTo>
                  <a:lnTo>
                    <a:pt x="34520" y="83478"/>
                  </a:lnTo>
                  <a:lnTo>
                    <a:pt x="37808" y="83478"/>
                  </a:lnTo>
                  <a:lnTo>
                    <a:pt x="34520" y="86086"/>
                  </a:lnTo>
                  <a:lnTo>
                    <a:pt x="34520" y="86086"/>
                  </a:lnTo>
                  <a:lnTo>
                    <a:pt x="34520" y="86086"/>
                  </a:lnTo>
                  <a:lnTo>
                    <a:pt x="34520" y="92608"/>
                  </a:lnTo>
                  <a:lnTo>
                    <a:pt x="34520" y="95217"/>
                  </a:lnTo>
                  <a:lnTo>
                    <a:pt x="34520" y="95217"/>
                  </a:lnTo>
                  <a:lnTo>
                    <a:pt x="34520" y="99130"/>
                  </a:lnTo>
                  <a:lnTo>
                    <a:pt x="37808" y="101739"/>
                  </a:lnTo>
                  <a:lnTo>
                    <a:pt x="41095" y="104347"/>
                  </a:lnTo>
                  <a:lnTo>
                    <a:pt x="41095" y="104347"/>
                  </a:lnTo>
                  <a:lnTo>
                    <a:pt x="46027" y="104347"/>
                  </a:lnTo>
                  <a:lnTo>
                    <a:pt x="46027" y="104347"/>
                  </a:lnTo>
                  <a:lnTo>
                    <a:pt x="46027" y="108260"/>
                  </a:lnTo>
                  <a:lnTo>
                    <a:pt x="41095" y="108260"/>
                  </a:lnTo>
                  <a:lnTo>
                    <a:pt x="46027" y="108260"/>
                  </a:lnTo>
                  <a:lnTo>
                    <a:pt x="46027" y="108260"/>
                  </a:lnTo>
                  <a:lnTo>
                    <a:pt x="41095" y="108260"/>
                  </a:lnTo>
                  <a:lnTo>
                    <a:pt x="37808" y="108260"/>
                  </a:lnTo>
                  <a:lnTo>
                    <a:pt x="37808" y="108260"/>
                  </a:lnTo>
                  <a:lnTo>
                    <a:pt x="41095" y="110869"/>
                  </a:lnTo>
                  <a:lnTo>
                    <a:pt x="46027" y="113478"/>
                  </a:lnTo>
                  <a:lnTo>
                    <a:pt x="49315" y="117391"/>
                  </a:lnTo>
                  <a:lnTo>
                    <a:pt x="49315" y="117391"/>
                  </a:lnTo>
                  <a:lnTo>
                    <a:pt x="49315" y="120000"/>
                  </a:lnTo>
                  <a:lnTo>
                    <a:pt x="54246" y="120000"/>
                  </a:lnTo>
                  <a:lnTo>
                    <a:pt x="54246" y="117391"/>
                  </a:lnTo>
                  <a:lnTo>
                    <a:pt x="54246" y="113478"/>
                  </a:lnTo>
                  <a:lnTo>
                    <a:pt x="57534" y="113478"/>
                  </a:lnTo>
                  <a:lnTo>
                    <a:pt x="57534" y="113478"/>
                  </a:lnTo>
                  <a:lnTo>
                    <a:pt x="60821" y="117391"/>
                  </a:lnTo>
                  <a:lnTo>
                    <a:pt x="60821" y="110869"/>
                  </a:lnTo>
                  <a:lnTo>
                    <a:pt x="65753" y="108260"/>
                  </a:lnTo>
                  <a:lnTo>
                    <a:pt x="65753" y="108260"/>
                  </a:lnTo>
                  <a:lnTo>
                    <a:pt x="69041" y="110869"/>
                  </a:lnTo>
                  <a:lnTo>
                    <a:pt x="65753" y="110869"/>
                  </a:lnTo>
                  <a:lnTo>
                    <a:pt x="65753" y="113478"/>
                  </a:lnTo>
                  <a:lnTo>
                    <a:pt x="72328" y="113478"/>
                  </a:lnTo>
                  <a:lnTo>
                    <a:pt x="72328" y="113478"/>
                  </a:lnTo>
                  <a:lnTo>
                    <a:pt x="72328" y="113478"/>
                  </a:lnTo>
                  <a:lnTo>
                    <a:pt x="72328" y="110869"/>
                  </a:lnTo>
                  <a:lnTo>
                    <a:pt x="72328" y="108260"/>
                  </a:lnTo>
                  <a:lnTo>
                    <a:pt x="69041" y="108260"/>
                  </a:lnTo>
                  <a:lnTo>
                    <a:pt x="69041" y="104347"/>
                  </a:lnTo>
                  <a:lnTo>
                    <a:pt x="69041" y="104347"/>
                  </a:lnTo>
                  <a:lnTo>
                    <a:pt x="72328" y="104347"/>
                  </a:lnTo>
                  <a:lnTo>
                    <a:pt x="72328" y="108260"/>
                  </a:lnTo>
                  <a:lnTo>
                    <a:pt x="77260" y="108260"/>
                  </a:lnTo>
                  <a:lnTo>
                    <a:pt x="80547" y="108260"/>
                  </a:lnTo>
                  <a:lnTo>
                    <a:pt x="80547" y="108260"/>
                  </a:lnTo>
                  <a:lnTo>
                    <a:pt x="77260" y="104347"/>
                  </a:lnTo>
                  <a:lnTo>
                    <a:pt x="77260" y="104347"/>
                  </a:lnTo>
                  <a:lnTo>
                    <a:pt x="77260" y="101739"/>
                  </a:lnTo>
                  <a:lnTo>
                    <a:pt x="77260" y="101739"/>
                  </a:lnTo>
                  <a:lnTo>
                    <a:pt x="80547" y="101739"/>
                  </a:lnTo>
                  <a:lnTo>
                    <a:pt x="83835" y="99130"/>
                  </a:lnTo>
                  <a:lnTo>
                    <a:pt x="83835" y="99130"/>
                  </a:lnTo>
                  <a:lnTo>
                    <a:pt x="88767" y="101739"/>
                  </a:lnTo>
                  <a:lnTo>
                    <a:pt x="88767" y="101739"/>
                  </a:lnTo>
                  <a:lnTo>
                    <a:pt x="92054" y="101739"/>
                  </a:lnTo>
                  <a:lnTo>
                    <a:pt x="95342" y="104347"/>
                  </a:lnTo>
                  <a:lnTo>
                    <a:pt x="100273" y="104347"/>
                  </a:lnTo>
                  <a:lnTo>
                    <a:pt x="95342" y="101739"/>
                  </a:lnTo>
                  <a:lnTo>
                    <a:pt x="95342" y="99130"/>
                  </a:lnTo>
                  <a:lnTo>
                    <a:pt x="95342" y="99130"/>
                  </a:lnTo>
                  <a:lnTo>
                    <a:pt x="95342" y="99130"/>
                  </a:lnTo>
                  <a:lnTo>
                    <a:pt x="100273" y="95217"/>
                  </a:lnTo>
                  <a:lnTo>
                    <a:pt x="103561" y="99130"/>
                  </a:lnTo>
                  <a:lnTo>
                    <a:pt x="111780" y="99130"/>
                  </a:lnTo>
                  <a:lnTo>
                    <a:pt x="111780" y="95217"/>
                  </a:lnTo>
                  <a:lnTo>
                    <a:pt x="115068" y="95217"/>
                  </a:lnTo>
                  <a:lnTo>
                    <a:pt x="119999" y="92608"/>
                  </a:lnTo>
                  <a:lnTo>
                    <a:pt x="119999" y="86086"/>
                  </a:lnTo>
                  <a:lnTo>
                    <a:pt x="115068" y="79565"/>
                  </a:lnTo>
                  <a:lnTo>
                    <a:pt x="115068" y="74347"/>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86" name="Shape 386"/>
            <p:cNvSpPr/>
            <p:nvPr/>
          </p:nvSpPr>
          <p:spPr>
            <a:xfrm>
              <a:off x="3955" y="3276"/>
              <a:ext cx="300" cy="300"/>
            </a:xfrm>
            <a:custGeom>
              <a:avLst/>
              <a:gdLst/>
              <a:ahLst/>
              <a:cxnLst/>
              <a:rect l="0" t="0" r="0" b="0"/>
              <a:pathLst>
                <a:path w="120000" h="120000" extrusionOk="0">
                  <a:moveTo>
                    <a:pt x="117979" y="44494"/>
                  </a:moveTo>
                  <a:lnTo>
                    <a:pt x="116767" y="44494"/>
                  </a:lnTo>
                  <a:lnTo>
                    <a:pt x="115959" y="44494"/>
                  </a:lnTo>
                  <a:lnTo>
                    <a:pt x="115151" y="44494"/>
                  </a:lnTo>
                  <a:lnTo>
                    <a:pt x="113939" y="44494"/>
                  </a:lnTo>
                  <a:lnTo>
                    <a:pt x="113939" y="44494"/>
                  </a:lnTo>
                  <a:lnTo>
                    <a:pt x="113131" y="43595"/>
                  </a:lnTo>
                  <a:lnTo>
                    <a:pt x="113131" y="43595"/>
                  </a:lnTo>
                  <a:lnTo>
                    <a:pt x="113131" y="45842"/>
                  </a:lnTo>
                  <a:lnTo>
                    <a:pt x="113131" y="47640"/>
                  </a:lnTo>
                  <a:lnTo>
                    <a:pt x="113131" y="48988"/>
                  </a:lnTo>
                  <a:lnTo>
                    <a:pt x="111111" y="48988"/>
                  </a:lnTo>
                  <a:lnTo>
                    <a:pt x="109494" y="48988"/>
                  </a:lnTo>
                  <a:lnTo>
                    <a:pt x="107474" y="47640"/>
                  </a:lnTo>
                  <a:lnTo>
                    <a:pt x="106666" y="46741"/>
                  </a:lnTo>
                  <a:lnTo>
                    <a:pt x="105454" y="44494"/>
                  </a:lnTo>
                  <a:lnTo>
                    <a:pt x="105454" y="43595"/>
                  </a:lnTo>
                  <a:lnTo>
                    <a:pt x="104646" y="43595"/>
                  </a:lnTo>
                  <a:lnTo>
                    <a:pt x="104646" y="43595"/>
                  </a:lnTo>
                  <a:lnTo>
                    <a:pt x="104646" y="42247"/>
                  </a:lnTo>
                  <a:lnTo>
                    <a:pt x="104646" y="40449"/>
                  </a:lnTo>
                  <a:lnTo>
                    <a:pt x="104646" y="40449"/>
                  </a:lnTo>
                  <a:lnTo>
                    <a:pt x="105454" y="38202"/>
                  </a:lnTo>
                  <a:lnTo>
                    <a:pt x="106666" y="37303"/>
                  </a:lnTo>
                  <a:lnTo>
                    <a:pt x="107474" y="35955"/>
                  </a:lnTo>
                  <a:lnTo>
                    <a:pt x="108282" y="35056"/>
                  </a:lnTo>
                  <a:lnTo>
                    <a:pt x="109494" y="34157"/>
                  </a:lnTo>
                  <a:lnTo>
                    <a:pt x="109494" y="34157"/>
                  </a:lnTo>
                  <a:lnTo>
                    <a:pt x="109494" y="34157"/>
                  </a:lnTo>
                  <a:lnTo>
                    <a:pt x="111111" y="35056"/>
                  </a:lnTo>
                  <a:lnTo>
                    <a:pt x="113131" y="35955"/>
                  </a:lnTo>
                  <a:lnTo>
                    <a:pt x="113131" y="35955"/>
                  </a:lnTo>
                  <a:lnTo>
                    <a:pt x="113131" y="35955"/>
                  </a:lnTo>
                  <a:lnTo>
                    <a:pt x="113131" y="35056"/>
                  </a:lnTo>
                  <a:lnTo>
                    <a:pt x="113131" y="34157"/>
                  </a:lnTo>
                  <a:lnTo>
                    <a:pt x="113939" y="32808"/>
                  </a:lnTo>
                  <a:lnTo>
                    <a:pt x="113939" y="29662"/>
                  </a:lnTo>
                  <a:lnTo>
                    <a:pt x="113939" y="29662"/>
                  </a:lnTo>
                  <a:lnTo>
                    <a:pt x="113939" y="27415"/>
                  </a:lnTo>
                  <a:lnTo>
                    <a:pt x="113939" y="25617"/>
                  </a:lnTo>
                  <a:lnTo>
                    <a:pt x="113939" y="23370"/>
                  </a:lnTo>
                  <a:lnTo>
                    <a:pt x="113939" y="21123"/>
                  </a:lnTo>
                  <a:lnTo>
                    <a:pt x="113939" y="21123"/>
                  </a:lnTo>
                  <a:lnTo>
                    <a:pt x="113939" y="20224"/>
                  </a:lnTo>
                  <a:lnTo>
                    <a:pt x="113131" y="18876"/>
                  </a:lnTo>
                  <a:lnTo>
                    <a:pt x="113131" y="17977"/>
                  </a:lnTo>
                  <a:lnTo>
                    <a:pt x="113131" y="15730"/>
                  </a:lnTo>
                  <a:lnTo>
                    <a:pt x="112323" y="14831"/>
                  </a:lnTo>
                  <a:lnTo>
                    <a:pt x="112323" y="14831"/>
                  </a:lnTo>
                  <a:lnTo>
                    <a:pt x="112323" y="13932"/>
                  </a:lnTo>
                  <a:lnTo>
                    <a:pt x="111111" y="12584"/>
                  </a:lnTo>
                  <a:lnTo>
                    <a:pt x="111111" y="12584"/>
                  </a:lnTo>
                  <a:lnTo>
                    <a:pt x="111111" y="11685"/>
                  </a:lnTo>
                  <a:lnTo>
                    <a:pt x="111111" y="10337"/>
                  </a:lnTo>
                  <a:lnTo>
                    <a:pt x="110303" y="8539"/>
                  </a:lnTo>
                  <a:lnTo>
                    <a:pt x="110303" y="6292"/>
                  </a:lnTo>
                  <a:lnTo>
                    <a:pt x="110303" y="4044"/>
                  </a:lnTo>
                  <a:lnTo>
                    <a:pt x="109494" y="3146"/>
                  </a:lnTo>
                  <a:lnTo>
                    <a:pt x="109494" y="3146"/>
                  </a:lnTo>
                  <a:lnTo>
                    <a:pt x="109494" y="2247"/>
                  </a:lnTo>
                  <a:lnTo>
                    <a:pt x="109494" y="2247"/>
                  </a:lnTo>
                  <a:lnTo>
                    <a:pt x="108282" y="898"/>
                  </a:lnTo>
                  <a:lnTo>
                    <a:pt x="106666" y="898"/>
                  </a:lnTo>
                  <a:lnTo>
                    <a:pt x="105454" y="898"/>
                  </a:lnTo>
                  <a:lnTo>
                    <a:pt x="103434" y="898"/>
                  </a:lnTo>
                  <a:lnTo>
                    <a:pt x="101818" y="898"/>
                  </a:lnTo>
                  <a:lnTo>
                    <a:pt x="99797" y="0"/>
                  </a:lnTo>
                  <a:lnTo>
                    <a:pt x="97777" y="0"/>
                  </a:lnTo>
                  <a:lnTo>
                    <a:pt x="96161" y="0"/>
                  </a:lnTo>
                  <a:lnTo>
                    <a:pt x="94949" y="0"/>
                  </a:lnTo>
                  <a:lnTo>
                    <a:pt x="94141" y="0"/>
                  </a:lnTo>
                  <a:lnTo>
                    <a:pt x="93333" y="898"/>
                  </a:lnTo>
                  <a:lnTo>
                    <a:pt x="92121" y="2247"/>
                  </a:lnTo>
                  <a:lnTo>
                    <a:pt x="91313" y="3146"/>
                  </a:lnTo>
                  <a:lnTo>
                    <a:pt x="90101" y="3146"/>
                  </a:lnTo>
                  <a:lnTo>
                    <a:pt x="89292" y="4044"/>
                  </a:lnTo>
                  <a:lnTo>
                    <a:pt x="88484" y="4044"/>
                  </a:lnTo>
                  <a:lnTo>
                    <a:pt x="86464" y="5393"/>
                  </a:lnTo>
                  <a:lnTo>
                    <a:pt x="85656" y="6292"/>
                  </a:lnTo>
                  <a:lnTo>
                    <a:pt x="84444" y="7191"/>
                  </a:lnTo>
                  <a:lnTo>
                    <a:pt x="84444" y="8539"/>
                  </a:lnTo>
                  <a:lnTo>
                    <a:pt x="84444" y="8539"/>
                  </a:lnTo>
                  <a:lnTo>
                    <a:pt x="83636" y="8539"/>
                  </a:lnTo>
                  <a:lnTo>
                    <a:pt x="83636" y="9438"/>
                  </a:lnTo>
                  <a:lnTo>
                    <a:pt x="83636" y="9438"/>
                  </a:lnTo>
                  <a:lnTo>
                    <a:pt x="83636" y="9438"/>
                  </a:lnTo>
                  <a:lnTo>
                    <a:pt x="82828" y="9438"/>
                  </a:lnTo>
                  <a:lnTo>
                    <a:pt x="82828" y="10337"/>
                  </a:lnTo>
                  <a:lnTo>
                    <a:pt x="81616" y="10337"/>
                  </a:lnTo>
                  <a:lnTo>
                    <a:pt x="81616" y="11685"/>
                  </a:lnTo>
                  <a:lnTo>
                    <a:pt x="80808" y="11685"/>
                  </a:lnTo>
                  <a:lnTo>
                    <a:pt x="80000" y="11685"/>
                  </a:lnTo>
                  <a:lnTo>
                    <a:pt x="80000" y="12584"/>
                  </a:lnTo>
                  <a:lnTo>
                    <a:pt x="78787" y="12584"/>
                  </a:lnTo>
                  <a:lnTo>
                    <a:pt x="78787" y="12584"/>
                  </a:lnTo>
                  <a:lnTo>
                    <a:pt x="78787" y="13932"/>
                  </a:lnTo>
                  <a:lnTo>
                    <a:pt x="77979" y="14831"/>
                  </a:lnTo>
                  <a:lnTo>
                    <a:pt x="77979" y="14831"/>
                  </a:lnTo>
                  <a:lnTo>
                    <a:pt x="75959" y="18876"/>
                  </a:lnTo>
                  <a:lnTo>
                    <a:pt x="75959" y="20224"/>
                  </a:lnTo>
                  <a:lnTo>
                    <a:pt x="75151" y="21123"/>
                  </a:lnTo>
                  <a:lnTo>
                    <a:pt x="73939" y="22022"/>
                  </a:lnTo>
                  <a:lnTo>
                    <a:pt x="73131" y="23370"/>
                  </a:lnTo>
                  <a:lnTo>
                    <a:pt x="73131" y="23370"/>
                  </a:lnTo>
                  <a:lnTo>
                    <a:pt x="71111" y="23370"/>
                  </a:lnTo>
                  <a:lnTo>
                    <a:pt x="70303" y="24269"/>
                  </a:lnTo>
                  <a:lnTo>
                    <a:pt x="69494" y="24269"/>
                  </a:lnTo>
                  <a:lnTo>
                    <a:pt x="69494" y="24269"/>
                  </a:lnTo>
                  <a:lnTo>
                    <a:pt x="69494" y="26516"/>
                  </a:lnTo>
                  <a:lnTo>
                    <a:pt x="68282" y="28764"/>
                  </a:lnTo>
                  <a:lnTo>
                    <a:pt x="67474" y="29662"/>
                  </a:lnTo>
                  <a:lnTo>
                    <a:pt x="67474" y="30561"/>
                  </a:lnTo>
                  <a:lnTo>
                    <a:pt x="67474" y="32808"/>
                  </a:lnTo>
                  <a:lnTo>
                    <a:pt x="66666" y="32808"/>
                  </a:lnTo>
                  <a:lnTo>
                    <a:pt x="65454" y="34157"/>
                  </a:lnTo>
                  <a:lnTo>
                    <a:pt x="65454" y="34157"/>
                  </a:lnTo>
                  <a:lnTo>
                    <a:pt x="64646" y="34157"/>
                  </a:lnTo>
                  <a:lnTo>
                    <a:pt x="63838" y="34157"/>
                  </a:lnTo>
                  <a:lnTo>
                    <a:pt x="62626" y="34157"/>
                  </a:lnTo>
                  <a:lnTo>
                    <a:pt x="61818" y="35056"/>
                  </a:lnTo>
                  <a:lnTo>
                    <a:pt x="60606" y="35056"/>
                  </a:lnTo>
                  <a:lnTo>
                    <a:pt x="59797" y="34157"/>
                  </a:lnTo>
                  <a:lnTo>
                    <a:pt x="57777" y="34157"/>
                  </a:lnTo>
                  <a:lnTo>
                    <a:pt x="57777" y="34157"/>
                  </a:lnTo>
                  <a:lnTo>
                    <a:pt x="56969" y="32808"/>
                  </a:lnTo>
                  <a:lnTo>
                    <a:pt x="56161" y="32808"/>
                  </a:lnTo>
                  <a:lnTo>
                    <a:pt x="54949" y="32808"/>
                  </a:lnTo>
                  <a:lnTo>
                    <a:pt x="54949" y="32808"/>
                  </a:lnTo>
                  <a:lnTo>
                    <a:pt x="54141" y="31910"/>
                  </a:lnTo>
                  <a:lnTo>
                    <a:pt x="53333" y="30561"/>
                  </a:lnTo>
                  <a:lnTo>
                    <a:pt x="52121" y="29662"/>
                  </a:lnTo>
                  <a:lnTo>
                    <a:pt x="51313" y="29662"/>
                  </a:lnTo>
                  <a:lnTo>
                    <a:pt x="50505" y="29662"/>
                  </a:lnTo>
                  <a:lnTo>
                    <a:pt x="49292" y="29662"/>
                  </a:lnTo>
                  <a:lnTo>
                    <a:pt x="48484" y="29662"/>
                  </a:lnTo>
                  <a:lnTo>
                    <a:pt x="48484" y="29662"/>
                  </a:lnTo>
                  <a:lnTo>
                    <a:pt x="47272" y="30561"/>
                  </a:lnTo>
                  <a:lnTo>
                    <a:pt x="47272" y="30561"/>
                  </a:lnTo>
                  <a:lnTo>
                    <a:pt x="46464" y="32808"/>
                  </a:lnTo>
                  <a:lnTo>
                    <a:pt x="46464" y="32808"/>
                  </a:lnTo>
                  <a:lnTo>
                    <a:pt x="46464" y="35056"/>
                  </a:lnTo>
                  <a:lnTo>
                    <a:pt x="45656" y="37303"/>
                  </a:lnTo>
                  <a:lnTo>
                    <a:pt x="45656" y="37303"/>
                  </a:lnTo>
                  <a:lnTo>
                    <a:pt x="44444" y="38202"/>
                  </a:lnTo>
                  <a:lnTo>
                    <a:pt x="44444" y="38202"/>
                  </a:lnTo>
                  <a:lnTo>
                    <a:pt x="42828" y="40449"/>
                  </a:lnTo>
                  <a:lnTo>
                    <a:pt x="41616" y="41348"/>
                  </a:lnTo>
                  <a:lnTo>
                    <a:pt x="40808" y="42247"/>
                  </a:lnTo>
                  <a:lnTo>
                    <a:pt x="40000" y="42247"/>
                  </a:lnTo>
                  <a:lnTo>
                    <a:pt x="40000" y="42247"/>
                  </a:lnTo>
                  <a:lnTo>
                    <a:pt x="38787" y="43595"/>
                  </a:lnTo>
                  <a:lnTo>
                    <a:pt x="38787" y="43595"/>
                  </a:lnTo>
                  <a:lnTo>
                    <a:pt x="37979" y="44494"/>
                  </a:lnTo>
                  <a:lnTo>
                    <a:pt x="37979" y="44494"/>
                  </a:lnTo>
                  <a:lnTo>
                    <a:pt x="37171" y="44494"/>
                  </a:lnTo>
                  <a:lnTo>
                    <a:pt x="37171" y="44494"/>
                  </a:lnTo>
                  <a:lnTo>
                    <a:pt x="33939" y="44494"/>
                  </a:lnTo>
                  <a:lnTo>
                    <a:pt x="33131" y="44494"/>
                  </a:lnTo>
                  <a:lnTo>
                    <a:pt x="32323" y="43595"/>
                  </a:lnTo>
                  <a:lnTo>
                    <a:pt x="31111" y="44494"/>
                  </a:lnTo>
                  <a:lnTo>
                    <a:pt x="31111" y="44494"/>
                  </a:lnTo>
                  <a:lnTo>
                    <a:pt x="30303" y="43595"/>
                  </a:lnTo>
                  <a:lnTo>
                    <a:pt x="30303" y="41348"/>
                  </a:lnTo>
                  <a:lnTo>
                    <a:pt x="30303" y="40449"/>
                  </a:lnTo>
                  <a:lnTo>
                    <a:pt x="31111" y="39101"/>
                  </a:lnTo>
                  <a:lnTo>
                    <a:pt x="31111" y="39101"/>
                  </a:lnTo>
                  <a:lnTo>
                    <a:pt x="32323" y="38202"/>
                  </a:lnTo>
                  <a:lnTo>
                    <a:pt x="32323" y="37303"/>
                  </a:lnTo>
                  <a:lnTo>
                    <a:pt x="32323" y="37303"/>
                  </a:lnTo>
                  <a:lnTo>
                    <a:pt x="32323" y="35955"/>
                  </a:lnTo>
                  <a:lnTo>
                    <a:pt x="32323" y="35056"/>
                  </a:lnTo>
                  <a:lnTo>
                    <a:pt x="31111" y="34157"/>
                  </a:lnTo>
                  <a:lnTo>
                    <a:pt x="30303" y="31910"/>
                  </a:lnTo>
                  <a:lnTo>
                    <a:pt x="29494" y="28764"/>
                  </a:lnTo>
                  <a:lnTo>
                    <a:pt x="29494" y="28764"/>
                  </a:lnTo>
                  <a:lnTo>
                    <a:pt x="28282" y="27415"/>
                  </a:lnTo>
                  <a:lnTo>
                    <a:pt x="26666" y="25617"/>
                  </a:lnTo>
                  <a:lnTo>
                    <a:pt x="26666" y="24269"/>
                  </a:lnTo>
                  <a:lnTo>
                    <a:pt x="26666" y="28764"/>
                  </a:lnTo>
                  <a:lnTo>
                    <a:pt x="26666" y="32808"/>
                  </a:lnTo>
                  <a:lnTo>
                    <a:pt x="25454" y="37303"/>
                  </a:lnTo>
                  <a:lnTo>
                    <a:pt x="25454" y="41348"/>
                  </a:lnTo>
                  <a:lnTo>
                    <a:pt x="25454" y="45842"/>
                  </a:lnTo>
                  <a:lnTo>
                    <a:pt x="25454" y="49887"/>
                  </a:lnTo>
                  <a:lnTo>
                    <a:pt x="25454" y="53932"/>
                  </a:lnTo>
                  <a:lnTo>
                    <a:pt x="25454" y="58426"/>
                  </a:lnTo>
                  <a:lnTo>
                    <a:pt x="25454" y="59325"/>
                  </a:lnTo>
                  <a:lnTo>
                    <a:pt x="24646" y="59325"/>
                  </a:lnTo>
                  <a:lnTo>
                    <a:pt x="23838" y="60674"/>
                  </a:lnTo>
                  <a:lnTo>
                    <a:pt x="22626" y="60674"/>
                  </a:lnTo>
                  <a:lnTo>
                    <a:pt x="21818" y="61573"/>
                  </a:lnTo>
                  <a:lnTo>
                    <a:pt x="21818" y="61573"/>
                  </a:lnTo>
                  <a:lnTo>
                    <a:pt x="20606" y="62471"/>
                  </a:lnTo>
                  <a:lnTo>
                    <a:pt x="20606" y="62471"/>
                  </a:lnTo>
                  <a:lnTo>
                    <a:pt x="20606" y="63820"/>
                  </a:lnTo>
                  <a:lnTo>
                    <a:pt x="19797" y="63820"/>
                  </a:lnTo>
                  <a:lnTo>
                    <a:pt x="19797" y="63820"/>
                  </a:lnTo>
                  <a:lnTo>
                    <a:pt x="18989" y="63820"/>
                  </a:lnTo>
                  <a:lnTo>
                    <a:pt x="16969" y="63820"/>
                  </a:lnTo>
                  <a:lnTo>
                    <a:pt x="14949" y="63820"/>
                  </a:lnTo>
                  <a:lnTo>
                    <a:pt x="13333" y="63820"/>
                  </a:lnTo>
                  <a:lnTo>
                    <a:pt x="12121" y="63820"/>
                  </a:lnTo>
                  <a:lnTo>
                    <a:pt x="11313" y="62471"/>
                  </a:lnTo>
                  <a:lnTo>
                    <a:pt x="10505" y="62471"/>
                  </a:lnTo>
                  <a:lnTo>
                    <a:pt x="9292" y="62471"/>
                  </a:lnTo>
                  <a:lnTo>
                    <a:pt x="8484" y="62471"/>
                  </a:lnTo>
                  <a:lnTo>
                    <a:pt x="7272" y="61573"/>
                  </a:lnTo>
                  <a:lnTo>
                    <a:pt x="7272" y="61573"/>
                  </a:lnTo>
                  <a:lnTo>
                    <a:pt x="6464" y="60674"/>
                  </a:lnTo>
                  <a:lnTo>
                    <a:pt x="6464" y="60674"/>
                  </a:lnTo>
                  <a:lnTo>
                    <a:pt x="6464" y="59325"/>
                  </a:lnTo>
                  <a:lnTo>
                    <a:pt x="6464" y="59325"/>
                  </a:lnTo>
                  <a:lnTo>
                    <a:pt x="6464" y="58426"/>
                  </a:lnTo>
                  <a:lnTo>
                    <a:pt x="6464" y="57528"/>
                  </a:lnTo>
                  <a:lnTo>
                    <a:pt x="6464" y="57528"/>
                  </a:lnTo>
                  <a:lnTo>
                    <a:pt x="5656" y="57528"/>
                  </a:lnTo>
                  <a:lnTo>
                    <a:pt x="5656" y="57528"/>
                  </a:lnTo>
                  <a:lnTo>
                    <a:pt x="5656" y="56179"/>
                  </a:lnTo>
                  <a:lnTo>
                    <a:pt x="5656" y="56179"/>
                  </a:lnTo>
                  <a:lnTo>
                    <a:pt x="4444" y="55280"/>
                  </a:lnTo>
                  <a:lnTo>
                    <a:pt x="3636" y="56179"/>
                  </a:lnTo>
                  <a:lnTo>
                    <a:pt x="2828" y="56179"/>
                  </a:lnTo>
                  <a:lnTo>
                    <a:pt x="2828" y="57528"/>
                  </a:lnTo>
                  <a:lnTo>
                    <a:pt x="2828" y="57528"/>
                  </a:lnTo>
                  <a:lnTo>
                    <a:pt x="2828" y="58426"/>
                  </a:lnTo>
                  <a:lnTo>
                    <a:pt x="2828" y="59325"/>
                  </a:lnTo>
                  <a:lnTo>
                    <a:pt x="2828" y="59325"/>
                  </a:lnTo>
                  <a:lnTo>
                    <a:pt x="1616" y="59325"/>
                  </a:lnTo>
                  <a:lnTo>
                    <a:pt x="1616" y="59325"/>
                  </a:lnTo>
                  <a:lnTo>
                    <a:pt x="1616" y="59325"/>
                  </a:lnTo>
                  <a:lnTo>
                    <a:pt x="0" y="60674"/>
                  </a:lnTo>
                  <a:lnTo>
                    <a:pt x="0" y="61573"/>
                  </a:lnTo>
                  <a:lnTo>
                    <a:pt x="0" y="61573"/>
                  </a:lnTo>
                  <a:lnTo>
                    <a:pt x="1616" y="64719"/>
                  </a:lnTo>
                  <a:lnTo>
                    <a:pt x="3636" y="69213"/>
                  </a:lnTo>
                  <a:lnTo>
                    <a:pt x="5656" y="75505"/>
                  </a:lnTo>
                  <a:lnTo>
                    <a:pt x="6464" y="78651"/>
                  </a:lnTo>
                  <a:lnTo>
                    <a:pt x="8484" y="84044"/>
                  </a:lnTo>
                  <a:lnTo>
                    <a:pt x="10505" y="87191"/>
                  </a:lnTo>
                  <a:lnTo>
                    <a:pt x="12121" y="90337"/>
                  </a:lnTo>
                  <a:lnTo>
                    <a:pt x="12121" y="90337"/>
                  </a:lnTo>
                  <a:lnTo>
                    <a:pt x="13333" y="94382"/>
                  </a:lnTo>
                  <a:lnTo>
                    <a:pt x="13333" y="95730"/>
                  </a:lnTo>
                  <a:lnTo>
                    <a:pt x="13333" y="97528"/>
                  </a:lnTo>
                  <a:lnTo>
                    <a:pt x="12121" y="98876"/>
                  </a:lnTo>
                  <a:lnTo>
                    <a:pt x="11313" y="99775"/>
                  </a:lnTo>
                  <a:lnTo>
                    <a:pt x="11313" y="100674"/>
                  </a:lnTo>
                  <a:lnTo>
                    <a:pt x="10505" y="99775"/>
                  </a:lnTo>
                  <a:lnTo>
                    <a:pt x="9292" y="99775"/>
                  </a:lnTo>
                  <a:lnTo>
                    <a:pt x="9292" y="100674"/>
                  </a:lnTo>
                  <a:lnTo>
                    <a:pt x="9292" y="102022"/>
                  </a:lnTo>
                  <a:lnTo>
                    <a:pt x="10505" y="102921"/>
                  </a:lnTo>
                  <a:lnTo>
                    <a:pt x="10505" y="104269"/>
                  </a:lnTo>
                  <a:lnTo>
                    <a:pt x="11313" y="104269"/>
                  </a:lnTo>
                  <a:lnTo>
                    <a:pt x="11313" y="106067"/>
                  </a:lnTo>
                  <a:lnTo>
                    <a:pt x="12121" y="106067"/>
                  </a:lnTo>
                  <a:lnTo>
                    <a:pt x="12121" y="107415"/>
                  </a:lnTo>
                  <a:lnTo>
                    <a:pt x="13333" y="109213"/>
                  </a:lnTo>
                  <a:lnTo>
                    <a:pt x="13333" y="110561"/>
                  </a:lnTo>
                  <a:lnTo>
                    <a:pt x="13333" y="111460"/>
                  </a:lnTo>
                  <a:lnTo>
                    <a:pt x="13333" y="111460"/>
                  </a:lnTo>
                  <a:lnTo>
                    <a:pt x="12121" y="112359"/>
                  </a:lnTo>
                  <a:lnTo>
                    <a:pt x="13333" y="113707"/>
                  </a:lnTo>
                  <a:lnTo>
                    <a:pt x="13333" y="114606"/>
                  </a:lnTo>
                  <a:lnTo>
                    <a:pt x="13333" y="115955"/>
                  </a:lnTo>
                  <a:lnTo>
                    <a:pt x="13333" y="113707"/>
                  </a:lnTo>
                  <a:lnTo>
                    <a:pt x="14141" y="113707"/>
                  </a:lnTo>
                  <a:lnTo>
                    <a:pt x="14141" y="112359"/>
                  </a:lnTo>
                  <a:lnTo>
                    <a:pt x="14141" y="112359"/>
                  </a:lnTo>
                  <a:lnTo>
                    <a:pt x="14949" y="112359"/>
                  </a:lnTo>
                  <a:lnTo>
                    <a:pt x="16161" y="112359"/>
                  </a:lnTo>
                  <a:lnTo>
                    <a:pt x="16161" y="112359"/>
                  </a:lnTo>
                  <a:lnTo>
                    <a:pt x="16161" y="113707"/>
                  </a:lnTo>
                  <a:lnTo>
                    <a:pt x="16161" y="114606"/>
                  </a:lnTo>
                  <a:lnTo>
                    <a:pt x="16161" y="114606"/>
                  </a:lnTo>
                  <a:lnTo>
                    <a:pt x="16161" y="115955"/>
                  </a:lnTo>
                  <a:lnTo>
                    <a:pt x="16969" y="115955"/>
                  </a:lnTo>
                  <a:lnTo>
                    <a:pt x="16969" y="115955"/>
                  </a:lnTo>
                  <a:lnTo>
                    <a:pt x="17777" y="115955"/>
                  </a:lnTo>
                  <a:lnTo>
                    <a:pt x="17777" y="115955"/>
                  </a:lnTo>
                  <a:lnTo>
                    <a:pt x="18989" y="115955"/>
                  </a:lnTo>
                  <a:lnTo>
                    <a:pt x="18989" y="115955"/>
                  </a:lnTo>
                  <a:lnTo>
                    <a:pt x="19797" y="116853"/>
                  </a:lnTo>
                  <a:lnTo>
                    <a:pt x="19797" y="117752"/>
                  </a:lnTo>
                  <a:lnTo>
                    <a:pt x="19797" y="117752"/>
                  </a:lnTo>
                  <a:lnTo>
                    <a:pt x="19797" y="117752"/>
                  </a:lnTo>
                  <a:lnTo>
                    <a:pt x="21818" y="119101"/>
                  </a:lnTo>
                  <a:lnTo>
                    <a:pt x="23838" y="119101"/>
                  </a:lnTo>
                  <a:lnTo>
                    <a:pt x="23838" y="119101"/>
                  </a:lnTo>
                  <a:lnTo>
                    <a:pt x="24646" y="120000"/>
                  </a:lnTo>
                  <a:lnTo>
                    <a:pt x="27474" y="116853"/>
                  </a:lnTo>
                  <a:lnTo>
                    <a:pt x="28282" y="116853"/>
                  </a:lnTo>
                  <a:lnTo>
                    <a:pt x="30303" y="115955"/>
                  </a:lnTo>
                  <a:lnTo>
                    <a:pt x="30303" y="115955"/>
                  </a:lnTo>
                  <a:lnTo>
                    <a:pt x="31111" y="115955"/>
                  </a:lnTo>
                  <a:lnTo>
                    <a:pt x="32323" y="115955"/>
                  </a:lnTo>
                  <a:lnTo>
                    <a:pt x="33131" y="115955"/>
                  </a:lnTo>
                  <a:lnTo>
                    <a:pt x="33939" y="115955"/>
                  </a:lnTo>
                  <a:lnTo>
                    <a:pt x="35151" y="115955"/>
                  </a:lnTo>
                  <a:lnTo>
                    <a:pt x="37171" y="115955"/>
                  </a:lnTo>
                  <a:lnTo>
                    <a:pt x="40808" y="112359"/>
                  </a:lnTo>
                  <a:lnTo>
                    <a:pt x="41616" y="112359"/>
                  </a:lnTo>
                  <a:lnTo>
                    <a:pt x="42828" y="112359"/>
                  </a:lnTo>
                  <a:lnTo>
                    <a:pt x="43636" y="112359"/>
                  </a:lnTo>
                  <a:lnTo>
                    <a:pt x="45656" y="112359"/>
                  </a:lnTo>
                  <a:lnTo>
                    <a:pt x="47272" y="112359"/>
                  </a:lnTo>
                  <a:lnTo>
                    <a:pt x="48484" y="112359"/>
                  </a:lnTo>
                  <a:lnTo>
                    <a:pt x="50505" y="111460"/>
                  </a:lnTo>
                  <a:lnTo>
                    <a:pt x="51313" y="111460"/>
                  </a:lnTo>
                  <a:lnTo>
                    <a:pt x="54141" y="112359"/>
                  </a:lnTo>
                  <a:lnTo>
                    <a:pt x="56969" y="113707"/>
                  </a:lnTo>
                  <a:lnTo>
                    <a:pt x="58989" y="113707"/>
                  </a:lnTo>
                  <a:lnTo>
                    <a:pt x="59797" y="112359"/>
                  </a:lnTo>
                  <a:lnTo>
                    <a:pt x="59797" y="111460"/>
                  </a:lnTo>
                  <a:lnTo>
                    <a:pt x="61818" y="111460"/>
                  </a:lnTo>
                  <a:lnTo>
                    <a:pt x="63838" y="112359"/>
                  </a:lnTo>
                  <a:lnTo>
                    <a:pt x="64646" y="112359"/>
                  </a:lnTo>
                  <a:lnTo>
                    <a:pt x="64646" y="112359"/>
                  </a:lnTo>
                  <a:lnTo>
                    <a:pt x="64646" y="110561"/>
                  </a:lnTo>
                  <a:lnTo>
                    <a:pt x="65454" y="109213"/>
                  </a:lnTo>
                  <a:lnTo>
                    <a:pt x="67474" y="109213"/>
                  </a:lnTo>
                  <a:lnTo>
                    <a:pt x="70303" y="109213"/>
                  </a:lnTo>
                  <a:lnTo>
                    <a:pt x="71111" y="109213"/>
                  </a:lnTo>
                  <a:lnTo>
                    <a:pt x="75151" y="107415"/>
                  </a:lnTo>
                  <a:lnTo>
                    <a:pt x="76767" y="106067"/>
                  </a:lnTo>
                  <a:lnTo>
                    <a:pt x="80000" y="102921"/>
                  </a:lnTo>
                  <a:lnTo>
                    <a:pt x="80808" y="102921"/>
                  </a:lnTo>
                  <a:lnTo>
                    <a:pt x="83636" y="100674"/>
                  </a:lnTo>
                  <a:lnTo>
                    <a:pt x="85656" y="98876"/>
                  </a:lnTo>
                  <a:lnTo>
                    <a:pt x="88484" y="95730"/>
                  </a:lnTo>
                  <a:lnTo>
                    <a:pt x="90101" y="93483"/>
                  </a:lnTo>
                  <a:lnTo>
                    <a:pt x="93333" y="90337"/>
                  </a:lnTo>
                  <a:lnTo>
                    <a:pt x="94949" y="88089"/>
                  </a:lnTo>
                  <a:lnTo>
                    <a:pt x="96161" y="88089"/>
                  </a:lnTo>
                  <a:lnTo>
                    <a:pt x="96969" y="87191"/>
                  </a:lnTo>
                  <a:lnTo>
                    <a:pt x="98989" y="84044"/>
                  </a:lnTo>
                  <a:lnTo>
                    <a:pt x="100606" y="80898"/>
                  </a:lnTo>
                  <a:lnTo>
                    <a:pt x="101818" y="78651"/>
                  </a:lnTo>
                  <a:lnTo>
                    <a:pt x="103434" y="75505"/>
                  </a:lnTo>
                  <a:lnTo>
                    <a:pt x="104646" y="73258"/>
                  </a:lnTo>
                  <a:lnTo>
                    <a:pt x="106666" y="70112"/>
                  </a:lnTo>
                  <a:lnTo>
                    <a:pt x="107474" y="67865"/>
                  </a:lnTo>
                  <a:lnTo>
                    <a:pt x="111111" y="63820"/>
                  </a:lnTo>
                  <a:lnTo>
                    <a:pt x="111111" y="63820"/>
                  </a:lnTo>
                  <a:lnTo>
                    <a:pt x="112323" y="63820"/>
                  </a:lnTo>
                  <a:lnTo>
                    <a:pt x="113131" y="63820"/>
                  </a:lnTo>
                  <a:lnTo>
                    <a:pt x="115151" y="61573"/>
                  </a:lnTo>
                  <a:lnTo>
                    <a:pt x="115151" y="59325"/>
                  </a:lnTo>
                  <a:lnTo>
                    <a:pt x="116767" y="57528"/>
                  </a:lnTo>
                  <a:lnTo>
                    <a:pt x="117979" y="52134"/>
                  </a:lnTo>
                  <a:lnTo>
                    <a:pt x="117979" y="49887"/>
                  </a:lnTo>
                  <a:lnTo>
                    <a:pt x="120000" y="46741"/>
                  </a:lnTo>
                  <a:lnTo>
                    <a:pt x="120000" y="44494"/>
                  </a:lnTo>
                  <a:lnTo>
                    <a:pt x="118787" y="44494"/>
                  </a:lnTo>
                  <a:lnTo>
                    <a:pt x="117979" y="44494"/>
                  </a:lnTo>
                  <a:close/>
                  <a:moveTo>
                    <a:pt x="93333" y="67865"/>
                  </a:moveTo>
                  <a:lnTo>
                    <a:pt x="93333" y="69213"/>
                  </a:lnTo>
                  <a:lnTo>
                    <a:pt x="92121" y="70112"/>
                  </a:lnTo>
                  <a:lnTo>
                    <a:pt x="92121" y="70112"/>
                  </a:lnTo>
                  <a:lnTo>
                    <a:pt x="92121" y="71011"/>
                  </a:lnTo>
                  <a:lnTo>
                    <a:pt x="91313" y="71011"/>
                  </a:lnTo>
                  <a:lnTo>
                    <a:pt x="91313" y="72359"/>
                  </a:lnTo>
                  <a:lnTo>
                    <a:pt x="91313" y="73258"/>
                  </a:lnTo>
                  <a:lnTo>
                    <a:pt x="90101" y="74157"/>
                  </a:lnTo>
                  <a:lnTo>
                    <a:pt x="90101" y="74157"/>
                  </a:lnTo>
                  <a:lnTo>
                    <a:pt x="89292" y="74157"/>
                  </a:lnTo>
                  <a:lnTo>
                    <a:pt x="88484" y="75505"/>
                  </a:lnTo>
                  <a:lnTo>
                    <a:pt x="87272" y="75505"/>
                  </a:lnTo>
                  <a:lnTo>
                    <a:pt x="87272" y="75505"/>
                  </a:lnTo>
                  <a:lnTo>
                    <a:pt x="87272" y="75505"/>
                  </a:lnTo>
                  <a:lnTo>
                    <a:pt x="86464" y="75505"/>
                  </a:lnTo>
                  <a:lnTo>
                    <a:pt x="86464" y="75505"/>
                  </a:lnTo>
                  <a:lnTo>
                    <a:pt x="85656" y="75505"/>
                  </a:lnTo>
                  <a:lnTo>
                    <a:pt x="85656" y="76404"/>
                  </a:lnTo>
                  <a:lnTo>
                    <a:pt x="84444" y="78651"/>
                  </a:lnTo>
                  <a:lnTo>
                    <a:pt x="83636" y="78651"/>
                  </a:lnTo>
                  <a:lnTo>
                    <a:pt x="83636" y="79550"/>
                  </a:lnTo>
                  <a:lnTo>
                    <a:pt x="83636" y="79550"/>
                  </a:lnTo>
                  <a:lnTo>
                    <a:pt x="83636" y="79550"/>
                  </a:lnTo>
                  <a:lnTo>
                    <a:pt x="82828" y="80898"/>
                  </a:lnTo>
                  <a:lnTo>
                    <a:pt x="81616" y="79550"/>
                  </a:lnTo>
                  <a:lnTo>
                    <a:pt x="80808" y="79550"/>
                  </a:lnTo>
                  <a:lnTo>
                    <a:pt x="80808" y="79550"/>
                  </a:lnTo>
                  <a:lnTo>
                    <a:pt x="80000" y="78651"/>
                  </a:lnTo>
                  <a:lnTo>
                    <a:pt x="80000" y="78651"/>
                  </a:lnTo>
                  <a:lnTo>
                    <a:pt x="80000" y="77303"/>
                  </a:lnTo>
                  <a:lnTo>
                    <a:pt x="78787" y="77303"/>
                  </a:lnTo>
                  <a:lnTo>
                    <a:pt x="78787" y="77303"/>
                  </a:lnTo>
                  <a:lnTo>
                    <a:pt x="78787" y="77303"/>
                  </a:lnTo>
                  <a:lnTo>
                    <a:pt x="78787" y="77303"/>
                  </a:lnTo>
                  <a:lnTo>
                    <a:pt x="78787" y="76404"/>
                  </a:lnTo>
                  <a:lnTo>
                    <a:pt x="77979" y="76404"/>
                  </a:lnTo>
                  <a:lnTo>
                    <a:pt x="78787" y="75505"/>
                  </a:lnTo>
                  <a:lnTo>
                    <a:pt x="77979" y="75505"/>
                  </a:lnTo>
                  <a:lnTo>
                    <a:pt x="77979" y="74157"/>
                  </a:lnTo>
                  <a:lnTo>
                    <a:pt x="76767" y="73258"/>
                  </a:lnTo>
                  <a:lnTo>
                    <a:pt x="76767" y="72359"/>
                  </a:lnTo>
                  <a:lnTo>
                    <a:pt x="76767" y="72359"/>
                  </a:lnTo>
                  <a:lnTo>
                    <a:pt x="75959" y="71011"/>
                  </a:lnTo>
                  <a:lnTo>
                    <a:pt x="75959" y="71011"/>
                  </a:lnTo>
                  <a:lnTo>
                    <a:pt x="76767" y="70112"/>
                  </a:lnTo>
                  <a:lnTo>
                    <a:pt x="77979" y="70112"/>
                  </a:lnTo>
                  <a:lnTo>
                    <a:pt x="77979" y="70112"/>
                  </a:lnTo>
                  <a:lnTo>
                    <a:pt x="78787" y="69213"/>
                  </a:lnTo>
                  <a:lnTo>
                    <a:pt x="78787" y="67865"/>
                  </a:lnTo>
                  <a:lnTo>
                    <a:pt x="80000" y="67865"/>
                  </a:lnTo>
                  <a:lnTo>
                    <a:pt x="80000" y="66966"/>
                  </a:lnTo>
                  <a:lnTo>
                    <a:pt x="80000" y="66966"/>
                  </a:lnTo>
                  <a:lnTo>
                    <a:pt x="80808" y="65617"/>
                  </a:lnTo>
                  <a:lnTo>
                    <a:pt x="80808" y="64719"/>
                  </a:lnTo>
                  <a:lnTo>
                    <a:pt x="81616" y="63820"/>
                  </a:lnTo>
                  <a:lnTo>
                    <a:pt x="82828" y="63820"/>
                  </a:lnTo>
                  <a:lnTo>
                    <a:pt x="83636" y="63820"/>
                  </a:lnTo>
                  <a:lnTo>
                    <a:pt x="84444" y="62471"/>
                  </a:lnTo>
                  <a:lnTo>
                    <a:pt x="85656" y="61573"/>
                  </a:lnTo>
                  <a:lnTo>
                    <a:pt x="87272" y="61573"/>
                  </a:lnTo>
                  <a:lnTo>
                    <a:pt x="87272" y="60674"/>
                  </a:lnTo>
                  <a:lnTo>
                    <a:pt x="88484" y="60674"/>
                  </a:lnTo>
                  <a:lnTo>
                    <a:pt x="88484" y="60674"/>
                  </a:lnTo>
                  <a:lnTo>
                    <a:pt x="88484" y="61573"/>
                  </a:lnTo>
                  <a:lnTo>
                    <a:pt x="88484" y="61573"/>
                  </a:lnTo>
                  <a:lnTo>
                    <a:pt x="89292" y="62471"/>
                  </a:lnTo>
                  <a:lnTo>
                    <a:pt x="89292" y="62471"/>
                  </a:lnTo>
                  <a:lnTo>
                    <a:pt x="90101" y="63820"/>
                  </a:lnTo>
                  <a:lnTo>
                    <a:pt x="91313" y="64719"/>
                  </a:lnTo>
                  <a:lnTo>
                    <a:pt x="92121" y="64719"/>
                  </a:lnTo>
                  <a:lnTo>
                    <a:pt x="92121" y="65617"/>
                  </a:lnTo>
                  <a:lnTo>
                    <a:pt x="93333" y="65617"/>
                  </a:lnTo>
                  <a:lnTo>
                    <a:pt x="93333" y="65617"/>
                  </a:lnTo>
                  <a:lnTo>
                    <a:pt x="93333" y="66966"/>
                  </a:lnTo>
                  <a:lnTo>
                    <a:pt x="93333" y="66966"/>
                  </a:lnTo>
                  <a:lnTo>
                    <a:pt x="93333" y="67865"/>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87" name="Shape 387"/>
            <p:cNvSpPr/>
            <p:nvPr/>
          </p:nvSpPr>
          <p:spPr>
            <a:xfrm>
              <a:off x="4414" y="2555"/>
              <a:ext cx="300" cy="300"/>
            </a:xfrm>
            <a:custGeom>
              <a:avLst/>
              <a:gdLst/>
              <a:ahLst/>
              <a:cxnLst/>
              <a:rect l="0" t="0" r="0" b="0"/>
              <a:pathLst>
                <a:path w="120000" h="120000" extrusionOk="0">
                  <a:moveTo>
                    <a:pt x="120000" y="13750"/>
                  </a:moveTo>
                  <a:lnTo>
                    <a:pt x="118743" y="12500"/>
                  </a:lnTo>
                  <a:lnTo>
                    <a:pt x="116858" y="12500"/>
                  </a:lnTo>
                  <a:lnTo>
                    <a:pt x="116858" y="12500"/>
                  </a:lnTo>
                  <a:lnTo>
                    <a:pt x="116858" y="12500"/>
                  </a:lnTo>
                  <a:lnTo>
                    <a:pt x="115602" y="13750"/>
                  </a:lnTo>
                  <a:lnTo>
                    <a:pt x="115602" y="13750"/>
                  </a:lnTo>
                  <a:lnTo>
                    <a:pt x="115602" y="13750"/>
                  </a:lnTo>
                  <a:lnTo>
                    <a:pt x="115602" y="12500"/>
                  </a:lnTo>
                  <a:lnTo>
                    <a:pt x="116858" y="12500"/>
                  </a:lnTo>
                  <a:lnTo>
                    <a:pt x="116858" y="11666"/>
                  </a:lnTo>
                  <a:lnTo>
                    <a:pt x="116858" y="11666"/>
                  </a:lnTo>
                  <a:lnTo>
                    <a:pt x="115602" y="7916"/>
                  </a:lnTo>
                  <a:lnTo>
                    <a:pt x="115602" y="5833"/>
                  </a:lnTo>
                  <a:lnTo>
                    <a:pt x="115602" y="3750"/>
                  </a:lnTo>
                  <a:lnTo>
                    <a:pt x="116858" y="2916"/>
                  </a:lnTo>
                  <a:lnTo>
                    <a:pt x="116858" y="1666"/>
                  </a:lnTo>
                  <a:lnTo>
                    <a:pt x="116858" y="833"/>
                  </a:lnTo>
                  <a:lnTo>
                    <a:pt x="116858" y="833"/>
                  </a:lnTo>
                  <a:lnTo>
                    <a:pt x="112460" y="0"/>
                  </a:lnTo>
                  <a:lnTo>
                    <a:pt x="109947" y="0"/>
                  </a:lnTo>
                  <a:lnTo>
                    <a:pt x="109947" y="833"/>
                  </a:lnTo>
                  <a:lnTo>
                    <a:pt x="108062" y="1666"/>
                  </a:lnTo>
                  <a:lnTo>
                    <a:pt x="103664" y="3750"/>
                  </a:lnTo>
                  <a:lnTo>
                    <a:pt x="99267" y="4583"/>
                  </a:lnTo>
                  <a:lnTo>
                    <a:pt x="96125" y="5833"/>
                  </a:lnTo>
                  <a:lnTo>
                    <a:pt x="91727" y="5833"/>
                  </a:lnTo>
                  <a:lnTo>
                    <a:pt x="90471" y="6666"/>
                  </a:lnTo>
                  <a:lnTo>
                    <a:pt x="90471" y="6666"/>
                  </a:lnTo>
                  <a:lnTo>
                    <a:pt x="87329" y="5833"/>
                  </a:lnTo>
                  <a:lnTo>
                    <a:pt x="86073" y="5833"/>
                  </a:lnTo>
                  <a:lnTo>
                    <a:pt x="84816" y="5833"/>
                  </a:lnTo>
                  <a:lnTo>
                    <a:pt x="79790" y="7916"/>
                  </a:lnTo>
                  <a:lnTo>
                    <a:pt x="77277" y="7916"/>
                  </a:lnTo>
                  <a:lnTo>
                    <a:pt x="74136" y="6666"/>
                  </a:lnTo>
                  <a:lnTo>
                    <a:pt x="72879" y="6666"/>
                  </a:lnTo>
                  <a:lnTo>
                    <a:pt x="70994" y="7916"/>
                  </a:lnTo>
                  <a:lnTo>
                    <a:pt x="68481" y="8750"/>
                  </a:lnTo>
                  <a:lnTo>
                    <a:pt x="64083" y="10833"/>
                  </a:lnTo>
                  <a:lnTo>
                    <a:pt x="62198" y="10833"/>
                  </a:lnTo>
                  <a:lnTo>
                    <a:pt x="59057" y="10833"/>
                  </a:lnTo>
                  <a:lnTo>
                    <a:pt x="57801" y="10833"/>
                  </a:lnTo>
                  <a:lnTo>
                    <a:pt x="54659" y="9583"/>
                  </a:lnTo>
                  <a:lnTo>
                    <a:pt x="53403" y="10833"/>
                  </a:lnTo>
                  <a:lnTo>
                    <a:pt x="49005" y="11666"/>
                  </a:lnTo>
                  <a:lnTo>
                    <a:pt x="44607" y="13750"/>
                  </a:lnTo>
                  <a:lnTo>
                    <a:pt x="38324" y="13750"/>
                  </a:lnTo>
                  <a:lnTo>
                    <a:pt x="37068" y="13750"/>
                  </a:lnTo>
                  <a:lnTo>
                    <a:pt x="35811" y="12500"/>
                  </a:lnTo>
                  <a:lnTo>
                    <a:pt x="32670" y="10833"/>
                  </a:lnTo>
                  <a:lnTo>
                    <a:pt x="29528" y="8750"/>
                  </a:lnTo>
                  <a:lnTo>
                    <a:pt x="27015" y="5833"/>
                  </a:lnTo>
                  <a:lnTo>
                    <a:pt x="25130" y="3750"/>
                  </a:lnTo>
                  <a:lnTo>
                    <a:pt x="23874" y="5833"/>
                  </a:lnTo>
                  <a:lnTo>
                    <a:pt x="22617" y="6666"/>
                  </a:lnTo>
                  <a:lnTo>
                    <a:pt x="20732" y="8750"/>
                  </a:lnTo>
                  <a:lnTo>
                    <a:pt x="20732" y="8750"/>
                  </a:lnTo>
                  <a:lnTo>
                    <a:pt x="20732" y="9583"/>
                  </a:lnTo>
                  <a:lnTo>
                    <a:pt x="19476" y="9583"/>
                  </a:lnTo>
                  <a:lnTo>
                    <a:pt x="19476" y="10833"/>
                  </a:lnTo>
                  <a:lnTo>
                    <a:pt x="17591" y="11666"/>
                  </a:lnTo>
                  <a:lnTo>
                    <a:pt x="17591" y="11666"/>
                  </a:lnTo>
                  <a:lnTo>
                    <a:pt x="17591" y="12500"/>
                  </a:lnTo>
                  <a:lnTo>
                    <a:pt x="19476" y="12500"/>
                  </a:lnTo>
                  <a:lnTo>
                    <a:pt x="19476" y="13750"/>
                  </a:lnTo>
                  <a:lnTo>
                    <a:pt x="20732" y="14583"/>
                  </a:lnTo>
                  <a:lnTo>
                    <a:pt x="20732" y="15833"/>
                  </a:lnTo>
                  <a:lnTo>
                    <a:pt x="20732" y="15833"/>
                  </a:lnTo>
                  <a:lnTo>
                    <a:pt x="22617" y="17500"/>
                  </a:lnTo>
                  <a:lnTo>
                    <a:pt x="23874" y="17500"/>
                  </a:lnTo>
                  <a:lnTo>
                    <a:pt x="23874" y="18750"/>
                  </a:lnTo>
                  <a:lnTo>
                    <a:pt x="25130" y="19583"/>
                  </a:lnTo>
                  <a:lnTo>
                    <a:pt x="25130" y="20416"/>
                  </a:lnTo>
                  <a:lnTo>
                    <a:pt x="27015" y="21666"/>
                  </a:lnTo>
                  <a:lnTo>
                    <a:pt x="28272" y="22500"/>
                  </a:lnTo>
                  <a:lnTo>
                    <a:pt x="29528" y="23333"/>
                  </a:lnTo>
                  <a:lnTo>
                    <a:pt x="29528" y="23333"/>
                  </a:lnTo>
                  <a:lnTo>
                    <a:pt x="32670" y="24583"/>
                  </a:lnTo>
                  <a:lnTo>
                    <a:pt x="33926" y="26666"/>
                  </a:lnTo>
                  <a:lnTo>
                    <a:pt x="33926" y="26666"/>
                  </a:lnTo>
                  <a:lnTo>
                    <a:pt x="37068" y="27500"/>
                  </a:lnTo>
                  <a:lnTo>
                    <a:pt x="41465" y="28333"/>
                  </a:lnTo>
                  <a:lnTo>
                    <a:pt x="44607" y="28333"/>
                  </a:lnTo>
                  <a:lnTo>
                    <a:pt x="49005" y="29583"/>
                  </a:lnTo>
                  <a:lnTo>
                    <a:pt x="52146" y="30416"/>
                  </a:lnTo>
                  <a:lnTo>
                    <a:pt x="56544" y="31250"/>
                  </a:lnTo>
                  <a:lnTo>
                    <a:pt x="60942" y="33333"/>
                  </a:lnTo>
                  <a:lnTo>
                    <a:pt x="65340" y="34166"/>
                  </a:lnTo>
                  <a:lnTo>
                    <a:pt x="68481" y="34166"/>
                  </a:lnTo>
                  <a:lnTo>
                    <a:pt x="69738" y="35416"/>
                  </a:lnTo>
                  <a:lnTo>
                    <a:pt x="81675" y="35416"/>
                  </a:lnTo>
                  <a:lnTo>
                    <a:pt x="78534" y="37500"/>
                  </a:lnTo>
                  <a:lnTo>
                    <a:pt x="74136" y="39166"/>
                  </a:lnTo>
                  <a:lnTo>
                    <a:pt x="70994" y="42083"/>
                  </a:lnTo>
                  <a:lnTo>
                    <a:pt x="69738" y="43333"/>
                  </a:lnTo>
                  <a:lnTo>
                    <a:pt x="65340" y="46250"/>
                  </a:lnTo>
                  <a:lnTo>
                    <a:pt x="64083" y="48333"/>
                  </a:lnTo>
                  <a:lnTo>
                    <a:pt x="60942" y="50000"/>
                  </a:lnTo>
                  <a:lnTo>
                    <a:pt x="57801" y="52083"/>
                  </a:lnTo>
                  <a:lnTo>
                    <a:pt x="53403" y="55000"/>
                  </a:lnTo>
                  <a:lnTo>
                    <a:pt x="52146" y="57083"/>
                  </a:lnTo>
                  <a:lnTo>
                    <a:pt x="49005" y="60000"/>
                  </a:lnTo>
                  <a:lnTo>
                    <a:pt x="45863" y="62083"/>
                  </a:lnTo>
                  <a:lnTo>
                    <a:pt x="45863" y="62083"/>
                  </a:lnTo>
                  <a:lnTo>
                    <a:pt x="43350" y="62083"/>
                  </a:lnTo>
                  <a:lnTo>
                    <a:pt x="40209" y="62083"/>
                  </a:lnTo>
                  <a:lnTo>
                    <a:pt x="35811" y="62083"/>
                  </a:lnTo>
                  <a:lnTo>
                    <a:pt x="35811" y="62083"/>
                  </a:lnTo>
                  <a:lnTo>
                    <a:pt x="33926" y="62083"/>
                  </a:lnTo>
                  <a:lnTo>
                    <a:pt x="32670" y="62083"/>
                  </a:lnTo>
                  <a:lnTo>
                    <a:pt x="29528" y="62916"/>
                  </a:lnTo>
                  <a:lnTo>
                    <a:pt x="29528" y="62916"/>
                  </a:lnTo>
                  <a:lnTo>
                    <a:pt x="27015" y="63750"/>
                  </a:lnTo>
                  <a:lnTo>
                    <a:pt x="25130" y="65000"/>
                  </a:lnTo>
                  <a:lnTo>
                    <a:pt x="23874" y="65000"/>
                  </a:lnTo>
                  <a:lnTo>
                    <a:pt x="22617" y="65833"/>
                  </a:lnTo>
                  <a:lnTo>
                    <a:pt x="22617" y="66666"/>
                  </a:lnTo>
                  <a:lnTo>
                    <a:pt x="22617" y="66666"/>
                  </a:lnTo>
                  <a:lnTo>
                    <a:pt x="20732" y="67916"/>
                  </a:lnTo>
                  <a:lnTo>
                    <a:pt x="16335" y="67916"/>
                  </a:lnTo>
                  <a:lnTo>
                    <a:pt x="15078" y="68750"/>
                  </a:lnTo>
                  <a:lnTo>
                    <a:pt x="11937" y="68750"/>
                  </a:lnTo>
                  <a:lnTo>
                    <a:pt x="10680" y="70000"/>
                  </a:lnTo>
                  <a:lnTo>
                    <a:pt x="10680" y="70833"/>
                  </a:lnTo>
                  <a:lnTo>
                    <a:pt x="8795" y="71666"/>
                  </a:lnTo>
                  <a:lnTo>
                    <a:pt x="7539" y="73750"/>
                  </a:lnTo>
                  <a:lnTo>
                    <a:pt x="4397" y="76666"/>
                  </a:lnTo>
                  <a:lnTo>
                    <a:pt x="1884" y="78750"/>
                  </a:lnTo>
                  <a:lnTo>
                    <a:pt x="0" y="80833"/>
                  </a:lnTo>
                  <a:lnTo>
                    <a:pt x="0" y="80833"/>
                  </a:lnTo>
                  <a:lnTo>
                    <a:pt x="0" y="81666"/>
                  </a:lnTo>
                  <a:lnTo>
                    <a:pt x="0" y="85416"/>
                  </a:lnTo>
                  <a:lnTo>
                    <a:pt x="0" y="93333"/>
                  </a:lnTo>
                  <a:lnTo>
                    <a:pt x="0" y="100416"/>
                  </a:lnTo>
                  <a:lnTo>
                    <a:pt x="0" y="108333"/>
                  </a:lnTo>
                  <a:lnTo>
                    <a:pt x="0" y="112083"/>
                  </a:lnTo>
                  <a:lnTo>
                    <a:pt x="0" y="113333"/>
                  </a:lnTo>
                  <a:lnTo>
                    <a:pt x="1884" y="114166"/>
                  </a:lnTo>
                  <a:lnTo>
                    <a:pt x="3141" y="116250"/>
                  </a:lnTo>
                  <a:lnTo>
                    <a:pt x="6282" y="117916"/>
                  </a:lnTo>
                  <a:lnTo>
                    <a:pt x="6282" y="119166"/>
                  </a:lnTo>
                  <a:lnTo>
                    <a:pt x="7539" y="119166"/>
                  </a:lnTo>
                  <a:lnTo>
                    <a:pt x="7539" y="120000"/>
                  </a:lnTo>
                  <a:lnTo>
                    <a:pt x="7539" y="119166"/>
                  </a:lnTo>
                  <a:lnTo>
                    <a:pt x="8795" y="117916"/>
                  </a:lnTo>
                  <a:lnTo>
                    <a:pt x="10680" y="116250"/>
                  </a:lnTo>
                  <a:lnTo>
                    <a:pt x="10680" y="115000"/>
                  </a:lnTo>
                  <a:lnTo>
                    <a:pt x="11937" y="114166"/>
                  </a:lnTo>
                  <a:lnTo>
                    <a:pt x="11937" y="114166"/>
                  </a:lnTo>
                  <a:lnTo>
                    <a:pt x="13193" y="113333"/>
                  </a:lnTo>
                  <a:lnTo>
                    <a:pt x="15078" y="112083"/>
                  </a:lnTo>
                  <a:lnTo>
                    <a:pt x="16335" y="110000"/>
                  </a:lnTo>
                  <a:lnTo>
                    <a:pt x="17591" y="109166"/>
                  </a:lnTo>
                  <a:lnTo>
                    <a:pt x="19476" y="108333"/>
                  </a:lnTo>
                  <a:lnTo>
                    <a:pt x="19476" y="107083"/>
                  </a:lnTo>
                  <a:lnTo>
                    <a:pt x="20732" y="107083"/>
                  </a:lnTo>
                  <a:lnTo>
                    <a:pt x="29528" y="99166"/>
                  </a:lnTo>
                  <a:lnTo>
                    <a:pt x="32670" y="97500"/>
                  </a:lnTo>
                  <a:lnTo>
                    <a:pt x="35811" y="95416"/>
                  </a:lnTo>
                  <a:lnTo>
                    <a:pt x="40209" y="93333"/>
                  </a:lnTo>
                  <a:lnTo>
                    <a:pt x="45863" y="89583"/>
                  </a:lnTo>
                  <a:lnTo>
                    <a:pt x="56544" y="84583"/>
                  </a:lnTo>
                  <a:lnTo>
                    <a:pt x="59057" y="83750"/>
                  </a:lnTo>
                  <a:lnTo>
                    <a:pt x="69738" y="76666"/>
                  </a:lnTo>
                  <a:lnTo>
                    <a:pt x="75392" y="70833"/>
                  </a:lnTo>
                  <a:lnTo>
                    <a:pt x="81675" y="65833"/>
                  </a:lnTo>
                  <a:lnTo>
                    <a:pt x="84816" y="62083"/>
                  </a:lnTo>
                  <a:lnTo>
                    <a:pt x="89214" y="57083"/>
                  </a:lnTo>
                  <a:lnTo>
                    <a:pt x="93612" y="51250"/>
                  </a:lnTo>
                  <a:lnTo>
                    <a:pt x="94869" y="49166"/>
                  </a:lnTo>
                  <a:lnTo>
                    <a:pt x="96125" y="46250"/>
                  </a:lnTo>
                  <a:lnTo>
                    <a:pt x="98010" y="44166"/>
                  </a:lnTo>
                  <a:lnTo>
                    <a:pt x="99267" y="41250"/>
                  </a:lnTo>
                  <a:lnTo>
                    <a:pt x="100523" y="39166"/>
                  </a:lnTo>
                  <a:lnTo>
                    <a:pt x="102408" y="38333"/>
                  </a:lnTo>
                  <a:lnTo>
                    <a:pt x="102408" y="35416"/>
                  </a:lnTo>
                  <a:lnTo>
                    <a:pt x="105549" y="33333"/>
                  </a:lnTo>
                  <a:lnTo>
                    <a:pt x="108062" y="30416"/>
                  </a:lnTo>
                  <a:lnTo>
                    <a:pt x="108062" y="29583"/>
                  </a:lnTo>
                  <a:lnTo>
                    <a:pt x="109947" y="27500"/>
                  </a:lnTo>
                  <a:lnTo>
                    <a:pt x="111204" y="25416"/>
                  </a:lnTo>
                  <a:lnTo>
                    <a:pt x="112460" y="24583"/>
                  </a:lnTo>
                  <a:lnTo>
                    <a:pt x="114345" y="22500"/>
                  </a:lnTo>
                  <a:lnTo>
                    <a:pt x="114345" y="19583"/>
                  </a:lnTo>
                  <a:lnTo>
                    <a:pt x="114345" y="17500"/>
                  </a:lnTo>
                  <a:lnTo>
                    <a:pt x="114345" y="14583"/>
                  </a:lnTo>
                  <a:lnTo>
                    <a:pt x="114345" y="14583"/>
                  </a:lnTo>
                  <a:lnTo>
                    <a:pt x="115602" y="13750"/>
                  </a:lnTo>
                  <a:lnTo>
                    <a:pt x="116858" y="13750"/>
                  </a:lnTo>
                  <a:lnTo>
                    <a:pt x="118743" y="13750"/>
                  </a:lnTo>
                  <a:lnTo>
                    <a:pt x="120000" y="13750"/>
                  </a:lnTo>
                  <a:lnTo>
                    <a:pt x="120000" y="13750"/>
                  </a:lnTo>
                  <a:lnTo>
                    <a:pt x="120000" y="1375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88" name="Shape 388"/>
            <p:cNvSpPr/>
            <p:nvPr/>
          </p:nvSpPr>
          <p:spPr>
            <a:xfrm>
              <a:off x="3896" y="1821"/>
              <a:ext cx="0" cy="0"/>
            </a:xfrm>
            <a:custGeom>
              <a:avLst/>
              <a:gdLst/>
              <a:ahLst/>
              <a:cxnLst/>
              <a:rect l="0" t="0" r="0" b="0"/>
              <a:pathLst>
                <a:path w="120000" h="120000" extrusionOk="0">
                  <a:moveTo>
                    <a:pt x="120000" y="29999"/>
                  </a:moveTo>
                  <a:lnTo>
                    <a:pt x="120000" y="17142"/>
                  </a:lnTo>
                  <a:lnTo>
                    <a:pt x="113076" y="17142"/>
                  </a:lnTo>
                  <a:lnTo>
                    <a:pt x="113076" y="8571"/>
                  </a:lnTo>
                  <a:lnTo>
                    <a:pt x="113076" y="8571"/>
                  </a:lnTo>
                  <a:lnTo>
                    <a:pt x="113076" y="8571"/>
                  </a:lnTo>
                  <a:lnTo>
                    <a:pt x="113076" y="0"/>
                  </a:lnTo>
                  <a:lnTo>
                    <a:pt x="113076" y="0"/>
                  </a:lnTo>
                  <a:lnTo>
                    <a:pt x="113076" y="0"/>
                  </a:lnTo>
                  <a:lnTo>
                    <a:pt x="101538" y="0"/>
                  </a:lnTo>
                  <a:lnTo>
                    <a:pt x="101538" y="0"/>
                  </a:lnTo>
                  <a:lnTo>
                    <a:pt x="101538" y="0"/>
                  </a:lnTo>
                  <a:lnTo>
                    <a:pt x="101538" y="8571"/>
                  </a:lnTo>
                  <a:lnTo>
                    <a:pt x="101538" y="8571"/>
                  </a:lnTo>
                  <a:lnTo>
                    <a:pt x="96923" y="8571"/>
                  </a:lnTo>
                  <a:lnTo>
                    <a:pt x="92307" y="8571"/>
                  </a:lnTo>
                  <a:lnTo>
                    <a:pt x="92307" y="8571"/>
                  </a:lnTo>
                  <a:lnTo>
                    <a:pt x="85384" y="8571"/>
                  </a:lnTo>
                  <a:lnTo>
                    <a:pt x="85384" y="17142"/>
                  </a:lnTo>
                  <a:lnTo>
                    <a:pt x="80769" y="17142"/>
                  </a:lnTo>
                  <a:lnTo>
                    <a:pt x="69230" y="17142"/>
                  </a:lnTo>
                  <a:lnTo>
                    <a:pt x="64615" y="17142"/>
                  </a:lnTo>
                  <a:lnTo>
                    <a:pt x="60000" y="17142"/>
                  </a:lnTo>
                  <a:lnTo>
                    <a:pt x="60000" y="17142"/>
                  </a:lnTo>
                  <a:lnTo>
                    <a:pt x="60000" y="17142"/>
                  </a:lnTo>
                  <a:lnTo>
                    <a:pt x="53076" y="17142"/>
                  </a:lnTo>
                  <a:lnTo>
                    <a:pt x="53076" y="29999"/>
                  </a:lnTo>
                  <a:lnTo>
                    <a:pt x="53076" y="29999"/>
                  </a:lnTo>
                  <a:lnTo>
                    <a:pt x="48461" y="29999"/>
                  </a:lnTo>
                  <a:lnTo>
                    <a:pt x="48461" y="38571"/>
                  </a:lnTo>
                  <a:lnTo>
                    <a:pt x="48461" y="38571"/>
                  </a:lnTo>
                  <a:lnTo>
                    <a:pt x="43846" y="38571"/>
                  </a:lnTo>
                  <a:lnTo>
                    <a:pt x="43846" y="38571"/>
                  </a:lnTo>
                  <a:lnTo>
                    <a:pt x="43846" y="29999"/>
                  </a:lnTo>
                  <a:lnTo>
                    <a:pt x="36923" y="29999"/>
                  </a:lnTo>
                  <a:lnTo>
                    <a:pt x="25384" y="29999"/>
                  </a:lnTo>
                  <a:lnTo>
                    <a:pt x="25384" y="29999"/>
                  </a:lnTo>
                  <a:lnTo>
                    <a:pt x="20769" y="29999"/>
                  </a:lnTo>
                  <a:lnTo>
                    <a:pt x="20769" y="29999"/>
                  </a:lnTo>
                  <a:lnTo>
                    <a:pt x="16153" y="29999"/>
                  </a:lnTo>
                  <a:lnTo>
                    <a:pt x="16153" y="29999"/>
                  </a:lnTo>
                  <a:lnTo>
                    <a:pt x="9230" y="29999"/>
                  </a:lnTo>
                  <a:lnTo>
                    <a:pt x="9230" y="29999"/>
                  </a:lnTo>
                  <a:lnTo>
                    <a:pt x="9230" y="38571"/>
                  </a:lnTo>
                  <a:lnTo>
                    <a:pt x="4615" y="38571"/>
                  </a:lnTo>
                  <a:lnTo>
                    <a:pt x="4615" y="38571"/>
                  </a:lnTo>
                  <a:lnTo>
                    <a:pt x="0" y="51428"/>
                  </a:lnTo>
                  <a:lnTo>
                    <a:pt x="4615" y="51428"/>
                  </a:lnTo>
                  <a:lnTo>
                    <a:pt x="4615" y="51428"/>
                  </a:lnTo>
                  <a:lnTo>
                    <a:pt x="4615" y="51428"/>
                  </a:lnTo>
                  <a:lnTo>
                    <a:pt x="4615" y="51428"/>
                  </a:lnTo>
                  <a:lnTo>
                    <a:pt x="9230" y="59999"/>
                  </a:lnTo>
                  <a:lnTo>
                    <a:pt x="9230" y="59999"/>
                  </a:lnTo>
                  <a:lnTo>
                    <a:pt x="9230" y="59999"/>
                  </a:lnTo>
                  <a:lnTo>
                    <a:pt x="9230" y="59999"/>
                  </a:lnTo>
                  <a:lnTo>
                    <a:pt x="9230" y="59999"/>
                  </a:lnTo>
                  <a:lnTo>
                    <a:pt x="4615" y="68571"/>
                  </a:lnTo>
                  <a:lnTo>
                    <a:pt x="4615" y="68571"/>
                  </a:lnTo>
                  <a:lnTo>
                    <a:pt x="4615" y="68571"/>
                  </a:lnTo>
                  <a:lnTo>
                    <a:pt x="4615" y="68571"/>
                  </a:lnTo>
                  <a:lnTo>
                    <a:pt x="9230" y="68571"/>
                  </a:lnTo>
                  <a:lnTo>
                    <a:pt x="9230" y="81428"/>
                  </a:lnTo>
                  <a:lnTo>
                    <a:pt x="9230" y="89999"/>
                  </a:lnTo>
                  <a:lnTo>
                    <a:pt x="9230" y="89999"/>
                  </a:lnTo>
                  <a:lnTo>
                    <a:pt x="9230" y="89999"/>
                  </a:lnTo>
                  <a:lnTo>
                    <a:pt x="16153" y="89999"/>
                  </a:lnTo>
                  <a:lnTo>
                    <a:pt x="20769" y="98571"/>
                  </a:lnTo>
                  <a:lnTo>
                    <a:pt x="20769" y="111428"/>
                  </a:lnTo>
                  <a:lnTo>
                    <a:pt x="20769" y="111428"/>
                  </a:lnTo>
                  <a:lnTo>
                    <a:pt x="16153" y="111428"/>
                  </a:lnTo>
                  <a:lnTo>
                    <a:pt x="16153" y="111428"/>
                  </a:lnTo>
                  <a:lnTo>
                    <a:pt x="9230" y="111428"/>
                  </a:lnTo>
                  <a:lnTo>
                    <a:pt x="9230" y="111428"/>
                  </a:lnTo>
                  <a:lnTo>
                    <a:pt x="9230" y="119999"/>
                  </a:lnTo>
                  <a:lnTo>
                    <a:pt x="20769" y="119999"/>
                  </a:lnTo>
                  <a:lnTo>
                    <a:pt x="20769" y="119999"/>
                  </a:lnTo>
                  <a:lnTo>
                    <a:pt x="25384" y="119999"/>
                  </a:lnTo>
                  <a:lnTo>
                    <a:pt x="25384" y="119999"/>
                  </a:lnTo>
                  <a:lnTo>
                    <a:pt x="25384" y="111428"/>
                  </a:lnTo>
                  <a:lnTo>
                    <a:pt x="25384" y="119999"/>
                  </a:lnTo>
                  <a:lnTo>
                    <a:pt x="32307" y="119999"/>
                  </a:lnTo>
                  <a:lnTo>
                    <a:pt x="36923" y="119999"/>
                  </a:lnTo>
                  <a:lnTo>
                    <a:pt x="36923" y="119999"/>
                  </a:lnTo>
                  <a:lnTo>
                    <a:pt x="43846" y="119999"/>
                  </a:lnTo>
                  <a:lnTo>
                    <a:pt x="43846" y="111428"/>
                  </a:lnTo>
                  <a:lnTo>
                    <a:pt x="48461" y="98571"/>
                  </a:lnTo>
                  <a:lnTo>
                    <a:pt x="48461" y="98571"/>
                  </a:lnTo>
                  <a:lnTo>
                    <a:pt x="48461" y="98571"/>
                  </a:lnTo>
                  <a:lnTo>
                    <a:pt x="48461" y="111428"/>
                  </a:lnTo>
                  <a:lnTo>
                    <a:pt x="48461" y="111428"/>
                  </a:lnTo>
                  <a:lnTo>
                    <a:pt x="53076" y="111428"/>
                  </a:lnTo>
                  <a:lnTo>
                    <a:pt x="53076" y="119999"/>
                  </a:lnTo>
                  <a:lnTo>
                    <a:pt x="60000" y="119999"/>
                  </a:lnTo>
                  <a:lnTo>
                    <a:pt x="60000" y="119999"/>
                  </a:lnTo>
                  <a:lnTo>
                    <a:pt x="64615" y="119999"/>
                  </a:lnTo>
                  <a:lnTo>
                    <a:pt x="69230" y="119999"/>
                  </a:lnTo>
                  <a:lnTo>
                    <a:pt x="76153" y="119999"/>
                  </a:lnTo>
                  <a:lnTo>
                    <a:pt x="76153" y="119999"/>
                  </a:lnTo>
                  <a:lnTo>
                    <a:pt x="76153" y="119999"/>
                  </a:lnTo>
                  <a:lnTo>
                    <a:pt x="76153" y="111428"/>
                  </a:lnTo>
                  <a:lnTo>
                    <a:pt x="76153" y="111428"/>
                  </a:lnTo>
                  <a:lnTo>
                    <a:pt x="76153" y="111428"/>
                  </a:lnTo>
                  <a:lnTo>
                    <a:pt x="76153" y="98571"/>
                  </a:lnTo>
                  <a:lnTo>
                    <a:pt x="76153" y="98571"/>
                  </a:lnTo>
                  <a:lnTo>
                    <a:pt x="76153" y="98571"/>
                  </a:lnTo>
                  <a:lnTo>
                    <a:pt x="76153" y="98571"/>
                  </a:lnTo>
                  <a:lnTo>
                    <a:pt x="80769" y="89999"/>
                  </a:lnTo>
                  <a:lnTo>
                    <a:pt x="85384" y="89999"/>
                  </a:lnTo>
                  <a:lnTo>
                    <a:pt x="85384" y="81428"/>
                  </a:lnTo>
                  <a:lnTo>
                    <a:pt x="92307" y="81428"/>
                  </a:lnTo>
                  <a:lnTo>
                    <a:pt x="92307" y="68571"/>
                  </a:lnTo>
                  <a:lnTo>
                    <a:pt x="85384" y="68571"/>
                  </a:lnTo>
                  <a:lnTo>
                    <a:pt x="85384" y="59999"/>
                  </a:lnTo>
                  <a:lnTo>
                    <a:pt x="85384" y="59999"/>
                  </a:lnTo>
                  <a:lnTo>
                    <a:pt x="85384" y="59999"/>
                  </a:lnTo>
                  <a:lnTo>
                    <a:pt x="85384" y="51428"/>
                  </a:lnTo>
                  <a:lnTo>
                    <a:pt x="92307" y="51428"/>
                  </a:lnTo>
                  <a:lnTo>
                    <a:pt x="92307" y="51428"/>
                  </a:lnTo>
                  <a:lnTo>
                    <a:pt x="96923" y="51428"/>
                  </a:lnTo>
                  <a:lnTo>
                    <a:pt x="96923" y="51428"/>
                  </a:lnTo>
                  <a:lnTo>
                    <a:pt x="101538" y="51428"/>
                  </a:lnTo>
                  <a:lnTo>
                    <a:pt x="101538" y="38571"/>
                  </a:lnTo>
                  <a:lnTo>
                    <a:pt x="108461" y="38571"/>
                  </a:lnTo>
                  <a:lnTo>
                    <a:pt x="108461" y="38571"/>
                  </a:lnTo>
                  <a:lnTo>
                    <a:pt x="113076" y="38571"/>
                  </a:lnTo>
                  <a:lnTo>
                    <a:pt x="108461" y="29999"/>
                  </a:lnTo>
                  <a:lnTo>
                    <a:pt x="113076" y="29999"/>
                  </a:lnTo>
                  <a:lnTo>
                    <a:pt x="113076" y="29999"/>
                  </a:lnTo>
                  <a:lnTo>
                    <a:pt x="113076" y="29999"/>
                  </a:lnTo>
                  <a:lnTo>
                    <a:pt x="120000" y="29999"/>
                  </a:lnTo>
                  <a:lnTo>
                    <a:pt x="120000" y="29999"/>
                  </a:lnTo>
                  <a:lnTo>
                    <a:pt x="120000" y="29999"/>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89" name="Shape 389"/>
            <p:cNvSpPr/>
            <p:nvPr/>
          </p:nvSpPr>
          <p:spPr>
            <a:xfrm>
              <a:off x="3952" y="1764"/>
              <a:ext cx="0" cy="0"/>
            </a:xfrm>
            <a:custGeom>
              <a:avLst/>
              <a:gdLst/>
              <a:ahLst/>
              <a:cxnLst/>
              <a:rect l="0" t="0" r="0" b="0"/>
              <a:pathLst>
                <a:path w="120000" h="120000" extrusionOk="0">
                  <a:moveTo>
                    <a:pt x="120000" y="28421"/>
                  </a:moveTo>
                  <a:lnTo>
                    <a:pt x="113478" y="28421"/>
                  </a:lnTo>
                  <a:lnTo>
                    <a:pt x="110869" y="22105"/>
                  </a:lnTo>
                  <a:lnTo>
                    <a:pt x="108260" y="22105"/>
                  </a:lnTo>
                  <a:lnTo>
                    <a:pt x="108260" y="15789"/>
                  </a:lnTo>
                  <a:lnTo>
                    <a:pt x="108260" y="15789"/>
                  </a:lnTo>
                  <a:lnTo>
                    <a:pt x="101739" y="15789"/>
                  </a:lnTo>
                  <a:lnTo>
                    <a:pt x="101739" y="6315"/>
                  </a:lnTo>
                  <a:lnTo>
                    <a:pt x="95217" y="6315"/>
                  </a:lnTo>
                  <a:lnTo>
                    <a:pt x="92608" y="6315"/>
                  </a:lnTo>
                  <a:lnTo>
                    <a:pt x="90000" y="6315"/>
                  </a:lnTo>
                  <a:lnTo>
                    <a:pt x="90000" y="6315"/>
                  </a:lnTo>
                  <a:lnTo>
                    <a:pt x="90000" y="15789"/>
                  </a:lnTo>
                  <a:lnTo>
                    <a:pt x="86086" y="15789"/>
                  </a:lnTo>
                  <a:lnTo>
                    <a:pt x="86086" y="15789"/>
                  </a:lnTo>
                  <a:lnTo>
                    <a:pt x="83478" y="15789"/>
                  </a:lnTo>
                  <a:lnTo>
                    <a:pt x="83478" y="15789"/>
                  </a:lnTo>
                  <a:lnTo>
                    <a:pt x="80869" y="15789"/>
                  </a:lnTo>
                  <a:lnTo>
                    <a:pt x="76956" y="15789"/>
                  </a:lnTo>
                  <a:lnTo>
                    <a:pt x="76956" y="15789"/>
                  </a:lnTo>
                  <a:lnTo>
                    <a:pt x="76956" y="15789"/>
                  </a:lnTo>
                  <a:lnTo>
                    <a:pt x="74347" y="15789"/>
                  </a:lnTo>
                  <a:lnTo>
                    <a:pt x="74347" y="15789"/>
                  </a:lnTo>
                  <a:lnTo>
                    <a:pt x="74347" y="15789"/>
                  </a:lnTo>
                  <a:lnTo>
                    <a:pt x="70434" y="15789"/>
                  </a:lnTo>
                  <a:lnTo>
                    <a:pt x="70434" y="15789"/>
                  </a:lnTo>
                  <a:lnTo>
                    <a:pt x="67826" y="22105"/>
                  </a:lnTo>
                  <a:lnTo>
                    <a:pt x="67826" y="22105"/>
                  </a:lnTo>
                  <a:lnTo>
                    <a:pt x="65217" y="22105"/>
                  </a:lnTo>
                  <a:lnTo>
                    <a:pt x="65217" y="22105"/>
                  </a:lnTo>
                  <a:lnTo>
                    <a:pt x="61304" y="22105"/>
                  </a:lnTo>
                  <a:lnTo>
                    <a:pt x="61304" y="22105"/>
                  </a:lnTo>
                  <a:lnTo>
                    <a:pt x="61304" y="22105"/>
                  </a:lnTo>
                  <a:lnTo>
                    <a:pt x="61304" y="22105"/>
                  </a:lnTo>
                  <a:lnTo>
                    <a:pt x="61304" y="15789"/>
                  </a:lnTo>
                  <a:lnTo>
                    <a:pt x="61304" y="15789"/>
                  </a:lnTo>
                  <a:lnTo>
                    <a:pt x="61304" y="15789"/>
                  </a:lnTo>
                  <a:lnTo>
                    <a:pt x="58695" y="15789"/>
                  </a:lnTo>
                  <a:lnTo>
                    <a:pt x="58695" y="6315"/>
                  </a:lnTo>
                  <a:lnTo>
                    <a:pt x="58695" y="6315"/>
                  </a:lnTo>
                  <a:lnTo>
                    <a:pt x="58695" y="6315"/>
                  </a:lnTo>
                  <a:lnTo>
                    <a:pt x="56086" y="6315"/>
                  </a:lnTo>
                  <a:lnTo>
                    <a:pt x="56086" y="0"/>
                  </a:lnTo>
                  <a:lnTo>
                    <a:pt x="56086" y="0"/>
                  </a:lnTo>
                  <a:lnTo>
                    <a:pt x="52173" y="0"/>
                  </a:lnTo>
                  <a:lnTo>
                    <a:pt x="52173" y="0"/>
                  </a:lnTo>
                  <a:lnTo>
                    <a:pt x="49565" y="6315"/>
                  </a:lnTo>
                  <a:lnTo>
                    <a:pt x="49565" y="15789"/>
                  </a:lnTo>
                  <a:lnTo>
                    <a:pt x="46956" y="15789"/>
                  </a:lnTo>
                  <a:lnTo>
                    <a:pt x="43043" y="6315"/>
                  </a:lnTo>
                  <a:lnTo>
                    <a:pt x="43043" y="6315"/>
                  </a:lnTo>
                  <a:lnTo>
                    <a:pt x="43043" y="6315"/>
                  </a:lnTo>
                  <a:lnTo>
                    <a:pt x="40434" y="6315"/>
                  </a:lnTo>
                  <a:lnTo>
                    <a:pt x="40434" y="6315"/>
                  </a:lnTo>
                  <a:lnTo>
                    <a:pt x="37826" y="6315"/>
                  </a:lnTo>
                  <a:lnTo>
                    <a:pt x="37826" y="6315"/>
                  </a:lnTo>
                  <a:lnTo>
                    <a:pt x="33913" y="6315"/>
                  </a:lnTo>
                  <a:lnTo>
                    <a:pt x="33913" y="6315"/>
                  </a:lnTo>
                  <a:lnTo>
                    <a:pt x="33913" y="15789"/>
                  </a:lnTo>
                  <a:lnTo>
                    <a:pt x="31304" y="15789"/>
                  </a:lnTo>
                  <a:lnTo>
                    <a:pt x="31304" y="15789"/>
                  </a:lnTo>
                  <a:lnTo>
                    <a:pt x="27391" y="22105"/>
                  </a:lnTo>
                  <a:lnTo>
                    <a:pt x="27391" y="22105"/>
                  </a:lnTo>
                  <a:lnTo>
                    <a:pt x="27391" y="22105"/>
                  </a:lnTo>
                  <a:lnTo>
                    <a:pt x="27391" y="28421"/>
                  </a:lnTo>
                  <a:lnTo>
                    <a:pt x="27391" y="28421"/>
                  </a:lnTo>
                  <a:lnTo>
                    <a:pt x="24782" y="37894"/>
                  </a:lnTo>
                  <a:lnTo>
                    <a:pt x="24782" y="37894"/>
                  </a:lnTo>
                  <a:lnTo>
                    <a:pt x="22173" y="37894"/>
                  </a:lnTo>
                  <a:lnTo>
                    <a:pt x="22173" y="37894"/>
                  </a:lnTo>
                  <a:lnTo>
                    <a:pt x="22173" y="44210"/>
                  </a:lnTo>
                  <a:lnTo>
                    <a:pt x="18260" y="44210"/>
                  </a:lnTo>
                  <a:lnTo>
                    <a:pt x="15652" y="44210"/>
                  </a:lnTo>
                  <a:lnTo>
                    <a:pt x="13043" y="50526"/>
                  </a:lnTo>
                  <a:lnTo>
                    <a:pt x="9130" y="44210"/>
                  </a:lnTo>
                  <a:lnTo>
                    <a:pt x="6521" y="44210"/>
                  </a:lnTo>
                  <a:lnTo>
                    <a:pt x="6521" y="44210"/>
                  </a:lnTo>
                  <a:lnTo>
                    <a:pt x="6521" y="50526"/>
                  </a:lnTo>
                  <a:lnTo>
                    <a:pt x="3913" y="60000"/>
                  </a:lnTo>
                  <a:lnTo>
                    <a:pt x="3913" y="66315"/>
                  </a:lnTo>
                  <a:lnTo>
                    <a:pt x="3913" y="66315"/>
                  </a:lnTo>
                  <a:lnTo>
                    <a:pt x="3913" y="66315"/>
                  </a:lnTo>
                  <a:lnTo>
                    <a:pt x="3913" y="66315"/>
                  </a:lnTo>
                  <a:lnTo>
                    <a:pt x="0" y="75789"/>
                  </a:lnTo>
                  <a:lnTo>
                    <a:pt x="0" y="75789"/>
                  </a:lnTo>
                  <a:lnTo>
                    <a:pt x="3913" y="88421"/>
                  </a:lnTo>
                  <a:lnTo>
                    <a:pt x="6521" y="97894"/>
                  </a:lnTo>
                  <a:lnTo>
                    <a:pt x="6521" y="97894"/>
                  </a:lnTo>
                  <a:lnTo>
                    <a:pt x="6521" y="104210"/>
                  </a:lnTo>
                  <a:lnTo>
                    <a:pt x="9130" y="104210"/>
                  </a:lnTo>
                  <a:lnTo>
                    <a:pt x="9130" y="104210"/>
                  </a:lnTo>
                  <a:lnTo>
                    <a:pt x="9130" y="104210"/>
                  </a:lnTo>
                  <a:lnTo>
                    <a:pt x="13043" y="104210"/>
                  </a:lnTo>
                  <a:lnTo>
                    <a:pt x="15652" y="110526"/>
                  </a:lnTo>
                  <a:lnTo>
                    <a:pt x="18260" y="110526"/>
                  </a:lnTo>
                  <a:lnTo>
                    <a:pt x="22173" y="120000"/>
                  </a:lnTo>
                  <a:lnTo>
                    <a:pt x="24782" y="120000"/>
                  </a:lnTo>
                  <a:lnTo>
                    <a:pt x="27391" y="120000"/>
                  </a:lnTo>
                  <a:lnTo>
                    <a:pt x="37826" y="120000"/>
                  </a:lnTo>
                  <a:lnTo>
                    <a:pt x="40434" y="120000"/>
                  </a:lnTo>
                  <a:lnTo>
                    <a:pt x="43043" y="110526"/>
                  </a:lnTo>
                  <a:lnTo>
                    <a:pt x="43043" y="110526"/>
                  </a:lnTo>
                  <a:lnTo>
                    <a:pt x="43043" y="110526"/>
                  </a:lnTo>
                  <a:lnTo>
                    <a:pt x="43043" y="104210"/>
                  </a:lnTo>
                  <a:lnTo>
                    <a:pt x="43043" y="104210"/>
                  </a:lnTo>
                  <a:lnTo>
                    <a:pt x="46956" y="97894"/>
                  </a:lnTo>
                  <a:lnTo>
                    <a:pt x="52173" y="97894"/>
                  </a:lnTo>
                  <a:lnTo>
                    <a:pt x="56086" y="97894"/>
                  </a:lnTo>
                  <a:lnTo>
                    <a:pt x="58695" y="88421"/>
                  </a:lnTo>
                  <a:lnTo>
                    <a:pt x="58695" y="88421"/>
                  </a:lnTo>
                  <a:lnTo>
                    <a:pt x="58695" y="88421"/>
                  </a:lnTo>
                  <a:lnTo>
                    <a:pt x="61304" y="88421"/>
                  </a:lnTo>
                  <a:lnTo>
                    <a:pt x="65217" y="88421"/>
                  </a:lnTo>
                  <a:lnTo>
                    <a:pt x="65217" y="97894"/>
                  </a:lnTo>
                  <a:lnTo>
                    <a:pt x="67826" y="88421"/>
                  </a:lnTo>
                  <a:lnTo>
                    <a:pt x="70434" y="88421"/>
                  </a:lnTo>
                  <a:lnTo>
                    <a:pt x="74347" y="82105"/>
                  </a:lnTo>
                  <a:lnTo>
                    <a:pt x="76956" y="66315"/>
                  </a:lnTo>
                  <a:lnTo>
                    <a:pt x="76956" y="66315"/>
                  </a:lnTo>
                  <a:lnTo>
                    <a:pt x="80869" y="66315"/>
                  </a:lnTo>
                  <a:lnTo>
                    <a:pt x="86086" y="66315"/>
                  </a:lnTo>
                  <a:lnTo>
                    <a:pt x="90000" y="66315"/>
                  </a:lnTo>
                  <a:lnTo>
                    <a:pt x="90000" y="66315"/>
                  </a:lnTo>
                  <a:lnTo>
                    <a:pt x="92608" y="66315"/>
                  </a:lnTo>
                  <a:lnTo>
                    <a:pt x="99130" y="66315"/>
                  </a:lnTo>
                  <a:lnTo>
                    <a:pt x="99130" y="66315"/>
                  </a:lnTo>
                  <a:lnTo>
                    <a:pt x="99130" y="66315"/>
                  </a:lnTo>
                  <a:lnTo>
                    <a:pt x="101739" y="66315"/>
                  </a:lnTo>
                  <a:lnTo>
                    <a:pt x="101739" y="75789"/>
                  </a:lnTo>
                  <a:lnTo>
                    <a:pt x="101739" y="75789"/>
                  </a:lnTo>
                  <a:lnTo>
                    <a:pt x="101739" y="75789"/>
                  </a:lnTo>
                  <a:lnTo>
                    <a:pt x="104347" y="75789"/>
                  </a:lnTo>
                  <a:lnTo>
                    <a:pt x="104347" y="82105"/>
                  </a:lnTo>
                  <a:lnTo>
                    <a:pt x="104347" y="82105"/>
                  </a:lnTo>
                  <a:lnTo>
                    <a:pt x="113478" y="75789"/>
                  </a:lnTo>
                  <a:lnTo>
                    <a:pt x="113478" y="75789"/>
                  </a:lnTo>
                  <a:lnTo>
                    <a:pt x="113478" y="66315"/>
                  </a:lnTo>
                  <a:lnTo>
                    <a:pt x="117391" y="60000"/>
                  </a:lnTo>
                  <a:lnTo>
                    <a:pt x="117391" y="50526"/>
                  </a:lnTo>
                  <a:lnTo>
                    <a:pt x="117391" y="44210"/>
                  </a:lnTo>
                  <a:lnTo>
                    <a:pt x="120000" y="44210"/>
                  </a:lnTo>
                  <a:lnTo>
                    <a:pt x="120000" y="37894"/>
                  </a:lnTo>
                  <a:lnTo>
                    <a:pt x="120000" y="37894"/>
                  </a:lnTo>
                  <a:lnTo>
                    <a:pt x="120000" y="28421"/>
                  </a:lnTo>
                  <a:lnTo>
                    <a:pt x="120000" y="28421"/>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90" name="Shape 390"/>
            <p:cNvSpPr/>
            <p:nvPr/>
          </p:nvSpPr>
          <p:spPr>
            <a:xfrm>
              <a:off x="5581" y="2777"/>
              <a:ext cx="0" cy="0"/>
            </a:xfrm>
            <a:custGeom>
              <a:avLst/>
              <a:gdLst/>
              <a:ahLst/>
              <a:cxnLst/>
              <a:rect l="0" t="0" r="0" b="0"/>
              <a:pathLst>
                <a:path w="120000" h="120000" extrusionOk="0">
                  <a:moveTo>
                    <a:pt x="120000" y="48000"/>
                  </a:moveTo>
                  <a:lnTo>
                    <a:pt x="120000" y="0"/>
                  </a:lnTo>
                  <a:lnTo>
                    <a:pt x="48000" y="0"/>
                  </a:lnTo>
                  <a:lnTo>
                    <a:pt x="0" y="0"/>
                  </a:lnTo>
                  <a:lnTo>
                    <a:pt x="0" y="48000"/>
                  </a:lnTo>
                  <a:lnTo>
                    <a:pt x="48000" y="120000"/>
                  </a:lnTo>
                  <a:lnTo>
                    <a:pt x="120000" y="48000"/>
                  </a:lnTo>
                  <a:lnTo>
                    <a:pt x="120000" y="48000"/>
                  </a:lnTo>
                  <a:lnTo>
                    <a:pt x="120000" y="4800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91" name="Shape 391"/>
            <p:cNvSpPr/>
            <p:nvPr/>
          </p:nvSpPr>
          <p:spPr>
            <a:xfrm>
              <a:off x="3408" y="2597"/>
              <a:ext cx="0" cy="0"/>
            </a:xfrm>
            <a:custGeom>
              <a:avLst/>
              <a:gdLst/>
              <a:ahLst/>
              <a:cxnLst/>
              <a:rect l="0" t="0" r="0" b="0"/>
              <a:pathLst>
                <a:path w="120000" h="120000" extrusionOk="0">
                  <a:moveTo>
                    <a:pt x="31111" y="93750"/>
                  </a:moveTo>
                  <a:lnTo>
                    <a:pt x="26666" y="93750"/>
                  </a:lnTo>
                  <a:lnTo>
                    <a:pt x="15555" y="93750"/>
                  </a:lnTo>
                  <a:lnTo>
                    <a:pt x="11111" y="93750"/>
                  </a:lnTo>
                  <a:lnTo>
                    <a:pt x="26666" y="97500"/>
                  </a:lnTo>
                  <a:lnTo>
                    <a:pt x="31111" y="103125"/>
                  </a:lnTo>
                  <a:lnTo>
                    <a:pt x="31111" y="103125"/>
                  </a:lnTo>
                  <a:lnTo>
                    <a:pt x="31111" y="97500"/>
                  </a:lnTo>
                  <a:lnTo>
                    <a:pt x="31111" y="93750"/>
                  </a:lnTo>
                  <a:lnTo>
                    <a:pt x="31111" y="93750"/>
                  </a:lnTo>
                  <a:close/>
                  <a:moveTo>
                    <a:pt x="120000" y="58125"/>
                  </a:moveTo>
                  <a:lnTo>
                    <a:pt x="115555" y="61875"/>
                  </a:lnTo>
                  <a:lnTo>
                    <a:pt x="108888" y="67500"/>
                  </a:lnTo>
                  <a:lnTo>
                    <a:pt x="108888" y="67500"/>
                  </a:lnTo>
                  <a:lnTo>
                    <a:pt x="104444" y="67500"/>
                  </a:lnTo>
                  <a:lnTo>
                    <a:pt x="104444" y="67500"/>
                  </a:lnTo>
                  <a:lnTo>
                    <a:pt x="104444" y="67500"/>
                  </a:lnTo>
                  <a:lnTo>
                    <a:pt x="104444" y="61875"/>
                  </a:lnTo>
                  <a:lnTo>
                    <a:pt x="104444" y="61875"/>
                  </a:lnTo>
                  <a:lnTo>
                    <a:pt x="108888" y="58125"/>
                  </a:lnTo>
                  <a:lnTo>
                    <a:pt x="115555" y="54375"/>
                  </a:lnTo>
                  <a:lnTo>
                    <a:pt x="115555" y="48750"/>
                  </a:lnTo>
                  <a:lnTo>
                    <a:pt x="108888" y="48750"/>
                  </a:lnTo>
                  <a:lnTo>
                    <a:pt x="108888" y="45000"/>
                  </a:lnTo>
                  <a:lnTo>
                    <a:pt x="108888" y="41250"/>
                  </a:lnTo>
                  <a:lnTo>
                    <a:pt x="108888" y="35625"/>
                  </a:lnTo>
                  <a:lnTo>
                    <a:pt x="104444" y="35625"/>
                  </a:lnTo>
                  <a:lnTo>
                    <a:pt x="104444" y="35625"/>
                  </a:lnTo>
                  <a:lnTo>
                    <a:pt x="104444" y="35625"/>
                  </a:lnTo>
                  <a:lnTo>
                    <a:pt x="104444" y="31875"/>
                  </a:lnTo>
                  <a:lnTo>
                    <a:pt x="104444" y="26250"/>
                  </a:lnTo>
                  <a:lnTo>
                    <a:pt x="104444" y="26250"/>
                  </a:lnTo>
                  <a:lnTo>
                    <a:pt x="104444" y="26250"/>
                  </a:lnTo>
                  <a:lnTo>
                    <a:pt x="104444" y="22500"/>
                  </a:lnTo>
                  <a:lnTo>
                    <a:pt x="100000" y="18750"/>
                  </a:lnTo>
                  <a:lnTo>
                    <a:pt x="93333" y="13125"/>
                  </a:lnTo>
                  <a:lnTo>
                    <a:pt x="93333" y="9375"/>
                  </a:lnTo>
                  <a:lnTo>
                    <a:pt x="88888" y="5625"/>
                  </a:lnTo>
                  <a:lnTo>
                    <a:pt x="88888" y="0"/>
                  </a:lnTo>
                  <a:lnTo>
                    <a:pt x="84444" y="0"/>
                  </a:lnTo>
                  <a:lnTo>
                    <a:pt x="84444" y="0"/>
                  </a:lnTo>
                  <a:lnTo>
                    <a:pt x="73333" y="0"/>
                  </a:lnTo>
                  <a:lnTo>
                    <a:pt x="62222" y="0"/>
                  </a:lnTo>
                  <a:lnTo>
                    <a:pt x="57777" y="0"/>
                  </a:lnTo>
                  <a:lnTo>
                    <a:pt x="57777" y="0"/>
                  </a:lnTo>
                  <a:lnTo>
                    <a:pt x="46666" y="5625"/>
                  </a:lnTo>
                  <a:lnTo>
                    <a:pt x="42222" y="0"/>
                  </a:lnTo>
                  <a:lnTo>
                    <a:pt x="35555" y="5625"/>
                  </a:lnTo>
                  <a:lnTo>
                    <a:pt x="31111" y="5625"/>
                  </a:lnTo>
                  <a:lnTo>
                    <a:pt x="31111" y="9375"/>
                  </a:lnTo>
                  <a:lnTo>
                    <a:pt x="31111" y="9375"/>
                  </a:lnTo>
                  <a:lnTo>
                    <a:pt x="26666" y="13125"/>
                  </a:lnTo>
                  <a:lnTo>
                    <a:pt x="26666" y="13125"/>
                  </a:lnTo>
                  <a:lnTo>
                    <a:pt x="26666" y="13125"/>
                  </a:lnTo>
                  <a:lnTo>
                    <a:pt x="26666" y="18750"/>
                  </a:lnTo>
                  <a:lnTo>
                    <a:pt x="26666" y="18750"/>
                  </a:lnTo>
                  <a:lnTo>
                    <a:pt x="20000" y="22500"/>
                  </a:lnTo>
                  <a:lnTo>
                    <a:pt x="15555" y="26250"/>
                  </a:lnTo>
                  <a:lnTo>
                    <a:pt x="11111" y="26250"/>
                  </a:lnTo>
                  <a:lnTo>
                    <a:pt x="11111" y="31875"/>
                  </a:lnTo>
                  <a:lnTo>
                    <a:pt x="11111" y="35625"/>
                  </a:lnTo>
                  <a:lnTo>
                    <a:pt x="11111" y="35625"/>
                  </a:lnTo>
                  <a:lnTo>
                    <a:pt x="4444" y="35625"/>
                  </a:lnTo>
                  <a:lnTo>
                    <a:pt x="4444" y="35625"/>
                  </a:lnTo>
                  <a:lnTo>
                    <a:pt x="0" y="35625"/>
                  </a:lnTo>
                  <a:lnTo>
                    <a:pt x="0" y="35625"/>
                  </a:lnTo>
                  <a:lnTo>
                    <a:pt x="0" y="41250"/>
                  </a:lnTo>
                  <a:lnTo>
                    <a:pt x="4444" y="45000"/>
                  </a:lnTo>
                  <a:lnTo>
                    <a:pt x="11111" y="45000"/>
                  </a:lnTo>
                  <a:lnTo>
                    <a:pt x="11111" y="45000"/>
                  </a:lnTo>
                  <a:lnTo>
                    <a:pt x="0" y="45000"/>
                  </a:lnTo>
                  <a:lnTo>
                    <a:pt x="0" y="48750"/>
                  </a:lnTo>
                  <a:lnTo>
                    <a:pt x="0" y="48750"/>
                  </a:lnTo>
                  <a:lnTo>
                    <a:pt x="4444" y="54375"/>
                  </a:lnTo>
                  <a:lnTo>
                    <a:pt x="4444" y="54375"/>
                  </a:lnTo>
                  <a:lnTo>
                    <a:pt x="4444" y="54375"/>
                  </a:lnTo>
                  <a:lnTo>
                    <a:pt x="11111" y="54375"/>
                  </a:lnTo>
                  <a:lnTo>
                    <a:pt x="15555" y="54375"/>
                  </a:lnTo>
                  <a:lnTo>
                    <a:pt x="15555" y="54375"/>
                  </a:lnTo>
                  <a:lnTo>
                    <a:pt x="15555" y="54375"/>
                  </a:lnTo>
                  <a:lnTo>
                    <a:pt x="11111" y="58125"/>
                  </a:lnTo>
                  <a:lnTo>
                    <a:pt x="4444" y="61875"/>
                  </a:lnTo>
                  <a:lnTo>
                    <a:pt x="4444" y="61875"/>
                  </a:lnTo>
                  <a:lnTo>
                    <a:pt x="0" y="58125"/>
                  </a:lnTo>
                  <a:lnTo>
                    <a:pt x="0" y="58125"/>
                  </a:lnTo>
                  <a:lnTo>
                    <a:pt x="0" y="61875"/>
                  </a:lnTo>
                  <a:lnTo>
                    <a:pt x="0" y="67500"/>
                  </a:lnTo>
                  <a:lnTo>
                    <a:pt x="4444" y="71250"/>
                  </a:lnTo>
                  <a:lnTo>
                    <a:pt x="11111" y="71250"/>
                  </a:lnTo>
                  <a:lnTo>
                    <a:pt x="11111" y="71250"/>
                  </a:lnTo>
                  <a:lnTo>
                    <a:pt x="15555" y="75000"/>
                  </a:lnTo>
                  <a:lnTo>
                    <a:pt x="15555" y="84375"/>
                  </a:lnTo>
                  <a:lnTo>
                    <a:pt x="15555" y="84375"/>
                  </a:lnTo>
                  <a:lnTo>
                    <a:pt x="20000" y="84375"/>
                  </a:lnTo>
                  <a:lnTo>
                    <a:pt x="20000" y="90000"/>
                  </a:lnTo>
                  <a:lnTo>
                    <a:pt x="26666" y="90000"/>
                  </a:lnTo>
                  <a:lnTo>
                    <a:pt x="31111" y="90000"/>
                  </a:lnTo>
                  <a:lnTo>
                    <a:pt x="31111" y="90000"/>
                  </a:lnTo>
                  <a:lnTo>
                    <a:pt x="31111" y="93750"/>
                  </a:lnTo>
                  <a:lnTo>
                    <a:pt x="31111" y="97500"/>
                  </a:lnTo>
                  <a:lnTo>
                    <a:pt x="31111" y="103125"/>
                  </a:lnTo>
                  <a:lnTo>
                    <a:pt x="31111" y="103125"/>
                  </a:lnTo>
                  <a:lnTo>
                    <a:pt x="35555" y="103125"/>
                  </a:lnTo>
                  <a:lnTo>
                    <a:pt x="51111" y="110625"/>
                  </a:lnTo>
                  <a:lnTo>
                    <a:pt x="62222" y="116250"/>
                  </a:lnTo>
                  <a:lnTo>
                    <a:pt x="66666" y="120000"/>
                  </a:lnTo>
                  <a:lnTo>
                    <a:pt x="73333" y="120000"/>
                  </a:lnTo>
                  <a:lnTo>
                    <a:pt x="73333" y="120000"/>
                  </a:lnTo>
                  <a:lnTo>
                    <a:pt x="77777" y="116250"/>
                  </a:lnTo>
                  <a:lnTo>
                    <a:pt x="84444" y="106875"/>
                  </a:lnTo>
                  <a:lnTo>
                    <a:pt x="84444" y="106875"/>
                  </a:lnTo>
                  <a:lnTo>
                    <a:pt x="88888" y="103125"/>
                  </a:lnTo>
                  <a:lnTo>
                    <a:pt x="93333" y="97500"/>
                  </a:lnTo>
                  <a:lnTo>
                    <a:pt x="100000" y="97500"/>
                  </a:lnTo>
                  <a:lnTo>
                    <a:pt x="104444" y="90000"/>
                  </a:lnTo>
                  <a:lnTo>
                    <a:pt x="104444" y="90000"/>
                  </a:lnTo>
                  <a:lnTo>
                    <a:pt x="108888" y="84375"/>
                  </a:lnTo>
                  <a:lnTo>
                    <a:pt x="108888" y="75000"/>
                  </a:lnTo>
                  <a:lnTo>
                    <a:pt x="115555" y="71250"/>
                  </a:lnTo>
                  <a:lnTo>
                    <a:pt x="120000" y="71250"/>
                  </a:lnTo>
                  <a:lnTo>
                    <a:pt x="120000" y="71250"/>
                  </a:lnTo>
                  <a:lnTo>
                    <a:pt x="120000" y="67500"/>
                  </a:lnTo>
                  <a:lnTo>
                    <a:pt x="120000" y="61875"/>
                  </a:lnTo>
                  <a:lnTo>
                    <a:pt x="120000" y="58125"/>
                  </a:lnTo>
                  <a:lnTo>
                    <a:pt x="120000" y="58125"/>
                  </a:lnTo>
                  <a:lnTo>
                    <a:pt x="120000" y="58125"/>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92" name="Shape 392"/>
            <p:cNvSpPr/>
            <p:nvPr/>
          </p:nvSpPr>
          <p:spPr>
            <a:xfrm>
              <a:off x="3988" y="1836"/>
              <a:ext cx="0" cy="0"/>
            </a:xfrm>
            <a:custGeom>
              <a:avLst/>
              <a:gdLst/>
              <a:ahLst/>
              <a:cxnLst/>
              <a:rect l="0" t="0" r="0" b="0"/>
              <a:pathLst>
                <a:path w="120000" h="120000" extrusionOk="0">
                  <a:moveTo>
                    <a:pt x="116571" y="91500"/>
                  </a:moveTo>
                  <a:lnTo>
                    <a:pt x="116571" y="88500"/>
                  </a:lnTo>
                  <a:lnTo>
                    <a:pt x="116571" y="88500"/>
                  </a:lnTo>
                  <a:lnTo>
                    <a:pt x="113142" y="88500"/>
                  </a:lnTo>
                  <a:lnTo>
                    <a:pt x="108000" y="85500"/>
                  </a:lnTo>
                  <a:lnTo>
                    <a:pt x="108000" y="81000"/>
                  </a:lnTo>
                  <a:lnTo>
                    <a:pt x="108000" y="81000"/>
                  </a:lnTo>
                  <a:lnTo>
                    <a:pt x="104571" y="78000"/>
                  </a:lnTo>
                  <a:lnTo>
                    <a:pt x="104571" y="78000"/>
                  </a:lnTo>
                  <a:lnTo>
                    <a:pt x="104571" y="78000"/>
                  </a:lnTo>
                  <a:lnTo>
                    <a:pt x="104571" y="75000"/>
                  </a:lnTo>
                  <a:lnTo>
                    <a:pt x="104571" y="70500"/>
                  </a:lnTo>
                  <a:lnTo>
                    <a:pt x="104571" y="70500"/>
                  </a:lnTo>
                  <a:lnTo>
                    <a:pt x="104571" y="67500"/>
                  </a:lnTo>
                  <a:lnTo>
                    <a:pt x="104571" y="67500"/>
                  </a:lnTo>
                  <a:lnTo>
                    <a:pt x="108000" y="67500"/>
                  </a:lnTo>
                  <a:lnTo>
                    <a:pt x="108000" y="63000"/>
                  </a:lnTo>
                  <a:lnTo>
                    <a:pt x="108000" y="63000"/>
                  </a:lnTo>
                  <a:lnTo>
                    <a:pt x="113142" y="60000"/>
                  </a:lnTo>
                  <a:lnTo>
                    <a:pt x="113142" y="60000"/>
                  </a:lnTo>
                  <a:lnTo>
                    <a:pt x="113142" y="60000"/>
                  </a:lnTo>
                  <a:lnTo>
                    <a:pt x="113142" y="60000"/>
                  </a:lnTo>
                  <a:lnTo>
                    <a:pt x="108000" y="60000"/>
                  </a:lnTo>
                  <a:lnTo>
                    <a:pt x="108000" y="57000"/>
                  </a:lnTo>
                  <a:lnTo>
                    <a:pt x="108000" y="57000"/>
                  </a:lnTo>
                  <a:lnTo>
                    <a:pt x="104571" y="57000"/>
                  </a:lnTo>
                  <a:lnTo>
                    <a:pt x="104571" y="52500"/>
                  </a:lnTo>
                  <a:lnTo>
                    <a:pt x="108000" y="52500"/>
                  </a:lnTo>
                  <a:lnTo>
                    <a:pt x="108000" y="49500"/>
                  </a:lnTo>
                  <a:lnTo>
                    <a:pt x="113142" y="49500"/>
                  </a:lnTo>
                  <a:lnTo>
                    <a:pt x="113142" y="49500"/>
                  </a:lnTo>
                  <a:lnTo>
                    <a:pt x="113142" y="49500"/>
                  </a:lnTo>
                  <a:lnTo>
                    <a:pt x="108000" y="49500"/>
                  </a:lnTo>
                  <a:lnTo>
                    <a:pt x="104571" y="46500"/>
                  </a:lnTo>
                  <a:lnTo>
                    <a:pt x="101142" y="46500"/>
                  </a:lnTo>
                  <a:lnTo>
                    <a:pt x="96000" y="49500"/>
                  </a:lnTo>
                  <a:lnTo>
                    <a:pt x="92571" y="52500"/>
                  </a:lnTo>
                  <a:lnTo>
                    <a:pt x="92571" y="49500"/>
                  </a:lnTo>
                  <a:lnTo>
                    <a:pt x="87428" y="49500"/>
                  </a:lnTo>
                  <a:lnTo>
                    <a:pt x="84000" y="46500"/>
                  </a:lnTo>
                  <a:lnTo>
                    <a:pt x="80571" y="46500"/>
                  </a:lnTo>
                  <a:lnTo>
                    <a:pt x="80571" y="46500"/>
                  </a:lnTo>
                  <a:lnTo>
                    <a:pt x="75428" y="42000"/>
                  </a:lnTo>
                  <a:lnTo>
                    <a:pt x="72000" y="42000"/>
                  </a:lnTo>
                  <a:lnTo>
                    <a:pt x="72000" y="42000"/>
                  </a:lnTo>
                  <a:lnTo>
                    <a:pt x="72000" y="42000"/>
                  </a:lnTo>
                  <a:lnTo>
                    <a:pt x="75428" y="42000"/>
                  </a:lnTo>
                  <a:lnTo>
                    <a:pt x="75428" y="42000"/>
                  </a:lnTo>
                  <a:lnTo>
                    <a:pt x="75428" y="39000"/>
                  </a:lnTo>
                  <a:lnTo>
                    <a:pt x="75428" y="39000"/>
                  </a:lnTo>
                  <a:lnTo>
                    <a:pt x="75428" y="39000"/>
                  </a:lnTo>
                  <a:lnTo>
                    <a:pt x="72000" y="39000"/>
                  </a:lnTo>
                  <a:lnTo>
                    <a:pt x="72000" y="39000"/>
                  </a:lnTo>
                  <a:lnTo>
                    <a:pt x="72000" y="39000"/>
                  </a:lnTo>
                  <a:lnTo>
                    <a:pt x="72000" y="36000"/>
                  </a:lnTo>
                  <a:lnTo>
                    <a:pt x="72000" y="36000"/>
                  </a:lnTo>
                  <a:lnTo>
                    <a:pt x="72000" y="36000"/>
                  </a:lnTo>
                  <a:lnTo>
                    <a:pt x="72000" y="36000"/>
                  </a:lnTo>
                  <a:lnTo>
                    <a:pt x="72000" y="31500"/>
                  </a:lnTo>
                  <a:lnTo>
                    <a:pt x="75428" y="31500"/>
                  </a:lnTo>
                  <a:lnTo>
                    <a:pt x="75428" y="31500"/>
                  </a:lnTo>
                  <a:lnTo>
                    <a:pt x="75428" y="31500"/>
                  </a:lnTo>
                  <a:lnTo>
                    <a:pt x="75428" y="28500"/>
                  </a:lnTo>
                  <a:lnTo>
                    <a:pt x="72000" y="28500"/>
                  </a:lnTo>
                  <a:lnTo>
                    <a:pt x="72000" y="28500"/>
                  </a:lnTo>
                  <a:lnTo>
                    <a:pt x="68571" y="28500"/>
                  </a:lnTo>
                  <a:lnTo>
                    <a:pt x="63428" y="24000"/>
                  </a:lnTo>
                  <a:lnTo>
                    <a:pt x="63428" y="24000"/>
                  </a:lnTo>
                  <a:lnTo>
                    <a:pt x="60000" y="24000"/>
                  </a:lnTo>
                  <a:lnTo>
                    <a:pt x="60000" y="24000"/>
                  </a:lnTo>
                  <a:lnTo>
                    <a:pt x="56571" y="21000"/>
                  </a:lnTo>
                  <a:lnTo>
                    <a:pt x="56571" y="21000"/>
                  </a:lnTo>
                  <a:lnTo>
                    <a:pt x="56571" y="21000"/>
                  </a:lnTo>
                  <a:lnTo>
                    <a:pt x="56571" y="21000"/>
                  </a:lnTo>
                  <a:lnTo>
                    <a:pt x="56571" y="18000"/>
                  </a:lnTo>
                  <a:lnTo>
                    <a:pt x="56571" y="18000"/>
                  </a:lnTo>
                  <a:lnTo>
                    <a:pt x="56571" y="18000"/>
                  </a:lnTo>
                  <a:lnTo>
                    <a:pt x="56571" y="13500"/>
                  </a:lnTo>
                  <a:lnTo>
                    <a:pt x="56571" y="13500"/>
                  </a:lnTo>
                  <a:lnTo>
                    <a:pt x="56571" y="10500"/>
                  </a:lnTo>
                  <a:lnTo>
                    <a:pt x="51428" y="10500"/>
                  </a:lnTo>
                  <a:lnTo>
                    <a:pt x="51428" y="10500"/>
                  </a:lnTo>
                  <a:lnTo>
                    <a:pt x="51428" y="13500"/>
                  </a:lnTo>
                  <a:lnTo>
                    <a:pt x="51428" y="13500"/>
                  </a:lnTo>
                  <a:lnTo>
                    <a:pt x="51428" y="10500"/>
                  </a:lnTo>
                  <a:lnTo>
                    <a:pt x="48000" y="7500"/>
                  </a:lnTo>
                  <a:lnTo>
                    <a:pt x="48000" y="7500"/>
                  </a:lnTo>
                  <a:lnTo>
                    <a:pt x="44571" y="7500"/>
                  </a:lnTo>
                  <a:lnTo>
                    <a:pt x="39428" y="3000"/>
                  </a:lnTo>
                  <a:lnTo>
                    <a:pt x="39428" y="3000"/>
                  </a:lnTo>
                  <a:lnTo>
                    <a:pt x="39428" y="0"/>
                  </a:lnTo>
                  <a:lnTo>
                    <a:pt x="36000" y="0"/>
                  </a:lnTo>
                  <a:lnTo>
                    <a:pt x="36000" y="0"/>
                  </a:lnTo>
                  <a:lnTo>
                    <a:pt x="27428" y="0"/>
                  </a:lnTo>
                  <a:lnTo>
                    <a:pt x="27428" y="0"/>
                  </a:lnTo>
                  <a:lnTo>
                    <a:pt x="24000" y="0"/>
                  </a:lnTo>
                  <a:lnTo>
                    <a:pt x="18857" y="0"/>
                  </a:lnTo>
                  <a:lnTo>
                    <a:pt x="18857" y="0"/>
                  </a:lnTo>
                  <a:lnTo>
                    <a:pt x="15428" y="0"/>
                  </a:lnTo>
                  <a:lnTo>
                    <a:pt x="15428" y="3000"/>
                  </a:lnTo>
                  <a:lnTo>
                    <a:pt x="15428" y="3000"/>
                  </a:lnTo>
                  <a:lnTo>
                    <a:pt x="12000" y="3000"/>
                  </a:lnTo>
                  <a:lnTo>
                    <a:pt x="12000" y="3000"/>
                  </a:lnTo>
                  <a:lnTo>
                    <a:pt x="6857" y="3000"/>
                  </a:lnTo>
                  <a:lnTo>
                    <a:pt x="6857" y="3000"/>
                  </a:lnTo>
                  <a:lnTo>
                    <a:pt x="6857" y="3000"/>
                  </a:lnTo>
                  <a:lnTo>
                    <a:pt x="3428" y="3000"/>
                  </a:lnTo>
                  <a:lnTo>
                    <a:pt x="3428" y="3000"/>
                  </a:lnTo>
                  <a:lnTo>
                    <a:pt x="3428" y="7500"/>
                  </a:lnTo>
                  <a:lnTo>
                    <a:pt x="0" y="7500"/>
                  </a:lnTo>
                  <a:lnTo>
                    <a:pt x="0" y="7500"/>
                  </a:lnTo>
                  <a:lnTo>
                    <a:pt x="0" y="7500"/>
                  </a:lnTo>
                  <a:lnTo>
                    <a:pt x="0" y="7500"/>
                  </a:lnTo>
                  <a:lnTo>
                    <a:pt x="0" y="10500"/>
                  </a:lnTo>
                  <a:lnTo>
                    <a:pt x="0" y="10500"/>
                  </a:lnTo>
                  <a:lnTo>
                    <a:pt x="3428" y="13500"/>
                  </a:lnTo>
                  <a:lnTo>
                    <a:pt x="0" y="18000"/>
                  </a:lnTo>
                  <a:lnTo>
                    <a:pt x="3428" y="18000"/>
                  </a:lnTo>
                  <a:lnTo>
                    <a:pt x="3428" y="18000"/>
                  </a:lnTo>
                  <a:lnTo>
                    <a:pt x="6857" y="18000"/>
                  </a:lnTo>
                  <a:lnTo>
                    <a:pt x="3428" y="21000"/>
                  </a:lnTo>
                  <a:lnTo>
                    <a:pt x="3428" y="21000"/>
                  </a:lnTo>
                  <a:lnTo>
                    <a:pt x="3428" y="21000"/>
                  </a:lnTo>
                  <a:lnTo>
                    <a:pt x="6857" y="24000"/>
                  </a:lnTo>
                  <a:lnTo>
                    <a:pt x="12000" y="24000"/>
                  </a:lnTo>
                  <a:lnTo>
                    <a:pt x="15428" y="28500"/>
                  </a:lnTo>
                  <a:lnTo>
                    <a:pt x="15428" y="28500"/>
                  </a:lnTo>
                  <a:lnTo>
                    <a:pt x="15428" y="28500"/>
                  </a:lnTo>
                  <a:lnTo>
                    <a:pt x="15428" y="28500"/>
                  </a:lnTo>
                  <a:lnTo>
                    <a:pt x="15428" y="28500"/>
                  </a:lnTo>
                  <a:lnTo>
                    <a:pt x="15428" y="28500"/>
                  </a:lnTo>
                  <a:lnTo>
                    <a:pt x="12000" y="28500"/>
                  </a:lnTo>
                  <a:lnTo>
                    <a:pt x="12000" y="28500"/>
                  </a:lnTo>
                  <a:lnTo>
                    <a:pt x="6857" y="28500"/>
                  </a:lnTo>
                  <a:lnTo>
                    <a:pt x="6857" y="28500"/>
                  </a:lnTo>
                  <a:lnTo>
                    <a:pt x="6857" y="31500"/>
                  </a:lnTo>
                  <a:lnTo>
                    <a:pt x="6857" y="31500"/>
                  </a:lnTo>
                  <a:lnTo>
                    <a:pt x="6857" y="39000"/>
                  </a:lnTo>
                  <a:lnTo>
                    <a:pt x="6857" y="39000"/>
                  </a:lnTo>
                  <a:lnTo>
                    <a:pt x="6857" y="39000"/>
                  </a:lnTo>
                  <a:lnTo>
                    <a:pt x="6857" y="39000"/>
                  </a:lnTo>
                  <a:lnTo>
                    <a:pt x="3428" y="39000"/>
                  </a:lnTo>
                  <a:lnTo>
                    <a:pt x="3428" y="39000"/>
                  </a:lnTo>
                  <a:lnTo>
                    <a:pt x="3428" y="42000"/>
                  </a:lnTo>
                  <a:lnTo>
                    <a:pt x="6857" y="42000"/>
                  </a:lnTo>
                  <a:lnTo>
                    <a:pt x="6857" y="39000"/>
                  </a:lnTo>
                  <a:lnTo>
                    <a:pt x="12000" y="39000"/>
                  </a:lnTo>
                  <a:lnTo>
                    <a:pt x="15428" y="42000"/>
                  </a:lnTo>
                  <a:lnTo>
                    <a:pt x="15428" y="42000"/>
                  </a:lnTo>
                  <a:lnTo>
                    <a:pt x="15428" y="42000"/>
                  </a:lnTo>
                  <a:lnTo>
                    <a:pt x="15428" y="46500"/>
                  </a:lnTo>
                  <a:lnTo>
                    <a:pt x="12000" y="46500"/>
                  </a:lnTo>
                  <a:lnTo>
                    <a:pt x="12000" y="49500"/>
                  </a:lnTo>
                  <a:lnTo>
                    <a:pt x="12000" y="52500"/>
                  </a:lnTo>
                  <a:lnTo>
                    <a:pt x="6857" y="52500"/>
                  </a:lnTo>
                  <a:lnTo>
                    <a:pt x="6857" y="57000"/>
                  </a:lnTo>
                  <a:lnTo>
                    <a:pt x="6857" y="57000"/>
                  </a:lnTo>
                  <a:lnTo>
                    <a:pt x="6857" y="57000"/>
                  </a:lnTo>
                  <a:lnTo>
                    <a:pt x="12000" y="60000"/>
                  </a:lnTo>
                  <a:lnTo>
                    <a:pt x="12000" y="60000"/>
                  </a:lnTo>
                  <a:lnTo>
                    <a:pt x="15428" y="60000"/>
                  </a:lnTo>
                  <a:lnTo>
                    <a:pt x="18857" y="63000"/>
                  </a:lnTo>
                  <a:lnTo>
                    <a:pt x="18857" y="67500"/>
                  </a:lnTo>
                  <a:lnTo>
                    <a:pt x="24000" y="67500"/>
                  </a:lnTo>
                  <a:lnTo>
                    <a:pt x="24000" y="67500"/>
                  </a:lnTo>
                  <a:lnTo>
                    <a:pt x="24000" y="67500"/>
                  </a:lnTo>
                  <a:lnTo>
                    <a:pt x="18857" y="67500"/>
                  </a:lnTo>
                  <a:lnTo>
                    <a:pt x="15428" y="67500"/>
                  </a:lnTo>
                  <a:lnTo>
                    <a:pt x="15428" y="67500"/>
                  </a:lnTo>
                  <a:lnTo>
                    <a:pt x="15428" y="67500"/>
                  </a:lnTo>
                  <a:lnTo>
                    <a:pt x="12000" y="70500"/>
                  </a:lnTo>
                  <a:lnTo>
                    <a:pt x="12000" y="70500"/>
                  </a:lnTo>
                  <a:lnTo>
                    <a:pt x="15428" y="75000"/>
                  </a:lnTo>
                  <a:lnTo>
                    <a:pt x="18857" y="78000"/>
                  </a:lnTo>
                  <a:lnTo>
                    <a:pt x="18857" y="78000"/>
                  </a:lnTo>
                  <a:lnTo>
                    <a:pt x="18857" y="81000"/>
                  </a:lnTo>
                  <a:lnTo>
                    <a:pt x="18857" y="81000"/>
                  </a:lnTo>
                  <a:lnTo>
                    <a:pt x="18857" y="81000"/>
                  </a:lnTo>
                  <a:lnTo>
                    <a:pt x="15428" y="81000"/>
                  </a:lnTo>
                  <a:lnTo>
                    <a:pt x="15428" y="81000"/>
                  </a:lnTo>
                  <a:lnTo>
                    <a:pt x="15428" y="81000"/>
                  </a:lnTo>
                  <a:lnTo>
                    <a:pt x="12000" y="81000"/>
                  </a:lnTo>
                  <a:lnTo>
                    <a:pt x="12000" y="81000"/>
                  </a:lnTo>
                  <a:lnTo>
                    <a:pt x="12000" y="85500"/>
                  </a:lnTo>
                  <a:lnTo>
                    <a:pt x="12000" y="85500"/>
                  </a:lnTo>
                  <a:lnTo>
                    <a:pt x="15428" y="85500"/>
                  </a:lnTo>
                  <a:lnTo>
                    <a:pt x="18857" y="88500"/>
                  </a:lnTo>
                  <a:lnTo>
                    <a:pt x="24000" y="91500"/>
                  </a:lnTo>
                  <a:lnTo>
                    <a:pt x="24000" y="91500"/>
                  </a:lnTo>
                  <a:lnTo>
                    <a:pt x="27428" y="91500"/>
                  </a:lnTo>
                  <a:lnTo>
                    <a:pt x="27428" y="96000"/>
                  </a:lnTo>
                  <a:lnTo>
                    <a:pt x="30857" y="96000"/>
                  </a:lnTo>
                  <a:lnTo>
                    <a:pt x="36000" y="96000"/>
                  </a:lnTo>
                  <a:lnTo>
                    <a:pt x="39428" y="99000"/>
                  </a:lnTo>
                  <a:lnTo>
                    <a:pt x="44571" y="99000"/>
                  </a:lnTo>
                  <a:lnTo>
                    <a:pt x="48000" y="102000"/>
                  </a:lnTo>
                  <a:lnTo>
                    <a:pt x="48000" y="102000"/>
                  </a:lnTo>
                  <a:lnTo>
                    <a:pt x="48000" y="102000"/>
                  </a:lnTo>
                  <a:lnTo>
                    <a:pt x="51428" y="102000"/>
                  </a:lnTo>
                  <a:lnTo>
                    <a:pt x="51428" y="102000"/>
                  </a:lnTo>
                  <a:lnTo>
                    <a:pt x="48000" y="102000"/>
                  </a:lnTo>
                  <a:lnTo>
                    <a:pt x="51428" y="99000"/>
                  </a:lnTo>
                  <a:lnTo>
                    <a:pt x="56571" y="99000"/>
                  </a:lnTo>
                  <a:lnTo>
                    <a:pt x="56571" y="96000"/>
                  </a:lnTo>
                  <a:lnTo>
                    <a:pt x="56571" y="96000"/>
                  </a:lnTo>
                  <a:lnTo>
                    <a:pt x="56571" y="96000"/>
                  </a:lnTo>
                  <a:lnTo>
                    <a:pt x="51428" y="91500"/>
                  </a:lnTo>
                  <a:lnTo>
                    <a:pt x="51428" y="91500"/>
                  </a:lnTo>
                  <a:lnTo>
                    <a:pt x="56571" y="91500"/>
                  </a:lnTo>
                  <a:lnTo>
                    <a:pt x="56571" y="91500"/>
                  </a:lnTo>
                  <a:lnTo>
                    <a:pt x="60000" y="91500"/>
                  </a:lnTo>
                  <a:lnTo>
                    <a:pt x="60000" y="91500"/>
                  </a:lnTo>
                  <a:lnTo>
                    <a:pt x="60000" y="91500"/>
                  </a:lnTo>
                  <a:lnTo>
                    <a:pt x="60000" y="91500"/>
                  </a:lnTo>
                  <a:lnTo>
                    <a:pt x="60000" y="96000"/>
                  </a:lnTo>
                  <a:lnTo>
                    <a:pt x="63428" y="96000"/>
                  </a:lnTo>
                  <a:lnTo>
                    <a:pt x="68571" y="96000"/>
                  </a:lnTo>
                  <a:lnTo>
                    <a:pt x="68571" y="99000"/>
                  </a:lnTo>
                  <a:lnTo>
                    <a:pt x="72000" y="99000"/>
                  </a:lnTo>
                  <a:lnTo>
                    <a:pt x="72000" y="102000"/>
                  </a:lnTo>
                  <a:lnTo>
                    <a:pt x="75428" y="102000"/>
                  </a:lnTo>
                  <a:lnTo>
                    <a:pt x="75428" y="102000"/>
                  </a:lnTo>
                  <a:lnTo>
                    <a:pt x="75428" y="106500"/>
                  </a:lnTo>
                  <a:lnTo>
                    <a:pt x="84000" y="109500"/>
                  </a:lnTo>
                  <a:lnTo>
                    <a:pt x="87428" y="109500"/>
                  </a:lnTo>
                  <a:lnTo>
                    <a:pt x="87428" y="109500"/>
                  </a:lnTo>
                  <a:lnTo>
                    <a:pt x="87428" y="109500"/>
                  </a:lnTo>
                  <a:lnTo>
                    <a:pt x="87428" y="109500"/>
                  </a:lnTo>
                  <a:lnTo>
                    <a:pt x="84000" y="117000"/>
                  </a:lnTo>
                  <a:lnTo>
                    <a:pt x="84000" y="117000"/>
                  </a:lnTo>
                  <a:lnTo>
                    <a:pt x="80571" y="117000"/>
                  </a:lnTo>
                  <a:lnTo>
                    <a:pt x="80571" y="120000"/>
                  </a:lnTo>
                  <a:lnTo>
                    <a:pt x="80571" y="120000"/>
                  </a:lnTo>
                  <a:lnTo>
                    <a:pt x="84000" y="120000"/>
                  </a:lnTo>
                  <a:lnTo>
                    <a:pt x="84000" y="120000"/>
                  </a:lnTo>
                  <a:lnTo>
                    <a:pt x="87428" y="120000"/>
                  </a:lnTo>
                  <a:lnTo>
                    <a:pt x="87428" y="120000"/>
                  </a:lnTo>
                  <a:lnTo>
                    <a:pt x="92571" y="120000"/>
                  </a:lnTo>
                  <a:lnTo>
                    <a:pt x="92571" y="120000"/>
                  </a:lnTo>
                  <a:lnTo>
                    <a:pt x="96000" y="120000"/>
                  </a:lnTo>
                  <a:lnTo>
                    <a:pt x="96000" y="120000"/>
                  </a:lnTo>
                  <a:lnTo>
                    <a:pt x="101142" y="120000"/>
                  </a:lnTo>
                  <a:lnTo>
                    <a:pt x="101142" y="117000"/>
                  </a:lnTo>
                  <a:lnTo>
                    <a:pt x="104571" y="120000"/>
                  </a:lnTo>
                  <a:lnTo>
                    <a:pt x="104571" y="120000"/>
                  </a:lnTo>
                  <a:lnTo>
                    <a:pt x="104571" y="120000"/>
                  </a:lnTo>
                  <a:lnTo>
                    <a:pt x="108000" y="120000"/>
                  </a:lnTo>
                  <a:lnTo>
                    <a:pt x="108000" y="117000"/>
                  </a:lnTo>
                  <a:lnTo>
                    <a:pt x="108000" y="117000"/>
                  </a:lnTo>
                  <a:lnTo>
                    <a:pt x="108000" y="114000"/>
                  </a:lnTo>
                  <a:lnTo>
                    <a:pt x="108000" y="114000"/>
                  </a:lnTo>
                  <a:lnTo>
                    <a:pt x="108000" y="114000"/>
                  </a:lnTo>
                  <a:lnTo>
                    <a:pt x="108000" y="109500"/>
                  </a:lnTo>
                  <a:lnTo>
                    <a:pt x="108000" y="106500"/>
                  </a:lnTo>
                  <a:lnTo>
                    <a:pt x="108000" y="106500"/>
                  </a:lnTo>
                  <a:lnTo>
                    <a:pt x="108000" y="106500"/>
                  </a:lnTo>
                  <a:lnTo>
                    <a:pt x="108000" y="102000"/>
                  </a:lnTo>
                  <a:lnTo>
                    <a:pt x="108000" y="102000"/>
                  </a:lnTo>
                  <a:lnTo>
                    <a:pt x="108000" y="102000"/>
                  </a:lnTo>
                  <a:lnTo>
                    <a:pt x="116571" y="102000"/>
                  </a:lnTo>
                  <a:lnTo>
                    <a:pt x="116571" y="99000"/>
                  </a:lnTo>
                  <a:lnTo>
                    <a:pt x="120000" y="99000"/>
                  </a:lnTo>
                  <a:lnTo>
                    <a:pt x="120000" y="96000"/>
                  </a:lnTo>
                  <a:lnTo>
                    <a:pt x="120000" y="96000"/>
                  </a:lnTo>
                  <a:lnTo>
                    <a:pt x="120000" y="96000"/>
                  </a:lnTo>
                  <a:lnTo>
                    <a:pt x="120000" y="91500"/>
                  </a:lnTo>
                  <a:lnTo>
                    <a:pt x="116571" y="9150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93" name="Shape 393"/>
            <p:cNvSpPr/>
            <p:nvPr/>
          </p:nvSpPr>
          <p:spPr>
            <a:xfrm>
              <a:off x="3332" y="2455"/>
              <a:ext cx="0" cy="0"/>
            </a:xfrm>
            <a:custGeom>
              <a:avLst/>
              <a:gdLst/>
              <a:ahLst/>
              <a:cxnLst/>
              <a:rect l="0" t="0" r="0" b="0"/>
              <a:pathLst>
                <a:path w="120000" h="120000" extrusionOk="0">
                  <a:moveTo>
                    <a:pt x="120000" y="113548"/>
                  </a:moveTo>
                  <a:lnTo>
                    <a:pt x="120000" y="109677"/>
                  </a:lnTo>
                  <a:lnTo>
                    <a:pt x="120000" y="107096"/>
                  </a:lnTo>
                  <a:lnTo>
                    <a:pt x="120000" y="104516"/>
                  </a:lnTo>
                  <a:lnTo>
                    <a:pt x="120000" y="100645"/>
                  </a:lnTo>
                  <a:lnTo>
                    <a:pt x="120000" y="100645"/>
                  </a:lnTo>
                  <a:lnTo>
                    <a:pt x="120000" y="100645"/>
                  </a:lnTo>
                  <a:lnTo>
                    <a:pt x="120000" y="98064"/>
                  </a:lnTo>
                  <a:lnTo>
                    <a:pt x="117837" y="95483"/>
                  </a:lnTo>
                  <a:lnTo>
                    <a:pt x="117837" y="95483"/>
                  </a:lnTo>
                  <a:lnTo>
                    <a:pt x="117837" y="91612"/>
                  </a:lnTo>
                  <a:lnTo>
                    <a:pt x="117837" y="91612"/>
                  </a:lnTo>
                  <a:lnTo>
                    <a:pt x="114594" y="91612"/>
                  </a:lnTo>
                  <a:lnTo>
                    <a:pt x="114594" y="89032"/>
                  </a:lnTo>
                  <a:lnTo>
                    <a:pt x="112432" y="91612"/>
                  </a:lnTo>
                  <a:lnTo>
                    <a:pt x="112432" y="91612"/>
                  </a:lnTo>
                  <a:lnTo>
                    <a:pt x="112432" y="91612"/>
                  </a:lnTo>
                  <a:lnTo>
                    <a:pt x="112432" y="91612"/>
                  </a:lnTo>
                  <a:lnTo>
                    <a:pt x="112432" y="89032"/>
                  </a:lnTo>
                  <a:lnTo>
                    <a:pt x="112432" y="89032"/>
                  </a:lnTo>
                  <a:lnTo>
                    <a:pt x="110270" y="86451"/>
                  </a:lnTo>
                  <a:lnTo>
                    <a:pt x="107027" y="82580"/>
                  </a:lnTo>
                  <a:lnTo>
                    <a:pt x="107027" y="80000"/>
                  </a:lnTo>
                  <a:lnTo>
                    <a:pt x="110270" y="80000"/>
                  </a:lnTo>
                  <a:lnTo>
                    <a:pt x="110270" y="80000"/>
                  </a:lnTo>
                  <a:lnTo>
                    <a:pt x="110270" y="76129"/>
                  </a:lnTo>
                  <a:lnTo>
                    <a:pt x="110270" y="76129"/>
                  </a:lnTo>
                  <a:lnTo>
                    <a:pt x="110270" y="73548"/>
                  </a:lnTo>
                  <a:lnTo>
                    <a:pt x="110270" y="70967"/>
                  </a:lnTo>
                  <a:lnTo>
                    <a:pt x="110270" y="67096"/>
                  </a:lnTo>
                  <a:lnTo>
                    <a:pt x="107027" y="67096"/>
                  </a:lnTo>
                  <a:lnTo>
                    <a:pt x="107027" y="64516"/>
                  </a:lnTo>
                  <a:lnTo>
                    <a:pt x="107027" y="64516"/>
                  </a:lnTo>
                  <a:lnTo>
                    <a:pt x="104864" y="61935"/>
                  </a:lnTo>
                  <a:lnTo>
                    <a:pt x="104864" y="58064"/>
                  </a:lnTo>
                  <a:lnTo>
                    <a:pt x="107027" y="55483"/>
                  </a:lnTo>
                  <a:lnTo>
                    <a:pt x="104864" y="52903"/>
                  </a:lnTo>
                  <a:lnTo>
                    <a:pt x="104864" y="52903"/>
                  </a:lnTo>
                  <a:lnTo>
                    <a:pt x="102702" y="49032"/>
                  </a:lnTo>
                  <a:lnTo>
                    <a:pt x="99459" y="46451"/>
                  </a:lnTo>
                  <a:lnTo>
                    <a:pt x="99459" y="46451"/>
                  </a:lnTo>
                  <a:lnTo>
                    <a:pt x="97297" y="42580"/>
                  </a:lnTo>
                  <a:lnTo>
                    <a:pt x="95135" y="42580"/>
                  </a:lnTo>
                  <a:lnTo>
                    <a:pt x="95135" y="40000"/>
                  </a:lnTo>
                  <a:lnTo>
                    <a:pt x="95135" y="40000"/>
                  </a:lnTo>
                  <a:lnTo>
                    <a:pt x="91891" y="40000"/>
                  </a:lnTo>
                  <a:lnTo>
                    <a:pt x="91891" y="40000"/>
                  </a:lnTo>
                  <a:lnTo>
                    <a:pt x="95135" y="40000"/>
                  </a:lnTo>
                  <a:lnTo>
                    <a:pt x="91891" y="37419"/>
                  </a:lnTo>
                  <a:lnTo>
                    <a:pt x="91891" y="33548"/>
                  </a:lnTo>
                  <a:lnTo>
                    <a:pt x="89729" y="33548"/>
                  </a:lnTo>
                  <a:lnTo>
                    <a:pt x="89729" y="33548"/>
                  </a:lnTo>
                  <a:lnTo>
                    <a:pt x="89729" y="33548"/>
                  </a:lnTo>
                  <a:lnTo>
                    <a:pt x="89729" y="30967"/>
                  </a:lnTo>
                  <a:lnTo>
                    <a:pt x="89729" y="30967"/>
                  </a:lnTo>
                  <a:lnTo>
                    <a:pt x="87567" y="30967"/>
                  </a:lnTo>
                  <a:lnTo>
                    <a:pt x="87567" y="30967"/>
                  </a:lnTo>
                  <a:lnTo>
                    <a:pt x="84324" y="28387"/>
                  </a:lnTo>
                  <a:lnTo>
                    <a:pt x="84324" y="21935"/>
                  </a:lnTo>
                  <a:lnTo>
                    <a:pt x="84324" y="19354"/>
                  </a:lnTo>
                  <a:lnTo>
                    <a:pt x="82162" y="19354"/>
                  </a:lnTo>
                  <a:lnTo>
                    <a:pt x="82162" y="15483"/>
                  </a:lnTo>
                  <a:lnTo>
                    <a:pt x="82162" y="15483"/>
                  </a:lnTo>
                  <a:lnTo>
                    <a:pt x="82162" y="15483"/>
                  </a:lnTo>
                  <a:lnTo>
                    <a:pt x="82162" y="15483"/>
                  </a:lnTo>
                  <a:lnTo>
                    <a:pt x="78918" y="15483"/>
                  </a:lnTo>
                  <a:lnTo>
                    <a:pt x="78918" y="15483"/>
                  </a:lnTo>
                  <a:lnTo>
                    <a:pt x="76756" y="15483"/>
                  </a:lnTo>
                  <a:lnTo>
                    <a:pt x="76756" y="15483"/>
                  </a:lnTo>
                  <a:lnTo>
                    <a:pt x="76756" y="15483"/>
                  </a:lnTo>
                  <a:lnTo>
                    <a:pt x="74594" y="15483"/>
                  </a:lnTo>
                  <a:lnTo>
                    <a:pt x="74594" y="15483"/>
                  </a:lnTo>
                  <a:lnTo>
                    <a:pt x="71351" y="12903"/>
                  </a:lnTo>
                  <a:lnTo>
                    <a:pt x="71351" y="12903"/>
                  </a:lnTo>
                  <a:lnTo>
                    <a:pt x="71351" y="9032"/>
                  </a:lnTo>
                  <a:lnTo>
                    <a:pt x="69189" y="6451"/>
                  </a:lnTo>
                  <a:lnTo>
                    <a:pt x="67027" y="3870"/>
                  </a:lnTo>
                  <a:lnTo>
                    <a:pt x="61621" y="0"/>
                  </a:lnTo>
                  <a:lnTo>
                    <a:pt x="56216" y="0"/>
                  </a:lnTo>
                  <a:lnTo>
                    <a:pt x="54054" y="0"/>
                  </a:lnTo>
                  <a:lnTo>
                    <a:pt x="51891" y="0"/>
                  </a:lnTo>
                  <a:lnTo>
                    <a:pt x="51891" y="0"/>
                  </a:lnTo>
                  <a:lnTo>
                    <a:pt x="51891" y="0"/>
                  </a:lnTo>
                  <a:lnTo>
                    <a:pt x="51891" y="0"/>
                  </a:lnTo>
                  <a:lnTo>
                    <a:pt x="48648" y="0"/>
                  </a:lnTo>
                  <a:lnTo>
                    <a:pt x="48648" y="0"/>
                  </a:lnTo>
                  <a:lnTo>
                    <a:pt x="48648" y="3870"/>
                  </a:lnTo>
                  <a:lnTo>
                    <a:pt x="46486" y="3870"/>
                  </a:lnTo>
                  <a:lnTo>
                    <a:pt x="43243" y="3870"/>
                  </a:lnTo>
                  <a:lnTo>
                    <a:pt x="41081" y="3870"/>
                  </a:lnTo>
                  <a:lnTo>
                    <a:pt x="38918" y="6451"/>
                  </a:lnTo>
                  <a:lnTo>
                    <a:pt x="35675" y="6451"/>
                  </a:lnTo>
                  <a:lnTo>
                    <a:pt x="33513" y="6451"/>
                  </a:lnTo>
                  <a:lnTo>
                    <a:pt x="31351" y="6451"/>
                  </a:lnTo>
                  <a:lnTo>
                    <a:pt x="28108" y="3870"/>
                  </a:lnTo>
                  <a:lnTo>
                    <a:pt x="28108" y="3870"/>
                  </a:lnTo>
                  <a:lnTo>
                    <a:pt x="25945" y="3870"/>
                  </a:lnTo>
                  <a:lnTo>
                    <a:pt x="25945" y="6451"/>
                  </a:lnTo>
                  <a:lnTo>
                    <a:pt x="23783" y="9032"/>
                  </a:lnTo>
                  <a:lnTo>
                    <a:pt x="23783" y="12903"/>
                  </a:lnTo>
                  <a:lnTo>
                    <a:pt x="23783" y="12903"/>
                  </a:lnTo>
                  <a:lnTo>
                    <a:pt x="20540" y="15483"/>
                  </a:lnTo>
                  <a:lnTo>
                    <a:pt x="20540" y="21935"/>
                  </a:lnTo>
                  <a:lnTo>
                    <a:pt x="20540" y="24516"/>
                  </a:lnTo>
                  <a:lnTo>
                    <a:pt x="20540" y="28387"/>
                  </a:lnTo>
                  <a:lnTo>
                    <a:pt x="12972" y="37419"/>
                  </a:lnTo>
                  <a:lnTo>
                    <a:pt x="7567" y="49032"/>
                  </a:lnTo>
                  <a:lnTo>
                    <a:pt x="3243" y="52903"/>
                  </a:lnTo>
                  <a:lnTo>
                    <a:pt x="0" y="52903"/>
                  </a:lnTo>
                  <a:lnTo>
                    <a:pt x="0" y="55483"/>
                  </a:lnTo>
                  <a:lnTo>
                    <a:pt x="3243" y="55483"/>
                  </a:lnTo>
                  <a:lnTo>
                    <a:pt x="3243" y="55483"/>
                  </a:lnTo>
                  <a:lnTo>
                    <a:pt x="5405" y="55483"/>
                  </a:lnTo>
                  <a:lnTo>
                    <a:pt x="7567" y="55483"/>
                  </a:lnTo>
                  <a:lnTo>
                    <a:pt x="7567" y="61935"/>
                  </a:lnTo>
                  <a:lnTo>
                    <a:pt x="10810" y="61935"/>
                  </a:lnTo>
                  <a:lnTo>
                    <a:pt x="12972" y="67096"/>
                  </a:lnTo>
                  <a:lnTo>
                    <a:pt x="12972" y="70967"/>
                  </a:lnTo>
                  <a:lnTo>
                    <a:pt x="12972" y="73548"/>
                  </a:lnTo>
                  <a:lnTo>
                    <a:pt x="16216" y="73548"/>
                  </a:lnTo>
                  <a:lnTo>
                    <a:pt x="16216" y="73548"/>
                  </a:lnTo>
                  <a:lnTo>
                    <a:pt x="18378" y="73548"/>
                  </a:lnTo>
                  <a:lnTo>
                    <a:pt x="18378" y="73548"/>
                  </a:lnTo>
                  <a:lnTo>
                    <a:pt x="16216" y="73548"/>
                  </a:lnTo>
                  <a:lnTo>
                    <a:pt x="16216" y="76129"/>
                  </a:lnTo>
                  <a:lnTo>
                    <a:pt x="16216" y="76129"/>
                  </a:lnTo>
                  <a:lnTo>
                    <a:pt x="16216" y="80000"/>
                  </a:lnTo>
                  <a:lnTo>
                    <a:pt x="18378" y="82580"/>
                  </a:lnTo>
                  <a:lnTo>
                    <a:pt x="18378" y="86451"/>
                  </a:lnTo>
                  <a:lnTo>
                    <a:pt x="23783" y="86451"/>
                  </a:lnTo>
                  <a:lnTo>
                    <a:pt x="28108" y="86451"/>
                  </a:lnTo>
                  <a:lnTo>
                    <a:pt x="35675" y="86451"/>
                  </a:lnTo>
                  <a:lnTo>
                    <a:pt x="38918" y="86451"/>
                  </a:lnTo>
                  <a:lnTo>
                    <a:pt x="41081" y="80000"/>
                  </a:lnTo>
                  <a:lnTo>
                    <a:pt x="43243" y="80000"/>
                  </a:lnTo>
                  <a:lnTo>
                    <a:pt x="46486" y="80000"/>
                  </a:lnTo>
                  <a:lnTo>
                    <a:pt x="48648" y="80000"/>
                  </a:lnTo>
                  <a:lnTo>
                    <a:pt x="51891" y="80000"/>
                  </a:lnTo>
                  <a:lnTo>
                    <a:pt x="54054" y="82580"/>
                  </a:lnTo>
                  <a:lnTo>
                    <a:pt x="56216" y="82580"/>
                  </a:lnTo>
                  <a:lnTo>
                    <a:pt x="59459" y="82580"/>
                  </a:lnTo>
                  <a:lnTo>
                    <a:pt x="59459" y="86451"/>
                  </a:lnTo>
                  <a:lnTo>
                    <a:pt x="61621" y="86451"/>
                  </a:lnTo>
                  <a:lnTo>
                    <a:pt x="63783" y="89032"/>
                  </a:lnTo>
                  <a:lnTo>
                    <a:pt x="63783" y="89032"/>
                  </a:lnTo>
                  <a:lnTo>
                    <a:pt x="67027" y="86451"/>
                  </a:lnTo>
                  <a:lnTo>
                    <a:pt x="67027" y="86451"/>
                  </a:lnTo>
                  <a:lnTo>
                    <a:pt x="69189" y="86451"/>
                  </a:lnTo>
                  <a:lnTo>
                    <a:pt x="71351" y="89032"/>
                  </a:lnTo>
                  <a:lnTo>
                    <a:pt x="71351" y="89032"/>
                  </a:lnTo>
                  <a:lnTo>
                    <a:pt x="71351" y="91612"/>
                  </a:lnTo>
                  <a:lnTo>
                    <a:pt x="69189" y="91612"/>
                  </a:lnTo>
                  <a:lnTo>
                    <a:pt x="63783" y="95483"/>
                  </a:lnTo>
                  <a:lnTo>
                    <a:pt x="61621" y="95483"/>
                  </a:lnTo>
                  <a:lnTo>
                    <a:pt x="56216" y="91612"/>
                  </a:lnTo>
                  <a:lnTo>
                    <a:pt x="54054" y="89032"/>
                  </a:lnTo>
                  <a:lnTo>
                    <a:pt x="51891" y="89032"/>
                  </a:lnTo>
                  <a:lnTo>
                    <a:pt x="51891" y="89032"/>
                  </a:lnTo>
                  <a:lnTo>
                    <a:pt x="48648" y="86451"/>
                  </a:lnTo>
                  <a:lnTo>
                    <a:pt x="48648" y="86451"/>
                  </a:lnTo>
                  <a:lnTo>
                    <a:pt x="46486" y="86451"/>
                  </a:lnTo>
                  <a:lnTo>
                    <a:pt x="46486" y="86451"/>
                  </a:lnTo>
                  <a:lnTo>
                    <a:pt x="46486" y="89032"/>
                  </a:lnTo>
                  <a:lnTo>
                    <a:pt x="43243" y="89032"/>
                  </a:lnTo>
                  <a:lnTo>
                    <a:pt x="43243" y="89032"/>
                  </a:lnTo>
                  <a:lnTo>
                    <a:pt x="38918" y="91612"/>
                  </a:lnTo>
                  <a:lnTo>
                    <a:pt x="35675" y="91612"/>
                  </a:lnTo>
                  <a:lnTo>
                    <a:pt x="33513" y="91612"/>
                  </a:lnTo>
                  <a:lnTo>
                    <a:pt x="33513" y="91612"/>
                  </a:lnTo>
                  <a:lnTo>
                    <a:pt x="33513" y="98064"/>
                  </a:lnTo>
                  <a:lnTo>
                    <a:pt x="28108" y="98064"/>
                  </a:lnTo>
                  <a:lnTo>
                    <a:pt x="25945" y="98064"/>
                  </a:lnTo>
                  <a:lnTo>
                    <a:pt x="20540" y="98064"/>
                  </a:lnTo>
                  <a:lnTo>
                    <a:pt x="16216" y="98064"/>
                  </a:lnTo>
                  <a:lnTo>
                    <a:pt x="16216" y="98064"/>
                  </a:lnTo>
                  <a:lnTo>
                    <a:pt x="12972" y="98064"/>
                  </a:lnTo>
                  <a:lnTo>
                    <a:pt x="12972" y="100645"/>
                  </a:lnTo>
                  <a:lnTo>
                    <a:pt x="12972" y="104516"/>
                  </a:lnTo>
                  <a:lnTo>
                    <a:pt x="12972" y="109677"/>
                  </a:lnTo>
                  <a:lnTo>
                    <a:pt x="12972" y="109677"/>
                  </a:lnTo>
                  <a:lnTo>
                    <a:pt x="12972" y="109677"/>
                  </a:lnTo>
                  <a:lnTo>
                    <a:pt x="12972" y="113548"/>
                  </a:lnTo>
                  <a:lnTo>
                    <a:pt x="16216" y="113548"/>
                  </a:lnTo>
                  <a:lnTo>
                    <a:pt x="16216" y="109677"/>
                  </a:lnTo>
                  <a:lnTo>
                    <a:pt x="16216" y="109677"/>
                  </a:lnTo>
                  <a:lnTo>
                    <a:pt x="18378" y="109677"/>
                  </a:lnTo>
                  <a:lnTo>
                    <a:pt x="18378" y="109677"/>
                  </a:lnTo>
                  <a:lnTo>
                    <a:pt x="20540" y="109677"/>
                  </a:lnTo>
                  <a:lnTo>
                    <a:pt x="20540" y="109677"/>
                  </a:lnTo>
                  <a:lnTo>
                    <a:pt x="20540" y="113548"/>
                  </a:lnTo>
                  <a:lnTo>
                    <a:pt x="18378" y="113548"/>
                  </a:lnTo>
                  <a:lnTo>
                    <a:pt x="18378" y="109677"/>
                  </a:lnTo>
                  <a:lnTo>
                    <a:pt x="16216" y="113548"/>
                  </a:lnTo>
                  <a:lnTo>
                    <a:pt x="12972" y="113548"/>
                  </a:lnTo>
                  <a:lnTo>
                    <a:pt x="12972" y="116129"/>
                  </a:lnTo>
                  <a:lnTo>
                    <a:pt x="12972" y="116129"/>
                  </a:lnTo>
                  <a:lnTo>
                    <a:pt x="16216" y="120000"/>
                  </a:lnTo>
                  <a:lnTo>
                    <a:pt x="16216" y="120000"/>
                  </a:lnTo>
                  <a:lnTo>
                    <a:pt x="18378" y="120000"/>
                  </a:lnTo>
                  <a:lnTo>
                    <a:pt x="20540" y="120000"/>
                  </a:lnTo>
                  <a:lnTo>
                    <a:pt x="20540" y="116129"/>
                  </a:lnTo>
                  <a:lnTo>
                    <a:pt x="23783" y="116129"/>
                  </a:lnTo>
                  <a:lnTo>
                    <a:pt x="25945" y="116129"/>
                  </a:lnTo>
                  <a:lnTo>
                    <a:pt x="31351" y="116129"/>
                  </a:lnTo>
                  <a:lnTo>
                    <a:pt x="38918" y="116129"/>
                  </a:lnTo>
                  <a:lnTo>
                    <a:pt x="41081" y="113548"/>
                  </a:lnTo>
                  <a:lnTo>
                    <a:pt x="46486" y="109677"/>
                  </a:lnTo>
                  <a:lnTo>
                    <a:pt x="48648" y="109677"/>
                  </a:lnTo>
                  <a:lnTo>
                    <a:pt x="54054" y="109677"/>
                  </a:lnTo>
                  <a:lnTo>
                    <a:pt x="61621" y="109677"/>
                  </a:lnTo>
                  <a:lnTo>
                    <a:pt x="67027" y="109677"/>
                  </a:lnTo>
                  <a:lnTo>
                    <a:pt x="74594" y="109677"/>
                  </a:lnTo>
                  <a:lnTo>
                    <a:pt x="82162" y="109677"/>
                  </a:lnTo>
                  <a:lnTo>
                    <a:pt x="82162" y="109677"/>
                  </a:lnTo>
                  <a:lnTo>
                    <a:pt x="84324" y="109677"/>
                  </a:lnTo>
                  <a:lnTo>
                    <a:pt x="87567" y="109677"/>
                  </a:lnTo>
                  <a:lnTo>
                    <a:pt x="87567" y="109677"/>
                  </a:lnTo>
                  <a:lnTo>
                    <a:pt x="87567" y="109677"/>
                  </a:lnTo>
                  <a:lnTo>
                    <a:pt x="87567" y="113548"/>
                  </a:lnTo>
                  <a:lnTo>
                    <a:pt x="87567" y="113548"/>
                  </a:lnTo>
                  <a:lnTo>
                    <a:pt x="87567" y="116129"/>
                  </a:lnTo>
                  <a:lnTo>
                    <a:pt x="89729" y="116129"/>
                  </a:lnTo>
                  <a:lnTo>
                    <a:pt x="89729" y="116129"/>
                  </a:lnTo>
                  <a:lnTo>
                    <a:pt x="89729" y="113548"/>
                  </a:lnTo>
                  <a:lnTo>
                    <a:pt x="89729" y="113548"/>
                  </a:lnTo>
                  <a:lnTo>
                    <a:pt x="91891" y="113548"/>
                  </a:lnTo>
                  <a:lnTo>
                    <a:pt x="91891" y="116129"/>
                  </a:lnTo>
                  <a:lnTo>
                    <a:pt x="95135" y="116129"/>
                  </a:lnTo>
                  <a:lnTo>
                    <a:pt x="97297" y="116129"/>
                  </a:lnTo>
                  <a:lnTo>
                    <a:pt x="97297" y="120000"/>
                  </a:lnTo>
                  <a:lnTo>
                    <a:pt x="99459" y="120000"/>
                  </a:lnTo>
                  <a:lnTo>
                    <a:pt x="99459" y="120000"/>
                  </a:lnTo>
                  <a:lnTo>
                    <a:pt x="102702" y="120000"/>
                  </a:lnTo>
                  <a:lnTo>
                    <a:pt x="104864" y="120000"/>
                  </a:lnTo>
                  <a:lnTo>
                    <a:pt x="107027" y="116129"/>
                  </a:lnTo>
                  <a:lnTo>
                    <a:pt x="110270" y="116129"/>
                  </a:lnTo>
                  <a:lnTo>
                    <a:pt x="112432" y="116129"/>
                  </a:lnTo>
                  <a:lnTo>
                    <a:pt x="117837" y="116129"/>
                  </a:lnTo>
                  <a:lnTo>
                    <a:pt x="120000" y="116129"/>
                  </a:lnTo>
                  <a:lnTo>
                    <a:pt x="120000" y="116129"/>
                  </a:lnTo>
                  <a:lnTo>
                    <a:pt x="120000" y="116129"/>
                  </a:lnTo>
                  <a:lnTo>
                    <a:pt x="120000" y="113548"/>
                  </a:lnTo>
                  <a:lnTo>
                    <a:pt x="120000" y="113548"/>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94" name="Shape 394"/>
            <p:cNvSpPr/>
            <p:nvPr/>
          </p:nvSpPr>
          <p:spPr>
            <a:xfrm>
              <a:off x="3773" y="2772"/>
              <a:ext cx="0" cy="0"/>
            </a:xfrm>
            <a:custGeom>
              <a:avLst/>
              <a:gdLst/>
              <a:ahLst/>
              <a:cxnLst/>
              <a:rect l="0" t="0" r="0" b="0"/>
              <a:pathLst>
                <a:path w="120000" h="120000" extrusionOk="0">
                  <a:moveTo>
                    <a:pt x="31578" y="86666"/>
                  </a:moveTo>
                  <a:lnTo>
                    <a:pt x="12631" y="86666"/>
                  </a:lnTo>
                  <a:lnTo>
                    <a:pt x="0" y="96666"/>
                  </a:lnTo>
                  <a:lnTo>
                    <a:pt x="0" y="103333"/>
                  </a:lnTo>
                  <a:lnTo>
                    <a:pt x="0" y="103333"/>
                  </a:lnTo>
                  <a:lnTo>
                    <a:pt x="0" y="110000"/>
                  </a:lnTo>
                  <a:lnTo>
                    <a:pt x="0" y="110000"/>
                  </a:lnTo>
                  <a:lnTo>
                    <a:pt x="12631" y="120000"/>
                  </a:lnTo>
                  <a:lnTo>
                    <a:pt x="12631" y="110000"/>
                  </a:lnTo>
                  <a:lnTo>
                    <a:pt x="31578" y="103333"/>
                  </a:lnTo>
                  <a:lnTo>
                    <a:pt x="31578" y="96666"/>
                  </a:lnTo>
                  <a:lnTo>
                    <a:pt x="31578" y="86666"/>
                  </a:lnTo>
                  <a:close/>
                  <a:moveTo>
                    <a:pt x="120000" y="0"/>
                  </a:moveTo>
                  <a:lnTo>
                    <a:pt x="120000" y="0"/>
                  </a:lnTo>
                  <a:lnTo>
                    <a:pt x="107368" y="0"/>
                  </a:lnTo>
                  <a:lnTo>
                    <a:pt x="107368" y="0"/>
                  </a:lnTo>
                  <a:lnTo>
                    <a:pt x="107368" y="10000"/>
                  </a:lnTo>
                  <a:lnTo>
                    <a:pt x="107368" y="10000"/>
                  </a:lnTo>
                  <a:lnTo>
                    <a:pt x="107368" y="10000"/>
                  </a:lnTo>
                  <a:lnTo>
                    <a:pt x="120000" y="10000"/>
                  </a:lnTo>
                  <a:lnTo>
                    <a:pt x="120000" y="0"/>
                  </a:lnTo>
                  <a:lnTo>
                    <a:pt x="120000" y="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95" name="Shape 395"/>
            <p:cNvSpPr/>
            <p:nvPr/>
          </p:nvSpPr>
          <p:spPr>
            <a:xfrm>
              <a:off x="3882" y="1881"/>
              <a:ext cx="0" cy="0"/>
            </a:xfrm>
            <a:custGeom>
              <a:avLst/>
              <a:gdLst/>
              <a:ahLst/>
              <a:cxnLst/>
              <a:rect l="0" t="0" r="0" b="0"/>
              <a:pathLst>
                <a:path w="120000" h="120000" extrusionOk="0">
                  <a:moveTo>
                    <a:pt x="0" y="0"/>
                  </a:moveTo>
                  <a:lnTo>
                    <a:pt x="0" y="0"/>
                  </a:lnTo>
                  <a:lnTo>
                    <a:pt x="0" y="120000"/>
                  </a:lnTo>
                  <a:lnTo>
                    <a:pt x="0" y="120000"/>
                  </a:lnTo>
                  <a:lnTo>
                    <a:pt x="0" y="120000"/>
                  </a:lnTo>
                  <a:lnTo>
                    <a:pt x="0" y="120000"/>
                  </a:lnTo>
                  <a:lnTo>
                    <a:pt x="0" y="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96" name="Shape 396"/>
            <p:cNvSpPr/>
            <p:nvPr/>
          </p:nvSpPr>
          <p:spPr>
            <a:xfrm>
              <a:off x="4190" y="2831"/>
              <a:ext cx="0" cy="0"/>
            </a:xfrm>
            <a:custGeom>
              <a:avLst/>
              <a:gdLst/>
              <a:ahLst/>
              <a:cxnLst/>
              <a:rect l="0" t="0" r="0" b="0"/>
              <a:pathLst>
                <a:path w="120000" h="120000" extrusionOk="0">
                  <a:moveTo>
                    <a:pt x="120000" y="63333"/>
                  </a:moveTo>
                  <a:lnTo>
                    <a:pt x="120000" y="63333"/>
                  </a:lnTo>
                  <a:lnTo>
                    <a:pt x="120000" y="56666"/>
                  </a:lnTo>
                  <a:lnTo>
                    <a:pt x="120000" y="40000"/>
                  </a:lnTo>
                  <a:lnTo>
                    <a:pt x="120000" y="33333"/>
                  </a:lnTo>
                  <a:lnTo>
                    <a:pt x="120000" y="23333"/>
                  </a:lnTo>
                  <a:lnTo>
                    <a:pt x="110000" y="23333"/>
                  </a:lnTo>
                  <a:lnTo>
                    <a:pt x="110000" y="16666"/>
                  </a:lnTo>
                  <a:lnTo>
                    <a:pt x="103333" y="10000"/>
                  </a:lnTo>
                  <a:lnTo>
                    <a:pt x="96666" y="0"/>
                  </a:lnTo>
                  <a:lnTo>
                    <a:pt x="96666" y="0"/>
                  </a:lnTo>
                  <a:lnTo>
                    <a:pt x="103333" y="0"/>
                  </a:lnTo>
                  <a:lnTo>
                    <a:pt x="96666" y="0"/>
                  </a:lnTo>
                  <a:lnTo>
                    <a:pt x="96666" y="0"/>
                  </a:lnTo>
                  <a:lnTo>
                    <a:pt x="86666" y="0"/>
                  </a:lnTo>
                  <a:lnTo>
                    <a:pt x="86666" y="0"/>
                  </a:lnTo>
                  <a:lnTo>
                    <a:pt x="86666" y="10000"/>
                  </a:lnTo>
                  <a:lnTo>
                    <a:pt x="80000" y="10000"/>
                  </a:lnTo>
                  <a:lnTo>
                    <a:pt x="80000" y="16666"/>
                  </a:lnTo>
                  <a:lnTo>
                    <a:pt x="70000" y="16666"/>
                  </a:lnTo>
                  <a:lnTo>
                    <a:pt x="70000" y="23333"/>
                  </a:lnTo>
                  <a:lnTo>
                    <a:pt x="63333" y="23333"/>
                  </a:lnTo>
                  <a:lnTo>
                    <a:pt x="63333" y="23333"/>
                  </a:lnTo>
                  <a:lnTo>
                    <a:pt x="63333" y="23333"/>
                  </a:lnTo>
                  <a:lnTo>
                    <a:pt x="56666" y="16666"/>
                  </a:lnTo>
                  <a:lnTo>
                    <a:pt x="56666" y="16666"/>
                  </a:lnTo>
                  <a:lnTo>
                    <a:pt x="46666" y="16666"/>
                  </a:lnTo>
                  <a:lnTo>
                    <a:pt x="40000" y="16666"/>
                  </a:lnTo>
                  <a:lnTo>
                    <a:pt x="40000" y="23333"/>
                  </a:lnTo>
                  <a:lnTo>
                    <a:pt x="33333" y="23333"/>
                  </a:lnTo>
                  <a:lnTo>
                    <a:pt x="33333" y="23333"/>
                  </a:lnTo>
                  <a:lnTo>
                    <a:pt x="23333" y="33333"/>
                  </a:lnTo>
                  <a:lnTo>
                    <a:pt x="23333" y="40000"/>
                  </a:lnTo>
                  <a:lnTo>
                    <a:pt x="16666" y="40000"/>
                  </a:lnTo>
                  <a:lnTo>
                    <a:pt x="16666" y="50000"/>
                  </a:lnTo>
                  <a:lnTo>
                    <a:pt x="16666" y="56666"/>
                  </a:lnTo>
                  <a:lnTo>
                    <a:pt x="16666" y="63333"/>
                  </a:lnTo>
                  <a:lnTo>
                    <a:pt x="16666" y="73333"/>
                  </a:lnTo>
                  <a:lnTo>
                    <a:pt x="16666" y="80000"/>
                  </a:lnTo>
                  <a:lnTo>
                    <a:pt x="16666" y="80000"/>
                  </a:lnTo>
                  <a:lnTo>
                    <a:pt x="10000" y="86666"/>
                  </a:lnTo>
                  <a:lnTo>
                    <a:pt x="0" y="86666"/>
                  </a:lnTo>
                  <a:lnTo>
                    <a:pt x="0" y="86666"/>
                  </a:lnTo>
                  <a:lnTo>
                    <a:pt x="0" y="96666"/>
                  </a:lnTo>
                  <a:lnTo>
                    <a:pt x="0" y="103333"/>
                  </a:lnTo>
                  <a:lnTo>
                    <a:pt x="0" y="110000"/>
                  </a:lnTo>
                  <a:lnTo>
                    <a:pt x="0" y="110000"/>
                  </a:lnTo>
                  <a:lnTo>
                    <a:pt x="10000" y="110000"/>
                  </a:lnTo>
                  <a:lnTo>
                    <a:pt x="10000" y="110000"/>
                  </a:lnTo>
                  <a:lnTo>
                    <a:pt x="10000" y="103333"/>
                  </a:lnTo>
                  <a:lnTo>
                    <a:pt x="10000" y="103333"/>
                  </a:lnTo>
                  <a:lnTo>
                    <a:pt x="16666" y="103333"/>
                  </a:lnTo>
                  <a:lnTo>
                    <a:pt x="23333" y="110000"/>
                  </a:lnTo>
                  <a:lnTo>
                    <a:pt x="23333" y="120000"/>
                  </a:lnTo>
                  <a:lnTo>
                    <a:pt x="33333" y="120000"/>
                  </a:lnTo>
                  <a:lnTo>
                    <a:pt x="33333" y="120000"/>
                  </a:lnTo>
                  <a:lnTo>
                    <a:pt x="46666" y="120000"/>
                  </a:lnTo>
                  <a:lnTo>
                    <a:pt x="46666" y="120000"/>
                  </a:lnTo>
                  <a:lnTo>
                    <a:pt x="56666" y="120000"/>
                  </a:lnTo>
                  <a:lnTo>
                    <a:pt x="56666" y="110000"/>
                  </a:lnTo>
                  <a:lnTo>
                    <a:pt x="63333" y="110000"/>
                  </a:lnTo>
                  <a:lnTo>
                    <a:pt x="63333" y="103333"/>
                  </a:lnTo>
                  <a:lnTo>
                    <a:pt x="63333" y="86666"/>
                  </a:lnTo>
                  <a:lnTo>
                    <a:pt x="63333" y="86666"/>
                  </a:lnTo>
                  <a:lnTo>
                    <a:pt x="70000" y="96666"/>
                  </a:lnTo>
                  <a:lnTo>
                    <a:pt x="70000" y="96666"/>
                  </a:lnTo>
                  <a:lnTo>
                    <a:pt x="80000" y="96666"/>
                  </a:lnTo>
                  <a:lnTo>
                    <a:pt x="80000" y="86666"/>
                  </a:lnTo>
                  <a:lnTo>
                    <a:pt x="80000" y="86666"/>
                  </a:lnTo>
                  <a:lnTo>
                    <a:pt x="86666" y="86666"/>
                  </a:lnTo>
                  <a:lnTo>
                    <a:pt x="96666" y="86666"/>
                  </a:lnTo>
                  <a:lnTo>
                    <a:pt x="96666" y="86666"/>
                  </a:lnTo>
                  <a:lnTo>
                    <a:pt x="103333" y="86666"/>
                  </a:lnTo>
                  <a:lnTo>
                    <a:pt x="103333" y="86666"/>
                  </a:lnTo>
                  <a:lnTo>
                    <a:pt x="103333" y="86666"/>
                  </a:lnTo>
                  <a:lnTo>
                    <a:pt x="110000" y="86666"/>
                  </a:lnTo>
                  <a:lnTo>
                    <a:pt x="110000" y="86666"/>
                  </a:lnTo>
                  <a:lnTo>
                    <a:pt x="120000" y="86666"/>
                  </a:lnTo>
                  <a:lnTo>
                    <a:pt x="120000" y="86666"/>
                  </a:lnTo>
                  <a:lnTo>
                    <a:pt x="120000" y="86666"/>
                  </a:lnTo>
                  <a:lnTo>
                    <a:pt x="120000" y="80000"/>
                  </a:lnTo>
                  <a:lnTo>
                    <a:pt x="120000" y="73333"/>
                  </a:lnTo>
                  <a:lnTo>
                    <a:pt x="120000" y="63333"/>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97" name="Shape 397"/>
            <p:cNvSpPr/>
            <p:nvPr/>
          </p:nvSpPr>
          <p:spPr>
            <a:xfrm>
              <a:off x="3992" y="1182"/>
              <a:ext cx="2400" cy="899"/>
            </a:xfrm>
            <a:custGeom>
              <a:avLst/>
              <a:gdLst/>
              <a:ahLst/>
              <a:cxnLst/>
              <a:rect l="0" t="0" r="0" b="0"/>
              <a:pathLst>
                <a:path w="120000" h="120000" extrusionOk="0">
                  <a:moveTo>
                    <a:pt x="40252" y="3496"/>
                  </a:moveTo>
                  <a:lnTo>
                    <a:pt x="40353" y="3496"/>
                  </a:lnTo>
                  <a:lnTo>
                    <a:pt x="40505" y="3814"/>
                  </a:lnTo>
                  <a:lnTo>
                    <a:pt x="40959" y="3814"/>
                  </a:lnTo>
                  <a:lnTo>
                    <a:pt x="41414" y="4132"/>
                  </a:lnTo>
                  <a:lnTo>
                    <a:pt x="41565" y="4132"/>
                  </a:lnTo>
                  <a:lnTo>
                    <a:pt x="41818" y="3814"/>
                  </a:lnTo>
                  <a:lnTo>
                    <a:pt x="41818" y="3814"/>
                  </a:lnTo>
                  <a:lnTo>
                    <a:pt x="41919" y="3814"/>
                  </a:lnTo>
                  <a:lnTo>
                    <a:pt x="42020" y="3814"/>
                  </a:lnTo>
                  <a:lnTo>
                    <a:pt x="42525" y="3814"/>
                  </a:lnTo>
                  <a:lnTo>
                    <a:pt x="43232" y="3496"/>
                  </a:lnTo>
                  <a:lnTo>
                    <a:pt x="43333" y="3496"/>
                  </a:lnTo>
                  <a:lnTo>
                    <a:pt x="43333" y="3496"/>
                  </a:lnTo>
                  <a:lnTo>
                    <a:pt x="43232" y="3496"/>
                  </a:lnTo>
                  <a:lnTo>
                    <a:pt x="43232" y="3019"/>
                  </a:lnTo>
                  <a:lnTo>
                    <a:pt x="42979" y="3019"/>
                  </a:lnTo>
                  <a:lnTo>
                    <a:pt x="42979" y="3019"/>
                  </a:lnTo>
                  <a:lnTo>
                    <a:pt x="42979" y="2701"/>
                  </a:lnTo>
                  <a:lnTo>
                    <a:pt x="42878" y="2701"/>
                  </a:lnTo>
                  <a:lnTo>
                    <a:pt x="42979" y="2701"/>
                  </a:lnTo>
                  <a:lnTo>
                    <a:pt x="43232" y="2701"/>
                  </a:lnTo>
                  <a:lnTo>
                    <a:pt x="43232" y="2225"/>
                  </a:lnTo>
                  <a:lnTo>
                    <a:pt x="43232" y="2225"/>
                  </a:lnTo>
                  <a:lnTo>
                    <a:pt x="43232" y="2225"/>
                  </a:lnTo>
                  <a:lnTo>
                    <a:pt x="43232" y="2225"/>
                  </a:lnTo>
                  <a:lnTo>
                    <a:pt x="43080" y="2225"/>
                  </a:lnTo>
                  <a:lnTo>
                    <a:pt x="42878" y="2225"/>
                  </a:lnTo>
                  <a:lnTo>
                    <a:pt x="42373" y="1907"/>
                  </a:lnTo>
                  <a:lnTo>
                    <a:pt x="42373" y="1907"/>
                  </a:lnTo>
                  <a:lnTo>
                    <a:pt x="42272" y="1907"/>
                  </a:lnTo>
                  <a:lnTo>
                    <a:pt x="42171" y="1589"/>
                  </a:lnTo>
                  <a:lnTo>
                    <a:pt x="42171" y="1589"/>
                  </a:lnTo>
                  <a:lnTo>
                    <a:pt x="41919" y="1589"/>
                  </a:lnTo>
                  <a:lnTo>
                    <a:pt x="41818" y="1589"/>
                  </a:lnTo>
                  <a:lnTo>
                    <a:pt x="41818" y="1589"/>
                  </a:lnTo>
                  <a:lnTo>
                    <a:pt x="41666" y="1112"/>
                  </a:lnTo>
                  <a:lnTo>
                    <a:pt x="41666" y="1112"/>
                  </a:lnTo>
                  <a:lnTo>
                    <a:pt x="41313" y="1112"/>
                  </a:lnTo>
                  <a:lnTo>
                    <a:pt x="41313" y="1589"/>
                  </a:lnTo>
                  <a:lnTo>
                    <a:pt x="41212" y="1589"/>
                  </a:lnTo>
                  <a:lnTo>
                    <a:pt x="41060" y="1589"/>
                  </a:lnTo>
                  <a:lnTo>
                    <a:pt x="40959" y="1589"/>
                  </a:lnTo>
                  <a:lnTo>
                    <a:pt x="40858" y="1589"/>
                  </a:lnTo>
                  <a:lnTo>
                    <a:pt x="40707" y="1589"/>
                  </a:lnTo>
                  <a:lnTo>
                    <a:pt x="40606" y="1907"/>
                  </a:lnTo>
                  <a:lnTo>
                    <a:pt x="40505" y="1589"/>
                  </a:lnTo>
                  <a:lnTo>
                    <a:pt x="40353" y="1907"/>
                  </a:lnTo>
                  <a:lnTo>
                    <a:pt x="40252" y="1907"/>
                  </a:lnTo>
                  <a:lnTo>
                    <a:pt x="40252" y="1907"/>
                  </a:lnTo>
                  <a:lnTo>
                    <a:pt x="40252" y="1907"/>
                  </a:lnTo>
                  <a:lnTo>
                    <a:pt x="40151" y="1907"/>
                  </a:lnTo>
                  <a:lnTo>
                    <a:pt x="40151" y="2225"/>
                  </a:lnTo>
                  <a:lnTo>
                    <a:pt x="40151" y="2225"/>
                  </a:lnTo>
                  <a:lnTo>
                    <a:pt x="40252" y="2225"/>
                  </a:lnTo>
                  <a:lnTo>
                    <a:pt x="40606" y="2225"/>
                  </a:lnTo>
                  <a:lnTo>
                    <a:pt x="40505" y="2225"/>
                  </a:lnTo>
                  <a:lnTo>
                    <a:pt x="40505" y="2701"/>
                  </a:lnTo>
                  <a:lnTo>
                    <a:pt x="40353" y="2701"/>
                  </a:lnTo>
                  <a:lnTo>
                    <a:pt x="40252" y="3019"/>
                  </a:lnTo>
                  <a:lnTo>
                    <a:pt x="40000" y="3019"/>
                  </a:lnTo>
                  <a:lnTo>
                    <a:pt x="39898" y="3019"/>
                  </a:lnTo>
                  <a:lnTo>
                    <a:pt x="39898" y="3019"/>
                  </a:lnTo>
                  <a:lnTo>
                    <a:pt x="40000" y="3496"/>
                  </a:lnTo>
                  <a:lnTo>
                    <a:pt x="40252" y="3496"/>
                  </a:lnTo>
                  <a:close/>
                  <a:moveTo>
                    <a:pt x="20707" y="25907"/>
                  </a:moveTo>
                  <a:lnTo>
                    <a:pt x="20606" y="26384"/>
                  </a:lnTo>
                  <a:lnTo>
                    <a:pt x="20606" y="26384"/>
                  </a:lnTo>
                  <a:lnTo>
                    <a:pt x="20606" y="26384"/>
                  </a:lnTo>
                  <a:lnTo>
                    <a:pt x="20606" y="26384"/>
                  </a:lnTo>
                  <a:lnTo>
                    <a:pt x="20707" y="26701"/>
                  </a:lnTo>
                  <a:lnTo>
                    <a:pt x="20858" y="26384"/>
                  </a:lnTo>
                  <a:lnTo>
                    <a:pt x="20959" y="26701"/>
                  </a:lnTo>
                  <a:lnTo>
                    <a:pt x="20959" y="26701"/>
                  </a:lnTo>
                  <a:lnTo>
                    <a:pt x="21060" y="27178"/>
                  </a:lnTo>
                  <a:lnTo>
                    <a:pt x="21212" y="27178"/>
                  </a:lnTo>
                  <a:lnTo>
                    <a:pt x="21212" y="27178"/>
                  </a:lnTo>
                  <a:lnTo>
                    <a:pt x="21212" y="27496"/>
                  </a:lnTo>
                  <a:lnTo>
                    <a:pt x="21313" y="27178"/>
                  </a:lnTo>
                  <a:lnTo>
                    <a:pt x="21313" y="27178"/>
                  </a:lnTo>
                  <a:lnTo>
                    <a:pt x="21212" y="27178"/>
                  </a:lnTo>
                  <a:lnTo>
                    <a:pt x="21212" y="27178"/>
                  </a:lnTo>
                  <a:lnTo>
                    <a:pt x="21313" y="26701"/>
                  </a:lnTo>
                  <a:lnTo>
                    <a:pt x="21212" y="26701"/>
                  </a:lnTo>
                  <a:lnTo>
                    <a:pt x="21212" y="26701"/>
                  </a:lnTo>
                  <a:lnTo>
                    <a:pt x="21212" y="26701"/>
                  </a:lnTo>
                  <a:lnTo>
                    <a:pt x="21060" y="26384"/>
                  </a:lnTo>
                  <a:lnTo>
                    <a:pt x="20959" y="26384"/>
                  </a:lnTo>
                  <a:lnTo>
                    <a:pt x="20959" y="25907"/>
                  </a:lnTo>
                  <a:lnTo>
                    <a:pt x="20858" y="25907"/>
                  </a:lnTo>
                  <a:lnTo>
                    <a:pt x="20858" y="25907"/>
                  </a:lnTo>
                  <a:lnTo>
                    <a:pt x="20858" y="26384"/>
                  </a:lnTo>
                  <a:lnTo>
                    <a:pt x="20858" y="25907"/>
                  </a:lnTo>
                  <a:lnTo>
                    <a:pt x="20707" y="25907"/>
                  </a:lnTo>
                  <a:close/>
                  <a:moveTo>
                    <a:pt x="41313" y="4609"/>
                  </a:moveTo>
                  <a:lnTo>
                    <a:pt x="41414" y="4609"/>
                  </a:lnTo>
                  <a:lnTo>
                    <a:pt x="41565" y="4609"/>
                  </a:lnTo>
                  <a:lnTo>
                    <a:pt x="41565" y="4132"/>
                  </a:lnTo>
                  <a:lnTo>
                    <a:pt x="41313" y="4132"/>
                  </a:lnTo>
                  <a:lnTo>
                    <a:pt x="40858" y="4132"/>
                  </a:lnTo>
                  <a:lnTo>
                    <a:pt x="40505" y="3814"/>
                  </a:lnTo>
                  <a:lnTo>
                    <a:pt x="40252" y="3814"/>
                  </a:lnTo>
                  <a:lnTo>
                    <a:pt x="40151" y="3814"/>
                  </a:lnTo>
                  <a:lnTo>
                    <a:pt x="40000" y="3814"/>
                  </a:lnTo>
                  <a:lnTo>
                    <a:pt x="39898" y="4132"/>
                  </a:lnTo>
                  <a:lnTo>
                    <a:pt x="40000" y="4132"/>
                  </a:lnTo>
                  <a:lnTo>
                    <a:pt x="40252" y="4609"/>
                  </a:lnTo>
                  <a:lnTo>
                    <a:pt x="40505" y="4609"/>
                  </a:lnTo>
                  <a:lnTo>
                    <a:pt x="40858" y="4927"/>
                  </a:lnTo>
                  <a:lnTo>
                    <a:pt x="40959" y="4927"/>
                  </a:lnTo>
                  <a:lnTo>
                    <a:pt x="41060" y="4927"/>
                  </a:lnTo>
                  <a:lnTo>
                    <a:pt x="41212" y="4609"/>
                  </a:lnTo>
                  <a:lnTo>
                    <a:pt x="41313" y="4609"/>
                  </a:lnTo>
                  <a:close/>
                  <a:moveTo>
                    <a:pt x="45353" y="4927"/>
                  </a:moveTo>
                  <a:lnTo>
                    <a:pt x="45505" y="4927"/>
                  </a:lnTo>
                  <a:lnTo>
                    <a:pt x="45606" y="4927"/>
                  </a:lnTo>
                  <a:lnTo>
                    <a:pt x="45505" y="4927"/>
                  </a:lnTo>
                  <a:lnTo>
                    <a:pt x="45353" y="4609"/>
                  </a:lnTo>
                  <a:lnTo>
                    <a:pt x="45353" y="4927"/>
                  </a:lnTo>
                  <a:lnTo>
                    <a:pt x="45353" y="4927"/>
                  </a:lnTo>
                  <a:lnTo>
                    <a:pt x="45353" y="4927"/>
                  </a:lnTo>
                  <a:close/>
                  <a:moveTo>
                    <a:pt x="37272" y="22251"/>
                  </a:moveTo>
                  <a:lnTo>
                    <a:pt x="37525" y="22569"/>
                  </a:lnTo>
                  <a:lnTo>
                    <a:pt x="37878" y="22569"/>
                  </a:lnTo>
                  <a:lnTo>
                    <a:pt x="37878" y="22569"/>
                  </a:lnTo>
                  <a:lnTo>
                    <a:pt x="37878" y="22251"/>
                  </a:lnTo>
                  <a:lnTo>
                    <a:pt x="37727" y="21774"/>
                  </a:lnTo>
                  <a:lnTo>
                    <a:pt x="37626" y="21774"/>
                  </a:lnTo>
                  <a:lnTo>
                    <a:pt x="37626" y="21456"/>
                  </a:lnTo>
                  <a:lnTo>
                    <a:pt x="37373" y="21456"/>
                  </a:lnTo>
                  <a:lnTo>
                    <a:pt x="37272" y="22251"/>
                  </a:lnTo>
                  <a:lnTo>
                    <a:pt x="37272" y="22251"/>
                  </a:lnTo>
                  <a:lnTo>
                    <a:pt x="37272" y="22251"/>
                  </a:lnTo>
                  <a:close/>
                  <a:moveTo>
                    <a:pt x="42979" y="3814"/>
                  </a:moveTo>
                  <a:lnTo>
                    <a:pt x="42878" y="3814"/>
                  </a:lnTo>
                  <a:lnTo>
                    <a:pt x="42727" y="3814"/>
                  </a:lnTo>
                  <a:lnTo>
                    <a:pt x="42626" y="3814"/>
                  </a:lnTo>
                  <a:lnTo>
                    <a:pt x="42373" y="3814"/>
                  </a:lnTo>
                  <a:lnTo>
                    <a:pt x="42373" y="3814"/>
                  </a:lnTo>
                  <a:lnTo>
                    <a:pt x="42373" y="3814"/>
                  </a:lnTo>
                  <a:lnTo>
                    <a:pt x="42373" y="3814"/>
                  </a:lnTo>
                  <a:lnTo>
                    <a:pt x="42171" y="3814"/>
                  </a:lnTo>
                  <a:lnTo>
                    <a:pt x="42171" y="3814"/>
                  </a:lnTo>
                  <a:lnTo>
                    <a:pt x="42020" y="3814"/>
                  </a:lnTo>
                  <a:lnTo>
                    <a:pt x="42020" y="4132"/>
                  </a:lnTo>
                  <a:lnTo>
                    <a:pt x="41919" y="4132"/>
                  </a:lnTo>
                  <a:lnTo>
                    <a:pt x="41919" y="4609"/>
                  </a:lnTo>
                  <a:lnTo>
                    <a:pt x="41818" y="4609"/>
                  </a:lnTo>
                  <a:lnTo>
                    <a:pt x="41818" y="4609"/>
                  </a:lnTo>
                  <a:lnTo>
                    <a:pt x="41565" y="4927"/>
                  </a:lnTo>
                  <a:lnTo>
                    <a:pt x="41414" y="5245"/>
                  </a:lnTo>
                  <a:lnTo>
                    <a:pt x="41666" y="5245"/>
                  </a:lnTo>
                  <a:lnTo>
                    <a:pt x="41818" y="5245"/>
                  </a:lnTo>
                  <a:lnTo>
                    <a:pt x="41919" y="5245"/>
                  </a:lnTo>
                  <a:lnTo>
                    <a:pt x="42272" y="5245"/>
                  </a:lnTo>
                  <a:lnTo>
                    <a:pt x="42373" y="5721"/>
                  </a:lnTo>
                  <a:lnTo>
                    <a:pt x="42525" y="5721"/>
                  </a:lnTo>
                  <a:lnTo>
                    <a:pt x="42626" y="6039"/>
                  </a:lnTo>
                  <a:lnTo>
                    <a:pt x="42727" y="6039"/>
                  </a:lnTo>
                  <a:lnTo>
                    <a:pt x="42727" y="6039"/>
                  </a:lnTo>
                  <a:lnTo>
                    <a:pt x="42878" y="6039"/>
                  </a:lnTo>
                  <a:lnTo>
                    <a:pt x="42979" y="6039"/>
                  </a:lnTo>
                  <a:lnTo>
                    <a:pt x="43080" y="6357"/>
                  </a:lnTo>
                  <a:lnTo>
                    <a:pt x="43232" y="6039"/>
                  </a:lnTo>
                  <a:lnTo>
                    <a:pt x="43232" y="6039"/>
                  </a:lnTo>
                  <a:lnTo>
                    <a:pt x="43484" y="6357"/>
                  </a:lnTo>
                  <a:lnTo>
                    <a:pt x="43484" y="6357"/>
                  </a:lnTo>
                  <a:lnTo>
                    <a:pt x="43838" y="6357"/>
                  </a:lnTo>
                  <a:lnTo>
                    <a:pt x="43838" y="6357"/>
                  </a:lnTo>
                  <a:lnTo>
                    <a:pt x="44191" y="6357"/>
                  </a:lnTo>
                  <a:lnTo>
                    <a:pt x="44191" y="6357"/>
                  </a:lnTo>
                  <a:lnTo>
                    <a:pt x="44191" y="6357"/>
                  </a:lnTo>
                  <a:lnTo>
                    <a:pt x="44545" y="6834"/>
                  </a:lnTo>
                  <a:lnTo>
                    <a:pt x="44646" y="6834"/>
                  </a:lnTo>
                  <a:lnTo>
                    <a:pt x="44747" y="6834"/>
                  </a:lnTo>
                  <a:lnTo>
                    <a:pt x="44898" y="6834"/>
                  </a:lnTo>
                  <a:lnTo>
                    <a:pt x="45000" y="6834"/>
                  </a:lnTo>
                  <a:lnTo>
                    <a:pt x="45151" y="6834"/>
                  </a:lnTo>
                  <a:lnTo>
                    <a:pt x="45252" y="6834"/>
                  </a:lnTo>
                  <a:lnTo>
                    <a:pt x="45505" y="6834"/>
                  </a:lnTo>
                  <a:lnTo>
                    <a:pt x="45858" y="6834"/>
                  </a:lnTo>
                  <a:lnTo>
                    <a:pt x="45858" y="6834"/>
                  </a:lnTo>
                  <a:lnTo>
                    <a:pt x="45959" y="6357"/>
                  </a:lnTo>
                  <a:lnTo>
                    <a:pt x="45959" y="6357"/>
                  </a:lnTo>
                  <a:lnTo>
                    <a:pt x="45858" y="6039"/>
                  </a:lnTo>
                  <a:lnTo>
                    <a:pt x="45707" y="6039"/>
                  </a:lnTo>
                  <a:lnTo>
                    <a:pt x="45606" y="6039"/>
                  </a:lnTo>
                  <a:lnTo>
                    <a:pt x="45353" y="5721"/>
                  </a:lnTo>
                  <a:lnTo>
                    <a:pt x="45151" y="5721"/>
                  </a:lnTo>
                  <a:lnTo>
                    <a:pt x="45252" y="5721"/>
                  </a:lnTo>
                  <a:lnTo>
                    <a:pt x="45252" y="5721"/>
                  </a:lnTo>
                  <a:lnTo>
                    <a:pt x="45353" y="5721"/>
                  </a:lnTo>
                  <a:lnTo>
                    <a:pt x="45505" y="5721"/>
                  </a:lnTo>
                  <a:lnTo>
                    <a:pt x="45505" y="5721"/>
                  </a:lnTo>
                  <a:lnTo>
                    <a:pt x="45505" y="5245"/>
                  </a:lnTo>
                  <a:lnTo>
                    <a:pt x="45353" y="5245"/>
                  </a:lnTo>
                  <a:lnTo>
                    <a:pt x="45353" y="5245"/>
                  </a:lnTo>
                  <a:lnTo>
                    <a:pt x="45353" y="5245"/>
                  </a:lnTo>
                  <a:lnTo>
                    <a:pt x="45353" y="4927"/>
                  </a:lnTo>
                  <a:lnTo>
                    <a:pt x="45353" y="4927"/>
                  </a:lnTo>
                  <a:lnTo>
                    <a:pt x="45353" y="4927"/>
                  </a:lnTo>
                  <a:lnTo>
                    <a:pt x="45353" y="4927"/>
                  </a:lnTo>
                  <a:lnTo>
                    <a:pt x="45252" y="4609"/>
                  </a:lnTo>
                  <a:lnTo>
                    <a:pt x="45353" y="4609"/>
                  </a:lnTo>
                  <a:lnTo>
                    <a:pt x="45252" y="4609"/>
                  </a:lnTo>
                  <a:lnTo>
                    <a:pt x="45151" y="4132"/>
                  </a:lnTo>
                  <a:lnTo>
                    <a:pt x="45000" y="4132"/>
                  </a:lnTo>
                  <a:lnTo>
                    <a:pt x="44898" y="4132"/>
                  </a:lnTo>
                  <a:lnTo>
                    <a:pt x="44898" y="4132"/>
                  </a:lnTo>
                  <a:lnTo>
                    <a:pt x="44747" y="4132"/>
                  </a:lnTo>
                  <a:lnTo>
                    <a:pt x="44646" y="4132"/>
                  </a:lnTo>
                  <a:lnTo>
                    <a:pt x="44393" y="3814"/>
                  </a:lnTo>
                  <a:lnTo>
                    <a:pt x="44292" y="3814"/>
                  </a:lnTo>
                  <a:lnTo>
                    <a:pt x="44191" y="3814"/>
                  </a:lnTo>
                  <a:lnTo>
                    <a:pt x="44191" y="4132"/>
                  </a:lnTo>
                  <a:lnTo>
                    <a:pt x="44292" y="4132"/>
                  </a:lnTo>
                  <a:lnTo>
                    <a:pt x="44292" y="4132"/>
                  </a:lnTo>
                  <a:lnTo>
                    <a:pt x="44191" y="4132"/>
                  </a:lnTo>
                  <a:lnTo>
                    <a:pt x="44040" y="4132"/>
                  </a:lnTo>
                  <a:lnTo>
                    <a:pt x="44040" y="4609"/>
                  </a:lnTo>
                  <a:lnTo>
                    <a:pt x="43939" y="4609"/>
                  </a:lnTo>
                  <a:lnTo>
                    <a:pt x="43939" y="4609"/>
                  </a:lnTo>
                  <a:lnTo>
                    <a:pt x="43939" y="4609"/>
                  </a:lnTo>
                  <a:lnTo>
                    <a:pt x="43838" y="4609"/>
                  </a:lnTo>
                  <a:lnTo>
                    <a:pt x="43939" y="4132"/>
                  </a:lnTo>
                  <a:lnTo>
                    <a:pt x="43939" y="4132"/>
                  </a:lnTo>
                  <a:lnTo>
                    <a:pt x="43939" y="4132"/>
                  </a:lnTo>
                  <a:lnTo>
                    <a:pt x="43939" y="3814"/>
                  </a:lnTo>
                  <a:lnTo>
                    <a:pt x="43838" y="3814"/>
                  </a:lnTo>
                  <a:lnTo>
                    <a:pt x="43585" y="3814"/>
                  </a:lnTo>
                  <a:lnTo>
                    <a:pt x="43585" y="3814"/>
                  </a:lnTo>
                  <a:lnTo>
                    <a:pt x="43333" y="3814"/>
                  </a:lnTo>
                  <a:lnTo>
                    <a:pt x="42979" y="3814"/>
                  </a:lnTo>
                  <a:close/>
                  <a:moveTo>
                    <a:pt x="40959" y="16529"/>
                  </a:moveTo>
                  <a:lnTo>
                    <a:pt x="40959" y="16529"/>
                  </a:lnTo>
                  <a:lnTo>
                    <a:pt x="40858" y="16529"/>
                  </a:lnTo>
                  <a:lnTo>
                    <a:pt x="40858" y="16529"/>
                  </a:lnTo>
                  <a:lnTo>
                    <a:pt x="40959" y="17006"/>
                  </a:lnTo>
                  <a:lnTo>
                    <a:pt x="41212" y="17006"/>
                  </a:lnTo>
                  <a:lnTo>
                    <a:pt x="41313" y="17006"/>
                  </a:lnTo>
                  <a:lnTo>
                    <a:pt x="41313" y="17006"/>
                  </a:lnTo>
                  <a:lnTo>
                    <a:pt x="41313" y="16529"/>
                  </a:lnTo>
                  <a:lnTo>
                    <a:pt x="41313" y="16529"/>
                  </a:lnTo>
                  <a:lnTo>
                    <a:pt x="41212" y="16529"/>
                  </a:lnTo>
                  <a:lnTo>
                    <a:pt x="41060" y="16529"/>
                  </a:lnTo>
                  <a:lnTo>
                    <a:pt x="41060" y="16529"/>
                  </a:lnTo>
                  <a:lnTo>
                    <a:pt x="40959" y="16529"/>
                  </a:lnTo>
                  <a:close/>
                  <a:moveTo>
                    <a:pt x="24292" y="13192"/>
                  </a:moveTo>
                  <a:lnTo>
                    <a:pt x="24292" y="13192"/>
                  </a:lnTo>
                  <a:lnTo>
                    <a:pt x="24292" y="13509"/>
                  </a:lnTo>
                  <a:lnTo>
                    <a:pt x="24292" y="13509"/>
                  </a:lnTo>
                  <a:lnTo>
                    <a:pt x="24292" y="13509"/>
                  </a:lnTo>
                  <a:lnTo>
                    <a:pt x="24292" y="13509"/>
                  </a:lnTo>
                  <a:lnTo>
                    <a:pt x="24191" y="13509"/>
                  </a:lnTo>
                  <a:lnTo>
                    <a:pt x="24040" y="13509"/>
                  </a:lnTo>
                  <a:lnTo>
                    <a:pt x="24040" y="13509"/>
                  </a:lnTo>
                  <a:lnTo>
                    <a:pt x="23838" y="13509"/>
                  </a:lnTo>
                  <a:lnTo>
                    <a:pt x="23686" y="13509"/>
                  </a:lnTo>
                  <a:lnTo>
                    <a:pt x="23686" y="13986"/>
                  </a:lnTo>
                  <a:lnTo>
                    <a:pt x="23585" y="13986"/>
                  </a:lnTo>
                  <a:lnTo>
                    <a:pt x="23333" y="13986"/>
                  </a:lnTo>
                  <a:lnTo>
                    <a:pt x="23232" y="14304"/>
                  </a:lnTo>
                  <a:lnTo>
                    <a:pt x="23131" y="14304"/>
                  </a:lnTo>
                  <a:lnTo>
                    <a:pt x="23131" y="14304"/>
                  </a:lnTo>
                  <a:lnTo>
                    <a:pt x="22979" y="14304"/>
                  </a:lnTo>
                  <a:lnTo>
                    <a:pt x="22878" y="14622"/>
                  </a:lnTo>
                  <a:lnTo>
                    <a:pt x="22626" y="14622"/>
                  </a:lnTo>
                  <a:lnTo>
                    <a:pt x="22626" y="14622"/>
                  </a:lnTo>
                  <a:lnTo>
                    <a:pt x="22727" y="14622"/>
                  </a:lnTo>
                  <a:lnTo>
                    <a:pt x="22525" y="15099"/>
                  </a:lnTo>
                  <a:lnTo>
                    <a:pt x="22525" y="15099"/>
                  </a:lnTo>
                  <a:lnTo>
                    <a:pt x="22525" y="15417"/>
                  </a:lnTo>
                  <a:lnTo>
                    <a:pt x="22525" y="15417"/>
                  </a:lnTo>
                  <a:lnTo>
                    <a:pt x="22272" y="15417"/>
                  </a:lnTo>
                  <a:lnTo>
                    <a:pt x="22171" y="15417"/>
                  </a:lnTo>
                  <a:lnTo>
                    <a:pt x="22171" y="15417"/>
                  </a:lnTo>
                  <a:lnTo>
                    <a:pt x="22020" y="15417"/>
                  </a:lnTo>
                  <a:lnTo>
                    <a:pt x="22020" y="15417"/>
                  </a:lnTo>
                  <a:lnTo>
                    <a:pt x="22020" y="15894"/>
                  </a:lnTo>
                  <a:lnTo>
                    <a:pt x="22020" y="15894"/>
                  </a:lnTo>
                  <a:lnTo>
                    <a:pt x="21919" y="16211"/>
                  </a:lnTo>
                  <a:lnTo>
                    <a:pt x="21919" y="16211"/>
                  </a:lnTo>
                  <a:lnTo>
                    <a:pt x="21818" y="16211"/>
                  </a:lnTo>
                  <a:lnTo>
                    <a:pt x="21818" y="15894"/>
                  </a:lnTo>
                  <a:lnTo>
                    <a:pt x="21666" y="15894"/>
                  </a:lnTo>
                  <a:lnTo>
                    <a:pt x="21565" y="15894"/>
                  </a:lnTo>
                  <a:lnTo>
                    <a:pt x="21565" y="15894"/>
                  </a:lnTo>
                  <a:lnTo>
                    <a:pt x="21464" y="16211"/>
                  </a:lnTo>
                  <a:lnTo>
                    <a:pt x="21464" y="16211"/>
                  </a:lnTo>
                  <a:lnTo>
                    <a:pt x="21565" y="16211"/>
                  </a:lnTo>
                  <a:lnTo>
                    <a:pt x="21666" y="16529"/>
                  </a:lnTo>
                  <a:lnTo>
                    <a:pt x="21818" y="16529"/>
                  </a:lnTo>
                  <a:lnTo>
                    <a:pt x="21919" y="16529"/>
                  </a:lnTo>
                  <a:lnTo>
                    <a:pt x="22020" y="16529"/>
                  </a:lnTo>
                  <a:lnTo>
                    <a:pt x="21818" y="16529"/>
                  </a:lnTo>
                  <a:lnTo>
                    <a:pt x="21666" y="17006"/>
                  </a:lnTo>
                  <a:lnTo>
                    <a:pt x="21565" y="17324"/>
                  </a:lnTo>
                  <a:lnTo>
                    <a:pt x="21565" y="17324"/>
                  </a:lnTo>
                  <a:lnTo>
                    <a:pt x="21565" y="17324"/>
                  </a:lnTo>
                  <a:lnTo>
                    <a:pt x="21565" y="17642"/>
                  </a:lnTo>
                  <a:lnTo>
                    <a:pt x="21666" y="17642"/>
                  </a:lnTo>
                  <a:lnTo>
                    <a:pt x="21818" y="17642"/>
                  </a:lnTo>
                  <a:lnTo>
                    <a:pt x="21919" y="17642"/>
                  </a:lnTo>
                  <a:lnTo>
                    <a:pt x="21919" y="17642"/>
                  </a:lnTo>
                  <a:lnTo>
                    <a:pt x="21565" y="18119"/>
                  </a:lnTo>
                  <a:lnTo>
                    <a:pt x="21464" y="18119"/>
                  </a:lnTo>
                  <a:lnTo>
                    <a:pt x="21313" y="18437"/>
                  </a:lnTo>
                  <a:lnTo>
                    <a:pt x="21313" y="18913"/>
                  </a:lnTo>
                  <a:lnTo>
                    <a:pt x="21313" y="18913"/>
                  </a:lnTo>
                  <a:lnTo>
                    <a:pt x="21212" y="18913"/>
                  </a:lnTo>
                  <a:lnTo>
                    <a:pt x="21212" y="19231"/>
                  </a:lnTo>
                  <a:lnTo>
                    <a:pt x="21212" y="19231"/>
                  </a:lnTo>
                  <a:lnTo>
                    <a:pt x="21060" y="19231"/>
                  </a:lnTo>
                  <a:lnTo>
                    <a:pt x="20959" y="19231"/>
                  </a:lnTo>
                  <a:lnTo>
                    <a:pt x="20858" y="19549"/>
                  </a:lnTo>
                  <a:lnTo>
                    <a:pt x="20707" y="19549"/>
                  </a:lnTo>
                  <a:lnTo>
                    <a:pt x="20707" y="19549"/>
                  </a:lnTo>
                  <a:lnTo>
                    <a:pt x="20707" y="20026"/>
                  </a:lnTo>
                  <a:lnTo>
                    <a:pt x="21060" y="20344"/>
                  </a:lnTo>
                  <a:lnTo>
                    <a:pt x="21060" y="20344"/>
                  </a:lnTo>
                  <a:lnTo>
                    <a:pt x="21212" y="20662"/>
                  </a:lnTo>
                  <a:lnTo>
                    <a:pt x="21313" y="20662"/>
                  </a:lnTo>
                  <a:lnTo>
                    <a:pt x="21464" y="20662"/>
                  </a:lnTo>
                  <a:lnTo>
                    <a:pt x="21666" y="20662"/>
                  </a:lnTo>
                  <a:lnTo>
                    <a:pt x="21818" y="20662"/>
                  </a:lnTo>
                  <a:lnTo>
                    <a:pt x="22020" y="20662"/>
                  </a:lnTo>
                  <a:lnTo>
                    <a:pt x="22373" y="20662"/>
                  </a:lnTo>
                  <a:lnTo>
                    <a:pt x="22525" y="21139"/>
                  </a:lnTo>
                  <a:lnTo>
                    <a:pt x="22626" y="21139"/>
                  </a:lnTo>
                  <a:lnTo>
                    <a:pt x="22727" y="21139"/>
                  </a:lnTo>
                  <a:lnTo>
                    <a:pt x="22878" y="20662"/>
                  </a:lnTo>
                  <a:lnTo>
                    <a:pt x="22979" y="20344"/>
                  </a:lnTo>
                  <a:lnTo>
                    <a:pt x="23131" y="20026"/>
                  </a:lnTo>
                  <a:lnTo>
                    <a:pt x="23232" y="20026"/>
                  </a:lnTo>
                  <a:lnTo>
                    <a:pt x="23131" y="19549"/>
                  </a:lnTo>
                  <a:lnTo>
                    <a:pt x="22979" y="19549"/>
                  </a:lnTo>
                  <a:lnTo>
                    <a:pt x="22979" y="19549"/>
                  </a:lnTo>
                  <a:lnTo>
                    <a:pt x="23131" y="19549"/>
                  </a:lnTo>
                  <a:lnTo>
                    <a:pt x="23232" y="19549"/>
                  </a:lnTo>
                  <a:lnTo>
                    <a:pt x="23232" y="19549"/>
                  </a:lnTo>
                  <a:lnTo>
                    <a:pt x="23232" y="19549"/>
                  </a:lnTo>
                  <a:lnTo>
                    <a:pt x="23333" y="19549"/>
                  </a:lnTo>
                  <a:lnTo>
                    <a:pt x="23333" y="19549"/>
                  </a:lnTo>
                  <a:lnTo>
                    <a:pt x="23232" y="19231"/>
                  </a:lnTo>
                  <a:lnTo>
                    <a:pt x="23232" y="19231"/>
                  </a:lnTo>
                  <a:lnTo>
                    <a:pt x="23232" y="19231"/>
                  </a:lnTo>
                  <a:lnTo>
                    <a:pt x="23585" y="18913"/>
                  </a:lnTo>
                  <a:lnTo>
                    <a:pt x="23585" y="18437"/>
                  </a:lnTo>
                  <a:lnTo>
                    <a:pt x="23585" y="18437"/>
                  </a:lnTo>
                  <a:lnTo>
                    <a:pt x="23585" y="18119"/>
                  </a:lnTo>
                  <a:lnTo>
                    <a:pt x="23484" y="18119"/>
                  </a:lnTo>
                  <a:lnTo>
                    <a:pt x="23484" y="17642"/>
                  </a:lnTo>
                  <a:lnTo>
                    <a:pt x="23484" y="17642"/>
                  </a:lnTo>
                  <a:lnTo>
                    <a:pt x="23686" y="17642"/>
                  </a:lnTo>
                  <a:lnTo>
                    <a:pt x="23838" y="17642"/>
                  </a:lnTo>
                  <a:lnTo>
                    <a:pt x="23838" y="17642"/>
                  </a:lnTo>
                  <a:lnTo>
                    <a:pt x="23838" y="17642"/>
                  </a:lnTo>
                  <a:lnTo>
                    <a:pt x="23838" y="17324"/>
                  </a:lnTo>
                  <a:lnTo>
                    <a:pt x="23838" y="17324"/>
                  </a:lnTo>
                  <a:lnTo>
                    <a:pt x="23838" y="17324"/>
                  </a:lnTo>
                  <a:lnTo>
                    <a:pt x="24040" y="17324"/>
                  </a:lnTo>
                  <a:lnTo>
                    <a:pt x="24191" y="17324"/>
                  </a:lnTo>
                  <a:lnTo>
                    <a:pt x="24191" y="17324"/>
                  </a:lnTo>
                  <a:lnTo>
                    <a:pt x="24191" y="17324"/>
                  </a:lnTo>
                  <a:lnTo>
                    <a:pt x="24191" y="17324"/>
                  </a:lnTo>
                  <a:lnTo>
                    <a:pt x="24191" y="17006"/>
                  </a:lnTo>
                  <a:lnTo>
                    <a:pt x="24292" y="17006"/>
                  </a:lnTo>
                  <a:lnTo>
                    <a:pt x="24292" y="17006"/>
                  </a:lnTo>
                  <a:lnTo>
                    <a:pt x="24393" y="17006"/>
                  </a:lnTo>
                  <a:lnTo>
                    <a:pt x="24393" y="17006"/>
                  </a:lnTo>
                  <a:lnTo>
                    <a:pt x="24545" y="16529"/>
                  </a:lnTo>
                  <a:lnTo>
                    <a:pt x="24545" y="16529"/>
                  </a:lnTo>
                  <a:lnTo>
                    <a:pt x="24545" y="16529"/>
                  </a:lnTo>
                  <a:lnTo>
                    <a:pt x="24292" y="16529"/>
                  </a:lnTo>
                  <a:lnTo>
                    <a:pt x="24292" y="16529"/>
                  </a:lnTo>
                  <a:lnTo>
                    <a:pt x="24393" y="16211"/>
                  </a:lnTo>
                  <a:lnTo>
                    <a:pt x="24545" y="16211"/>
                  </a:lnTo>
                  <a:lnTo>
                    <a:pt x="24545" y="16211"/>
                  </a:lnTo>
                  <a:lnTo>
                    <a:pt x="24646" y="16211"/>
                  </a:lnTo>
                  <a:lnTo>
                    <a:pt x="24646" y="16211"/>
                  </a:lnTo>
                  <a:lnTo>
                    <a:pt x="24646" y="15894"/>
                  </a:lnTo>
                  <a:lnTo>
                    <a:pt x="24797" y="15894"/>
                  </a:lnTo>
                  <a:lnTo>
                    <a:pt x="24797" y="15894"/>
                  </a:lnTo>
                  <a:lnTo>
                    <a:pt x="24898" y="15417"/>
                  </a:lnTo>
                  <a:lnTo>
                    <a:pt x="25000" y="15417"/>
                  </a:lnTo>
                  <a:lnTo>
                    <a:pt x="25000" y="15417"/>
                  </a:lnTo>
                  <a:lnTo>
                    <a:pt x="25252" y="15417"/>
                  </a:lnTo>
                  <a:lnTo>
                    <a:pt x="25858" y="15099"/>
                  </a:lnTo>
                  <a:lnTo>
                    <a:pt x="25959" y="14622"/>
                  </a:lnTo>
                  <a:lnTo>
                    <a:pt x="26212" y="14622"/>
                  </a:lnTo>
                  <a:lnTo>
                    <a:pt x="26212" y="14622"/>
                  </a:lnTo>
                  <a:lnTo>
                    <a:pt x="26565" y="14622"/>
                  </a:lnTo>
                  <a:lnTo>
                    <a:pt x="26818" y="14304"/>
                  </a:lnTo>
                  <a:lnTo>
                    <a:pt x="27020" y="14304"/>
                  </a:lnTo>
                  <a:lnTo>
                    <a:pt x="27272" y="13986"/>
                  </a:lnTo>
                  <a:lnTo>
                    <a:pt x="27626" y="13986"/>
                  </a:lnTo>
                  <a:lnTo>
                    <a:pt x="27878" y="13509"/>
                  </a:lnTo>
                  <a:lnTo>
                    <a:pt x="27979" y="13509"/>
                  </a:lnTo>
                  <a:lnTo>
                    <a:pt x="28131" y="13509"/>
                  </a:lnTo>
                  <a:lnTo>
                    <a:pt x="28232" y="13509"/>
                  </a:lnTo>
                  <a:lnTo>
                    <a:pt x="28484" y="13192"/>
                  </a:lnTo>
                  <a:lnTo>
                    <a:pt x="28585" y="13192"/>
                  </a:lnTo>
                  <a:lnTo>
                    <a:pt x="28686" y="13192"/>
                  </a:lnTo>
                  <a:lnTo>
                    <a:pt x="28838" y="12874"/>
                  </a:lnTo>
                  <a:lnTo>
                    <a:pt x="28939" y="12397"/>
                  </a:lnTo>
                  <a:lnTo>
                    <a:pt x="28939" y="12397"/>
                  </a:lnTo>
                  <a:lnTo>
                    <a:pt x="28838" y="12079"/>
                  </a:lnTo>
                  <a:lnTo>
                    <a:pt x="28939" y="12079"/>
                  </a:lnTo>
                  <a:lnTo>
                    <a:pt x="28838" y="12079"/>
                  </a:lnTo>
                  <a:lnTo>
                    <a:pt x="28838" y="11761"/>
                  </a:lnTo>
                  <a:lnTo>
                    <a:pt x="28585" y="11761"/>
                  </a:lnTo>
                  <a:lnTo>
                    <a:pt x="28484" y="11284"/>
                  </a:lnTo>
                  <a:lnTo>
                    <a:pt x="28131" y="11284"/>
                  </a:lnTo>
                  <a:lnTo>
                    <a:pt x="27878" y="11284"/>
                  </a:lnTo>
                  <a:lnTo>
                    <a:pt x="27878" y="11284"/>
                  </a:lnTo>
                  <a:lnTo>
                    <a:pt x="27727" y="11284"/>
                  </a:lnTo>
                  <a:lnTo>
                    <a:pt x="27525" y="11284"/>
                  </a:lnTo>
                  <a:lnTo>
                    <a:pt x="27272" y="11761"/>
                  </a:lnTo>
                  <a:lnTo>
                    <a:pt x="27020" y="12079"/>
                  </a:lnTo>
                  <a:lnTo>
                    <a:pt x="27020" y="12079"/>
                  </a:lnTo>
                  <a:lnTo>
                    <a:pt x="27020" y="12079"/>
                  </a:lnTo>
                  <a:lnTo>
                    <a:pt x="27020" y="12397"/>
                  </a:lnTo>
                  <a:lnTo>
                    <a:pt x="26919" y="12397"/>
                  </a:lnTo>
                  <a:lnTo>
                    <a:pt x="26818" y="12397"/>
                  </a:lnTo>
                  <a:lnTo>
                    <a:pt x="26818" y="12397"/>
                  </a:lnTo>
                  <a:lnTo>
                    <a:pt x="26666" y="12397"/>
                  </a:lnTo>
                  <a:lnTo>
                    <a:pt x="26565" y="12397"/>
                  </a:lnTo>
                  <a:lnTo>
                    <a:pt x="26565" y="12397"/>
                  </a:lnTo>
                  <a:lnTo>
                    <a:pt x="26464" y="12874"/>
                  </a:lnTo>
                  <a:lnTo>
                    <a:pt x="26313" y="12874"/>
                  </a:lnTo>
                  <a:lnTo>
                    <a:pt x="25707" y="13192"/>
                  </a:lnTo>
                  <a:lnTo>
                    <a:pt x="25505" y="13192"/>
                  </a:lnTo>
                  <a:lnTo>
                    <a:pt x="25353" y="13192"/>
                  </a:lnTo>
                  <a:lnTo>
                    <a:pt x="25151" y="13192"/>
                  </a:lnTo>
                  <a:lnTo>
                    <a:pt x="25000" y="13192"/>
                  </a:lnTo>
                  <a:lnTo>
                    <a:pt x="24646" y="13192"/>
                  </a:lnTo>
                  <a:lnTo>
                    <a:pt x="24545" y="13192"/>
                  </a:lnTo>
                  <a:lnTo>
                    <a:pt x="24292" y="13192"/>
                  </a:lnTo>
                  <a:lnTo>
                    <a:pt x="24292" y="13192"/>
                  </a:lnTo>
                  <a:close/>
                  <a:moveTo>
                    <a:pt x="31464" y="21456"/>
                  </a:moveTo>
                  <a:lnTo>
                    <a:pt x="31464" y="21456"/>
                  </a:lnTo>
                  <a:lnTo>
                    <a:pt x="31464" y="21456"/>
                  </a:lnTo>
                  <a:lnTo>
                    <a:pt x="31565" y="21456"/>
                  </a:lnTo>
                  <a:lnTo>
                    <a:pt x="31565" y="21456"/>
                  </a:lnTo>
                  <a:lnTo>
                    <a:pt x="31666" y="21456"/>
                  </a:lnTo>
                  <a:lnTo>
                    <a:pt x="31818" y="21456"/>
                  </a:lnTo>
                  <a:lnTo>
                    <a:pt x="31919" y="21456"/>
                  </a:lnTo>
                  <a:lnTo>
                    <a:pt x="32020" y="21456"/>
                  </a:lnTo>
                  <a:lnTo>
                    <a:pt x="32373" y="21456"/>
                  </a:lnTo>
                  <a:lnTo>
                    <a:pt x="32525" y="21456"/>
                  </a:lnTo>
                  <a:lnTo>
                    <a:pt x="32525" y="21139"/>
                  </a:lnTo>
                  <a:lnTo>
                    <a:pt x="32373" y="21139"/>
                  </a:lnTo>
                  <a:lnTo>
                    <a:pt x="32272" y="20662"/>
                  </a:lnTo>
                  <a:lnTo>
                    <a:pt x="32272" y="20662"/>
                  </a:lnTo>
                  <a:lnTo>
                    <a:pt x="32171" y="20662"/>
                  </a:lnTo>
                  <a:lnTo>
                    <a:pt x="32020" y="20344"/>
                  </a:lnTo>
                  <a:lnTo>
                    <a:pt x="31919" y="20344"/>
                  </a:lnTo>
                  <a:lnTo>
                    <a:pt x="31919" y="20344"/>
                  </a:lnTo>
                  <a:lnTo>
                    <a:pt x="31565" y="20344"/>
                  </a:lnTo>
                  <a:lnTo>
                    <a:pt x="31464" y="20662"/>
                  </a:lnTo>
                  <a:lnTo>
                    <a:pt x="31313" y="20662"/>
                  </a:lnTo>
                  <a:lnTo>
                    <a:pt x="31464" y="21139"/>
                  </a:lnTo>
                  <a:lnTo>
                    <a:pt x="31464" y="21456"/>
                  </a:lnTo>
                  <a:close/>
                  <a:moveTo>
                    <a:pt x="36414" y="23682"/>
                  </a:moveTo>
                  <a:lnTo>
                    <a:pt x="36565" y="23682"/>
                  </a:lnTo>
                  <a:lnTo>
                    <a:pt x="36919" y="23682"/>
                  </a:lnTo>
                  <a:lnTo>
                    <a:pt x="37020" y="23682"/>
                  </a:lnTo>
                  <a:lnTo>
                    <a:pt x="37171" y="23364"/>
                  </a:lnTo>
                  <a:lnTo>
                    <a:pt x="37171" y="23364"/>
                  </a:lnTo>
                  <a:lnTo>
                    <a:pt x="37272" y="23046"/>
                  </a:lnTo>
                  <a:lnTo>
                    <a:pt x="37272" y="23046"/>
                  </a:lnTo>
                  <a:lnTo>
                    <a:pt x="37171" y="23046"/>
                  </a:lnTo>
                  <a:lnTo>
                    <a:pt x="36818" y="22569"/>
                  </a:lnTo>
                  <a:lnTo>
                    <a:pt x="36666" y="22569"/>
                  </a:lnTo>
                  <a:lnTo>
                    <a:pt x="36565" y="23046"/>
                  </a:lnTo>
                  <a:lnTo>
                    <a:pt x="36565" y="23046"/>
                  </a:lnTo>
                  <a:lnTo>
                    <a:pt x="36565" y="23364"/>
                  </a:lnTo>
                  <a:lnTo>
                    <a:pt x="36414" y="23364"/>
                  </a:lnTo>
                  <a:lnTo>
                    <a:pt x="36414" y="23682"/>
                  </a:lnTo>
                  <a:lnTo>
                    <a:pt x="36414" y="23682"/>
                  </a:lnTo>
                  <a:close/>
                  <a:moveTo>
                    <a:pt x="24393" y="27814"/>
                  </a:moveTo>
                  <a:lnTo>
                    <a:pt x="24292" y="27814"/>
                  </a:lnTo>
                  <a:lnTo>
                    <a:pt x="24292" y="27814"/>
                  </a:lnTo>
                  <a:lnTo>
                    <a:pt x="23939" y="27496"/>
                  </a:lnTo>
                  <a:lnTo>
                    <a:pt x="23838" y="27496"/>
                  </a:lnTo>
                  <a:lnTo>
                    <a:pt x="23484" y="26701"/>
                  </a:lnTo>
                  <a:lnTo>
                    <a:pt x="23131" y="26384"/>
                  </a:lnTo>
                  <a:lnTo>
                    <a:pt x="22878" y="25907"/>
                  </a:lnTo>
                  <a:lnTo>
                    <a:pt x="22626" y="25271"/>
                  </a:lnTo>
                  <a:lnTo>
                    <a:pt x="22626" y="25271"/>
                  </a:lnTo>
                  <a:lnTo>
                    <a:pt x="22525" y="24794"/>
                  </a:lnTo>
                  <a:lnTo>
                    <a:pt x="22373" y="24476"/>
                  </a:lnTo>
                  <a:lnTo>
                    <a:pt x="22373" y="24476"/>
                  </a:lnTo>
                  <a:lnTo>
                    <a:pt x="22373" y="24158"/>
                  </a:lnTo>
                  <a:lnTo>
                    <a:pt x="22373" y="24158"/>
                  </a:lnTo>
                  <a:lnTo>
                    <a:pt x="22373" y="23682"/>
                  </a:lnTo>
                  <a:lnTo>
                    <a:pt x="22272" y="23682"/>
                  </a:lnTo>
                  <a:lnTo>
                    <a:pt x="22272" y="23364"/>
                  </a:lnTo>
                  <a:lnTo>
                    <a:pt x="22272" y="23364"/>
                  </a:lnTo>
                  <a:lnTo>
                    <a:pt x="22272" y="23364"/>
                  </a:lnTo>
                  <a:lnTo>
                    <a:pt x="22272" y="23046"/>
                  </a:lnTo>
                  <a:lnTo>
                    <a:pt x="22272" y="23046"/>
                  </a:lnTo>
                  <a:lnTo>
                    <a:pt x="22272" y="23046"/>
                  </a:lnTo>
                  <a:lnTo>
                    <a:pt x="22373" y="23046"/>
                  </a:lnTo>
                  <a:lnTo>
                    <a:pt x="22373" y="22569"/>
                  </a:lnTo>
                  <a:lnTo>
                    <a:pt x="22373" y="22569"/>
                  </a:lnTo>
                  <a:lnTo>
                    <a:pt x="22373" y="22251"/>
                  </a:lnTo>
                  <a:lnTo>
                    <a:pt x="22373" y="22251"/>
                  </a:lnTo>
                  <a:lnTo>
                    <a:pt x="22626" y="22251"/>
                  </a:lnTo>
                  <a:lnTo>
                    <a:pt x="22626" y="22251"/>
                  </a:lnTo>
                  <a:lnTo>
                    <a:pt x="22626" y="22251"/>
                  </a:lnTo>
                  <a:lnTo>
                    <a:pt x="22626" y="21774"/>
                  </a:lnTo>
                  <a:lnTo>
                    <a:pt x="22525" y="21774"/>
                  </a:lnTo>
                  <a:lnTo>
                    <a:pt x="22525" y="21774"/>
                  </a:lnTo>
                  <a:lnTo>
                    <a:pt x="22626" y="21456"/>
                  </a:lnTo>
                  <a:lnTo>
                    <a:pt x="22626" y="21456"/>
                  </a:lnTo>
                  <a:lnTo>
                    <a:pt x="22626" y="21139"/>
                  </a:lnTo>
                  <a:lnTo>
                    <a:pt x="22626" y="21139"/>
                  </a:lnTo>
                  <a:lnTo>
                    <a:pt x="22373" y="21139"/>
                  </a:lnTo>
                  <a:lnTo>
                    <a:pt x="22171" y="21139"/>
                  </a:lnTo>
                  <a:lnTo>
                    <a:pt x="21919" y="21139"/>
                  </a:lnTo>
                  <a:lnTo>
                    <a:pt x="21818" y="20662"/>
                  </a:lnTo>
                  <a:lnTo>
                    <a:pt x="21565" y="20662"/>
                  </a:lnTo>
                  <a:lnTo>
                    <a:pt x="21565" y="20662"/>
                  </a:lnTo>
                  <a:lnTo>
                    <a:pt x="21464" y="20662"/>
                  </a:lnTo>
                  <a:lnTo>
                    <a:pt x="21212" y="21139"/>
                  </a:lnTo>
                  <a:lnTo>
                    <a:pt x="21212" y="21139"/>
                  </a:lnTo>
                  <a:lnTo>
                    <a:pt x="21060" y="21139"/>
                  </a:lnTo>
                  <a:lnTo>
                    <a:pt x="20959" y="21139"/>
                  </a:lnTo>
                  <a:lnTo>
                    <a:pt x="20858" y="21139"/>
                  </a:lnTo>
                  <a:lnTo>
                    <a:pt x="20858" y="21139"/>
                  </a:lnTo>
                  <a:lnTo>
                    <a:pt x="20707" y="21139"/>
                  </a:lnTo>
                  <a:lnTo>
                    <a:pt x="20606" y="21139"/>
                  </a:lnTo>
                  <a:lnTo>
                    <a:pt x="20606" y="21139"/>
                  </a:lnTo>
                  <a:lnTo>
                    <a:pt x="20606" y="21456"/>
                  </a:lnTo>
                  <a:lnTo>
                    <a:pt x="20606" y="21456"/>
                  </a:lnTo>
                  <a:lnTo>
                    <a:pt x="20606" y="21774"/>
                  </a:lnTo>
                  <a:lnTo>
                    <a:pt x="20606" y="21774"/>
                  </a:lnTo>
                  <a:lnTo>
                    <a:pt x="20707" y="21774"/>
                  </a:lnTo>
                  <a:lnTo>
                    <a:pt x="20707" y="21774"/>
                  </a:lnTo>
                  <a:lnTo>
                    <a:pt x="20606" y="21774"/>
                  </a:lnTo>
                  <a:lnTo>
                    <a:pt x="20505" y="21774"/>
                  </a:lnTo>
                  <a:lnTo>
                    <a:pt x="20505" y="21774"/>
                  </a:lnTo>
                  <a:lnTo>
                    <a:pt x="20353" y="22251"/>
                  </a:lnTo>
                  <a:lnTo>
                    <a:pt x="20252" y="22251"/>
                  </a:lnTo>
                  <a:lnTo>
                    <a:pt x="20252" y="22251"/>
                  </a:lnTo>
                  <a:lnTo>
                    <a:pt x="20252" y="22569"/>
                  </a:lnTo>
                  <a:lnTo>
                    <a:pt x="20353" y="22569"/>
                  </a:lnTo>
                  <a:lnTo>
                    <a:pt x="20353" y="22569"/>
                  </a:lnTo>
                  <a:lnTo>
                    <a:pt x="20606" y="22569"/>
                  </a:lnTo>
                  <a:lnTo>
                    <a:pt x="20505" y="23046"/>
                  </a:lnTo>
                  <a:lnTo>
                    <a:pt x="20505" y="23046"/>
                  </a:lnTo>
                  <a:lnTo>
                    <a:pt x="20606" y="23046"/>
                  </a:lnTo>
                  <a:lnTo>
                    <a:pt x="20505" y="23046"/>
                  </a:lnTo>
                  <a:lnTo>
                    <a:pt x="20505" y="23364"/>
                  </a:lnTo>
                  <a:lnTo>
                    <a:pt x="20505" y="23364"/>
                  </a:lnTo>
                  <a:lnTo>
                    <a:pt x="20505" y="23682"/>
                  </a:lnTo>
                  <a:lnTo>
                    <a:pt x="20505" y="23682"/>
                  </a:lnTo>
                  <a:lnTo>
                    <a:pt x="20505" y="23682"/>
                  </a:lnTo>
                  <a:lnTo>
                    <a:pt x="20353" y="23682"/>
                  </a:lnTo>
                  <a:lnTo>
                    <a:pt x="20353" y="24158"/>
                  </a:lnTo>
                  <a:lnTo>
                    <a:pt x="20353" y="24158"/>
                  </a:lnTo>
                  <a:lnTo>
                    <a:pt x="20353" y="24158"/>
                  </a:lnTo>
                  <a:lnTo>
                    <a:pt x="20252" y="24158"/>
                  </a:lnTo>
                  <a:lnTo>
                    <a:pt x="20000" y="24158"/>
                  </a:lnTo>
                  <a:lnTo>
                    <a:pt x="20000" y="24158"/>
                  </a:lnTo>
                  <a:lnTo>
                    <a:pt x="19898" y="24158"/>
                  </a:lnTo>
                  <a:lnTo>
                    <a:pt x="19898" y="24158"/>
                  </a:lnTo>
                  <a:lnTo>
                    <a:pt x="19898" y="24476"/>
                  </a:lnTo>
                  <a:lnTo>
                    <a:pt x="19898" y="24476"/>
                  </a:lnTo>
                  <a:lnTo>
                    <a:pt x="19898" y="24794"/>
                  </a:lnTo>
                  <a:lnTo>
                    <a:pt x="19898" y="25271"/>
                  </a:lnTo>
                  <a:lnTo>
                    <a:pt x="20000" y="25589"/>
                  </a:lnTo>
                  <a:lnTo>
                    <a:pt x="20000" y="25589"/>
                  </a:lnTo>
                  <a:lnTo>
                    <a:pt x="20151" y="25589"/>
                  </a:lnTo>
                  <a:lnTo>
                    <a:pt x="20252" y="25907"/>
                  </a:lnTo>
                  <a:lnTo>
                    <a:pt x="20353" y="25907"/>
                  </a:lnTo>
                  <a:lnTo>
                    <a:pt x="20505" y="25907"/>
                  </a:lnTo>
                  <a:lnTo>
                    <a:pt x="20606" y="25589"/>
                  </a:lnTo>
                  <a:lnTo>
                    <a:pt x="20858" y="25907"/>
                  </a:lnTo>
                  <a:lnTo>
                    <a:pt x="20959" y="25907"/>
                  </a:lnTo>
                  <a:lnTo>
                    <a:pt x="21212" y="25589"/>
                  </a:lnTo>
                  <a:lnTo>
                    <a:pt x="21313" y="25589"/>
                  </a:lnTo>
                  <a:lnTo>
                    <a:pt x="21212" y="25907"/>
                  </a:lnTo>
                  <a:lnTo>
                    <a:pt x="21313" y="25907"/>
                  </a:lnTo>
                  <a:lnTo>
                    <a:pt x="21313" y="26384"/>
                  </a:lnTo>
                  <a:lnTo>
                    <a:pt x="21464" y="26384"/>
                  </a:lnTo>
                  <a:lnTo>
                    <a:pt x="21464" y="26384"/>
                  </a:lnTo>
                  <a:lnTo>
                    <a:pt x="21464" y="26384"/>
                  </a:lnTo>
                  <a:lnTo>
                    <a:pt x="21666" y="26701"/>
                  </a:lnTo>
                  <a:lnTo>
                    <a:pt x="21919" y="26701"/>
                  </a:lnTo>
                  <a:lnTo>
                    <a:pt x="21919" y="27178"/>
                  </a:lnTo>
                  <a:lnTo>
                    <a:pt x="21818" y="26701"/>
                  </a:lnTo>
                  <a:lnTo>
                    <a:pt x="21666" y="26701"/>
                  </a:lnTo>
                  <a:lnTo>
                    <a:pt x="21818" y="27178"/>
                  </a:lnTo>
                  <a:lnTo>
                    <a:pt x="21565" y="27178"/>
                  </a:lnTo>
                  <a:lnTo>
                    <a:pt x="21565" y="27178"/>
                  </a:lnTo>
                  <a:lnTo>
                    <a:pt x="21565" y="27178"/>
                  </a:lnTo>
                  <a:lnTo>
                    <a:pt x="21666" y="27496"/>
                  </a:lnTo>
                  <a:lnTo>
                    <a:pt x="21666" y="27496"/>
                  </a:lnTo>
                  <a:lnTo>
                    <a:pt x="21565" y="27496"/>
                  </a:lnTo>
                  <a:lnTo>
                    <a:pt x="21464" y="27496"/>
                  </a:lnTo>
                  <a:lnTo>
                    <a:pt x="21818" y="27814"/>
                  </a:lnTo>
                  <a:lnTo>
                    <a:pt x="22020" y="27814"/>
                  </a:lnTo>
                  <a:lnTo>
                    <a:pt x="22171" y="27814"/>
                  </a:lnTo>
                  <a:lnTo>
                    <a:pt x="22272" y="28291"/>
                  </a:lnTo>
                  <a:lnTo>
                    <a:pt x="22373" y="28291"/>
                  </a:lnTo>
                  <a:lnTo>
                    <a:pt x="22373" y="27814"/>
                  </a:lnTo>
                  <a:lnTo>
                    <a:pt x="22373" y="27814"/>
                  </a:lnTo>
                  <a:lnTo>
                    <a:pt x="22525" y="28291"/>
                  </a:lnTo>
                  <a:lnTo>
                    <a:pt x="22626" y="28291"/>
                  </a:lnTo>
                  <a:lnTo>
                    <a:pt x="22878" y="28291"/>
                  </a:lnTo>
                  <a:lnTo>
                    <a:pt x="23131" y="28291"/>
                  </a:lnTo>
                  <a:lnTo>
                    <a:pt x="23131" y="28291"/>
                  </a:lnTo>
                  <a:lnTo>
                    <a:pt x="23131" y="28291"/>
                  </a:lnTo>
                  <a:lnTo>
                    <a:pt x="23232" y="28291"/>
                  </a:lnTo>
                  <a:lnTo>
                    <a:pt x="23232" y="28291"/>
                  </a:lnTo>
                  <a:lnTo>
                    <a:pt x="23333" y="28291"/>
                  </a:lnTo>
                  <a:lnTo>
                    <a:pt x="23333" y="28291"/>
                  </a:lnTo>
                  <a:lnTo>
                    <a:pt x="23484" y="28291"/>
                  </a:lnTo>
                  <a:lnTo>
                    <a:pt x="23484" y="28291"/>
                  </a:lnTo>
                  <a:lnTo>
                    <a:pt x="23686" y="28609"/>
                  </a:lnTo>
                  <a:lnTo>
                    <a:pt x="23686" y="28291"/>
                  </a:lnTo>
                  <a:lnTo>
                    <a:pt x="23686" y="28291"/>
                  </a:lnTo>
                  <a:lnTo>
                    <a:pt x="23585" y="28291"/>
                  </a:lnTo>
                  <a:lnTo>
                    <a:pt x="23585" y="28291"/>
                  </a:lnTo>
                  <a:lnTo>
                    <a:pt x="23484" y="27814"/>
                  </a:lnTo>
                  <a:lnTo>
                    <a:pt x="23585" y="27814"/>
                  </a:lnTo>
                  <a:lnTo>
                    <a:pt x="23585" y="27814"/>
                  </a:lnTo>
                  <a:lnTo>
                    <a:pt x="23686" y="28291"/>
                  </a:lnTo>
                  <a:lnTo>
                    <a:pt x="23686" y="28291"/>
                  </a:lnTo>
                  <a:lnTo>
                    <a:pt x="23838" y="28291"/>
                  </a:lnTo>
                  <a:lnTo>
                    <a:pt x="24040" y="28291"/>
                  </a:lnTo>
                  <a:lnTo>
                    <a:pt x="24191" y="28291"/>
                  </a:lnTo>
                  <a:lnTo>
                    <a:pt x="24191" y="28291"/>
                  </a:lnTo>
                  <a:lnTo>
                    <a:pt x="24292" y="28291"/>
                  </a:lnTo>
                  <a:lnTo>
                    <a:pt x="24393" y="27814"/>
                  </a:lnTo>
                  <a:close/>
                  <a:moveTo>
                    <a:pt x="26565" y="30039"/>
                  </a:moveTo>
                  <a:lnTo>
                    <a:pt x="26565" y="30039"/>
                  </a:lnTo>
                  <a:lnTo>
                    <a:pt x="26313" y="30039"/>
                  </a:lnTo>
                  <a:lnTo>
                    <a:pt x="26212" y="29721"/>
                  </a:lnTo>
                  <a:lnTo>
                    <a:pt x="25959" y="29403"/>
                  </a:lnTo>
                  <a:lnTo>
                    <a:pt x="25858" y="29403"/>
                  </a:lnTo>
                  <a:lnTo>
                    <a:pt x="25707" y="28927"/>
                  </a:lnTo>
                  <a:lnTo>
                    <a:pt x="25606" y="28927"/>
                  </a:lnTo>
                  <a:lnTo>
                    <a:pt x="25505" y="28609"/>
                  </a:lnTo>
                  <a:lnTo>
                    <a:pt x="25505" y="28609"/>
                  </a:lnTo>
                  <a:lnTo>
                    <a:pt x="25353" y="28609"/>
                  </a:lnTo>
                  <a:lnTo>
                    <a:pt x="25252" y="28609"/>
                  </a:lnTo>
                  <a:lnTo>
                    <a:pt x="25252" y="28927"/>
                  </a:lnTo>
                  <a:lnTo>
                    <a:pt x="25252" y="28927"/>
                  </a:lnTo>
                  <a:lnTo>
                    <a:pt x="25151" y="28927"/>
                  </a:lnTo>
                  <a:lnTo>
                    <a:pt x="25151" y="29403"/>
                  </a:lnTo>
                  <a:lnTo>
                    <a:pt x="25252" y="29721"/>
                  </a:lnTo>
                  <a:lnTo>
                    <a:pt x="25252" y="29721"/>
                  </a:lnTo>
                  <a:lnTo>
                    <a:pt x="25252" y="29721"/>
                  </a:lnTo>
                  <a:lnTo>
                    <a:pt x="25353" y="29721"/>
                  </a:lnTo>
                  <a:lnTo>
                    <a:pt x="25606" y="30039"/>
                  </a:lnTo>
                  <a:lnTo>
                    <a:pt x="25606" y="30516"/>
                  </a:lnTo>
                  <a:lnTo>
                    <a:pt x="25707" y="30039"/>
                  </a:lnTo>
                  <a:lnTo>
                    <a:pt x="25707" y="30039"/>
                  </a:lnTo>
                  <a:lnTo>
                    <a:pt x="25858" y="30039"/>
                  </a:lnTo>
                  <a:lnTo>
                    <a:pt x="25858" y="30516"/>
                  </a:lnTo>
                  <a:lnTo>
                    <a:pt x="25959" y="30516"/>
                  </a:lnTo>
                  <a:lnTo>
                    <a:pt x="26060" y="30516"/>
                  </a:lnTo>
                  <a:lnTo>
                    <a:pt x="26060" y="30834"/>
                  </a:lnTo>
                  <a:lnTo>
                    <a:pt x="26060" y="30834"/>
                  </a:lnTo>
                  <a:lnTo>
                    <a:pt x="26212" y="30834"/>
                  </a:lnTo>
                  <a:lnTo>
                    <a:pt x="26212" y="30834"/>
                  </a:lnTo>
                  <a:lnTo>
                    <a:pt x="26313" y="30834"/>
                  </a:lnTo>
                  <a:lnTo>
                    <a:pt x="26464" y="30834"/>
                  </a:lnTo>
                  <a:lnTo>
                    <a:pt x="26565" y="30834"/>
                  </a:lnTo>
                  <a:lnTo>
                    <a:pt x="26565" y="30834"/>
                  </a:lnTo>
                  <a:lnTo>
                    <a:pt x="26666" y="30834"/>
                  </a:lnTo>
                  <a:lnTo>
                    <a:pt x="26666" y="30516"/>
                  </a:lnTo>
                  <a:lnTo>
                    <a:pt x="26666" y="30516"/>
                  </a:lnTo>
                  <a:lnTo>
                    <a:pt x="26565" y="30039"/>
                  </a:lnTo>
                  <a:close/>
                  <a:moveTo>
                    <a:pt x="30353" y="28609"/>
                  </a:moveTo>
                  <a:lnTo>
                    <a:pt x="30505" y="28609"/>
                  </a:lnTo>
                  <a:lnTo>
                    <a:pt x="30505" y="28609"/>
                  </a:lnTo>
                  <a:lnTo>
                    <a:pt x="30505" y="28609"/>
                  </a:lnTo>
                  <a:lnTo>
                    <a:pt x="30252" y="28291"/>
                  </a:lnTo>
                  <a:lnTo>
                    <a:pt x="30252" y="27814"/>
                  </a:lnTo>
                  <a:lnTo>
                    <a:pt x="30252" y="27814"/>
                  </a:lnTo>
                  <a:lnTo>
                    <a:pt x="30252" y="27814"/>
                  </a:lnTo>
                  <a:lnTo>
                    <a:pt x="30252" y="27814"/>
                  </a:lnTo>
                  <a:lnTo>
                    <a:pt x="30353" y="28291"/>
                  </a:lnTo>
                  <a:lnTo>
                    <a:pt x="30353" y="28609"/>
                  </a:lnTo>
                  <a:close/>
                  <a:moveTo>
                    <a:pt x="34292" y="21774"/>
                  </a:moveTo>
                  <a:lnTo>
                    <a:pt x="34545" y="21774"/>
                  </a:lnTo>
                  <a:lnTo>
                    <a:pt x="34545" y="22251"/>
                  </a:lnTo>
                  <a:lnTo>
                    <a:pt x="34646" y="22251"/>
                  </a:lnTo>
                  <a:lnTo>
                    <a:pt x="34646" y="22251"/>
                  </a:lnTo>
                  <a:lnTo>
                    <a:pt x="34646" y="21774"/>
                  </a:lnTo>
                  <a:lnTo>
                    <a:pt x="34646" y="21774"/>
                  </a:lnTo>
                  <a:lnTo>
                    <a:pt x="34545" y="21774"/>
                  </a:lnTo>
                  <a:lnTo>
                    <a:pt x="34646" y="21774"/>
                  </a:lnTo>
                  <a:lnTo>
                    <a:pt x="34747" y="21456"/>
                  </a:lnTo>
                  <a:lnTo>
                    <a:pt x="34545" y="21456"/>
                  </a:lnTo>
                  <a:lnTo>
                    <a:pt x="34393" y="21456"/>
                  </a:lnTo>
                  <a:lnTo>
                    <a:pt x="34292" y="21456"/>
                  </a:lnTo>
                  <a:lnTo>
                    <a:pt x="34191" y="21456"/>
                  </a:lnTo>
                  <a:lnTo>
                    <a:pt x="34191" y="21456"/>
                  </a:lnTo>
                  <a:lnTo>
                    <a:pt x="34191" y="21774"/>
                  </a:lnTo>
                  <a:lnTo>
                    <a:pt x="34292" y="21774"/>
                  </a:lnTo>
                  <a:close/>
                  <a:moveTo>
                    <a:pt x="76767" y="25589"/>
                  </a:moveTo>
                  <a:lnTo>
                    <a:pt x="76666" y="25589"/>
                  </a:lnTo>
                  <a:lnTo>
                    <a:pt x="76666" y="25589"/>
                  </a:lnTo>
                  <a:lnTo>
                    <a:pt x="76666" y="25589"/>
                  </a:lnTo>
                  <a:lnTo>
                    <a:pt x="76767" y="25907"/>
                  </a:lnTo>
                  <a:lnTo>
                    <a:pt x="76919" y="25907"/>
                  </a:lnTo>
                  <a:lnTo>
                    <a:pt x="76919" y="25907"/>
                  </a:lnTo>
                  <a:lnTo>
                    <a:pt x="77020" y="25907"/>
                  </a:lnTo>
                  <a:lnTo>
                    <a:pt x="77020" y="25907"/>
                  </a:lnTo>
                  <a:lnTo>
                    <a:pt x="77020" y="25907"/>
                  </a:lnTo>
                  <a:lnTo>
                    <a:pt x="77171" y="25907"/>
                  </a:lnTo>
                  <a:lnTo>
                    <a:pt x="77272" y="25907"/>
                  </a:lnTo>
                  <a:lnTo>
                    <a:pt x="77272" y="25907"/>
                  </a:lnTo>
                  <a:lnTo>
                    <a:pt x="77272" y="25589"/>
                  </a:lnTo>
                  <a:lnTo>
                    <a:pt x="77171" y="25589"/>
                  </a:lnTo>
                  <a:lnTo>
                    <a:pt x="77171" y="25589"/>
                  </a:lnTo>
                  <a:lnTo>
                    <a:pt x="76767" y="25589"/>
                  </a:lnTo>
                  <a:lnTo>
                    <a:pt x="76767" y="25589"/>
                  </a:lnTo>
                  <a:close/>
                  <a:moveTo>
                    <a:pt x="72272" y="14304"/>
                  </a:moveTo>
                  <a:lnTo>
                    <a:pt x="72373" y="14304"/>
                  </a:lnTo>
                  <a:lnTo>
                    <a:pt x="72171" y="14304"/>
                  </a:lnTo>
                  <a:lnTo>
                    <a:pt x="72171" y="14304"/>
                  </a:lnTo>
                  <a:lnTo>
                    <a:pt x="72373" y="15099"/>
                  </a:lnTo>
                  <a:lnTo>
                    <a:pt x="72626" y="15417"/>
                  </a:lnTo>
                  <a:lnTo>
                    <a:pt x="72525" y="15417"/>
                  </a:lnTo>
                  <a:lnTo>
                    <a:pt x="72373" y="15417"/>
                  </a:lnTo>
                  <a:lnTo>
                    <a:pt x="72373" y="15417"/>
                  </a:lnTo>
                  <a:lnTo>
                    <a:pt x="72525" y="15894"/>
                  </a:lnTo>
                  <a:lnTo>
                    <a:pt x="72626" y="15894"/>
                  </a:lnTo>
                  <a:lnTo>
                    <a:pt x="72878" y="16211"/>
                  </a:lnTo>
                  <a:lnTo>
                    <a:pt x="73080" y="16211"/>
                  </a:lnTo>
                  <a:lnTo>
                    <a:pt x="73232" y="16211"/>
                  </a:lnTo>
                  <a:lnTo>
                    <a:pt x="73232" y="16529"/>
                  </a:lnTo>
                  <a:lnTo>
                    <a:pt x="73585" y="17006"/>
                  </a:lnTo>
                  <a:lnTo>
                    <a:pt x="73686" y="17006"/>
                  </a:lnTo>
                  <a:lnTo>
                    <a:pt x="73838" y="17006"/>
                  </a:lnTo>
                  <a:lnTo>
                    <a:pt x="74393" y="17324"/>
                  </a:lnTo>
                  <a:lnTo>
                    <a:pt x="74545" y="17324"/>
                  </a:lnTo>
                  <a:lnTo>
                    <a:pt x="74545" y="17324"/>
                  </a:lnTo>
                  <a:lnTo>
                    <a:pt x="74646" y="17324"/>
                  </a:lnTo>
                  <a:lnTo>
                    <a:pt x="74646" y="17324"/>
                  </a:lnTo>
                  <a:lnTo>
                    <a:pt x="74646" y="17006"/>
                  </a:lnTo>
                  <a:lnTo>
                    <a:pt x="74646" y="17006"/>
                  </a:lnTo>
                  <a:lnTo>
                    <a:pt x="74545" y="16529"/>
                  </a:lnTo>
                  <a:lnTo>
                    <a:pt x="74545" y="16529"/>
                  </a:lnTo>
                  <a:lnTo>
                    <a:pt x="74545" y="16529"/>
                  </a:lnTo>
                  <a:lnTo>
                    <a:pt x="74646" y="16529"/>
                  </a:lnTo>
                  <a:lnTo>
                    <a:pt x="74898" y="16529"/>
                  </a:lnTo>
                  <a:lnTo>
                    <a:pt x="75101" y="17006"/>
                  </a:lnTo>
                  <a:lnTo>
                    <a:pt x="75252" y="17006"/>
                  </a:lnTo>
                  <a:lnTo>
                    <a:pt x="75353" y="16529"/>
                  </a:lnTo>
                  <a:lnTo>
                    <a:pt x="75707" y="16529"/>
                  </a:lnTo>
                  <a:lnTo>
                    <a:pt x="75707" y="16529"/>
                  </a:lnTo>
                  <a:lnTo>
                    <a:pt x="75858" y="16529"/>
                  </a:lnTo>
                  <a:lnTo>
                    <a:pt x="75959" y="16529"/>
                  </a:lnTo>
                  <a:lnTo>
                    <a:pt x="76060" y="16529"/>
                  </a:lnTo>
                  <a:lnTo>
                    <a:pt x="76212" y="16529"/>
                  </a:lnTo>
                  <a:lnTo>
                    <a:pt x="76313" y="17006"/>
                  </a:lnTo>
                  <a:lnTo>
                    <a:pt x="76414" y="17006"/>
                  </a:lnTo>
                  <a:lnTo>
                    <a:pt x="76565" y="17006"/>
                  </a:lnTo>
                  <a:lnTo>
                    <a:pt x="76565" y="17006"/>
                  </a:lnTo>
                  <a:lnTo>
                    <a:pt x="76666" y="17006"/>
                  </a:lnTo>
                  <a:lnTo>
                    <a:pt x="76767" y="16529"/>
                  </a:lnTo>
                  <a:lnTo>
                    <a:pt x="76565" y="16211"/>
                  </a:lnTo>
                  <a:lnTo>
                    <a:pt x="76313" y="16211"/>
                  </a:lnTo>
                  <a:lnTo>
                    <a:pt x="76212" y="16211"/>
                  </a:lnTo>
                  <a:lnTo>
                    <a:pt x="75707" y="15417"/>
                  </a:lnTo>
                  <a:lnTo>
                    <a:pt x="75606" y="15417"/>
                  </a:lnTo>
                  <a:lnTo>
                    <a:pt x="75606" y="15099"/>
                  </a:lnTo>
                  <a:lnTo>
                    <a:pt x="75252" y="14622"/>
                  </a:lnTo>
                  <a:lnTo>
                    <a:pt x="75353" y="14622"/>
                  </a:lnTo>
                  <a:lnTo>
                    <a:pt x="75505" y="14622"/>
                  </a:lnTo>
                  <a:lnTo>
                    <a:pt x="75707" y="14622"/>
                  </a:lnTo>
                  <a:lnTo>
                    <a:pt x="75858" y="14622"/>
                  </a:lnTo>
                  <a:lnTo>
                    <a:pt x="75858" y="14622"/>
                  </a:lnTo>
                  <a:lnTo>
                    <a:pt x="75858" y="15099"/>
                  </a:lnTo>
                  <a:lnTo>
                    <a:pt x="75858" y="15099"/>
                  </a:lnTo>
                  <a:lnTo>
                    <a:pt x="75959" y="15099"/>
                  </a:lnTo>
                  <a:lnTo>
                    <a:pt x="76060" y="15417"/>
                  </a:lnTo>
                  <a:lnTo>
                    <a:pt x="76212" y="15894"/>
                  </a:lnTo>
                  <a:lnTo>
                    <a:pt x="76313" y="15894"/>
                  </a:lnTo>
                  <a:lnTo>
                    <a:pt x="76565" y="16211"/>
                  </a:lnTo>
                  <a:lnTo>
                    <a:pt x="76767" y="16211"/>
                  </a:lnTo>
                  <a:lnTo>
                    <a:pt x="76919" y="16211"/>
                  </a:lnTo>
                  <a:lnTo>
                    <a:pt x="77272" y="16211"/>
                  </a:lnTo>
                  <a:lnTo>
                    <a:pt x="77373" y="16211"/>
                  </a:lnTo>
                  <a:lnTo>
                    <a:pt x="77373" y="16211"/>
                  </a:lnTo>
                  <a:lnTo>
                    <a:pt x="77525" y="15894"/>
                  </a:lnTo>
                  <a:lnTo>
                    <a:pt x="77373" y="15417"/>
                  </a:lnTo>
                  <a:lnTo>
                    <a:pt x="77272" y="15417"/>
                  </a:lnTo>
                  <a:lnTo>
                    <a:pt x="77272" y="15417"/>
                  </a:lnTo>
                  <a:lnTo>
                    <a:pt x="77272" y="15099"/>
                  </a:lnTo>
                  <a:lnTo>
                    <a:pt x="77525" y="15099"/>
                  </a:lnTo>
                  <a:lnTo>
                    <a:pt x="77373" y="15099"/>
                  </a:lnTo>
                  <a:lnTo>
                    <a:pt x="77373" y="15099"/>
                  </a:lnTo>
                  <a:lnTo>
                    <a:pt x="75959" y="14304"/>
                  </a:lnTo>
                  <a:lnTo>
                    <a:pt x="75959" y="14304"/>
                  </a:lnTo>
                  <a:lnTo>
                    <a:pt x="75858" y="14304"/>
                  </a:lnTo>
                  <a:lnTo>
                    <a:pt x="75707" y="14304"/>
                  </a:lnTo>
                  <a:lnTo>
                    <a:pt x="75606" y="14304"/>
                  </a:lnTo>
                  <a:lnTo>
                    <a:pt x="75353" y="14304"/>
                  </a:lnTo>
                  <a:lnTo>
                    <a:pt x="75101" y="13986"/>
                  </a:lnTo>
                  <a:lnTo>
                    <a:pt x="74747" y="13509"/>
                  </a:lnTo>
                  <a:lnTo>
                    <a:pt x="74545" y="13509"/>
                  </a:lnTo>
                  <a:lnTo>
                    <a:pt x="74292" y="13509"/>
                  </a:lnTo>
                  <a:lnTo>
                    <a:pt x="74292" y="13509"/>
                  </a:lnTo>
                  <a:lnTo>
                    <a:pt x="74191" y="13986"/>
                  </a:lnTo>
                  <a:lnTo>
                    <a:pt x="74191" y="13986"/>
                  </a:lnTo>
                  <a:lnTo>
                    <a:pt x="74191" y="13986"/>
                  </a:lnTo>
                  <a:lnTo>
                    <a:pt x="74292" y="14304"/>
                  </a:lnTo>
                  <a:lnTo>
                    <a:pt x="74393" y="14304"/>
                  </a:lnTo>
                  <a:lnTo>
                    <a:pt x="74393" y="14304"/>
                  </a:lnTo>
                  <a:lnTo>
                    <a:pt x="74545" y="14622"/>
                  </a:lnTo>
                  <a:lnTo>
                    <a:pt x="74545" y="14622"/>
                  </a:lnTo>
                  <a:lnTo>
                    <a:pt x="74545" y="14622"/>
                  </a:lnTo>
                  <a:lnTo>
                    <a:pt x="74393" y="14622"/>
                  </a:lnTo>
                  <a:lnTo>
                    <a:pt x="74292" y="14622"/>
                  </a:lnTo>
                  <a:lnTo>
                    <a:pt x="74292" y="14622"/>
                  </a:lnTo>
                  <a:lnTo>
                    <a:pt x="74191" y="14622"/>
                  </a:lnTo>
                  <a:lnTo>
                    <a:pt x="74040" y="14304"/>
                  </a:lnTo>
                  <a:lnTo>
                    <a:pt x="73939" y="14304"/>
                  </a:lnTo>
                  <a:lnTo>
                    <a:pt x="73838" y="14304"/>
                  </a:lnTo>
                  <a:lnTo>
                    <a:pt x="73838" y="14304"/>
                  </a:lnTo>
                  <a:lnTo>
                    <a:pt x="73434" y="13986"/>
                  </a:lnTo>
                  <a:lnTo>
                    <a:pt x="73232" y="13986"/>
                  </a:lnTo>
                  <a:lnTo>
                    <a:pt x="72979" y="13509"/>
                  </a:lnTo>
                  <a:lnTo>
                    <a:pt x="72878" y="13509"/>
                  </a:lnTo>
                  <a:lnTo>
                    <a:pt x="72727" y="13509"/>
                  </a:lnTo>
                  <a:lnTo>
                    <a:pt x="72626" y="13192"/>
                  </a:lnTo>
                  <a:lnTo>
                    <a:pt x="72525" y="13192"/>
                  </a:lnTo>
                  <a:lnTo>
                    <a:pt x="72373" y="13509"/>
                  </a:lnTo>
                  <a:lnTo>
                    <a:pt x="72272" y="13509"/>
                  </a:lnTo>
                  <a:lnTo>
                    <a:pt x="72272" y="13509"/>
                  </a:lnTo>
                  <a:lnTo>
                    <a:pt x="72272" y="13509"/>
                  </a:lnTo>
                  <a:lnTo>
                    <a:pt x="72272" y="13509"/>
                  </a:lnTo>
                  <a:lnTo>
                    <a:pt x="72171" y="13986"/>
                  </a:lnTo>
                  <a:lnTo>
                    <a:pt x="72020" y="13986"/>
                  </a:lnTo>
                  <a:lnTo>
                    <a:pt x="72020" y="13986"/>
                  </a:lnTo>
                  <a:lnTo>
                    <a:pt x="72020" y="13986"/>
                  </a:lnTo>
                  <a:lnTo>
                    <a:pt x="72272" y="14304"/>
                  </a:lnTo>
                  <a:close/>
                  <a:moveTo>
                    <a:pt x="76565" y="18913"/>
                  </a:moveTo>
                  <a:lnTo>
                    <a:pt x="76414" y="18437"/>
                  </a:lnTo>
                  <a:lnTo>
                    <a:pt x="76313" y="18437"/>
                  </a:lnTo>
                  <a:lnTo>
                    <a:pt x="76313" y="18437"/>
                  </a:lnTo>
                  <a:lnTo>
                    <a:pt x="76212" y="18437"/>
                  </a:lnTo>
                  <a:lnTo>
                    <a:pt x="76212" y="18437"/>
                  </a:lnTo>
                  <a:lnTo>
                    <a:pt x="75858" y="18437"/>
                  </a:lnTo>
                  <a:lnTo>
                    <a:pt x="75858" y="18437"/>
                  </a:lnTo>
                  <a:lnTo>
                    <a:pt x="75707" y="18437"/>
                  </a:lnTo>
                  <a:lnTo>
                    <a:pt x="75707" y="18437"/>
                  </a:lnTo>
                  <a:lnTo>
                    <a:pt x="76060" y="19231"/>
                  </a:lnTo>
                  <a:lnTo>
                    <a:pt x="76313" y="19231"/>
                  </a:lnTo>
                  <a:lnTo>
                    <a:pt x="76313" y="19231"/>
                  </a:lnTo>
                  <a:lnTo>
                    <a:pt x="76565" y="19231"/>
                  </a:lnTo>
                  <a:lnTo>
                    <a:pt x="76565" y="18913"/>
                  </a:lnTo>
                  <a:close/>
                  <a:moveTo>
                    <a:pt x="77272" y="19231"/>
                  </a:moveTo>
                  <a:lnTo>
                    <a:pt x="77171" y="19231"/>
                  </a:lnTo>
                  <a:lnTo>
                    <a:pt x="76919" y="19549"/>
                  </a:lnTo>
                  <a:lnTo>
                    <a:pt x="76767" y="19549"/>
                  </a:lnTo>
                  <a:lnTo>
                    <a:pt x="76767" y="19549"/>
                  </a:lnTo>
                  <a:lnTo>
                    <a:pt x="76767" y="19549"/>
                  </a:lnTo>
                  <a:lnTo>
                    <a:pt x="76767" y="19549"/>
                  </a:lnTo>
                  <a:lnTo>
                    <a:pt x="76767" y="20026"/>
                  </a:lnTo>
                  <a:lnTo>
                    <a:pt x="76767" y="20344"/>
                  </a:lnTo>
                  <a:lnTo>
                    <a:pt x="76767" y="20344"/>
                  </a:lnTo>
                  <a:lnTo>
                    <a:pt x="76666" y="20344"/>
                  </a:lnTo>
                  <a:lnTo>
                    <a:pt x="76414" y="20662"/>
                  </a:lnTo>
                  <a:lnTo>
                    <a:pt x="76313" y="20662"/>
                  </a:lnTo>
                  <a:lnTo>
                    <a:pt x="76565" y="20662"/>
                  </a:lnTo>
                  <a:lnTo>
                    <a:pt x="76565" y="20662"/>
                  </a:lnTo>
                  <a:lnTo>
                    <a:pt x="76666" y="20662"/>
                  </a:lnTo>
                  <a:lnTo>
                    <a:pt x="76767" y="20662"/>
                  </a:lnTo>
                  <a:lnTo>
                    <a:pt x="76919" y="20662"/>
                  </a:lnTo>
                  <a:lnTo>
                    <a:pt x="77020" y="20662"/>
                  </a:lnTo>
                  <a:lnTo>
                    <a:pt x="77373" y="20662"/>
                  </a:lnTo>
                  <a:lnTo>
                    <a:pt x="77727" y="21139"/>
                  </a:lnTo>
                  <a:lnTo>
                    <a:pt x="78080" y="21139"/>
                  </a:lnTo>
                  <a:lnTo>
                    <a:pt x="78333" y="21139"/>
                  </a:lnTo>
                  <a:lnTo>
                    <a:pt x="78434" y="21139"/>
                  </a:lnTo>
                  <a:lnTo>
                    <a:pt x="78585" y="21139"/>
                  </a:lnTo>
                  <a:lnTo>
                    <a:pt x="78838" y="21139"/>
                  </a:lnTo>
                  <a:lnTo>
                    <a:pt x="79040" y="21139"/>
                  </a:lnTo>
                  <a:lnTo>
                    <a:pt x="79040" y="21139"/>
                  </a:lnTo>
                  <a:lnTo>
                    <a:pt x="78838" y="20344"/>
                  </a:lnTo>
                  <a:lnTo>
                    <a:pt x="78686" y="20344"/>
                  </a:lnTo>
                  <a:lnTo>
                    <a:pt x="78585" y="20344"/>
                  </a:lnTo>
                  <a:lnTo>
                    <a:pt x="77878" y="19549"/>
                  </a:lnTo>
                  <a:lnTo>
                    <a:pt x="77626" y="19549"/>
                  </a:lnTo>
                  <a:lnTo>
                    <a:pt x="77373" y="19231"/>
                  </a:lnTo>
                  <a:lnTo>
                    <a:pt x="77272" y="19231"/>
                  </a:lnTo>
                  <a:close/>
                  <a:moveTo>
                    <a:pt x="104898" y="27178"/>
                  </a:moveTo>
                  <a:lnTo>
                    <a:pt x="104898" y="27178"/>
                  </a:lnTo>
                  <a:lnTo>
                    <a:pt x="105000" y="27178"/>
                  </a:lnTo>
                  <a:lnTo>
                    <a:pt x="105353" y="27814"/>
                  </a:lnTo>
                  <a:lnTo>
                    <a:pt x="105353" y="27814"/>
                  </a:lnTo>
                  <a:lnTo>
                    <a:pt x="105454" y="27496"/>
                  </a:lnTo>
                  <a:lnTo>
                    <a:pt x="105858" y="27496"/>
                  </a:lnTo>
                  <a:lnTo>
                    <a:pt x="105858" y="27178"/>
                  </a:lnTo>
                  <a:lnTo>
                    <a:pt x="105858" y="27178"/>
                  </a:lnTo>
                  <a:lnTo>
                    <a:pt x="105959" y="27178"/>
                  </a:lnTo>
                  <a:lnTo>
                    <a:pt x="106060" y="27178"/>
                  </a:lnTo>
                  <a:lnTo>
                    <a:pt x="106313" y="27496"/>
                  </a:lnTo>
                  <a:lnTo>
                    <a:pt x="106414" y="27496"/>
                  </a:lnTo>
                  <a:lnTo>
                    <a:pt x="106565" y="27496"/>
                  </a:lnTo>
                  <a:lnTo>
                    <a:pt x="106767" y="27178"/>
                  </a:lnTo>
                  <a:lnTo>
                    <a:pt x="107121" y="27178"/>
                  </a:lnTo>
                  <a:lnTo>
                    <a:pt x="107272" y="27178"/>
                  </a:lnTo>
                  <a:lnTo>
                    <a:pt x="107272" y="26701"/>
                  </a:lnTo>
                  <a:lnTo>
                    <a:pt x="107272" y="26701"/>
                  </a:lnTo>
                  <a:lnTo>
                    <a:pt x="107121" y="26384"/>
                  </a:lnTo>
                  <a:lnTo>
                    <a:pt x="107121" y="26384"/>
                  </a:lnTo>
                  <a:lnTo>
                    <a:pt x="106919" y="26384"/>
                  </a:lnTo>
                  <a:lnTo>
                    <a:pt x="106666" y="25907"/>
                  </a:lnTo>
                  <a:lnTo>
                    <a:pt x="106565" y="25907"/>
                  </a:lnTo>
                  <a:lnTo>
                    <a:pt x="106414" y="25907"/>
                  </a:lnTo>
                  <a:lnTo>
                    <a:pt x="106414" y="25907"/>
                  </a:lnTo>
                  <a:lnTo>
                    <a:pt x="106212" y="25589"/>
                  </a:lnTo>
                  <a:lnTo>
                    <a:pt x="106212" y="25589"/>
                  </a:lnTo>
                  <a:lnTo>
                    <a:pt x="105858" y="25589"/>
                  </a:lnTo>
                  <a:lnTo>
                    <a:pt x="105707" y="25589"/>
                  </a:lnTo>
                  <a:lnTo>
                    <a:pt x="105606" y="25589"/>
                  </a:lnTo>
                  <a:lnTo>
                    <a:pt x="105606" y="25589"/>
                  </a:lnTo>
                  <a:lnTo>
                    <a:pt x="105454" y="25589"/>
                  </a:lnTo>
                  <a:lnTo>
                    <a:pt x="105353" y="25589"/>
                  </a:lnTo>
                  <a:lnTo>
                    <a:pt x="105252" y="25589"/>
                  </a:lnTo>
                  <a:lnTo>
                    <a:pt x="105252" y="25589"/>
                  </a:lnTo>
                  <a:lnTo>
                    <a:pt x="105252" y="25589"/>
                  </a:lnTo>
                  <a:lnTo>
                    <a:pt x="105101" y="25589"/>
                  </a:lnTo>
                  <a:lnTo>
                    <a:pt x="105101" y="25589"/>
                  </a:lnTo>
                  <a:lnTo>
                    <a:pt x="105101" y="25589"/>
                  </a:lnTo>
                  <a:lnTo>
                    <a:pt x="105000" y="25907"/>
                  </a:lnTo>
                  <a:lnTo>
                    <a:pt x="105000" y="25907"/>
                  </a:lnTo>
                  <a:lnTo>
                    <a:pt x="104898" y="26384"/>
                  </a:lnTo>
                  <a:lnTo>
                    <a:pt x="104747" y="26701"/>
                  </a:lnTo>
                  <a:lnTo>
                    <a:pt x="104898" y="26701"/>
                  </a:lnTo>
                  <a:lnTo>
                    <a:pt x="104898" y="27178"/>
                  </a:lnTo>
                  <a:close/>
                  <a:moveTo>
                    <a:pt x="99191" y="30516"/>
                  </a:moveTo>
                  <a:lnTo>
                    <a:pt x="99292" y="30516"/>
                  </a:lnTo>
                  <a:lnTo>
                    <a:pt x="99393" y="30516"/>
                  </a:lnTo>
                  <a:lnTo>
                    <a:pt x="99646" y="30834"/>
                  </a:lnTo>
                  <a:lnTo>
                    <a:pt x="99747" y="30834"/>
                  </a:lnTo>
                  <a:lnTo>
                    <a:pt x="100252" y="31311"/>
                  </a:lnTo>
                  <a:lnTo>
                    <a:pt x="100454" y="31311"/>
                  </a:lnTo>
                  <a:lnTo>
                    <a:pt x="100454" y="31311"/>
                  </a:lnTo>
                  <a:lnTo>
                    <a:pt x="100454" y="30834"/>
                  </a:lnTo>
                  <a:lnTo>
                    <a:pt x="100353" y="30834"/>
                  </a:lnTo>
                  <a:lnTo>
                    <a:pt x="100353" y="30516"/>
                  </a:lnTo>
                  <a:lnTo>
                    <a:pt x="100353" y="30516"/>
                  </a:lnTo>
                  <a:lnTo>
                    <a:pt x="100353" y="30516"/>
                  </a:lnTo>
                  <a:lnTo>
                    <a:pt x="100252" y="30516"/>
                  </a:lnTo>
                  <a:lnTo>
                    <a:pt x="100252" y="30516"/>
                  </a:lnTo>
                  <a:lnTo>
                    <a:pt x="99393" y="30039"/>
                  </a:lnTo>
                  <a:lnTo>
                    <a:pt x="99292" y="30039"/>
                  </a:lnTo>
                  <a:lnTo>
                    <a:pt x="99191" y="30039"/>
                  </a:lnTo>
                  <a:lnTo>
                    <a:pt x="99191" y="30039"/>
                  </a:lnTo>
                  <a:lnTo>
                    <a:pt x="99191" y="30516"/>
                  </a:lnTo>
                  <a:lnTo>
                    <a:pt x="99191" y="30516"/>
                  </a:lnTo>
                  <a:close/>
                  <a:moveTo>
                    <a:pt x="78080" y="15099"/>
                  </a:moveTo>
                  <a:lnTo>
                    <a:pt x="78080" y="15099"/>
                  </a:lnTo>
                  <a:lnTo>
                    <a:pt x="78232" y="15417"/>
                  </a:lnTo>
                  <a:lnTo>
                    <a:pt x="78333" y="15894"/>
                  </a:lnTo>
                  <a:lnTo>
                    <a:pt x="78333" y="15894"/>
                  </a:lnTo>
                  <a:lnTo>
                    <a:pt x="78838" y="16211"/>
                  </a:lnTo>
                  <a:lnTo>
                    <a:pt x="79040" y="16211"/>
                  </a:lnTo>
                  <a:lnTo>
                    <a:pt x="79292" y="16529"/>
                  </a:lnTo>
                  <a:lnTo>
                    <a:pt x="79393" y="16529"/>
                  </a:lnTo>
                  <a:lnTo>
                    <a:pt x="79646" y="16529"/>
                  </a:lnTo>
                  <a:lnTo>
                    <a:pt x="79747" y="16529"/>
                  </a:lnTo>
                  <a:lnTo>
                    <a:pt x="80000" y="17006"/>
                  </a:lnTo>
                  <a:lnTo>
                    <a:pt x="80101" y="17006"/>
                  </a:lnTo>
                  <a:lnTo>
                    <a:pt x="80252" y="17006"/>
                  </a:lnTo>
                  <a:lnTo>
                    <a:pt x="80707" y="17006"/>
                  </a:lnTo>
                  <a:lnTo>
                    <a:pt x="81060" y="17006"/>
                  </a:lnTo>
                  <a:lnTo>
                    <a:pt x="81212" y="17006"/>
                  </a:lnTo>
                  <a:lnTo>
                    <a:pt x="81414" y="17006"/>
                  </a:lnTo>
                  <a:lnTo>
                    <a:pt x="81565" y="16529"/>
                  </a:lnTo>
                  <a:lnTo>
                    <a:pt x="81565" y="16529"/>
                  </a:lnTo>
                  <a:lnTo>
                    <a:pt x="81414" y="16211"/>
                  </a:lnTo>
                  <a:lnTo>
                    <a:pt x="81313" y="15894"/>
                  </a:lnTo>
                  <a:lnTo>
                    <a:pt x="81313" y="16211"/>
                  </a:lnTo>
                  <a:lnTo>
                    <a:pt x="81313" y="16211"/>
                  </a:lnTo>
                  <a:lnTo>
                    <a:pt x="81313" y="16211"/>
                  </a:lnTo>
                  <a:lnTo>
                    <a:pt x="81212" y="16211"/>
                  </a:lnTo>
                  <a:lnTo>
                    <a:pt x="81060" y="15894"/>
                  </a:lnTo>
                  <a:lnTo>
                    <a:pt x="80858" y="15894"/>
                  </a:lnTo>
                  <a:lnTo>
                    <a:pt x="80505" y="15894"/>
                  </a:lnTo>
                  <a:lnTo>
                    <a:pt x="80101" y="15894"/>
                  </a:lnTo>
                  <a:lnTo>
                    <a:pt x="80101" y="15894"/>
                  </a:lnTo>
                  <a:lnTo>
                    <a:pt x="79898" y="15894"/>
                  </a:lnTo>
                  <a:lnTo>
                    <a:pt x="79747" y="15894"/>
                  </a:lnTo>
                  <a:lnTo>
                    <a:pt x="79747" y="15417"/>
                  </a:lnTo>
                  <a:lnTo>
                    <a:pt x="79646" y="15417"/>
                  </a:lnTo>
                  <a:lnTo>
                    <a:pt x="79646" y="15417"/>
                  </a:lnTo>
                  <a:lnTo>
                    <a:pt x="79545" y="15417"/>
                  </a:lnTo>
                  <a:lnTo>
                    <a:pt x="78939" y="15417"/>
                  </a:lnTo>
                  <a:lnTo>
                    <a:pt x="78939" y="15417"/>
                  </a:lnTo>
                  <a:lnTo>
                    <a:pt x="78686" y="15417"/>
                  </a:lnTo>
                  <a:lnTo>
                    <a:pt x="78585" y="15417"/>
                  </a:lnTo>
                  <a:lnTo>
                    <a:pt x="78434" y="15417"/>
                  </a:lnTo>
                  <a:lnTo>
                    <a:pt x="78333" y="15099"/>
                  </a:lnTo>
                  <a:lnTo>
                    <a:pt x="78080" y="15099"/>
                  </a:lnTo>
                  <a:lnTo>
                    <a:pt x="78080" y="15099"/>
                  </a:lnTo>
                  <a:close/>
                  <a:moveTo>
                    <a:pt x="95252" y="31629"/>
                  </a:moveTo>
                  <a:lnTo>
                    <a:pt x="95353" y="31947"/>
                  </a:lnTo>
                  <a:lnTo>
                    <a:pt x="95454" y="32423"/>
                  </a:lnTo>
                  <a:lnTo>
                    <a:pt x="95606" y="32423"/>
                  </a:lnTo>
                  <a:lnTo>
                    <a:pt x="95606" y="32741"/>
                  </a:lnTo>
                  <a:lnTo>
                    <a:pt x="95858" y="32741"/>
                  </a:lnTo>
                  <a:lnTo>
                    <a:pt x="95959" y="32741"/>
                  </a:lnTo>
                  <a:lnTo>
                    <a:pt x="95959" y="32741"/>
                  </a:lnTo>
                  <a:lnTo>
                    <a:pt x="95959" y="33059"/>
                  </a:lnTo>
                  <a:lnTo>
                    <a:pt x="96060" y="33059"/>
                  </a:lnTo>
                  <a:lnTo>
                    <a:pt x="96060" y="33059"/>
                  </a:lnTo>
                  <a:lnTo>
                    <a:pt x="95959" y="32741"/>
                  </a:lnTo>
                  <a:lnTo>
                    <a:pt x="95959" y="32741"/>
                  </a:lnTo>
                  <a:lnTo>
                    <a:pt x="95707" y="32423"/>
                  </a:lnTo>
                  <a:lnTo>
                    <a:pt x="95606" y="32423"/>
                  </a:lnTo>
                  <a:lnTo>
                    <a:pt x="95454" y="31947"/>
                  </a:lnTo>
                  <a:lnTo>
                    <a:pt x="95353" y="31629"/>
                  </a:lnTo>
                  <a:lnTo>
                    <a:pt x="95353" y="31629"/>
                  </a:lnTo>
                  <a:lnTo>
                    <a:pt x="95454" y="31629"/>
                  </a:lnTo>
                  <a:lnTo>
                    <a:pt x="95454" y="31311"/>
                  </a:lnTo>
                  <a:lnTo>
                    <a:pt x="95353" y="31311"/>
                  </a:lnTo>
                  <a:lnTo>
                    <a:pt x="95252" y="30834"/>
                  </a:lnTo>
                  <a:lnTo>
                    <a:pt x="95252" y="30834"/>
                  </a:lnTo>
                  <a:lnTo>
                    <a:pt x="95101" y="31311"/>
                  </a:lnTo>
                  <a:lnTo>
                    <a:pt x="95252" y="31311"/>
                  </a:lnTo>
                  <a:lnTo>
                    <a:pt x="95101" y="31629"/>
                  </a:lnTo>
                  <a:lnTo>
                    <a:pt x="95252" y="31629"/>
                  </a:lnTo>
                  <a:close/>
                  <a:moveTo>
                    <a:pt x="46565" y="8741"/>
                  </a:moveTo>
                  <a:lnTo>
                    <a:pt x="46565" y="8741"/>
                  </a:lnTo>
                  <a:lnTo>
                    <a:pt x="46818" y="9059"/>
                  </a:lnTo>
                  <a:lnTo>
                    <a:pt x="46919" y="8741"/>
                  </a:lnTo>
                  <a:lnTo>
                    <a:pt x="47171" y="8741"/>
                  </a:lnTo>
                  <a:lnTo>
                    <a:pt x="47373" y="8264"/>
                  </a:lnTo>
                  <a:lnTo>
                    <a:pt x="47373" y="8264"/>
                  </a:lnTo>
                  <a:lnTo>
                    <a:pt x="47727" y="8264"/>
                  </a:lnTo>
                  <a:lnTo>
                    <a:pt x="47979" y="8264"/>
                  </a:lnTo>
                  <a:lnTo>
                    <a:pt x="48232" y="8264"/>
                  </a:lnTo>
                  <a:lnTo>
                    <a:pt x="48333" y="8264"/>
                  </a:lnTo>
                  <a:lnTo>
                    <a:pt x="48333" y="8264"/>
                  </a:lnTo>
                  <a:lnTo>
                    <a:pt x="48333" y="8264"/>
                  </a:lnTo>
                  <a:lnTo>
                    <a:pt x="48484" y="8264"/>
                  </a:lnTo>
                  <a:lnTo>
                    <a:pt x="48939" y="8264"/>
                  </a:lnTo>
                  <a:lnTo>
                    <a:pt x="49191" y="7947"/>
                  </a:lnTo>
                  <a:lnTo>
                    <a:pt x="49292" y="7947"/>
                  </a:lnTo>
                  <a:lnTo>
                    <a:pt x="49393" y="7947"/>
                  </a:lnTo>
                  <a:lnTo>
                    <a:pt x="49393" y="7947"/>
                  </a:lnTo>
                  <a:lnTo>
                    <a:pt x="49646" y="7629"/>
                  </a:lnTo>
                  <a:lnTo>
                    <a:pt x="49545" y="7152"/>
                  </a:lnTo>
                  <a:lnTo>
                    <a:pt x="49393" y="7152"/>
                  </a:lnTo>
                  <a:lnTo>
                    <a:pt x="49393" y="7152"/>
                  </a:lnTo>
                  <a:lnTo>
                    <a:pt x="49292" y="6834"/>
                  </a:lnTo>
                  <a:lnTo>
                    <a:pt x="49191" y="6834"/>
                  </a:lnTo>
                  <a:lnTo>
                    <a:pt x="49191" y="6834"/>
                  </a:lnTo>
                  <a:lnTo>
                    <a:pt x="49040" y="6834"/>
                  </a:lnTo>
                  <a:lnTo>
                    <a:pt x="48939" y="6834"/>
                  </a:lnTo>
                  <a:lnTo>
                    <a:pt x="48686" y="6834"/>
                  </a:lnTo>
                  <a:lnTo>
                    <a:pt x="48686" y="6357"/>
                  </a:lnTo>
                  <a:lnTo>
                    <a:pt x="48686" y="6357"/>
                  </a:lnTo>
                  <a:lnTo>
                    <a:pt x="48585" y="6357"/>
                  </a:lnTo>
                  <a:lnTo>
                    <a:pt x="48484" y="6357"/>
                  </a:lnTo>
                  <a:lnTo>
                    <a:pt x="48333" y="6039"/>
                  </a:lnTo>
                  <a:lnTo>
                    <a:pt x="48232" y="6039"/>
                  </a:lnTo>
                  <a:lnTo>
                    <a:pt x="48080" y="6039"/>
                  </a:lnTo>
                  <a:lnTo>
                    <a:pt x="47979" y="6039"/>
                  </a:lnTo>
                  <a:lnTo>
                    <a:pt x="47878" y="6039"/>
                  </a:lnTo>
                  <a:lnTo>
                    <a:pt x="47878" y="6039"/>
                  </a:lnTo>
                  <a:lnTo>
                    <a:pt x="47727" y="6039"/>
                  </a:lnTo>
                  <a:lnTo>
                    <a:pt x="47727" y="6039"/>
                  </a:lnTo>
                  <a:lnTo>
                    <a:pt x="47626" y="6357"/>
                  </a:lnTo>
                  <a:lnTo>
                    <a:pt x="47626" y="6357"/>
                  </a:lnTo>
                  <a:lnTo>
                    <a:pt x="47626" y="6834"/>
                  </a:lnTo>
                  <a:lnTo>
                    <a:pt x="47626" y="6834"/>
                  </a:lnTo>
                  <a:lnTo>
                    <a:pt x="47525" y="6834"/>
                  </a:lnTo>
                  <a:lnTo>
                    <a:pt x="47525" y="6039"/>
                  </a:lnTo>
                  <a:lnTo>
                    <a:pt x="47525" y="6039"/>
                  </a:lnTo>
                  <a:lnTo>
                    <a:pt x="47525" y="5721"/>
                  </a:lnTo>
                  <a:lnTo>
                    <a:pt x="47525" y="5721"/>
                  </a:lnTo>
                  <a:lnTo>
                    <a:pt x="47525" y="5721"/>
                  </a:lnTo>
                  <a:lnTo>
                    <a:pt x="47525" y="5721"/>
                  </a:lnTo>
                  <a:lnTo>
                    <a:pt x="47525" y="5721"/>
                  </a:lnTo>
                  <a:lnTo>
                    <a:pt x="47272" y="5245"/>
                  </a:lnTo>
                  <a:lnTo>
                    <a:pt x="47020" y="5245"/>
                  </a:lnTo>
                  <a:lnTo>
                    <a:pt x="46919" y="5245"/>
                  </a:lnTo>
                  <a:lnTo>
                    <a:pt x="46919" y="5245"/>
                  </a:lnTo>
                  <a:lnTo>
                    <a:pt x="46919" y="5245"/>
                  </a:lnTo>
                  <a:lnTo>
                    <a:pt x="47020" y="5721"/>
                  </a:lnTo>
                  <a:lnTo>
                    <a:pt x="47171" y="5721"/>
                  </a:lnTo>
                  <a:lnTo>
                    <a:pt x="47020" y="5721"/>
                  </a:lnTo>
                  <a:lnTo>
                    <a:pt x="46919" y="5721"/>
                  </a:lnTo>
                  <a:lnTo>
                    <a:pt x="46818" y="5721"/>
                  </a:lnTo>
                  <a:lnTo>
                    <a:pt x="46818" y="5721"/>
                  </a:lnTo>
                  <a:lnTo>
                    <a:pt x="46666" y="5245"/>
                  </a:lnTo>
                  <a:lnTo>
                    <a:pt x="46666" y="5721"/>
                  </a:lnTo>
                  <a:lnTo>
                    <a:pt x="46666" y="5721"/>
                  </a:lnTo>
                  <a:lnTo>
                    <a:pt x="46666" y="5721"/>
                  </a:lnTo>
                  <a:lnTo>
                    <a:pt x="46666" y="5721"/>
                  </a:lnTo>
                  <a:lnTo>
                    <a:pt x="46565" y="5721"/>
                  </a:lnTo>
                  <a:lnTo>
                    <a:pt x="46565" y="6039"/>
                  </a:lnTo>
                  <a:lnTo>
                    <a:pt x="46565" y="6039"/>
                  </a:lnTo>
                  <a:lnTo>
                    <a:pt x="46565" y="6039"/>
                  </a:lnTo>
                  <a:lnTo>
                    <a:pt x="46565" y="6039"/>
                  </a:lnTo>
                  <a:lnTo>
                    <a:pt x="46565" y="6357"/>
                  </a:lnTo>
                  <a:lnTo>
                    <a:pt x="46565" y="6357"/>
                  </a:lnTo>
                  <a:lnTo>
                    <a:pt x="46565" y="6357"/>
                  </a:lnTo>
                  <a:lnTo>
                    <a:pt x="46565" y="6357"/>
                  </a:lnTo>
                  <a:lnTo>
                    <a:pt x="46565" y="6357"/>
                  </a:lnTo>
                  <a:lnTo>
                    <a:pt x="46666" y="6834"/>
                  </a:lnTo>
                  <a:lnTo>
                    <a:pt x="46818" y="6834"/>
                  </a:lnTo>
                  <a:lnTo>
                    <a:pt x="46666" y="6834"/>
                  </a:lnTo>
                  <a:lnTo>
                    <a:pt x="46565" y="6834"/>
                  </a:lnTo>
                  <a:lnTo>
                    <a:pt x="46414" y="6834"/>
                  </a:lnTo>
                  <a:lnTo>
                    <a:pt x="46414" y="6834"/>
                  </a:lnTo>
                  <a:lnTo>
                    <a:pt x="46414" y="7152"/>
                  </a:lnTo>
                  <a:lnTo>
                    <a:pt x="46414" y="7152"/>
                  </a:lnTo>
                  <a:lnTo>
                    <a:pt x="46565" y="7629"/>
                  </a:lnTo>
                  <a:lnTo>
                    <a:pt x="46565" y="7629"/>
                  </a:lnTo>
                  <a:lnTo>
                    <a:pt x="46565" y="7629"/>
                  </a:lnTo>
                  <a:lnTo>
                    <a:pt x="46565" y="7629"/>
                  </a:lnTo>
                  <a:lnTo>
                    <a:pt x="46565" y="7947"/>
                  </a:lnTo>
                  <a:lnTo>
                    <a:pt x="46565" y="7947"/>
                  </a:lnTo>
                  <a:lnTo>
                    <a:pt x="46414" y="8264"/>
                  </a:lnTo>
                  <a:lnTo>
                    <a:pt x="46414" y="8264"/>
                  </a:lnTo>
                  <a:lnTo>
                    <a:pt x="46414" y="8741"/>
                  </a:lnTo>
                  <a:lnTo>
                    <a:pt x="46414" y="8741"/>
                  </a:lnTo>
                  <a:lnTo>
                    <a:pt x="46565" y="8741"/>
                  </a:lnTo>
                  <a:close/>
                  <a:moveTo>
                    <a:pt x="55606" y="12397"/>
                  </a:moveTo>
                  <a:lnTo>
                    <a:pt x="55707" y="12397"/>
                  </a:lnTo>
                  <a:lnTo>
                    <a:pt x="55858" y="12397"/>
                  </a:lnTo>
                  <a:lnTo>
                    <a:pt x="55959" y="12874"/>
                  </a:lnTo>
                  <a:lnTo>
                    <a:pt x="55959" y="12874"/>
                  </a:lnTo>
                  <a:lnTo>
                    <a:pt x="55959" y="12397"/>
                  </a:lnTo>
                  <a:lnTo>
                    <a:pt x="55959" y="12397"/>
                  </a:lnTo>
                  <a:lnTo>
                    <a:pt x="55959" y="12397"/>
                  </a:lnTo>
                  <a:lnTo>
                    <a:pt x="55959" y="12397"/>
                  </a:lnTo>
                  <a:lnTo>
                    <a:pt x="55858" y="12079"/>
                  </a:lnTo>
                  <a:lnTo>
                    <a:pt x="55707" y="12079"/>
                  </a:lnTo>
                  <a:lnTo>
                    <a:pt x="55707" y="12079"/>
                  </a:lnTo>
                  <a:lnTo>
                    <a:pt x="55505" y="12079"/>
                  </a:lnTo>
                  <a:lnTo>
                    <a:pt x="55505" y="12079"/>
                  </a:lnTo>
                  <a:lnTo>
                    <a:pt x="55505" y="12397"/>
                  </a:lnTo>
                  <a:lnTo>
                    <a:pt x="55606" y="12397"/>
                  </a:lnTo>
                  <a:close/>
                  <a:moveTo>
                    <a:pt x="64040" y="21456"/>
                  </a:moveTo>
                  <a:lnTo>
                    <a:pt x="64191" y="21456"/>
                  </a:lnTo>
                  <a:lnTo>
                    <a:pt x="64040" y="21456"/>
                  </a:lnTo>
                  <a:lnTo>
                    <a:pt x="63939" y="21456"/>
                  </a:lnTo>
                  <a:lnTo>
                    <a:pt x="63838" y="21456"/>
                  </a:lnTo>
                  <a:lnTo>
                    <a:pt x="63686" y="21456"/>
                  </a:lnTo>
                  <a:lnTo>
                    <a:pt x="63686" y="21456"/>
                  </a:lnTo>
                  <a:lnTo>
                    <a:pt x="63838" y="21456"/>
                  </a:lnTo>
                  <a:lnTo>
                    <a:pt x="64040" y="21456"/>
                  </a:lnTo>
                  <a:close/>
                  <a:moveTo>
                    <a:pt x="66060" y="19549"/>
                  </a:moveTo>
                  <a:lnTo>
                    <a:pt x="66060" y="19549"/>
                  </a:lnTo>
                  <a:lnTo>
                    <a:pt x="66212" y="19549"/>
                  </a:lnTo>
                  <a:lnTo>
                    <a:pt x="66212" y="19231"/>
                  </a:lnTo>
                  <a:lnTo>
                    <a:pt x="66212" y="19231"/>
                  </a:lnTo>
                  <a:lnTo>
                    <a:pt x="66060" y="19231"/>
                  </a:lnTo>
                  <a:lnTo>
                    <a:pt x="65959" y="19231"/>
                  </a:lnTo>
                  <a:lnTo>
                    <a:pt x="65959" y="19231"/>
                  </a:lnTo>
                  <a:lnTo>
                    <a:pt x="65959" y="19231"/>
                  </a:lnTo>
                  <a:lnTo>
                    <a:pt x="66060" y="19549"/>
                  </a:lnTo>
                  <a:close/>
                  <a:moveTo>
                    <a:pt x="57525" y="17642"/>
                  </a:moveTo>
                  <a:lnTo>
                    <a:pt x="57525" y="17642"/>
                  </a:lnTo>
                  <a:lnTo>
                    <a:pt x="57525" y="17642"/>
                  </a:lnTo>
                  <a:lnTo>
                    <a:pt x="57626" y="18119"/>
                  </a:lnTo>
                  <a:lnTo>
                    <a:pt x="57525" y="18119"/>
                  </a:lnTo>
                  <a:lnTo>
                    <a:pt x="57373" y="18119"/>
                  </a:lnTo>
                  <a:lnTo>
                    <a:pt x="57373" y="18119"/>
                  </a:lnTo>
                  <a:lnTo>
                    <a:pt x="57272" y="18119"/>
                  </a:lnTo>
                  <a:lnTo>
                    <a:pt x="57525" y="18437"/>
                  </a:lnTo>
                  <a:lnTo>
                    <a:pt x="57727" y="18437"/>
                  </a:lnTo>
                  <a:lnTo>
                    <a:pt x="57878" y="18437"/>
                  </a:lnTo>
                  <a:lnTo>
                    <a:pt x="57979" y="18913"/>
                  </a:lnTo>
                  <a:lnTo>
                    <a:pt x="58333" y="18913"/>
                  </a:lnTo>
                  <a:lnTo>
                    <a:pt x="58333" y="18913"/>
                  </a:lnTo>
                  <a:lnTo>
                    <a:pt x="58434" y="18437"/>
                  </a:lnTo>
                  <a:lnTo>
                    <a:pt x="58434" y="18437"/>
                  </a:lnTo>
                  <a:lnTo>
                    <a:pt x="58585" y="18437"/>
                  </a:lnTo>
                  <a:lnTo>
                    <a:pt x="58434" y="18119"/>
                  </a:lnTo>
                  <a:lnTo>
                    <a:pt x="58434" y="18119"/>
                  </a:lnTo>
                  <a:lnTo>
                    <a:pt x="58434" y="18119"/>
                  </a:lnTo>
                  <a:lnTo>
                    <a:pt x="58333" y="18119"/>
                  </a:lnTo>
                  <a:lnTo>
                    <a:pt x="58080" y="17642"/>
                  </a:lnTo>
                  <a:lnTo>
                    <a:pt x="57525" y="17642"/>
                  </a:lnTo>
                  <a:lnTo>
                    <a:pt x="57525" y="17642"/>
                  </a:lnTo>
                  <a:close/>
                  <a:moveTo>
                    <a:pt x="71060" y="14622"/>
                  </a:moveTo>
                  <a:lnTo>
                    <a:pt x="71212" y="14622"/>
                  </a:lnTo>
                  <a:lnTo>
                    <a:pt x="71313" y="15099"/>
                  </a:lnTo>
                  <a:lnTo>
                    <a:pt x="71313" y="15099"/>
                  </a:lnTo>
                  <a:lnTo>
                    <a:pt x="71313" y="15099"/>
                  </a:lnTo>
                  <a:lnTo>
                    <a:pt x="71414" y="15417"/>
                  </a:lnTo>
                  <a:lnTo>
                    <a:pt x="71565" y="15417"/>
                  </a:lnTo>
                  <a:lnTo>
                    <a:pt x="71666" y="15417"/>
                  </a:lnTo>
                  <a:lnTo>
                    <a:pt x="71666" y="15417"/>
                  </a:lnTo>
                  <a:lnTo>
                    <a:pt x="71666" y="15099"/>
                  </a:lnTo>
                  <a:lnTo>
                    <a:pt x="71565" y="15099"/>
                  </a:lnTo>
                  <a:lnTo>
                    <a:pt x="71666" y="14622"/>
                  </a:lnTo>
                  <a:lnTo>
                    <a:pt x="71565" y="14622"/>
                  </a:lnTo>
                  <a:lnTo>
                    <a:pt x="71313" y="14622"/>
                  </a:lnTo>
                  <a:lnTo>
                    <a:pt x="71313" y="14622"/>
                  </a:lnTo>
                  <a:lnTo>
                    <a:pt x="71212" y="14304"/>
                  </a:lnTo>
                  <a:lnTo>
                    <a:pt x="71060" y="14304"/>
                  </a:lnTo>
                  <a:lnTo>
                    <a:pt x="71060" y="14304"/>
                  </a:lnTo>
                  <a:lnTo>
                    <a:pt x="71060" y="14622"/>
                  </a:lnTo>
                  <a:close/>
                  <a:moveTo>
                    <a:pt x="109646" y="103470"/>
                  </a:moveTo>
                  <a:lnTo>
                    <a:pt x="109646" y="103470"/>
                  </a:lnTo>
                  <a:lnTo>
                    <a:pt x="109393" y="104105"/>
                  </a:lnTo>
                  <a:lnTo>
                    <a:pt x="109393" y="104582"/>
                  </a:lnTo>
                  <a:lnTo>
                    <a:pt x="109292" y="104900"/>
                  </a:lnTo>
                  <a:lnTo>
                    <a:pt x="109292" y="105695"/>
                  </a:lnTo>
                  <a:lnTo>
                    <a:pt x="109393" y="105695"/>
                  </a:lnTo>
                  <a:lnTo>
                    <a:pt x="109393" y="105218"/>
                  </a:lnTo>
                  <a:lnTo>
                    <a:pt x="109545" y="104900"/>
                  </a:lnTo>
                  <a:lnTo>
                    <a:pt x="109545" y="104900"/>
                  </a:lnTo>
                  <a:lnTo>
                    <a:pt x="109646" y="104900"/>
                  </a:lnTo>
                  <a:lnTo>
                    <a:pt x="109646" y="104582"/>
                  </a:lnTo>
                  <a:lnTo>
                    <a:pt x="109646" y="104105"/>
                  </a:lnTo>
                  <a:lnTo>
                    <a:pt x="109747" y="103470"/>
                  </a:lnTo>
                  <a:lnTo>
                    <a:pt x="109646" y="103470"/>
                  </a:lnTo>
                  <a:close/>
                  <a:moveTo>
                    <a:pt x="110808" y="92821"/>
                  </a:moveTo>
                  <a:lnTo>
                    <a:pt x="110808" y="92503"/>
                  </a:lnTo>
                  <a:lnTo>
                    <a:pt x="110808" y="92503"/>
                  </a:lnTo>
                  <a:lnTo>
                    <a:pt x="110707" y="92185"/>
                  </a:lnTo>
                  <a:lnTo>
                    <a:pt x="110707" y="93298"/>
                  </a:lnTo>
                  <a:lnTo>
                    <a:pt x="110808" y="93298"/>
                  </a:lnTo>
                  <a:lnTo>
                    <a:pt x="110959" y="93615"/>
                  </a:lnTo>
                  <a:lnTo>
                    <a:pt x="110959" y="93298"/>
                  </a:lnTo>
                  <a:lnTo>
                    <a:pt x="110959" y="93298"/>
                  </a:lnTo>
                  <a:lnTo>
                    <a:pt x="110808" y="92821"/>
                  </a:lnTo>
                  <a:close/>
                  <a:moveTo>
                    <a:pt x="110959" y="89483"/>
                  </a:moveTo>
                  <a:lnTo>
                    <a:pt x="110959" y="89165"/>
                  </a:lnTo>
                  <a:lnTo>
                    <a:pt x="110808" y="88688"/>
                  </a:lnTo>
                  <a:lnTo>
                    <a:pt x="110707" y="88688"/>
                  </a:lnTo>
                  <a:lnTo>
                    <a:pt x="110707" y="88688"/>
                  </a:lnTo>
                  <a:lnTo>
                    <a:pt x="110808" y="89483"/>
                  </a:lnTo>
                  <a:lnTo>
                    <a:pt x="110808" y="89801"/>
                  </a:lnTo>
                  <a:lnTo>
                    <a:pt x="110606" y="89801"/>
                  </a:lnTo>
                  <a:lnTo>
                    <a:pt x="110606" y="90278"/>
                  </a:lnTo>
                  <a:lnTo>
                    <a:pt x="110454" y="90278"/>
                  </a:lnTo>
                  <a:lnTo>
                    <a:pt x="110454" y="90278"/>
                  </a:lnTo>
                  <a:lnTo>
                    <a:pt x="110606" y="90278"/>
                  </a:lnTo>
                  <a:lnTo>
                    <a:pt x="110707" y="90913"/>
                  </a:lnTo>
                  <a:lnTo>
                    <a:pt x="110707" y="90913"/>
                  </a:lnTo>
                  <a:lnTo>
                    <a:pt x="110808" y="90913"/>
                  </a:lnTo>
                  <a:lnTo>
                    <a:pt x="110808" y="90913"/>
                  </a:lnTo>
                  <a:lnTo>
                    <a:pt x="110808" y="90596"/>
                  </a:lnTo>
                  <a:lnTo>
                    <a:pt x="110959" y="90596"/>
                  </a:lnTo>
                  <a:lnTo>
                    <a:pt x="111060" y="90596"/>
                  </a:lnTo>
                  <a:lnTo>
                    <a:pt x="111060" y="90278"/>
                  </a:lnTo>
                  <a:lnTo>
                    <a:pt x="111060" y="89483"/>
                  </a:lnTo>
                  <a:lnTo>
                    <a:pt x="110959" y="89483"/>
                  </a:lnTo>
                  <a:close/>
                  <a:moveTo>
                    <a:pt x="108333" y="111258"/>
                  </a:moveTo>
                  <a:lnTo>
                    <a:pt x="108080" y="111735"/>
                  </a:lnTo>
                  <a:lnTo>
                    <a:pt x="108080" y="111735"/>
                  </a:lnTo>
                  <a:lnTo>
                    <a:pt x="108232" y="112052"/>
                  </a:lnTo>
                  <a:lnTo>
                    <a:pt x="108232" y="112052"/>
                  </a:lnTo>
                  <a:lnTo>
                    <a:pt x="108232" y="111735"/>
                  </a:lnTo>
                  <a:lnTo>
                    <a:pt x="108333" y="111735"/>
                  </a:lnTo>
                  <a:lnTo>
                    <a:pt x="108333" y="111735"/>
                  </a:lnTo>
                  <a:lnTo>
                    <a:pt x="108333" y="111258"/>
                  </a:lnTo>
                  <a:close/>
                  <a:moveTo>
                    <a:pt x="107525" y="109827"/>
                  </a:moveTo>
                  <a:lnTo>
                    <a:pt x="107373" y="109350"/>
                  </a:lnTo>
                  <a:lnTo>
                    <a:pt x="107272" y="109350"/>
                  </a:lnTo>
                  <a:lnTo>
                    <a:pt x="107272" y="110145"/>
                  </a:lnTo>
                  <a:lnTo>
                    <a:pt x="107272" y="110145"/>
                  </a:lnTo>
                  <a:lnTo>
                    <a:pt x="107272" y="110463"/>
                  </a:lnTo>
                  <a:lnTo>
                    <a:pt x="107272" y="110463"/>
                  </a:lnTo>
                  <a:lnTo>
                    <a:pt x="107272" y="110940"/>
                  </a:lnTo>
                  <a:lnTo>
                    <a:pt x="107121" y="110940"/>
                  </a:lnTo>
                  <a:lnTo>
                    <a:pt x="107121" y="111258"/>
                  </a:lnTo>
                  <a:lnTo>
                    <a:pt x="107121" y="111735"/>
                  </a:lnTo>
                  <a:lnTo>
                    <a:pt x="107121" y="112052"/>
                  </a:lnTo>
                  <a:lnTo>
                    <a:pt x="107373" y="112052"/>
                  </a:lnTo>
                  <a:lnTo>
                    <a:pt x="107272" y="111735"/>
                  </a:lnTo>
                  <a:lnTo>
                    <a:pt x="107373" y="111258"/>
                  </a:lnTo>
                  <a:lnTo>
                    <a:pt x="107373" y="110940"/>
                  </a:lnTo>
                  <a:lnTo>
                    <a:pt x="107373" y="110463"/>
                  </a:lnTo>
                  <a:lnTo>
                    <a:pt x="107373" y="110145"/>
                  </a:lnTo>
                  <a:lnTo>
                    <a:pt x="107525" y="110145"/>
                  </a:lnTo>
                  <a:lnTo>
                    <a:pt x="107525" y="110145"/>
                  </a:lnTo>
                  <a:lnTo>
                    <a:pt x="107626" y="109827"/>
                  </a:lnTo>
                  <a:lnTo>
                    <a:pt x="107626" y="109827"/>
                  </a:lnTo>
                  <a:lnTo>
                    <a:pt x="107626" y="109350"/>
                  </a:lnTo>
                  <a:lnTo>
                    <a:pt x="107525" y="109827"/>
                  </a:lnTo>
                  <a:close/>
                  <a:moveTo>
                    <a:pt x="108787" y="106013"/>
                  </a:moveTo>
                  <a:lnTo>
                    <a:pt x="108787" y="106013"/>
                  </a:lnTo>
                  <a:lnTo>
                    <a:pt x="108787" y="105695"/>
                  </a:lnTo>
                  <a:lnTo>
                    <a:pt x="108787" y="105695"/>
                  </a:lnTo>
                  <a:lnTo>
                    <a:pt x="108686" y="105695"/>
                  </a:lnTo>
                  <a:lnTo>
                    <a:pt x="108686" y="106013"/>
                  </a:lnTo>
                  <a:lnTo>
                    <a:pt x="108585" y="106331"/>
                  </a:lnTo>
                  <a:lnTo>
                    <a:pt x="108434" y="106807"/>
                  </a:lnTo>
                  <a:lnTo>
                    <a:pt x="108333" y="106807"/>
                  </a:lnTo>
                  <a:lnTo>
                    <a:pt x="108232" y="106331"/>
                  </a:lnTo>
                  <a:lnTo>
                    <a:pt x="108232" y="106331"/>
                  </a:lnTo>
                  <a:lnTo>
                    <a:pt x="108232" y="106331"/>
                  </a:lnTo>
                  <a:lnTo>
                    <a:pt x="108232" y="106807"/>
                  </a:lnTo>
                  <a:lnTo>
                    <a:pt x="108232" y="106807"/>
                  </a:lnTo>
                  <a:lnTo>
                    <a:pt x="108080" y="107125"/>
                  </a:lnTo>
                  <a:lnTo>
                    <a:pt x="108080" y="107125"/>
                  </a:lnTo>
                  <a:lnTo>
                    <a:pt x="108080" y="107920"/>
                  </a:lnTo>
                  <a:lnTo>
                    <a:pt x="107979" y="108238"/>
                  </a:lnTo>
                  <a:lnTo>
                    <a:pt x="107979" y="108715"/>
                  </a:lnTo>
                  <a:lnTo>
                    <a:pt x="107979" y="109033"/>
                  </a:lnTo>
                  <a:lnTo>
                    <a:pt x="107979" y="109033"/>
                  </a:lnTo>
                  <a:lnTo>
                    <a:pt x="107979" y="109350"/>
                  </a:lnTo>
                  <a:lnTo>
                    <a:pt x="107979" y="109827"/>
                  </a:lnTo>
                  <a:lnTo>
                    <a:pt x="108080" y="109350"/>
                  </a:lnTo>
                  <a:lnTo>
                    <a:pt x="108080" y="109033"/>
                  </a:lnTo>
                  <a:lnTo>
                    <a:pt x="108080" y="108715"/>
                  </a:lnTo>
                  <a:lnTo>
                    <a:pt x="108232" y="108238"/>
                  </a:lnTo>
                  <a:lnTo>
                    <a:pt x="108232" y="108238"/>
                  </a:lnTo>
                  <a:lnTo>
                    <a:pt x="108232" y="107920"/>
                  </a:lnTo>
                  <a:lnTo>
                    <a:pt x="108232" y="107920"/>
                  </a:lnTo>
                  <a:lnTo>
                    <a:pt x="108333" y="107920"/>
                  </a:lnTo>
                  <a:lnTo>
                    <a:pt x="108434" y="107920"/>
                  </a:lnTo>
                  <a:lnTo>
                    <a:pt x="108434" y="107125"/>
                  </a:lnTo>
                  <a:lnTo>
                    <a:pt x="108585" y="106807"/>
                  </a:lnTo>
                  <a:lnTo>
                    <a:pt x="108686" y="106807"/>
                  </a:lnTo>
                  <a:lnTo>
                    <a:pt x="108787" y="106331"/>
                  </a:lnTo>
                  <a:lnTo>
                    <a:pt x="108939" y="106331"/>
                  </a:lnTo>
                  <a:lnTo>
                    <a:pt x="108939" y="106331"/>
                  </a:lnTo>
                  <a:lnTo>
                    <a:pt x="108939" y="106013"/>
                  </a:lnTo>
                  <a:lnTo>
                    <a:pt x="108787" y="106013"/>
                  </a:lnTo>
                  <a:close/>
                  <a:moveTo>
                    <a:pt x="24191" y="105695"/>
                  </a:moveTo>
                  <a:lnTo>
                    <a:pt x="24191" y="105695"/>
                  </a:lnTo>
                  <a:lnTo>
                    <a:pt x="24191" y="106013"/>
                  </a:lnTo>
                  <a:lnTo>
                    <a:pt x="24191" y="106013"/>
                  </a:lnTo>
                  <a:lnTo>
                    <a:pt x="24191" y="105695"/>
                  </a:lnTo>
                  <a:lnTo>
                    <a:pt x="24191" y="105218"/>
                  </a:lnTo>
                  <a:lnTo>
                    <a:pt x="24191" y="105695"/>
                  </a:lnTo>
                  <a:close/>
                  <a:moveTo>
                    <a:pt x="34545" y="39576"/>
                  </a:moveTo>
                  <a:lnTo>
                    <a:pt x="34393" y="39576"/>
                  </a:lnTo>
                  <a:lnTo>
                    <a:pt x="34393" y="39099"/>
                  </a:lnTo>
                  <a:lnTo>
                    <a:pt x="34292" y="39099"/>
                  </a:lnTo>
                  <a:lnTo>
                    <a:pt x="34191" y="39099"/>
                  </a:lnTo>
                  <a:lnTo>
                    <a:pt x="34191" y="39576"/>
                  </a:lnTo>
                  <a:lnTo>
                    <a:pt x="34292" y="39894"/>
                  </a:lnTo>
                  <a:lnTo>
                    <a:pt x="34545" y="39894"/>
                  </a:lnTo>
                  <a:lnTo>
                    <a:pt x="34646" y="39894"/>
                  </a:lnTo>
                  <a:lnTo>
                    <a:pt x="34646" y="39894"/>
                  </a:lnTo>
                  <a:lnTo>
                    <a:pt x="34646" y="39894"/>
                  </a:lnTo>
                  <a:lnTo>
                    <a:pt x="34646" y="39894"/>
                  </a:lnTo>
                  <a:lnTo>
                    <a:pt x="34646" y="39576"/>
                  </a:lnTo>
                  <a:lnTo>
                    <a:pt x="34545" y="39576"/>
                  </a:lnTo>
                  <a:close/>
                  <a:moveTo>
                    <a:pt x="92020" y="74860"/>
                  </a:moveTo>
                  <a:lnTo>
                    <a:pt x="91919" y="74860"/>
                  </a:lnTo>
                  <a:lnTo>
                    <a:pt x="91767" y="75178"/>
                  </a:lnTo>
                  <a:lnTo>
                    <a:pt x="91767" y="75178"/>
                  </a:lnTo>
                  <a:lnTo>
                    <a:pt x="91919" y="75178"/>
                  </a:lnTo>
                  <a:lnTo>
                    <a:pt x="91919" y="75178"/>
                  </a:lnTo>
                  <a:lnTo>
                    <a:pt x="92020" y="75178"/>
                  </a:lnTo>
                  <a:lnTo>
                    <a:pt x="92121" y="75178"/>
                  </a:lnTo>
                  <a:lnTo>
                    <a:pt x="92020" y="74860"/>
                  </a:lnTo>
                  <a:lnTo>
                    <a:pt x="92020" y="74860"/>
                  </a:lnTo>
                  <a:lnTo>
                    <a:pt x="92020" y="74860"/>
                  </a:lnTo>
                  <a:close/>
                  <a:moveTo>
                    <a:pt x="31464" y="31629"/>
                  </a:moveTo>
                  <a:lnTo>
                    <a:pt x="31464" y="31311"/>
                  </a:lnTo>
                  <a:lnTo>
                    <a:pt x="31464" y="31311"/>
                  </a:lnTo>
                  <a:lnTo>
                    <a:pt x="31313" y="31311"/>
                  </a:lnTo>
                  <a:lnTo>
                    <a:pt x="31212" y="31629"/>
                  </a:lnTo>
                  <a:lnTo>
                    <a:pt x="31212" y="31629"/>
                  </a:lnTo>
                  <a:lnTo>
                    <a:pt x="31313" y="31629"/>
                  </a:lnTo>
                  <a:lnTo>
                    <a:pt x="31464" y="31629"/>
                  </a:lnTo>
                  <a:close/>
                  <a:moveTo>
                    <a:pt x="111060" y="88370"/>
                  </a:moveTo>
                  <a:lnTo>
                    <a:pt x="111060" y="88370"/>
                  </a:lnTo>
                  <a:lnTo>
                    <a:pt x="110959" y="88370"/>
                  </a:lnTo>
                  <a:lnTo>
                    <a:pt x="110808" y="88688"/>
                  </a:lnTo>
                  <a:lnTo>
                    <a:pt x="110808" y="88688"/>
                  </a:lnTo>
                  <a:lnTo>
                    <a:pt x="110959" y="88688"/>
                  </a:lnTo>
                  <a:lnTo>
                    <a:pt x="111060" y="89165"/>
                  </a:lnTo>
                  <a:lnTo>
                    <a:pt x="111212" y="89165"/>
                  </a:lnTo>
                  <a:lnTo>
                    <a:pt x="111212" y="89165"/>
                  </a:lnTo>
                  <a:lnTo>
                    <a:pt x="111060" y="88688"/>
                  </a:lnTo>
                  <a:lnTo>
                    <a:pt x="111060" y="88370"/>
                  </a:lnTo>
                  <a:close/>
                  <a:moveTo>
                    <a:pt x="92272" y="75655"/>
                  </a:moveTo>
                  <a:lnTo>
                    <a:pt x="92373" y="75655"/>
                  </a:lnTo>
                  <a:lnTo>
                    <a:pt x="92373" y="75655"/>
                  </a:lnTo>
                  <a:lnTo>
                    <a:pt x="92525" y="75655"/>
                  </a:lnTo>
                  <a:lnTo>
                    <a:pt x="92525" y="75655"/>
                  </a:lnTo>
                  <a:lnTo>
                    <a:pt x="92727" y="76291"/>
                  </a:lnTo>
                  <a:lnTo>
                    <a:pt x="92878" y="75973"/>
                  </a:lnTo>
                  <a:lnTo>
                    <a:pt x="92878" y="75973"/>
                  </a:lnTo>
                  <a:lnTo>
                    <a:pt x="92878" y="75973"/>
                  </a:lnTo>
                  <a:lnTo>
                    <a:pt x="92979" y="75655"/>
                  </a:lnTo>
                  <a:lnTo>
                    <a:pt x="92878" y="75655"/>
                  </a:lnTo>
                  <a:lnTo>
                    <a:pt x="92878" y="75178"/>
                  </a:lnTo>
                  <a:lnTo>
                    <a:pt x="92878" y="75178"/>
                  </a:lnTo>
                  <a:lnTo>
                    <a:pt x="92878" y="74860"/>
                  </a:lnTo>
                  <a:lnTo>
                    <a:pt x="92878" y="74860"/>
                  </a:lnTo>
                  <a:lnTo>
                    <a:pt x="92727" y="74860"/>
                  </a:lnTo>
                  <a:lnTo>
                    <a:pt x="92626" y="74860"/>
                  </a:lnTo>
                  <a:lnTo>
                    <a:pt x="92626" y="74860"/>
                  </a:lnTo>
                  <a:lnTo>
                    <a:pt x="92272" y="74384"/>
                  </a:lnTo>
                  <a:lnTo>
                    <a:pt x="92272" y="74384"/>
                  </a:lnTo>
                  <a:lnTo>
                    <a:pt x="92272" y="75178"/>
                  </a:lnTo>
                  <a:lnTo>
                    <a:pt x="92272" y="75178"/>
                  </a:lnTo>
                  <a:lnTo>
                    <a:pt x="92272" y="75655"/>
                  </a:lnTo>
                  <a:close/>
                  <a:moveTo>
                    <a:pt x="109040" y="63894"/>
                  </a:moveTo>
                  <a:lnTo>
                    <a:pt x="109040" y="63894"/>
                  </a:lnTo>
                  <a:lnTo>
                    <a:pt x="109191" y="63894"/>
                  </a:lnTo>
                  <a:lnTo>
                    <a:pt x="109191" y="63894"/>
                  </a:lnTo>
                  <a:lnTo>
                    <a:pt x="109292" y="63258"/>
                  </a:lnTo>
                  <a:lnTo>
                    <a:pt x="109393" y="63258"/>
                  </a:lnTo>
                  <a:lnTo>
                    <a:pt x="109646" y="62781"/>
                  </a:lnTo>
                  <a:lnTo>
                    <a:pt x="109545" y="62781"/>
                  </a:lnTo>
                  <a:lnTo>
                    <a:pt x="109393" y="61986"/>
                  </a:lnTo>
                  <a:lnTo>
                    <a:pt x="109191" y="61668"/>
                  </a:lnTo>
                  <a:lnTo>
                    <a:pt x="109191" y="61668"/>
                  </a:lnTo>
                  <a:lnTo>
                    <a:pt x="109040" y="62463"/>
                  </a:lnTo>
                  <a:lnTo>
                    <a:pt x="108787" y="62463"/>
                  </a:lnTo>
                  <a:lnTo>
                    <a:pt x="108787" y="62781"/>
                  </a:lnTo>
                  <a:lnTo>
                    <a:pt x="108939" y="62781"/>
                  </a:lnTo>
                  <a:lnTo>
                    <a:pt x="109040" y="63258"/>
                  </a:lnTo>
                  <a:lnTo>
                    <a:pt x="109040" y="63576"/>
                  </a:lnTo>
                  <a:lnTo>
                    <a:pt x="109040" y="63894"/>
                  </a:lnTo>
                  <a:lnTo>
                    <a:pt x="109040" y="63894"/>
                  </a:lnTo>
                  <a:close/>
                  <a:moveTo>
                    <a:pt x="120000" y="45933"/>
                  </a:moveTo>
                  <a:lnTo>
                    <a:pt x="119898" y="45933"/>
                  </a:lnTo>
                  <a:lnTo>
                    <a:pt x="119747" y="45933"/>
                  </a:lnTo>
                  <a:lnTo>
                    <a:pt x="119747" y="45933"/>
                  </a:lnTo>
                  <a:lnTo>
                    <a:pt x="119646" y="45456"/>
                  </a:lnTo>
                  <a:lnTo>
                    <a:pt x="119393" y="45456"/>
                  </a:lnTo>
                  <a:lnTo>
                    <a:pt x="119393" y="45456"/>
                  </a:lnTo>
                  <a:lnTo>
                    <a:pt x="119292" y="45456"/>
                  </a:lnTo>
                  <a:lnTo>
                    <a:pt x="119292" y="45456"/>
                  </a:lnTo>
                  <a:lnTo>
                    <a:pt x="119141" y="45139"/>
                  </a:lnTo>
                  <a:lnTo>
                    <a:pt x="119141" y="45139"/>
                  </a:lnTo>
                  <a:lnTo>
                    <a:pt x="119141" y="45139"/>
                  </a:lnTo>
                  <a:lnTo>
                    <a:pt x="119141" y="45139"/>
                  </a:lnTo>
                  <a:lnTo>
                    <a:pt x="119040" y="44821"/>
                  </a:lnTo>
                  <a:lnTo>
                    <a:pt x="118939" y="44821"/>
                  </a:lnTo>
                  <a:lnTo>
                    <a:pt x="118939" y="44821"/>
                  </a:lnTo>
                  <a:lnTo>
                    <a:pt x="118939" y="44821"/>
                  </a:lnTo>
                  <a:lnTo>
                    <a:pt x="118939" y="44821"/>
                  </a:lnTo>
                  <a:lnTo>
                    <a:pt x="118939" y="44821"/>
                  </a:lnTo>
                  <a:lnTo>
                    <a:pt x="119040" y="44821"/>
                  </a:lnTo>
                  <a:lnTo>
                    <a:pt x="119141" y="44821"/>
                  </a:lnTo>
                  <a:lnTo>
                    <a:pt x="119292" y="44344"/>
                  </a:lnTo>
                  <a:lnTo>
                    <a:pt x="119292" y="44344"/>
                  </a:lnTo>
                  <a:lnTo>
                    <a:pt x="119292" y="44344"/>
                  </a:lnTo>
                  <a:lnTo>
                    <a:pt x="119141" y="44026"/>
                  </a:lnTo>
                  <a:lnTo>
                    <a:pt x="119040" y="43708"/>
                  </a:lnTo>
                  <a:lnTo>
                    <a:pt x="118939" y="43708"/>
                  </a:lnTo>
                  <a:lnTo>
                    <a:pt x="118787" y="43708"/>
                  </a:lnTo>
                  <a:lnTo>
                    <a:pt x="118787" y="43708"/>
                  </a:lnTo>
                  <a:lnTo>
                    <a:pt x="118686" y="43708"/>
                  </a:lnTo>
                  <a:lnTo>
                    <a:pt x="118939" y="43708"/>
                  </a:lnTo>
                  <a:lnTo>
                    <a:pt x="118939" y="43708"/>
                  </a:lnTo>
                  <a:lnTo>
                    <a:pt x="118787" y="43231"/>
                  </a:lnTo>
                  <a:lnTo>
                    <a:pt x="118686" y="42913"/>
                  </a:lnTo>
                  <a:lnTo>
                    <a:pt x="118686" y="42913"/>
                  </a:lnTo>
                  <a:lnTo>
                    <a:pt x="118585" y="42913"/>
                  </a:lnTo>
                  <a:lnTo>
                    <a:pt x="118585" y="42913"/>
                  </a:lnTo>
                  <a:lnTo>
                    <a:pt x="118585" y="42913"/>
                  </a:lnTo>
                  <a:lnTo>
                    <a:pt x="118232" y="42437"/>
                  </a:lnTo>
                  <a:lnTo>
                    <a:pt x="117979" y="42437"/>
                  </a:lnTo>
                  <a:lnTo>
                    <a:pt x="117979" y="42437"/>
                  </a:lnTo>
                  <a:lnTo>
                    <a:pt x="118080" y="42437"/>
                  </a:lnTo>
                  <a:lnTo>
                    <a:pt x="118232" y="42437"/>
                  </a:lnTo>
                  <a:lnTo>
                    <a:pt x="118434" y="42437"/>
                  </a:lnTo>
                  <a:lnTo>
                    <a:pt x="118434" y="42437"/>
                  </a:lnTo>
                  <a:lnTo>
                    <a:pt x="118585" y="42913"/>
                  </a:lnTo>
                  <a:lnTo>
                    <a:pt x="118585" y="42913"/>
                  </a:lnTo>
                  <a:lnTo>
                    <a:pt x="118787" y="42913"/>
                  </a:lnTo>
                  <a:lnTo>
                    <a:pt x="118787" y="42913"/>
                  </a:lnTo>
                  <a:lnTo>
                    <a:pt x="118939" y="42913"/>
                  </a:lnTo>
                  <a:lnTo>
                    <a:pt x="118939" y="42913"/>
                  </a:lnTo>
                  <a:lnTo>
                    <a:pt x="119141" y="42913"/>
                  </a:lnTo>
                  <a:lnTo>
                    <a:pt x="119141" y="42913"/>
                  </a:lnTo>
                  <a:lnTo>
                    <a:pt x="119393" y="42913"/>
                  </a:lnTo>
                  <a:lnTo>
                    <a:pt x="119393" y="42913"/>
                  </a:lnTo>
                  <a:lnTo>
                    <a:pt x="119393" y="42913"/>
                  </a:lnTo>
                  <a:lnTo>
                    <a:pt x="119393" y="42913"/>
                  </a:lnTo>
                  <a:lnTo>
                    <a:pt x="119292" y="42437"/>
                  </a:lnTo>
                  <a:lnTo>
                    <a:pt x="119040" y="42437"/>
                  </a:lnTo>
                  <a:lnTo>
                    <a:pt x="118939" y="42119"/>
                  </a:lnTo>
                  <a:lnTo>
                    <a:pt x="118787" y="42119"/>
                  </a:lnTo>
                  <a:lnTo>
                    <a:pt x="118787" y="42119"/>
                  </a:lnTo>
                  <a:lnTo>
                    <a:pt x="118787" y="42119"/>
                  </a:lnTo>
                  <a:lnTo>
                    <a:pt x="119040" y="42119"/>
                  </a:lnTo>
                  <a:lnTo>
                    <a:pt x="119141" y="42437"/>
                  </a:lnTo>
                  <a:lnTo>
                    <a:pt x="119292" y="42437"/>
                  </a:lnTo>
                  <a:lnTo>
                    <a:pt x="119393" y="42437"/>
                  </a:lnTo>
                  <a:lnTo>
                    <a:pt x="119646" y="42437"/>
                  </a:lnTo>
                  <a:lnTo>
                    <a:pt x="119646" y="42437"/>
                  </a:lnTo>
                  <a:lnTo>
                    <a:pt x="119545" y="42119"/>
                  </a:lnTo>
                  <a:lnTo>
                    <a:pt x="119393" y="42119"/>
                  </a:lnTo>
                  <a:lnTo>
                    <a:pt x="119393" y="41801"/>
                  </a:lnTo>
                  <a:lnTo>
                    <a:pt x="119393" y="41801"/>
                  </a:lnTo>
                  <a:lnTo>
                    <a:pt x="119393" y="41324"/>
                  </a:lnTo>
                  <a:lnTo>
                    <a:pt x="119545" y="41324"/>
                  </a:lnTo>
                  <a:lnTo>
                    <a:pt x="119545" y="41324"/>
                  </a:lnTo>
                  <a:lnTo>
                    <a:pt x="119646" y="41324"/>
                  </a:lnTo>
                  <a:lnTo>
                    <a:pt x="119646" y="41324"/>
                  </a:lnTo>
                  <a:lnTo>
                    <a:pt x="119646" y="41324"/>
                  </a:lnTo>
                  <a:lnTo>
                    <a:pt x="119545" y="41006"/>
                  </a:lnTo>
                  <a:lnTo>
                    <a:pt x="119393" y="41006"/>
                  </a:lnTo>
                  <a:lnTo>
                    <a:pt x="119141" y="41006"/>
                  </a:lnTo>
                  <a:lnTo>
                    <a:pt x="119141" y="41006"/>
                  </a:lnTo>
                  <a:lnTo>
                    <a:pt x="119040" y="40688"/>
                  </a:lnTo>
                  <a:lnTo>
                    <a:pt x="119040" y="40688"/>
                  </a:lnTo>
                  <a:lnTo>
                    <a:pt x="118939" y="40688"/>
                  </a:lnTo>
                  <a:lnTo>
                    <a:pt x="118939" y="40688"/>
                  </a:lnTo>
                  <a:lnTo>
                    <a:pt x="118787" y="40688"/>
                  </a:lnTo>
                  <a:lnTo>
                    <a:pt x="118787" y="40688"/>
                  </a:lnTo>
                  <a:lnTo>
                    <a:pt x="118787" y="40688"/>
                  </a:lnTo>
                  <a:lnTo>
                    <a:pt x="118787" y="40688"/>
                  </a:lnTo>
                  <a:lnTo>
                    <a:pt x="118686" y="40688"/>
                  </a:lnTo>
                  <a:lnTo>
                    <a:pt x="118686" y="40211"/>
                  </a:lnTo>
                  <a:lnTo>
                    <a:pt x="118232" y="39894"/>
                  </a:lnTo>
                  <a:lnTo>
                    <a:pt x="117979" y="39894"/>
                  </a:lnTo>
                  <a:lnTo>
                    <a:pt x="117626" y="39576"/>
                  </a:lnTo>
                  <a:lnTo>
                    <a:pt x="117373" y="39099"/>
                  </a:lnTo>
                  <a:lnTo>
                    <a:pt x="117020" y="38781"/>
                  </a:lnTo>
                  <a:lnTo>
                    <a:pt x="116767" y="38781"/>
                  </a:lnTo>
                  <a:lnTo>
                    <a:pt x="116666" y="38781"/>
                  </a:lnTo>
                  <a:lnTo>
                    <a:pt x="116414" y="38304"/>
                  </a:lnTo>
                  <a:lnTo>
                    <a:pt x="116313" y="38304"/>
                  </a:lnTo>
                  <a:lnTo>
                    <a:pt x="115959" y="38304"/>
                  </a:lnTo>
                  <a:lnTo>
                    <a:pt x="116060" y="38304"/>
                  </a:lnTo>
                  <a:lnTo>
                    <a:pt x="116414" y="38781"/>
                  </a:lnTo>
                  <a:lnTo>
                    <a:pt x="116414" y="38781"/>
                  </a:lnTo>
                  <a:lnTo>
                    <a:pt x="116565" y="38781"/>
                  </a:lnTo>
                  <a:lnTo>
                    <a:pt x="116414" y="38781"/>
                  </a:lnTo>
                  <a:lnTo>
                    <a:pt x="116212" y="38781"/>
                  </a:lnTo>
                  <a:lnTo>
                    <a:pt x="116060" y="38781"/>
                  </a:lnTo>
                  <a:lnTo>
                    <a:pt x="115959" y="38304"/>
                  </a:lnTo>
                  <a:lnTo>
                    <a:pt x="115959" y="38304"/>
                  </a:lnTo>
                  <a:lnTo>
                    <a:pt x="115959" y="38781"/>
                  </a:lnTo>
                  <a:lnTo>
                    <a:pt x="116060" y="38781"/>
                  </a:lnTo>
                  <a:lnTo>
                    <a:pt x="116212" y="38781"/>
                  </a:lnTo>
                  <a:lnTo>
                    <a:pt x="116060" y="39099"/>
                  </a:lnTo>
                  <a:lnTo>
                    <a:pt x="116060" y="39099"/>
                  </a:lnTo>
                  <a:lnTo>
                    <a:pt x="115959" y="38781"/>
                  </a:lnTo>
                  <a:lnTo>
                    <a:pt x="115959" y="38781"/>
                  </a:lnTo>
                  <a:lnTo>
                    <a:pt x="115808" y="38304"/>
                  </a:lnTo>
                  <a:lnTo>
                    <a:pt x="115959" y="38304"/>
                  </a:lnTo>
                  <a:lnTo>
                    <a:pt x="115808" y="38304"/>
                  </a:lnTo>
                  <a:lnTo>
                    <a:pt x="115606" y="38304"/>
                  </a:lnTo>
                  <a:lnTo>
                    <a:pt x="115454" y="37986"/>
                  </a:lnTo>
                  <a:lnTo>
                    <a:pt x="115454" y="37986"/>
                  </a:lnTo>
                  <a:lnTo>
                    <a:pt x="115353" y="38304"/>
                  </a:lnTo>
                  <a:lnTo>
                    <a:pt x="114898" y="38304"/>
                  </a:lnTo>
                  <a:lnTo>
                    <a:pt x="114898" y="38304"/>
                  </a:lnTo>
                  <a:lnTo>
                    <a:pt x="114898" y="38304"/>
                  </a:lnTo>
                  <a:lnTo>
                    <a:pt x="115000" y="38304"/>
                  </a:lnTo>
                  <a:lnTo>
                    <a:pt x="115000" y="38304"/>
                  </a:lnTo>
                  <a:lnTo>
                    <a:pt x="115101" y="38304"/>
                  </a:lnTo>
                  <a:lnTo>
                    <a:pt x="115252" y="38304"/>
                  </a:lnTo>
                  <a:lnTo>
                    <a:pt x="115353" y="38781"/>
                  </a:lnTo>
                  <a:lnTo>
                    <a:pt x="115353" y="38781"/>
                  </a:lnTo>
                  <a:lnTo>
                    <a:pt x="115454" y="38781"/>
                  </a:lnTo>
                  <a:lnTo>
                    <a:pt x="115606" y="39099"/>
                  </a:lnTo>
                  <a:lnTo>
                    <a:pt x="115707" y="39099"/>
                  </a:lnTo>
                  <a:lnTo>
                    <a:pt x="115707" y="39576"/>
                  </a:lnTo>
                  <a:lnTo>
                    <a:pt x="115707" y="39576"/>
                  </a:lnTo>
                  <a:lnTo>
                    <a:pt x="115707" y="39576"/>
                  </a:lnTo>
                  <a:lnTo>
                    <a:pt x="115808" y="39894"/>
                  </a:lnTo>
                  <a:lnTo>
                    <a:pt x="115959" y="39894"/>
                  </a:lnTo>
                  <a:lnTo>
                    <a:pt x="116060" y="39894"/>
                  </a:lnTo>
                  <a:lnTo>
                    <a:pt x="116212" y="39894"/>
                  </a:lnTo>
                  <a:lnTo>
                    <a:pt x="116313" y="40211"/>
                  </a:lnTo>
                  <a:lnTo>
                    <a:pt x="116313" y="40211"/>
                  </a:lnTo>
                  <a:lnTo>
                    <a:pt x="116414" y="40688"/>
                  </a:lnTo>
                  <a:lnTo>
                    <a:pt x="116414" y="40688"/>
                  </a:lnTo>
                  <a:lnTo>
                    <a:pt x="116414" y="40688"/>
                  </a:lnTo>
                  <a:lnTo>
                    <a:pt x="116414" y="40688"/>
                  </a:lnTo>
                  <a:lnTo>
                    <a:pt x="116414" y="40688"/>
                  </a:lnTo>
                  <a:lnTo>
                    <a:pt x="116212" y="40211"/>
                  </a:lnTo>
                  <a:lnTo>
                    <a:pt x="116060" y="40211"/>
                  </a:lnTo>
                  <a:lnTo>
                    <a:pt x="115959" y="40211"/>
                  </a:lnTo>
                  <a:lnTo>
                    <a:pt x="115959" y="40211"/>
                  </a:lnTo>
                  <a:lnTo>
                    <a:pt x="115959" y="40211"/>
                  </a:lnTo>
                  <a:lnTo>
                    <a:pt x="115959" y="40211"/>
                  </a:lnTo>
                  <a:lnTo>
                    <a:pt x="115959" y="40211"/>
                  </a:lnTo>
                  <a:lnTo>
                    <a:pt x="115808" y="40211"/>
                  </a:lnTo>
                  <a:lnTo>
                    <a:pt x="115707" y="39894"/>
                  </a:lnTo>
                  <a:lnTo>
                    <a:pt x="115606" y="39894"/>
                  </a:lnTo>
                  <a:lnTo>
                    <a:pt x="115454" y="39894"/>
                  </a:lnTo>
                  <a:lnTo>
                    <a:pt x="115454" y="39576"/>
                  </a:lnTo>
                  <a:lnTo>
                    <a:pt x="115353" y="39576"/>
                  </a:lnTo>
                  <a:lnTo>
                    <a:pt x="115252" y="39576"/>
                  </a:lnTo>
                  <a:lnTo>
                    <a:pt x="115101" y="39576"/>
                  </a:lnTo>
                  <a:lnTo>
                    <a:pt x="115101" y="39099"/>
                  </a:lnTo>
                  <a:lnTo>
                    <a:pt x="115000" y="38781"/>
                  </a:lnTo>
                  <a:lnTo>
                    <a:pt x="114898" y="38781"/>
                  </a:lnTo>
                  <a:lnTo>
                    <a:pt x="114747" y="38304"/>
                  </a:lnTo>
                  <a:lnTo>
                    <a:pt x="114646" y="38304"/>
                  </a:lnTo>
                  <a:lnTo>
                    <a:pt x="114545" y="37986"/>
                  </a:lnTo>
                  <a:lnTo>
                    <a:pt x="114393" y="37668"/>
                  </a:lnTo>
                  <a:lnTo>
                    <a:pt x="114292" y="37668"/>
                  </a:lnTo>
                  <a:lnTo>
                    <a:pt x="114141" y="37192"/>
                  </a:lnTo>
                  <a:lnTo>
                    <a:pt x="114040" y="37192"/>
                  </a:lnTo>
                  <a:lnTo>
                    <a:pt x="114040" y="37192"/>
                  </a:lnTo>
                  <a:lnTo>
                    <a:pt x="114040" y="37668"/>
                  </a:lnTo>
                  <a:lnTo>
                    <a:pt x="114040" y="37668"/>
                  </a:lnTo>
                  <a:lnTo>
                    <a:pt x="113939" y="37668"/>
                  </a:lnTo>
                  <a:lnTo>
                    <a:pt x="113939" y="37192"/>
                  </a:lnTo>
                  <a:lnTo>
                    <a:pt x="113787" y="36874"/>
                  </a:lnTo>
                  <a:lnTo>
                    <a:pt x="113686" y="36874"/>
                  </a:lnTo>
                  <a:lnTo>
                    <a:pt x="113686" y="36874"/>
                  </a:lnTo>
                  <a:lnTo>
                    <a:pt x="113585" y="36556"/>
                  </a:lnTo>
                  <a:lnTo>
                    <a:pt x="111919" y="35443"/>
                  </a:lnTo>
                  <a:lnTo>
                    <a:pt x="111666" y="34966"/>
                  </a:lnTo>
                  <a:lnTo>
                    <a:pt x="111414" y="34966"/>
                  </a:lnTo>
                  <a:lnTo>
                    <a:pt x="111313" y="34966"/>
                  </a:lnTo>
                  <a:lnTo>
                    <a:pt x="111313" y="34966"/>
                  </a:lnTo>
                  <a:lnTo>
                    <a:pt x="111313" y="34966"/>
                  </a:lnTo>
                  <a:lnTo>
                    <a:pt x="111212" y="34966"/>
                  </a:lnTo>
                  <a:lnTo>
                    <a:pt x="111212" y="34966"/>
                  </a:lnTo>
                  <a:lnTo>
                    <a:pt x="111212" y="34966"/>
                  </a:lnTo>
                  <a:lnTo>
                    <a:pt x="111060" y="34649"/>
                  </a:lnTo>
                  <a:lnTo>
                    <a:pt x="110353" y="34172"/>
                  </a:lnTo>
                  <a:lnTo>
                    <a:pt x="110252" y="33854"/>
                  </a:lnTo>
                  <a:lnTo>
                    <a:pt x="110353" y="34172"/>
                  </a:lnTo>
                  <a:lnTo>
                    <a:pt x="110808" y="34649"/>
                  </a:lnTo>
                  <a:lnTo>
                    <a:pt x="110959" y="34649"/>
                  </a:lnTo>
                  <a:lnTo>
                    <a:pt x="110959" y="34966"/>
                  </a:lnTo>
                  <a:lnTo>
                    <a:pt x="110808" y="34966"/>
                  </a:lnTo>
                  <a:lnTo>
                    <a:pt x="110808" y="34649"/>
                  </a:lnTo>
                  <a:lnTo>
                    <a:pt x="110707" y="34649"/>
                  </a:lnTo>
                  <a:lnTo>
                    <a:pt x="110606" y="34649"/>
                  </a:lnTo>
                  <a:lnTo>
                    <a:pt x="110454" y="34172"/>
                  </a:lnTo>
                  <a:lnTo>
                    <a:pt x="110252" y="34172"/>
                  </a:lnTo>
                  <a:lnTo>
                    <a:pt x="110101" y="34172"/>
                  </a:lnTo>
                  <a:lnTo>
                    <a:pt x="110000" y="33854"/>
                  </a:lnTo>
                  <a:lnTo>
                    <a:pt x="109898" y="33854"/>
                  </a:lnTo>
                  <a:lnTo>
                    <a:pt x="110000" y="33854"/>
                  </a:lnTo>
                  <a:lnTo>
                    <a:pt x="110101" y="33854"/>
                  </a:lnTo>
                  <a:lnTo>
                    <a:pt x="109898" y="33854"/>
                  </a:lnTo>
                  <a:lnTo>
                    <a:pt x="109646" y="33536"/>
                  </a:lnTo>
                  <a:lnTo>
                    <a:pt x="109292" y="33536"/>
                  </a:lnTo>
                  <a:lnTo>
                    <a:pt x="109191" y="33059"/>
                  </a:lnTo>
                  <a:lnTo>
                    <a:pt x="109040" y="33059"/>
                  </a:lnTo>
                  <a:lnTo>
                    <a:pt x="109040" y="33059"/>
                  </a:lnTo>
                  <a:lnTo>
                    <a:pt x="108939" y="33059"/>
                  </a:lnTo>
                  <a:lnTo>
                    <a:pt x="108787" y="33059"/>
                  </a:lnTo>
                  <a:lnTo>
                    <a:pt x="108787" y="33059"/>
                  </a:lnTo>
                  <a:lnTo>
                    <a:pt x="108686" y="32741"/>
                  </a:lnTo>
                  <a:lnTo>
                    <a:pt x="108434" y="32741"/>
                  </a:lnTo>
                  <a:lnTo>
                    <a:pt x="108333" y="32741"/>
                  </a:lnTo>
                  <a:lnTo>
                    <a:pt x="107727" y="31947"/>
                  </a:lnTo>
                  <a:lnTo>
                    <a:pt x="107525" y="31947"/>
                  </a:lnTo>
                  <a:lnTo>
                    <a:pt x="107373" y="31947"/>
                  </a:lnTo>
                  <a:lnTo>
                    <a:pt x="107373" y="31629"/>
                  </a:lnTo>
                  <a:lnTo>
                    <a:pt x="107272" y="31629"/>
                  </a:lnTo>
                  <a:lnTo>
                    <a:pt x="106919" y="31629"/>
                  </a:lnTo>
                  <a:lnTo>
                    <a:pt x="106565" y="31311"/>
                  </a:lnTo>
                  <a:lnTo>
                    <a:pt x="105959" y="31311"/>
                  </a:lnTo>
                  <a:lnTo>
                    <a:pt x="105606" y="30834"/>
                  </a:lnTo>
                  <a:lnTo>
                    <a:pt x="105101" y="30516"/>
                  </a:lnTo>
                  <a:lnTo>
                    <a:pt x="104747" y="30516"/>
                  </a:lnTo>
                  <a:lnTo>
                    <a:pt x="104646" y="30039"/>
                  </a:lnTo>
                  <a:lnTo>
                    <a:pt x="104545" y="30039"/>
                  </a:lnTo>
                  <a:lnTo>
                    <a:pt x="104292" y="30516"/>
                  </a:lnTo>
                  <a:lnTo>
                    <a:pt x="103939" y="30516"/>
                  </a:lnTo>
                  <a:lnTo>
                    <a:pt x="103585" y="30516"/>
                  </a:lnTo>
                  <a:lnTo>
                    <a:pt x="103333" y="30516"/>
                  </a:lnTo>
                  <a:lnTo>
                    <a:pt x="103080" y="30516"/>
                  </a:lnTo>
                  <a:lnTo>
                    <a:pt x="102878" y="30039"/>
                  </a:lnTo>
                  <a:lnTo>
                    <a:pt x="102878" y="30039"/>
                  </a:lnTo>
                  <a:lnTo>
                    <a:pt x="102979" y="30516"/>
                  </a:lnTo>
                  <a:lnTo>
                    <a:pt x="102727" y="30516"/>
                  </a:lnTo>
                  <a:lnTo>
                    <a:pt x="102525" y="30039"/>
                  </a:lnTo>
                  <a:lnTo>
                    <a:pt x="102272" y="30039"/>
                  </a:lnTo>
                  <a:lnTo>
                    <a:pt x="101767" y="30039"/>
                  </a:lnTo>
                  <a:lnTo>
                    <a:pt x="101212" y="29721"/>
                  </a:lnTo>
                  <a:lnTo>
                    <a:pt x="100959" y="29721"/>
                  </a:lnTo>
                  <a:lnTo>
                    <a:pt x="100707" y="29721"/>
                  </a:lnTo>
                  <a:lnTo>
                    <a:pt x="100959" y="30039"/>
                  </a:lnTo>
                  <a:lnTo>
                    <a:pt x="100959" y="30516"/>
                  </a:lnTo>
                  <a:lnTo>
                    <a:pt x="101060" y="30834"/>
                  </a:lnTo>
                  <a:lnTo>
                    <a:pt x="101060" y="30834"/>
                  </a:lnTo>
                  <a:lnTo>
                    <a:pt x="101060" y="30834"/>
                  </a:lnTo>
                  <a:lnTo>
                    <a:pt x="101414" y="31311"/>
                  </a:lnTo>
                  <a:lnTo>
                    <a:pt x="101767" y="31629"/>
                  </a:lnTo>
                  <a:lnTo>
                    <a:pt x="102020" y="31947"/>
                  </a:lnTo>
                  <a:lnTo>
                    <a:pt x="102272" y="32423"/>
                  </a:lnTo>
                  <a:lnTo>
                    <a:pt x="102373" y="32741"/>
                  </a:lnTo>
                  <a:lnTo>
                    <a:pt x="102373" y="33059"/>
                  </a:lnTo>
                  <a:lnTo>
                    <a:pt x="102020" y="33536"/>
                  </a:lnTo>
                  <a:lnTo>
                    <a:pt x="101767" y="33536"/>
                  </a:lnTo>
                  <a:lnTo>
                    <a:pt x="101414" y="33059"/>
                  </a:lnTo>
                  <a:lnTo>
                    <a:pt x="101212" y="32741"/>
                  </a:lnTo>
                  <a:lnTo>
                    <a:pt x="100858" y="32423"/>
                  </a:lnTo>
                  <a:lnTo>
                    <a:pt x="100454" y="31947"/>
                  </a:lnTo>
                  <a:lnTo>
                    <a:pt x="100353" y="31947"/>
                  </a:lnTo>
                  <a:lnTo>
                    <a:pt x="100252" y="31947"/>
                  </a:lnTo>
                  <a:lnTo>
                    <a:pt x="100000" y="31629"/>
                  </a:lnTo>
                  <a:lnTo>
                    <a:pt x="99747" y="31311"/>
                  </a:lnTo>
                  <a:lnTo>
                    <a:pt x="99646" y="30834"/>
                  </a:lnTo>
                  <a:lnTo>
                    <a:pt x="99545" y="30834"/>
                  </a:lnTo>
                  <a:lnTo>
                    <a:pt x="99393" y="30834"/>
                  </a:lnTo>
                  <a:lnTo>
                    <a:pt x="99191" y="30834"/>
                  </a:lnTo>
                  <a:lnTo>
                    <a:pt x="99040" y="31311"/>
                  </a:lnTo>
                  <a:lnTo>
                    <a:pt x="99040" y="31311"/>
                  </a:lnTo>
                  <a:lnTo>
                    <a:pt x="98939" y="31311"/>
                  </a:lnTo>
                  <a:lnTo>
                    <a:pt x="98333" y="31311"/>
                  </a:lnTo>
                  <a:lnTo>
                    <a:pt x="98080" y="31311"/>
                  </a:lnTo>
                  <a:lnTo>
                    <a:pt x="97272" y="31311"/>
                  </a:lnTo>
                  <a:lnTo>
                    <a:pt x="96919" y="30834"/>
                  </a:lnTo>
                  <a:lnTo>
                    <a:pt x="96666" y="30834"/>
                  </a:lnTo>
                  <a:lnTo>
                    <a:pt x="96565" y="30834"/>
                  </a:lnTo>
                  <a:lnTo>
                    <a:pt x="96414" y="30834"/>
                  </a:lnTo>
                  <a:lnTo>
                    <a:pt x="96212" y="30834"/>
                  </a:lnTo>
                  <a:lnTo>
                    <a:pt x="96060" y="30834"/>
                  </a:lnTo>
                  <a:lnTo>
                    <a:pt x="95707" y="30834"/>
                  </a:lnTo>
                  <a:lnTo>
                    <a:pt x="95707" y="31311"/>
                  </a:lnTo>
                  <a:lnTo>
                    <a:pt x="95606" y="31311"/>
                  </a:lnTo>
                  <a:lnTo>
                    <a:pt x="95454" y="31629"/>
                  </a:lnTo>
                  <a:lnTo>
                    <a:pt x="95606" y="31947"/>
                  </a:lnTo>
                  <a:lnTo>
                    <a:pt x="95707" y="32423"/>
                  </a:lnTo>
                  <a:lnTo>
                    <a:pt x="95959" y="32741"/>
                  </a:lnTo>
                  <a:lnTo>
                    <a:pt x="96060" y="33059"/>
                  </a:lnTo>
                  <a:lnTo>
                    <a:pt x="96060" y="33059"/>
                  </a:lnTo>
                  <a:lnTo>
                    <a:pt x="96060" y="33536"/>
                  </a:lnTo>
                  <a:lnTo>
                    <a:pt x="96212" y="33854"/>
                  </a:lnTo>
                  <a:lnTo>
                    <a:pt x="96212" y="33854"/>
                  </a:lnTo>
                  <a:lnTo>
                    <a:pt x="96060" y="34172"/>
                  </a:lnTo>
                  <a:lnTo>
                    <a:pt x="96060" y="33854"/>
                  </a:lnTo>
                  <a:lnTo>
                    <a:pt x="96060" y="33854"/>
                  </a:lnTo>
                  <a:lnTo>
                    <a:pt x="95959" y="33059"/>
                  </a:lnTo>
                  <a:lnTo>
                    <a:pt x="95858" y="32741"/>
                  </a:lnTo>
                  <a:lnTo>
                    <a:pt x="95606" y="32741"/>
                  </a:lnTo>
                  <a:lnTo>
                    <a:pt x="95454" y="32423"/>
                  </a:lnTo>
                  <a:lnTo>
                    <a:pt x="95252" y="31947"/>
                  </a:lnTo>
                  <a:lnTo>
                    <a:pt x="95000" y="31629"/>
                  </a:lnTo>
                  <a:lnTo>
                    <a:pt x="94898" y="31311"/>
                  </a:lnTo>
                  <a:lnTo>
                    <a:pt x="94646" y="30834"/>
                  </a:lnTo>
                  <a:lnTo>
                    <a:pt x="94191" y="30834"/>
                  </a:lnTo>
                  <a:lnTo>
                    <a:pt x="93939" y="30516"/>
                  </a:lnTo>
                  <a:lnTo>
                    <a:pt x="93686" y="30516"/>
                  </a:lnTo>
                  <a:lnTo>
                    <a:pt x="93686" y="30039"/>
                  </a:lnTo>
                  <a:lnTo>
                    <a:pt x="93585" y="29721"/>
                  </a:lnTo>
                  <a:lnTo>
                    <a:pt x="93434" y="29721"/>
                  </a:lnTo>
                  <a:lnTo>
                    <a:pt x="93434" y="29403"/>
                  </a:lnTo>
                  <a:lnTo>
                    <a:pt x="93333" y="28927"/>
                  </a:lnTo>
                  <a:lnTo>
                    <a:pt x="93232" y="28927"/>
                  </a:lnTo>
                  <a:lnTo>
                    <a:pt x="93080" y="28609"/>
                  </a:lnTo>
                  <a:lnTo>
                    <a:pt x="92878" y="28291"/>
                  </a:lnTo>
                  <a:lnTo>
                    <a:pt x="92727" y="28291"/>
                  </a:lnTo>
                  <a:lnTo>
                    <a:pt x="92373" y="27814"/>
                  </a:lnTo>
                  <a:lnTo>
                    <a:pt x="91767" y="27496"/>
                  </a:lnTo>
                  <a:lnTo>
                    <a:pt x="91212" y="27178"/>
                  </a:lnTo>
                  <a:lnTo>
                    <a:pt x="90707" y="27178"/>
                  </a:lnTo>
                  <a:lnTo>
                    <a:pt x="90252" y="27178"/>
                  </a:lnTo>
                  <a:lnTo>
                    <a:pt x="89646" y="27178"/>
                  </a:lnTo>
                  <a:lnTo>
                    <a:pt x="89545" y="27178"/>
                  </a:lnTo>
                  <a:lnTo>
                    <a:pt x="89191" y="27178"/>
                  </a:lnTo>
                  <a:lnTo>
                    <a:pt x="88787" y="27178"/>
                  </a:lnTo>
                  <a:lnTo>
                    <a:pt x="88585" y="27496"/>
                  </a:lnTo>
                  <a:lnTo>
                    <a:pt x="88333" y="27496"/>
                  </a:lnTo>
                  <a:lnTo>
                    <a:pt x="87979" y="27496"/>
                  </a:lnTo>
                  <a:lnTo>
                    <a:pt x="87727" y="27814"/>
                  </a:lnTo>
                  <a:lnTo>
                    <a:pt x="87020" y="27178"/>
                  </a:lnTo>
                  <a:lnTo>
                    <a:pt x="87121" y="27178"/>
                  </a:lnTo>
                  <a:lnTo>
                    <a:pt x="87272" y="27178"/>
                  </a:lnTo>
                  <a:lnTo>
                    <a:pt x="86767" y="26701"/>
                  </a:lnTo>
                  <a:lnTo>
                    <a:pt x="86565" y="26384"/>
                  </a:lnTo>
                  <a:lnTo>
                    <a:pt x="86212" y="26384"/>
                  </a:lnTo>
                  <a:lnTo>
                    <a:pt x="86060" y="25907"/>
                  </a:lnTo>
                  <a:lnTo>
                    <a:pt x="85959" y="26384"/>
                  </a:lnTo>
                  <a:lnTo>
                    <a:pt x="85707" y="26384"/>
                  </a:lnTo>
                  <a:lnTo>
                    <a:pt x="85707" y="26701"/>
                  </a:lnTo>
                  <a:lnTo>
                    <a:pt x="85707" y="26384"/>
                  </a:lnTo>
                  <a:lnTo>
                    <a:pt x="85858" y="25907"/>
                  </a:lnTo>
                  <a:lnTo>
                    <a:pt x="85858" y="25907"/>
                  </a:lnTo>
                  <a:lnTo>
                    <a:pt x="85707" y="25907"/>
                  </a:lnTo>
                  <a:lnTo>
                    <a:pt x="85707" y="25589"/>
                  </a:lnTo>
                  <a:lnTo>
                    <a:pt x="85353" y="25907"/>
                  </a:lnTo>
                  <a:lnTo>
                    <a:pt x="85252" y="25589"/>
                  </a:lnTo>
                  <a:lnTo>
                    <a:pt x="85101" y="25589"/>
                  </a:lnTo>
                  <a:lnTo>
                    <a:pt x="85101" y="25589"/>
                  </a:lnTo>
                  <a:lnTo>
                    <a:pt x="84747" y="25271"/>
                  </a:lnTo>
                  <a:lnTo>
                    <a:pt x="84545" y="25271"/>
                  </a:lnTo>
                  <a:lnTo>
                    <a:pt x="84393" y="25271"/>
                  </a:lnTo>
                  <a:lnTo>
                    <a:pt x="84292" y="25271"/>
                  </a:lnTo>
                  <a:lnTo>
                    <a:pt x="84292" y="25271"/>
                  </a:lnTo>
                  <a:lnTo>
                    <a:pt x="84292" y="25271"/>
                  </a:lnTo>
                  <a:lnTo>
                    <a:pt x="84292" y="24794"/>
                  </a:lnTo>
                  <a:lnTo>
                    <a:pt x="84393" y="24794"/>
                  </a:lnTo>
                  <a:lnTo>
                    <a:pt x="84898" y="24794"/>
                  </a:lnTo>
                  <a:lnTo>
                    <a:pt x="84898" y="24794"/>
                  </a:lnTo>
                  <a:lnTo>
                    <a:pt x="84747" y="24476"/>
                  </a:lnTo>
                  <a:lnTo>
                    <a:pt x="84747" y="24476"/>
                  </a:lnTo>
                  <a:lnTo>
                    <a:pt x="84393" y="24158"/>
                  </a:lnTo>
                  <a:lnTo>
                    <a:pt x="84191" y="24158"/>
                  </a:lnTo>
                  <a:lnTo>
                    <a:pt x="83686" y="23682"/>
                  </a:lnTo>
                  <a:lnTo>
                    <a:pt x="83333" y="23682"/>
                  </a:lnTo>
                  <a:lnTo>
                    <a:pt x="82626" y="23682"/>
                  </a:lnTo>
                  <a:lnTo>
                    <a:pt x="82525" y="23682"/>
                  </a:lnTo>
                  <a:lnTo>
                    <a:pt x="82525" y="23682"/>
                  </a:lnTo>
                  <a:lnTo>
                    <a:pt x="82525" y="24158"/>
                  </a:lnTo>
                  <a:lnTo>
                    <a:pt x="82373" y="24794"/>
                  </a:lnTo>
                  <a:lnTo>
                    <a:pt x="82373" y="24794"/>
                  </a:lnTo>
                  <a:lnTo>
                    <a:pt x="82272" y="25271"/>
                  </a:lnTo>
                  <a:lnTo>
                    <a:pt x="81919" y="25271"/>
                  </a:lnTo>
                  <a:lnTo>
                    <a:pt x="81767" y="25271"/>
                  </a:lnTo>
                  <a:lnTo>
                    <a:pt x="81666" y="25271"/>
                  </a:lnTo>
                  <a:lnTo>
                    <a:pt x="81666" y="24794"/>
                  </a:lnTo>
                  <a:lnTo>
                    <a:pt x="81666" y="24794"/>
                  </a:lnTo>
                  <a:lnTo>
                    <a:pt x="81666" y="24794"/>
                  </a:lnTo>
                  <a:lnTo>
                    <a:pt x="81565" y="24794"/>
                  </a:lnTo>
                  <a:lnTo>
                    <a:pt x="81565" y="24794"/>
                  </a:lnTo>
                  <a:lnTo>
                    <a:pt x="81565" y="24794"/>
                  </a:lnTo>
                  <a:lnTo>
                    <a:pt x="81666" y="24794"/>
                  </a:lnTo>
                  <a:lnTo>
                    <a:pt x="81767" y="24794"/>
                  </a:lnTo>
                  <a:lnTo>
                    <a:pt x="82020" y="24476"/>
                  </a:lnTo>
                  <a:lnTo>
                    <a:pt x="81919" y="24476"/>
                  </a:lnTo>
                  <a:lnTo>
                    <a:pt x="81767" y="24158"/>
                  </a:lnTo>
                  <a:lnTo>
                    <a:pt x="81666" y="24158"/>
                  </a:lnTo>
                  <a:lnTo>
                    <a:pt x="81666" y="23682"/>
                  </a:lnTo>
                  <a:lnTo>
                    <a:pt x="81666" y="23682"/>
                  </a:lnTo>
                  <a:lnTo>
                    <a:pt x="81666" y="23682"/>
                  </a:lnTo>
                  <a:lnTo>
                    <a:pt x="81919" y="24158"/>
                  </a:lnTo>
                  <a:lnTo>
                    <a:pt x="82020" y="24158"/>
                  </a:lnTo>
                  <a:lnTo>
                    <a:pt x="82020" y="24158"/>
                  </a:lnTo>
                  <a:lnTo>
                    <a:pt x="82171" y="24476"/>
                  </a:lnTo>
                  <a:lnTo>
                    <a:pt x="82272" y="24476"/>
                  </a:lnTo>
                  <a:lnTo>
                    <a:pt x="82272" y="24476"/>
                  </a:lnTo>
                  <a:lnTo>
                    <a:pt x="82373" y="24158"/>
                  </a:lnTo>
                  <a:lnTo>
                    <a:pt x="82373" y="23682"/>
                  </a:lnTo>
                  <a:lnTo>
                    <a:pt x="82272" y="23682"/>
                  </a:lnTo>
                  <a:lnTo>
                    <a:pt x="82171" y="23682"/>
                  </a:lnTo>
                  <a:lnTo>
                    <a:pt x="81212" y="23682"/>
                  </a:lnTo>
                  <a:lnTo>
                    <a:pt x="80858" y="24158"/>
                  </a:lnTo>
                  <a:lnTo>
                    <a:pt x="80707" y="24158"/>
                  </a:lnTo>
                  <a:lnTo>
                    <a:pt x="80606" y="23682"/>
                  </a:lnTo>
                  <a:lnTo>
                    <a:pt x="80707" y="23682"/>
                  </a:lnTo>
                  <a:lnTo>
                    <a:pt x="80858" y="23682"/>
                  </a:lnTo>
                  <a:lnTo>
                    <a:pt x="80858" y="23364"/>
                  </a:lnTo>
                  <a:lnTo>
                    <a:pt x="80959" y="23364"/>
                  </a:lnTo>
                  <a:lnTo>
                    <a:pt x="81060" y="23364"/>
                  </a:lnTo>
                  <a:lnTo>
                    <a:pt x="81313" y="23364"/>
                  </a:lnTo>
                  <a:lnTo>
                    <a:pt x="81767" y="23364"/>
                  </a:lnTo>
                  <a:lnTo>
                    <a:pt x="81767" y="23364"/>
                  </a:lnTo>
                  <a:lnTo>
                    <a:pt x="81565" y="23364"/>
                  </a:lnTo>
                  <a:lnTo>
                    <a:pt x="81313" y="23046"/>
                  </a:lnTo>
                  <a:lnTo>
                    <a:pt x="81212" y="23046"/>
                  </a:lnTo>
                  <a:lnTo>
                    <a:pt x="80959" y="23046"/>
                  </a:lnTo>
                  <a:lnTo>
                    <a:pt x="80505" y="23046"/>
                  </a:lnTo>
                  <a:lnTo>
                    <a:pt x="80252" y="22569"/>
                  </a:lnTo>
                  <a:lnTo>
                    <a:pt x="79747" y="22569"/>
                  </a:lnTo>
                  <a:lnTo>
                    <a:pt x="79646" y="22569"/>
                  </a:lnTo>
                  <a:lnTo>
                    <a:pt x="78686" y="22569"/>
                  </a:lnTo>
                  <a:lnTo>
                    <a:pt x="78232" y="22251"/>
                  </a:lnTo>
                  <a:lnTo>
                    <a:pt x="78080" y="22251"/>
                  </a:lnTo>
                  <a:lnTo>
                    <a:pt x="77727" y="22251"/>
                  </a:lnTo>
                  <a:lnTo>
                    <a:pt x="77626" y="22251"/>
                  </a:lnTo>
                  <a:lnTo>
                    <a:pt x="77626" y="22251"/>
                  </a:lnTo>
                  <a:lnTo>
                    <a:pt x="77626" y="22251"/>
                  </a:lnTo>
                  <a:lnTo>
                    <a:pt x="77979" y="22569"/>
                  </a:lnTo>
                  <a:lnTo>
                    <a:pt x="78080" y="22569"/>
                  </a:lnTo>
                  <a:lnTo>
                    <a:pt x="78232" y="23046"/>
                  </a:lnTo>
                  <a:lnTo>
                    <a:pt x="77979" y="23046"/>
                  </a:lnTo>
                  <a:lnTo>
                    <a:pt x="77878" y="23046"/>
                  </a:lnTo>
                  <a:lnTo>
                    <a:pt x="77373" y="23046"/>
                  </a:lnTo>
                  <a:lnTo>
                    <a:pt x="77272" y="23364"/>
                  </a:lnTo>
                  <a:lnTo>
                    <a:pt x="77272" y="23682"/>
                  </a:lnTo>
                  <a:lnTo>
                    <a:pt x="77272" y="23682"/>
                  </a:lnTo>
                  <a:lnTo>
                    <a:pt x="77373" y="24158"/>
                  </a:lnTo>
                  <a:lnTo>
                    <a:pt x="77626" y="24158"/>
                  </a:lnTo>
                  <a:lnTo>
                    <a:pt x="77626" y="23682"/>
                  </a:lnTo>
                  <a:lnTo>
                    <a:pt x="77626" y="23682"/>
                  </a:lnTo>
                  <a:lnTo>
                    <a:pt x="77979" y="23682"/>
                  </a:lnTo>
                  <a:lnTo>
                    <a:pt x="78080" y="24158"/>
                  </a:lnTo>
                  <a:lnTo>
                    <a:pt x="77979" y="24158"/>
                  </a:lnTo>
                  <a:lnTo>
                    <a:pt x="77878" y="24158"/>
                  </a:lnTo>
                  <a:lnTo>
                    <a:pt x="77878" y="24476"/>
                  </a:lnTo>
                  <a:lnTo>
                    <a:pt x="77727" y="24476"/>
                  </a:lnTo>
                  <a:lnTo>
                    <a:pt x="77979" y="24794"/>
                  </a:lnTo>
                  <a:lnTo>
                    <a:pt x="78080" y="24794"/>
                  </a:lnTo>
                  <a:lnTo>
                    <a:pt x="78232" y="25271"/>
                  </a:lnTo>
                  <a:lnTo>
                    <a:pt x="78585" y="25589"/>
                  </a:lnTo>
                  <a:lnTo>
                    <a:pt x="78686" y="25907"/>
                  </a:lnTo>
                  <a:lnTo>
                    <a:pt x="78434" y="25907"/>
                  </a:lnTo>
                  <a:lnTo>
                    <a:pt x="78333" y="25907"/>
                  </a:lnTo>
                  <a:lnTo>
                    <a:pt x="78232" y="25907"/>
                  </a:lnTo>
                  <a:lnTo>
                    <a:pt x="77979" y="25589"/>
                  </a:lnTo>
                  <a:lnTo>
                    <a:pt x="77727" y="25589"/>
                  </a:lnTo>
                  <a:lnTo>
                    <a:pt x="77626" y="25589"/>
                  </a:lnTo>
                  <a:lnTo>
                    <a:pt x="77626" y="25589"/>
                  </a:lnTo>
                  <a:lnTo>
                    <a:pt x="77525" y="25589"/>
                  </a:lnTo>
                  <a:lnTo>
                    <a:pt x="77373" y="25589"/>
                  </a:lnTo>
                  <a:lnTo>
                    <a:pt x="77373" y="25589"/>
                  </a:lnTo>
                  <a:lnTo>
                    <a:pt x="77373" y="25589"/>
                  </a:lnTo>
                  <a:lnTo>
                    <a:pt x="77373" y="25907"/>
                  </a:lnTo>
                  <a:lnTo>
                    <a:pt x="77373" y="25907"/>
                  </a:lnTo>
                  <a:lnTo>
                    <a:pt x="77373" y="25907"/>
                  </a:lnTo>
                  <a:lnTo>
                    <a:pt x="77525" y="26384"/>
                  </a:lnTo>
                  <a:lnTo>
                    <a:pt x="77525" y="26384"/>
                  </a:lnTo>
                  <a:lnTo>
                    <a:pt x="77727" y="26384"/>
                  </a:lnTo>
                  <a:lnTo>
                    <a:pt x="77626" y="26384"/>
                  </a:lnTo>
                  <a:lnTo>
                    <a:pt x="77626" y="26384"/>
                  </a:lnTo>
                  <a:lnTo>
                    <a:pt x="77626" y="26384"/>
                  </a:lnTo>
                  <a:lnTo>
                    <a:pt x="77525" y="26701"/>
                  </a:lnTo>
                  <a:lnTo>
                    <a:pt x="77626" y="26701"/>
                  </a:lnTo>
                  <a:lnTo>
                    <a:pt x="77626" y="26701"/>
                  </a:lnTo>
                  <a:lnTo>
                    <a:pt x="77727" y="26701"/>
                  </a:lnTo>
                  <a:lnTo>
                    <a:pt x="77727" y="26701"/>
                  </a:lnTo>
                  <a:lnTo>
                    <a:pt x="77626" y="26701"/>
                  </a:lnTo>
                  <a:lnTo>
                    <a:pt x="77373" y="26701"/>
                  </a:lnTo>
                  <a:lnTo>
                    <a:pt x="77171" y="26384"/>
                  </a:lnTo>
                  <a:lnTo>
                    <a:pt x="77020" y="26384"/>
                  </a:lnTo>
                  <a:lnTo>
                    <a:pt x="76919" y="25907"/>
                  </a:lnTo>
                  <a:lnTo>
                    <a:pt x="76212" y="25589"/>
                  </a:lnTo>
                  <a:lnTo>
                    <a:pt x="75959" y="25589"/>
                  </a:lnTo>
                  <a:lnTo>
                    <a:pt x="75858" y="25589"/>
                  </a:lnTo>
                  <a:lnTo>
                    <a:pt x="75606" y="25589"/>
                  </a:lnTo>
                  <a:lnTo>
                    <a:pt x="75606" y="25589"/>
                  </a:lnTo>
                  <a:lnTo>
                    <a:pt x="75353" y="25907"/>
                  </a:lnTo>
                  <a:lnTo>
                    <a:pt x="75252" y="25907"/>
                  </a:lnTo>
                  <a:lnTo>
                    <a:pt x="75252" y="25907"/>
                  </a:lnTo>
                  <a:lnTo>
                    <a:pt x="74898" y="26384"/>
                  </a:lnTo>
                  <a:lnTo>
                    <a:pt x="74545" y="25907"/>
                  </a:lnTo>
                  <a:lnTo>
                    <a:pt x="74292" y="25907"/>
                  </a:lnTo>
                  <a:lnTo>
                    <a:pt x="74040" y="25589"/>
                  </a:lnTo>
                  <a:lnTo>
                    <a:pt x="73686" y="25271"/>
                  </a:lnTo>
                  <a:lnTo>
                    <a:pt x="73686" y="25271"/>
                  </a:lnTo>
                  <a:lnTo>
                    <a:pt x="73585" y="24794"/>
                  </a:lnTo>
                  <a:lnTo>
                    <a:pt x="73434" y="24794"/>
                  </a:lnTo>
                  <a:lnTo>
                    <a:pt x="73333" y="24794"/>
                  </a:lnTo>
                  <a:lnTo>
                    <a:pt x="73333" y="24794"/>
                  </a:lnTo>
                  <a:lnTo>
                    <a:pt x="73333" y="25271"/>
                  </a:lnTo>
                  <a:lnTo>
                    <a:pt x="73333" y="25589"/>
                  </a:lnTo>
                  <a:lnTo>
                    <a:pt x="73434" y="25907"/>
                  </a:lnTo>
                  <a:lnTo>
                    <a:pt x="73585" y="26384"/>
                  </a:lnTo>
                  <a:lnTo>
                    <a:pt x="73585" y="26384"/>
                  </a:lnTo>
                  <a:lnTo>
                    <a:pt x="73686" y="26384"/>
                  </a:lnTo>
                  <a:lnTo>
                    <a:pt x="73585" y="26701"/>
                  </a:lnTo>
                  <a:lnTo>
                    <a:pt x="73585" y="27178"/>
                  </a:lnTo>
                  <a:lnTo>
                    <a:pt x="73686" y="27496"/>
                  </a:lnTo>
                  <a:lnTo>
                    <a:pt x="73686" y="27814"/>
                  </a:lnTo>
                  <a:lnTo>
                    <a:pt x="73585" y="27814"/>
                  </a:lnTo>
                  <a:lnTo>
                    <a:pt x="73585" y="27814"/>
                  </a:lnTo>
                  <a:lnTo>
                    <a:pt x="73434" y="27814"/>
                  </a:lnTo>
                  <a:lnTo>
                    <a:pt x="73333" y="27814"/>
                  </a:lnTo>
                  <a:lnTo>
                    <a:pt x="73080" y="27496"/>
                  </a:lnTo>
                  <a:lnTo>
                    <a:pt x="73080" y="27496"/>
                  </a:lnTo>
                  <a:lnTo>
                    <a:pt x="73080" y="27496"/>
                  </a:lnTo>
                  <a:lnTo>
                    <a:pt x="72979" y="27496"/>
                  </a:lnTo>
                  <a:lnTo>
                    <a:pt x="72727" y="27496"/>
                  </a:lnTo>
                  <a:lnTo>
                    <a:pt x="72525" y="27178"/>
                  </a:lnTo>
                  <a:lnTo>
                    <a:pt x="72272" y="26701"/>
                  </a:lnTo>
                  <a:lnTo>
                    <a:pt x="71767" y="25907"/>
                  </a:lnTo>
                  <a:lnTo>
                    <a:pt x="71565" y="25907"/>
                  </a:lnTo>
                  <a:lnTo>
                    <a:pt x="71414" y="25589"/>
                  </a:lnTo>
                  <a:lnTo>
                    <a:pt x="71212" y="25589"/>
                  </a:lnTo>
                  <a:lnTo>
                    <a:pt x="71060" y="25271"/>
                  </a:lnTo>
                  <a:lnTo>
                    <a:pt x="71212" y="25271"/>
                  </a:lnTo>
                  <a:lnTo>
                    <a:pt x="71313" y="25271"/>
                  </a:lnTo>
                  <a:lnTo>
                    <a:pt x="71414" y="25271"/>
                  </a:lnTo>
                  <a:lnTo>
                    <a:pt x="71212" y="24794"/>
                  </a:lnTo>
                  <a:lnTo>
                    <a:pt x="71060" y="24794"/>
                  </a:lnTo>
                  <a:lnTo>
                    <a:pt x="71060" y="24476"/>
                  </a:lnTo>
                  <a:lnTo>
                    <a:pt x="71060" y="24794"/>
                  </a:lnTo>
                  <a:lnTo>
                    <a:pt x="71212" y="24794"/>
                  </a:lnTo>
                  <a:lnTo>
                    <a:pt x="71212" y="25271"/>
                  </a:lnTo>
                  <a:lnTo>
                    <a:pt x="71060" y="25271"/>
                  </a:lnTo>
                  <a:lnTo>
                    <a:pt x="70353" y="24158"/>
                  </a:lnTo>
                  <a:lnTo>
                    <a:pt x="70000" y="23682"/>
                  </a:lnTo>
                  <a:lnTo>
                    <a:pt x="69898" y="23682"/>
                  </a:lnTo>
                  <a:lnTo>
                    <a:pt x="69646" y="23364"/>
                  </a:lnTo>
                  <a:lnTo>
                    <a:pt x="69646" y="23364"/>
                  </a:lnTo>
                  <a:lnTo>
                    <a:pt x="70000" y="23682"/>
                  </a:lnTo>
                  <a:lnTo>
                    <a:pt x="70353" y="23682"/>
                  </a:lnTo>
                  <a:lnTo>
                    <a:pt x="70707" y="24158"/>
                  </a:lnTo>
                  <a:lnTo>
                    <a:pt x="70959" y="24158"/>
                  </a:lnTo>
                  <a:lnTo>
                    <a:pt x="70959" y="24158"/>
                  </a:lnTo>
                  <a:lnTo>
                    <a:pt x="70858" y="23682"/>
                  </a:lnTo>
                  <a:lnTo>
                    <a:pt x="70606" y="23364"/>
                  </a:lnTo>
                  <a:lnTo>
                    <a:pt x="70505" y="23046"/>
                  </a:lnTo>
                  <a:lnTo>
                    <a:pt x="70101" y="23046"/>
                  </a:lnTo>
                  <a:lnTo>
                    <a:pt x="70000" y="23046"/>
                  </a:lnTo>
                  <a:lnTo>
                    <a:pt x="70000" y="23046"/>
                  </a:lnTo>
                  <a:lnTo>
                    <a:pt x="70101" y="23046"/>
                  </a:lnTo>
                  <a:lnTo>
                    <a:pt x="70252" y="23046"/>
                  </a:lnTo>
                  <a:lnTo>
                    <a:pt x="70252" y="22569"/>
                  </a:lnTo>
                  <a:lnTo>
                    <a:pt x="70353" y="22569"/>
                  </a:lnTo>
                  <a:lnTo>
                    <a:pt x="70252" y="22251"/>
                  </a:lnTo>
                  <a:lnTo>
                    <a:pt x="70000" y="22251"/>
                  </a:lnTo>
                  <a:lnTo>
                    <a:pt x="69747" y="22251"/>
                  </a:lnTo>
                  <a:lnTo>
                    <a:pt x="69747" y="22251"/>
                  </a:lnTo>
                  <a:lnTo>
                    <a:pt x="69747" y="21774"/>
                  </a:lnTo>
                  <a:lnTo>
                    <a:pt x="69898" y="21774"/>
                  </a:lnTo>
                  <a:lnTo>
                    <a:pt x="69898" y="21456"/>
                  </a:lnTo>
                  <a:lnTo>
                    <a:pt x="69898" y="21456"/>
                  </a:lnTo>
                  <a:lnTo>
                    <a:pt x="69747" y="21456"/>
                  </a:lnTo>
                  <a:lnTo>
                    <a:pt x="69747" y="21456"/>
                  </a:lnTo>
                  <a:lnTo>
                    <a:pt x="69646" y="21456"/>
                  </a:lnTo>
                  <a:lnTo>
                    <a:pt x="69646" y="21139"/>
                  </a:lnTo>
                  <a:lnTo>
                    <a:pt x="69545" y="21139"/>
                  </a:lnTo>
                  <a:lnTo>
                    <a:pt x="69393" y="21139"/>
                  </a:lnTo>
                  <a:lnTo>
                    <a:pt x="69191" y="21139"/>
                  </a:lnTo>
                  <a:lnTo>
                    <a:pt x="69040" y="21139"/>
                  </a:lnTo>
                  <a:lnTo>
                    <a:pt x="69040" y="20662"/>
                  </a:lnTo>
                  <a:lnTo>
                    <a:pt x="68939" y="20662"/>
                  </a:lnTo>
                  <a:lnTo>
                    <a:pt x="68838" y="20662"/>
                  </a:lnTo>
                  <a:lnTo>
                    <a:pt x="68838" y="20662"/>
                  </a:lnTo>
                  <a:lnTo>
                    <a:pt x="68838" y="20662"/>
                  </a:lnTo>
                  <a:lnTo>
                    <a:pt x="68585" y="20344"/>
                  </a:lnTo>
                  <a:lnTo>
                    <a:pt x="68080" y="20344"/>
                  </a:lnTo>
                  <a:lnTo>
                    <a:pt x="67979" y="20344"/>
                  </a:lnTo>
                  <a:lnTo>
                    <a:pt x="68080" y="20662"/>
                  </a:lnTo>
                  <a:lnTo>
                    <a:pt x="67979" y="20662"/>
                  </a:lnTo>
                  <a:lnTo>
                    <a:pt x="67727" y="20662"/>
                  </a:lnTo>
                  <a:lnTo>
                    <a:pt x="67727" y="20662"/>
                  </a:lnTo>
                  <a:lnTo>
                    <a:pt x="67727" y="20662"/>
                  </a:lnTo>
                  <a:lnTo>
                    <a:pt x="67626" y="20344"/>
                  </a:lnTo>
                  <a:lnTo>
                    <a:pt x="67626" y="20344"/>
                  </a:lnTo>
                  <a:lnTo>
                    <a:pt x="67626" y="20344"/>
                  </a:lnTo>
                  <a:lnTo>
                    <a:pt x="67525" y="20344"/>
                  </a:lnTo>
                  <a:lnTo>
                    <a:pt x="67525" y="20344"/>
                  </a:lnTo>
                  <a:lnTo>
                    <a:pt x="67373" y="20344"/>
                  </a:lnTo>
                  <a:lnTo>
                    <a:pt x="67373" y="20344"/>
                  </a:lnTo>
                  <a:lnTo>
                    <a:pt x="67272" y="20662"/>
                  </a:lnTo>
                  <a:lnTo>
                    <a:pt x="67171" y="20344"/>
                  </a:lnTo>
                  <a:lnTo>
                    <a:pt x="66414" y="20026"/>
                  </a:lnTo>
                  <a:lnTo>
                    <a:pt x="66212" y="19549"/>
                  </a:lnTo>
                  <a:lnTo>
                    <a:pt x="66212" y="19549"/>
                  </a:lnTo>
                  <a:lnTo>
                    <a:pt x="65959" y="20026"/>
                  </a:lnTo>
                  <a:lnTo>
                    <a:pt x="65959" y="20026"/>
                  </a:lnTo>
                  <a:lnTo>
                    <a:pt x="65959" y="20026"/>
                  </a:lnTo>
                  <a:lnTo>
                    <a:pt x="65707" y="20026"/>
                  </a:lnTo>
                  <a:lnTo>
                    <a:pt x="65606" y="20026"/>
                  </a:lnTo>
                  <a:lnTo>
                    <a:pt x="65707" y="20344"/>
                  </a:lnTo>
                  <a:lnTo>
                    <a:pt x="65858" y="20662"/>
                  </a:lnTo>
                  <a:lnTo>
                    <a:pt x="65858" y="20662"/>
                  </a:lnTo>
                  <a:lnTo>
                    <a:pt x="65959" y="20662"/>
                  </a:lnTo>
                  <a:lnTo>
                    <a:pt x="66060" y="21139"/>
                  </a:lnTo>
                  <a:lnTo>
                    <a:pt x="66212" y="21139"/>
                  </a:lnTo>
                  <a:lnTo>
                    <a:pt x="66212" y="21139"/>
                  </a:lnTo>
                  <a:lnTo>
                    <a:pt x="66212" y="21456"/>
                  </a:lnTo>
                  <a:lnTo>
                    <a:pt x="66212" y="21456"/>
                  </a:lnTo>
                  <a:lnTo>
                    <a:pt x="66212" y="21456"/>
                  </a:lnTo>
                  <a:lnTo>
                    <a:pt x="66212" y="21774"/>
                  </a:lnTo>
                  <a:lnTo>
                    <a:pt x="66212" y="21774"/>
                  </a:lnTo>
                  <a:lnTo>
                    <a:pt x="66060" y="21774"/>
                  </a:lnTo>
                  <a:lnTo>
                    <a:pt x="65707" y="21774"/>
                  </a:lnTo>
                  <a:lnTo>
                    <a:pt x="65707" y="21774"/>
                  </a:lnTo>
                  <a:lnTo>
                    <a:pt x="65707" y="21774"/>
                  </a:lnTo>
                  <a:lnTo>
                    <a:pt x="65858" y="21774"/>
                  </a:lnTo>
                  <a:lnTo>
                    <a:pt x="65959" y="21774"/>
                  </a:lnTo>
                  <a:lnTo>
                    <a:pt x="65959" y="22251"/>
                  </a:lnTo>
                  <a:lnTo>
                    <a:pt x="65858" y="22251"/>
                  </a:lnTo>
                  <a:lnTo>
                    <a:pt x="65606" y="22251"/>
                  </a:lnTo>
                  <a:lnTo>
                    <a:pt x="65505" y="22251"/>
                  </a:lnTo>
                  <a:lnTo>
                    <a:pt x="65353" y="21774"/>
                  </a:lnTo>
                  <a:lnTo>
                    <a:pt x="65252" y="21774"/>
                  </a:lnTo>
                  <a:lnTo>
                    <a:pt x="65000" y="21774"/>
                  </a:lnTo>
                  <a:lnTo>
                    <a:pt x="64747" y="21774"/>
                  </a:lnTo>
                  <a:lnTo>
                    <a:pt x="64393" y="21774"/>
                  </a:lnTo>
                  <a:lnTo>
                    <a:pt x="64040" y="21774"/>
                  </a:lnTo>
                  <a:lnTo>
                    <a:pt x="63939" y="21774"/>
                  </a:lnTo>
                  <a:lnTo>
                    <a:pt x="63585" y="21456"/>
                  </a:lnTo>
                  <a:lnTo>
                    <a:pt x="63232" y="21456"/>
                  </a:lnTo>
                  <a:lnTo>
                    <a:pt x="62727" y="21139"/>
                  </a:lnTo>
                  <a:lnTo>
                    <a:pt x="62626" y="20662"/>
                  </a:lnTo>
                  <a:lnTo>
                    <a:pt x="62626" y="20344"/>
                  </a:lnTo>
                  <a:lnTo>
                    <a:pt x="62727" y="20344"/>
                  </a:lnTo>
                  <a:lnTo>
                    <a:pt x="62878" y="20344"/>
                  </a:lnTo>
                  <a:lnTo>
                    <a:pt x="62878" y="20344"/>
                  </a:lnTo>
                  <a:lnTo>
                    <a:pt x="62878" y="20344"/>
                  </a:lnTo>
                  <a:lnTo>
                    <a:pt x="62525" y="20344"/>
                  </a:lnTo>
                  <a:lnTo>
                    <a:pt x="61767" y="20026"/>
                  </a:lnTo>
                  <a:lnTo>
                    <a:pt x="61212" y="20026"/>
                  </a:lnTo>
                  <a:lnTo>
                    <a:pt x="60353" y="20026"/>
                  </a:lnTo>
                  <a:lnTo>
                    <a:pt x="60101" y="20026"/>
                  </a:lnTo>
                  <a:lnTo>
                    <a:pt x="59646" y="20344"/>
                  </a:lnTo>
                  <a:lnTo>
                    <a:pt x="59545" y="20344"/>
                  </a:lnTo>
                  <a:lnTo>
                    <a:pt x="59393" y="20344"/>
                  </a:lnTo>
                  <a:lnTo>
                    <a:pt x="59393" y="20662"/>
                  </a:lnTo>
                  <a:lnTo>
                    <a:pt x="59646" y="20662"/>
                  </a:lnTo>
                  <a:lnTo>
                    <a:pt x="59646" y="20662"/>
                  </a:lnTo>
                  <a:lnTo>
                    <a:pt x="59747" y="20662"/>
                  </a:lnTo>
                  <a:lnTo>
                    <a:pt x="59747" y="20662"/>
                  </a:lnTo>
                  <a:lnTo>
                    <a:pt x="59747" y="20662"/>
                  </a:lnTo>
                  <a:lnTo>
                    <a:pt x="59646" y="21139"/>
                  </a:lnTo>
                  <a:lnTo>
                    <a:pt x="59646" y="21139"/>
                  </a:lnTo>
                  <a:lnTo>
                    <a:pt x="59747" y="21456"/>
                  </a:lnTo>
                  <a:lnTo>
                    <a:pt x="59747" y="21456"/>
                  </a:lnTo>
                  <a:lnTo>
                    <a:pt x="59747" y="21774"/>
                  </a:lnTo>
                  <a:lnTo>
                    <a:pt x="59747" y="22251"/>
                  </a:lnTo>
                  <a:lnTo>
                    <a:pt x="59747" y="22251"/>
                  </a:lnTo>
                  <a:lnTo>
                    <a:pt x="59898" y="22569"/>
                  </a:lnTo>
                  <a:lnTo>
                    <a:pt x="60000" y="22569"/>
                  </a:lnTo>
                  <a:lnTo>
                    <a:pt x="60252" y="22569"/>
                  </a:lnTo>
                  <a:lnTo>
                    <a:pt x="60252" y="22569"/>
                  </a:lnTo>
                  <a:lnTo>
                    <a:pt x="60252" y="22569"/>
                  </a:lnTo>
                  <a:lnTo>
                    <a:pt x="60000" y="22569"/>
                  </a:lnTo>
                  <a:lnTo>
                    <a:pt x="59898" y="22569"/>
                  </a:lnTo>
                  <a:lnTo>
                    <a:pt x="59747" y="22251"/>
                  </a:lnTo>
                  <a:lnTo>
                    <a:pt x="59747" y="22251"/>
                  </a:lnTo>
                  <a:lnTo>
                    <a:pt x="59747" y="22251"/>
                  </a:lnTo>
                  <a:lnTo>
                    <a:pt x="59747" y="21774"/>
                  </a:lnTo>
                  <a:lnTo>
                    <a:pt x="59747" y="21456"/>
                  </a:lnTo>
                  <a:lnTo>
                    <a:pt x="59646" y="21456"/>
                  </a:lnTo>
                  <a:lnTo>
                    <a:pt x="59545" y="20662"/>
                  </a:lnTo>
                  <a:lnTo>
                    <a:pt x="59292" y="20662"/>
                  </a:lnTo>
                  <a:lnTo>
                    <a:pt x="59191" y="20344"/>
                  </a:lnTo>
                  <a:lnTo>
                    <a:pt x="59191" y="20344"/>
                  </a:lnTo>
                  <a:lnTo>
                    <a:pt x="59191" y="20026"/>
                  </a:lnTo>
                  <a:lnTo>
                    <a:pt x="59040" y="20026"/>
                  </a:lnTo>
                  <a:lnTo>
                    <a:pt x="58838" y="19549"/>
                  </a:lnTo>
                  <a:lnTo>
                    <a:pt x="58686" y="19231"/>
                  </a:lnTo>
                  <a:lnTo>
                    <a:pt x="58585" y="19231"/>
                  </a:lnTo>
                  <a:lnTo>
                    <a:pt x="58585" y="19231"/>
                  </a:lnTo>
                  <a:lnTo>
                    <a:pt x="58686" y="19549"/>
                  </a:lnTo>
                  <a:lnTo>
                    <a:pt x="58686" y="19549"/>
                  </a:lnTo>
                  <a:lnTo>
                    <a:pt x="58686" y="19549"/>
                  </a:lnTo>
                  <a:lnTo>
                    <a:pt x="58434" y="20026"/>
                  </a:lnTo>
                  <a:lnTo>
                    <a:pt x="58333" y="20026"/>
                  </a:lnTo>
                  <a:lnTo>
                    <a:pt x="58080" y="19549"/>
                  </a:lnTo>
                  <a:lnTo>
                    <a:pt x="57727" y="19549"/>
                  </a:lnTo>
                  <a:lnTo>
                    <a:pt x="57626" y="19231"/>
                  </a:lnTo>
                  <a:lnTo>
                    <a:pt x="57525" y="19231"/>
                  </a:lnTo>
                  <a:lnTo>
                    <a:pt x="57626" y="19231"/>
                  </a:lnTo>
                  <a:lnTo>
                    <a:pt x="57626" y="18913"/>
                  </a:lnTo>
                  <a:lnTo>
                    <a:pt x="57525" y="18913"/>
                  </a:lnTo>
                  <a:lnTo>
                    <a:pt x="57373" y="18913"/>
                  </a:lnTo>
                  <a:lnTo>
                    <a:pt x="57373" y="19231"/>
                  </a:lnTo>
                  <a:lnTo>
                    <a:pt x="57272" y="19231"/>
                  </a:lnTo>
                  <a:lnTo>
                    <a:pt x="56818" y="19231"/>
                  </a:lnTo>
                  <a:lnTo>
                    <a:pt x="56818" y="19231"/>
                  </a:lnTo>
                  <a:lnTo>
                    <a:pt x="56666" y="19231"/>
                  </a:lnTo>
                  <a:lnTo>
                    <a:pt x="56666" y="19231"/>
                  </a:lnTo>
                  <a:lnTo>
                    <a:pt x="56666" y="19549"/>
                  </a:lnTo>
                  <a:lnTo>
                    <a:pt x="56666" y="19549"/>
                  </a:lnTo>
                  <a:lnTo>
                    <a:pt x="56818" y="20026"/>
                  </a:lnTo>
                  <a:lnTo>
                    <a:pt x="57020" y="20026"/>
                  </a:lnTo>
                  <a:lnTo>
                    <a:pt x="57171" y="20026"/>
                  </a:lnTo>
                  <a:lnTo>
                    <a:pt x="57373" y="19549"/>
                  </a:lnTo>
                  <a:lnTo>
                    <a:pt x="57373" y="19549"/>
                  </a:lnTo>
                  <a:lnTo>
                    <a:pt x="57525" y="20026"/>
                  </a:lnTo>
                  <a:lnTo>
                    <a:pt x="57525" y="20026"/>
                  </a:lnTo>
                  <a:lnTo>
                    <a:pt x="57272" y="20026"/>
                  </a:lnTo>
                  <a:lnTo>
                    <a:pt x="57020" y="20344"/>
                  </a:lnTo>
                  <a:lnTo>
                    <a:pt x="56919" y="20662"/>
                  </a:lnTo>
                  <a:lnTo>
                    <a:pt x="56666" y="20344"/>
                  </a:lnTo>
                  <a:lnTo>
                    <a:pt x="56666" y="20662"/>
                  </a:lnTo>
                  <a:lnTo>
                    <a:pt x="56666" y="20662"/>
                  </a:lnTo>
                  <a:lnTo>
                    <a:pt x="56313" y="20662"/>
                  </a:lnTo>
                  <a:lnTo>
                    <a:pt x="56212" y="21139"/>
                  </a:lnTo>
                  <a:lnTo>
                    <a:pt x="56212" y="21139"/>
                  </a:lnTo>
                  <a:lnTo>
                    <a:pt x="56060" y="21139"/>
                  </a:lnTo>
                  <a:lnTo>
                    <a:pt x="56060" y="21139"/>
                  </a:lnTo>
                  <a:lnTo>
                    <a:pt x="55959" y="21456"/>
                  </a:lnTo>
                  <a:lnTo>
                    <a:pt x="55707" y="21456"/>
                  </a:lnTo>
                  <a:lnTo>
                    <a:pt x="55505" y="21139"/>
                  </a:lnTo>
                  <a:lnTo>
                    <a:pt x="55151" y="21456"/>
                  </a:lnTo>
                  <a:lnTo>
                    <a:pt x="55000" y="21456"/>
                  </a:lnTo>
                  <a:lnTo>
                    <a:pt x="55000" y="21456"/>
                  </a:lnTo>
                  <a:lnTo>
                    <a:pt x="55000" y="21774"/>
                  </a:lnTo>
                  <a:lnTo>
                    <a:pt x="55000" y="21774"/>
                  </a:lnTo>
                  <a:lnTo>
                    <a:pt x="54898" y="22251"/>
                  </a:lnTo>
                  <a:lnTo>
                    <a:pt x="54747" y="22251"/>
                  </a:lnTo>
                  <a:lnTo>
                    <a:pt x="54545" y="22251"/>
                  </a:lnTo>
                  <a:lnTo>
                    <a:pt x="54646" y="22251"/>
                  </a:lnTo>
                  <a:lnTo>
                    <a:pt x="54747" y="21774"/>
                  </a:lnTo>
                  <a:lnTo>
                    <a:pt x="54747" y="21139"/>
                  </a:lnTo>
                  <a:lnTo>
                    <a:pt x="55151" y="20662"/>
                  </a:lnTo>
                  <a:lnTo>
                    <a:pt x="55151" y="20662"/>
                  </a:lnTo>
                  <a:lnTo>
                    <a:pt x="55252" y="20344"/>
                  </a:lnTo>
                  <a:lnTo>
                    <a:pt x="55252" y="20026"/>
                  </a:lnTo>
                  <a:lnTo>
                    <a:pt x="55606" y="20026"/>
                  </a:lnTo>
                  <a:lnTo>
                    <a:pt x="55858" y="20026"/>
                  </a:lnTo>
                  <a:lnTo>
                    <a:pt x="56060" y="18913"/>
                  </a:lnTo>
                  <a:lnTo>
                    <a:pt x="56313" y="18913"/>
                  </a:lnTo>
                  <a:lnTo>
                    <a:pt x="56414" y="18437"/>
                  </a:lnTo>
                  <a:lnTo>
                    <a:pt x="56414" y="18437"/>
                  </a:lnTo>
                  <a:lnTo>
                    <a:pt x="56414" y="18437"/>
                  </a:lnTo>
                  <a:lnTo>
                    <a:pt x="56313" y="18437"/>
                  </a:lnTo>
                  <a:lnTo>
                    <a:pt x="56313" y="18119"/>
                  </a:lnTo>
                  <a:lnTo>
                    <a:pt x="56414" y="18119"/>
                  </a:lnTo>
                  <a:lnTo>
                    <a:pt x="56565" y="17642"/>
                  </a:lnTo>
                  <a:lnTo>
                    <a:pt x="56818" y="17642"/>
                  </a:lnTo>
                  <a:lnTo>
                    <a:pt x="56919" y="17324"/>
                  </a:lnTo>
                  <a:lnTo>
                    <a:pt x="57171" y="17006"/>
                  </a:lnTo>
                  <a:lnTo>
                    <a:pt x="57272" y="17006"/>
                  </a:lnTo>
                  <a:lnTo>
                    <a:pt x="57626" y="16529"/>
                  </a:lnTo>
                  <a:lnTo>
                    <a:pt x="57727" y="15894"/>
                  </a:lnTo>
                  <a:lnTo>
                    <a:pt x="57727" y="15099"/>
                  </a:lnTo>
                  <a:lnTo>
                    <a:pt x="57525" y="15099"/>
                  </a:lnTo>
                  <a:lnTo>
                    <a:pt x="57373" y="15099"/>
                  </a:lnTo>
                  <a:lnTo>
                    <a:pt x="57272" y="14622"/>
                  </a:lnTo>
                  <a:lnTo>
                    <a:pt x="57171" y="14622"/>
                  </a:lnTo>
                  <a:lnTo>
                    <a:pt x="57171" y="15099"/>
                  </a:lnTo>
                  <a:lnTo>
                    <a:pt x="56818" y="14304"/>
                  </a:lnTo>
                  <a:lnTo>
                    <a:pt x="56565" y="14304"/>
                  </a:lnTo>
                  <a:lnTo>
                    <a:pt x="56565" y="14304"/>
                  </a:lnTo>
                  <a:lnTo>
                    <a:pt x="56565" y="14304"/>
                  </a:lnTo>
                  <a:lnTo>
                    <a:pt x="56666" y="14304"/>
                  </a:lnTo>
                  <a:lnTo>
                    <a:pt x="57020" y="14622"/>
                  </a:lnTo>
                  <a:lnTo>
                    <a:pt x="57272" y="14622"/>
                  </a:lnTo>
                  <a:lnTo>
                    <a:pt x="57373" y="14622"/>
                  </a:lnTo>
                  <a:lnTo>
                    <a:pt x="57373" y="14622"/>
                  </a:lnTo>
                  <a:lnTo>
                    <a:pt x="57373" y="15099"/>
                  </a:lnTo>
                  <a:lnTo>
                    <a:pt x="57525" y="15099"/>
                  </a:lnTo>
                  <a:lnTo>
                    <a:pt x="57525" y="14622"/>
                  </a:lnTo>
                  <a:lnTo>
                    <a:pt x="57525" y="14622"/>
                  </a:lnTo>
                  <a:lnTo>
                    <a:pt x="57373" y="14304"/>
                  </a:lnTo>
                  <a:lnTo>
                    <a:pt x="57272" y="13986"/>
                  </a:lnTo>
                  <a:lnTo>
                    <a:pt x="57171" y="13986"/>
                  </a:lnTo>
                  <a:lnTo>
                    <a:pt x="56919" y="13509"/>
                  </a:lnTo>
                  <a:lnTo>
                    <a:pt x="56818" y="13192"/>
                  </a:lnTo>
                  <a:lnTo>
                    <a:pt x="56666" y="13192"/>
                  </a:lnTo>
                  <a:lnTo>
                    <a:pt x="56565" y="13192"/>
                  </a:lnTo>
                  <a:lnTo>
                    <a:pt x="56414" y="13192"/>
                  </a:lnTo>
                  <a:lnTo>
                    <a:pt x="56565" y="13192"/>
                  </a:lnTo>
                  <a:lnTo>
                    <a:pt x="56666" y="13192"/>
                  </a:lnTo>
                  <a:lnTo>
                    <a:pt x="56666" y="13509"/>
                  </a:lnTo>
                  <a:lnTo>
                    <a:pt x="56666" y="13509"/>
                  </a:lnTo>
                  <a:lnTo>
                    <a:pt x="56565" y="13509"/>
                  </a:lnTo>
                  <a:lnTo>
                    <a:pt x="56414" y="13509"/>
                  </a:lnTo>
                  <a:lnTo>
                    <a:pt x="56414" y="13509"/>
                  </a:lnTo>
                  <a:lnTo>
                    <a:pt x="56414" y="13509"/>
                  </a:lnTo>
                  <a:lnTo>
                    <a:pt x="56313" y="13192"/>
                  </a:lnTo>
                  <a:lnTo>
                    <a:pt x="56313" y="13192"/>
                  </a:lnTo>
                  <a:lnTo>
                    <a:pt x="56060" y="12874"/>
                  </a:lnTo>
                  <a:lnTo>
                    <a:pt x="55959" y="12874"/>
                  </a:lnTo>
                  <a:lnTo>
                    <a:pt x="55858" y="12874"/>
                  </a:lnTo>
                  <a:lnTo>
                    <a:pt x="55707" y="12874"/>
                  </a:lnTo>
                  <a:lnTo>
                    <a:pt x="55707" y="12874"/>
                  </a:lnTo>
                  <a:lnTo>
                    <a:pt x="55707" y="12874"/>
                  </a:lnTo>
                  <a:lnTo>
                    <a:pt x="55707" y="12397"/>
                  </a:lnTo>
                  <a:lnTo>
                    <a:pt x="55505" y="12397"/>
                  </a:lnTo>
                  <a:lnTo>
                    <a:pt x="55353" y="12397"/>
                  </a:lnTo>
                  <a:lnTo>
                    <a:pt x="55252" y="12079"/>
                  </a:lnTo>
                  <a:lnTo>
                    <a:pt x="55000" y="12079"/>
                  </a:lnTo>
                  <a:lnTo>
                    <a:pt x="54898" y="12079"/>
                  </a:lnTo>
                  <a:lnTo>
                    <a:pt x="54393" y="12079"/>
                  </a:lnTo>
                  <a:lnTo>
                    <a:pt x="54191" y="12079"/>
                  </a:lnTo>
                  <a:lnTo>
                    <a:pt x="53686" y="12079"/>
                  </a:lnTo>
                  <a:lnTo>
                    <a:pt x="53333" y="12079"/>
                  </a:lnTo>
                  <a:lnTo>
                    <a:pt x="53080" y="12079"/>
                  </a:lnTo>
                  <a:lnTo>
                    <a:pt x="52979" y="12079"/>
                  </a:lnTo>
                  <a:lnTo>
                    <a:pt x="52979" y="12079"/>
                  </a:lnTo>
                  <a:lnTo>
                    <a:pt x="52979" y="12079"/>
                  </a:lnTo>
                  <a:lnTo>
                    <a:pt x="52979" y="12397"/>
                  </a:lnTo>
                  <a:lnTo>
                    <a:pt x="52979" y="12397"/>
                  </a:lnTo>
                  <a:lnTo>
                    <a:pt x="52878" y="12397"/>
                  </a:lnTo>
                  <a:lnTo>
                    <a:pt x="52626" y="12397"/>
                  </a:lnTo>
                  <a:lnTo>
                    <a:pt x="52373" y="12397"/>
                  </a:lnTo>
                  <a:lnTo>
                    <a:pt x="52272" y="12397"/>
                  </a:lnTo>
                  <a:lnTo>
                    <a:pt x="52171" y="12397"/>
                  </a:lnTo>
                  <a:lnTo>
                    <a:pt x="52020" y="12397"/>
                  </a:lnTo>
                  <a:lnTo>
                    <a:pt x="52171" y="12397"/>
                  </a:lnTo>
                  <a:lnTo>
                    <a:pt x="52272" y="12397"/>
                  </a:lnTo>
                  <a:lnTo>
                    <a:pt x="52272" y="12079"/>
                  </a:lnTo>
                  <a:lnTo>
                    <a:pt x="52373" y="11761"/>
                  </a:lnTo>
                  <a:lnTo>
                    <a:pt x="52373" y="11284"/>
                  </a:lnTo>
                  <a:lnTo>
                    <a:pt x="52272" y="11284"/>
                  </a:lnTo>
                  <a:lnTo>
                    <a:pt x="52020" y="11284"/>
                  </a:lnTo>
                  <a:lnTo>
                    <a:pt x="51919" y="11284"/>
                  </a:lnTo>
                  <a:lnTo>
                    <a:pt x="51919" y="11284"/>
                  </a:lnTo>
                  <a:lnTo>
                    <a:pt x="51565" y="11284"/>
                  </a:lnTo>
                  <a:lnTo>
                    <a:pt x="51414" y="11284"/>
                  </a:lnTo>
                  <a:lnTo>
                    <a:pt x="51313" y="11284"/>
                  </a:lnTo>
                  <a:lnTo>
                    <a:pt x="51212" y="11284"/>
                  </a:lnTo>
                  <a:lnTo>
                    <a:pt x="51060" y="10966"/>
                  </a:lnTo>
                  <a:lnTo>
                    <a:pt x="50959" y="10966"/>
                  </a:lnTo>
                  <a:lnTo>
                    <a:pt x="50252" y="10966"/>
                  </a:lnTo>
                  <a:lnTo>
                    <a:pt x="50252" y="10966"/>
                  </a:lnTo>
                  <a:lnTo>
                    <a:pt x="50606" y="10966"/>
                  </a:lnTo>
                  <a:lnTo>
                    <a:pt x="50858" y="10490"/>
                  </a:lnTo>
                  <a:lnTo>
                    <a:pt x="50959" y="10490"/>
                  </a:lnTo>
                  <a:lnTo>
                    <a:pt x="51060" y="10172"/>
                  </a:lnTo>
                  <a:lnTo>
                    <a:pt x="50959" y="10172"/>
                  </a:lnTo>
                  <a:lnTo>
                    <a:pt x="50959" y="10172"/>
                  </a:lnTo>
                  <a:lnTo>
                    <a:pt x="50707" y="9854"/>
                  </a:lnTo>
                  <a:lnTo>
                    <a:pt x="50505" y="9854"/>
                  </a:lnTo>
                  <a:lnTo>
                    <a:pt x="50252" y="9854"/>
                  </a:lnTo>
                  <a:lnTo>
                    <a:pt x="50151" y="9854"/>
                  </a:lnTo>
                  <a:lnTo>
                    <a:pt x="49646" y="9377"/>
                  </a:lnTo>
                  <a:lnTo>
                    <a:pt x="49545" y="9377"/>
                  </a:lnTo>
                  <a:lnTo>
                    <a:pt x="49393" y="9854"/>
                  </a:lnTo>
                  <a:lnTo>
                    <a:pt x="49191" y="9854"/>
                  </a:lnTo>
                  <a:lnTo>
                    <a:pt x="49040" y="9854"/>
                  </a:lnTo>
                  <a:lnTo>
                    <a:pt x="48939" y="9854"/>
                  </a:lnTo>
                  <a:lnTo>
                    <a:pt x="48484" y="10966"/>
                  </a:lnTo>
                  <a:lnTo>
                    <a:pt x="48484" y="10966"/>
                  </a:lnTo>
                  <a:lnTo>
                    <a:pt x="48484" y="11284"/>
                  </a:lnTo>
                  <a:lnTo>
                    <a:pt x="48333" y="11284"/>
                  </a:lnTo>
                  <a:lnTo>
                    <a:pt x="48333" y="11761"/>
                  </a:lnTo>
                  <a:lnTo>
                    <a:pt x="48484" y="11761"/>
                  </a:lnTo>
                  <a:lnTo>
                    <a:pt x="48585" y="11761"/>
                  </a:lnTo>
                  <a:lnTo>
                    <a:pt x="48686" y="12079"/>
                  </a:lnTo>
                  <a:lnTo>
                    <a:pt x="48686" y="12079"/>
                  </a:lnTo>
                  <a:lnTo>
                    <a:pt x="48686" y="12397"/>
                  </a:lnTo>
                  <a:lnTo>
                    <a:pt x="48838" y="12397"/>
                  </a:lnTo>
                  <a:lnTo>
                    <a:pt x="48939" y="12397"/>
                  </a:lnTo>
                  <a:lnTo>
                    <a:pt x="49292" y="12397"/>
                  </a:lnTo>
                  <a:lnTo>
                    <a:pt x="49191" y="12874"/>
                  </a:lnTo>
                  <a:lnTo>
                    <a:pt x="49040" y="12397"/>
                  </a:lnTo>
                  <a:lnTo>
                    <a:pt x="48838" y="12397"/>
                  </a:lnTo>
                  <a:lnTo>
                    <a:pt x="48686" y="12397"/>
                  </a:lnTo>
                  <a:lnTo>
                    <a:pt x="48484" y="12397"/>
                  </a:lnTo>
                  <a:lnTo>
                    <a:pt x="48080" y="12397"/>
                  </a:lnTo>
                  <a:lnTo>
                    <a:pt x="47979" y="12397"/>
                  </a:lnTo>
                  <a:lnTo>
                    <a:pt x="47525" y="12397"/>
                  </a:lnTo>
                  <a:lnTo>
                    <a:pt x="47525" y="12397"/>
                  </a:lnTo>
                  <a:lnTo>
                    <a:pt x="47626" y="12874"/>
                  </a:lnTo>
                  <a:lnTo>
                    <a:pt x="47727" y="12874"/>
                  </a:lnTo>
                  <a:lnTo>
                    <a:pt x="48080" y="13192"/>
                  </a:lnTo>
                  <a:lnTo>
                    <a:pt x="48232" y="13192"/>
                  </a:lnTo>
                  <a:lnTo>
                    <a:pt x="48333" y="13509"/>
                  </a:lnTo>
                  <a:lnTo>
                    <a:pt x="48585" y="13986"/>
                  </a:lnTo>
                  <a:lnTo>
                    <a:pt x="48585" y="14304"/>
                  </a:lnTo>
                  <a:lnTo>
                    <a:pt x="48585" y="14304"/>
                  </a:lnTo>
                  <a:lnTo>
                    <a:pt x="48484" y="14304"/>
                  </a:lnTo>
                  <a:lnTo>
                    <a:pt x="48484" y="14304"/>
                  </a:lnTo>
                  <a:lnTo>
                    <a:pt x="48484" y="14304"/>
                  </a:lnTo>
                  <a:lnTo>
                    <a:pt x="48484" y="13986"/>
                  </a:lnTo>
                  <a:lnTo>
                    <a:pt x="48484" y="13509"/>
                  </a:lnTo>
                  <a:lnTo>
                    <a:pt x="48333" y="13509"/>
                  </a:lnTo>
                  <a:lnTo>
                    <a:pt x="48333" y="13509"/>
                  </a:lnTo>
                  <a:lnTo>
                    <a:pt x="48232" y="13509"/>
                  </a:lnTo>
                  <a:lnTo>
                    <a:pt x="47979" y="13192"/>
                  </a:lnTo>
                  <a:lnTo>
                    <a:pt x="47878" y="13192"/>
                  </a:lnTo>
                  <a:lnTo>
                    <a:pt x="47626" y="13192"/>
                  </a:lnTo>
                  <a:lnTo>
                    <a:pt x="47626" y="13192"/>
                  </a:lnTo>
                  <a:lnTo>
                    <a:pt x="47373" y="13192"/>
                  </a:lnTo>
                  <a:lnTo>
                    <a:pt x="47373" y="13509"/>
                  </a:lnTo>
                  <a:lnTo>
                    <a:pt x="47272" y="13509"/>
                  </a:lnTo>
                  <a:lnTo>
                    <a:pt x="47272" y="13509"/>
                  </a:lnTo>
                  <a:lnTo>
                    <a:pt x="47171" y="13509"/>
                  </a:lnTo>
                  <a:lnTo>
                    <a:pt x="47171" y="13509"/>
                  </a:lnTo>
                  <a:lnTo>
                    <a:pt x="47020" y="13986"/>
                  </a:lnTo>
                  <a:lnTo>
                    <a:pt x="46919" y="13509"/>
                  </a:lnTo>
                  <a:lnTo>
                    <a:pt x="46919" y="13986"/>
                  </a:lnTo>
                  <a:lnTo>
                    <a:pt x="46666" y="13986"/>
                  </a:lnTo>
                  <a:lnTo>
                    <a:pt x="46565" y="13986"/>
                  </a:lnTo>
                  <a:lnTo>
                    <a:pt x="46565" y="13986"/>
                  </a:lnTo>
                  <a:lnTo>
                    <a:pt x="46565" y="13986"/>
                  </a:lnTo>
                  <a:lnTo>
                    <a:pt x="46414" y="13986"/>
                  </a:lnTo>
                  <a:lnTo>
                    <a:pt x="46212" y="13986"/>
                  </a:lnTo>
                  <a:lnTo>
                    <a:pt x="46060" y="14304"/>
                  </a:lnTo>
                  <a:lnTo>
                    <a:pt x="45959" y="13986"/>
                  </a:lnTo>
                  <a:lnTo>
                    <a:pt x="46060" y="13986"/>
                  </a:lnTo>
                  <a:lnTo>
                    <a:pt x="46060" y="13509"/>
                  </a:lnTo>
                  <a:lnTo>
                    <a:pt x="45959" y="13509"/>
                  </a:lnTo>
                  <a:lnTo>
                    <a:pt x="45707" y="13509"/>
                  </a:lnTo>
                  <a:lnTo>
                    <a:pt x="45606" y="13509"/>
                  </a:lnTo>
                  <a:lnTo>
                    <a:pt x="45505" y="13509"/>
                  </a:lnTo>
                  <a:lnTo>
                    <a:pt x="45151" y="13509"/>
                  </a:lnTo>
                  <a:lnTo>
                    <a:pt x="45151" y="13509"/>
                  </a:lnTo>
                  <a:lnTo>
                    <a:pt x="45000" y="13509"/>
                  </a:lnTo>
                  <a:lnTo>
                    <a:pt x="44898" y="13509"/>
                  </a:lnTo>
                  <a:lnTo>
                    <a:pt x="44646" y="13509"/>
                  </a:lnTo>
                  <a:lnTo>
                    <a:pt x="44646" y="13509"/>
                  </a:lnTo>
                  <a:lnTo>
                    <a:pt x="44393" y="13509"/>
                  </a:lnTo>
                  <a:lnTo>
                    <a:pt x="44292" y="13509"/>
                  </a:lnTo>
                  <a:lnTo>
                    <a:pt x="44292" y="13986"/>
                  </a:lnTo>
                  <a:lnTo>
                    <a:pt x="44191" y="13509"/>
                  </a:lnTo>
                  <a:lnTo>
                    <a:pt x="44191" y="13986"/>
                  </a:lnTo>
                  <a:lnTo>
                    <a:pt x="44292" y="13986"/>
                  </a:lnTo>
                  <a:lnTo>
                    <a:pt x="44292" y="13986"/>
                  </a:lnTo>
                  <a:lnTo>
                    <a:pt x="44393" y="13986"/>
                  </a:lnTo>
                  <a:lnTo>
                    <a:pt x="44393" y="13986"/>
                  </a:lnTo>
                  <a:lnTo>
                    <a:pt x="44393" y="13986"/>
                  </a:lnTo>
                  <a:lnTo>
                    <a:pt x="44545" y="13986"/>
                  </a:lnTo>
                  <a:lnTo>
                    <a:pt x="44646" y="13986"/>
                  </a:lnTo>
                  <a:lnTo>
                    <a:pt x="44646" y="13986"/>
                  </a:lnTo>
                  <a:lnTo>
                    <a:pt x="44747" y="13986"/>
                  </a:lnTo>
                  <a:lnTo>
                    <a:pt x="45000" y="13986"/>
                  </a:lnTo>
                  <a:lnTo>
                    <a:pt x="45000" y="13986"/>
                  </a:lnTo>
                  <a:lnTo>
                    <a:pt x="44747" y="14304"/>
                  </a:lnTo>
                  <a:lnTo>
                    <a:pt x="44191" y="14304"/>
                  </a:lnTo>
                  <a:lnTo>
                    <a:pt x="44040" y="14304"/>
                  </a:lnTo>
                  <a:lnTo>
                    <a:pt x="43686" y="14622"/>
                  </a:lnTo>
                  <a:lnTo>
                    <a:pt x="43585" y="14622"/>
                  </a:lnTo>
                  <a:lnTo>
                    <a:pt x="43333" y="14622"/>
                  </a:lnTo>
                  <a:lnTo>
                    <a:pt x="42878" y="15099"/>
                  </a:lnTo>
                  <a:lnTo>
                    <a:pt x="42525" y="15099"/>
                  </a:lnTo>
                  <a:lnTo>
                    <a:pt x="42373" y="15099"/>
                  </a:lnTo>
                  <a:lnTo>
                    <a:pt x="42020" y="15417"/>
                  </a:lnTo>
                  <a:lnTo>
                    <a:pt x="42020" y="15894"/>
                  </a:lnTo>
                  <a:lnTo>
                    <a:pt x="41565" y="16211"/>
                  </a:lnTo>
                  <a:lnTo>
                    <a:pt x="41212" y="15894"/>
                  </a:lnTo>
                  <a:lnTo>
                    <a:pt x="41060" y="15894"/>
                  </a:lnTo>
                  <a:lnTo>
                    <a:pt x="41060" y="16211"/>
                  </a:lnTo>
                  <a:lnTo>
                    <a:pt x="41212" y="16211"/>
                  </a:lnTo>
                  <a:lnTo>
                    <a:pt x="41313" y="16211"/>
                  </a:lnTo>
                  <a:lnTo>
                    <a:pt x="41414" y="16211"/>
                  </a:lnTo>
                  <a:lnTo>
                    <a:pt x="41565" y="16529"/>
                  </a:lnTo>
                  <a:lnTo>
                    <a:pt x="41565" y="16529"/>
                  </a:lnTo>
                  <a:lnTo>
                    <a:pt x="41414" y="17006"/>
                  </a:lnTo>
                  <a:lnTo>
                    <a:pt x="41313" y="17324"/>
                  </a:lnTo>
                  <a:lnTo>
                    <a:pt x="41212" y="17324"/>
                  </a:lnTo>
                  <a:lnTo>
                    <a:pt x="40858" y="17006"/>
                  </a:lnTo>
                  <a:lnTo>
                    <a:pt x="40858" y="17006"/>
                  </a:lnTo>
                  <a:lnTo>
                    <a:pt x="40858" y="17324"/>
                  </a:lnTo>
                  <a:lnTo>
                    <a:pt x="40707" y="17006"/>
                  </a:lnTo>
                  <a:lnTo>
                    <a:pt x="40707" y="17324"/>
                  </a:lnTo>
                  <a:lnTo>
                    <a:pt x="40959" y="17324"/>
                  </a:lnTo>
                  <a:lnTo>
                    <a:pt x="41212" y="17642"/>
                  </a:lnTo>
                  <a:lnTo>
                    <a:pt x="41414" y="17642"/>
                  </a:lnTo>
                  <a:lnTo>
                    <a:pt x="41565" y="17642"/>
                  </a:lnTo>
                  <a:lnTo>
                    <a:pt x="41666" y="18119"/>
                  </a:lnTo>
                  <a:lnTo>
                    <a:pt x="41818" y="18119"/>
                  </a:lnTo>
                  <a:lnTo>
                    <a:pt x="41666" y="18119"/>
                  </a:lnTo>
                  <a:lnTo>
                    <a:pt x="41414" y="18119"/>
                  </a:lnTo>
                  <a:lnTo>
                    <a:pt x="41313" y="18119"/>
                  </a:lnTo>
                  <a:lnTo>
                    <a:pt x="41212" y="17642"/>
                  </a:lnTo>
                  <a:lnTo>
                    <a:pt x="41060" y="18119"/>
                  </a:lnTo>
                  <a:lnTo>
                    <a:pt x="41060" y="18119"/>
                  </a:lnTo>
                  <a:lnTo>
                    <a:pt x="41212" y="18437"/>
                  </a:lnTo>
                  <a:lnTo>
                    <a:pt x="41414" y="18437"/>
                  </a:lnTo>
                  <a:lnTo>
                    <a:pt x="41565" y="18437"/>
                  </a:lnTo>
                  <a:lnTo>
                    <a:pt x="42171" y="19549"/>
                  </a:lnTo>
                  <a:lnTo>
                    <a:pt x="42272" y="19549"/>
                  </a:lnTo>
                  <a:lnTo>
                    <a:pt x="42373" y="19549"/>
                  </a:lnTo>
                  <a:lnTo>
                    <a:pt x="42373" y="19549"/>
                  </a:lnTo>
                  <a:lnTo>
                    <a:pt x="42373" y="19549"/>
                  </a:lnTo>
                  <a:lnTo>
                    <a:pt x="42272" y="20026"/>
                  </a:lnTo>
                  <a:lnTo>
                    <a:pt x="42272" y="20026"/>
                  </a:lnTo>
                  <a:lnTo>
                    <a:pt x="41818" y="20344"/>
                  </a:lnTo>
                  <a:lnTo>
                    <a:pt x="41666" y="20344"/>
                  </a:lnTo>
                  <a:lnTo>
                    <a:pt x="41666" y="20344"/>
                  </a:lnTo>
                  <a:lnTo>
                    <a:pt x="41666" y="20344"/>
                  </a:lnTo>
                  <a:lnTo>
                    <a:pt x="41565" y="20662"/>
                  </a:lnTo>
                  <a:lnTo>
                    <a:pt x="41666" y="20662"/>
                  </a:lnTo>
                  <a:lnTo>
                    <a:pt x="41666" y="20662"/>
                  </a:lnTo>
                  <a:lnTo>
                    <a:pt x="41818" y="21139"/>
                  </a:lnTo>
                  <a:lnTo>
                    <a:pt x="42272" y="21456"/>
                  </a:lnTo>
                  <a:lnTo>
                    <a:pt x="42272" y="21456"/>
                  </a:lnTo>
                  <a:lnTo>
                    <a:pt x="42171" y="21456"/>
                  </a:lnTo>
                  <a:lnTo>
                    <a:pt x="42020" y="21139"/>
                  </a:lnTo>
                  <a:lnTo>
                    <a:pt x="41818" y="21139"/>
                  </a:lnTo>
                  <a:lnTo>
                    <a:pt x="41565" y="20662"/>
                  </a:lnTo>
                  <a:lnTo>
                    <a:pt x="41565" y="20662"/>
                  </a:lnTo>
                  <a:lnTo>
                    <a:pt x="41565" y="20662"/>
                  </a:lnTo>
                  <a:lnTo>
                    <a:pt x="41565" y="20344"/>
                  </a:lnTo>
                  <a:lnTo>
                    <a:pt x="41565" y="20344"/>
                  </a:lnTo>
                  <a:lnTo>
                    <a:pt x="41666" y="20344"/>
                  </a:lnTo>
                  <a:lnTo>
                    <a:pt x="41818" y="20026"/>
                  </a:lnTo>
                  <a:lnTo>
                    <a:pt x="41919" y="20026"/>
                  </a:lnTo>
                  <a:lnTo>
                    <a:pt x="42020" y="19549"/>
                  </a:lnTo>
                  <a:lnTo>
                    <a:pt x="42020" y="19549"/>
                  </a:lnTo>
                  <a:lnTo>
                    <a:pt x="41919" y="19231"/>
                  </a:lnTo>
                  <a:lnTo>
                    <a:pt x="41818" y="19231"/>
                  </a:lnTo>
                  <a:lnTo>
                    <a:pt x="41313" y="19549"/>
                  </a:lnTo>
                  <a:lnTo>
                    <a:pt x="41212" y="19549"/>
                  </a:lnTo>
                  <a:lnTo>
                    <a:pt x="41060" y="20026"/>
                  </a:lnTo>
                  <a:lnTo>
                    <a:pt x="40959" y="20026"/>
                  </a:lnTo>
                  <a:lnTo>
                    <a:pt x="40858" y="20026"/>
                  </a:lnTo>
                  <a:lnTo>
                    <a:pt x="40606" y="19549"/>
                  </a:lnTo>
                  <a:lnTo>
                    <a:pt x="40505" y="20026"/>
                  </a:lnTo>
                  <a:lnTo>
                    <a:pt x="40000" y="20026"/>
                  </a:lnTo>
                  <a:lnTo>
                    <a:pt x="39898" y="20026"/>
                  </a:lnTo>
                  <a:lnTo>
                    <a:pt x="38838" y="20026"/>
                  </a:lnTo>
                  <a:lnTo>
                    <a:pt x="38585" y="20026"/>
                  </a:lnTo>
                  <a:lnTo>
                    <a:pt x="38080" y="20344"/>
                  </a:lnTo>
                  <a:lnTo>
                    <a:pt x="38080" y="20344"/>
                  </a:lnTo>
                  <a:lnTo>
                    <a:pt x="38080" y="20344"/>
                  </a:lnTo>
                  <a:lnTo>
                    <a:pt x="38080" y="20662"/>
                  </a:lnTo>
                  <a:lnTo>
                    <a:pt x="38080" y="20662"/>
                  </a:lnTo>
                  <a:lnTo>
                    <a:pt x="38080" y="21139"/>
                  </a:lnTo>
                  <a:lnTo>
                    <a:pt x="38232" y="21139"/>
                  </a:lnTo>
                  <a:lnTo>
                    <a:pt x="38232" y="21456"/>
                  </a:lnTo>
                  <a:lnTo>
                    <a:pt x="38333" y="21456"/>
                  </a:lnTo>
                  <a:lnTo>
                    <a:pt x="38484" y="21456"/>
                  </a:lnTo>
                  <a:lnTo>
                    <a:pt x="38585" y="21774"/>
                  </a:lnTo>
                  <a:lnTo>
                    <a:pt x="38585" y="21774"/>
                  </a:lnTo>
                  <a:lnTo>
                    <a:pt x="38585" y="22251"/>
                  </a:lnTo>
                  <a:lnTo>
                    <a:pt x="38585" y="22251"/>
                  </a:lnTo>
                  <a:lnTo>
                    <a:pt x="38686" y="22569"/>
                  </a:lnTo>
                  <a:lnTo>
                    <a:pt x="38686" y="22569"/>
                  </a:lnTo>
                  <a:lnTo>
                    <a:pt x="38838" y="23046"/>
                  </a:lnTo>
                  <a:lnTo>
                    <a:pt x="38939" y="23046"/>
                  </a:lnTo>
                  <a:lnTo>
                    <a:pt x="39191" y="23364"/>
                  </a:lnTo>
                  <a:lnTo>
                    <a:pt x="39292" y="23364"/>
                  </a:lnTo>
                  <a:lnTo>
                    <a:pt x="39393" y="23364"/>
                  </a:lnTo>
                  <a:lnTo>
                    <a:pt x="39646" y="23682"/>
                  </a:lnTo>
                  <a:lnTo>
                    <a:pt x="39898" y="23682"/>
                  </a:lnTo>
                  <a:lnTo>
                    <a:pt x="39898" y="23682"/>
                  </a:lnTo>
                  <a:lnTo>
                    <a:pt x="40000" y="23682"/>
                  </a:lnTo>
                  <a:lnTo>
                    <a:pt x="40151" y="24158"/>
                  </a:lnTo>
                  <a:lnTo>
                    <a:pt x="40151" y="24158"/>
                  </a:lnTo>
                  <a:lnTo>
                    <a:pt x="40353" y="24794"/>
                  </a:lnTo>
                  <a:lnTo>
                    <a:pt x="40505" y="24794"/>
                  </a:lnTo>
                  <a:lnTo>
                    <a:pt x="40858" y="24794"/>
                  </a:lnTo>
                  <a:lnTo>
                    <a:pt x="40959" y="24794"/>
                  </a:lnTo>
                  <a:lnTo>
                    <a:pt x="41212" y="25271"/>
                  </a:lnTo>
                  <a:lnTo>
                    <a:pt x="41212" y="25589"/>
                  </a:lnTo>
                  <a:lnTo>
                    <a:pt x="41212" y="25589"/>
                  </a:lnTo>
                  <a:lnTo>
                    <a:pt x="41212" y="25589"/>
                  </a:lnTo>
                  <a:lnTo>
                    <a:pt x="41212" y="25907"/>
                  </a:lnTo>
                  <a:lnTo>
                    <a:pt x="41212" y="25907"/>
                  </a:lnTo>
                  <a:lnTo>
                    <a:pt x="41212" y="26384"/>
                  </a:lnTo>
                  <a:lnTo>
                    <a:pt x="41212" y="27178"/>
                  </a:lnTo>
                  <a:lnTo>
                    <a:pt x="41414" y="27178"/>
                  </a:lnTo>
                  <a:lnTo>
                    <a:pt x="41666" y="27814"/>
                  </a:lnTo>
                  <a:lnTo>
                    <a:pt x="41818" y="28291"/>
                  </a:lnTo>
                  <a:lnTo>
                    <a:pt x="41919" y="28609"/>
                  </a:lnTo>
                  <a:lnTo>
                    <a:pt x="42020" y="28609"/>
                  </a:lnTo>
                  <a:lnTo>
                    <a:pt x="42020" y="28927"/>
                  </a:lnTo>
                  <a:lnTo>
                    <a:pt x="41919" y="28927"/>
                  </a:lnTo>
                  <a:lnTo>
                    <a:pt x="41818" y="28927"/>
                  </a:lnTo>
                  <a:lnTo>
                    <a:pt x="41666" y="29403"/>
                  </a:lnTo>
                  <a:lnTo>
                    <a:pt x="41666" y="29403"/>
                  </a:lnTo>
                  <a:lnTo>
                    <a:pt x="41818" y="29721"/>
                  </a:lnTo>
                  <a:lnTo>
                    <a:pt x="41818" y="29721"/>
                  </a:lnTo>
                  <a:lnTo>
                    <a:pt x="41818" y="29721"/>
                  </a:lnTo>
                  <a:lnTo>
                    <a:pt x="41666" y="29721"/>
                  </a:lnTo>
                  <a:lnTo>
                    <a:pt x="41666" y="29721"/>
                  </a:lnTo>
                  <a:lnTo>
                    <a:pt x="41565" y="29721"/>
                  </a:lnTo>
                  <a:lnTo>
                    <a:pt x="41414" y="29403"/>
                  </a:lnTo>
                  <a:lnTo>
                    <a:pt x="41414" y="29403"/>
                  </a:lnTo>
                  <a:lnTo>
                    <a:pt x="41414" y="28927"/>
                  </a:lnTo>
                  <a:lnTo>
                    <a:pt x="41414" y="28291"/>
                  </a:lnTo>
                  <a:lnTo>
                    <a:pt x="41414" y="28291"/>
                  </a:lnTo>
                  <a:lnTo>
                    <a:pt x="41313" y="27814"/>
                  </a:lnTo>
                  <a:lnTo>
                    <a:pt x="41313" y="27496"/>
                  </a:lnTo>
                  <a:lnTo>
                    <a:pt x="41060" y="27496"/>
                  </a:lnTo>
                  <a:lnTo>
                    <a:pt x="41060" y="27496"/>
                  </a:lnTo>
                  <a:lnTo>
                    <a:pt x="40959" y="27496"/>
                  </a:lnTo>
                  <a:lnTo>
                    <a:pt x="40959" y="28291"/>
                  </a:lnTo>
                  <a:lnTo>
                    <a:pt x="40959" y="28609"/>
                  </a:lnTo>
                  <a:lnTo>
                    <a:pt x="40959" y="28609"/>
                  </a:lnTo>
                  <a:lnTo>
                    <a:pt x="40959" y="28609"/>
                  </a:lnTo>
                  <a:lnTo>
                    <a:pt x="41060" y="28927"/>
                  </a:lnTo>
                  <a:lnTo>
                    <a:pt x="40959" y="28609"/>
                  </a:lnTo>
                  <a:lnTo>
                    <a:pt x="40858" y="28291"/>
                  </a:lnTo>
                  <a:lnTo>
                    <a:pt x="40858" y="27814"/>
                  </a:lnTo>
                  <a:lnTo>
                    <a:pt x="40858" y="27814"/>
                  </a:lnTo>
                  <a:lnTo>
                    <a:pt x="40858" y="27496"/>
                  </a:lnTo>
                  <a:lnTo>
                    <a:pt x="40707" y="27178"/>
                  </a:lnTo>
                  <a:lnTo>
                    <a:pt x="40707" y="27178"/>
                  </a:lnTo>
                  <a:lnTo>
                    <a:pt x="40606" y="27178"/>
                  </a:lnTo>
                  <a:lnTo>
                    <a:pt x="40606" y="26384"/>
                  </a:lnTo>
                  <a:lnTo>
                    <a:pt x="40707" y="26384"/>
                  </a:lnTo>
                  <a:lnTo>
                    <a:pt x="40858" y="25907"/>
                  </a:lnTo>
                  <a:lnTo>
                    <a:pt x="40959" y="25907"/>
                  </a:lnTo>
                  <a:lnTo>
                    <a:pt x="40959" y="25589"/>
                  </a:lnTo>
                  <a:lnTo>
                    <a:pt x="40959" y="25589"/>
                  </a:lnTo>
                  <a:lnTo>
                    <a:pt x="40959" y="25271"/>
                  </a:lnTo>
                  <a:lnTo>
                    <a:pt x="40858" y="25271"/>
                  </a:lnTo>
                  <a:lnTo>
                    <a:pt x="40707" y="25271"/>
                  </a:lnTo>
                  <a:lnTo>
                    <a:pt x="40606" y="25271"/>
                  </a:lnTo>
                  <a:lnTo>
                    <a:pt x="40505" y="25271"/>
                  </a:lnTo>
                  <a:lnTo>
                    <a:pt x="40151" y="25271"/>
                  </a:lnTo>
                  <a:lnTo>
                    <a:pt x="39898" y="25271"/>
                  </a:lnTo>
                  <a:lnTo>
                    <a:pt x="39747" y="25271"/>
                  </a:lnTo>
                  <a:lnTo>
                    <a:pt x="39191" y="24476"/>
                  </a:lnTo>
                  <a:lnTo>
                    <a:pt x="39191" y="24476"/>
                  </a:lnTo>
                  <a:lnTo>
                    <a:pt x="39040" y="24158"/>
                  </a:lnTo>
                  <a:lnTo>
                    <a:pt x="39040" y="24158"/>
                  </a:lnTo>
                  <a:lnTo>
                    <a:pt x="38838" y="24158"/>
                  </a:lnTo>
                  <a:lnTo>
                    <a:pt x="38484" y="23682"/>
                  </a:lnTo>
                  <a:lnTo>
                    <a:pt x="37979" y="23364"/>
                  </a:lnTo>
                  <a:lnTo>
                    <a:pt x="37373" y="23364"/>
                  </a:lnTo>
                  <a:lnTo>
                    <a:pt x="37272" y="23364"/>
                  </a:lnTo>
                  <a:lnTo>
                    <a:pt x="37171" y="23682"/>
                  </a:lnTo>
                  <a:lnTo>
                    <a:pt x="37020" y="23682"/>
                  </a:lnTo>
                  <a:lnTo>
                    <a:pt x="36919" y="24158"/>
                  </a:lnTo>
                  <a:lnTo>
                    <a:pt x="36919" y="24158"/>
                  </a:lnTo>
                  <a:lnTo>
                    <a:pt x="36919" y="24158"/>
                  </a:lnTo>
                  <a:lnTo>
                    <a:pt x="36919" y="24158"/>
                  </a:lnTo>
                  <a:lnTo>
                    <a:pt x="36919" y="24158"/>
                  </a:lnTo>
                  <a:lnTo>
                    <a:pt x="37171" y="24158"/>
                  </a:lnTo>
                  <a:lnTo>
                    <a:pt x="37272" y="24158"/>
                  </a:lnTo>
                  <a:lnTo>
                    <a:pt x="37373" y="24476"/>
                  </a:lnTo>
                  <a:lnTo>
                    <a:pt x="37525" y="24476"/>
                  </a:lnTo>
                  <a:lnTo>
                    <a:pt x="37525" y="24794"/>
                  </a:lnTo>
                  <a:lnTo>
                    <a:pt x="37272" y="24794"/>
                  </a:lnTo>
                  <a:lnTo>
                    <a:pt x="37171" y="24794"/>
                  </a:lnTo>
                  <a:lnTo>
                    <a:pt x="36666" y="24476"/>
                  </a:lnTo>
                  <a:lnTo>
                    <a:pt x="36565" y="24476"/>
                  </a:lnTo>
                  <a:lnTo>
                    <a:pt x="36313" y="24476"/>
                  </a:lnTo>
                  <a:lnTo>
                    <a:pt x="36060" y="24794"/>
                  </a:lnTo>
                  <a:lnTo>
                    <a:pt x="36060" y="24794"/>
                  </a:lnTo>
                  <a:lnTo>
                    <a:pt x="36212" y="24794"/>
                  </a:lnTo>
                  <a:lnTo>
                    <a:pt x="36313" y="25271"/>
                  </a:lnTo>
                  <a:lnTo>
                    <a:pt x="36414" y="25589"/>
                  </a:lnTo>
                  <a:lnTo>
                    <a:pt x="36565" y="25589"/>
                  </a:lnTo>
                  <a:lnTo>
                    <a:pt x="36919" y="25907"/>
                  </a:lnTo>
                  <a:lnTo>
                    <a:pt x="37020" y="25907"/>
                  </a:lnTo>
                  <a:lnTo>
                    <a:pt x="37373" y="26384"/>
                  </a:lnTo>
                  <a:lnTo>
                    <a:pt x="37525" y="26384"/>
                  </a:lnTo>
                  <a:lnTo>
                    <a:pt x="37626" y="26384"/>
                  </a:lnTo>
                  <a:lnTo>
                    <a:pt x="37878" y="26384"/>
                  </a:lnTo>
                  <a:lnTo>
                    <a:pt x="38080" y="27178"/>
                  </a:lnTo>
                  <a:lnTo>
                    <a:pt x="38232" y="27178"/>
                  </a:lnTo>
                  <a:lnTo>
                    <a:pt x="38232" y="27178"/>
                  </a:lnTo>
                  <a:lnTo>
                    <a:pt x="38333" y="27178"/>
                  </a:lnTo>
                  <a:lnTo>
                    <a:pt x="38484" y="27178"/>
                  </a:lnTo>
                  <a:lnTo>
                    <a:pt x="38484" y="27178"/>
                  </a:lnTo>
                  <a:lnTo>
                    <a:pt x="38585" y="27178"/>
                  </a:lnTo>
                  <a:lnTo>
                    <a:pt x="38585" y="27496"/>
                  </a:lnTo>
                  <a:lnTo>
                    <a:pt x="38585" y="27496"/>
                  </a:lnTo>
                  <a:lnTo>
                    <a:pt x="38232" y="27496"/>
                  </a:lnTo>
                  <a:lnTo>
                    <a:pt x="38080" y="27496"/>
                  </a:lnTo>
                  <a:lnTo>
                    <a:pt x="37878" y="27178"/>
                  </a:lnTo>
                  <a:lnTo>
                    <a:pt x="37525" y="26701"/>
                  </a:lnTo>
                  <a:lnTo>
                    <a:pt x="37171" y="26701"/>
                  </a:lnTo>
                  <a:lnTo>
                    <a:pt x="37020" y="26701"/>
                  </a:lnTo>
                  <a:lnTo>
                    <a:pt x="36919" y="26701"/>
                  </a:lnTo>
                  <a:lnTo>
                    <a:pt x="36414" y="26701"/>
                  </a:lnTo>
                  <a:lnTo>
                    <a:pt x="36212" y="26384"/>
                  </a:lnTo>
                  <a:lnTo>
                    <a:pt x="35959" y="26384"/>
                  </a:lnTo>
                  <a:lnTo>
                    <a:pt x="35858" y="26384"/>
                  </a:lnTo>
                  <a:lnTo>
                    <a:pt x="35858" y="25907"/>
                  </a:lnTo>
                  <a:lnTo>
                    <a:pt x="35858" y="25907"/>
                  </a:lnTo>
                  <a:lnTo>
                    <a:pt x="35858" y="25589"/>
                  </a:lnTo>
                  <a:lnTo>
                    <a:pt x="35858" y="25271"/>
                  </a:lnTo>
                  <a:lnTo>
                    <a:pt x="35606" y="24794"/>
                  </a:lnTo>
                  <a:lnTo>
                    <a:pt x="35505" y="24476"/>
                  </a:lnTo>
                  <a:lnTo>
                    <a:pt x="35606" y="24476"/>
                  </a:lnTo>
                  <a:lnTo>
                    <a:pt x="35606" y="24158"/>
                  </a:lnTo>
                  <a:lnTo>
                    <a:pt x="35606" y="23682"/>
                  </a:lnTo>
                  <a:lnTo>
                    <a:pt x="35606" y="23682"/>
                  </a:lnTo>
                  <a:lnTo>
                    <a:pt x="35707" y="23682"/>
                  </a:lnTo>
                  <a:lnTo>
                    <a:pt x="35606" y="23364"/>
                  </a:lnTo>
                  <a:lnTo>
                    <a:pt x="35606" y="23364"/>
                  </a:lnTo>
                  <a:lnTo>
                    <a:pt x="35505" y="23364"/>
                  </a:lnTo>
                  <a:lnTo>
                    <a:pt x="35505" y="23046"/>
                  </a:lnTo>
                  <a:lnTo>
                    <a:pt x="35353" y="23046"/>
                  </a:lnTo>
                  <a:lnTo>
                    <a:pt x="35252" y="22569"/>
                  </a:lnTo>
                  <a:lnTo>
                    <a:pt x="35151" y="22251"/>
                  </a:lnTo>
                  <a:lnTo>
                    <a:pt x="35000" y="22251"/>
                  </a:lnTo>
                  <a:lnTo>
                    <a:pt x="34898" y="22251"/>
                  </a:lnTo>
                  <a:lnTo>
                    <a:pt x="34747" y="22251"/>
                  </a:lnTo>
                  <a:lnTo>
                    <a:pt x="34747" y="22251"/>
                  </a:lnTo>
                  <a:lnTo>
                    <a:pt x="34898" y="22569"/>
                  </a:lnTo>
                  <a:lnTo>
                    <a:pt x="35000" y="23046"/>
                  </a:lnTo>
                  <a:lnTo>
                    <a:pt x="35151" y="23046"/>
                  </a:lnTo>
                  <a:lnTo>
                    <a:pt x="35151" y="23364"/>
                  </a:lnTo>
                  <a:lnTo>
                    <a:pt x="35252" y="23682"/>
                  </a:lnTo>
                  <a:lnTo>
                    <a:pt x="35252" y="24158"/>
                  </a:lnTo>
                  <a:lnTo>
                    <a:pt x="35252" y="24158"/>
                  </a:lnTo>
                  <a:lnTo>
                    <a:pt x="35151" y="24158"/>
                  </a:lnTo>
                  <a:lnTo>
                    <a:pt x="35000" y="24476"/>
                  </a:lnTo>
                  <a:lnTo>
                    <a:pt x="34898" y="24476"/>
                  </a:lnTo>
                  <a:lnTo>
                    <a:pt x="34646" y="24794"/>
                  </a:lnTo>
                  <a:lnTo>
                    <a:pt x="34545" y="24794"/>
                  </a:lnTo>
                  <a:lnTo>
                    <a:pt x="34393" y="25907"/>
                  </a:lnTo>
                  <a:lnTo>
                    <a:pt x="34393" y="25907"/>
                  </a:lnTo>
                  <a:lnTo>
                    <a:pt x="34646" y="26384"/>
                  </a:lnTo>
                  <a:lnTo>
                    <a:pt x="34747" y="26384"/>
                  </a:lnTo>
                  <a:lnTo>
                    <a:pt x="34747" y="26701"/>
                  </a:lnTo>
                  <a:lnTo>
                    <a:pt x="35000" y="27178"/>
                  </a:lnTo>
                  <a:lnTo>
                    <a:pt x="35606" y="28291"/>
                  </a:lnTo>
                  <a:lnTo>
                    <a:pt x="35606" y="28291"/>
                  </a:lnTo>
                  <a:lnTo>
                    <a:pt x="35606" y="28609"/>
                  </a:lnTo>
                  <a:lnTo>
                    <a:pt x="35505" y="29403"/>
                  </a:lnTo>
                  <a:lnTo>
                    <a:pt x="35505" y="29403"/>
                  </a:lnTo>
                  <a:lnTo>
                    <a:pt x="35505" y="30516"/>
                  </a:lnTo>
                  <a:lnTo>
                    <a:pt x="35606" y="30834"/>
                  </a:lnTo>
                  <a:lnTo>
                    <a:pt x="35707" y="31311"/>
                  </a:lnTo>
                  <a:lnTo>
                    <a:pt x="35858" y="31311"/>
                  </a:lnTo>
                  <a:lnTo>
                    <a:pt x="35959" y="31629"/>
                  </a:lnTo>
                  <a:lnTo>
                    <a:pt x="35959" y="32423"/>
                  </a:lnTo>
                  <a:lnTo>
                    <a:pt x="36060" y="32423"/>
                  </a:lnTo>
                  <a:lnTo>
                    <a:pt x="36060" y="32423"/>
                  </a:lnTo>
                  <a:lnTo>
                    <a:pt x="36414" y="32423"/>
                  </a:lnTo>
                  <a:lnTo>
                    <a:pt x="36666" y="32423"/>
                  </a:lnTo>
                  <a:lnTo>
                    <a:pt x="36919" y="32423"/>
                  </a:lnTo>
                  <a:lnTo>
                    <a:pt x="37020" y="31947"/>
                  </a:lnTo>
                  <a:lnTo>
                    <a:pt x="37171" y="31947"/>
                  </a:lnTo>
                  <a:lnTo>
                    <a:pt x="37525" y="31947"/>
                  </a:lnTo>
                  <a:lnTo>
                    <a:pt x="37979" y="32423"/>
                  </a:lnTo>
                  <a:lnTo>
                    <a:pt x="38484" y="32741"/>
                  </a:lnTo>
                  <a:lnTo>
                    <a:pt x="38585" y="33059"/>
                  </a:lnTo>
                  <a:lnTo>
                    <a:pt x="38686" y="33059"/>
                  </a:lnTo>
                  <a:lnTo>
                    <a:pt x="38939" y="33854"/>
                  </a:lnTo>
                  <a:lnTo>
                    <a:pt x="39191" y="34172"/>
                  </a:lnTo>
                  <a:lnTo>
                    <a:pt x="39292" y="34649"/>
                  </a:lnTo>
                  <a:lnTo>
                    <a:pt x="39292" y="34966"/>
                  </a:lnTo>
                  <a:lnTo>
                    <a:pt x="39292" y="34966"/>
                  </a:lnTo>
                  <a:lnTo>
                    <a:pt x="39191" y="34966"/>
                  </a:lnTo>
                  <a:lnTo>
                    <a:pt x="39191" y="34966"/>
                  </a:lnTo>
                  <a:lnTo>
                    <a:pt x="39191" y="35761"/>
                  </a:lnTo>
                  <a:lnTo>
                    <a:pt x="39191" y="35761"/>
                  </a:lnTo>
                  <a:lnTo>
                    <a:pt x="39292" y="36556"/>
                  </a:lnTo>
                  <a:lnTo>
                    <a:pt x="39747" y="36556"/>
                  </a:lnTo>
                  <a:lnTo>
                    <a:pt x="40000" y="36874"/>
                  </a:lnTo>
                  <a:lnTo>
                    <a:pt x="40252" y="36874"/>
                  </a:lnTo>
                  <a:lnTo>
                    <a:pt x="40252" y="36874"/>
                  </a:lnTo>
                  <a:lnTo>
                    <a:pt x="40353" y="36874"/>
                  </a:lnTo>
                  <a:lnTo>
                    <a:pt x="40151" y="36874"/>
                  </a:lnTo>
                  <a:lnTo>
                    <a:pt x="39646" y="36874"/>
                  </a:lnTo>
                  <a:lnTo>
                    <a:pt x="39545" y="36874"/>
                  </a:lnTo>
                  <a:lnTo>
                    <a:pt x="39393" y="36874"/>
                  </a:lnTo>
                  <a:lnTo>
                    <a:pt x="39393" y="36556"/>
                  </a:lnTo>
                  <a:lnTo>
                    <a:pt x="39191" y="36556"/>
                  </a:lnTo>
                  <a:lnTo>
                    <a:pt x="39191" y="36556"/>
                  </a:lnTo>
                  <a:lnTo>
                    <a:pt x="39040" y="36079"/>
                  </a:lnTo>
                  <a:lnTo>
                    <a:pt x="38939" y="35761"/>
                  </a:lnTo>
                  <a:lnTo>
                    <a:pt x="38838" y="34649"/>
                  </a:lnTo>
                  <a:lnTo>
                    <a:pt x="38686" y="34172"/>
                  </a:lnTo>
                  <a:lnTo>
                    <a:pt x="38585" y="33854"/>
                  </a:lnTo>
                  <a:lnTo>
                    <a:pt x="38232" y="33536"/>
                  </a:lnTo>
                  <a:lnTo>
                    <a:pt x="37979" y="33059"/>
                  </a:lnTo>
                  <a:lnTo>
                    <a:pt x="37878" y="32741"/>
                  </a:lnTo>
                  <a:lnTo>
                    <a:pt x="37727" y="32741"/>
                  </a:lnTo>
                  <a:lnTo>
                    <a:pt x="37626" y="32741"/>
                  </a:lnTo>
                  <a:lnTo>
                    <a:pt x="37373" y="33059"/>
                  </a:lnTo>
                  <a:lnTo>
                    <a:pt x="37020" y="33059"/>
                  </a:lnTo>
                  <a:lnTo>
                    <a:pt x="36666" y="33536"/>
                  </a:lnTo>
                  <a:lnTo>
                    <a:pt x="36666" y="33854"/>
                  </a:lnTo>
                  <a:lnTo>
                    <a:pt x="36818" y="34649"/>
                  </a:lnTo>
                  <a:lnTo>
                    <a:pt x="36919" y="34649"/>
                  </a:lnTo>
                  <a:lnTo>
                    <a:pt x="37020" y="34966"/>
                  </a:lnTo>
                  <a:lnTo>
                    <a:pt x="37171" y="35443"/>
                  </a:lnTo>
                  <a:lnTo>
                    <a:pt x="37272" y="35761"/>
                  </a:lnTo>
                  <a:lnTo>
                    <a:pt x="37272" y="36079"/>
                  </a:lnTo>
                  <a:lnTo>
                    <a:pt x="37373" y="36556"/>
                  </a:lnTo>
                  <a:lnTo>
                    <a:pt x="37272" y="36556"/>
                  </a:lnTo>
                  <a:lnTo>
                    <a:pt x="37020" y="37192"/>
                  </a:lnTo>
                  <a:lnTo>
                    <a:pt x="37020" y="37668"/>
                  </a:lnTo>
                  <a:lnTo>
                    <a:pt x="37020" y="38304"/>
                  </a:lnTo>
                  <a:lnTo>
                    <a:pt x="37020" y="38304"/>
                  </a:lnTo>
                  <a:lnTo>
                    <a:pt x="36919" y="39099"/>
                  </a:lnTo>
                  <a:lnTo>
                    <a:pt x="36818" y="39099"/>
                  </a:lnTo>
                  <a:lnTo>
                    <a:pt x="36313" y="39894"/>
                  </a:lnTo>
                  <a:lnTo>
                    <a:pt x="36313" y="39894"/>
                  </a:lnTo>
                  <a:lnTo>
                    <a:pt x="36313" y="40688"/>
                  </a:lnTo>
                  <a:lnTo>
                    <a:pt x="36212" y="40688"/>
                  </a:lnTo>
                  <a:lnTo>
                    <a:pt x="36060" y="40688"/>
                  </a:lnTo>
                  <a:lnTo>
                    <a:pt x="35858" y="40688"/>
                  </a:lnTo>
                  <a:lnTo>
                    <a:pt x="35606" y="40211"/>
                  </a:lnTo>
                  <a:lnTo>
                    <a:pt x="35505" y="40211"/>
                  </a:lnTo>
                  <a:lnTo>
                    <a:pt x="34898" y="40688"/>
                  </a:lnTo>
                  <a:lnTo>
                    <a:pt x="34646" y="40211"/>
                  </a:lnTo>
                  <a:lnTo>
                    <a:pt x="34393" y="39894"/>
                  </a:lnTo>
                  <a:lnTo>
                    <a:pt x="34191" y="39894"/>
                  </a:lnTo>
                  <a:lnTo>
                    <a:pt x="34040" y="39894"/>
                  </a:lnTo>
                  <a:lnTo>
                    <a:pt x="33939" y="39576"/>
                  </a:lnTo>
                  <a:lnTo>
                    <a:pt x="33939" y="39576"/>
                  </a:lnTo>
                  <a:lnTo>
                    <a:pt x="33838" y="39099"/>
                  </a:lnTo>
                  <a:lnTo>
                    <a:pt x="33838" y="39099"/>
                  </a:lnTo>
                  <a:lnTo>
                    <a:pt x="33838" y="39099"/>
                  </a:lnTo>
                  <a:lnTo>
                    <a:pt x="33939" y="39099"/>
                  </a:lnTo>
                  <a:lnTo>
                    <a:pt x="34292" y="39099"/>
                  </a:lnTo>
                  <a:lnTo>
                    <a:pt x="34393" y="39099"/>
                  </a:lnTo>
                  <a:lnTo>
                    <a:pt x="34393" y="39099"/>
                  </a:lnTo>
                  <a:lnTo>
                    <a:pt x="34545" y="39099"/>
                  </a:lnTo>
                  <a:lnTo>
                    <a:pt x="34747" y="39576"/>
                  </a:lnTo>
                  <a:lnTo>
                    <a:pt x="34898" y="39576"/>
                  </a:lnTo>
                  <a:lnTo>
                    <a:pt x="34898" y="39099"/>
                  </a:lnTo>
                  <a:lnTo>
                    <a:pt x="34898" y="39099"/>
                  </a:lnTo>
                  <a:lnTo>
                    <a:pt x="35000" y="39099"/>
                  </a:lnTo>
                  <a:lnTo>
                    <a:pt x="34898" y="39576"/>
                  </a:lnTo>
                  <a:lnTo>
                    <a:pt x="34898" y="39576"/>
                  </a:lnTo>
                  <a:lnTo>
                    <a:pt x="34898" y="39576"/>
                  </a:lnTo>
                  <a:lnTo>
                    <a:pt x="34898" y="39576"/>
                  </a:lnTo>
                  <a:lnTo>
                    <a:pt x="35000" y="39894"/>
                  </a:lnTo>
                  <a:lnTo>
                    <a:pt x="35151" y="39894"/>
                  </a:lnTo>
                  <a:lnTo>
                    <a:pt x="35252" y="39894"/>
                  </a:lnTo>
                  <a:lnTo>
                    <a:pt x="35353" y="39576"/>
                  </a:lnTo>
                  <a:lnTo>
                    <a:pt x="35505" y="39576"/>
                  </a:lnTo>
                  <a:lnTo>
                    <a:pt x="35606" y="39576"/>
                  </a:lnTo>
                  <a:lnTo>
                    <a:pt x="35606" y="39099"/>
                  </a:lnTo>
                  <a:lnTo>
                    <a:pt x="35505" y="38781"/>
                  </a:lnTo>
                  <a:lnTo>
                    <a:pt x="35353" y="38781"/>
                  </a:lnTo>
                  <a:lnTo>
                    <a:pt x="35606" y="38781"/>
                  </a:lnTo>
                  <a:lnTo>
                    <a:pt x="35707" y="38304"/>
                  </a:lnTo>
                  <a:lnTo>
                    <a:pt x="35959" y="36874"/>
                  </a:lnTo>
                  <a:lnTo>
                    <a:pt x="36060" y="36556"/>
                  </a:lnTo>
                  <a:lnTo>
                    <a:pt x="36212" y="36556"/>
                  </a:lnTo>
                  <a:lnTo>
                    <a:pt x="36212" y="36079"/>
                  </a:lnTo>
                  <a:lnTo>
                    <a:pt x="36212" y="35761"/>
                  </a:lnTo>
                  <a:lnTo>
                    <a:pt x="36060" y="35443"/>
                  </a:lnTo>
                  <a:lnTo>
                    <a:pt x="35959" y="34966"/>
                  </a:lnTo>
                  <a:lnTo>
                    <a:pt x="36060" y="34966"/>
                  </a:lnTo>
                  <a:lnTo>
                    <a:pt x="36060" y="34172"/>
                  </a:lnTo>
                  <a:lnTo>
                    <a:pt x="36212" y="34172"/>
                  </a:lnTo>
                  <a:lnTo>
                    <a:pt x="36212" y="34172"/>
                  </a:lnTo>
                  <a:lnTo>
                    <a:pt x="36060" y="33854"/>
                  </a:lnTo>
                  <a:lnTo>
                    <a:pt x="35858" y="33536"/>
                  </a:lnTo>
                  <a:lnTo>
                    <a:pt x="35505" y="33536"/>
                  </a:lnTo>
                  <a:lnTo>
                    <a:pt x="35353" y="33059"/>
                  </a:lnTo>
                  <a:lnTo>
                    <a:pt x="35252" y="32741"/>
                  </a:lnTo>
                  <a:lnTo>
                    <a:pt x="35151" y="32741"/>
                  </a:lnTo>
                  <a:lnTo>
                    <a:pt x="35151" y="32423"/>
                  </a:lnTo>
                  <a:lnTo>
                    <a:pt x="35000" y="31629"/>
                  </a:lnTo>
                  <a:lnTo>
                    <a:pt x="35000" y="31629"/>
                  </a:lnTo>
                  <a:lnTo>
                    <a:pt x="34898" y="30516"/>
                  </a:lnTo>
                  <a:lnTo>
                    <a:pt x="34646" y="29403"/>
                  </a:lnTo>
                  <a:lnTo>
                    <a:pt x="34545" y="29403"/>
                  </a:lnTo>
                  <a:lnTo>
                    <a:pt x="34545" y="28927"/>
                  </a:lnTo>
                  <a:lnTo>
                    <a:pt x="34646" y="28927"/>
                  </a:lnTo>
                  <a:lnTo>
                    <a:pt x="34646" y="28609"/>
                  </a:lnTo>
                  <a:lnTo>
                    <a:pt x="34393" y="27814"/>
                  </a:lnTo>
                  <a:lnTo>
                    <a:pt x="34292" y="27496"/>
                  </a:lnTo>
                  <a:lnTo>
                    <a:pt x="34191" y="26701"/>
                  </a:lnTo>
                  <a:lnTo>
                    <a:pt x="33838" y="26384"/>
                  </a:lnTo>
                  <a:lnTo>
                    <a:pt x="33585" y="25907"/>
                  </a:lnTo>
                  <a:lnTo>
                    <a:pt x="33585" y="25907"/>
                  </a:lnTo>
                  <a:lnTo>
                    <a:pt x="33585" y="25589"/>
                  </a:lnTo>
                  <a:lnTo>
                    <a:pt x="33686" y="25589"/>
                  </a:lnTo>
                  <a:lnTo>
                    <a:pt x="33686" y="25271"/>
                  </a:lnTo>
                  <a:lnTo>
                    <a:pt x="33686" y="24794"/>
                  </a:lnTo>
                  <a:lnTo>
                    <a:pt x="33686" y="24476"/>
                  </a:lnTo>
                  <a:lnTo>
                    <a:pt x="33686" y="24158"/>
                  </a:lnTo>
                  <a:lnTo>
                    <a:pt x="33686" y="23364"/>
                  </a:lnTo>
                  <a:lnTo>
                    <a:pt x="33585" y="23046"/>
                  </a:lnTo>
                  <a:lnTo>
                    <a:pt x="33585" y="22569"/>
                  </a:lnTo>
                  <a:lnTo>
                    <a:pt x="33333" y="22569"/>
                  </a:lnTo>
                  <a:lnTo>
                    <a:pt x="33232" y="22251"/>
                  </a:lnTo>
                  <a:lnTo>
                    <a:pt x="32979" y="22251"/>
                  </a:lnTo>
                  <a:lnTo>
                    <a:pt x="32878" y="22251"/>
                  </a:lnTo>
                  <a:lnTo>
                    <a:pt x="32626" y="21774"/>
                  </a:lnTo>
                  <a:lnTo>
                    <a:pt x="32525" y="21774"/>
                  </a:lnTo>
                  <a:lnTo>
                    <a:pt x="32020" y="22251"/>
                  </a:lnTo>
                  <a:lnTo>
                    <a:pt x="31666" y="21774"/>
                  </a:lnTo>
                  <a:lnTo>
                    <a:pt x="31565" y="22251"/>
                  </a:lnTo>
                  <a:lnTo>
                    <a:pt x="31464" y="22251"/>
                  </a:lnTo>
                  <a:lnTo>
                    <a:pt x="31313" y="22251"/>
                  </a:lnTo>
                  <a:lnTo>
                    <a:pt x="31313" y="21774"/>
                  </a:lnTo>
                  <a:lnTo>
                    <a:pt x="31313" y="21774"/>
                  </a:lnTo>
                  <a:lnTo>
                    <a:pt x="31313" y="21774"/>
                  </a:lnTo>
                  <a:lnTo>
                    <a:pt x="31313" y="21774"/>
                  </a:lnTo>
                  <a:lnTo>
                    <a:pt x="31212" y="21774"/>
                  </a:lnTo>
                  <a:lnTo>
                    <a:pt x="31060" y="22569"/>
                  </a:lnTo>
                  <a:lnTo>
                    <a:pt x="31060" y="23364"/>
                  </a:lnTo>
                  <a:lnTo>
                    <a:pt x="31060" y="24476"/>
                  </a:lnTo>
                  <a:lnTo>
                    <a:pt x="31060" y="24794"/>
                  </a:lnTo>
                  <a:lnTo>
                    <a:pt x="31060" y="25271"/>
                  </a:lnTo>
                  <a:lnTo>
                    <a:pt x="30959" y="25589"/>
                  </a:lnTo>
                  <a:lnTo>
                    <a:pt x="30707" y="25907"/>
                  </a:lnTo>
                  <a:lnTo>
                    <a:pt x="30606" y="26384"/>
                  </a:lnTo>
                  <a:lnTo>
                    <a:pt x="30353" y="26384"/>
                  </a:lnTo>
                  <a:lnTo>
                    <a:pt x="30353" y="26701"/>
                  </a:lnTo>
                  <a:lnTo>
                    <a:pt x="30252" y="27178"/>
                  </a:lnTo>
                  <a:lnTo>
                    <a:pt x="30353" y="27178"/>
                  </a:lnTo>
                  <a:lnTo>
                    <a:pt x="30353" y="27178"/>
                  </a:lnTo>
                  <a:lnTo>
                    <a:pt x="30353" y="27496"/>
                  </a:lnTo>
                  <a:lnTo>
                    <a:pt x="30353" y="27496"/>
                  </a:lnTo>
                  <a:lnTo>
                    <a:pt x="30353" y="27496"/>
                  </a:lnTo>
                  <a:lnTo>
                    <a:pt x="30353" y="27814"/>
                  </a:lnTo>
                  <a:lnTo>
                    <a:pt x="30505" y="27814"/>
                  </a:lnTo>
                  <a:lnTo>
                    <a:pt x="30707" y="27496"/>
                  </a:lnTo>
                  <a:lnTo>
                    <a:pt x="30707" y="27814"/>
                  </a:lnTo>
                  <a:lnTo>
                    <a:pt x="30858" y="27814"/>
                  </a:lnTo>
                  <a:lnTo>
                    <a:pt x="30959" y="28609"/>
                  </a:lnTo>
                  <a:lnTo>
                    <a:pt x="30959" y="28927"/>
                  </a:lnTo>
                  <a:lnTo>
                    <a:pt x="30959" y="29403"/>
                  </a:lnTo>
                  <a:lnTo>
                    <a:pt x="31060" y="29403"/>
                  </a:lnTo>
                  <a:lnTo>
                    <a:pt x="31060" y="29721"/>
                  </a:lnTo>
                  <a:lnTo>
                    <a:pt x="31060" y="29721"/>
                  </a:lnTo>
                  <a:lnTo>
                    <a:pt x="31060" y="30039"/>
                  </a:lnTo>
                  <a:lnTo>
                    <a:pt x="30959" y="30039"/>
                  </a:lnTo>
                  <a:lnTo>
                    <a:pt x="30959" y="30516"/>
                  </a:lnTo>
                  <a:lnTo>
                    <a:pt x="30959" y="30834"/>
                  </a:lnTo>
                  <a:lnTo>
                    <a:pt x="30959" y="30834"/>
                  </a:lnTo>
                  <a:lnTo>
                    <a:pt x="31060" y="31311"/>
                  </a:lnTo>
                  <a:lnTo>
                    <a:pt x="31060" y="31311"/>
                  </a:lnTo>
                  <a:lnTo>
                    <a:pt x="31060" y="31311"/>
                  </a:lnTo>
                  <a:lnTo>
                    <a:pt x="31060" y="30834"/>
                  </a:lnTo>
                  <a:lnTo>
                    <a:pt x="31212" y="30834"/>
                  </a:lnTo>
                  <a:lnTo>
                    <a:pt x="31565" y="31311"/>
                  </a:lnTo>
                  <a:lnTo>
                    <a:pt x="31666" y="31311"/>
                  </a:lnTo>
                  <a:lnTo>
                    <a:pt x="31919" y="31629"/>
                  </a:lnTo>
                  <a:lnTo>
                    <a:pt x="31919" y="31629"/>
                  </a:lnTo>
                  <a:lnTo>
                    <a:pt x="32020" y="31947"/>
                  </a:lnTo>
                  <a:lnTo>
                    <a:pt x="32272" y="32741"/>
                  </a:lnTo>
                  <a:lnTo>
                    <a:pt x="32525" y="32741"/>
                  </a:lnTo>
                  <a:lnTo>
                    <a:pt x="32626" y="33059"/>
                  </a:lnTo>
                  <a:lnTo>
                    <a:pt x="32626" y="33059"/>
                  </a:lnTo>
                  <a:lnTo>
                    <a:pt x="32727" y="33059"/>
                  </a:lnTo>
                  <a:lnTo>
                    <a:pt x="32878" y="33059"/>
                  </a:lnTo>
                  <a:lnTo>
                    <a:pt x="32878" y="33536"/>
                  </a:lnTo>
                  <a:lnTo>
                    <a:pt x="32878" y="33854"/>
                  </a:lnTo>
                  <a:lnTo>
                    <a:pt x="32727" y="34649"/>
                  </a:lnTo>
                  <a:lnTo>
                    <a:pt x="32626" y="34649"/>
                  </a:lnTo>
                  <a:lnTo>
                    <a:pt x="32525" y="34649"/>
                  </a:lnTo>
                  <a:lnTo>
                    <a:pt x="32171" y="34172"/>
                  </a:lnTo>
                  <a:lnTo>
                    <a:pt x="32020" y="33854"/>
                  </a:lnTo>
                  <a:lnTo>
                    <a:pt x="31666" y="33536"/>
                  </a:lnTo>
                  <a:lnTo>
                    <a:pt x="31464" y="33059"/>
                  </a:lnTo>
                  <a:lnTo>
                    <a:pt x="31313" y="33059"/>
                  </a:lnTo>
                  <a:lnTo>
                    <a:pt x="31060" y="33059"/>
                  </a:lnTo>
                  <a:lnTo>
                    <a:pt x="30959" y="32741"/>
                  </a:lnTo>
                  <a:lnTo>
                    <a:pt x="30858" y="32741"/>
                  </a:lnTo>
                  <a:lnTo>
                    <a:pt x="30606" y="32741"/>
                  </a:lnTo>
                  <a:lnTo>
                    <a:pt x="30505" y="32423"/>
                  </a:lnTo>
                  <a:lnTo>
                    <a:pt x="30353" y="32423"/>
                  </a:lnTo>
                  <a:lnTo>
                    <a:pt x="30252" y="32423"/>
                  </a:lnTo>
                  <a:lnTo>
                    <a:pt x="30000" y="31947"/>
                  </a:lnTo>
                  <a:lnTo>
                    <a:pt x="29898" y="31947"/>
                  </a:lnTo>
                  <a:lnTo>
                    <a:pt x="29898" y="31947"/>
                  </a:lnTo>
                  <a:lnTo>
                    <a:pt x="29646" y="31629"/>
                  </a:lnTo>
                  <a:lnTo>
                    <a:pt x="29292" y="31311"/>
                  </a:lnTo>
                  <a:lnTo>
                    <a:pt x="28686" y="30834"/>
                  </a:lnTo>
                  <a:lnTo>
                    <a:pt x="28131" y="30834"/>
                  </a:lnTo>
                  <a:lnTo>
                    <a:pt x="27525" y="30516"/>
                  </a:lnTo>
                  <a:lnTo>
                    <a:pt x="27020" y="30516"/>
                  </a:lnTo>
                  <a:lnTo>
                    <a:pt x="26919" y="30516"/>
                  </a:lnTo>
                  <a:lnTo>
                    <a:pt x="26919" y="30516"/>
                  </a:lnTo>
                  <a:lnTo>
                    <a:pt x="26818" y="30834"/>
                  </a:lnTo>
                  <a:lnTo>
                    <a:pt x="26565" y="30834"/>
                  </a:lnTo>
                  <a:lnTo>
                    <a:pt x="26565" y="31311"/>
                  </a:lnTo>
                  <a:lnTo>
                    <a:pt x="26666" y="31629"/>
                  </a:lnTo>
                  <a:lnTo>
                    <a:pt x="27020" y="32423"/>
                  </a:lnTo>
                  <a:lnTo>
                    <a:pt x="27171" y="32423"/>
                  </a:lnTo>
                  <a:lnTo>
                    <a:pt x="27272" y="32741"/>
                  </a:lnTo>
                  <a:lnTo>
                    <a:pt x="27272" y="33059"/>
                  </a:lnTo>
                  <a:lnTo>
                    <a:pt x="27171" y="33536"/>
                  </a:lnTo>
                  <a:lnTo>
                    <a:pt x="27020" y="33536"/>
                  </a:lnTo>
                  <a:lnTo>
                    <a:pt x="26919" y="33536"/>
                  </a:lnTo>
                  <a:lnTo>
                    <a:pt x="26666" y="33536"/>
                  </a:lnTo>
                  <a:lnTo>
                    <a:pt x="26666" y="33854"/>
                  </a:lnTo>
                  <a:lnTo>
                    <a:pt x="26818" y="34172"/>
                  </a:lnTo>
                  <a:lnTo>
                    <a:pt x="26818" y="34172"/>
                  </a:lnTo>
                  <a:lnTo>
                    <a:pt x="26818" y="34649"/>
                  </a:lnTo>
                  <a:lnTo>
                    <a:pt x="26818" y="34649"/>
                  </a:lnTo>
                  <a:lnTo>
                    <a:pt x="26818" y="34649"/>
                  </a:lnTo>
                  <a:lnTo>
                    <a:pt x="26666" y="34649"/>
                  </a:lnTo>
                  <a:lnTo>
                    <a:pt x="26666" y="34649"/>
                  </a:lnTo>
                  <a:lnTo>
                    <a:pt x="26464" y="34649"/>
                  </a:lnTo>
                  <a:lnTo>
                    <a:pt x="26212" y="34172"/>
                  </a:lnTo>
                  <a:lnTo>
                    <a:pt x="26212" y="33854"/>
                  </a:lnTo>
                  <a:lnTo>
                    <a:pt x="26212" y="33854"/>
                  </a:lnTo>
                  <a:lnTo>
                    <a:pt x="26313" y="33536"/>
                  </a:lnTo>
                  <a:lnTo>
                    <a:pt x="26313" y="33536"/>
                  </a:lnTo>
                  <a:lnTo>
                    <a:pt x="26212" y="33059"/>
                  </a:lnTo>
                  <a:lnTo>
                    <a:pt x="26060" y="33059"/>
                  </a:lnTo>
                  <a:lnTo>
                    <a:pt x="25959" y="32741"/>
                  </a:lnTo>
                  <a:lnTo>
                    <a:pt x="25959" y="32741"/>
                  </a:lnTo>
                  <a:lnTo>
                    <a:pt x="25959" y="32741"/>
                  </a:lnTo>
                  <a:lnTo>
                    <a:pt x="25606" y="33059"/>
                  </a:lnTo>
                  <a:lnTo>
                    <a:pt x="25505" y="33059"/>
                  </a:lnTo>
                  <a:lnTo>
                    <a:pt x="25505" y="33059"/>
                  </a:lnTo>
                  <a:lnTo>
                    <a:pt x="25000" y="33854"/>
                  </a:lnTo>
                  <a:lnTo>
                    <a:pt x="24898" y="34172"/>
                  </a:lnTo>
                  <a:lnTo>
                    <a:pt x="24646" y="33854"/>
                  </a:lnTo>
                  <a:lnTo>
                    <a:pt x="24545" y="33854"/>
                  </a:lnTo>
                  <a:lnTo>
                    <a:pt x="24292" y="33854"/>
                  </a:lnTo>
                  <a:lnTo>
                    <a:pt x="24040" y="33854"/>
                  </a:lnTo>
                  <a:lnTo>
                    <a:pt x="23939" y="33854"/>
                  </a:lnTo>
                  <a:lnTo>
                    <a:pt x="23838" y="33854"/>
                  </a:lnTo>
                  <a:lnTo>
                    <a:pt x="23686" y="33854"/>
                  </a:lnTo>
                  <a:lnTo>
                    <a:pt x="23484" y="34172"/>
                  </a:lnTo>
                  <a:lnTo>
                    <a:pt x="23333" y="34649"/>
                  </a:lnTo>
                  <a:lnTo>
                    <a:pt x="23484" y="34966"/>
                  </a:lnTo>
                  <a:lnTo>
                    <a:pt x="23333" y="34966"/>
                  </a:lnTo>
                  <a:lnTo>
                    <a:pt x="23232" y="34966"/>
                  </a:lnTo>
                  <a:lnTo>
                    <a:pt x="23131" y="34966"/>
                  </a:lnTo>
                  <a:lnTo>
                    <a:pt x="23131" y="34966"/>
                  </a:lnTo>
                  <a:lnTo>
                    <a:pt x="22979" y="34966"/>
                  </a:lnTo>
                  <a:lnTo>
                    <a:pt x="22878" y="34966"/>
                  </a:lnTo>
                  <a:lnTo>
                    <a:pt x="22727" y="34966"/>
                  </a:lnTo>
                  <a:lnTo>
                    <a:pt x="22727" y="34966"/>
                  </a:lnTo>
                  <a:lnTo>
                    <a:pt x="22525" y="34966"/>
                  </a:lnTo>
                  <a:lnTo>
                    <a:pt x="22373" y="34966"/>
                  </a:lnTo>
                  <a:lnTo>
                    <a:pt x="22272" y="34966"/>
                  </a:lnTo>
                  <a:lnTo>
                    <a:pt x="22272" y="34649"/>
                  </a:lnTo>
                  <a:lnTo>
                    <a:pt x="22272" y="34649"/>
                  </a:lnTo>
                  <a:lnTo>
                    <a:pt x="22525" y="34649"/>
                  </a:lnTo>
                  <a:lnTo>
                    <a:pt x="22525" y="34649"/>
                  </a:lnTo>
                  <a:lnTo>
                    <a:pt x="22626" y="34649"/>
                  </a:lnTo>
                  <a:lnTo>
                    <a:pt x="22727" y="34172"/>
                  </a:lnTo>
                  <a:lnTo>
                    <a:pt x="22626" y="34172"/>
                  </a:lnTo>
                  <a:lnTo>
                    <a:pt x="22525" y="33854"/>
                  </a:lnTo>
                  <a:lnTo>
                    <a:pt x="22525" y="33536"/>
                  </a:lnTo>
                  <a:lnTo>
                    <a:pt x="22525" y="33536"/>
                  </a:lnTo>
                  <a:lnTo>
                    <a:pt x="22525" y="33536"/>
                  </a:lnTo>
                  <a:lnTo>
                    <a:pt x="22626" y="33059"/>
                  </a:lnTo>
                  <a:lnTo>
                    <a:pt x="22525" y="33059"/>
                  </a:lnTo>
                  <a:lnTo>
                    <a:pt x="22525" y="33059"/>
                  </a:lnTo>
                  <a:lnTo>
                    <a:pt x="22373" y="33059"/>
                  </a:lnTo>
                  <a:lnTo>
                    <a:pt x="22525" y="33059"/>
                  </a:lnTo>
                  <a:lnTo>
                    <a:pt x="22878" y="32741"/>
                  </a:lnTo>
                  <a:lnTo>
                    <a:pt x="22878" y="32741"/>
                  </a:lnTo>
                  <a:lnTo>
                    <a:pt x="22626" y="32741"/>
                  </a:lnTo>
                  <a:lnTo>
                    <a:pt x="22373" y="32741"/>
                  </a:lnTo>
                  <a:lnTo>
                    <a:pt x="22171" y="33059"/>
                  </a:lnTo>
                  <a:lnTo>
                    <a:pt x="21818" y="33536"/>
                  </a:lnTo>
                  <a:lnTo>
                    <a:pt x="21565" y="33854"/>
                  </a:lnTo>
                  <a:lnTo>
                    <a:pt x="21565" y="33854"/>
                  </a:lnTo>
                  <a:lnTo>
                    <a:pt x="21666" y="33854"/>
                  </a:lnTo>
                  <a:lnTo>
                    <a:pt x="21818" y="34172"/>
                  </a:lnTo>
                  <a:lnTo>
                    <a:pt x="21818" y="34172"/>
                  </a:lnTo>
                  <a:lnTo>
                    <a:pt x="21818" y="34649"/>
                  </a:lnTo>
                  <a:lnTo>
                    <a:pt x="21666" y="34649"/>
                  </a:lnTo>
                  <a:lnTo>
                    <a:pt x="21666" y="34649"/>
                  </a:lnTo>
                  <a:lnTo>
                    <a:pt x="21666" y="34649"/>
                  </a:lnTo>
                  <a:lnTo>
                    <a:pt x="21565" y="34649"/>
                  </a:lnTo>
                  <a:lnTo>
                    <a:pt x="21565" y="34649"/>
                  </a:lnTo>
                  <a:lnTo>
                    <a:pt x="21565" y="34649"/>
                  </a:lnTo>
                  <a:lnTo>
                    <a:pt x="21565" y="34172"/>
                  </a:lnTo>
                  <a:lnTo>
                    <a:pt x="21464" y="34172"/>
                  </a:lnTo>
                  <a:lnTo>
                    <a:pt x="21313" y="34172"/>
                  </a:lnTo>
                  <a:lnTo>
                    <a:pt x="21313" y="34172"/>
                  </a:lnTo>
                  <a:lnTo>
                    <a:pt x="21060" y="34172"/>
                  </a:lnTo>
                  <a:lnTo>
                    <a:pt x="20959" y="34649"/>
                  </a:lnTo>
                  <a:lnTo>
                    <a:pt x="20707" y="34649"/>
                  </a:lnTo>
                  <a:lnTo>
                    <a:pt x="20606" y="34649"/>
                  </a:lnTo>
                  <a:lnTo>
                    <a:pt x="20505" y="34649"/>
                  </a:lnTo>
                  <a:lnTo>
                    <a:pt x="20353" y="34966"/>
                  </a:lnTo>
                  <a:lnTo>
                    <a:pt x="20252" y="34966"/>
                  </a:lnTo>
                  <a:lnTo>
                    <a:pt x="20000" y="35443"/>
                  </a:lnTo>
                  <a:lnTo>
                    <a:pt x="19545" y="36079"/>
                  </a:lnTo>
                  <a:lnTo>
                    <a:pt x="19393" y="36079"/>
                  </a:lnTo>
                  <a:lnTo>
                    <a:pt x="19393" y="36079"/>
                  </a:lnTo>
                  <a:lnTo>
                    <a:pt x="19292" y="36079"/>
                  </a:lnTo>
                  <a:lnTo>
                    <a:pt x="19292" y="36079"/>
                  </a:lnTo>
                  <a:lnTo>
                    <a:pt x="19292" y="36079"/>
                  </a:lnTo>
                  <a:lnTo>
                    <a:pt x="19393" y="36556"/>
                  </a:lnTo>
                  <a:lnTo>
                    <a:pt x="19393" y="36556"/>
                  </a:lnTo>
                  <a:lnTo>
                    <a:pt x="19292" y="36556"/>
                  </a:lnTo>
                  <a:lnTo>
                    <a:pt x="19040" y="36556"/>
                  </a:lnTo>
                  <a:lnTo>
                    <a:pt x="18838" y="36874"/>
                  </a:lnTo>
                  <a:lnTo>
                    <a:pt x="18838" y="36874"/>
                  </a:lnTo>
                  <a:lnTo>
                    <a:pt x="18838" y="37192"/>
                  </a:lnTo>
                  <a:lnTo>
                    <a:pt x="18838" y="37668"/>
                  </a:lnTo>
                  <a:lnTo>
                    <a:pt x="18838" y="37668"/>
                  </a:lnTo>
                  <a:lnTo>
                    <a:pt x="18838" y="38304"/>
                  </a:lnTo>
                  <a:lnTo>
                    <a:pt x="18838" y="38781"/>
                  </a:lnTo>
                  <a:lnTo>
                    <a:pt x="18686" y="38781"/>
                  </a:lnTo>
                  <a:lnTo>
                    <a:pt x="18131" y="39099"/>
                  </a:lnTo>
                  <a:lnTo>
                    <a:pt x="18131" y="39099"/>
                  </a:lnTo>
                  <a:lnTo>
                    <a:pt x="17979" y="39099"/>
                  </a:lnTo>
                  <a:lnTo>
                    <a:pt x="17979" y="39099"/>
                  </a:lnTo>
                  <a:lnTo>
                    <a:pt x="17878" y="39099"/>
                  </a:lnTo>
                  <a:lnTo>
                    <a:pt x="17727" y="39099"/>
                  </a:lnTo>
                  <a:lnTo>
                    <a:pt x="17626" y="39099"/>
                  </a:lnTo>
                  <a:lnTo>
                    <a:pt x="17626" y="38781"/>
                  </a:lnTo>
                  <a:lnTo>
                    <a:pt x="17525" y="38781"/>
                  </a:lnTo>
                  <a:lnTo>
                    <a:pt x="17272" y="37986"/>
                  </a:lnTo>
                  <a:lnTo>
                    <a:pt x="16919" y="37668"/>
                  </a:lnTo>
                  <a:lnTo>
                    <a:pt x="16818" y="37668"/>
                  </a:lnTo>
                  <a:lnTo>
                    <a:pt x="16818" y="37192"/>
                  </a:lnTo>
                  <a:lnTo>
                    <a:pt x="16818" y="37192"/>
                  </a:lnTo>
                  <a:lnTo>
                    <a:pt x="17020" y="36556"/>
                  </a:lnTo>
                  <a:lnTo>
                    <a:pt x="17171" y="36556"/>
                  </a:lnTo>
                  <a:lnTo>
                    <a:pt x="17525" y="36079"/>
                  </a:lnTo>
                  <a:lnTo>
                    <a:pt x="17727" y="36079"/>
                  </a:lnTo>
                  <a:lnTo>
                    <a:pt x="17878" y="36079"/>
                  </a:lnTo>
                  <a:lnTo>
                    <a:pt x="17878" y="35761"/>
                  </a:lnTo>
                  <a:lnTo>
                    <a:pt x="17626" y="35443"/>
                  </a:lnTo>
                  <a:lnTo>
                    <a:pt x="17373" y="34966"/>
                  </a:lnTo>
                  <a:lnTo>
                    <a:pt x="17171" y="34172"/>
                  </a:lnTo>
                  <a:lnTo>
                    <a:pt x="16919" y="34172"/>
                  </a:lnTo>
                  <a:lnTo>
                    <a:pt x="16565" y="33854"/>
                  </a:lnTo>
                  <a:lnTo>
                    <a:pt x="15959" y="34172"/>
                  </a:lnTo>
                  <a:lnTo>
                    <a:pt x="15858" y="34172"/>
                  </a:lnTo>
                  <a:lnTo>
                    <a:pt x="15505" y="33854"/>
                  </a:lnTo>
                  <a:lnTo>
                    <a:pt x="15353" y="33854"/>
                  </a:lnTo>
                  <a:lnTo>
                    <a:pt x="15353" y="33854"/>
                  </a:lnTo>
                  <a:lnTo>
                    <a:pt x="15353" y="33854"/>
                  </a:lnTo>
                  <a:lnTo>
                    <a:pt x="15353" y="33854"/>
                  </a:lnTo>
                  <a:lnTo>
                    <a:pt x="15959" y="34649"/>
                  </a:lnTo>
                  <a:lnTo>
                    <a:pt x="16060" y="34966"/>
                  </a:lnTo>
                  <a:lnTo>
                    <a:pt x="16060" y="35443"/>
                  </a:lnTo>
                  <a:lnTo>
                    <a:pt x="16060" y="35443"/>
                  </a:lnTo>
                  <a:lnTo>
                    <a:pt x="16060" y="35443"/>
                  </a:lnTo>
                  <a:lnTo>
                    <a:pt x="16060" y="35761"/>
                  </a:lnTo>
                  <a:lnTo>
                    <a:pt x="16060" y="36556"/>
                  </a:lnTo>
                  <a:lnTo>
                    <a:pt x="16060" y="37192"/>
                  </a:lnTo>
                  <a:lnTo>
                    <a:pt x="15959" y="37668"/>
                  </a:lnTo>
                  <a:lnTo>
                    <a:pt x="15959" y="37668"/>
                  </a:lnTo>
                  <a:lnTo>
                    <a:pt x="16060" y="37986"/>
                  </a:lnTo>
                  <a:lnTo>
                    <a:pt x="16212" y="37986"/>
                  </a:lnTo>
                  <a:lnTo>
                    <a:pt x="16464" y="38304"/>
                  </a:lnTo>
                  <a:lnTo>
                    <a:pt x="16565" y="38304"/>
                  </a:lnTo>
                  <a:lnTo>
                    <a:pt x="16565" y="38781"/>
                  </a:lnTo>
                  <a:lnTo>
                    <a:pt x="16565" y="39099"/>
                  </a:lnTo>
                  <a:lnTo>
                    <a:pt x="16666" y="39576"/>
                  </a:lnTo>
                  <a:lnTo>
                    <a:pt x="16565" y="39894"/>
                  </a:lnTo>
                  <a:lnTo>
                    <a:pt x="16565" y="40211"/>
                  </a:lnTo>
                  <a:lnTo>
                    <a:pt x="16464" y="40688"/>
                  </a:lnTo>
                  <a:lnTo>
                    <a:pt x="16565" y="41006"/>
                  </a:lnTo>
                  <a:lnTo>
                    <a:pt x="16565" y="41324"/>
                  </a:lnTo>
                  <a:lnTo>
                    <a:pt x="16565" y="41324"/>
                  </a:lnTo>
                  <a:lnTo>
                    <a:pt x="16464" y="41324"/>
                  </a:lnTo>
                  <a:lnTo>
                    <a:pt x="16464" y="41006"/>
                  </a:lnTo>
                  <a:lnTo>
                    <a:pt x="16313" y="41006"/>
                  </a:lnTo>
                  <a:lnTo>
                    <a:pt x="16313" y="41006"/>
                  </a:lnTo>
                  <a:lnTo>
                    <a:pt x="16212" y="41006"/>
                  </a:lnTo>
                  <a:lnTo>
                    <a:pt x="16060" y="41006"/>
                  </a:lnTo>
                  <a:lnTo>
                    <a:pt x="16060" y="41006"/>
                  </a:lnTo>
                  <a:lnTo>
                    <a:pt x="16212" y="40688"/>
                  </a:lnTo>
                  <a:lnTo>
                    <a:pt x="16060" y="40688"/>
                  </a:lnTo>
                  <a:lnTo>
                    <a:pt x="16060" y="40688"/>
                  </a:lnTo>
                  <a:lnTo>
                    <a:pt x="15858" y="40211"/>
                  </a:lnTo>
                  <a:lnTo>
                    <a:pt x="15707" y="40211"/>
                  </a:lnTo>
                  <a:lnTo>
                    <a:pt x="15505" y="40211"/>
                  </a:lnTo>
                  <a:lnTo>
                    <a:pt x="15353" y="40211"/>
                  </a:lnTo>
                  <a:lnTo>
                    <a:pt x="15252" y="39894"/>
                  </a:lnTo>
                  <a:lnTo>
                    <a:pt x="15151" y="39894"/>
                  </a:lnTo>
                  <a:lnTo>
                    <a:pt x="15151" y="39894"/>
                  </a:lnTo>
                  <a:lnTo>
                    <a:pt x="15000" y="40211"/>
                  </a:lnTo>
                  <a:lnTo>
                    <a:pt x="14898" y="40688"/>
                  </a:lnTo>
                  <a:lnTo>
                    <a:pt x="14646" y="41006"/>
                  </a:lnTo>
                  <a:lnTo>
                    <a:pt x="14393" y="41324"/>
                  </a:lnTo>
                  <a:lnTo>
                    <a:pt x="14191" y="41324"/>
                  </a:lnTo>
                  <a:lnTo>
                    <a:pt x="14191" y="41324"/>
                  </a:lnTo>
                  <a:lnTo>
                    <a:pt x="14040" y="41801"/>
                  </a:lnTo>
                  <a:lnTo>
                    <a:pt x="13939" y="42119"/>
                  </a:lnTo>
                  <a:lnTo>
                    <a:pt x="13585" y="42437"/>
                  </a:lnTo>
                  <a:lnTo>
                    <a:pt x="13585" y="42913"/>
                  </a:lnTo>
                  <a:lnTo>
                    <a:pt x="13585" y="42913"/>
                  </a:lnTo>
                  <a:lnTo>
                    <a:pt x="13686" y="43231"/>
                  </a:lnTo>
                  <a:lnTo>
                    <a:pt x="13686" y="43708"/>
                  </a:lnTo>
                  <a:lnTo>
                    <a:pt x="13939" y="44026"/>
                  </a:lnTo>
                  <a:lnTo>
                    <a:pt x="14040" y="44344"/>
                  </a:lnTo>
                  <a:lnTo>
                    <a:pt x="14191" y="44821"/>
                  </a:lnTo>
                  <a:lnTo>
                    <a:pt x="14292" y="45139"/>
                  </a:lnTo>
                  <a:lnTo>
                    <a:pt x="14191" y="45139"/>
                  </a:lnTo>
                  <a:lnTo>
                    <a:pt x="14040" y="45139"/>
                  </a:lnTo>
                  <a:lnTo>
                    <a:pt x="13939" y="45139"/>
                  </a:lnTo>
                  <a:lnTo>
                    <a:pt x="13838" y="45139"/>
                  </a:lnTo>
                  <a:lnTo>
                    <a:pt x="13838" y="45456"/>
                  </a:lnTo>
                  <a:lnTo>
                    <a:pt x="13838" y="45456"/>
                  </a:lnTo>
                  <a:lnTo>
                    <a:pt x="13686" y="45456"/>
                  </a:lnTo>
                  <a:lnTo>
                    <a:pt x="13232" y="45139"/>
                  </a:lnTo>
                  <a:lnTo>
                    <a:pt x="12979" y="45139"/>
                  </a:lnTo>
                  <a:lnTo>
                    <a:pt x="12878" y="45139"/>
                  </a:lnTo>
                  <a:lnTo>
                    <a:pt x="12727" y="44821"/>
                  </a:lnTo>
                  <a:lnTo>
                    <a:pt x="12727" y="44821"/>
                  </a:lnTo>
                  <a:lnTo>
                    <a:pt x="12626" y="44821"/>
                  </a:lnTo>
                  <a:lnTo>
                    <a:pt x="12525" y="44821"/>
                  </a:lnTo>
                  <a:lnTo>
                    <a:pt x="12525" y="44821"/>
                  </a:lnTo>
                  <a:lnTo>
                    <a:pt x="12171" y="44026"/>
                  </a:lnTo>
                  <a:lnTo>
                    <a:pt x="11818" y="43708"/>
                  </a:lnTo>
                  <a:lnTo>
                    <a:pt x="11818" y="43708"/>
                  </a:lnTo>
                  <a:lnTo>
                    <a:pt x="11666" y="44026"/>
                  </a:lnTo>
                  <a:lnTo>
                    <a:pt x="11565" y="44344"/>
                  </a:lnTo>
                  <a:lnTo>
                    <a:pt x="11565" y="44821"/>
                  </a:lnTo>
                  <a:lnTo>
                    <a:pt x="11464" y="44344"/>
                  </a:lnTo>
                  <a:lnTo>
                    <a:pt x="11464" y="44821"/>
                  </a:lnTo>
                  <a:lnTo>
                    <a:pt x="11464" y="45139"/>
                  </a:lnTo>
                  <a:lnTo>
                    <a:pt x="11565" y="45139"/>
                  </a:lnTo>
                  <a:lnTo>
                    <a:pt x="11666" y="45139"/>
                  </a:lnTo>
                  <a:lnTo>
                    <a:pt x="11919" y="45933"/>
                  </a:lnTo>
                  <a:lnTo>
                    <a:pt x="12020" y="46251"/>
                  </a:lnTo>
                  <a:lnTo>
                    <a:pt x="12020" y="46251"/>
                  </a:lnTo>
                  <a:lnTo>
                    <a:pt x="12171" y="46251"/>
                  </a:lnTo>
                  <a:lnTo>
                    <a:pt x="12373" y="46251"/>
                  </a:lnTo>
                  <a:lnTo>
                    <a:pt x="12525" y="46251"/>
                  </a:lnTo>
                  <a:lnTo>
                    <a:pt x="12525" y="46251"/>
                  </a:lnTo>
                  <a:lnTo>
                    <a:pt x="12626" y="46569"/>
                  </a:lnTo>
                  <a:lnTo>
                    <a:pt x="12626" y="47046"/>
                  </a:lnTo>
                  <a:lnTo>
                    <a:pt x="12727" y="47364"/>
                  </a:lnTo>
                  <a:lnTo>
                    <a:pt x="12626" y="47364"/>
                  </a:lnTo>
                  <a:lnTo>
                    <a:pt x="12373" y="47841"/>
                  </a:lnTo>
                  <a:lnTo>
                    <a:pt x="12272" y="47841"/>
                  </a:lnTo>
                  <a:lnTo>
                    <a:pt x="12272" y="47841"/>
                  </a:lnTo>
                  <a:lnTo>
                    <a:pt x="11919" y="47841"/>
                  </a:lnTo>
                  <a:lnTo>
                    <a:pt x="11818" y="47364"/>
                  </a:lnTo>
                  <a:lnTo>
                    <a:pt x="11464" y="47364"/>
                  </a:lnTo>
                  <a:lnTo>
                    <a:pt x="11464" y="47364"/>
                  </a:lnTo>
                  <a:lnTo>
                    <a:pt x="11313" y="46569"/>
                  </a:lnTo>
                  <a:lnTo>
                    <a:pt x="10959" y="46251"/>
                  </a:lnTo>
                  <a:lnTo>
                    <a:pt x="10858" y="46251"/>
                  </a:lnTo>
                  <a:lnTo>
                    <a:pt x="10707" y="46251"/>
                  </a:lnTo>
                  <a:lnTo>
                    <a:pt x="10606" y="46251"/>
                  </a:lnTo>
                  <a:lnTo>
                    <a:pt x="10505" y="45933"/>
                  </a:lnTo>
                  <a:lnTo>
                    <a:pt x="10252" y="45456"/>
                  </a:lnTo>
                  <a:lnTo>
                    <a:pt x="10252" y="45139"/>
                  </a:lnTo>
                  <a:lnTo>
                    <a:pt x="10252" y="45139"/>
                  </a:lnTo>
                  <a:lnTo>
                    <a:pt x="10353" y="45139"/>
                  </a:lnTo>
                  <a:lnTo>
                    <a:pt x="10252" y="45139"/>
                  </a:lnTo>
                  <a:lnTo>
                    <a:pt x="10252" y="44821"/>
                  </a:lnTo>
                  <a:lnTo>
                    <a:pt x="10151" y="44344"/>
                  </a:lnTo>
                  <a:lnTo>
                    <a:pt x="10000" y="44026"/>
                  </a:lnTo>
                  <a:lnTo>
                    <a:pt x="9898" y="43708"/>
                  </a:lnTo>
                  <a:lnTo>
                    <a:pt x="9797" y="43231"/>
                  </a:lnTo>
                  <a:lnTo>
                    <a:pt x="9898" y="42913"/>
                  </a:lnTo>
                  <a:lnTo>
                    <a:pt x="9898" y="42913"/>
                  </a:lnTo>
                  <a:lnTo>
                    <a:pt x="10000" y="42437"/>
                  </a:lnTo>
                  <a:lnTo>
                    <a:pt x="10000" y="42119"/>
                  </a:lnTo>
                  <a:lnTo>
                    <a:pt x="10000" y="42119"/>
                  </a:lnTo>
                  <a:lnTo>
                    <a:pt x="10000" y="42119"/>
                  </a:lnTo>
                  <a:lnTo>
                    <a:pt x="10000" y="41801"/>
                  </a:lnTo>
                  <a:lnTo>
                    <a:pt x="9898" y="41801"/>
                  </a:lnTo>
                  <a:lnTo>
                    <a:pt x="9646" y="41006"/>
                  </a:lnTo>
                  <a:lnTo>
                    <a:pt x="9393" y="40688"/>
                  </a:lnTo>
                  <a:lnTo>
                    <a:pt x="9040" y="40688"/>
                  </a:lnTo>
                  <a:lnTo>
                    <a:pt x="8939" y="40688"/>
                  </a:lnTo>
                  <a:lnTo>
                    <a:pt x="8939" y="40688"/>
                  </a:lnTo>
                  <a:lnTo>
                    <a:pt x="9040" y="40211"/>
                  </a:lnTo>
                  <a:lnTo>
                    <a:pt x="9040" y="40211"/>
                  </a:lnTo>
                  <a:lnTo>
                    <a:pt x="9040" y="40211"/>
                  </a:lnTo>
                  <a:lnTo>
                    <a:pt x="9040" y="40211"/>
                  </a:lnTo>
                  <a:lnTo>
                    <a:pt x="8939" y="39894"/>
                  </a:lnTo>
                  <a:lnTo>
                    <a:pt x="8838" y="39894"/>
                  </a:lnTo>
                  <a:lnTo>
                    <a:pt x="8686" y="39894"/>
                  </a:lnTo>
                  <a:lnTo>
                    <a:pt x="8838" y="39576"/>
                  </a:lnTo>
                  <a:lnTo>
                    <a:pt x="8686" y="39576"/>
                  </a:lnTo>
                  <a:lnTo>
                    <a:pt x="8585" y="39576"/>
                  </a:lnTo>
                  <a:lnTo>
                    <a:pt x="8484" y="39576"/>
                  </a:lnTo>
                  <a:lnTo>
                    <a:pt x="8484" y="39099"/>
                  </a:lnTo>
                  <a:lnTo>
                    <a:pt x="8333" y="39099"/>
                  </a:lnTo>
                  <a:lnTo>
                    <a:pt x="8232" y="38781"/>
                  </a:lnTo>
                  <a:lnTo>
                    <a:pt x="8232" y="38304"/>
                  </a:lnTo>
                  <a:lnTo>
                    <a:pt x="8131" y="38304"/>
                  </a:lnTo>
                  <a:lnTo>
                    <a:pt x="7979" y="38304"/>
                  </a:lnTo>
                  <a:lnTo>
                    <a:pt x="7878" y="37986"/>
                  </a:lnTo>
                  <a:lnTo>
                    <a:pt x="7727" y="37986"/>
                  </a:lnTo>
                  <a:lnTo>
                    <a:pt x="8131" y="37986"/>
                  </a:lnTo>
                  <a:lnTo>
                    <a:pt x="8484" y="38304"/>
                  </a:lnTo>
                  <a:lnTo>
                    <a:pt x="8484" y="38304"/>
                  </a:lnTo>
                  <a:lnTo>
                    <a:pt x="8484" y="38304"/>
                  </a:lnTo>
                  <a:lnTo>
                    <a:pt x="8585" y="38781"/>
                  </a:lnTo>
                  <a:lnTo>
                    <a:pt x="8686" y="39099"/>
                  </a:lnTo>
                  <a:lnTo>
                    <a:pt x="8939" y="39099"/>
                  </a:lnTo>
                  <a:lnTo>
                    <a:pt x="8939" y="39099"/>
                  </a:lnTo>
                  <a:lnTo>
                    <a:pt x="9040" y="39099"/>
                  </a:lnTo>
                  <a:lnTo>
                    <a:pt x="9191" y="39099"/>
                  </a:lnTo>
                  <a:lnTo>
                    <a:pt x="9191" y="39576"/>
                  </a:lnTo>
                  <a:lnTo>
                    <a:pt x="9393" y="39576"/>
                  </a:lnTo>
                  <a:lnTo>
                    <a:pt x="9646" y="39576"/>
                  </a:lnTo>
                  <a:lnTo>
                    <a:pt x="9646" y="39576"/>
                  </a:lnTo>
                  <a:lnTo>
                    <a:pt x="9646" y="39576"/>
                  </a:lnTo>
                  <a:lnTo>
                    <a:pt x="9646" y="39894"/>
                  </a:lnTo>
                  <a:lnTo>
                    <a:pt x="9797" y="39894"/>
                  </a:lnTo>
                  <a:lnTo>
                    <a:pt x="9898" y="39576"/>
                  </a:lnTo>
                  <a:lnTo>
                    <a:pt x="10353" y="40211"/>
                  </a:lnTo>
                  <a:lnTo>
                    <a:pt x="10353" y="40211"/>
                  </a:lnTo>
                  <a:lnTo>
                    <a:pt x="11060" y="40688"/>
                  </a:lnTo>
                  <a:lnTo>
                    <a:pt x="11313" y="40688"/>
                  </a:lnTo>
                  <a:lnTo>
                    <a:pt x="11464" y="40688"/>
                  </a:lnTo>
                  <a:lnTo>
                    <a:pt x="11666" y="40688"/>
                  </a:lnTo>
                  <a:lnTo>
                    <a:pt x="11919" y="41006"/>
                  </a:lnTo>
                  <a:lnTo>
                    <a:pt x="12171" y="41006"/>
                  </a:lnTo>
                  <a:lnTo>
                    <a:pt x="12525" y="41324"/>
                  </a:lnTo>
                  <a:lnTo>
                    <a:pt x="12727" y="41324"/>
                  </a:lnTo>
                  <a:lnTo>
                    <a:pt x="13131" y="41006"/>
                  </a:lnTo>
                  <a:lnTo>
                    <a:pt x="13686" y="40688"/>
                  </a:lnTo>
                  <a:lnTo>
                    <a:pt x="13939" y="40211"/>
                  </a:lnTo>
                  <a:lnTo>
                    <a:pt x="14292" y="39099"/>
                  </a:lnTo>
                  <a:lnTo>
                    <a:pt x="14292" y="38781"/>
                  </a:lnTo>
                  <a:lnTo>
                    <a:pt x="14393" y="37986"/>
                  </a:lnTo>
                  <a:lnTo>
                    <a:pt x="14292" y="37986"/>
                  </a:lnTo>
                  <a:lnTo>
                    <a:pt x="14292" y="37986"/>
                  </a:lnTo>
                  <a:lnTo>
                    <a:pt x="14191" y="37668"/>
                  </a:lnTo>
                  <a:lnTo>
                    <a:pt x="14191" y="37192"/>
                  </a:lnTo>
                  <a:lnTo>
                    <a:pt x="14040" y="37192"/>
                  </a:lnTo>
                  <a:lnTo>
                    <a:pt x="13939" y="36556"/>
                  </a:lnTo>
                  <a:lnTo>
                    <a:pt x="13838" y="36556"/>
                  </a:lnTo>
                  <a:lnTo>
                    <a:pt x="13686" y="36079"/>
                  </a:lnTo>
                  <a:lnTo>
                    <a:pt x="13585" y="36079"/>
                  </a:lnTo>
                  <a:lnTo>
                    <a:pt x="13484" y="36079"/>
                  </a:lnTo>
                  <a:lnTo>
                    <a:pt x="13333" y="35761"/>
                  </a:lnTo>
                  <a:lnTo>
                    <a:pt x="13232" y="35761"/>
                  </a:lnTo>
                  <a:lnTo>
                    <a:pt x="13131" y="35443"/>
                  </a:lnTo>
                  <a:lnTo>
                    <a:pt x="13131" y="35443"/>
                  </a:lnTo>
                  <a:lnTo>
                    <a:pt x="12979" y="35443"/>
                  </a:lnTo>
                  <a:lnTo>
                    <a:pt x="13131" y="35443"/>
                  </a:lnTo>
                  <a:lnTo>
                    <a:pt x="13131" y="35443"/>
                  </a:lnTo>
                  <a:lnTo>
                    <a:pt x="12878" y="35443"/>
                  </a:lnTo>
                  <a:lnTo>
                    <a:pt x="12373" y="34649"/>
                  </a:lnTo>
                  <a:lnTo>
                    <a:pt x="12272" y="34649"/>
                  </a:lnTo>
                  <a:lnTo>
                    <a:pt x="12272" y="34649"/>
                  </a:lnTo>
                  <a:lnTo>
                    <a:pt x="12020" y="34649"/>
                  </a:lnTo>
                  <a:lnTo>
                    <a:pt x="12020" y="34649"/>
                  </a:lnTo>
                  <a:lnTo>
                    <a:pt x="11565" y="33854"/>
                  </a:lnTo>
                  <a:lnTo>
                    <a:pt x="10707" y="32741"/>
                  </a:lnTo>
                  <a:lnTo>
                    <a:pt x="10151" y="32423"/>
                  </a:lnTo>
                  <a:lnTo>
                    <a:pt x="9797" y="31947"/>
                  </a:lnTo>
                  <a:lnTo>
                    <a:pt x="9646" y="31947"/>
                  </a:lnTo>
                  <a:lnTo>
                    <a:pt x="9646" y="31947"/>
                  </a:lnTo>
                  <a:lnTo>
                    <a:pt x="9545" y="32423"/>
                  </a:lnTo>
                  <a:lnTo>
                    <a:pt x="9393" y="31947"/>
                  </a:lnTo>
                  <a:lnTo>
                    <a:pt x="9040" y="31947"/>
                  </a:lnTo>
                  <a:lnTo>
                    <a:pt x="8939" y="31947"/>
                  </a:lnTo>
                  <a:lnTo>
                    <a:pt x="8585" y="31947"/>
                  </a:lnTo>
                  <a:lnTo>
                    <a:pt x="8585" y="31947"/>
                  </a:lnTo>
                  <a:lnTo>
                    <a:pt x="8484" y="32423"/>
                  </a:lnTo>
                  <a:lnTo>
                    <a:pt x="8484" y="32423"/>
                  </a:lnTo>
                  <a:lnTo>
                    <a:pt x="8333" y="32741"/>
                  </a:lnTo>
                  <a:lnTo>
                    <a:pt x="8333" y="32423"/>
                  </a:lnTo>
                  <a:lnTo>
                    <a:pt x="8484" y="32423"/>
                  </a:lnTo>
                  <a:lnTo>
                    <a:pt x="8484" y="31947"/>
                  </a:lnTo>
                  <a:lnTo>
                    <a:pt x="8484" y="31947"/>
                  </a:lnTo>
                  <a:lnTo>
                    <a:pt x="8484" y="31629"/>
                  </a:lnTo>
                  <a:lnTo>
                    <a:pt x="8484" y="31629"/>
                  </a:lnTo>
                  <a:lnTo>
                    <a:pt x="8333" y="31629"/>
                  </a:lnTo>
                  <a:lnTo>
                    <a:pt x="8333" y="31629"/>
                  </a:lnTo>
                  <a:lnTo>
                    <a:pt x="8131" y="31629"/>
                  </a:lnTo>
                  <a:lnTo>
                    <a:pt x="8131" y="31629"/>
                  </a:lnTo>
                  <a:lnTo>
                    <a:pt x="8131" y="31629"/>
                  </a:lnTo>
                  <a:lnTo>
                    <a:pt x="8131" y="31629"/>
                  </a:lnTo>
                  <a:lnTo>
                    <a:pt x="8131" y="31629"/>
                  </a:lnTo>
                  <a:lnTo>
                    <a:pt x="7878" y="31629"/>
                  </a:lnTo>
                  <a:lnTo>
                    <a:pt x="7727" y="31629"/>
                  </a:lnTo>
                  <a:lnTo>
                    <a:pt x="7626" y="31311"/>
                  </a:lnTo>
                  <a:lnTo>
                    <a:pt x="7525" y="31311"/>
                  </a:lnTo>
                  <a:lnTo>
                    <a:pt x="7525" y="30834"/>
                  </a:lnTo>
                  <a:lnTo>
                    <a:pt x="7525" y="30834"/>
                  </a:lnTo>
                  <a:lnTo>
                    <a:pt x="7979" y="31311"/>
                  </a:lnTo>
                  <a:lnTo>
                    <a:pt x="8131" y="31311"/>
                  </a:lnTo>
                  <a:lnTo>
                    <a:pt x="8131" y="30834"/>
                  </a:lnTo>
                  <a:lnTo>
                    <a:pt x="8131" y="30834"/>
                  </a:lnTo>
                  <a:lnTo>
                    <a:pt x="8131" y="30834"/>
                  </a:lnTo>
                  <a:lnTo>
                    <a:pt x="7979" y="30834"/>
                  </a:lnTo>
                  <a:lnTo>
                    <a:pt x="7727" y="30516"/>
                  </a:lnTo>
                  <a:lnTo>
                    <a:pt x="7626" y="30516"/>
                  </a:lnTo>
                  <a:lnTo>
                    <a:pt x="7373" y="30039"/>
                  </a:lnTo>
                  <a:lnTo>
                    <a:pt x="7373" y="30039"/>
                  </a:lnTo>
                  <a:lnTo>
                    <a:pt x="7373" y="30516"/>
                  </a:lnTo>
                  <a:lnTo>
                    <a:pt x="7373" y="30516"/>
                  </a:lnTo>
                  <a:lnTo>
                    <a:pt x="7272" y="30516"/>
                  </a:lnTo>
                  <a:lnTo>
                    <a:pt x="7272" y="30516"/>
                  </a:lnTo>
                  <a:lnTo>
                    <a:pt x="7171" y="30834"/>
                  </a:lnTo>
                  <a:lnTo>
                    <a:pt x="7171" y="30834"/>
                  </a:lnTo>
                  <a:lnTo>
                    <a:pt x="7020" y="30834"/>
                  </a:lnTo>
                  <a:lnTo>
                    <a:pt x="6818" y="30516"/>
                  </a:lnTo>
                  <a:lnTo>
                    <a:pt x="6666" y="30516"/>
                  </a:lnTo>
                  <a:lnTo>
                    <a:pt x="6666" y="30834"/>
                  </a:lnTo>
                  <a:lnTo>
                    <a:pt x="6666" y="31311"/>
                  </a:lnTo>
                  <a:lnTo>
                    <a:pt x="6666" y="31311"/>
                  </a:lnTo>
                  <a:lnTo>
                    <a:pt x="6666" y="31311"/>
                  </a:lnTo>
                  <a:lnTo>
                    <a:pt x="6666" y="31311"/>
                  </a:lnTo>
                  <a:lnTo>
                    <a:pt x="6565" y="31311"/>
                  </a:lnTo>
                  <a:lnTo>
                    <a:pt x="6313" y="31311"/>
                  </a:lnTo>
                  <a:lnTo>
                    <a:pt x="6212" y="30834"/>
                  </a:lnTo>
                  <a:lnTo>
                    <a:pt x="6212" y="30834"/>
                  </a:lnTo>
                  <a:lnTo>
                    <a:pt x="6212" y="30834"/>
                  </a:lnTo>
                  <a:lnTo>
                    <a:pt x="6212" y="31311"/>
                  </a:lnTo>
                  <a:lnTo>
                    <a:pt x="6212" y="31311"/>
                  </a:lnTo>
                  <a:lnTo>
                    <a:pt x="6212" y="31311"/>
                  </a:lnTo>
                  <a:lnTo>
                    <a:pt x="6212" y="31629"/>
                  </a:lnTo>
                  <a:lnTo>
                    <a:pt x="6212" y="31629"/>
                  </a:lnTo>
                  <a:lnTo>
                    <a:pt x="6111" y="31629"/>
                  </a:lnTo>
                  <a:lnTo>
                    <a:pt x="5959" y="31629"/>
                  </a:lnTo>
                  <a:lnTo>
                    <a:pt x="5707" y="31947"/>
                  </a:lnTo>
                  <a:lnTo>
                    <a:pt x="5707" y="31947"/>
                  </a:lnTo>
                  <a:lnTo>
                    <a:pt x="5606" y="32423"/>
                  </a:lnTo>
                  <a:lnTo>
                    <a:pt x="5606" y="32741"/>
                  </a:lnTo>
                  <a:lnTo>
                    <a:pt x="5606" y="32741"/>
                  </a:lnTo>
                  <a:lnTo>
                    <a:pt x="5505" y="32741"/>
                  </a:lnTo>
                  <a:lnTo>
                    <a:pt x="5353" y="32741"/>
                  </a:lnTo>
                  <a:lnTo>
                    <a:pt x="5252" y="32741"/>
                  </a:lnTo>
                  <a:lnTo>
                    <a:pt x="5252" y="33059"/>
                  </a:lnTo>
                  <a:lnTo>
                    <a:pt x="5151" y="33059"/>
                  </a:lnTo>
                  <a:lnTo>
                    <a:pt x="5151" y="33059"/>
                  </a:lnTo>
                  <a:lnTo>
                    <a:pt x="5252" y="33059"/>
                  </a:lnTo>
                  <a:lnTo>
                    <a:pt x="5353" y="33059"/>
                  </a:lnTo>
                  <a:lnTo>
                    <a:pt x="5353" y="33059"/>
                  </a:lnTo>
                  <a:lnTo>
                    <a:pt x="5353" y="33536"/>
                  </a:lnTo>
                  <a:lnTo>
                    <a:pt x="5353" y="33536"/>
                  </a:lnTo>
                  <a:lnTo>
                    <a:pt x="5252" y="34172"/>
                  </a:lnTo>
                  <a:lnTo>
                    <a:pt x="5252" y="34172"/>
                  </a:lnTo>
                  <a:lnTo>
                    <a:pt x="5252" y="34649"/>
                  </a:lnTo>
                  <a:lnTo>
                    <a:pt x="5353" y="34966"/>
                  </a:lnTo>
                  <a:lnTo>
                    <a:pt x="5606" y="35443"/>
                  </a:lnTo>
                  <a:lnTo>
                    <a:pt x="5858" y="35443"/>
                  </a:lnTo>
                  <a:lnTo>
                    <a:pt x="5959" y="35761"/>
                  </a:lnTo>
                  <a:lnTo>
                    <a:pt x="6212" y="36556"/>
                  </a:lnTo>
                  <a:lnTo>
                    <a:pt x="6313" y="36556"/>
                  </a:lnTo>
                  <a:lnTo>
                    <a:pt x="6313" y="36556"/>
                  </a:lnTo>
                  <a:lnTo>
                    <a:pt x="6313" y="36874"/>
                  </a:lnTo>
                  <a:lnTo>
                    <a:pt x="6212" y="37192"/>
                  </a:lnTo>
                  <a:lnTo>
                    <a:pt x="6111" y="37668"/>
                  </a:lnTo>
                  <a:lnTo>
                    <a:pt x="5959" y="37986"/>
                  </a:lnTo>
                  <a:lnTo>
                    <a:pt x="5959" y="38304"/>
                  </a:lnTo>
                  <a:lnTo>
                    <a:pt x="5858" y="38781"/>
                  </a:lnTo>
                  <a:lnTo>
                    <a:pt x="5858" y="38781"/>
                  </a:lnTo>
                  <a:lnTo>
                    <a:pt x="5858" y="38781"/>
                  </a:lnTo>
                  <a:lnTo>
                    <a:pt x="5858" y="39099"/>
                  </a:lnTo>
                  <a:lnTo>
                    <a:pt x="5959" y="39576"/>
                  </a:lnTo>
                  <a:lnTo>
                    <a:pt x="6111" y="39576"/>
                  </a:lnTo>
                  <a:lnTo>
                    <a:pt x="6212" y="39894"/>
                  </a:lnTo>
                  <a:lnTo>
                    <a:pt x="6212" y="40211"/>
                  </a:lnTo>
                  <a:lnTo>
                    <a:pt x="6313" y="40211"/>
                  </a:lnTo>
                  <a:lnTo>
                    <a:pt x="6313" y="40688"/>
                  </a:lnTo>
                  <a:lnTo>
                    <a:pt x="6313" y="40688"/>
                  </a:lnTo>
                  <a:lnTo>
                    <a:pt x="6464" y="41006"/>
                  </a:lnTo>
                  <a:lnTo>
                    <a:pt x="6565" y="41006"/>
                  </a:lnTo>
                  <a:lnTo>
                    <a:pt x="6565" y="41324"/>
                  </a:lnTo>
                  <a:lnTo>
                    <a:pt x="6666" y="42119"/>
                  </a:lnTo>
                  <a:lnTo>
                    <a:pt x="6666" y="42119"/>
                  </a:lnTo>
                  <a:lnTo>
                    <a:pt x="6666" y="42437"/>
                  </a:lnTo>
                  <a:lnTo>
                    <a:pt x="6666" y="42437"/>
                  </a:lnTo>
                  <a:lnTo>
                    <a:pt x="6565" y="42437"/>
                  </a:lnTo>
                  <a:lnTo>
                    <a:pt x="6464" y="42437"/>
                  </a:lnTo>
                  <a:lnTo>
                    <a:pt x="6464" y="42437"/>
                  </a:lnTo>
                  <a:lnTo>
                    <a:pt x="6565" y="42913"/>
                  </a:lnTo>
                  <a:lnTo>
                    <a:pt x="6464" y="42913"/>
                  </a:lnTo>
                  <a:lnTo>
                    <a:pt x="6464" y="43231"/>
                  </a:lnTo>
                  <a:lnTo>
                    <a:pt x="6464" y="43708"/>
                  </a:lnTo>
                  <a:lnTo>
                    <a:pt x="6464" y="43708"/>
                  </a:lnTo>
                  <a:lnTo>
                    <a:pt x="6464" y="43708"/>
                  </a:lnTo>
                  <a:lnTo>
                    <a:pt x="6464" y="43708"/>
                  </a:lnTo>
                  <a:lnTo>
                    <a:pt x="6565" y="43708"/>
                  </a:lnTo>
                  <a:lnTo>
                    <a:pt x="6565" y="44026"/>
                  </a:lnTo>
                  <a:lnTo>
                    <a:pt x="6565" y="44026"/>
                  </a:lnTo>
                  <a:lnTo>
                    <a:pt x="6565" y="44026"/>
                  </a:lnTo>
                  <a:lnTo>
                    <a:pt x="6565" y="44026"/>
                  </a:lnTo>
                  <a:lnTo>
                    <a:pt x="6464" y="44344"/>
                  </a:lnTo>
                  <a:lnTo>
                    <a:pt x="6464" y="44344"/>
                  </a:lnTo>
                  <a:lnTo>
                    <a:pt x="6464" y="44344"/>
                  </a:lnTo>
                  <a:lnTo>
                    <a:pt x="6565" y="44821"/>
                  </a:lnTo>
                  <a:lnTo>
                    <a:pt x="6565" y="44821"/>
                  </a:lnTo>
                  <a:lnTo>
                    <a:pt x="6666" y="45139"/>
                  </a:lnTo>
                  <a:lnTo>
                    <a:pt x="6818" y="45139"/>
                  </a:lnTo>
                  <a:lnTo>
                    <a:pt x="6919" y="45139"/>
                  </a:lnTo>
                  <a:lnTo>
                    <a:pt x="6919" y="45139"/>
                  </a:lnTo>
                  <a:lnTo>
                    <a:pt x="6919" y="45456"/>
                  </a:lnTo>
                  <a:lnTo>
                    <a:pt x="6818" y="45456"/>
                  </a:lnTo>
                  <a:lnTo>
                    <a:pt x="6818" y="45933"/>
                  </a:lnTo>
                  <a:lnTo>
                    <a:pt x="6919" y="45933"/>
                  </a:lnTo>
                  <a:lnTo>
                    <a:pt x="6919" y="46251"/>
                  </a:lnTo>
                  <a:lnTo>
                    <a:pt x="7171" y="46569"/>
                  </a:lnTo>
                  <a:lnTo>
                    <a:pt x="7171" y="46569"/>
                  </a:lnTo>
                  <a:lnTo>
                    <a:pt x="7272" y="46569"/>
                  </a:lnTo>
                  <a:lnTo>
                    <a:pt x="7272" y="47046"/>
                  </a:lnTo>
                  <a:lnTo>
                    <a:pt x="7272" y="47046"/>
                  </a:lnTo>
                  <a:lnTo>
                    <a:pt x="7272" y="47364"/>
                  </a:lnTo>
                  <a:lnTo>
                    <a:pt x="7171" y="47364"/>
                  </a:lnTo>
                  <a:lnTo>
                    <a:pt x="7020" y="47841"/>
                  </a:lnTo>
                  <a:lnTo>
                    <a:pt x="6919" y="48158"/>
                  </a:lnTo>
                  <a:lnTo>
                    <a:pt x="6919" y="48158"/>
                  </a:lnTo>
                  <a:lnTo>
                    <a:pt x="6919" y="48158"/>
                  </a:lnTo>
                  <a:lnTo>
                    <a:pt x="7272" y="48953"/>
                  </a:lnTo>
                  <a:lnTo>
                    <a:pt x="7373" y="49271"/>
                  </a:lnTo>
                  <a:lnTo>
                    <a:pt x="7727" y="49271"/>
                  </a:lnTo>
                  <a:lnTo>
                    <a:pt x="7878" y="49589"/>
                  </a:lnTo>
                  <a:lnTo>
                    <a:pt x="7878" y="50066"/>
                  </a:lnTo>
                  <a:lnTo>
                    <a:pt x="7979" y="50066"/>
                  </a:lnTo>
                  <a:lnTo>
                    <a:pt x="8131" y="50384"/>
                  </a:lnTo>
                  <a:lnTo>
                    <a:pt x="8131" y="50384"/>
                  </a:lnTo>
                  <a:lnTo>
                    <a:pt x="8131" y="50384"/>
                  </a:lnTo>
                  <a:lnTo>
                    <a:pt x="8131" y="50701"/>
                  </a:lnTo>
                  <a:lnTo>
                    <a:pt x="8131" y="51178"/>
                  </a:lnTo>
                  <a:lnTo>
                    <a:pt x="8131" y="51178"/>
                  </a:lnTo>
                  <a:lnTo>
                    <a:pt x="7979" y="51496"/>
                  </a:lnTo>
                  <a:lnTo>
                    <a:pt x="7979" y="51973"/>
                  </a:lnTo>
                  <a:lnTo>
                    <a:pt x="7878" y="52291"/>
                  </a:lnTo>
                  <a:lnTo>
                    <a:pt x="7525" y="53086"/>
                  </a:lnTo>
                  <a:lnTo>
                    <a:pt x="7525" y="53086"/>
                  </a:lnTo>
                  <a:lnTo>
                    <a:pt x="7373" y="53403"/>
                  </a:lnTo>
                  <a:lnTo>
                    <a:pt x="7171" y="54198"/>
                  </a:lnTo>
                  <a:lnTo>
                    <a:pt x="7171" y="54198"/>
                  </a:lnTo>
                  <a:lnTo>
                    <a:pt x="7020" y="54834"/>
                  </a:lnTo>
                  <a:lnTo>
                    <a:pt x="6919" y="54834"/>
                  </a:lnTo>
                  <a:lnTo>
                    <a:pt x="6919" y="54834"/>
                  </a:lnTo>
                  <a:lnTo>
                    <a:pt x="6666" y="55629"/>
                  </a:lnTo>
                  <a:lnTo>
                    <a:pt x="6565" y="56105"/>
                  </a:lnTo>
                  <a:lnTo>
                    <a:pt x="6313" y="56105"/>
                  </a:lnTo>
                  <a:lnTo>
                    <a:pt x="6313" y="56423"/>
                  </a:lnTo>
                  <a:lnTo>
                    <a:pt x="6212" y="56423"/>
                  </a:lnTo>
                  <a:lnTo>
                    <a:pt x="6212" y="56741"/>
                  </a:lnTo>
                  <a:lnTo>
                    <a:pt x="6111" y="56741"/>
                  </a:lnTo>
                  <a:lnTo>
                    <a:pt x="5959" y="57218"/>
                  </a:lnTo>
                  <a:lnTo>
                    <a:pt x="5707" y="57854"/>
                  </a:lnTo>
                  <a:lnTo>
                    <a:pt x="5959" y="57536"/>
                  </a:lnTo>
                  <a:lnTo>
                    <a:pt x="6212" y="57536"/>
                  </a:lnTo>
                  <a:lnTo>
                    <a:pt x="6313" y="57536"/>
                  </a:lnTo>
                  <a:lnTo>
                    <a:pt x="6313" y="57536"/>
                  </a:lnTo>
                  <a:lnTo>
                    <a:pt x="6313" y="57854"/>
                  </a:lnTo>
                  <a:lnTo>
                    <a:pt x="6313" y="57854"/>
                  </a:lnTo>
                  <a:lnTo>
                    <a:pt x="6212" y="57854"/>
                  </a:lnTo>
                  <a:lnTo>
                    <a:pt x="6313" y="57854"/>
                  </a:lnTo>
                  <a:lnTo>
                    <a:pt x="6313" y="58331"/>
                  </a:lnTo>
                  <a:lnTo>
                    <a:pt x="6565" y="58331"/>
                  </a:lnTo>
                  <a:lnTo>
                    <a:pt x="6666" y="59125"/>
                  </a:lnTo>
                  <a:lnTo>
                    <a:pt x="6919" y="59125"/>
                  </a:lnTo>
                  <a:lnTo>
                    <a:pt x="7020" y="58649"/>
                  </a:lnTo>
                  <a:lnTo>
                    <a:pt x="7171" y="59125"/>
                  </a:lnTo>
                  <a:lnTo>
                    <a:pt x="7272" y="59125"/>
                  </a:lnTo>
                  <a:lnTo>
                    <a:pt x="7373" y="59443"/>
                  </a:lnTo>
                  <a:lnTo>
                    <a:pt x="7525" y="59443"/>
                  </a:lnTo>
                  <a:lnTo>
                    <a:pt x="7626" y="59443"/>
                  </a:lnTo>
                  <a:lnTo>
                    <a:pt x="7626" y="59761"/>
                  </a:lnTo>
                  <a:lnTo>
                    <a:pt x="7525" y="59761"/>
                  </a:lnTo>
                  <a:lnTo>
                    <a:pt x="7171" y="59443"/>
                  </a:lnTo>
                  <a:lnTo>
                    <a:pt x="6818" y="59443"/>
                  </a:lnTo>
                  <a:lnTo>
                    <a:pt x="6818" y="59443"/>
                  </a:lnTo>
                  <a:lnTo>
                    <a:pt x="6666" y="59761"/>
                  </a:lnTo>
                  <a:lnTo>
                    <a:pt x="6666" y="59761"/>
                  </a:lnTo>
                  <a:lnTo>
                    <a:pt x="6666" y="60238"/>
                  </a:lnTo>
                  <a:lnTo>
                    <a:pt x="6565" y="60238"/>
                  </a:lnTo>
                  <a:lnTo>
                    <a:pt x="6565" y="60238"/>
                  </a:lnTo>
                  <a:lnTo>
                    <a:pt x="6464" y="60238"/>
                  </a:lnTo>
                  <a:lnTo>
                    <a:pt x="6313" y="59761"/>
                  </a:lnTo>
                  <a:lnTo>
                    <a:pt x="6313" y="60238"/>
                  </a:lnTo>
                  <a:lnTo>
                    <a:pt x="6313" y="60238"/>
                  </a:lnTo>
                  <a:lnTo>
                    <a:pt x="6212" y="60556"/>
                  </a:lnTo>
                  <a:lnTo>
                    <a:pt x="6111" y="60238"/>
                  </a:lnTo>
                  <a:lnTo>
                    <a:pt x="6111" y="60238"/>
                  </a:lnTo>
                  <a:lnTo>
                    <a:pt x="5959" y="60238"/>
                  </a:lnTo>
                  <a:lnTo>
                    <a:pt x="5959" y="60238"/>
                  </a:lnTo>
                  <a:lnTo>
                    <a:pt x="5959" y="60556"/>
                  </a:lnTo>
                  <a:lnTo>
                    <a:pt x="6111" y="60874"/>
                  </a:lnTo>
                  <a:lnTo>
                    <a:pt x="5959" y="60874"/>
                  </a:lnTo>
                  <a:lnTo>
                    <a:pt x="6111" y="61350"/>
                  </a:lnTo>
                  <a:lnTo>
                    <a:pt x="6111" y="61350"/>
                  </a:lnTo>
                  <a:lnTo>
                    <a:pt x="6111" y="61350"/>
                  </a:lnTo>
                  <a:lnTo>
                    <a:pt x="6111" y="61350"/>
                  </a:lnTo>
                  <a:lnTo>
                    <a:pt x="6111" y="61350"/>
                  </a:lnTo>
                  <a:lnTo>
                    <a:pt x="6111" y="61668"/>
                  </a:lnTo>
                  <a:lnTo>
                    <a:pt x="6111" y="61668"/>
                  </a:lnTo>
                  <a:lnTo>
                    <a:pt x="5959" y="61668"/>
                  </a:lnTo>
                  <a:lnTo>
                    <a:pt x="5959" y="61668"/>
                  </a:lnTo>
                  <a:lnTo>
                    <a:pt x="5959" y="61986"/>
                  </a:lnTo>
                  <a:lnTo>
                    <a:pt x="5858" y="62463"/>
                  </a:lnTo>
                  <a:lnTo>
                    <a:pt x="5707" y="62781"/>
                  </a:lnTo>
                  <a:lnTo>
                    <a:pt x="5707" y="62781"/>
                  </a:lnTo>
                  <a:lnTo>
                    <a:pt x="5707" y="63258"/>
                  </a:lnTo>
                  <a:lnTo>
                    <a:pt x="5606" y="63258"/>
                  </a:lnTo>
                  <a:lnTo>
                    <a:pt x="5606" y="63576"/>
                  </a:lnTo>
                  <a:lnTo>
                    <a:pt x="5707" y="64370"/>
                  </a:lnTo>
                  <a:lnTo>
                    <a:pt x="5707" y="64370"/>
                  </a:lnTo>
                  <a:lnTo>
                    <a:pt x="5707" y="64688"/>
                  </a:lnTo>
                  <a:lnTo>
                    <a:pt x="5707" y="64688"/>
                  </a:lnTo>
                  <a:lnTo>
                    <a:pt x="5707" y="65006"/>
                  </a:lnTo>
                  <a:lnTo>
                    <a:pt x="5858" y="65006"/>
                  </a:lnTo>
                  <a:lnTo>
                    <a:pt x="5959" y="65483"/>
                  </a:lnTo>
                  <a:lnTo>
                    <a:pt x="5959" y="65801"/>
                  </a:lnTo>
                  <a:lnTo>
                    <a:pt x="5959" y="65801"/>
                  </a:lnTo>
                  <a:lnTo>
                    <a:pt x="5959" y="66119"/>
                  </a:lnTo>
                  <a:lnTo>
                    <a:pt x="6111" y="66119"/>
                  </a:lnTo>
                  <a:lnTo>
                    <a:pt x="6111" y="66119"/>
                  </a:lnTo>
                  <a:lnTo>
                    <a:pt x="5959" y="66119"/>
                  </a:lnTo>
                  <a:lnTo>
                    <a:pt x="5858" y="66119"/>
                  </a:lnTo>
                  <a:lnTo>
                    <a:pt x="5858" y="66596"/>
                  </a:lnTo>
                  <a:lnTo>
                    <a:pt x="5858" y="66596"/>
                  </a:lnTo>
                  <a:lnTo>
                    <a:pt x="5707" y="66596"/>
                  </a:lnTo>
                  <a:lnTo>
                    <a:pt x="5707" y="66913"/>
                  </a:lnTo>
                  <a:lnTo>
                    <a:pt x="5707" y="66913"/>
                  </a:lnTo>
                  <a:lnTo>
                    <a:pt x="5707" y="66913"/>
                  </a:lnTo>
                  <a:lnTo>
                    <a:pt x="5858" y="67390"/>
                  </a:lnTo>
                  <a:lnTo>
                    <a:pt x="5858" y="67390"/>
                  </a:lnTo>
                  <a:lnTo>
                    <a:pt x="5858" y="67390"/>
                  </a:lnTo>
                  <a:lnTo>
                    <a:pt x="5959" y="67708"/>
                  </a:lnTo>
                  <a:lnTo>
                    <a:pt x="6111" y="67708"/>
                  </a:lnTo>
                  <a:lnTo>
                    <a:pt x="6111" y="67708"/>
                  </a:lnTo>
                  <a:lnTo>
                    <a:pt x="6212" y="68026"/>
                  </a:lnTo>
                  <a:lnTo>
                    <a:pt x="6212" y="68026"/>
                  </a:lnTo>
                  <a:lnTo>
                    <a:pt x="6111" y="68026"/>
                  </a:lnTo>
                  <a:lnTo>
                    <a:pt x="6111" y="68503"/>
                  </a:lnTo>
                  <a:lnTo>
                    <a:pt x="6111" y="68503"/>
                  </a:lnTo>
                  <a:lnTo>
                    <a:pt x="6111" y="68821"/>
                  </a:lnTo>
                  <a:lnTo>
                    <a:pt x="6111" y="69139"/>
                  </a:lnTo>
                  <a:lnTo>
                    <a:pt x="6111" y="69139"/>
                  </a:lnTo>
                  <a:lnTo>
                    <a:pt x="6212" y="69139"/>
                  </a:lnTo>
                  <a:lnTo>
                    <a:pt x="6212" y="69139"/>
                  </a:lnTo>
                  <a:lnTo>
                    <a:pt x="6212" y="69139"/>
                  </a:lnTo>
                  <a:lnTo>
                    <a:pt x="6212" y="69615"/>
                  </a:lnTo>
                  <a:lnTo>
                    <a:pt x="6313" y="69615"/>
                  </a:lnTo>
                  <a:lnTo>
                    <a:pt x="6313" y="69933"/>
                  </a:lnTo>
                  <a:lnTo>
                    <a:pt x="6313" y="69933"/>
                  </a:lnTo>
                  <a:lnTo>
                    <a:pt x="6464" y="70251"/>
                  </a:lnTo>
                  <a:lnTo>
                    <a:pt x="6464" y="70251"/>
                  </a:lnTo>
                  <a:lnTo>
                    <a:pt x="6464" y="70728"/>
                  </a:lnTo>
                  <a:lnTo>
                    <a:pt x="6565" y="71046"/>
                  </a:lnTo>
                  <a:lnTo>
                    <a:pt x="6565" y="71046"/>
                  </a:lnTo>
                  <a:lnTo>
                    <a:pt x="6565" y="71523"/>
                  </a:lnTo>
                  <a:lnTo>
                    <a:pt x="6565" y="71523"/>
                  </a:lnTo>
                  <a:lnTo>
                    <a:pt x="6666" y="71841"/>
                  </a:lnTo>
                  <a:lnTo>
                    <a:pt x="6666" y="71841"/>
                  </a:lnTo>
                  <a:lnTo>
                    <a:pt x="6666" y="71841"/>
                  </a:lnTo>
                  <a:lnTo>
                    <a:pt x="6666" y="71523"/>
                  </a:lnTo>
                  <a:lnTo>
                    <a:pt x="6818" y="71523"/>
                  </a:lnTo>
                  <a:lnTo>
                    <a:pt x="6919" y="71841"/>
                  </a:lnTo>
                  <a:lnTo>
                    <a:pt x="6919" y="71841"/>
                  </a:lnTo>
                  <a:lnTo>
                    <a:pt x="7020" y="72158"/>
                  </a:lnTo>
                  <a:lnTo>
                    <a:pt x="7020" y="72158"/>
                  </a:lnTo>
                  <a:lnTo>
                    <a:pt x="7171" y="71841"/>
                  </a:lnTo>
                  <a:lnTo>
                    <a:pt x="7171" y="71841"/>
                  </a:lnTo>
                  <a:lnTo>
                    <a:pt x="7272" y="71841"/>
                  </a:lnTo>
                  <a:lnTo>
                    <a:pt x="7373" y="72158"/>
                  </a:lnTo>
                  <a:lnTo>
                    <a:pt x="7525" y="72158"/>
                  </a:lnTo>
                  <a:lnTo>
                    <a:pt x="7525" y="72158"/>
                  </a:lnTo>
                  <a:lnTo>
                    <a:pt x="7525" y="72158"/>
                  </a:lnTo>
                  <a:lnTo>
                    <a:pt x="7525" y="72635"/>
                  </a:lnTo>
                  <a:lnTo>
                    <a:pt x="7525" y="72635"/>
                  </a:lnTo>
                  <a:lnTo>
                    <a:pt x="7525" y="72953"/>
                  </a:lnTo>
                  <a:lnTo>
                    <a:pt x="7626" y="72953"/>
                  </a:lnTo>
                  <a:lnTo>
                    <a:pt x="7727" y="72635"/>
                  </a:lnTo>
                  <a:lnTo>
                    <a:pt x="7727" y="72635"/>
                  </a:lnTo>
                  <a:lnTo>
                    <a:pt x="7727" y="72635"/>
                  </a:lnTo>
                  <a:lnTo>
                    <a:pt x="7878" y="72635"/>
                  </a:lnTo>
                  <a:lnTo>
                    <a:pt x="7878" y="72635"/>
                  </a:lnTo>
                  <a:lnTo>
                    <a:pt x="7979" y="72635"/>
                  </a:lnTo>
                  <a:lnTo>
                    <a:pt x="7979" y="72635"/>
                  </a:lnTo>
                  <a:lnTo>
                    <a:pt x="8232" y="72635"/>
                  </a:lnTo>
                  <a:lnTo>
                    <a:pt x="8333" y="72635"/>
                  </a:lnTo>
                  <a:lnTo>
                    <a:pt x="8333" y="72635"/>
                  </a:lnTo>
                  <a:lnTo>
                    <a:pt x="8484" y="72953"/>
                  </a:lnTo>
                  <a:lnTo>
                    <a:pt x="8484" y="72953"/>
                  </a:lnTo>
                  <a:lnTo>
                    <a:pt x="8585" y="72953"/>
                  </a:lnTo>
                  <a:lnTo>
                    <a:pt x="8585" y="72953"/>
                  </a:lnTo>
                  <a:lnTo>
                    <a:pt x="8585" y="73271"/>
                  </a:lnTo>
                  <a:lnTo>
                    <a:pt x="8686" y="73271"/>
                  </a:lnTo>
                  <a:lnTo>
                    <a:pt x="8686" y="73271"/>
                  </a:lnTo>
                  <a:lnTo>
                    <a:pt x="8686" y="73271"/>
                  </a:lnTo>
                  <a:lnTo>
                    <a:pt x="8686" y="73271"/>
                  </a:lnTo>
                  <a:lnTo>
                    <a:pt x="8686" y="73748"/>
                  </a:lnTo>
                  <a:lnTo>
                    <a:pt x="8686" y="74066"/>
                  </a:lnTo>
                  <a:lnTo>
                    <a:pt x="8686" y="74066"/>
                  </a:lnTo>
                  <a:lnTo>
                    <a:pt x="8686" y="74066"/>
                  </a:lnTo>
                  <a:lnTo>
                    <a:pt x="8686" y="74066"/>
                  </a:lnTo>
                  <a:lnTo>
                    <a:pt x="8686" y="74384"/>
                  </a:lnTo>
                  <a:lnTo>
                    <a:pt x="8838" y="74384"/>
                  </a:lnTo>
                  <a:lnTo>
                    <a:pt x="8838" y="74860"/>
                  </a:lnTo>
                  <a:lnTo>
                    <a:pt x="8838" y="74860"/>
                  </a:lnTo>
                  <a:lnTo>
                    <a:pt x="8838" y="75178"/>
                  </a:lnTo>
                  <a:lnTo>
                    <a:pt x="8686" y="75178"/>
                  </a:lnTo>
                  <a:lnTo>
                    <a:pt x="8686" y="75655"/>
                  </a:lnTo>
                  <a:lnTo>
                    <a:pt x="8686" y="75655"/>
                  </a:lnTo>
                  <a:lnTo>
                    <a:pt x="8686" y="75655"/>
                  </a:lnTo>
                  <a:lnTo>
                    <a:pt x="8939" y="75973"/>
                  </a:lnTo>
                  <a:lnTo>
                    <a:pt x="9040" y="76291"/>
                  </a:lnTo>
                  <a:lnTo>
                    <a:pt x="9040" y="76291"/>
                  </a:lnTo>
                  <a:lnTo>
                    <a:pt x="9040" y="76291"/>
                  </a:lnTo>
                  <a:lnTo>
                    <a:pt x="9040" y="76768"/>
                  </a:lnTo>
                  <a:lnTo>
                    <a:pt x="9040" y="76768"/>
                  </a:lnTo>
                  <a:lnTo>
                    <a:pt x="9040" y="76768"/>
                  </a:lnTo>
                  <a:lnTo>
                    <a:pt x="9191" y="77086"/>
                  </a:lnTo>
                  <a:lnTo>
                    <a:pt x="9191" y="77403"/>
                  </a:lnTo>
                  <a:lnTo>
                    <a:pt x="9292" y="77403"/>
                  </a:lnTo>
                  <a:lnTo>
                    <a:pt x="9545" y="77880"/>
                  </a:lnTo>
                  <a:lnTo>
                    <a:pt x="9646" y="78198"/>
                  </a:lnTo>
                  <a:lnTo>
                    <a:pt x="9646" y="78198"/>
                  </a:lnTo>
                  <a:lnTo>
                    <a:pt x="9646" y="78198"/>
                  </a:lnTo>
                  <a:lnTo>
                    <a:pt x="9646" y="78516"/>
                  </a:lnTo>
                  <a:lnTo>
                    <a:pt x="9646" y="78516"/>
                  </a:lnTo>
                  <a:lnTo>
                    <a:pt x="9646" y="78993"/>
                  </a:lnTo>
                  <a:lnTo>
                    <a:pt x="9646" y="78993"/>
                  </a:lnTo>
                  <a:lnTo>
                    <a:pt x="9797" y="78993"/>
                  </a:lnTo>
                  <a:lnTo>
                    <a:pt x="10000" y="78993"/>
                  </a:lnTo>
                  <a:lnTo>
                    <a:pt x="10252" y="79311"/>
                  </a:lnTo>
                  <a:lnTo>
                    <a:pt x="10252" y="79311"/>
                  </a:lnTo>
                  <a:lnTo>
                    <a:pt x="10151" y="79311"/>
                  </a:lnTo>
                  <a:lnTo>
                    <a:pt x="10252" y="79788"/>
                  </a:lnTo>
                  <a:lnTo>
                    <a:pt x="10252" y="79788"/>
                  </a:lnTo>
                  <a:lnTo>
                    <a:pt x="10353" y="80105"/>
                  </a:lnTo>
                  <a:lnTo>
                    <a:pt x="10505" y="80105"/>
                  </a:lnTo>
                  <a:lnTo>
                    <a:pt x="10505" y="80105"/>
                  </a:lnTo>
                  <a:lnTo>
                    <a:pt x="10505" y="80423"/>
                  </a:lnTo>
                  <a:lnTo>
                    <a:pt x="10353" y="80423"/>
                  </a:lnTo>
                  <a:lnTo>
                    <a:pt x="10353" y="80423"/>
                  </a:lnTo>
                  <a:lnTo>
                    <a:pt x="10252" y="80423"/>
                  </a:lnTo>
                  <a:lnTo>
                    <a:pt x="10252" y="80900"/>
                  </a:lnTo>
                  <a:lnTo>
                    <a:pt x="10151" y="80900"/>
                  </a:lnTo>
                  <a:lnTo>
                    <a:pt x="10000" y="81218"/>
                  </a:lnTo>
                  <a:lnTo>
                    <a:pt x="10000" y="81218"/>
                  </a:lnTo>
                  <a:lnTo>
                    <a:pt x="9797" y="81218"/>
                  </a:lnTo>
                  <a:lnTo>
                    <a:pt x="9797" y="80900"/>
                  </a:lnTo>
                  <a:lnTo>
                    <a:pt x="9646" y="80900"/>
                  </a:lnTo>
                  <a:lnTo>
                    <a:pt x="9646" y="80900"/>
                  </a:lnTo>
                  <a:lnTo>
                    <a:pt x="9545" y="80900"/>
                  </a:lnTo>
                  <a:lnTo>
                    <a:pt x="9393" y="80900"/>
                  </a:lnTo>
                  <a:lnTo>
                    <a:pt x="9393" y="80900"/>
                  </a:lnTo>
                  <a:lnTo>
                    <a:pt x="9393" y="80900"/>
                  </a:lnTo>
                  <a:lnTo>
                    <a:pt x="9393" y="81218"/>
                  </a:lnTo>
                  <a:lnTo>
                    <a:pt x="9292" y="81218"/>
                  </a:lnTo>
                  <a:lnTo>
                    <a:pt x="9393" y="81536"/>
                  </a:lnTo>
                  <a:lnTo>
                    <a:pt x="9393" y="81536"/>
                  </a:lnTo>
                  <a:lnTo>
                    <a:pt x="9545" y="82013"/>
                  </a:lnTo>
                  <a:lnTo>
                    <a:pt x="9545" y="82013"/>
                  </a:lnTo>
                  <a:lnTo>
                    <a:pt x="9646" y="82331"/>
                  </a:lnTo>
                  <a:lnTo>
                    <a:pt x="9646" y="82331"/>
                  </a:lnTo>
                  <a:lnTo>
                    <a:pt x="9545" y="82331"/>
                  </a:lnTo>
                  <a:lnTo>
                    <a:pt x="9646" y="82649"/>
                  </a:lnTo>
                  <a:lnTo>
                    <a:pt x="9646" y="82649"/>
                  </a:lnTo>
                  <a:lnTo>
                    <a:pt x="9646" y="83125"/>
                  </a:lnTo>
                  <a:lnTo>
                    <a:pt x="9646" y="83125"/>
                  </a:lnTo>
                  <a:lnTo>
                    <a:pt x="9646" y="83443"/>
                  </a:lnTo>
                  <a:lnTo>
                    <a:pt x="9646" y="83920"/>
                  </a:lnTo>
                  <a:lnTo>
                    <a:pt x="9797" y="83920"/>
                  </a:lnTo>
                  <a:lnTo>
                    <a:pt x="9797" y="83920"/>
                  </a:lnTo>
                  <a:lnTo>
                    <a:pt x="9898" y="84238"/>
                  </a:lnTo>
                  <a:lnTo>
                    <a:pt x="9898" y="84238"/>
                  </a:lnTo>
                  <a:lnTo>
                    <a:pt x="9898" y="84238"/>
                  </a:lnTo>
                  <a:lnTo>
                    <a:pt x="9898" y="84556"/>
                  </a:lnTo>
                  <a:lnTo>
                    <a:pt x="10000" y="84556"/>
                  </a:lnTo>
                  <a:lnTo>
                    <a:pt x="10151" y="84556"/>
                  </a:lnTo>
                  <a:lnTo>
                    <a:pt x="10151" y="84556"/>
                  </a:lnTo>
                  <a:lnTo>
                    <a:pt x="10252" y="84238"/>
                  </a:lnTo>
                  <a:lnTo>
                    <a:pt x="10252" y="84238"/>
                  </a:lnTo>
                  <a:lnTo>
                    <a:pt x="10353" y="83920"/>
                  </a:lnTo>
                  <a:lnTo>
                    <a:pt x="10353" y="83920"/>
                  </a:lnTo>
                  <a:lnTo>
                    <a:pt x="10353" y="83443"/>
                  </a:lnTo>
                  <a:lnTo>
                    <a:pt x="10353" y="83443"/>
                  </a:lnTo>
                  <a:lnTo>
                    <a:pt x="10505" y="83920"/>
                  </a:lnTo>
                  <a:lnTo>
                    <a:pt x="10707" y="83920"/>
                  </a:lnTo>
                  <a:lnTo>
                    <a:pt x="10707" y="83920"/>
                  </a:lnTo>
                  <a:lnTo>
                    <a:pt x="10959" y="83443"/>
                  </a:lnTo>
                  <a:lnTo>
                    <a:pt x="11060" y="83443"/>
                  </a:lnTo>
                  <a:lnTo>
                    <a:pt x="11212" y="83443"/>
                  </a:lnTo>
                  <a:lnTo>
                    <a:pt x="11313" y="83443"/>
                  </a:lnTo>
                  <a:lnTo>
                    <a:pt x="11464" y="83443"/>
                  </a:lnTo>
                  <a:lnTo>
                    <a:pt x="11464" y="83443"/>
                  </a:lnTo>
                  <a:lnTo>
                    <a:pt x="11565" y="83920"/>
                  </a:lnTo>
                  <a:lnTo>
                    <a:pt x="11666" y="84238"/>
                  </a:lnTo>
                  <a:lnTo>
                    <a:pt x="11818" y="84556"/>
                  </a:lnTo>
                  <a:lnTo>
                    <a:pt x="12020" y="85350"/>
                  </a:lnTo>
                  <a:lnTo>
                    <a:pt x="12020" y="85350"/>
                  </a:lnTo>
                  <a:lnTo>
                    <a:pt x="12020" y="85668"/>
                  </a:lnTo>
                  <a:lnTo>
                    <a:pt x="11919" y="85668"/>
                  </a:lnTo>
                  <a:lnTo>
                    <a:pt x="11818" y="85668"/>
                  </a:lnTo>
                  <a:lnTo>
                    <a:pt x="11818" y="85668"/>
                  </a:lnTo>
                  <a:lnTo>
                    <a:pt x="11818" y="85668"/>
                  </a:lnTo>
                  <a:lnTo>
                    <a:pt x="11919" y="86145"/>
                  </a:lnTo>
                  <a:lnTo>
                    <a:pt x="11919" y="86463"/>
                  </a:lnTo>
                  <a:lnTo>
                    <a:pt x="11919" y="86463"/>
                  </a:lnTo>
                  <a:lnTo>
                    <a:pt x="11919" y="86781"/>
                  </a:lnTo>
                  <a:lnTo>
                    <a:pt x="12020" y="86781"/>
                  </a:lnTo>
                  <a:lnTo>
                    <a:pt x="12020" y="86781"/>
                  </a:lnTo>
                  <a:lnTo>
                    <a:pt x="11919" y="86781"/>
                  </a:lnTo>
                  <a:lnTo>
                    <a:pt x="11919" y="87258"/>
                  </a:lnTo>
                  <a:lnTo>
                    <a:pt x="11919" y="87258"/>
                  </a:lnTo>
                  <a:lnTo>
                    <a:pt x="12171" y="87258"/>
                  </a:lnTo>
                  <a:lnTo>
                    <a:pt x="12272" y="87258"/>
                  </a:lnTo>
                  <a:lnTo>
                    <a:pt x="12373" y="87258"/>
                  </a:lnTo>
                  <a:lnTo>
                    <a:pt x="12373" y="87258"/>
                  </a:lnTo>
                  <a:lnTo>
                    <a:pt x="12525" y="87258"/>
                  </a:lnTo>
                  <a:lnTo>
                    <a:pt x="12626" y="87258"/>
                  </a:lnTo>
                  <a:lnTo>
                    <a:pt x="12626" y="87258"/>
                  </a:lnTo>
                  <a:lnTo>
                    <a:pt x="12626" y="87258"/>
                  </a:lnTo>
                  <a:lnTo>
                    <a:pt x="12727" y="87576"/>
                  </a:lnTo>
                  <a:lnTo>
                    <a:pt x="12727" y="87576"/>
                  </a:lnTo>
                  <a:lnTo>
                    <a:pt x="12727" y="87576"/>
                  </a:lnTo>
                  <a:lnTo>
                    <a:pt x="12878" y="87576"/>
                  </a:lnTo>
                  <a:lnTo>
                    <a:pt x="12878" y="87576"/>
                  </a:lnTo>
                  <a:lnTo>
                    <a:pt x="12878" y="88052"/>
                  </a:lnTo>
                  <a:lnTo>
                    <a:pt x="12878" y="88052"/>
                  </a:lnTo>
                  <a:lnTo>
                    <a:pt x="12878" y="88052"/>
                  </a:lnTo>
                  <a:lnTo>
                    <a:pt x="12878" y="88370"/>
                  </a:lnTo>
                  <a:lnTo>
                    <a:pt x="12979" y="88370"/>
                  </a:lnTo>
                  <a:lnTo>
                    <a:pt x="12979" y="88688"/>
                  </a:lnTo>
                  <a:lnTo>
                    <a:pt x="12979" y="88688"/>
                  </a:lnTo>
                  <a:lnTo>
                    <a:pt x="12979" y="88688"/>
                  </a:lnTo>
                  <a:lnTo>
                    <a:pt x="12979" y="89165"/>
                  </a:lnTo>
                  <a:lnTo>
                    <a:pt x="12979" y="89165"/>
                  </a:lnTo>
                  <a:lnTo>
                    <a:pt x="12979" y="89483"/>
                  </a:lnTo>
                  <a:lnTo>
                    <a:pt x="13131" y="89483"/>
                  </a:lnTo>
                  <a:lnTo>
                    <a:pt x="13131" y="89801"/>
                  </a:lnTo>
                  <a:lnTo>
                    <a:pt x="13232" y="89801"/>
                  </a:lnTo>
                  <a:lnTo>
                    <a:pt x="13232" y="89801"/>
                  </a:lnTo>
                  <a:lnTo>
                    <a:pt x="13333" y="89801"/>
                  </a:lnTo>
                  <a:lnTo>
                    <a:pt x="13484" y="89801"/>
                  </a:lnTo>
                  <a:lnTo>
                    <a:pt x="13484" y="89801"/>
                  </a:lnTo>
                  <a:lnTo>
                    <a:pt x="13585" y="89801"/>
                  </a:lnTo>
                  <a:lnTo>
                    <a:pt x="13686" y="89801"/>
                  </a:lnTo>
                  <a:lnTo>
                    <a:pt x="13686" y="90278"/>
                  </a:lnTo>
                  <a:lnTo>
                    <a:pt x="13838" y="90278"/>
                  </a:lnTo>
                  <a:lnTo>
                    <a:pt x="13838" y="90278"/>
                  </a:lnTo>
                  <a:lnTo>
                    <a:pt x="13939" y="90278"/>
                  </a:lnTo>
                  <a:lnTo>
                    <a:pt x="13939" y="90278"/>
                  </a:lnTo>
                  <a:lnTo>
                    <a:pt x="14040" y="90596"/>
                  </a:lnTo>
                  <a:lnTo>
                    <a:pt x="14040" y="90278"/>
                  </a:lnTo>
                  <a:lnTo>
                    <a:pt x="14191" y="90278"/>
                  </a:lnTo>
                  <a:lnTo>
                    <a:pt x="14292" y="89801"/>
                  </a:lnTo>
                  <a:lnTo>
                    <a:pt x="14393" y="89801"/>
                  </a:lnTo>
                  <a:lnTo>
                    <a:pt x="14393" y="89801"/>
                  </a:lnTo>
                  <a:lnTo>
                    <a:pt x="14545" y="89801"/>
                  </a:lnTo>
                  <a:lnTo>
                    <a:pt x="14646" y="89801"/>
                  </a:lnTo>
                  <a:lnTo>
                    <a:pt x="14646" y="89801"/>
                  </a:lnTo>
                  <a:lnTo>
                    <a:pt x="14797" y="89801"/>
                  </a:lnTo>
                  <a:lnTo>
                    <a:pt x="14797" y="90278"/>
                  </a:lnTo>
                  <a:lnTo>
                    <a:pt x="14898" y="90278"/>
                  </a:lnTo>
                  <a:lnTo>
                    <a:pt x="14898" y="90596"/>
                  </a:lnTo>
                  <a:lnTo>
                    <a:pt x="15151" y="91390"/>
                  </a:lnTo>
                  <a:lnTo>
                    <a:pt x="15252" y="91390"/>
                  </a:lnTo>
                  <a:lnTo>
                    <a:pt x="15252" y="91390"/>
                  </a:lnTo>
                  <a:lnTo>
                    <a:pt x="15353" y="91390"/>
                  </a:lnTo>
                  <a:lnTo>
                    <a:pt x="15353" y="91390"/>
                  </a:lnTo>
                  <a:lnTo>
                    <a:pt x="15353" y="90913"/>
                  </a:lnTo>
                  <a:lnTo>
                    <a:pt x="15353" y="90913"/>
                  </a:lnTo>
                  <a:lnTo>
                    <a:pt x="15353" y="90913"/>
                  </a:lnTo>
                  <a:lnTo>
                    <a:pt x="15606" y="91390"/>
                  </a:lnTo>
                  <a:lnTo>
                    <a:pt x="15606" y="91390"/>
                  </a:lnTo>
                  <a:lnTo>
                    <a:pt x="15707" y="91390"/>
                  </a:lnTo>
                  <a:lnTo>
                    <a:pt x="15858" y="91390"/>
                  </a:lnTo>
                  <a:lnTo>
                    <a:pt x="15959" y="91708"/>
                  </a:lnTo>
                  <a:lnTo>
                    <a:pt x="16060" y="91708"/>
                  </a:lnTo>
                  <a:lnTo>
                    <a:pt x="16060" y="91708"/>
                  </a:lnTo>
                  <a:lnTo>
                    <a:pt x="16212" y="91708"/>
                  </a:lnTo>
                  <a:lnTo>
                    <a:pt x="16212" y="91708"/>
                  </a:lnTo>
                  <a:lnTo>
                    <a:pt x="16212" y="91708"/>
                  </a:lnTo>
                  <a:lnTo>
                    <a:pt x="16313" y="92185"/>
                  </a:lnTo>
                  <a:lnTo>
                    <a:pt x="16313" y="92185"/>
                  </a:lnTo>
                  <a:lnTo>
                    <a:pt x="16464" y="92185"/>
                  </a:lnTo>
                  <a:lnTo>
                    <a:pt x="16565" y="92185"/>
                  </a:lnTo>
                  <a:lnTo>
                    <a:pt x="16666" y="92503"/>
                  </a:lnTo>
                  <a:lnTo>
                    <a:pt x="16818" y="92503"/>
                  </a:lnTo>
                  <a:lnTo>
                    <a:pt x="16919" y="92503"/>
                  </a:lnTo>
                  <a:lnTo>
                    <a:pt x="16919" y="92503"/>
                  </a:lnTo>
                  <a:lnTo>
                    <a:pt x="16919" y="92503"/>
                  </a:lnTo>
                  <a:lnTo>
                    <a:pt x="17020" y="92503"/>
                  </a:lnTo>
                  <a:lnTo>
                    <a:pt x="16919" y="92821"/>
                  </a:lnTo>
                  <a:lnTo>
                    <a:pt x="16919" y="92821"/>
                  </a:lnTo>
                  <a:lnTo>
                    <a:pt x="17020" y="93298"/>
                  </a:lnTo>
                  <a:lnTo>
                    <a:pt x="17020" y="93298"/>
                  </a:lnTo>
                  <a:lnTo>
                    <a:pt x="17020" y="93615"/>
                  </a:lnTo>
                  <a:lnTo>
                    <a:pt x="17020" y="93615"/>
                  </a:lnTo>
                  <a:lnTo>
                    <a:pt x="16919" y="93933"/>
                  </a:lnTo>
                  <a:lnTo>
                    <a:pt x="16919" y="93933"/>
                  </a:lnTo>
                  <a:lnTo>
                    <a:pt x="16818" y="94410"/>
                  </a:lnTo>
                  <a:lnTo>
                    <a:pt x="16666" y="94410"/>
                  </a:lnTo>
                  <a:lnTo>
                    <a:pt x="16818" y="94410"/>
                  </a:lnTo>
                  <a:lnTo>
                    <a:pt x="16818" y="94728"/>
                  </a:lnTo>
                  <a:lnTo>
                    <a:pt x="16919" y="94728"/>
                  </a:lnTo>
                  <a:lnTo>
                    <a:pt x="17020" y="94728"/>
                  </a:lnTo>
                  <a:lnTo>
                    <a:pt x="17020" y="95046"/>
                  </a:lnTo>
                  <a:lnTo>
                    <a:pt x="17020" y="95046"/>
                  </a:lnTo>
                  <a:lnTo>
                    <a:pt x="16919" y="95046"/>
                  </a:lnTo>
                  <a:lnTo>
                    <a:pt x="16818" y="95046"/>
                  </a:lnTo>
                  <a:lnTo>
                    <a:pt x="16818" y="95046"/>
                  </a:lnTo>
                  <a:lnTo>
                    <a:pt x="16818" y="95046"/>
                  </a:lnTo>
                  <a:lnTo>
                    <a:pt x="16818" y="95523"/>
                  </a:lnTo>
                  <a:lnTo>
                    <a:pt x="16818" y="95841"/>
                  </a:lnTo>
                  <a:lnTo>
                    <a:pt x="16919" y="95841"/>
                  </a:lnTo>
                  <a:lnTo>
                    <a:pt x="16919" y="95841"/>
                  </a:lnTo>
                  <a:lnTo>
                    <a:pt x="16919" y="96317"/>
                  </a:lnTo>
                  <a:lnTo>
                    <a:pt x="17020" y="96317"/>
                  </a:lnTo>
                  <a:lnTo>
                    <a:pt x="17020" y="96635"/>
                  </a:lnTo>
                  <a:lnTo>
                    <a:pt x="16919" y="96635"/>
                  </a:lnTo>
                  <a:lnTo>
                    <a:pt x="17020" y="96635"/>
                  </a:lnTo>
                  <a:lnTo>
                    <a:pt x="17020" y="96635"/>
                  </a:lnTo>
                  <a:lnTo>
                    <a:pt x="17020" y="96635"/>
                  </a:lnTo>
                  <a:lnTo>
                    <a:pt x="17020" y="96635"/>
                  </a:lnTo>
                  <a:lnTo>
                    <a:pt x="17020" y="96953"/>
                  </a:lnTo>
                  <a:lnTo>
                    <a:pt x="17020" y="96953"/>
                  </a:lnTo>
                  <a:lnTo>
                    <a:pt x="17020" y="97430"/>
                  </a:lnTo>
                  <a:lnTo>
                    <a:pt x="16919" y="97748"/>
                  </a:lnTo>
                  <a:lnTo>
                    <a:pt x="17020" y="98066"/>
                  </a:lnTo>
                  <a:lnTo>
                    <a:pt x="16919" y="98066"/>
                  </a:lnTo>
                  <a:lnTo>
                    <a:pt x="16919" y="98066"/>
                  </a:lnTo>
                  <a:lnTo>
                    <a:pt x="16666" y="98066"/>
                  </a:lnTo>
                  <a:lnTo>
                    <a:pt x="16464" y="98066"/>
                  </a:lnTo>
                  <a:lnTo>
                    <a:pt x="16464" y="98066"/>
                  </a:lnTo>
                  <a:lnTo>
                    <a:pt x="16313" y="98066"/>
                  </a:lnTo>
                  <a:lnTo>
                    <a:pt x="16212" y="98066"/>
                  </a:lnTo>
                  <a:lnTo>
                    <a:pt x="16060" y="98543"/>
                  </a:lnTo>
                  <a:lnTo>
                    <a:pt x="16060" y="98860"/>
                  </a:lnTo>
                  <a:lnTo>
                    <a:pt x="15959" y="98860"/>
                  </a:lnTo>
                  <a:lnTo>
                    <a:pt x="15858" y="98860"/>
                  </a:lnTo>
                  <a:lnTo>
                    <a:pt x="15858" y="99337"/>
                  </a:lnTo>
                  <a:lnTo>
                    <a:pt x="15858" y="99337"/>
                  </a:lnTo>
                  <a:lnTo>
                    <a:pt x="15858" y="99655"/>
                  </a:lnTo>
                  <a:lnTo>
                    <a:pt x="15858" y="99655"/>
                  </a:lnTo>
                  <a:lnTo>
                    <a:pt x="15707" y="99655"/>
                  </a:lnTo>
                  <a:lnTo>
                    <a:pt x="15707" y="99973"/>
                  </a:lnTo>
                  <a:lnTo>
                    <a:pt x="15707" y="99973"/>
                  </a:lnTo>
                  <a:lnTo>
                    <a:pt x="15858" y="99973"/>
                  </a:lnTo>
                  <a:lnTo>
                    <a:pt x="15858" y="99973"/>
                  </a:lnTo>
                  <a:lnTo>
                    <a:pt x="15858" y="99973"/>
                  </a:lnTo>
                  <a:lnTo>
                    <a:pt x="15858" y="99973"/>
                  </a:lnTo>
                  <a:lnTo>
                    <a:pt x="15858" y="100450"/>
                  </a:lnTo>
                  <a:lnTo>
                    <a:pt x="15707" y="100450"/>
                  </a:lnTo>
                  <a:lnTo>
                    <a:pt x="15858" y="100450"/>
                  </a:lnTo>
                  <a:lnTo>
                    <a:pt x="15858" y="100768"/>
                  </a:lnTo>
                  <a:lnTo>
                    <a:pt x="15959" y="100450"/>
                  </a:lnTo>
                  <a:lnTo>
                    <a:pt x="16060" y="99973"/>
                  </a:lnTo>
                  <a:lnTo>
                    <a:pt x="16212" y="99973"/>
                  </a:lnTo>
                  <a:lnTo>
                    <a:pt x="16212" y="99973"/>
                  </a:lnTo>
                  <a:lnTo>
                    <a:pt x="16212" y="100450"/>
                  </a:lnTo>
                  <a:lnTo>
                    <a:pt x="16060" y="100450"/>
                  </a:lnTo>
                  <a:lnTo>
                    <a:pt x="16212" y="100450"/>
                  </a:lnTo>
                  <a:lnTo>
                    <a:pt x="16464" y="100450"/>
                  </a:lnTo>
                  <a:lnTo>
                    <a:pt x="16464" y="99973"/>
                  </a:lnTo>
                  <a:lnTo>
                    <a:pt x="16565" y="99973"/>
                  </a:lnTo>
                  <a:lnTo>
                    <a:pt x="16666" y="100450"/>
                  </a:lnTo>
                  <a:lnTo>
                    <a:pt x="16666" y="100768"/>
                  </a:lnTo>
                  <a:lnTo>
                    <a:pt x="16666" y="100768"/>
                  </a:lnTo>
                  <a:lnTo>
                    <a:pt x="16666" y="100768"/>
                  </a:lnTo>
                  <a:lnTo>
                    <a:pt x="16565" y="100768"/>
                  </a:lnTo>
                  <a:lnTo>
                    <a:pt x="16313" y="101086"/>
                  </a:lnTo>
                  <a:lnTo>
                    <a:pt x="16212" y="101562"/>
                  </a:lnTo>
                  <a:lnTo>
                    <a:pt x="16060" y="101562"/>
                  </a:lnTo>
                  <a:lnTo>
                    <a:pt x="16060" y="101880"/>
                  </a:lnTo>
                  <a:lnTo>
                    <a:pt x="16060" y="101880"/>
                  </a:lnTo>
                  <a:lnTo>
                    <a:pt x="15959" y="101880"/>
                  </a:lnTo>
                  <a:lnTo>
                    <a:pt x="15858" y="101880"/>
                  </a:lnTo>
                  <a:lnTo>
                    <a:pt x="15858" y="101880"/>
                  </a:lnTo>
                  <a:lnTo>
                    <a:pt x="15707" y="102198"/>
                  </a:lnTo>
                  <a:lnTo>
                    <a:pt x="15606" y="102198"/>
                  </a:lnTo>
                  <a:lnTo>
                    <a:pt x="15505" y="102198"/>
                  </a:lnTo>
                  <a:lnTo>
                    <a:pt x="15606" y="102675"/>
                  </a:lnTo>
                  <a:lnTo>
                    <a:pt x="15606" y="102993"/>
                  </a:lnTo>
                  <a:lnTo>
                    <a:pt x="15707" y="102993"/>
                  </a:lnTo>
                  <a:lnTo>
                    <a:pt x="15858" y="102993"/>
                  </a:lnTo>
                  <a:lnTo>
                    <a:pt x="15959" y="103470"/>
                  </a:lnTo>
                  <a:lnTo>
                    <a:pt x="16212" y="103788"/>
                  </a:lnTo>
                  <a:lnTo>
                    <a:pt x="16060" y="104105"/>
                  </a:lnTo>
                  <a:lnTo>
                    <a:pt x="16060" y="103788"/>
                  </a:lnTo>
                  <a:lnTo>
                    <a:pt x="15959" y="103788"/>
                  </a:lnTo>
                  <a:lnTo>
                    <a:pt x="15858" y="104105"/>
                  </a:lnTo>
                  <a:lnTo>
                    <a:pt x="15858" y="104582"/>
                  </a:lnTo>
                  <a:lnTo>
                    <a:pt x="15858" y="104105"/>
                  </a:lnTo>
                  <a:lnTo>
                    <a:pt x="15858" y="104105"/>
                  </a:lnTo>
                  <a:lnTo>
                    <a:pt x="15858" y="104105"/>
                  </a:lnTo>
                  <a:lnTo>
                    <a:pt x="15707" y="104105"/>
                  </a:lnTo>
                  <a:lnTo>
                    <a:pt x="15707" y="104900"/>
                  </a:lnTo>
                  <a:lnTo>
                    <a:pt x="15606" y="105218"/>
                  </a:lnTo>
                  <a:lnTo>
                    <a:pt x="15505" y="105695"/>
                  </a:lnTo>
                  <a:lnTo>
                    <a:pt x="15505" y="106013"/>
                  </a:lnTo>
                  <a:lnTo>
                    <a:pt x="15505" y="106013"/>
                  </a:lnTo>
                  <a:lnTo>
                    <a:pt x="15606" y="106013"/>
                  </a:lnTo>
                  <a:lnTo>
                    <a:pt x="15606" y="106013"/>
                  </a:lnTo>
                  <a:lnTo>
                    <a:pt x="15606" y="106331"/>
                  </a:lnTo>
                  <a:lnTo>
                    <a:pt x="15252" y="106331"/>
                  </a:lnTo>
                  <a:lnTo>
                    <a:pt x="15252" y="106807"/>
                  </a:lnTo>
                  <a:lnTo>
                    <a:pt x="15151" y="106331"/>
                  </a:lnTo>
                  <a:lnTo>
                    <a:pt x="15000" y="106331"/>
                  </a:lnTo>
                  <a:lnTo>
                    <a:pt x="14898" y="106013"/>
                  </a:lnTo>
                  <a:lnTo>
                    <a:pt x="14898" y="106013"/>
                  </a:lnTo>
                  <a:lnTo>
                    <a:pt x="14797" y="106331"/>
                  </a:lnTo>
                  <a:lnTo>
                    <a:pt x="14797" y="106331"/>
                  </a:lnTo>
                  <a:lnTo>
                    <a:pt x="14898" y="106331"/>
                  </a:lnTo>
                  <a:lnTo>
                    <a:pt x="15000" y="106331"/>
                  </a:lnTo>
                  <a:lnTo>
                    <a:pt x="14898" y="106807"/>
                  </a:lnTo>
                  <a:lnTo>
                    <a:pt x="14797" y="106807"/>
                  </a:lnTo>
                  <a:lnTo>
                    <a:pt x="14797" y="107125"/>
                  </a:lnTo>
                  <a:lnTo>
                    <a:pt x="14797" y="107125"/>
                  </a:lnTo>
                  <a:lnTo>
                    <a:pt x="15000" y="107125"/>
                  </a:lnTo>
                  <a:lnTo>
                    <a:pt x="15252" y="107920"/>
                  </a:lnTo>
                  <a:lnTo>
                    <a:pt x="15353" y="107920"/>
                  </a:lnTo>
                  <a:lnTo>
                    <a:pt x="15353" y="108238"/>
                  </a:lnTo>
                  <a:lnTo>
                    <a:pt x="15505" y="108715"/>
                  </a:lnTo>
                  <a:lnTo>
                    <a:pt x="15505" y="108715"/>
                  </a:lnTo>
                  <a:lnTo>
                    <a:pt x="15606" y="108715"/>
                  </a:lnTo>
                  <a:lnTo>
                    <a:pt x="15707" y="109033"/>
                  </a:lnTo>
                  <a:lnTo>
                    <a:pt x="15858" y="108715"/>
                  </a:lnTo>
                  <a:lnTo>
                    <a:pt x="16212" y="109827"/>
                  </a:lnTo>
                  <a:lnTo>
                    <a:pt x="16313" y="109827"/>
                  </a:lnTo>
                  <a:lnTo>
                    <a:pt x="16565" y="110145"/>
                  </a:lnTo>
                  <a:lnTo>
                    <a:pt x="16666" y="110145"/>
                  </a:lnTo>
                  <a:lnTo>
                    <a:pt x="17171" y="111258"/>
                  </a:lnTo>
                  <a:lnTo>
                    <a:pt x="17373" y="112052"/>
                  </a:lnTo>
                  <a:lnTo>
                    <a:pt x="17727" y="112847"/>
                  </a:lnTo>
                  <a:lnTo>
                    <a:pt x="17878" y="112847"/>
                  </a:lnTo>
                  <a:lnTo>
                    <a:pt x="17878" y="112847"/>
                  </a:lnTo>
                  <a:lnTo>
                    <a:pt x="17878" y="112370"/>
                  </a:lnTo>
                  <a:lnTo>
                    <a:pt x="17979" y="112370"/>
                  </a:lnTo>
                  <a:lnTo>
                    <a:pt x="18131" y="112370"/>
                  </a:lnTo>
                  <a:lnTo>
                    <a:pt x="18232" y="112370"/>
                  </a:lnTo>
                  <a:lnTo>
                    <a:pt x="18333" y="112370"/>
                  </a:lnTo>
                  <a:lnTo>
                    <a:pt x="18484" y="112847"/>
                  </a:lnTo>
                  <a:lnTo>
                    <a:pt x="18585" y="112847"/>
                  </a:lnTo>
                  <a:lnTo>
                    <a:pt x="18686" y="113165"/>
                  </a:lnTo>
                  <a:lnTo>
                    <a:pt x="18939" y="113165"/>
                  </a:lnTo>
                  <a:lnTo>
                    <a:pt x="19040" y="113483"/>
                  </a:lnTo>
                  <a:lnTo>
                    <a:pt x="19191" y="113483"/>
                  </a:lnTo>
                  <a:lnTo>
                    <a:pt x="19646" y="113483"/>
                  </a:lnTo>
                  <a:lnTo>
                    <a:pt x="19646" y="113483"/>
                  </a:lnTo>
                  <a:lnTo>
                    <a:pt x="19646" y="113483"/>
                  </a:lnTo>
                  <a:lnTo>
                    <a:pt x="19797" y="113483"/>
                  </a:lnTo>
                  <a:lnTo>
                    <a:pt x="19898" y="113483"/>
                  </a:lnTo>
                  <a:lnTo>
                    <a:pt x="20000" y="113960"/>
                  </a:lnTo>
                  <a:lnTo>
                    <a:pt x="20151" y="113960"/>
                  </a:lnTo>
                  <a:lnTo>
                    <a:pt x="20252" y="113483"/>
                  </a:lnTo>
                  <a:lnTo>
                    <a:pt x="20353" y="113960"/>
                  </a:lnTo>
                  <a:lnTo>
                    <a:pt x="20353" y="113960"/>
                  </a:lnTo>
                  <a:lnTo>
                    <a:pt x="20505" y="113960"/>
                  </a:lnTo>
                  <a:lnTo>
                    <a:pt x="20505" y="114278"/>
                  </a:lnTo>
                  <a:lnTo>
                    <a:pt x="20707" y="114596"/>
                  </a:lnTo>
                  <a:lnTo>
                    <a:pt x="20959" y="114596"/>
                  </a:lnTo>
                  <a:lnTo>
                    <a:pt x="20959" y="115072"/>
                  </a:lnTo>
                  <a:lnTo>
                    <a:pt x="21212" y="115072"/>
                  </a:lnTo>
                  <a:lnTo>
                    <a:pt x="21212" y="115072"/>
                  </a:lnTo>
                  <a:lnTo>
                    <a:pt x="21212" y="115072"/>
                  </a:lnTo>
                  <a:lnTo>
                    <a:pt x="21060" y="115390"/>
                  </a:lnTo>
                  <a:lnTo>
                    <a:pt x="21060" y="115390"/>
                  </a:lnTo>
                  <a:lnTo>
                    <a:pt x="21212" y="115390"/>
                  </a:lnTo>
                  <a:lnTo>
                    <a:pt x="21212" y="115867"/>
                  </a:lnTo>
                  <a:lnTo>
                    <a:pt x="21313" y="115867"/>
                  </a:lnTo>
                  <a:lnTo>
                    <a:pt x="21313" y="115390"/>
                  </a:lnTo>
                  <a:lnTo>
                    <a:pt x="21464" y="115390"/>
                  </a:lnTo>
                  <a:lnTo>
                    <a:pt x="21565" y="115390"/>
                  </a:lnTo>
                  <a:lnTo>
                    <a:pt x="21666" y="115072"/>
                  </a:lnTo>
                  <a:lnTo>
                    <a:pt x="21818" y="115072"/>
                  </a:lnTo>
                  <a:lnTo>
                    <a:pt x="21818" y="115072"/>
                  </a:lnTo>
                  <a:lnTo>
                    <a:pt x="21919" y="115072"/>
                  </a:lnTo>
                  <a:lnTo>
                    <a:pt x="21919" y="115072"/>
                  </a:lnTo>
                  <a:lnTo>
                    <a:pt x="22020" y="115390"/>
                  </a:lnTo>
                  <a:lnTo>
                    <a:pt x="22020" y="115072"/>
                  </a:lnTo>
                  <a:lnTo>
                    <a:pt x="22020" y="115072"/>
                  </a:lnTo>
                  <a:lnTo>
                    <a:pt x="22171" y="115072"/>
                  </a:lnTo>
                  <a:lnTo>
                    <a:pt x="22272" y="115390"/>
                  </a:lnTo>
                  <a:lnTo>
                    <a:pt x="22373" y="115390"/>
                  </a:lnTo>
                  <a:lnTo>
                    <a:pt x="22373" y="115390"/>
                  </a:lnTo>
                  <a:lnTo>
                    <a:pt x="22525" y="115867"/>
                  </a:lnTo>
                  <a:lnTo>
                    <a:pt x="22727" y="115867"/>
                  </a:lnTo>
                  <a:lnTo>
                    <a:pt x="22727" y="115867"/>
                  </a:lnTo>
                  <a:lnTo>
                    <a:pt x="22878" y="115867"/>
                  </a:lnTo>
                  <a:lnTo>
                    <a:pt x="22878" y="115867"/>
                  </a:lnTo>
                  <a:lnTo>
                    <a:pt x="22878" y="116185"/>
                  </a:lnTo>
                  <a:lnTo>
                    <a:pt x="22878" y="116503"/>
                  </a:lnTo>
                  <a:lnTo>
                    <a:pt x="22878" y="116980"/>
                  </a:lnTo>
                  <a:lnTo>
                    <a:pt x="22878" y="116980"/>
                  </a:lnTo>
                  <a:lnTo>
                    <a:pt x="22979" y="117298"/>
                  </a:lnTo>
                  <a:lnTo>
                    <a:pt x="23131" y="117298"/>
                  </a:lnTo>
                  <a:lnTo>
                    <a:pt x="23131" y="117298"/>
                  </a:lnTo>
                  <a:lnTo>
                    <a:pt x="23232" y="117298"/>
                  </a:lnTo>
                  <a:lnTo>
                    <a:pt x="23333" y="117615"/>
                  </a:lnTo>
                  <a:lnTo>
                    <a:pt x="23333" y="117615"/>
                  </a:lnTo>
                  <a:lnTo>
                    <a:pt x="23333" y="117615"/>
                  </a:lnTo>
                  <a:lnTo>
                    <a:pt x="23585" y="117615"/>
                  </a:lnTo>
                  <a:lnTo>
                    <a:pt x="23585" y="117615"/>
                  </a:lnTo>
                  <a:lnTo>
                    <a:pt x="23686" y="118092"/>
                  </a:lnTo>
                  <a:lnTo>
                    <a:pt x="23686" y="118092"/>
                  </a:lnTo>
                  <a:lnTo>
                    <a:pt x="23686" y="118092"/>
                  </a:lnTo>
                  <a:lnTo>
                    <a:pt x="23686" y="118092"/>
                  </a:lnTo>
                  <a:lnTo>
                    <a:pt x="23838" y="118092"/>
                  </a:lnTo>
                  <a:lnTo>
                    <a:pt x="23838" y="118092"/>
                  </a:lnTo>
                  <a:lnTo>
                    <a:pt x="23939" y="118410"/>
                  </a:lnTo>
                  <a:lnTo>
                    <a:pt x="24040" y="118410"/>
                  </a:lnTo>
                  <a:lnTo>
                    <a:pt x="24040" y="118728"/>
                  </a:lnTo>
                  <a:lnTo>
                    <a:pt x="24040" y="118728"/>
                  </a:lnTo>
                  <a:lnTo>
                    <a:pt x="24191" y="118728"/>
                  </a:lnTo>
                  <a:lnTo>
                    <a:pt x="24191" y="119205"/>
                  </a:lnTo>
                  <a:lnTo>
                    <a:pt x="24292" y="119205"/>
                  </a:lnTo>
                  <a:lnTo>
                    <a:pt x="24393" y="119523"/>
                  </a:lnTo>
                  <a:lnTo>
                    <a:pt x="24393" y="120000"/>
                  </a:lnTo>
                  <a:lnTo>
                    <a:pt x="24646" y="120000"/>
                  </a:lnTo>
                  <a:lnTo>
                    <a:pt x="24646" y="120000"/>
                  </a:lnTo>
                  <a:lnTo>
                    <a:pt x="24898" y="120000"/>
                  </a:lnTo>
                  <a:lnTo>
                    <a:pt x="24898" y="120000"/>
                  </a:lnTo>
                  <a:lnTo>
                    <a:pt x="25000" y="119523"/>
                  </a:lnTo>
                  <a:lnTo>
                    <a:pt x="25000" y="119205"/>
                  </a:lnTo>
                  <a:lnTo>
                    <a:pt x="25151" y="119205"/>
                  </a:lnTo>
                  <a:lnTo>
                    <a:pt x="25252" y="118728"/>
                  </a:lnTo>
                  <a:lnTo>
                    <a:pt x="25252" y="118728"/>
                  </a:lnTo>
                  <a:lnTo>
                    <a:pt x="25252" y="118410"/>
                  </a:lnTo>
                  <a:lnTo>
                    <a:pt x="25353" y="118092"/>
                  </a:lnTo>
                  <a:lnTo>
                    <a:pt x="25353" y="118092"/>
                  </a:lnTo>
                  <a:lnTo>
                    <a:pt x="25252" y="117615"/>
                  </a:lnTo>
                  <a:lnTo>
                    <a:pt x="25252" y="117615"/>
                  </a:lnTo>
                  <a:lnTo>
                    <a:pt x="25252" y="117615"/>
                  </a:lnTo>
                  <a:lnTo>
                    <a:pt x="25151" y="117298"/>
                  </a:lnTo>
                  <a:lnTo>
                    <a:pt x="25000" y="116980"/>
                  </a:lnTo>
                  <a:lnTo>
                    <a:pt x="24898" y="116185"/>
                  </a:lnTo>
                  <a:lnTo>
                    <a:pt x="24646" y="115390"/>
                  </a:lnTo>
                  <a:lnTo>
                    <a:pt x="24545" y="115390"/>
                  </a:lnTo>
                  <a:lnTo>
                    <a:pt x="24545" y="115390"/>
                  </a:lnTo>
                  <a:lnTo>
                    <a:pt x="24545" y="115072"/>
                  </a:lnTo>
                  <a:lnTo>
                    <a:pt x="24393" y="114596"/>
                  </a:lnTo>
                  <a:lnTo>
                    <a:pt x="24292" y="114278"/>
                  </a:lnTo>
                  <a:lnTo>
                    <a:pt x="24292" y="114278"/>
                  </a:lnTo>
                  <a:lnTo>
                    <a:pt x="24292" y="114278"/>
                  </a:lnTo>
                  <a:lnTo>
                    <a:pt x="24292" y="113483"/>
                  </a:lnTo>
                  <a:lnTo>
                    <a:pt x="24191" y="113483"/>
                  </a:lnTo>
                  <a:lnTo>
                    <a:pt x="24191" y="113165"/>
                  </a:lnTo>
                  <a:lnTo>
                    <a:pt x="24191" y="112370"/>
                  </a:lnTo>
                  <a:lnTo>
                    <a:pt x="24191" y="112052"/>
                  </a:lnTo>
                  <a:lnTo>
                    <a:pt x="24292" y="111735"/>
                  </a:lnTo>
                  <a:lnTo>
                    <a:pt x="24292" y="111258"/>
                  </a:lnTo>
                  <a:lnTo>
                    <a:pt x="24191" y="111735"/>
                  </a:lnTo>
                  <a:lnTo>
                    <a:pt x="24191" y="112370"/>
                  </a:lnTo>
                  <a:lnTo>
                    <a:pt x="24040" y="111735"/>
                  </a:lnTo>
                  <a:lnTo>
                    <a:pt x="23939" y="110940"/>
                  </a:lnTo>
                  <a:lnTo>
                    <a:pt x="23939" y="110463"/>
                  </a:lnTo>
                  <a:lnTo>
                    <a:pt x="23838" y="110463"/>
                  </a:lnTo>
                  <a:lnTo>
                    <a:pt x="23686" y="110145"/>
                  </a:lnTo>
                  <a:lnTo>
                    <a:pt x="23585" y="109827"/>
                  </a:lnTo>
                  <a:lnTo>
                    <a:pt x="23585" y="109827"/>
                  </a:lnTo>
                  <a:lnTo>
                    <a:pt x="23333" y="109827"/>
                  </a:lnTo>
                  <a:lnTo>
                    <a:pt x="23333" y="109350"/>
                  </a:lnTo>
                  <a:lnTo>
                    <a:pt x="23333" y="109350"/>
                  </a:lnTo>
                  <a:lnTo>
                    <a:pt x="23333" y="109033"/>
                  </a:lnTo>
                  <a:lnTo>
                    <a:pt x="23333" y="109033"/>
                  </a:lnTo>
                  <a:lnTo>
                    <a:pt x="23484" y="108715"/>
                  </a:lnTo>
                  <a:lnTo>
                    <a:pt x="23484" y="108715"/>
                  </a:lnTo>
                  <a:lnTo>
                    <a:pt x="23484" y="108238"/>
                  </a:lnTo>
                  <a:lnTo>
                    <a:pt x="23484" y="108238"/>
                  </a:lnTo>
                  <a:lnTo>
                    <a:pt x="23585" y="108238"/>
                  </a:lnTo>
                  <a:lnTo>
                    <a:pt x="23585" y="108238"/>
                  </a:lnTo>
                  <a:lnTo>
                    <a:pt x="23585" y="107920"/>
                  </a:lnTo>
                  <a:lnTo>
                    <a:pt x="23585" y="107920"/>
                  </a:lnTo>
                  <a:lnTo>
                    <a:pt x="23686" y="107602"/>
                  </a:lnTo>
                  <a:lnTo>
                    <a:pt x="23686" y="107125"/>
                  </a:lnTo>
                  <a:lnTo>
                    <a:pt x="23686" y="106807"/>
                  </a:lnTo>
                  <a:lnTo>
                    <a:pt x="23838" y="106331"/>
                  </a:lnTo>
                  <a:lnTo>
                    <a:pt x="23838" y="106013"/>
                  </a:lnTo>
                  <a:lnTo>
                    <a:pt x="23838" y="106013"/>
                  </a:lnTo>
                  <a:lnTo>
                    <a:pt x="23838" y="106013"/>
                  </a:lnTo>
                  <a:lnTo>
                    <a:pt x="23838" y="106013"/>
                  </a:lnTo>
                  <a:lnTo>
                    <a:pt x="23838" y="105695"/>
                  </a:lnTo>
                  <a:lnTo>
                    <a:pt x="23838" y="105695"/>
                  </a:lnTo>
                  <a:lnTo>
                    <a:pt x="23686" y="105218"/>
                  </a:lnTo>
                  <a:lnTo>
                    <a:pt x="23838" y="105218"/>
                  </a:lnTo>
                  <a:lnTo>
                    <a:pt x="23838" y="105218"/>
                  </a:lnTo>
                  <a:lnTo>
                    <a:pt x="23838" y="105218"/>
                  </a:lnTo>
                  <a:lnTo>
                    <a:pt x="23939" y="105695"/>
                  </a:lnTo>
                  <a:lnTo>
                    <a:pt x="23939" y="105218"/>
                  </a:lnTo>
                  <a:lnTo>
                    <a:pt x="23939" y="105218"/>
                  </a:lnTo>
                  <a:lnTo>
                    <a:pt x="24040" y="105218"/>
                  </a:lnTo>
                  <a:lnTo>
                    <a:pt x="24040" y="105218"/>
                  </a:lnTo>
                  <a:lnTo>
                    <a:pt x="24292" y="105218"/>
                  </a:lnTo>
                  <a:lnTo>
                    <a:pt x="24292" y="105218"/>
                  </a:lnTo>
                  <a:lnTo>
                    <a:pt x="24393" y="104900"/>
                  </a:lnTo>
                  <a:lnTo>
                    <a:pt x="24545" y="104582"/>
                  </a:lnTo>
                  <a:lnTo>
                    <a:pt x="24646" y="104582"/>
                  </a:lnTo>
                  <a:lnTo>
                    <a:pt x="24646" y="104582"/>
                  </a:lnTo>
                  <a:lnTo>
                    <a:pt x="24646" y="104582"/>
                  </a:lnTo>
                  <a:lnTo>
                    <a:pt x="24797" y="104582"/>
                  </a:lnTo>
                  <a:lnTo>
                    <a:pt x="24797" y="104582"/>
                  </a:lnTo>
                  <a:lnTo>
                    <a:pt x="24797" y="104582"/>
                  </a:lnTo>
                  <a:lnTo>
                    <a:pt x="24797" y="104105"/>
                  </a:lnTo>
                  <a:lnTo>
                    <a:pt x="24797" y="104105"/>
                  </a:lnTo>
                  <a:lnTo>
                    <a:pt x="24646" y="103788"/>
                  </a:lnTo>
                  <a:lnTo>
                    <a:pt x="24797" y="103788"/>
                  </a:lnTo>
                  <a:lnTo>
                    <a:pt x="24797" y="103788"/>
                  </a:lnTo>
                  <a:lnTo>
                    <a:pt x="25000" y="103788"/>
                  </a:lnTo>
                  <a:lnTo>
                    <a:pt x="25000" y="103470"/>
                  </a:lnTo>
                  <a:lnTo>
                    <a:pt x="25000" y="103470"/>
                  </a:lnTo>
                  <a:lnTo>
                    <a:pt x="25151" y="103470"/>
                  </a:lnTo>
                  <a:lnTo>
                    <a:pt x="25151" y="102993"/>
                  </a:lnTo>
                  <a:lnTo>
                    <a:pt x="25000" y="102993"/>
                  </a:lnTo>
                  <a:lnTo>
                    <a:pt x="24898" y="102675"/>
                  </a:lnTo>
                  <a:lnTo>
                    <a:pt x="24646" y="102675"/>
                  </a:lnTo>
                  <a:lnTo>
                    <a:pt x="24545" y="102198"/>
                  </a:lnTo>
                  <a:lnTo>
                    <a:pt x="24545" y="102198"/>
                  </a:lnTo>
                  <a:lnTo>
                    <a:pt x="24545" y="102198"/>
                  </a:lnTo>
                  <a:lnTo>
                    <a:pt x="24393" y="102198"/>
                  </a:lnTo>
                  <a:lnTo>
                    <a:pt x="24393" y="101880"/>
                  </a:lnTo>
                  <a:lnTo>
                    <a:pt x="24393" y="101880"/>
                  </a:lnTo>
                  <a:lnTo>
                    <a:pt x="24393" y="101880"/>
                  </a:lnTo>
                  <a:lnTo>
                    <a:pt x="24545" y="101880"/>
                  </a:lnTo>
                  <a:lnTo>
                    <a:pt x="24545" y="101880"/>
                  </a:lnTo>
                  <a:lnTo>
                    <a:pt x="24545" y="101880"/>
                  </a:lnTo>
                  <a:lnTo>
                    <a:pt x="24646" y="101880"/>
                  </a:lnTo>
                  <a:lnTo>
                    <a:pt x="24797" y="101880"/>
                  </a:lnTo>
                  <a:lnTo>
                    <a:pt x="24797" y="101880"/>
                  </a:lnTo>
                  <a:lnTo>
                    <a:pt x="24797" y="101562"/>
                  </a:lnTo>
                  <a:lnTo>
                    <a:pt x="24646" y="101086"/>
                  </a:lnTo>
                  <a:lnTo>
                    <a:pt x="24545" y="100768"/>
                  </a:lnTo>
                  <a:lnTo>
                    <a:pt x="24393" y="99973"/>
                  </a:lnTo>
                  <a:lnTo>
                    <a:pt x="24292" y="99973"/>
                  </a:lnTo>
                  <a:lnTo>
                    <a:pt x="24191" y="99655"/>
                  </a:lnTo>
                  <a:lnTo>
                    <a:pt x="24040" y="98860"/>
                  </a:lnTo>
                  <a:lnTo>
                    <a:pt x="23939" y="98543"/>
                  </a:lnTo>
                  <a:lnTo>
                    <a:pt x="23939" y="98543"/>
                  </a:lnTo>
                  <a:lnTo>
                    <a:pt x="23686" y="98543"/>
                  </a:lnTo>
                  <a:lnTo>
                    <a:pt x="23484" y="98543"/>
                  </a:lnTo>
                  <a:lnTo>
                    <a:pt x="23333" y="98066"/>
                  </a:lnTo>
                  <a:lnTo>
                    <a:pt x="23333" y="98543"/>
                  </a:lnTo>
                  <a:lnTo>
                    <a:pt x="23232" y="98543"/>
                  </a:lnTo>
                  <a:lnTo>
                    <a:pt x="23131" y="98543"/>
                  </a:lnTo>
                  <a:lnTo>
                    <a:pt x="23131" y="98066"/>
                  </a:lnTo>
                  <a:lnTo>
                    <a:pt x="22979" y="97748"/>
                  </a:lnTo>
                  <a:lnTo>
                    <a:pt x="22979" y="97748"/>
                  </a:lnTo>
                  <a:lnTo>
                    <a:pt x="22979" y="97430"/>
                  </a:lnTo>
                  <a:lnTo>
                    <a:pt x="22979" y="96953"/>
                  </a:lnTo>
                  <a:lnTo>
                    <a:pt x="22878" y="96635"/>
                  </a:lnTo>
                  <a:lnTo>
                    <a:pt x="22727" y="96635"/>
                  </a:lnTo>
                  <a:lnTo>
                    <a:pt x="22626" y="96317"/>
                  </a:lnTo>
                  <a:lnTo>
                    <a:pt x="22525" y="95841"/>
                  </a:lnTo>
                  <a:lnTo>
                    <a:pt x="22525" y="95046"/>
                  </a:lnTo>
                  <a:lnTo>
                    <a:pt x="22626" y="94410"/>
                  </a:lnTo>
                  <a:lnTo>
                    <a:pt x="22727" y="94410"/>
                  </a:lnTo>
                  <a:lnTo>
                    <a:pt x="22727" y="93933"/>
                  </a:lnTo>
                  <a:lnTo>
                    <a:pt x="22727" y="93933"/>
                  </a:lnTo>
                  <a:lnTo>
                    <a:pt x="22727" y="93615"/>
                  </a:lnTo>
                  <a:lnTo>
                    <a:pt x="22626" y="93615"/>
                  </a:lnTo>
                  <a:lnTo>
                    <a:pt x="22525" y="93298"/>
                  </a:lnTo>
                  <a:lnTo>
                    <a:pt x="22525" y="93298"/>
                  </a:lnTo>
                  <a:lnTo>
                    <a:pt x="22525" y="92821"/>
                  </a:lnTo>
                  <a:lnTo>
                    <a:pt x="22525" y="92185"/>
                  </a:lnTo>
                  <a:lnTo>
                    <a:pt x="22525" y="91708"/>
                  </a:lnTo>
                  <a:lnTo>
                    <a:pt x="22626" y="91390"/>
                  </a:lnTo>
                  <a:lnTo>
                    <a:pt x="22727" y="90913"/>
                  </a:lnTo>
                  <a:lnTo>
                    <a:pt x="22727" y="90913"/>
                  </a:lnTo>
                  <a:lnTo>
                    <a:pt x="22727" y="90596"/>
                  </a:lnTo>
                  <a:lnTo>
                    <a:pt x="22727" y="90278"/>
                  </a:lnTo>
                  <a:lnTo>
                    <a:pt x="22727" y="90278"/>
                  </a:lnTo>
                  <a:lnTo>
                    <a:pt x="22727" y="90278"/>
                  </a:lnTo>
                  <a:lnTo>
                    <a:pt x="22878" y="89801"/>
                  </a:lnTo>
                  <a:lnTo>
                    <a:pt x="22878" y="89801"/>
                  </a:lnTo>
                  <a:lnTo>
                    <a:pt x="22979" y="89801"/>
                  </a:lnTo>
                  <a:lnTo>
                    <a:pt x="22979" y="89801"/>
                  </a:lnTo>
                  <a:lnTo>
                    <a:pt x="23232" y="90278"/>
                  </a:lnTo>
                  <a:lnTo>
                    <a:pt x="23333" y="90913"/>
                  </a:lnTo>
                  <a:lnTo>
                    <a:pt x="23484" y="91390"/>
                  </a:lnTo>
                  <a:lnTo>
                    <a:pt x="23585" y="91390"/>
                  </a:lnTo>
                  <a:lnTo>
                    <a:pt x="23686" y="91708"/>
                  </a:lnTo>
                  <a:lnTo>
                    <a:pt x="23686" y="91708"/>
                  </a:lnTo>
                  <a:lnTo>
                    <a:pt x="23838" y="91390"/>
                  </a:lnTo>
                  <a:lnTo>
                    <a:pt x="23939" y="91390"/>
                  </a:lnTo>
                  <a:lnTo>
                    <a:pt x="24040" y="91390"/>
                  </a:lnTo>
                  <a:lnTo>
                    <a:pt x="24040" y="90913"/>
                  </a:lnTo>
                  <a:lnTo>
                    <a:pt x="23939" y="90596"/>
                  </a:lnTo>
                  <a:lnTo>
                    <a:pt x="23939" y="90596"/>
                  </a:lnTo>
                  <a:lnTo>
                    <a:pt x="23939" y="90278"/>
                  </a:lnTo>
                  <a:lnTo>
                    <a:pt x="23838" y="89801"/>
                  </a:lnTo>
                  <a:lnTo>
                    <a:pt x="23838" y="89483"/>
                  </a:lnTo>
                  <a:lnTo>
                    <a:pt x="23686" y="89165"/>
                  </a:lnTo>
                  <a:lnTo>
                    <a:pt x="23686" y="89165"/>
                  </a:lnTo>
                  <a:lnTo>
                    <a:pt x="23838" y="89165"/>
                  </a:lnTo>
                  <a:lnTo>
                    <a:pt x="23838" y="89165"/>
                  </a:lnTo>
                  <a:lnTo>
                    <a:pt x="23939" y="89165"/>
                  </a:lnTo>
                  <a:lnTo>
                    <a:pt x="24040" y="88688"/>
                  </a:lnTo>
                  <a:lnTo>
                    <a:pt x="24292" y="88370"/>
                  </a:lnTo>
                  <a:lnTo>
                    <a:pt x="24292" y="88052"/>
                  </a:lnTo>
                  <a:lnTo>
                    <a:pt x="24292" y="87576"/>
                  </a:lnTo>
                  <a:lnTo>
                    <a:pt x="24292" y="87576"/>
                  </a:lnTo>
                  <a:lnTo>
                    <a:pt x="24393" y="87576"/>
                  </a:lnTo>
                  <a:lnTo>
                    <a:pt x="24545" y="87576"/>
                  </a:lnTo>
                  <a:lnTo>
                    <a:pt x="24646" y="87258"/>
                  </a:lnTo>
                  <a:lnTo>
                    <a:pt x="24797" y="87258"/>
                  </a:lnTo>
                  <a:lnTo>
                    <a:pt x="24898" y="86781"/>
                  </a:lnTo>
                  <a:lnTo>
                    <a:pt x="24898" y="86781"/>
                  </a:lnTo>
                  <a:lnTo>
                    <a:pt x="25000" y="86781"/>
                  </a:lnTo>
                  <a:lnTo>
                    <a:pt x="25000" y="86145"/>
                  </a:lnTo>
                  <a:lnTo>
                    <a:pt x="25151" y="86145"/>
                  </a:lnTo>
                  <a:lnTo>
                    <a:pt x="25252" y="85668"/>
                  </a:lnTo>
                  <a:lnTo>
                    <a:pt x="25252" y="85350"/>
                  </a:lnTo>
                  <a:lnTo>
                    <a:pt x="25252" y="85668"/>
                  </a:lnTo>
                  <a:lnTo>
                    <a:pt x="25353" y="85668"/>
                  </a:lnTo>
                  <a:lnTo>
                    <a:pt x="25505" y="85668"/>
                  </a:lnTo>
                  <a:lnTo>
                    <a:pt x="25606" y="86145"/>
                  </a:lnTo>
                  <a:lnTo>
                    <a:pt x="25707" y="86145"/>
                  </a:lnTo>
                  <a:lnTo>
                    <a:pt x="25707" y="86145"/>
                  </a:lnTo>
                  <a:lnTo>
                    <a:pt x="25707" y="86463"/>
                  </a:lnTo>
                  <a:lnTo>
                    <a:pt x="25707" y="86463"/>
                  </a:lnTo>
                  <a:lnTo>
                    <a:pt x="25858" y="86463"/>
                  </a:lnTo>
                  <a:lnTo>
                    <a:pt x="25959" y="86463"/>
                  </a:lnTo>
                  <a:lnTo>
                    <a:pt x="26060" y="86145"/>
                  </a:lnTo>
                  <a:lnTo>
                    <a:pt x="26212" y="85668"/>
                  </a:lnTo>
                  <a:lnTo>
                    <a:pt x="26313" y="85668"/>
                  </a:lnTo>
                  <a:lnTo>
                    <a:pt x="26464" y="85668"/>
                  </a:lnTo>
                  <a:lnTo>
                    <a:pt x="26565" y="86145"/>
                  </a:lnTo>
                  <a:lnTo>
                    <a:pt x="26666" y="86145"/>
                  </a:lnTo>
                  <a:lnTo>
                    <a:pt x="26666" y="86463"/>
                  </a:lnTo>
                  <a:lnTo>
                    <a:pt x="26818" y="86463"/>
                  </a:lnTo>
                  <a:lnTo>
                    <a:pt x="26818" y="86463"/>
                  </a:lnTo>
                  <a:lnTo>
                    <a:pt x="26818" y="86145"/>
                  </a:lnTo>
                  <a:lnTo>
                    <a:pt x="26818" y="86145"/>
                  </a:lnTo>
                  <a:lnTo>
                    <a:pt x="26919" y="86145"/>
                  </a:lnTo>
                  <a:lnTo>
                    <a:pt x="27020" y="86463"/>
                  </a:lnTo>
                  <a:lnTo>
                    <a:pt x="27171" y="86463"/>
                  </a:lnTo>
                  <a:lnTo>
                    <a:pt x="27272" y="86463"/>
                  </a:lnTo>
                  <a:lnTo>
                    <a:pt x="27272" y="86145"/>
                  </a:lnTo>
                  <a:lnTo>
                    <a:pt x="27373" y="86463"/>
                  </a:lnTo>
                  <a:lnTo>
                    <a:pt x="27373" y="86463"/>
                  </a:lnTo>
                  <a:lnTo>
                    <a:pt x="27525" y="86463"/>
                  </a:lnTo>
                  <a:lnTo>
                    <a:pt x="27626" y="87258"/>
                  </a:lnTo>
                  <a:lnTo>
                    <a:pt x="27727" y="87258"/>
                  </a:lnTo>
                  <a:lnTo>
                    <a:pt x="27878" y="87258"/>
                  </a:lnTo>
                  <a:lnTo>
                    <a:pt x="27979" y="87576"/>
                  </a:lnTo>
                  <a:lnTo>
                    <a:pt x="28131" y="87576"/>
                  </a:lnTo>
                  <a:lnTo>
                    <a:pt x="28131" y="88052"/>
                  </a:lnTo>
                  <a:lnTo>
                    <a:pt x="28232" y="88052"/>
                  </a:lnTo>
                  <a:lnTo>
                    <a:pt x="28333" y="88688"/>
                  </a:lnTo>
                  <a:lnTo>
                    <a:pt x="28484" y="89165"/>
                  </a:lnTo>
                  <a:lnTo>
                    <a:pt x="28484" y="89165"/>
                  </a:lnTo>
                  <a:lnTo>
                    <a:pt x="28585" y="89483"/>
                  </a:lnTo>
                  <a:lnTo>
                    <a:pt x="28585" y="89483"/>
                  </a:lnTo>
                  <a:lnTo>
                    <a:pt x="28585" y="89483"/>
                  </a:lnTo>
                  <a:lnTo>
                    <a:pt x="28585" y="89165"/>
                  </a:lnTo>
                  <a:lnTo>
                    <a:pt x="28585" y="89165"/>
                  </a:lnTo>
                  <a:lnTo>
                    <a:pt x="28585" y="88688"/>
                  </a:lnTo>
                  <a:lnTo>
                    <a:pt x="28484" y="88370"/>
                  </a:lnTo>
                  <a:lnTo>
                    <a:pt x="28484" y="88052"/>
                  </a:lnTo>
                  <a:lnTo>
                    <a:pt x="28484" y="88052"/>
                  </a:lnTo>
                  <a:lnTo>
                    <a:pt x="28484" y="88052"/>
                  </a:lnTo>
                  <a:lnTo>
                    <a:pt x="28484" y="88052"/>
                  </a:lnTo>
                  <a:lnTo>
                    <a:pt x="28585" y="88052"/>
                  </a:lnTo>
                  <a:lnTo>
                    <a:pt x="28686" y="88052"/>
                  </a:lnTo>
                  <a:lnTo>
                    <a:pt x="28838" y="88370"/>
                  </a:lnTo>
                  <a:lnTo>
                    <a:pt x="29040" y="88688"/>
                  </a:lnTo>
                  <a:lnTo>
                    <a:pt x="29191" y="89165"/>
                  </a:lnTo>
                  <a:lnTo>
                    <a:pt x="29292" y="89165"/>
                  </a:lnTo>
                  <a:lnTo>
                    <a:pt x="29393" y="89165"/>
                  </a:lnTo>
                  <a:lnTo>
                    <a:pt x="29545" y="89165"/>
                  </a:lnTo>
                  <a:lnTo>
                    <a:pt x="29646" y="89165"/>
                  </a:lnTo>
                  <a:lnTo>
                    <a:pt x="29797" y="88688"/>
                  </a:lnTo>
                  <a:lnTo>
                    <a:pt x="29797" y="88688"/>
                  </a:lnTo>
                  <a:lnTo>
                    <a:pt x="29797" y="88370"/>
                  </a:lnTo>
                  <a:lnTo>
                    <a:pt x="29898" y="88052"/>
                  </a:lnTo>
                  <a:lnTo>
                    <a:pt x="30000" y="88052"/>
                  </a:lnTo>
                  <a:lnTo>
                    <a:pt x="30000" y="88052"/>
                  </a:lnTo>
                  <a:lnTo>
                    <a:pt x="30151" y="88052"/>
                  </a:lnTo>
                  <a:lnTo>
                    <a:pt x="30252" y="87576"/>
                  </a:lnTo>
                  <a:lnTo>
                    <a:pt x="30252" y="87576"/>
                  </a:lnTo>
                  <a:lnTo>
                    <a:pt x="30353" y="87576"/>
                  </a:lnTo>
                  <a:lnTo>
                    <a:pt x="30606" y="87576"/>
                  </a:lnTo>
                  <a:lnTo>
                    <a:pt x="30707" y="88052"/>
                  </a:lnTo>
                  <a:lnTo>
                    <a:pt x="30858" y="88370"/>
                  </a:lnTo>
                  <a:lnTo>
                    <a:pt x="30858" y="88370"/>
                  </a:lnTo>
                  <a:lnTo>
                    <a:pt x="30959" y="88052"/>
                  </a:lnTo>
                  <a:lnTo>
                    <a:pt x="30959" y="88052"/>
                  </a:lnTo>
                  <a:lnTo>
                    <a:pt x="31060" y="87576"/>
                  </a:lnTo>
                  <a:lnTo>
                    <a:pt x="31060" y="87576"/>
                  </a:lnTo>
                  <a:lnTo>
                    <a:pt x="31060" y="87576"/>
                  </a:lnTo>
                  <a:lnTo>
                    <a:pt x="31212" y="87576"/>
                  </a:lnTo>
                  <a:lnTo>
                    <a:pt x="31313" y="87576"/>
                  </a:lnTo>
                  <a:lnTo>
                    <a:pt x="31313" y="87576"/>
                  </a:lnTo>
                  <a:lnTo>
                    <a:pt x="31565" y="87576"/>
                  </a:lnTo>
                  <a:lnTo>
                    <a:pt x="31666" y="88052"/>
                  </a:lnTo>
                  <a:lnTo>
                    <a:pt x="31818" y="88370"/>
                  </a:lnTo>
                  <a:lnTo>
                    <a:pt x="31919" y="88688"/>
                  </a:lnTo>
                  <a:lnTo>
                    <a:pt x="32020" y="88688"/>
                  </a:lnTo>
                  <a:lnTo>
                    <a:pt x="32171" y="88688"/>
                  </a:lnTo>
                  <a:lnTo>
                    <a:pt x="32171" y="89165"/>
                  </a:lnTo>
                  <a:lnTo>
                    <a:pt x="32272" y="89165"/>
                  </a:lnTo>
                  <a:lnTo>
                    <a:pt x="32525" y="89165"/>
                  </a:lnTo>
                  <a:lnTo>
                    <a:pt x="32525" y="89165"/>
                  </a:lnTo>
                  <a:lnTo>
                    <a:pt x="32626" y="89165"/>
                  </a:lnTo>
                  <a:lnTo>
                    <a:pt x="32626" y="89483"/>
                  </a:lnTo>
                  <a:lnTo>
                    <a:pt x="32626" y="89483"/>
                  </a:lnTo>
                  <a:lnTo>
                    <a:pt x="32727" y="89483"/>
                  </a:lnTo>
                  <a:lnTo>
                    <a:pt x="32878" y="89165"/>
                  </a:lnTo>
                  <a:lnTo>
                    <a:pt x="32878" y="88688"/>
                  </a:lnTo>
                  <a:lnTo>
                    <a:pt x="32878" y="88370"/>
                  </a:lnTo>
                  <a:lnTo>
                    <a:pt x="32878" y="88370"/>
                  </a:lnTo>
                  <a:lnTo>
                    <a:pt x="32979" y="88370"/>
                  </a:lnTo>
                  <a:lnTo>
                    <a:pt x="32979" y="88370"/>
                  </a:lnTo>
                  <a:lnTo>
                    <a:pt x="33080" y="88688"/>
                  </a:lnTo>
                  <a:lnTo>
                    <a:pt x="33080" y="88688"/>
                  </a:lnTo>
                  <a:lnTo>
                    <a:pt x="33232" y="88688"/>
                  </a:lnTo>
                  <a:lnTo>
                    <a:pt x="33333" y="89165"/>
                  </a:lnTo>
                  <a:lnTo>
                    <a:pt x="33484" y="89165"/>
                  </a:lnTo>
                  <a:lnTo>
                    <a:pt x="33686" y="88688"/>
                  </a:lnTo>
                  <a:lnTo>
                    <a:pt x="33939" y="88688"/>
                  </a:lnTo>
                  <a:lnTo>
                    <a:pt x="34040" y="88370"/>
                  </a:lnTo>
                  <a:lnTo>
                    <a:pt x="34040" y="88052"/>
                  </a:lnTo>
                  <a:lnTo>
                    <a:pt x="34040" y="87576"/>
                  </a:lnTo>
                  <a:lnTo>
                    <a:pt x="34040" y="87258"/>
                  </a:lnTo>
                  <a:lnTo>
                    <a:pt x="34040" y="86781"/>
                  </a:lnTo>
                  <a:lnTo>
                    <a:pt x="33838" y="86463"/>
                  </a:lnTo>
                  <a:lnTo>
                    <a:pt x="33838" y="86463"/>
                  </a:lnTo>
                  <a:lnTo>
                    <a:pt x="33484" y="86145"/>
                  </a:lnTo>
                  <a:lnTo>
                    <a:pt x="33484" y="86145"/>
                  </a:lnTo>
                  <a:lnTo>
                    <a:pt x="33484" y="86145"/>
                  </a:lnTo>
                  <a:lnTo>
                    <a:pt x="33232" y="85668"/>
                  </a:lnTo>
                  <a:lnTo>
                    <a:pt x="32979" y="85668"/>
                  </a:lnTo>
                  <a:lnTo>
                    <a:pt x="32979" y="85668"/>
                  </a:lnTo>
                  <a:lnTo>
                    <a:pt x="32979" y="85350"/>
                  </a:lnTo>
                  <a:lnTo>
                    <a:pt x="32878" y="85350"/>
                  </a:lnTo>
                  <a:lnTo>
                    <a:pt x="32626" y="85033"/>
                  </a:lnTo>
                  <a:lnTo>
                    <a:pt x="32626" y="85033"/>
                  </a:lnTo>
                  <a:lnTo>
                    <a:pt x="32626" y="84556"/>
                  </a:lnTo>
                  <a:lnTo>
                    <a:pt x="32727" y="84556"/>
                  </a:lnTo>
                  <a:lnTo>
                    <a:pt x="32878" y="84238"/>
                  </a:lnTo>
                  <a:lnTo>
                    <a:pt x="32878" y="84238"/>
                  </a:lnTo>
                  <a:lnTo>
                    <a:pt x="32979" y="84238"/>
                  </a:lnTo>
                  <a:lnTo>
                    <a:pt x="33080" y="83920"/>
                  </a:lnTo>
                  <a:lnTo>
                    <a:pt x="33232" y="83920"/>
                  </a:lnTo>
                  <a:lnTo>
                    <a:pt x="33232" y="83443"/>
                  </a:lnTo>
                  <a:lnTo>
                    <a:pt x="33232" y="83443"/>
                  </a:lnTo>
                  <a:lnTo>
                    <a:pt x="32979" y="82649"/>
                  </a:lnTo>
                  <a:lnTo>
                    <a:pt x="32979" y="82331"/>
                  </a:lnTo>
                  <a:lnTo>
                    <a:pt x="32979" y="82331"/>
                  </a:lnTo>
                  <a:lnTo>
                    <a:pt x="32979" y="82013"/>
                  </a:lnTo>
                  <a:lnTo>
                    <a:pt x="32979" y="82013"/>
                  </a:lnTo>
                  <a:lnTo>
                    <a:pt x="33080" y="81536"/>
                  </a:lnTo>
                  <a:lnTo>
                    <a:pt x="33080" y="81536"/>
                  </a:lnTo>
                  <a:lnTo>
                    <a:pt x="33232" y="81536"/>
                  </a:lnTo>
                  <a:lnTo>
                    <a:pt x="33333" y="81536"/>
                  </a:lnTo>
                  <a:lnTo>
                    <a:pt x="33484" y="81536"/>
                  </a:lnTo>
                  <a:lnTo>
                    <a:pt x="33585" y="81536"/>
                  </a:lnTo>
                  <a:lnTo>
                    <a:pt x="33838" y="81536"/>
                  </a:lnTo>
                  <a:lnTo>
                    <a:pt x="33838" y="81536"/>
                  </a:lnTo>
                  <a:lnTo>
                    <a:pt x="33939" y="81536"/>
                  </a:lnTo>
                  <a:lnTo>
                    <a:pt x="33939" y="81536"/>
                  </a:lnTo>
                  <a:lnTo>
                    <a:pt x="33939" y="81218"/>
                  </a:lnTo>
                  <a:lnTo>
                    <a:pt x="33838" y="81218"/>
                  </a:lnTo>
                  <a:lnTo>
                    <a:pt x="33585" y="80900"/>
                  </a:lnTo>
                  <a:lnTo>
                    <a:pt x="33484" y="80900"/>
                  </a:lnTo>
                  <a:lnTo>
                    <a:pt x="33484" y="80900"/>
                  </a:lnTo>
                  <a:lnTo>
                    <a:pt x="33333" y="80900"/>
                  </a:lnTo>
                  <a:lnTo>
                    <a:pt x="33232" y="80423"/>
                  </a:lnTo>
                  <a:lnTo>
                    <a:pt x="33080" y="80423"/>
                  </a:lnTo>
                  <a:lnTo>
                    <a:pt x="33080" y="80423"/>
                  </a:lnTo>
                  <a:lnTo>
                    <a:pt x="33080" y="80105"/>
                  </a:lnTo>
                  <a:lnTo>
                    <a:pt x="33080" y="80105"/>
                  </a:lnTo>
                  <a:lnTo>
                    <a:pt x="33080" y="80105"/>
                  </a:lnTo>
                  <a:lnTo>
                    <a:pt x="33232" y="80105"/>
                  </a:lnTo>
                  <a:lnTo>
                    <a:pt x="33333" y="79788"/>
                  </a:lnTo>
                  <a:lnTo>
                    <a:pt x="33333" y="79788"/>
                  </a:lnTo>
                  <a:lnTo>
                    <a:pt x="33333" y="79788"/>
                  </a:lnTo>
                  <a:lnTo>
                    <a:pt x="33232" y="79788"/>
                  </a:lnTo>
                  <a:lnTo>
                    <a:pt x="33232" y="79788"/>
                  </a:lnTo>
                  <a:lnTo>
                    <a:pt x="33232" y="79788"/>
                  </a:lnTo>
                  <a:lnTo>
                    <a:pt x="33080" y="79788"/>
                  </a:lnTo>
                  <a:lnTo>
                    <a:pt x="33080" y="79788"/>
                  </a:lnTo>
                  <a:lnTo>
                    <a:pt x="32979" y="79788"/>
                  </a:lnTo>
                  <a:lnTo>
                    <a:pt x="32878" y="79311"/>
                  </a:lnTo>
                  <a:lnTo>
                    <a:pt x="32878" y="79311"/>
                  </a:lnTo>
                  <a:lnTo>
                    <a:pt x="32878" y="79311"/>
                  </a:lnTo>
                  <a:lnTo>
                    <a:pt x="32878" y="78993"/>
                  </a:lnTo>
                  <a:lnTo>
                    <a:pt x="32878" y="78993"/>
                  </a:lnTo>
                  <a:lnTo>
                    <a:pt x="32878" y="78516"/>
                  </a:lnTo>
                  <a:lnTo>
                    <a:pt x="32878" y="78198"/>
                  </a:lnTo>
                  <a:lnTo>
                    <a:pt x="32878" y="78198"/>
                  </a:lnTo>
                  <a:lnTo>
                    <a:pt x="32979" y="78198"/>
                  </a:lnTo>
                  <a:lnTo>
                    <a:pt x="33232" y="78198"/>
                  </a:lnTo>
                  <a:lnTo>
                    <a:pt x="33484" y="78516"/>
                  </a:lnTo>
                  <a:lnTo>
                    <a:pt x="33484" y="78198"/>
                  </a:lnTo>
                  <a:lnTo>
                    <a:pt x="33585" y="78198"/>
                  </a:lnTo>
                  <a:lnTo>
                    <a:pt x="33585" y="78198"/>
                  </a:lnTo>
                  <a:lnTo>
                    <a:pt x="33939" y="78198"/>
                  </a:lnTo>
                  <a:lnTo>
                    <a:pt x="33939" y="78198"/>
                  </a:lnTo>
                  <a:lnTo>
                    <a:pt x="33939" y="78198"/>
                  </a:lnTo>
                  <a:lnTo>
                    <a:pt x="34292" y="77880"/>
                  </a:lnTo>
                  <a:lnTo>
                    <a:pt x="34393" y="77880"/>
                  </a:lnTo>
                  <a:lnTo>
                    <a:pt x="34393" y="77880"/>
                  </a:lnTo>
                  <a:lnTo>
                    <a:pt x="34545" y="77880"/>
                  </a:lnTo>
                  <a:lnTo>
                    <a:pt x="34545" y="77880"/>
                  </a:lnTo>
                  <a:lnTo>
                    <a:pt x="34646" y="77403"/>
                  </a:lnTo>
                  <a:lnTo>
                    <a:pt x="34747" y="77403"/>
                  </a:lnTo>
                  <a:lnTo>
                    <a:pt x="34747" y="77403"/>
                  </a:lnTo>
                  <a:lnTo>
                    <a:pt x="34898" y="77403"/>
                  </a:lnTo>
                  <a:lnTo>
                    <a:pt x="35000" y="77403"/>
                  </a:lnTo>
                  <a:lnTo>
                    <a:pt x="35000" y="77403"/>
                  </a:lnTo>
                  <a:lnTo>
                    <a:pt x="35000" y="77403"/>
                  </a:lnTo>
                  <a:lnTo>
                    <a:pt x="35151" y="77086"/>
                  </a:lnTo>
                  <a:lnTo>
                    <a:pt x="35353" y="77086"/>
                  </a:lnTo>
                  <a:lnTo>
                    <a:pt x="35353" y="77086"/>
                  </a:lnTo>
                  <a:lnTo>
                    <a:pt x="35505" y="77086"/>
                  </a:lnTo>
                  <a:lnTo>
                    <a:pt x="35606" y="77086"/>
                  </a:lnTo>
                  <a:lnTo>
                    <a:pt x="35707" y="77086"/>
                  </a:lnTo>
                  <a:lnTo>
                    <a:pt x="35707" y="77086"/>
                  </a:lnTo>
                  <a:lnTo>
                    <a:pt x="35858" y="77086"/>
                  </a:lnTo>
                  <a:lnTo>
                    <a:pt x="35858" y="77086"/>
                  </a:lnTo>
                  <a:lnTo>
                    <a:pt x="35858" y="76768"/>
                  </a:lnTo>
                  <a:lnTo>
                    <a:pt x="35858" y="76768"/>
                  </a:lnTo>
                  <a:lnTo>
                    <a:pt x="35959" y="76291"/>
                  </a:lnTo>
                  <a:lnTo>
                    <a:pt x="35959" y="76291"/>
                  </a:lnTo>
                  <a:lnTo>
                    <a:pt x="36060" y="76291"/>
                  </a:lnTo>
                  <a:lnTo>
                    <a:pt x="36060" y="76291"/>
                  </a:lnTo>
                  <a:lnTo>
                    <a:pt x="36212" y="76291"/>
                  </a:lnTo>
                  <a:lnTo>
                    <a:pt x="36313" y="75973"/>
                  </a:lnTo>
                  <a:lnTo>
                    <a:pt x="36414" y="76291"/>
                  </a:lnTo>
                  <a:lnTo>
                    <a:pt x="36565" y="75973"/>
                  </a:lnTo>
                  <a:lnTo>
                    <a:pt x="36919" y="75973"/>
                  </a:lnTo>
                  <a:lnTo>
                    <a:pt x="37020" y="75973"/>
                  </a:lnTo>
                  <a:lnTo>
                    <a:pt x="37272" y="75655"/>
                  </a:lnTo>
                  <a:lnTo>
                    <a:pt x="37373" y="75655"/>
                  </a:lnTo>
                  <a:lnTo>
                    <a:pt x="37525" y="75655"/>
                  </a:lnTo>
                  <a:lnTo>
                    <a:pt x="37727" y="75655"/>
                  </a:lnTo>
                  <a:lnTo>
                    <a:pt x="37727" y="75178"/>
                  </a:lnTo>
                  <a:lnTo>
                    <a:pt x="37878" y="75178"/>
                  </a:lnTo>
                  <a:lnTo>
                    <a:pt x="37979" y="75178"/>
                  </a:lnTo>
                  <a:lnTo>
                    <a:pt x="37979" y="75178"/>
                  </a:lnTo>
                  <a:lnTo>
                    <a:pt x="38080" y="75178"/>
                  </a:lnTo>
                  <a:lnTo>
                    <a:pt x="38080" y="74860"/>
                  </a:lnTo>
                  <a:lnTo>
                    <a:pt x="37979" y="74860"/>
                  </a:lnTo>
                  <a:lnTo>
                    <a:pt x="37979" y="74384"/>
                  </a:lnTo>
                  <a:lnTo>
                    <a:pt x="38080" y="74384"/>
                  </a:lnTo>
                  <a:lnTo>
                    <a:pt x="38080" y="74384"/>
                  </a:lnTo>
                  <a:lnTo>
                    <a:pt x="38232" y="74384"/>
                  </a:lnTo>
                  <a:lnTo>
                    <a:pt x="38333" y="74066"/>
                  </a:lnTo>
                  <a:lnTo>
                    <a:pt x="38484" y="74066"/>
                  </a:lnTo>
                  <a:lnTo>
                    <a:pt x="38484" y="73748"/>
                  </a:lnTo>
                  <a:lnTo>
                    <a:pt x="38686" y="74066"/>
                  </a:lnTo>
                  <a:lnTo>
                    <a:pt x="38939" y="74066"/>
                  </a:lnTo>
                  <a:lnTo>
                    <a:pt x="39191" y="74066"/>
                  </a:lnTo>
                  <a:lnTo>
                    <a:pt x="39292" y="74384"/>
                  </a:lnTo>
                  <a:lnTo>
                    <a:pt x="39393" y="74384"/>
                  </a:lnTo>
                  <a:lnTo>
                    <a:pt x="39393" y="74384"/>
                  </a:lnTo>
                  <a:lnTo>
                    <a:pt x="39545" y="74384"/>
                  </a:lnTo>
                  <a:lnTo>
                    <a:pt x="39646" y="74384"/>
                  </a:lnTo>
                  <a:lnTo>
                    <a:pt x="39646" y="74384"/>
                  </a:lnTo>
                  <a:lnTo>
                    <a:pt x="39646" y="74384"/>
                  </a:lnTo>
                  <a:lnTo>
                    <a:pt x="39747" y="74066"/>
                  </a:lnTo>
                  <a:lnTo>
                    <a:pt x="39898" y="74066"/>
                  </a:lnTo>
                  <a:lnTo>
                    <a:pt x="40000" y="74066"/>
                  </a:lnTo>
                  <a:lnTo>
                    <a:pt x="40151" y="74860"/>
                  </a:lnTo>
                  <a:lnTo>
                    <a:pt x="40252" y="75178"/>
                  </a:lnTo>
                  <a:lnTo>
                    <a:pt x="40505" y="75973"/>
                  </a:lnTo>
                  <a:lnTo>
                    <a:pt x="40606" y="76291"/>
                  </a:lnTo>
                  <a:lnTo>
                    <a:pt x="40606" y="76768"/>
                  </a:lnTo>
                  <a:lnTo>
                    <a:pt x="40606" y="76768"/>
                  </a:lnTo>
                  <a:lnTo>
                    <a:pt x="40606" y="77086"/>
                  </a:lnTo>
                  <a:lnTo>
                    <a:pt x="40606" y="77403"/>
                  </a:lnTo>
                  <a:lnTo>
                    <a:pt x="40606" y="77403"/>
                  </a:lnTo>
                  <a:lnTo>
                    <a:pt x="40858" y="77880"/>
                  </a:lnTo>
                  <a:lnTo>
                    <a:pt x="41060" y="77880"/>
                  </a:lnTo>
                  <a:lnTo>
                    <a:pt x="41212" y="77403"/>
                  </a:lnTo>
                  <a:lnTo>
                    <a:pt x="41313" y="77403"/>
                  </a:lnTo>
                  <a:lnTo>
                    <a:pt x="41414" y="77403"/>
                  </a:lnTo>
                  <a:lnTo>
                    <a:pt x="41414" y="77086"/>
                  </a:lnTo>
                  <a:lnTo>
                    <a:pt x="41414" y="77086"/>
                  </a:lnTo>
                  <a:lnTo>
                    <a:pt x="41565" y="77403"/>
                  </a:lnTo>
                  <a:lnTo>
                    <a:pt x="41565" y="77880"/>
                  </a:lnTo>
                  <a:lnTo>
                    <a:pt x="41666" y="77880"/>
                  </a:lnTo>
                  <a:lnTo>
                    <a:pt x="41666" y="78198"/>
                  </a:lnTo>
                  <a:lnTo>
                    <a:pt x="41818" y="78198"/>
                  </a:lnTo>
                  <a:lnTo>
                    <a:pt x="41818" y="78516"/>
                  </a:lnTo>
                  <a:lnTo>
                    <a:pt x="41818" y="78198"/>
                  </a:lnTo>
                  <a:lnTo>
                    <a:pt x="41919" y="78198"/>
                  </a:lnTo>
                  <a:lnTo>
                    <a:pt x="41919" y="78198"/>
                  </a:lnTo>
                  <a:lnTo>
                    <a:pt x="41919" y="78198"/>
                  </a:lnTo>
                  <a:lnTo>
                    <a:pt x="41818" y="77880"/>
                  </a:lnTo>
                  <a:lnTo>
                    <a:pt x="41818" y="77880"/>
                  </a:lnTo>
                  <a:lnTo>
                    <a:pt x="41919" y="77880"/>
                  </a:lnTo>
                  <a:lnTo>
                    <a:pt x="41919" y="77880"/>
                  </a:lnTo>
                  <a:lnTo>
                    <a:pt x="42171" y="77880"/>
                  </a:lnTo>
                  <a:lnTo>
                    <a:pt x="42272" y="78198"/>
                  </a:lnTo>
                  <a:lnTo>
                    <a:pt x="42373" y="78198"/>
                  </a:lnTo>
                  <a:lnTo>
                    <a:pt x="42373" y="78198"/>
                  </a:lnTo>
                  <a:lnTo>
                    <a:pt x="42525" y="78198"/>
                  </a:lnTo>
                  <a:lnTo>
                    <a:pt x="42626" y="78198"/>
                  </a:lnTo>
                  <a:lnTo>
                    <a:pt x="42626" y="78198"/>
                  </a:lnTo>
                  <a:lnTo>
                    <a:pt x="42626" y="78198"/>
                  </a:lnTo>
                  <a:lnTo>
                    <a:pt x="42727" y="78198"/>
                  </a:lnTo>
                  <a:lnTo>
                    <a:pt x="42727" y="78198"/>
                  </a:lnTo>
                  <a:lnTo>
                    <a:pt x="42727" y="78198"/>
                  </a:lnTo>
                  <a:lnTo>
                    <a:pt x="42727" y="78516"/>
                  </a:lnTo>
                  <a:lnTo>
                    <a:pt x="42727" y="78516"/>
                  </a:lnTo>
                  <a:lnTo>
                    <a:pt x="42626" y="78993"/>
                  </a:lnTo>
                  <a:lnTo>
                    <a:pt x="42626" y="79311"/>
                  </a:lnTo>
                  <a:lnTo>
                    <a:pt x="42626" y="79311"/>
                  </a:lnTo>
                  <a:lnTo>
                    <a:pt x="42626" y="79788"/>
                  </a:lnTo>
                  <a:lnTo>
                    <a:pt x="42727" y="79788"/>
                  </a:lnTo>
                  <a:lnTo>
                    <a:pt x="42727" y="80105"/>
                  </a:lnTo>
                  <a:lnTo>
                    <a:pt x="42727" y="80105"/>
                  </a:lnTo>
                  <a:lnTo>
                    <a:pt x="42727" y="80105"/>
                  </a:lnTo>
                  <a:lnTo>
                    <a:pt x="42878" y="79788"/>
                  </a:lnTo>
                  <a:lnTo>
                    <a:pt x="42979" y="79311"/>
                  </a:lnTo>
                  <a:lnTo>
                    <a:pt x="43080" y="79311"/>
                  </a:lnTo>
                  <a:lnTo>
                    <a:pt x="43232" y="79311"/>
                  </a:lnTo>
                  <a:lnTo>
                    <a:pt x="43333" y="79788"/>
                  </a:lnTo>
                  <a:lnTo>
                    <a:pt x="43484" y="79788"/>
                  </a:lnTo>
                  <a:lnTo>
                    <a:pt x="43484" y="79788"/>
                  </a:lnTo>
                  <a:lnTo>
                    <a:pt x="43585" y="79788"/>
                  </a:lnTo>
                  <a:lnTo>
                    <a:pt x="43585" y="79788"/>
                  </a:lnTo>
                  <a:lnTo>
                    <a:pt x="43484" y="79311"/>
                  </a:lnTo>
                  <a:lnTo>
                    <a:pt x="43484" y="79311"/>
                  </a:lnTo>
                  <a:lnTo>
                    <a:pt x="43686" y="78993"/>
                  </a:lnTo>
                  <a:lnTo>
                    <a:pt x="43686" y="78993"/>
                  </a:lnTo>
                  <a:lnTo>
                    <a:pt x="43838" y="78516"/>
                  </a:lnTo>
                  <a:lnTo>
                    <a:pt x="43838" y="78993"/>
                  </a:lnTo>
                  <a:lnTo>
                    <a:pt x="43939" y="78993"/>
                  </a:lnTo>
                  <a:lnTo>
                    <a:pt x="44040" y="78516"/>
                  </a:lnTo>
                  <a:lnTo>
                    <a:pt x="44040" y="78198"/>
                  </a:lnTo>
                  <a:lnTo>
                    <a:pt x="44040" y="78198"/>
                  </a:lnTo>
                  <a:lnTo>
                    <a:pt x="44040" y="78198"/>
                  </a:lnTo>
                  <a:lnTo>
                    <a:pt x="44040" y="77880"/>
                  </a:lnTo>
                  <a:lnTo>
                    <a:pt x="44292" y="77880"/>
                  </a:lnTo>
                  <a:lnTo>
                    <a:pt x="44292" y="77880"/>
                  </a:lnTo>
                  <a:lnTo>
                    <a:pt x="44393" y="77880"/>
                  </a:lnTo>
                  <a:lnTo>
                    <a:pt x="44545" y="77403"/>
                  </a:lnTo>
                  <a:lnTo>
                    <a:pt x="44646" y="77086"/>
                  </a:lnTo>
                  <a:lnTo>
                    <a:pt x="44898" y="77086"/>
                  </a:lnTo>
                  <a:lnTo>
                    <a:pt x="44898" y="77086"/>
                  </a:lnTo>
                  <a:lnTo>
                    <a:pt x="44898" y="77086"/>
                  </a:lnTo>
                  <a:lnTo>
                    <a:pt x="45000" y="76768"/>
                  </a:lnTo>
                  <a:lnTo>
                    <a:pt x="45000" y="76768"/>
                  </a:lnTo>
                  <a:lnTo>
                    <a:pt x="45151" y="77086"/>
                  </a:lnTo>
                  <a:lnTo>
                    <a:pt x="45000" y="77880"/>
                  </a:lnTo>
                  <a:lnTo>
                    <a:pt x="45000" y="77880"/>
                  </a:lnTo>
                  <a:lnTo>
                    <a:pt x="44898" y="77880"/>
                  </a:lnTo>
                  <a:lnTo>
                    <a:pt x="44898" y="77880"/>
                  </a:lnTo>
                  <a:lnTo>
                    <a:pt x="44898" y="78198"/>
                  </a:lnTo>
                  <a:lnTo>
                    <a:pt x="45000" y="78198"/>
                  </a:lnTo>
                  <a:lnTo>
                    <a:pt x="45000" y="78198"/>
                  </a:lnTo>
                  <a:lnTo>
                    <a:pt x="45000" y="78516"/>
                  </a:lnTo>
                  <a:lnTo>
                    <a:pt x="45353" y="78993"/>
                  </a:lnTo>
                  <a:lnTo>
                    <a:pt x="45606" y="79311"/>
                  </a:lnTo>
                  <a:lnTo>
                    <a:pt x="45959" y="79788"/>
                  </a:lnTo>
                  <a:lnTo>
                    <a:pt x="46212" y="80105"/>
                  </a:lnTo>
                  <a:lnTo>
                    <a:pt x="46313" y="80423"/>
                  </a:lnTo>
                  <a:lnTo>
                    <a:pt x="46313" y="80423"/>
                  </a:lnTo>
                  <a:lnTo>
                    <a:pt x="46565" y="81218"/>
                  </a:lnTo>
                  <a:lnTo>
                    <a:pt x="46818" y="81536"/>
                  </a:lnTo>
                  <a:lnTo>
                    <a:pt x="47171" y="82649"/>
                  </a:lnTo>
                  <a:lnTo>
                    <a:pt x="47373" y="83443"/>
                  </a:lnTo>
                  <a:lnTo>
                    <a:pt x="47727" y="84556"/>
                  </a:lnTo>
                  <a:lnTo>
                    <a:pt x="47979" y="85033"/>
                  </a:lnTo>
                  <a:lnTo>
                    <a:pt x="48333" y="86145"/>
                  </a:lnTo>
                  <a:lnTo>
                    <a:pt x="48484" y="86463"/>
                  </a:lnTo>
                  <a:lnTo>
                    <a:pt x="48686" y="87258"/>
                  </a:lnTo>
                  <a:lnTo>
                    <a:pt x="48939" y="88052"/>
                  </a:lnTo>
                  <a:lnTo>
                    <a:pt x="49040" y="88688"/>
                  </a:lnTo>
                  <a:lnTo>
                    <a:pt x="49191" y="88688"/>
                  </a:lnTo>
                  <a:lnTo>
                    <a:pt x="49191" y="88370"/>
                  </a:lnTo>
                  <a:lnTo>
                    <a:pt x="49191" y="88370"/>
                  </a:lnTo>
                  <a:lnTo>
                    <a:pt x="49191" y="88370"/>
                  </a:lnTo>
                  <a:lnTo>
                    <a:pt x="49292" y="88052"/>
                  </a:lnTo>
                  <a:lnTo>
                    <a:pt x="49292" y="88052"/>
                  </a:lnTo>
                  <a:lnTo>
                    <a:pt x="49292" y="88052"/>
                  </a:lnTo>
                  <a:lnTo>
                    <a:pt x="49393" y="88052"/>
                  </a:lnTo>
                  <a:lnTo>
                    <a:pt x="49393" y="88052"/>
                  </a:lnTo>
                  <a:lnTo>
                    <a:pt x="49292" y="87576"/>
                  </a:lnTo>
                  <a:lnTo>
                    <a:pt x="49292" y="87576"/>
                  </a:lnTo>
                  <a:lnTo>
                    <a:pt x="49292" y="87258"/>
                  </a:lnTo>
                  <a:lnTo>
                    <a:pt x="49292" y="87258"/>
                  </a:lnTo>
                  <a:lnTo>
                    <a:pt x="49393" y="87258"/>
                  </a:lnTo>
                  <a:lnTo>
                    <a:pt x="49393" y="87258"/>
                  </a:lnTo>
                  <a:lnTo>
                    <a:pt x="49393" y="86781"/>
                  </a:lnTo>
                  <a:lnTo>
                    <a:pt x="49545" y="86781"/>
                  </a:lnTo>
                  <a:lnTo>
                    <a:pt x="49545" y="86781"/>
                  </a:lnTo>
                  <a:lnTo>
                    <a:pt x="49646" y="86781"/>
                  </a:lnTo>
                  <a:lnTo>
                    <a:pt x="49646" y="87258"/>
                  </a:lnTo>
                  <a:lnTo>
                    <a:pt x="49747" y="87258"/>
                  </a:lnTo>
                  <a:lnTo>
                    <a:pt x="49747" y="87258"/>
                  </a:lnTo>
                  <a:lnTo>
                    <a:pt x="49898" y="87258"/>
                  </a:lnTo>
                  <a:lnTo>
                    <a:pt x="49898" y="87258"/>
                  </a:lnTo>
                  <a:lnTo>
                    <a:pt x="49898" y="87576"/>
                  </a:lnTo>
                  <a:lnTo>
                    <a:pt x="49898" y="88052"/>
                  </a:lnTo>
                  <a:lnTo>
                    <a:pt x="49898" y="88052"/>
                  </a:lnTo>
                  <a:lnTo>
                    <a:pt x="50000" y="88052"/>
                  </a:lnTo>
                  <a:lnTo>
                    <a:pt x="50151" y="88052"/>
                  </a:lnTo>
                  <a:lnTo>
                    <a:pt x="50151" y="88052"/>
                  </a:lnTo>
                  <a:lnTo>
                    <a:pt x="50252" y="88052"/>
                  </a:lnTo>
                  <a:lnTo>
                    <a:pt x="50252" y="88370"/>
                  </a:lnTo>
                  <a:lnTo>
                    <a:pt x="50252" y="88370"/>
                  </a:lnTo>
                  <a:lnTo>
                    <a:pt x="50252" y="88688"/>
                  </a:lnTo>
                  <a:lnTo>
                    <a:pt x="50353" y="88688"/>
                  </a:lnTo>
                  <a:lnTo>
                    <a:pt x="50505" y="88688"/>
                  </a:lnTo>
                  <a:lnTo>
                    <a:pt x="50606" y="88688"/>
                  </a:lnTo>
                  <a:lnTo>
                    <a:pt x="50707" y="88688"/>
                  </a:lnTo>
                  <a:lnTo>
                    <a:pt x="50858" y="88688"/>
                  </a:lnTo>
                  <a:lnTo>
                    <a:pt x="50959" y="88688"/>
                  </a:lnTo>
                  <a:lnTo>
                    <a:pt x="50959" y="88688"/>
                  </a:lnTo>
                  <a:lnTo>
                    <a:pt x="51212" y="88688"/>
                  </a:lnTo>
                  <a:lnTo>
                    <a:pt x="51212" y="88688"/>
                  </a:lnTo>
                  <a:lnTo>
                    <a:pt x="51313" y="88370"/>
                  </a:lnTo>
                  <a:lnTo>
                    <a:pt x="51313" y="88370"/>
                  </a:lnTo>
                  <a:lnTo>
                    <a:pt x="51313" y="88370"/>
                  </a:lnTo>
                  <a:lnTo>
                    <a:pt x="51414" y="88370"/>
                  </a:lnTo>
                  <a:lnTo>
                    <a:pt x="51565" y="88370"/>
                  </a:lnTo>
                  <a:lnTo>
                    <a:pt x="51565" y="88052"/>
                  </a:lnTo>
                  <a:lnTo>
                    <a:pt x="51565" y="88052"/>
                  </a:lnTo>
                  <a:lnTo>
                    <a:pt x="51666" y="88052"/>
                  </a:lnTo>
                  <a:lnTo>
                    <a:pt x="51818" y="88052"/>
                  </a:lnTo>
                  <a:lnTo>
                    <a:pt x="51919" y="88052"/>
                  </a:lnTo>
                  <a:lnTo>
                    <a:pt x="52020" y="88370"/>
                  </a:lnTo>
                  <a:lnTo>
                    <a:pt x="52272" y="88370"/>
                  </a:lnTo>
                  <a:lnTo>
                    <a:pt x="52272" y="88688"/>
                  </a:lnTo>
                  <a:lnTo>
                    <a:pt x="52373" y="88688"/>
                  </a:lnTo>
                  <a:lnTo>
                    <a:pt x="52525" y="89165"/>
                  </a:lnTo>
                  <a:lnTo>
                    <a:pt x="52626" y="89483"/>
                  </a:lnTo>
                  <a:lnTo>
                    <a:pt x="52626" y="89801"/>
                  </a:lnTo>
                  <a:lnTo>
                    <a:pt x="52727" y="90278"/>
                  </a:lnTo>
                  <a:lnTo>
                    <a:pt x="52878" y="90278"/>
                  </a:lnTo>
                  <a:lnTo>
                    <a:pt x="52878" y="90278"/>
                  </a:lnTo>
                  <a:lnTo>
                    <a:pt x="52979" y="90278"/>
                  </a:lnTo>
                  <a:lnTo>
                    <a:pt x="53080" y="90596"/>
                  </a:lnTo>
                  <a:lnTo>
                    <a:pt x="53333" y="90913"/>
                  </a:lnTo>
                  <a:lnTo>
                    <a:pt x="53484" y="90913"/>
                  </a:lnTo>
                  <a:lnTo>
                    <a:pt x="53484" y="90913"/>
                  </a:lnTo>
                  <a:lnTo>
                    <a:pt x="53484" y="90913"/>
                  </a:lnTo>
                  <a:lnTo>
                    <a:pt x="53484" y="91390"/>
                  </a:lnTo>
                  <a:lnTo>
                    <a:pt x="53585" y="91390"/>
                  </a:lnTo>
                  <a:lnTo>
                    <a:pt x="53686" y="91708"/>
                  </a:lnTo>
                  <a:lnTo>
                    <a:pt x="53686" y="92185"/>
                  </a:lnTo>
                  <a:lnTo>
                    <a:pt x="53838" y="92185"/>
                  </a:lnTo>
                  <a:lnTo>
                    <a:pt x="53838" y="92503"/>
                  </a:lnTo>
                  <a:lnTo>
                    <a:pt x="53939" y="92503"/>
                  </a:lnTo>
                  <a:lnTo>
                    <a:pt x="53939" y="92503"/>
                  </a:lnTo>
                  <a:lnTo>
                    <a:pt x="54040" y="92503"/>
                  </a:lnTo>
                  <a:lnTo>
                    <a:pt x="54393" y="92503"/>
                  </a:lnTo>
                  <a:lnTo>
                    <a:pt x="54393" y="92503"/>
                  </a:lnTo>
                  <a:lnTo>
                    <a:pt x="54545" y="92821"/>
                  </a:lnTo>
                  <a:lnTo>
                    <a:pt x="54545" y="92821"/>
                  </a:lnTo>
                  <a:lnTo>
                    <a:pt x="54646" y="92821"/>
                  </a:lnTo>
                  <a:lnTo>
                    <a:pt x="54646" y="92821"/>
                  </a:lnTo>
                  <a:lnTo>
                    <a:pt x="54747" y="92503"/>
                  </a:lnTo>
                  <a:lnTo>
                    <a:pt x="54747" y="92503"/>
                  </a:lnTo>
                  <a:lnTo>
                    <a:pt x="54747" y="92185"/>
                  </a:lnTo>
                  <a:lnTo>
                    <a:pt x="54898" y="92185"/>
                  </a:lnTo>
                  <a:lnTo>
                    <a:pt x="54898" y="91708"/>
                  </a:lnTo>
                  <a:lnTo>
                    <a:pt x="55000" y="91708"/>
                  </a:lnTo>
                  <a:lnTo>
                    <a:pt x="55000" y="92185"/>
                  </a:lnTo>
                  <a:lnTo>
                    <a:pt x="55000" y="92185"/>
                  </a:lnTo>
                  <a:lnTo>
                    <a:pt x="55000" y="92185"/>
                  </a:lnTo>
                  <a:lnTo>
                    <a:pt x="55000" y="92503"/>
                  </a:lnTo>
                  <a:lnTo>
                    <a:pt x="55000" y="92503"/>
                  </a:lnTo>
                  <a:lnTo>
                    <a:pt x="55151" y="92503"/>
                  </a:lnTo>
                  <a:lnTo>
                    <a:pt x="55252" y="92821"/>
                  </a:lnTo>
                  <a:lnTo>
                    <a:pt x="55353" y="93298"/>
                  </a:lnTo>
                  <a:lnTo>
                    <a:pt x="55505" y="93615"/>
                  </a:lnTo>
                  <a:lnTo>
                    <a:pt x="55505" y="93615"/>
                  </a:lnTo>
                  <a:lnTo>
                    <a:pt x="55606" y="93615"/>
                  </a:lnTo>
                  <a:lnTo>
                    <a:pt x="55707" y="93615"/>
                  </a:lnTo>
                  <a:lnTo>
                    <a:pt x="55707" y="93933"/>
                  </a:lnTo>
                  <a:lnTo>
                    <a:pt x="55858" y="93933"/>
                  </a:lnTo>
                  <a:lnTo>
                    <a:pt x="55858" y="93933"/>
                  </a:lnTo>
                  <a:lnTo>
                    <a:pt x="55959" y="93933"/>
                  </a:lnTo>
                  <a:lnTo>
                    <a:pt x="55959" y="93933"/>
                  </a:lnTo>
                  <a:lnTo>
                    <a:pt x="55959" y="93933"/>
                  </a:lnTo>
                  <a:lnTo>
                    <a:pt x="56060" y="93933"/>
                  </a:lnTo>
                  <a:lnTo>
                    <a:pt x="56060" y="93933"/>
                  </a:lnTo>
                  <a:lnTo>
                    <a:pt x="56212" y="93933"/>
                  </a:lnTo>
                  <a:lnTo>
                    <a:pt x="56212" y="93933"/>
                  </a:lnTo>
                  <a:lnTo>
                    <a:pt x="56313" y="93933"/>
                  </a:lnTo>
                  <a:lnTo>
                    <a:pt x="56313" y="93615"/>
                  </a:lnTo>
                  <a:lnTo>
                    <a:pt x="56313" y="93615"/>
                  </a:lnTo>
                  <a:lnTo>
                    <a:pt x="56313" y="93615"/>
                  </a:lnTo>
                  <a:lnTo>
                    <a:pt x="56313" y="93298"/>
                  </a:lnTo>
                  <a:lnTo>
                    <a:pt x="56313" y="93298"/>
                  </a:lnTo>
                  <a:lnTo>
                    <a:pt x="56313" y="92821"/>
                  </a:lnTo>
                  <a:lnTo>
                    <a:pt x="56414" y="92821"/>
                  </a:lnTo>
                  <a:lnTo>
                    <a:pt x="56565" y="92821"/>
                  </a:lnTo>
                  <a:lnTo>
                    <a:pt x="56565" y="92821"/>
                  </a:lnTo>
                  <a:lnTo>
                    <a:pt x="56666" y="92821"/>
                  </a:lnTo>
                  <a:lnTo>
                    <a:pt x="56666" y="92821"/>
                  </a:lnTo>
                  <a:lnTo>
                    <a:pt x="56818" y="92821"/>
                  </a:lnTo>
                  <a:lnTo>
                    <a:pt x="56818" y="92821"/>
                  </a:lnTo>
                  <a:lnTo>
                    <a:pt x="56919" y="92821"/>
                  </a:lnTo>
                  <a:lnTo>
                    <a:pt x="56919" y="92821"/>
                  </a:lnTo>
                  <a:lnTo>
                    <a:pt x="56919" y="92503"/>
                  </a:lnTo>
                  <a:lnTo>
                    <a:pt x="56919" y="92503"/>
                  </a:lnTo>
                  <a:lnTo>
                    <a:pt x="56919" y="92821"/>
                  </a:lnTo>
                  <a:lnTo>
                    <a:pt x="56919" y="92821"/>
                  </a:lnTo>
                  <a:lnTo>
                    <a:pt x="57020" y="92821"/>
                  </a:lnTo>
                  <a:lnTo>
                    <a:pt x="57020" y="92821"/>
                  </a:lnTo>
                  <a:lnTo>
                    <a:pt x="57171" y="92503"/>
                  </a:lnTo>
                  <a:lnTo>
                    <a:pt x="57171" y="92503"/>
                  </a:lnTo>
                  <a:lnTo>
                    <a:pt x="57171" y="92503"/>
                  </a:lnTo>
                  <a:lnTo>
                    <a:pt x="57171" y="92503"/>
                  </a:lnTo>
                  <a:lnTo>
                    <a:pt x="57272" y="92503"/>
                  </a:lnTo>
                  <a:lnTo>
                    <a:pt x="57272" y="92185"/>
                  </a:lnTo>
                  <a:lnTo>
                    <a:pt x="57373" y="92185"/>
                  </a:lnTo>
                  <a:lnTo>
                    <a:pt x="57373" y="92185"/>
                  </a:lnTo>
                  <a:lnTo>
                    <a:pt x="57373" y="92185"/>
                  </a:lnTo>
                  <a:lnTo>
                    <a:pt x="57373" y="91708"/>
                  </a:lnTo>
                  <a:lnTo>
                    <a:pt x="57373" y="91390"/>
                  </a:lnTo>
                  <a:lnTo>
                    <a:pt x="57373" y="91390"/>
                  </a:lnTo>
                  <a:lnTo>
                    <a:pt x="57525" y="91390"/>
                  </a:lnTo>
                  <a:lnTo>
                    <a:pt x="57626" y="90913"/>
                  </a:lnTo>
                  <a:lnTo>
                    <a:pt x="57525" y="90913"/>
                  </a:lnTo>
                  <a:lnTo>
                    <a:pt x="57626" y="90913"/>
                  </a:lnTo>
                  <a:lnTo>
                    <a:pt x="57626" y="90596"/>
                  </a:lnTo>
                  <a:lnTo>
                    <a:pt x="57727" y="90596"/>
                  </a:lnTo>
                  <a:lnTo>
                    <a:pt x="57727" y="90596"/>
                  </a:lnTo>
                  <a:lnTo>
                    <a:pt x="57727" y="90596"/>
                  </a:lnTo>
                  <a:lnTo>
                    <a:pt x="57878" y="90278"/>
                  </a:lnTo>
                  <a:lnTo>
                    <a:pt x="57979" y="90278"/>
                  </a:lnTo>
                  <a:lnTo>
                    <a:pt x="58080" y="90278"/>
                  </a:lnTo>
                  <a:lnTo>
                    <a:pt x="58080" y="90278"/>
                  </a:lnTo>
                  <a:lnTo>
                    <a:pt x="58080" y="90278"/>
                  </a:lnTo>
                  <a:lnTo>
                    <a:pt x="58080" y="89801"/>
                  </a:lnTo>
                  <a:lnTo>
                    <a:pt x="58232" y="89801"/>
                  </a:lnTo>
                  <a:lnTo>
                    <a:pt x="58232" y="89801"/>
                  </a:lnTo>
                  <a:lnTo>
                    <a:pt x="58333" y="89483"/>
                  </a:lnTo>
                  <a:lnTo>
                    <a:pt x="58434" y="89483"/>
                  </a:lnTo>
                  <a:lnTo>
                    <a:pt x="58434" y="89483"/>
                  </a:lnTo>
                  <a:lnTo>
                    <a:pt x="58434" y="89483"/>
                  </a:lnTo>
                  <a:lnTo>
                    <a:pt x="58434" y="89483"/>
                  </a:lnTo>
                  <a:lnTo>
                    <a:pt x="58585" y="89165"/>
                  </a:lnTo>
                  <a:lnTo>
                    <a:pt x="58585" y="89165"/>
                  </a:lnTo>
                  <a:lnTo>
                    <a:pt x="58585" y="89165"/>
                  </a:lnTo>
                  <a:lnTo>
                    <a:pt x="58686" y="89165"/>
                  </a:lnTo>
                  <a:lnTo>
                    <a:pt x="58686" y="88688"/>
                  </a:lnTo>
                  <a:lnTo>
                    <a:pt x="58838" y="88688"/>
                  </a:lnTo>
                  <a:lnTo>
                    <a:pt x="58939" y="88688"/>
                  </a:lnTo>
                  <a:lnTo>
                    <a:pt x="59040" y="88688"/>
                  </a:lnTo>
                  <a:lnTo>
                    <a:pt x="59040" y="88688"/>
                  </a:lnTo>
                  <a:lnTo>
                    <a:pt x="59040" y="88370"/>
                  </a:lnTo>
                  <a:lnTo>
                    <a:pt x="59040" y="88370"/>
                  </a:lnTo>
                  <a:lnTo>
                    <a:pt x="59040" y="88370"/>
                  </a:lnTo>
                  <a:lnTo>
                    <a:pt x="59191" y="88370"/>
                  </a:lnTo>
                  <a:lnTo>
                    <a:pt x="59292" y="88688"/>
                  </a:lnTo>
                  <a:lnTo>
                    <a:pt x="59292" y="88688"/>
                  </a:lnTo>
                  <a:lnTo>
                    <a:pt x="59393" y="88688"/>
                  </a:lnTo>
                  <a:lnTo>
                    <a:pt x="59393" y="88688"/>
                  </a:lnTo>
                  <a:lnTo>
                    <a:pt x="59545" y="88688"/>
                  </a:lnTo>
                  <a:lnTo>
                    <a:pt x="59545" y="88688"/>
                  </a:lnTo>
                  <a:lnTo>
                    <a:pt x="59545" y="88688"/>
                  </a:lnTo>
                  <a:lnTo>
                    <a:pt x="59646" y="88688"/>
                  </a:lnTo>
                  <a:lnTo>
                    <a:pt x="59646" y="88688"/>
                  </a:lnTo>
                  <a:lnTo>
                    <a:pt x="59646" y="88688"/>
                  </a:lnTo>
                  <a:lnTo>
                    <a:pt x="59747" y="89165"/>
                  </a:lnTo>
                  <a:lnTo>
                    <a:pt x="59747" y="89165"/>
                  </a:lnTo>
                  <a:lnTo>
                    <a:pt x="59898" y="89165"/>
                  </a:lnTo>
                  <a:lnTo>
                    <a:pt x="60000" y="89165"/>
                  </a:lnTo>
                  <a:lnTo>
                    <a:pt x="60000" y="89165"/>
                  </a:lnTo>
                  <a:lnTo>
                    <a:pt x="60101" y="89165"/>
                  </a:lnTo>
                  <a:lnTo>
                    <a:pt x="60252" y="89165"/>
                  </a:lnTo>
                  <a:lnTo>
                    <a:pt x="60252" y="89165"/>
                  </a:lnTo>
                  <a:lnTo>
                    <a:pt x="60353" y="89165"/>
                  </a:lnTo>
                  <a:lnTo>
                    <a:pt x="60606" y="89165"/>
                  </a:lnTo>
                  <a:lnTo>
                    <a:pt x="60606" y="89165"/>
                  </a:lnTo>
                  <a:lnTo>
                    <a:pt x="60707" y="89483"/>
                  </a:lnTo>
                  <a:lnTo>
                    <a:pt x="60858" y="89483"/>
                  </a:lnTo>
                  <a:lnTo>
                    <a:pt x="60959" y="89801"/>
                  </a:lnTo>
                  <a:lnTo>
                    <a:pt x="60959" y="90278"/>
                  </a:lnTo>
                  <a:lnTo>
                    <a:pt x="61060" y="90278"/>
                  </a:lnTo>
                  <a:lnTo>
                    <a:pt x="61060" y="90596"/>
                  </a:lnTo>
                  <a:lnTo>
                    <a:pt x="61060" y="90596"/>
                  </a:lnTo>
                  <a:lnTo>
                    <a:pt x="61212" y="90596"/>
                  </a:lnTo>
                  <a:lnTo>
                    <a:pt x="61313" y="90913"/>
                  </a:lnTo>
                  <a:lnTo>
                    <a:pt x="61313" y="90913"/>
                  </a:lnTo>
                  <a:lnTo>
                    <a:pt x="61414" y="90913"/>
                  </a:lnTo>
                  <a:lnTo>
                    <a:pt x="61414" y="90913"/>
                  </a:lnTo>
                  <a:lnTo>
                    <a:pt x="61414" y="90913"/>
                  </a:lnTo>
                  <a:lnTo>
                    <a:pt x="61565" y="90913"/>
                  </a:lnTo>
                  <a:lnTo>
                    <a:pt x="61666" y="90913"/>
                  </a:lnTo>
                  <a:lnTo>
                    <a:pt x="61666" y="91390"/>
                  </a:lnTo>
                  <a:lnTo>
                    <a:pt x="61767" y="91390"/>
                  </a:lnTo>
                  <a:lnTo>
                    <a:pt x="61767" y="91390"/>
                  </a:lnTo>
                  <a:lnTo>
                    <a:pt x="61919" y="91390"/>
                  </a:lnTo>
                  <a:lnTo>
                    <a:pt x="62020" y="91390"/>
                  </a:lnTo>
                  <a:lnTo>
                    <a:pt x="62020" y="91390"/>
                  </a:lnTo>
                  <a:lnTo>
                    <a:pt x="62171" y="91390"/>
                  </a:lnTo>
                  <a:lnTo>
                    <a:pt x="62171" y="91390"/>
                  </a:lnTo>
                  <a:lnTo>
                    <a:pt x="62272" y="91390"/>
                  </a:lnTo>
                  <a:lnTo>
                    <a:pt x="62272" y="90913"/>
                  </a:lnTo>
                  <a:lnTo>
                    <a:pt x="62373" y="90913"/>
                  </a:lnTo>
                  <a:lnTo>
                    <a:pt x="62373" y="90913"/>
                  </a:lnTo>
                  <a:lnTo>
                    <a:pt x="62373" y="91390"/>
                  </a:lnTo>
                  <a:lnTo>
                    <a:pt x="62525" y="91390"/>
                  </a:lnTo>
                  <a:lnTo>
                    <a:pt x="62525" y="90913"/>
                  </a:lnTo>
                  <a:lnTo>
                    <a:pt x="62525" y="90913"/>
                  </a:lnTo>
                  <a:lnTo>
                    <a:pt x="62626" y="90913"/>
                  </a:lnTo>
                  <a:lnTo>
                    <a:pt x="62626" y="91390"/>
                  </a:lnTo>
                  <a:lnTo>
                    <a:pt x="62727" y="91390"/>
                  </a:lnTo>
                  <a:lnTo>
                    <a:pt x="62878" y="91390"/>
                  </a:lnTo>
                  <a:lnTo>
                    <a:pt x="62878" y="91390"/>
                  </a:lnTo>
                  <a:lnTo>
                    <a:pt x="62878" y="91390"/>
                  </a:lnTo>
                  <a:lnTo>
                    <a:pt x="62979" y="91390"/>
                  </a:lnTo>
                  <a:lnTo>
                    <a:pt x="62979" y="91390"/>
                  </a:lnTo>
                  <a:lnTo>
                    <a:pt x="63080" y="91390"/>
                  </a:lnTo>
                  <a:lnTo>
                    <a:pt x="63080" y="91390"/>
                  </a:lnTo>
                  <a:lnTo>
                    <a:pt x="63333" y="91390"/>
                  </a:lnTo>
                  <a:lnTo>
                    <a:pt x="63434" y="91708"/>
                  </a:lnTo>
                  <a:lnTo>
                    <a:pt x="63434" y="91708"/>
                  </a:lnTo>
                  <a:lnTo>
                    <a:pt x="63434" y="91708"/>
                  </a:lnTo>
                  <a:lnTo>
                    <a:pt x="63585" y="92185"/>
                  </a:lnTo>
                  <a:lnTo>
                    <a:pt x="63686" y="92185"/>
                  </a:lnTo>
                  <a:lnTo>
                    <a:pt x="63686" y="91708"/>
                  </a:lnTo>
                  <a:lnTo>
                    <a:pt x="63838" y="91708"/>
                  </a:lnTo>
                  <a:lnTo>
                    <a:pt x="63838" y="91390"/>
                  </a:lnTo>
                  <a:lnTo>
                    <a:pt x="63838" y="91390"/>
                  </a:lnTo>
                  <a:lnTo>
                    <a:pt x="63939" y="91390"/>
                  </a:lnTo>
                  <a:lnTo>
                    <a:pt x="63939" y="91390"/>
                  </a:lnTo>
                  <a:lnTo>
                    <a:pt x="64040" y="91390"/>
                  </a:lnTo>
                  <a:lnTo>
                    <a:pt x="64040" y="90913"/>
                  </a:lnTo>
                  <a:lnTo>
                    <a:pt x="64040" y="90913"/>
                  </a:lnTo>
                  <a:lnTo>
                    <a:pt x="64191" y="90913"/>
                  </a:lnTo>
                  <a:lnTo>
                    <a:pt x="64191" y="90596"/>
                  </a:lnTo>
                  <a:lnTo>
                    <a:pt x="64191" y="90596"/>
                  </a:lnTo>
                  <a:lnTo>
                    <a:pt x="64191" y="90278"/>
                  </a:lnTo>
                  <a:lnTo>
                    <a:pt x="64191" y="90278"/>
                  </a:lnTo>
                  <a:lnTo>
                    <a:pt x="64191" y="89801"/>
                  </a:lnTo>
                  <a:lnTo>
                    <a:pt x="64040" y="89483"/>
                  </a:lnTo>
                  <a:lnTo>
                    <a:pt x="64040" y="89483"/>
                  </a:lnTo>
                  <a:lnTo>
                    <a:pt x="64040" y="89483"/>
                  </a:lnTo>
                  <a:lnTo>
                    <a:pt x="63939" y="89165"/>
                  </a:lnTo>
                  <a:lnTo>
                    <a:pt x="63838" y="89165"/>
                  </a:lnTo>
                  <a:lnTo>
                    <a:pt x="63838" y="89165"/>
                  </a:lnTo>
                  <a:lnTo>
                    <a:pt x="63686" y="88688"/>
                  </a:lnTo>
                  <a:lnTo>
                    <a:pt x="63686" y="88688"/>
                  </a:lnTo>
                  <a:lnTo>
                    <a:pt x="63686" y="88370"/>
                  </a:lnTo>
                  <a:lnTo>
                    <a:pt x="63585" y="88370"/>
                  </a:lnTo>
                  <a:lnTo>
                    <a:pt x="63585" y="88370"/>
                  </a:lnTo>
                  <a:lnTo>
                    <a:pt x="63434" y="88052"/>
                  </a:lnTo>
                  <a:lnTo>
                    <a:pt x="63434" y="88052"/>
                  </a:lnTo>
                  <a:lnTo>
                    <a:pt x="63434" y="87576"/>
                  </a:lnTo>
                  <a:lnTo>
                    <a:pt x="63434" y="87258"/>
                  </a:lnTo>
                  <a:lnTo>
                    <a:pt x="63434" y="87258"/>
                  </a:lnTo>
                  <a:lnTo>
                    <a:pt x="63434" y="87258"/>
                  </a:lnTo>
                  <a:lnTo>
                    <a:pt x="63333" y="86781"/>
                  </a:lnTo>
                  <a:lnTo>
                    <a:pt x="63333" y="86781"/>
                  </a:lnTo>
                  <a:lnTo>
                    <a:pt x="63333" y="86463"/>
                  </a:lnTo>
                  <a:lnTo>
                    <a:pt x="63333" y="86463"/>
                  </a:lnTo>
                  <a:lnTo>
                    <a:pt x="63434" y="86463"/>
                  </a:lnTo>
                  <a:lnTo>
                    <a:pt x="63434" y="86463"/>
                  </a:lnTo>
                  <a:lnTo>
                    <a:pt x="63434" y="86145"/>
                  </a:lnTo>
                  <a:lnTo>
                    <a:pt x="63434" y="86145"/>
                  </a:lnTo>
                  <a:lnTo>
                    <a:pt x="63434" y="85668"/>
                  </a:lnTo>
                  <a:lnTo>
                    <a:pt x="63434" y="85668"/>
                  </a:lnTo>
                  <a:lnTo>
                    <a:pt x="63434" y="85668"/>
                  </a:lnTo>
                  <a:lnTo>
                    <a:pt x="63686" y="85350"/>
                  </a:lnTo>
                  <a:lnTo>
                    <a:pt x="63686" y="85033"/>
                  </a:lnTo>
                  <a:lnTo>
                    <a:pt x="63686" y="84556"/>
                  </a:lnTo>
                  <a:lnTo>
                    <a:pt x="63686" y="84556"/>
                  </a:lnTo>
                  <a:lnTo>
                    <a:pt x="63686" y="84238"/>
                  </a:lnTo>
                  <a:lnTo>
                    <a:pt x="63838" y="84238"/>
                  </a:lnTo>
                  <a:lnTo>
                    <a:pt x="63939" y="84556"/>
                  </a:lnTo>
                  <a:lnTo>
                    <a:pt x="63939" y="84556"/>
                  </a:lnTo>
                  <a:lnTo>
                    <a:pt x="64040" y="84556"/>
                  </a:lnTo>
                  <a:lnTo>
                    <a:pt x="64292" y="85033"/>
                  </a:lnTo>
                  <a:lnTo>
                    <a:pt x="64393" y="85033"/>
                  </a:lnTo>
                  <a:lnTo>
                    <a:pt x="64393" y="85033"/>
                  </a:lnTo>
                  <a:lnTo>
                    <a:pt x="64545" y="85033"/>
                  </a:lnTo>
                  <a:lnTo>
                    <a:pt x="64646" y="85350"/>
                  </a:lnTo>
                  <a:lnTo>
                    <a:pt x="64747" y="85350"/>
                  </a:lnTo>
                  <a:lnTo>
                    <a:pt x="64898" y="85350"/>
                  </a:lnTo>
                  <a:lnTo>
                    <a:pt x="65000" y="85350"/>
                  </a:lnTo>
                  <a:lnTo>
                    <a:pt x="65252" y="85350"/>
                  </a:lnTo>
                  <a:lnTo>
                    <a:pt x="65252" y="85668"/>
                  </a:lnTo>
                  <a:lnTo>
                    <a:pt x="65505" y="85668"/>
                  </a:lnTo>
                  <a:lnTo>
                    <a:pt x="65606" y="86145"/>
                  </a:lnTo>
                  <a:lnTo>
                    <a:pt x="65858" y="86145"/>
                  </a:lnTo>
                  <a:lnTo>
                    <a:pt x="65959" y="86145"/>
                  </a:lnTo>
                  <a:lnTo>
                    <a:pt x="65959" y="86463"/>
                  </a:lnTo>
                  <a:lnTo>
                    <a:pt x="66060" y="86463"/>
                  </a:lnTo>
                  <a:lnTo>
                    <a:pt x="66212" y="86463"/>
                  </a:lnTo>
                  <a:lnTo>
                    <a:pt x="66212" y="86463"/>
                  </a:lnTo>
                  <a:lnTo>
                    <a:pt x="66414" y="86463"/>
                  </a:lnTo>
                  <a:lnTo>
                    <a:pt x="66565" y="86463"/>
                  </a:lnTo>
                  <a:lnTo>
                    <a:pt x="66666" y="86781"/>
                  </a:lnTo>
                  <a:lnTo>
                    <a:pt x="66767" y="86781"/>
                  </a:lnTo>
                  <a:lnTo>
                    <a:pt x="66767" y="86781"/>
                  </a:lnTo>
                  <a:lnTo>
                    <a:pt x="66767" y="87258"/>
                  </a:lnTo>
                  <a:lnTo>
                    <a:pt x="66919" y="87576"/>
                  </a:lnTo>
                  <a:lnTo>
                    <a:pt x="66919" y="87576"/>
                  </a:lnTo>
                  <a:lnTo>
                    <a:pt x="67020" y="88052"/>
                  </a:lnTo>
                  <a:lnTo>
                    <a:pt x="67020" y="88370"/>
                  </a:lnTo>
                  <a:lnTo>
                    <a:pt x="67171" y="88370"/>
                  </a:lnTo>
                  <a:lnTo>
                    <a:pt x="67171" y="88688"/>
                  </a:lnTo>
                  <a:lnTo>
                    <a:pt x="67171" y="88688"/>
                  </a:lnTo>
                  <a:lnTo>
                    <a:pt x="67272" y="88688"/>
                  </a:lnTo>
                  <a:lnTo>
                    <a:pt x="67272" y="89165"/>
                  </a:lnTo>
                  <a:lnTo>
                    <a:pt x="67272" y="89165"/>
                  </a:lnTo>
                  <a:lnTo>
                    <a:pt x="67272" y="89165"/>
                  </a:lnTo>
                  <a:lnTo>
                    <a:pt x="67373" y="89483"/>
                  </a:lnTo>
                  <a:lnTo>
                    <a:pt x="67373" y="89483"/>
                  </a:lnTo>
                  <a:lnTo>
                    <a:pt x="67525" y="89483"/>
                  </a:lnTo>
                  <a:lnTo>
                    <a:pt x="67525" y="89483"/>
                  </a:lnTo>
                  <a:lnTo>
                    <a:pt x="67727" y="89801"/>
                  </a:lnTo>
                  <a:lnTo>
                    <a:pt x="67727" y="89801"/>
                  </a:lnTo>
                  <a:lnTo>
                    <a:pt x="67878" y="89801"/>
                  </a:lnTo>
                  <a:lnTo>
                    <a:pt x="68080" y="90278"/>
                  </a:lnTo>
                  <a:lnTo>
                    <a:pt x="68080" y="90278"/>
                  </a:lnTo>
                  <a:lnTo>
                    <a:pt x="68232" y="90278"/>
                  </a:lnTo>
                  <a:lnTo>
                    <a:pt x="68333" y="90596"/>
                  </a:lnTo>
                  <a:lnTo>
                    <a:pt x="68434" y="90596"/>
                  </a:lnTo>
                  <a:lnTo>
                    <a:pt x="68434" y="90596"/>
                  </a:lnTo>
                  <a:lnTo>
                    <a:pt x="68585" y="90596"/>
                  </a:lnTo>
                  <a:lnTo>
                    <a:pt x="68686" y="90596"/>
                  </a:lnTo>
                  <a:lnTo>
                    <a:pt x="68686" y="90596"/>
                  </a:lnTo>
                  <a:lnTo>
                    <a:pt x="68838" y="90596"/>
                  </a:lnTo>
                  <a:lnTo>
                    <a:pt x="68838" y="90596"/>
                  </a:lnTo>
                  <a:lnTo>
                    <a:pt x="68939" y="90596"/>
                  </a:lnTo>
                  <a:lnTo>
                    <a:pt x="69040" y="90596"/>
                  </a:lnTo>
                  <a:lnTo>
                    <a:pt x="69040" y="90278"/>
                  </a:lnTo>
                  <a:lnTo>
                    <a:pt x="69191" y="90278"/>
                  </a:lnTo>
                  <a:lnTo>
                    <a:pt x="69191" y="90278"/>
                  </a:lnTo>
                  <a:lnTo>
                    <a:pt x="69292" y="90278"/>
                  </a:lnTo>
                  <a:lnTo>
                    <a:pt x="69393" y="89801"/>
                  </a:lnTo>
                  <a:lnTo>
                    <a:pt x="69545" y="89801"/>
                  </a:lnTo>
                  <a:lnTo>
                    <a:pt x="69646" y="89801"/>
                  </a:lnTo>
                  <a:lnTo>
                    <a:pt x="69747" y="89801"/>
                  </a:lnTo>
                  <a:lnTo>
                    <a:pt x="69747" y="89483"/>
                  </a:lnTo>
                  <a:lnTo>
                    <a:pt x="69898" y="89483"/>
                  </a:lnTo>
                  <a:lnTo>
                    <a:pt x="70000" y="89801"/>
                  </a:lnTo>
                  <a:lnTo>
                    <a:pt x="70101" y="89801"/>
                  </a:lnTo>
                  <a:lnTo>
                    <a:pt x="70252" y="89801"/>
                  </a:lnTo>
                  <a:lnTo>
                    <a:pt x="70353" y="89801"/>
                  </a:lnTo>
                  <a:lnTo>
                    <a:pt x="70505" y="89801"/>
                  </a:lnTo>
                  <a:lnTo>
                    <a:pt x="70606" y="90278"/>
                  </a:lnTo>
                  <a:lnTo>
                    <a:pt x="70707" y="90278"/>
                  </a:lnTo>
                  <a:lnTo>
                    <a:pt x="70959" y="89801"/>
                  </a:lnTo>
                  <a:lnTo>
                    <a:pt x="71060" y="90278"/>
                  </a:lnTo>
                  <a:lnTo>
                    <a:pt x="71212" y="90278"/>
                  </a:lnTo>
                  <a:lnTo>
                    <a:pt x="71313" y="90596"/>
                  </a:lnTo>
                  <a:lnTo>
                    <a:pt x="71414" y="90913"/>
                  </a:lnTo>
                  <a:lnTo>
                    <a:pt x="71565" y="90913"/>
                  </a:lnTo>
                  <a:lnTo>
                    <a:pt x="71666" y="90913"/>
                  </a:lnTo>
                  <a:lnTo>
                    <a:pt x="71666" y="90913"/>
                  </a:lnTo>
                  <a:lnTo>
                    <a:pt x="71919" y="90913"/>
                  </a:lnTo>
                  <a:lnTo>
                    <a:pt x="72171" y="91390"/>
                  </a:lnTo>
                  <a:lnTo>
                    <a:pt x="72272" y="91390"/>
                  </a:lnTo>
                  <a:lnTo>
                    <a:pt x="72272" y="91390"/>
                  </a:lnTo>
                  <a:lnTo>
                    <a:pt x="72272" y="91708"/>
                  </a:lnTo>
                  <a:lnTo>
                    <a:pt x="72373" y="92185"/>
                  </a:lnTo>
                  <a:lnTo>
                    <a:pt x="72373" y="92185"/>
                  </a:lnTo>
                  <a:lnTo>
                    <a:pt x="72373" y="92185"/>
                  </a:lnTo>
                  <a:lnTo>
                    <a:pt x="72525" y="92185"/>
                  </a:lnTo>
                  <a:lnTo>
                    <a:pt x="72525" y="92503"/>
                  </a:lnTo>
                  <a:lnTo>
                    <a:pt x="72626" y="92503"/>
                  </a:lnTo>
                  <a:lnTo>
                    <a:pt x="72727" y="92503"/>
                  </a:lnTo>
                  <a:lnTo>
                    <a:pt x="72878" y="93298"/>
                  </a:lnTo>
                  <a:lnTo>
                    <a:pt x="72979" y="93298"/>
                  </a:lnTo>
                  <a:lnTo>
                    <a:pt x="73080" y="93298"/>
                  </a:lnTo>
                  <a:lnTo>
                    <a:pt x="73232" y="93298"/>
                  </a:lnTo>
                  <a:lnTo>
                    <a:pt x="73333" y="93298"/>
                  </a:lnTo>
                  <a:lnTo>
                    <a:pt x="73585" y="93298"/>
                  </a:lnTo>
                  <a:lnTo>
                    <a:pt x="73838" y="93298"/>
                  </a:lnTo>
                  <a:lnTo>
                    <a:pt x="73939" y="93615"/>
                  </a:lnTo>
                  <a:lnTo>
                    <a:pt x="74040" y="93615"/>
                  </a:lnTo>
                  <a:lnTo>
                    <a:pt x="74292" y="93615"/>
                  </a:lnTo>
                  <a:lnTo>
                    <a:pt x="74545" y="93933"/>
                  </a:lnTo>
                  <a:lnTo>
                    <a:pt x="74545" y="93615"/>
                  </a:lnTo>
                  <a:lnTo>
                    <a:pt x="74646" y="93615"/>
                  </a:lnTo>
                  <a:lnTo>
                    <a:pt x="74747" y="93615"/>
                  </a:lnTo>
                  <a:lnTo>
                    <a:pt x="74898" y="93933"/>
                  </a:lnTo>
                  <a:lnTo>
                    <a:pt x="74898" y="93933"/>
                  </a:lnTo>
                  <a:lnTo>
                    <a:pt x="75000" y="93933"/>
                  </a:lnTo>
                  <a:lnTo>
                    <a:pt x="75252" y="93298"/>
                  </a:lnTo>
                  <a:lnTo>
                    <a:pt x="75353" y="93298"/>
                  </a:lnTo>
                  <a:lnTo>
                    <a:pt x="75353" y="93298"/>
                  </a:lnTo>
                  <a:lnTo>
                    <a:pt x="75505" y="93298"/>
                  </a:lnTo>
                  <a:lnTo>
                    <a:pt x="75505" y="93298"/>
                  </a:lnTo>
                  <a:lnTo>
                    <a:pt x="75606" y="93298"/>
                  </a:lnTo>
                  <a:lnTo>
                    <a:pt x="75707" y="93298"/>
                  </a:lnTo>
                  <a:lnTo>
                    <a:pt x="75858" y="92821"/>
                  </a:lnTo>
                  <a:lnTo>
                    <a:pt x="75959" y="92821"/>
                  </a:lnTo>
                  <a:lnTo>
                    <a:pt x="76060" y="92821"/>
                  </a:lnTo>
                  <a:lnTo>
                    <a:pt x="76212" y="92503"/>
                  </a:lnTo>
                  <a:lnTo>
                    <a:pt x="76313" y="92821"/>
                  </a:lnTo>
                  <a:lnTo>
                    <a:pt x="76414" y="92503"/>
                  </a:lnTo>
                  <a:lnTo>
                    <a:pt x="76565" y="92503"/>
                  </a:lnTo>
                  <a:lnTo>
                    <a:pt x="76565" y="92503"/>
                  </a:lnTo>
                  <a:lnTo>
                    <a:pt x="76565" y="92185"/>
                  </a:lnTo>
                  <a:lnTo>
                    <a:pt x="76565" y="91708"/>
                  </a:lnTo>
                  <a:lnTo>
                    <a:pt x="76666" y="91390"/>
                  </a:lnTo>
                  <a:lnTo>
                    <a:pt x="76666" y="91390"/>
                  </a:lnTo>
                  <a:lnTo>
                    <a:pt x="76767" y="90913"/>
                  </a:lnTo>
                  <a:lnTo>
                    <a:pt x="76919" y="90913"/>
                  </a:lnTo>
                  <a:lnTo>
                    <a:pt x="77020" y="90596"/>
                  </a:lnTo>
                  <a:lnTo>
                    <a:pt x="77020" y="90596"/>
                  </a:lnTo>
                  <a:lnTo>
                    <a:pt x="77171" y="90278"/>
                  </a:lnTo>
                  <a:lnTo>
                    <a:pt x="77272" y="90278"/>
                  </a:lnTo>
                  <a:lnTo>
                    <a:pt x="77272" y="90278"/>
                  </a:lnTo>
                  <a:lnTo>
                    <a:pt x="77525" y="90278"/>
                  </a:lnTo>
                  <a:lnTo>
                    <a:pt x="77525" y="90278"/>
                  </a:lnTo>
                  <a:lnTo>
                    <a:pt x="77626" y="90278"/>
                  </a:lnTo>
                  <a:lnTo>
                    <a:pt x="77727" y="90596"/>
                  </a:lnTo>
                  <a:lnTo>
                    <a:pt x="77878" y="90596"/>
                  </a:lnTo>
                  <a:lnTo>
                    <a:pt x="77979" y="90913"/>
                  </a:lnTo>
                  <a:lnTo>
                    <a:pt x="78232" y="91390"/>
                  </a:lnTo>
                  <a:lnTo>
                    <a:pt x="78333" y="91390"/>
                  </a:lnTo>
                  <a:lnTo>
                    <a:pt x="78333" y="91390"/>
                  </a:lnTo>
                  <a:lnTo>
                    <a:pt x="78434" y="91390"/>
                  </a:lnTo>
                  <a:lnTo>
                    <a:pt x="78585" y="91390"/>
                  </a:lnTo>
                  <a:lnTo>
                    <a:pt x="78686" y="91390"/>
                  </a:lnTo>
                  <a:lnTo>
                    <a:pt x="78686" y="91390"/>
                  </a:lnTo>
                  <a:lnTo>
                    <a:pt x="78939" y="90913"/>
                  </a:lnTo>
                  <a:lnTo>
                    <a:pt x="78939" y="90913"/>
                  </a:lnTo>
                  <a:lnTo>
                    <a:pt x="79040" y="91390"/>
                  </a:lnTo>
                  <a:lnTo>
                    <a:pt x="79292" y="91390"/>
                  </a:lnTo>
                  <a:lnTo>
                    <a:pt x="79393" y="91390"/>
                  </a:lnTo>
                  <a:lnTo>
                    <a:pt x="79393" y="91708"/>
                  </a:lnTo>
                  <a:lnTo>
                    <a:pt x="79646" y="92185"/>
                  </a:lnTo>
                  <a:lnTo>
                    <a:pt x="79747" y="92185"/>
                  </a:lnTo>
                  <a:lnTo>
                    <a:pt x="80000" y="92503"/>
                  </a:lnTo>
                  <a:lnTo>
                    <a:pt x="80252" y="92503"/>
                  </a:lnTo>
                  <a:lnTo>
                    <a:pt x="80505" y="92503"/>
                  </a:lnTo>
                  <a:lnTo>
                    <a:pt x="80606" y="92821"/>
                  </a:lnTo>
                  <a:lnTo>
                    <a:pt x="80606" y="92821"/>
                  </a:lnTo>
                  <a:lnTo>
                    <a:pt x="80707" y="92185"/>
                  </a:lnTo>
                  <a:lnTo>
                    <a:pt x="80858" y="91708"/>
                  </a:lnTo>
                  <a:lnTo>
                    <a:pt x="81060" y="91390"/>
                  </a:lnTo>
                  <a:lnTo>
                    <a:pt x="81212" y="91390"/>
                  </a:lnTo>
                  <a:lnTo>
                    <a:pt x="81313" y="90913"/>
                  </a:lnTo>
                  <a:lnTo>
                    <a:pt x="81414" y="90913"/>
                  </a:lnTo>
                  <a:lnTo>
                    <a:pt x="81414" y="90596"/>
                  </a:lnTo>
                  <a:lnTo>
                    <a:pt x="81313" y="90278"/>
                  </a:lnTo>
                  <a:lnTo>
                    <a:pt x="81212" y="89801"/>
                  </a:lnTo>
                  <a:lnTo>
                    <a:pt x="81060" y="89801"/>
                  </a:lnTo>
                  <a:lnTo>
                    <a:pt x="81060" y="89801"/>
                  </a:lnTo>
                  <a:lnTo>
                    <a:pt x="81060" y="89801"/>
                  </a:lnTo>
                  <a:lnTo>
                    <a:pt x="81060" y="89483"/>
                  </a:lnTo>
                  <a:lnTo>
                    <a:pt x="81060" y="89165"/>
                  </a:lnTo>
                  <a:lnTo>
                    <a:pt x="81060" y="89165"/>
                  </a:lnTo>
                  <a:lnTo>
                    <a:pt x="81212" y="88688"/>
                  </a:lnTo>
                  <a:lnTo>
                    <a:pt x="81060" y="88688"/>
                  </a:lnTo>
                  <a:lnTo>
                    <a:pt x="81060" y="88370"/>
                  </a:lnTo>
                  <a:lnTo>
                    <a:pt x="81060" y="88052"/>
                  </a:lnTo>
                  <a:lnTo>
                    <a:pt x="81060" y="87576"/>
                  </a:lnTo>
                  <a:lnTo>
                    <a:pt x="81060" y="87576"/>
                  </a:lnTo>
                  <a:lnTo>
                    <a:pt x="81060" y="87258"/>
                  </a:lnTo>
                  <a:lnTo>
                    <a:pt x="81060" y="86781"/>
                  </a:lnTo>
                  <a:lnTo>
                    <a:pt x="81060" y="86463"/>
                  </a:lnTo>
                  <a:lnTo>
                    <a:pt x="81060" y="86145"/>
                  </a:lnTo>
                  <a:lnTo>
                    <a:pt x="81060" y="85350"/>
                  </a:lnTo>
                  <a:lnTo>
                    <a:pt x="81212" y="85033"/>
                  </a:lnTo>
                  <a:lnTo>
                    <a:pt x="81313" y="84556"/>
                  </a:lnTo>
                  <a:lnTo>
                    <a:pt x="81313" y="84238"/>
                  </a:lnTo>
                  <a:lnTo>
                    <a:pt x="81212" y="83920"/>
                  </a:lnTo>
                  <a:lnTo>
                    <a:pt x="81060" y="83920"/>
                  </a:lnTo>
                  <a:lnTo>
                    <a:pt x="80959" y="83443"/>
                  </a:lnTo>
                  <a:lnTo>
                    <a:pt x="80959" y="83125"/>
                  </a:lnTo>
                  <a:lnTo>
                    <a:pt x="80858" y="82649"/>
                  </a:lnTo>
                  <a:lnTo>
                    <a:pt x="80707" y="82649"/>
                  </a:lnTo>
                  <a:lnTo>
                    <a:pt x="80606" y="82649"/>
                  </a:lnTo>
                  <a:lnTo>
                    <a:pt x="80505" y="82649"/>
                  </a:lnTo>
                  <a:lnTo>
                    <a:pt x="80353" y="82649"/>
                  </a:lnTo>
                  <a:lnTo>
                    <a:pt x="80252" y="82331"/>
                  </a:lnTo>
                  <a:lnTo>
                    <a:pt x="80252" y="82013"/>
                  </a:lnTo>
                  <a:lnTo>
                    <a:pt x="80353" y="82013"/>
                  </a:lnTo>
                  <a:lnTo>
                    <a:pt x="80505" y="81536"/>
                  </a:lnTo>
                  <a:lnTo>
                    <a:pt x="80505" y="80900"/>
                  </a:lnTo>
                  <a:lnTo>
                    <a:pt x="80606" y="80423"/>
                  </a:lnTo>
                  <a:lnTo>
                    <a:pt x="80959" y="80423"/>
                  </a:lnTo>
                  <a:lnTo>
                    <a:pt x="81212" y="80105"/>
                  </a:lnTo>
                  <a:lnTo>
                    <a:pt x="81414" y="80105"/>
                  </a:lnTo>
                  <a:lnTo>
                    <a:pt x="81565" y="79788"/>
                  </a:lnTo>
                  <a:lnTo>
                    <a:pt x="81666" y="80105"/>
                  </a:lnTo>
                  <a:lnTo>
                    <a:pt x="81767" y="80105"/>
                  </a:lnTo>
                  <a:lnTo>
                    <a:pt x="81919" y="80105"/>
                  </a:lnTo>
                  <a:lnTo>
                    <a:pt x="82020" y="79788"/>
                  </a:lnTo>
                  <a:lnTo>
                    <a:pt x="82171" y="79788"/>
                  </a:lnTo>
                  <a:lnTo>
                    <a:pt x="82272" y="79788"/>
                  </a:lnTo>
                  <a:lnTo>
                    <a:pt x="82373" y="79788"/>
                  </a:lnTo>
                  <a:lnTo>
                    <a:pt x="82525" y="79788"/>
                  </a:lnTo>
                  <a:lnTo>
                    <a:pt x="82525" y="79788"/>
                  </a:lnTo>
                  <a:lnTo>
                    <a:pt x="82525" y="79788"/>
                  </a:lnTo>
                  <a:lnTo>
                    <a:pt x="82525" y="79788"/>
                  </a:lnTo>
                  <a:lnTo>
                    <a:pt x="82626" y="79788"/>
                  </a:lnTo>
                  <a:lnTo>
                    <a:pt x="82979" y="80105"/>
                  </a:lnTo>
                  <a:lnTo>
                    <a:pt x="83080" y="80423"/>
                  </a:lnTo>
                  <a:lnTo>
                    <a:pt x="83232" y="80105"/>
                  </a:lnTo>
                  <a:lnTo>
                    <a:pt x="83232" y="80423"/>
                  </a:lnTo>
                  <a:lnTo>
                    <a:pt x="83333" y="80423"/>
                  </a:lnTo>
                  <a:lnTo>
                    <a:pt x="83434" y="80900"/>
                  </a:lnTo>
                  <a:lnTo>
                    <a:pt x="83585" y="80900"/>
                  </a:lnTo>
                  <a:lnTo>
                    <a:pt x="83838" y="80900"/>
                  </a:lnTo>
                  <a:lnTo>
                    <a:pt x="83838" y="80900"/>
                  </a:lnTo>
                  <a:lnTo>
                    <a:pt x="83838" y="80900"/>
                  </a:lnTo>
                  <a:lnTo>
                    <a:pt x="83939" y="80900"/>
                  </a:lnTo>
                  <a:lnTo>
                    <a:pt x="83939" y="80900"/>
                  </a:lnTo>
                  <a:lnTo>
                    <a:pt x="84040" y="80900"/>
                  </a:lnTo>
                  <a:lnTo>
                    <a:pt x="84292" y="81218"/>
                  </a:lnTo>
                  <a:lnTo>
                    <a:pt x="84393" y="81218"/>
                  </a:lnTo>
                  <a:lnTo>
                    <a:pt x="84545" y="81218"/>
                  </a:lnTo>
                  <a:lnTo>
                    <a:pt x="84545" y="81218"/>
                  </a:lnTo>
                  <a:lnTo>
                    <a:pt x="84646" y="81536"/>
                  </a:lnTo>
                  <a:lnTo>
                    <a:pt x="84646" y="81536"/>
                  </a:lnTo>
                  <a:lnTo>
                    <a:pt x="84646" y="81536"/>
                  </a:lnTo>
                  <a:lnTo>
                    <a:pt x="84747" y="82013"/>
                  </a:lnTo>
                  <a:lnTo>
                    <a:pt x="84747" y="82013"/>
                  </a:lnTo>
                  <a:lnTo>
                    <a:pt x="84898" y="82013"/>
                  </a:lnTo>
                  <a:lnTo>
                    <a:pt x="84898" y="82013"/>
                  </a:lnTo>
                  <a:lnTo>
                    <a:pt x="85000" y="82331"/>
                  </a:lnTo>
                  <a:lnTo>
                    <a:pt x="85101" y="82331"/>
                  </a:lnTo>
                  <a:lnTo>
                    <a:pt x="85101" y="82331"/>
                  </a:lnTo>
                  <a:lnTo>
                    <a:pt x="85101" y="82331"/>
                  </a:lnTo>
                  <a:lnTo>
                    <a:pt x="85101" y="82331"/>
                  </a:lnTo>
                  <a:lnTo>
                    <a:pt x="85101" y="82649"/>
                  </a:lnTo>
                  <a:lnTo>
                    <a:pt x="85101" y="82649"/>
                  </a:lnTo>
                  <a:lnTo>
                    <a:pt x="85252" y="82649"/>
                  </a:lnTo>
                  <a:lnTo>
                    <a:pt x="85252" y="82649"/>
                  </a:lnTo>
                  <a:lnTo>
                    <a:pt x="85353" y="83125"/>
                  </a:lnTo>
                  <a:lnTo>
                    <a:pt x="85353" y="83125"/>
                  </a:lnTo>
                  <a:lnTo>
                    <a:pt x="85454" y="83125"/>
                  </a:lnTo>
                  <a:lnTo>
                    <a:pt x="85454" y="83443"/>
                  </a:lnTo>
                  <a:lnTo>
                    <a:pt x="85606" y="83443"/>
                  </a:lnTo>
                  <a:lnTo>
                    <a:pt x="85606" y="83443"/>
                  </a:lnTo>
                  <a:lnTo>
                    <a:pt x="85606" y="83443"/>
                  </a:lnTo>
                  <a:lnTo>
                    <a:pt x="85707" y="83920"/>
                  </a:lnTo>
                  <a:lnTo>
                    <a:pt x="85707" y="83920"/>
                  </a:lnTo>
                  <a:lnTo>
                    <a:pt x="85707" y="84238"/>
                  </a:lnTo>
                  <a:lnTo>
                    <a:pt x="85858" y="84238"/>
                  </a:lnTo>
                  <a:lnTo>
                    <a:pt x="85959" y="84556"/>
                  </a:lnTo>
                  <a:lnTo>
                    <a:pt x="86060" y="85033"/>
                  </a:lnTo>
                  <a:lnTo>
                    <a:pt x="86212" y="85350"/>
                  </a:lnTo>
                  <a:lnTo>
                    <a:pt x="86313" y="85668"/>
                  </a:lnTo>
                  <a:lnTo>
                    <a:pt x="86414" y="85668"/>
                  </a:lnTo>
                  <a:lnTo>
                    <a:pt x="86414" y="86145"/>
                  </a:lnTo>
                  <a:lnTo>
                    <a:pt x="86565" y="86145"/>
                  </a:lnTo>
                  <a:lnTo>
                    <a:pt x="86565" y="86145"/>
                  </a:lnTo>
                  <a:lnTo>
                    <a:pt x="86565" y="86463"/>
                  </a:lnTo>
                  <a:lnTo>
                    <a:pt x="86666" y="86463"/>
                  </a:lnTo>
                  <a:lnTo>
                    <a:pt x="86666" y="86463"/>
                  </a:lnTo>
                  <a:lnTo>
                    <a:pt x="86666" y="86781"/>
                  </a:lnTo>
                  <a:lnTo>
                    <a:pt x="86767" y="86781"/>
                  </a:lnTo>
                  <a:lnTo>
                    <a:pt x="86767" y="87258"/>
                  </a:lnTo>
                  <a:lnTo>
                    <a:pt x="86919" y="87258"/>
                  </a:lnTo>
                  <a:lnTo>
                    <a:pt x="86919" y="87576"/>
                  </a:lnTo>
                  <a:lnTo>
                    <a:pt x="87020" y="88052"/>
                  </a:lnTo>
                  <a:lnTo>
                    <a:pt x="87373" y="88370"/>
                  </a:lnTo>
                  <a:lnTo>
                    <a:pt x="87525" y="88688"/>
                  </a:lnTo>
                  <a:lnTo>
                    <a:pt x="87626" y="89165"/>
                  </a:lnTo>
                  <a:lnTo>
                    <a:pt x="87626" y="89483"/>
                  </a:lnTo>
                  <a:lnTo>
                    <a:pt x="87626" y="89483"/>
                  </a:lnTo>
                  <a:lnTo>
                    <a:pt x="87626" y="89483"/>
                  </a:lnTo>
                  <a:lnTo>
                    <a:pt x="87727" y="89801"/>
                  </a:lnTo>
                  <a:lnTo>
                    <a:pt x="87727" y="89801"/>
                  </a:lnTo>
                  <a:lnTo>
                    <a:pt x="87727" y="89801"/>
                  </a:lnTo>
                  <a:lnTo>
                    <a:pt x="87878" y="90278"/>
                  </a:lnTo>
                  <a:lnTo>
                    <a:pt x="88080" y="90596"/>
                  </a:lnTo>
                  <a:lnTo>
                    <a:pt x="88080" y="90913"/>
                  </a:lnTo>
                  <a:lnTo>
                    <a:pt x="88080" y="91390"/>
                  </a:lnTo>
                  <a:lnTo>
                    <a:pt x="88232" y="91390"/>
                  </a:lnTo>
                  <a:lnTo>
                    <a:pt x="88333" y="91708"/>
                  </a:lnTo>
                  <a:lnTo>
                    <a:pt x="88434" y="91708"/>
                  </a:lnTo>
                  <a:lnTo>
                    <a:pt x="88434" y="92185"/>
                  </a:lnTo>
                  <a:lnTo>
                    <a:pt x="88585" y="92185"/>
                  </a:lnTo>
                  <a:lnTo>
                    <a:pt x="88686" y="92503"/>
                  </a:lnTo>
                  <a:lnTo>
                    <a:pt x="88787" y="92503"/>
                  </a:lnTo>
                  <a:lnTo>
                    <a:pt x="89040" y="92503"/>
                  </a:lnTo>
                  <a:lnTo>
                    <a:pt x="89292" y="92503"/>
                  </a:lnTo>
                  <a:lnTo>
                    <a:pt x="89393" y="92503"/>
                  </a:lnTo>
                  <a:lnTo>
                    <a:pt x="89393" y="92503"/>
                  </a:lnTo>
                  <a:lnTo>
                    <a:pt x="89545" y="92503"/>
                  </a:lnTo>
                  <a:lnTo>
                    <a:pt x="89545" y="92821"/>
                  </a:lnTo>
                  <a:lnTo>
                    <a:pt x="89545" y="92821"/>
                  </a:lnTo>
                  <a:lnTo>
                    <a:pt x="89646" y="92821"/>
                  </a:lnTo>
                  <a:lnTo>
                    <a:pt x="89747" y="92821"/>
                  </a:lnTo>
                  <a:lnTo>
                    <a:pt x="89898" y="93298"/>
                  </a:lnTo>
                  <a:lnTo>
                    <a:pt x="89898" y="93298"/>
                  </a:lnTo>
                  <a:lnTo>
                    <a:pt x="89898" y="93298"/>
                  </a:lnTo>
                  <a:lnTo>
                    <a:pt x="90000" y="93298"/>
                  </a:lnTo>
                  <a:lnTo>
                    <a:pt x="90000" y="93298"/>
                  </a:lnTo>
                  <a:lnTo>
                    <a:pt x="90101" y="93298"/>
                  </a:lnTo>
                  <a:lnTo>
                    <a:pt x="90101" y="93298"/>
                  </a:lnTo>
                  <a:lnTo>
                    <a:pt x="90101" y="93298"/>
                  </a:lnTo>
                  <a:lnTo>
                    <a:pt x="90101" y="93298"/>
                  </a:lnTo>
                  <a:lnTo>
                    <a:pt x="90252" y="93298"/>
                  </a:lnTo>
                  <a:lnTo>
                    <a:pt x="90353" y="93615"/>
                  </a:lnTo>
                  <a:lnTo>
                    <a:pt x="90353" y="93615"/>
                  </a:lnTo>
                  <a:lnTo>
                    <a:pt x="90606" y="93615"/>
                  </a:lnTo>
                  <a:lnTo>
                    <a:pt x="90959" y="94410"/>
                  </a:lnTo>
                  <a:lnTo>
                    <a:pt x="91060" y="94728"/>
                  </a:lnTo>
                  <a:lnTo>
                    <a:pt x="91212" y="94728"/>
                  </a:lnTo>
                  <a:lnTo>
                    <a:pt x="91414" y="94728"/>
                  </a:lnTo>
                  <a:lnTo>
                    <a:pt x="91565" y="95046"/>
                  </a:lnTo>
                  <a:lnTo>
                    <a:pt x="91565" y="95523"/>
                  </a:lnTo>
                  <a:lnTo>
                    <a:pt x="91565" y="95523"/>
                  </a:lnTo>
                  <a:lnTo>
                    <a:pt x="91666" y="95841"/>
                  </a:lnTo>
                  <a:lnTo>
                    <a:pt x="91666" y="96317"/>
                  </a:lnTo>
                  <a:lnTo>
                    <a:pt x="91767" y="96317"/>
                  </a:lnTo>
                  <a:lnTo>
                    <a:pt x="91919" y="96317"/>
                  </a:lnTo>
                  <a:lnTo>
                    <a:pt x="91919" y="96635"/>
                  </a:lnTo>
                  <a:lnTo>
                    <a:pt x="92020" y="96953"/>
                  </a:lnTo>
                  <a:lnTo>
                    <a:pt x="92020" y="97430"/>
                  </a:lnTo>
                  <a:lnTo>
                    <a:pt x="92121" y="97748"/>
                  </a:lnTo>
                  <a:lnTo>
                    <a:pt x="92272" y="97748"/>
                  </a:lnTo>
                  <a:lnTo>
                    <a:pt x="92373" y="98066"/>
                  </a:lnTo>
                  <a:lnTo>
                    <a:pt x="92373" y="98543"/>
                  </a:lnTo>
                  <a:lnTo>
                    <a:pt x="92525" y="98543"/>
                  </a:lnTo>
                  <a:lnTo>
                    <a:pt x="92525" y="98543"/>
                  </a:lnTo>
                  <a:lnTo>
                    <a:pt x="92626" y="98543"/>
                  </a:lnTo>
                  <a:lnTo>
                    <a:pt x="92727" y="98543"/>
                  </a:lnTo>
                  <a:lnTo>
                    <a:pt x="92878" y="98543"/>
                  </a:lnTo>
                  <a:lnTo>
                    <a:pt x="92979" y="98860"/>
                  </a:lnTo>
                  <a:lnTo>
                    <a:pt x="93232" y="98860"/>
                  </a:lnTo>
                  <a:lnTo>
                    <a:pt x="93434" y="98543"/>
                  </a:lnTo>
                  <a:lnTo>
                    <a:pt x="93686" y="98543"/>
                  </a:lnTo>
                  <a:lnTo>
                    <a:pt x="93686" y="98543"/>
                  </a:lnTo>
                  <a:lnTo>
                    <a:pt x="93787" y="98543"/>
                  </a:lnTo>
                  <a:lnTo>
                    <a:pt x="93686" y="98066"/>
                  </a:lnTo>
                  <a:lnTo>
                    <a:pt x="93787" y="97748"/>
                  </a:lnTo>
                  <a:lnTo>
                    <a:pt x="93787" y="97748"/>
                  </a:lnTo>
                  <a:lnTo>
                    <a:pt x="93939" y="97748"/>
                  </a:lnTo>
                  <a:lnTo>
                    <a:pt x="93939" y="97430"/>
                  </a:lnTo>
                  <a:lnTo>
                    <a:pt x="94040" y="97430"/>
                  </a:lnTo>
                  <a:lnTo>
                    <a:pt x="94191" y="97430"/>
                  </a:lnTo>
                  <a:lnTo>
                    <a:pt x="94292" y="97430"/>
                  </a:lnTo>
                  <a:lnTo>
                    <a:pt x="94393" y="97430"/>
                  </a:lnTo>
                  <a:lnTo>
                    <a:pt x="94393" y="96953"/>
                  </a:lnTo>
                  <a:lnTo>
                    <a:pt x="94545" y="96635"/>
                  </a:lnTo>
                  <a:lnTo>
                    <a:pt x="94747" y="96635"/>
                  </a:lnTo>
                  <a:lnTo>
                    <a:pt x="94747" y="96317"/>
                  </a:lnTo>
                  <a:lnTo>
                    <a:pt x="94898" y="96635"/>
                  </a:lnTo>
                  <a:lnTo>
                    <a:pt x="94898" y="96635"/>
                  </a:lnTo>
                  <a:lnTo>
                    <a:pt x="95000" y="96635"/>
                  </a:lnTo>
                  <a:lnTo>
                    <a:pt x="95252" y="96953"/>
                  </a:lnTo>
                  <a:lnTo>
                    <a:pt x="95252" y="96953"/>
                  </a:lnTo>
                  <a:lnTo>
                    <a:pt x="95252" y="96953"/>
                  </a:lnTo>
                  <a:lnTo>
                    <a:pt x="95252" y="97430"/>
                  </a:lnTo>
                  <a:lnTo>
                    <a:pt x="95252" y="97430"/>
                  </a:lnTo>
                  <a:lnTo>
                    <a:pt x="95252" y="97748"/>
                  </a:lnTo>
                  <a:lnTo>
                    <a:pt x="95353" y="97748"/>
                  </a:lnTo>
                  <a:lnTo>
                    <a:pt x="95454" y="98066"/>
                  </a:lnTo>
                  <a:lnTo>
                    <a:pt x="95454" y="98066"/>
                  </a:lnTo>
                  <a:lnTo>
                    <a:pt x="95606" y="98543"/>
                  </a:lnTo>
                  <a:lnTo>
                    <a:pt x="95606" y="98860"/>
                  </a:lnTo>
                  <a:lnTo>
                    <a:pt x="95606" y="98860"/>
                  </a:lnTo>
                  <a:lnTo>
                    <a:pt x="95606" y="99337"/>
                  </a:lnTo>
                  <a:lnTo>
                    <a:pt x="95606" y="99337"/>
                  </a:lnTo>
                  <a:lnTo>
                    <a:pt x="95606" y="99655"/>
                  </a:lnTo>
                  <a:lnTo>
                    <a:pt x="95454" y="99655"/>
                  </a:lnTo>
                  <a:lnTo>
                    <a:pt x="95454" y="99655"/>
                  </a:lnTo>
                  <a:lnTo>
                    <a:pt x="95454" y="99655"/>
                  </a:lnTo>
                  <a:lnTo>
                    <a:pt x="95454" y="99655"/>
                  </a:lnTo>
                  <a:lnTo>
                    <a:pt x="95353" y="99655"/>
                  </a:lnTo>
                  <a:lnTo>
                    <a:pt x="95353" y="99973"/>
                  </a:lnTo>
                  <a:lnTo>
                    <a:pt x="95454" y="99973"/>
                  </a:lnTo>
                  <a:lnTo>
                    <a:pt x="95454" y="100450"/>
                  </a:lnTo>
                  <a:lnTo>
                    <a:pt x="95454" y="100450"/>
                  </a:lnTo>
                  <a:lnTo>
                    <a:pt x="95454" y="100768"/>
                  </a:lnTo>
                  <a:lnTo>
                    <a:pt x="95454" y="101086"/>
                  </a:lnTo>
                  <a:lnTo>
                    <a:pt x="95606" y="101086"/>
                  </a:lnTo>
                  <a:lnTo>
                    <a:pt x="95606" y="101562"/>
                  </a:lnTo>
                  <a:lnTo>
                    <a:pt x="95606" y="101562"/>
                  </a:lnTo>
                  <a:lnTo>
                    <a:pt x="95606" y="101880"/>
                  </a:lnTo>
                  <a:lnTo>
                    <a:pt x="95707" y="102198"/>
                  </a:lnTo>
                  <a:lnTo>
                    <a:pt x="95707" y="102675"/>
                  </a:lnTo>
                  <a:lnTo>
                    <a:pt x="95707" y="102675"/>
                  </a:lnTo>
                  <a:lnTo>
                    <a:pt x="95707" y="102993"/>
                  </a:lnTo>
                  <a:lnTo>
                    <a:pt x="95707" y="102993"/>
                  </a:lnTo>
                  <a:lnTo>
                    <a:pt x="95858" y="103470"/>
                  </a:lnTo>
                  <a:lnTo>
                    <a:pt x="95858" y="103470"/>
                  </a:lnTo>
                  <a:lnTo>
                    <a:pt x="95858" y="103470"/>
                  </a:lnTo>
                  <a:lnTo>
                    <a:pt x="95707" y="103788"/>
                  </a:lnTo>
                  <a:lnTo>
                    <a:pt x="95707" y="103788"/>
                  </a:lnTo>
                  <a:lnTo>
                    <a:pt x="95858" y="104105"/>
                  </a:lnTo>
                  <a:lnTo>
                    <a:pt x="95858" y="104105"/>
                  </a:lnTo>
                  <a:lnTo>
                    <a:pt x="95858" y="104582"/>
                  </a:lnTo>
                  <a:lnTo>
                    <a:pt x="95858" y="104582"/>
                  </a:lnTo>
                  <a:lnTo>
                    <a:pt x="95707" y="104582"/>
                  </a:lnTo>
                  <a:lnTo>
                    <a:pt x="95707" y="104582"/>
                  </a:lnTo>
                  <a:lnTo>
                    <a:pt x="95707" y="104900"/>
                  </a:lnTo>
                  <a:lnTo>
                    <a:pt x="95858" y="104900"/>
                  </a:lnTo>
                  <a:lnTo>
                    <a:pt x="95858" y="105218"/>
                  </a:lnTo>
                  <a:lnTo>
                    <a:pt x="95858" y="105218"/>
                  </a:lnTo>
                  <a:lnTo>
                    <a:pt x="95858" y="105695"/>
                  </a:lnTo>
                  <a:lnTo>
                    <a:pt x="95858" y="105695"/>
                  </a:lnTo>
                  <a:lnTo>
                    <a:pt x="95858" y="105695"/>
                  </a:lnTo>
                  <a:lnTo>
                    <a:pt x="95707" y="105695"/>
                  </a:lnTo>
                  <a:lnTo>
                    <a:pt x="95707" y="106013"/>
                  </a:lnTo>
                  <a:lnTo>
                    <a:pt x="95707" y="106331"/>
                  </a:lnTo>
                  <a:lnTo>
                    <a:pt x="95858" y="106807"/>
                  </a:lnTo>
                  <a:lnTo>
                    <a:pt x="95858" y="107125"/>
                  </a:lnTo>
                  <a:lnTo>
                    <a:pt x="95858" y="107125"/>
                  </a:lnTo>
                  <a:lnTo>
                    <a:pt x="95858" y="107602"/>
                  </a:lnTo>
                  <a:lnTo>
                    <a:pt x="95707" y="107602"/>
                  </a:lnTo>
                  <a:lnTo>
                    <a:pt x="95707" y="107125"/>
                  </a:lnTo>
                  <a:lnTo>
                    <a:pt x="95606" y="107125"/>
                  </a:lnTo>
                  <a:lnTo>
                    <a:pt x="95454" y="107125"/>
                  </a:lnTo>
                  <a:lnTo>
                    <a:pt x="95353" y="107125"/>
                  </a:lnTo>
                  <a:lnTo>
                    <a:pt x="95252" y="107125"/>
                  </a:lnTo>
                  <a:lnTo>
                    <a:pt x="95000" y="106807"/>
                  </a:lnTo>
                  <a:lnTo>
                    <a:pt x="95000" y="106807"/>
                  </a:lnTo>
                  <a:lnTo>
                    <a:pt x="94898" y="106807"/>
                  </a:lnTo>
                  <a:lnTo>
                    <a:pt x="94747" y="106807"/>
                  </a:lnTo>
                  <a:lnTo>
                    <a:pt x="94646" y="106331"/>
                  </a:lnTo>
                  <a:lnTo>
                    <a:pt x="94646" y="106331"/>
                  </a:lnTo>
                  <a:lnTo>
                    <a:pt x="94646" y="106807"/>
                  </a:lnTo>
                  <a:lnTo>
                    <a:pt x="94646" y="106807"/>
                  </a:lnTo>
                  <a:lnTo>
                    <a:pt x="94646" y="107125"/>
                  </a:lnTo>
                  <a:lnTo>
                    <a:pt x="94646" y="107125"/>
                  </a:lnTo>
                  <a:lnTo>
                    <a:pt x="94646" y="107602"/>
                  </a:lnTo>
                  <a:lnTo>
                    <a:pt x="94545" y="107920"/>
                  </a:lnTo>
                  <a:lnTo>
                    <a:pt x="94393" y="107920"/>
                  </a:lnTo>
                  <a:lnTo>
                    <a:pt x="94393" y="107920"/>
                  </a:lnTo>
                  <a:lnTo>
                    <a:pt x="94292" y="107920"/>
                  </a:lnTo>
                  <a:lnTo>
                    <a:pt x="94292" y="108238"/>
                  </a:lnTo>
                  <a:lnTo>
                    <a:pt x="94292" y="108238"/>
                  </a:lnTo>
                  <a:lnTo>
                    <a:pt x="94292" y="108238"/>
                  </a:lnTo>
                  <a:lnTo>
                    <a:pt x="94292" y="108715"/>
                  </a:lnTo>
                  <a:lnTo>
                    <a:pt x="94393" y="109033"/>
                  </a:lnTo>
                  <a:lnTo>
                    <a:pt x="94545" y="109033"/>
                  </a:lnTo>
                  <a:lnTo>
                    <a:pt x="94646" y="109350"/>
                  </a:lnTo>
                  <a:lnTo>
                    <a:pt x="95000" y="110940"/>
                  </a:lnTo>
                  <a:lnTo>
                    <a:pt x="95000" y="110940"/>
                  </a:lnTo>
                  <a:lnTo>
                    <a:pt x="95101" y="112052"/>
                  </a:lnTo>
                  <a:lnTo>
                    <a:pt x="95101" y="112052"/>
                  </a:lnTo>
                  <a:lnTo>
                    <a:pt x="95252" y="112370"/>
                  </a:lnTo>
                  <a:lnTo>
                    <a:pt x="95252" y="112847"/>
                  </a:lnTo>
                  <a:lnTo>
                    <a:pt x="95252" y="112847"/>
                  </a:lnTo>
                  <a:lnTo>
                    <a:pt x="95353" y="112847"/>
                  </a:lnTo>
                  <a:lnTo>
                    <a:pt x="95353" y="112847"/>
                  </a:lnTo>
                  <a:lnTo>
                    <a:pt x="95353" y="113165"/>
                  </a:lnTo>
                  <a:lnTo>
                    <a:pt x="95353" y="113165"/>
                  </a:lnTo>
                  <a:lnTo>
                    <a:pt x="95353" y="113483"/>
                  </a:lnTo>
                  <a:lnTo>
                    <a:pt x="95454" y="113960"/>
                  </a:lnTo>
                  <a:lnTo>
                    <a:pt x="95454" y="113960"/>
                  </a:lnTo>
                  <a:lnTo>
                    <a:pt x="95454" y="113960"/>
                  </a:lnTo>
                  <a:lnTo>
                    <a:pt x="95454" y="114278"/>
                  </a:lnTo>
                  <a:lnTo>
                    <a:pt x="95454" y="114278"/>
                  </a:lnTo>
                  <a:lnTo>
                    <a:pt x="95454" y="114596"/>
                  </a:lnTo>
                  <a:lnTo>
                    <a:pt x="95454" y="114596"/>
                  </a:lnTo>
                  <a:lnTo>
                    <a:pt x="95353" y="114596"/>
                  </a:lnTo>
                  <a:lnTo>
                    <a:pt x="95353" y="114596"/>
                  </a:lnTo>
                  <a:lnTo>
                    <a:pt x="95252" y="114596"/>
                  </a:lnTo>
                  <a:lnTo>
                    <a:pt x="95252" y="114596"/>
                  </a:lnTo>
                  <a:lnTo>
                    <a:pt x="95101" y="115072"/>
                  </a:lnTo>
                  <a:lnTo>
                    <a:pt x="95101" y="115072"/>
                  </a:lnTo>
                  <a:lnTo>
                    <a:pt x="95000" y="115072"/>
                  </a:lnTo>
                  <a:lnTo>
                    <a:pt x="95000" y="115072"/>
                  </a:lnTo>
                  <a:lnTo>
                    <a:pt x="95000" y="115072"/>
                  </a:lnTo>
                  <a:lnTo>
                    <a:pt x="95101" y="115390"/>
                  </a:lnTo>
                  <a:lnTo>
                    <a:pt x="95101" y="115390"/>
                  </a:lnTo>
                  <a:lnTo>
                    <a:pt x="95252" y="115390"/>
                  </a:lnTo>
                  <a:lnTo>
                    <a:pt x="95252" y="115867"/>
                  </a:lnTo>
                  <a:lnTo>
                    <a:pt x="95252" y="115867"/>
                  </a:lnTo>
                  <a:lnTo>
                    <a:pt x="95252" y="115867"/>
                  </a:lnTo>
                  <a:lnTo>
                    <a:pt x="95353" y="116185"/>
                  </a:lnTo>
                  <a:lnTo>
                    <a:pt x="95454" y="116185"/>
                  </a:lnTo>
                  <a:lnTo>
                    <a:pt x="95454" y="116503"/>
                  </a:lnTo>
                  <a:lnTo>
                    <a:pt x="95454" y="116503"/>
                  </a:lnTo>
                  <a:lnTo>
                    <a:pt x="95454" y="116503"/>
                  </a:lnTo>
                  <a:lnTo>
                    <a:pt x="95454" y="115867"/>
                  </a:lnTo>
                  <a:lnTo>
                    <a:pt x="95353" y="115390"/>
                  </a:lnTo>
                  <a:lnTo>
                    <a:pt x="95353" y="115390"/>
                  </a:lnTo>
                  <a:lnTo>
                    <a:pt x="95606" y="115390"/>
                  </a:lnTo>
                  <a:lnTo>
                    <a:pt x="95606" y="115390"/>
                  </a:lnTo>
                  <a:lnTo>
                    <a:pt x="95707" y="115390"/>
                  </a:lnTo>
                  <a:lnTo>
                    <a:pt x="95707" y="115072"/>
                  </a:lnTo>
                  <a:lnTo>
                    <a:pt x="95707" y="115072"/>
                  </a:lnTo>
                  <a:lnTo>
                    <a:pt x="95858" y="114596"/>
                  </a:lnTo>
                  <a:lnTo>
                    <a:pt x="95858" y="114278"/>
                  </a:lnTo>
                  <a:lnTo>
                    <a:pt x="95858" y="113483"/>
                  </a:lnTo>
                  <a:lnTo>
                    <a:pt x="95959" y="113483"/>
                  </a:lnTo>
                  <a:lnTo>
                    <a:pt x="95959" y="113165"/>
                  </a:lnTo>
                  <a:lnTo>
                    <a:pt x="96060" y="113165"/>
                  </a:lnTo>
                  <a:lnTo>
                    <a:pt x="96060" y="113165"/>
                  </a:lnTo>
                  <a:lnTo>
                    <a:pt x="96060" y="113483"/>
                  </a:lnTo>
                  <a:lnTo>
                    <a:pt x="96060" y="113960"/>
                  </a:lnTo>
                  <a:lnTo>
                    <a:pt x="96060" y="113960"/>
                  </a:lnTo>
                  <a:lnTo>
                    <a:pt x="96212" y="113960"/>
                  </a:lnTo>
                  <a:lnTo>
                    <a:pt x="96313" y="113483"/>
                  </a:lnTo>
                  <a:lnTo>
                    <a:pt x="96313" y="113165"/>
                  </a:lnTo>
                  <a:lnTo>
                    <a:pt x="96313" y="113483"/>
                  </a:lnTo>
                  <a:lnTo>
                    <a:pt x="96565" y="114596"/>
                  </a:lnTo>
                  <a:lnTo>
                    <a:pt x="96666" y="114596"/>
                  </a:lnTo>
                  <a:lnTo>
                    <a:pt x="96767" y="114596"/>
                  </a:lnTo>
                  <a:lnTo>
                    <a:pt x="96919" y="114596"/>
                  </a:lnTo>
                  <a:lnTo>
                    <a:pt x="97020" y="115072"/>
                  </a:lnTo>
                  <a:lnTo>
                    <a:pt x="97121" y="115072"/>
                  </a:lnTo>
                  <a:lnTo>
                    <a:pt x="97121" y="115072"/>
                  </a:lnTo>
                  <a:lnTo>
                    <a:pt x="97272" y="115072"/>
                  </a:lnTo>
                  <a:lnTo>
                    <a:pt x="97373" y="115390"/>
                  </a:lnTo>
                  <a:lnTo>
                    <a:pt x="97525" y="115072"/>
                  </a:lnTo>
                  <a:lnTo>
                    <a:pt x="97626" y="114596"/>
                  </a:lnTo>
                  <a:lnTo>
                    <a:pt x="97727" y="114596"/>
                  </a:lnTo>
                  <a:lnTo>
                    <a:pt x="97979" y="114278"/>
                  </a:lnTo>
                  <a:lnTo>
                    <a:pt x="97979" y="114278"/>
                  </a:lnTo>
                  <a:lnTo>
                    <a:pt x="98333" y="113165"/>
                  </a:lnTo>
                  <a:lnTo>
                    <a:pt x="98434" y="112847"/>
                  </a:lnTo>
                  <a:lnTo>
                    <a:pt x="98585" y="112370"/>
                  </a:lnTo>
                  <a:lnTo>
                    <a:pt x="98585" y="112052"/>
                  </a:lnTo>
                  <a:lnTo>
                    <a:pt x="98686" y="111735"/>
                  </a:lnTo>
                  <a:lnTo>
                    <a:pt x="98686" y="111258"/>
                  </a:lnTo>
                  <a:lnTo>
                    <a:pt x="98686" y="111258"/>
                  </a:lnTo>
                  <a:lnTo>
                    <a:pt x="98686" y="109827"/>
                  </a:lnTo>
                  <a:lnTo>
                    <a:pt x="98686" y="109350"/>
                  </a:lnTo>
                  <a:lnTo>
                    <a:pt x="98787" y="109350"/>
                  </a:lnTo>
                  <a:lnTo>
                    <a:pt x="98787" y="109033"/>
                  </a:lnTo>
                  <a:lnTo>
                    <a:pt x="98787" y="109033"/>
                  </a:lnTo>
                  <a:lnTo>
                    <a:pt x="98939" y="108238"/>
                  </a:lnTo>
                  <a:lnTo>
                    <a:pt x="98939" y="107920"/>
                  </a:lnTo>
                  <a:lnTo>
                    <a:pt x="98939" y="107125"/>
                  </a:lnTo>
                  <a:lnTo>
                    <a:pt x="98939" y="106807"/>
                  </a:lnTo>
                  <a:lnTo>
                    <a:pt x="99040" y="106013"/>
                  </a:lnTo>
                  <a:lnTo>
                    <a:pt x="99191" y="105218"/>
                  </a:lnTo>
                  <a:lnTo>
                    <a:pt x="99292" y="104900"/>
                  </a:lnTo>
                  <a:lnTo>
                    <a:pt x="99292" y="104582"/>
                  </a:lnTo>
                  <a:lnTo>
                    <a:pt x="99393" y="103470"/>
                  </a:lnTo>
                  <a:lnTo>
                    <a:pt x="99292" y="102675"/>
                  </a:lnTo>
                  <a:lnTo>
                    <a:pt x="99393" y="102198"/>
                  </a:lnTo>
                  <a:lnTo>
                    <a:pt x="99292" y="101880"/>
                  </a:lnTo>
                  <a:lnTo>
                    <a:pt x="99292" y="101086"/>
                  </a:lnTo>
                  <a:lnTo>
                    <a:pt x="99292" y="101086"/>
                  </a:lnTo>
                  <a:lnTo>
                    <a:pt x="99191" y="100768"/>
                  </a:lnTo>
                  <a:lnTo>
                    <a:pt x="99393" y="99655"/>
                  </a:lnTo>
                  <a:lnTo>
                    <a:pt x="99292" y="98860"/>
                  </a:lnTo>
                  <a:lnTo>
                    <a:pt x="99292" y="98066"/>
                  </a:lnTo>
                  <a:lnTo>
                    <a:pt x="99393" y="97748"/>
                  </a:lnTo>
                  <a:lnTo>
                    <a:pt x="99393" y="97430"/>
                  </a:lnTo>
                  <a:lnTo>
                    <a:pt x="99393" y="96953"/>
                  </a:lnTo>
                  <a:lnTo>
                    <a:pt x="99545" y="96635"/>
                  </a:lnTo>
                  <a:lnTo>
                    <a:pt x="99545" y="96317"/>
                  </a:lnTo>
                  <a:lnTo>
                    <a:pt x="99545" y="95841"/>
                  </a:lnTo>
                  <a:lnTo>
                    <a:pt x="99393" y="95046"/>
                  </a:lnTo>
                  <a:lnTo>
                    <a:pt x="99393" y="94410"/>
                  </a:lnTo>
                  <a:lnTo>
                    <a:pt x="99292" y="94410"/>
                  </a:lnTo>
                  <a:lnTo>
                    <a:pt x="99292" y="94410"/>
                  </a:lnTo>
                  <a:lnTo>
                    <a:pt x="99292" y="93933"/>
                  </a:lnTo>
                  <a:lnTo>
                    <a:pt x="99191" y="93933"/>
                  </a:lnTo>
                  <a:lnTo>
                    <a:pt x="99191" y="93615"/>
                  </a:lnTo>
                  <a:lnTo>
                    <a:pt x="99191" y="93615"/>
                  </a:lnTo>
                  <a:lnTo>
                    <a:pt x="99191" y="93298"/>
                  </a:lnTo>
                  <a:lnTo>
                    <a:pt x="99040" y="92503"/>
                  </a:lnTo>
                  <a:lnTo>
                    <a:pt x="98939" y="91708"/>
                  </a:lnTo>
                  <a:lnTo>
                    <a:pt x="98787" y="91708"/>
                  </a:lnTo>
                  <a:lnTo>
                    <a:pt x="98787" y="91390"/>
                  </a:lnTo>
                  <a:lnTo>
                    <a:pt x="98787" y="90913"/>
                  </a:lnTo>
                  <a:lnTo>
                    <a:pt x="98787" y="90913"/>
                  </a:lnTo>
                  <a:lnTo>
                    <a:pt x="98787" y="90913"/>
                  </a:lnTo>
                  <a:lnTo>
                    <a:pt x="98686" y="90596"/>
                  </a:lnTo>
                  <a:lnTo>
                    <a:pt x="98686" y="90596"/>
                  </a:lnTo>
                  <a:lnTo>
                    <a:pt x="98333" y="89483"/>
                  </a:lnTo>
                  <a:lnTo>
                    <a:pt x="98080" y="88370"/>
                  </a:lnTo>
                  <a:lnTo>
                    <a:pt x="98080" y="88052"/>
                  </a:lnTo>
                  <a:lnTo>
                    <a:pt x="98080" y="87576"/>
                  </a:lnTo>
                  <a:lnTo>
                    <a:pt x="97979" y="87258"/>
                  </a:lnTo>
                  <a:lnTo>
                    <a:pt x="97979" y="86463"/>
                  </a:lnTo>
                  <a:lnTo>
                    <a:pt x="97878" y="85668"/>
                  </a:lnTo>
                  <a:lnTo>
                    <a:pt x="97979" y="85350"/>
                  </a:lnTo>
                  <a:lnTo>
                    <a:pt x="97979" y="85033"/>
                  </a:lnTo>
                  <a:lnTo>
                    <a:pt x="97979" y="85033"/>
                  </a:lnTo>
                  <a:lnTo>
                    <a:pt x="97878" y="84556"/>
                  </a:lnTo>
                  <a:lnTo>
                    <a:pt x="97878" y="84238"/>
                  </a:lnTo>
                  <a:lnTo>
                    <a:pt x="97727" y="83920"/>
                  </a:lnTo>
                  <a:lnTo>
                    <a:pt x="97626" y="83920"/>
                  </a:lnTo>
                  <a:lnTo>
                    <a:pt x="97525" y="83443"/>
                  </a:lnTo>
                  <a:lnTo>
                    <a:pt x="97373" y="83125"/>
                  </a:lnTo>
                  <a:lnTo>
                    <a:pt x="97373" y="82649"/>
                  </a:lnTo>
                  <a:lnTo>
                    <a:pt x="97272" y="82649"/>
                  </a:lnTo>
                  <a:lnTo>
                    <a:pt x="97121" y="82013"/>
                  </a:lnTo>
                  <a:lnTo>
                    <a:pt x="96919" y="81536"/>
                  </a:lnTo>
                  <a:lnTo>
                    <a:pt x="96666" y="81218"/>
                  </a:lnTo>
                  <a:lnTo>
                    <a:pt x="96565" y="81218"/>
                  </a:lnTo>
                  <a:lnTo>
                    <a:pt x="96666" y="81218"/>
                  </a:lnTo>
                  <a:lnTo>
                    <a:pt x="96919" y="81218"/>
                  </a:lnTo>
                  <a:lnTo>
                    <a:pt x="97020" y="81218"/>
                  </a:lnTo>
                  <a:lnTo>
                    <a:pt x="97020" y="80900"/>
                  </a:lnTo>
                  <a:lnTo>
                    <a:pt x="96919" y="80423"/>
                  </a:lnTo>
                  <a:lnTo>
                    <a:pt x="96666" y="80423"/>
                  </a:lnTo>
                  <a:lnTo>
                    <a:pt x="96414" y="80105"/>
                  </a:lnTo>
                  <a:lnTo>
                    <a:pt x="96414" y="79788"/>
                  </a:lnTo>
                  <a:lnTo>
                    <a:pt x="96060" y="79788"/>
                  </a:lnTo>
                  <a:lnTo>
                    <a:pt x="95606" y="78993"/>
                  </a:lnTo>
                  <a:lnTo>
                    <a:pt x="95353" y="78198"/>
                  </a:lnTo>
                  <a:lnTo>
                    <a:pt x="95252" y="78198"/>
                  </a:lnTo>
                  <a:lnTo>
                    <a:pt x="94898" y="77403"/>
                  </a:lnTo>
                  <a:lnTo>
                    <a:pt x="94747" y="77403"/>
                  </a:lnTo>
                  <a:lnTo>
                    <a:pt x="94747" y="77403"/>
                  </a:lnTo>
                  <a:lnTo>
                    <a:pt x="94545" y="77403"/>
                  </a:lnTo>
                  <a:lnTo>
                    <a:pt x="94292" y="77403"/>
                  </a:lnTo>
                  <a:lnTo>
                    <a:pt x="93939" y="77086"/>
                  </a:lnTo>
                  <a:lnTo>
                    <a:pt x="93939" y="77403"/>
                  </a:lnTo>
                  <a:lnTo>
                    <a:pt x="93939" y="77403"/>
                  </a:lnTo>
                  <a:lnTo>
                    <a:pt x="94040" y="77880"/>
                  </a:lnTo>
                  <a:lnTo>
                    <a:pt x="94191" y="78198"/>
                  </a:lnTo>
                  <a:lnTo>
                    <a:pt x="94292" y="78516"/>
                  </a:lnTo>
                  <a:lnTo>
                    <a:pt x="94292" y="78993"/>
                  </a:lnTo>
                  <a:lnTo>
                    <a:pt x="94393" y="79788"/>
                  </a:lnTo>
                  <a:lnTo>
                    <a:pt x="94292" y="79788"/>
                  </a:lnTo>
                  <a:lnTo>
                    <a:pt x="94292" y="79788"/>
                  </a:lnTo>
                  <a:lnTo>
                    <a:pt x="94191" y="79788"/>
                  </a:lnTo>
                  <a:lnTo>
                    <a:pt x="94191" y="79788"/>
                  </a:lnTo>
                  <a:lnTo>
                    <a:pt x="94191" y="79311"/>
                  </a:lnTo>
                  <a:lnTo>
                    <a:pt x="94191" y="78993"/>
                  </a:lnTo>
                  <a:lnTo>
                    <a:pt x="94040" y="78516"/>
                  </a:lnTo>
                  <a:lnTo>
                    <a:pt x="94040" y="78198"/>
                  </a:lnTo>
                  <a:lnTo>
                    <a:pt x="94040" y="78198"/>
                  </a:lnTo>
                  <a:lnTo>
                    <a:pt x="93939" y="78516"/>
                  </a:lnTo>
                  <a:lnTo>
                    <a:pt x="94040" y="78993"/>
                  </a:lnTo>
                  <a:lnTo>
                    <a:pt x="93939" y="79311"/>
                  </a:lnTo>
                  <a:lnTo>
                    <a:pt x="93686" y="79788"/>
                  </a:lnTo>
                  <a:lnTo>
                    <a:pt x="93434" y="79788"/>
                  </a:lnTo>
                  <a:lnTo>
                    <a:pt x="93333" y="79788"/>
                  </a:lnTo>
                  <a:lnTo>
                    <a:pt x="93333" y="79788"/>
                  </a:lnTo>
                  <a:lnTo>
                    <a:pt x="93333" y="79311"/>
                  </a:lnTo>
                  <a:lnTo>
                    <a:pt x="93434" y="79311"/>
                  </a:lnTo>
                  <a:lnTo>
                    <a:pt x="93434" y="78516"/>
                  </a:lnTo>
                  <a:lnTo>
                    <a:pt x="93434" y="78516"/>
                  </a:lnTo>
                  <a:lnTo>
                    <a:pt x="93434" y="78516"/>
                  </a:lnTo>
                  <a:lnTo>
                    <a:pt x="93333" y="78198"/>
                  </a:lnTo>
                  <a:lnTo>
                    <a:pt x="93232" y="78198"/>
                  </a:lnTo>
                  <a:lnTo>
                    <a:pt x="92979" y="77880"/>
                  </a:lnTo>
                  <a:lnTo>
                    <a:pt x="92979" y="77880"/>
                  </a:lnTo>
                  <a:lnTo>
                    <a:pt x="93080" y="77880"/>
                  </a:lnTo>
                  <a:lnTo>
                    <a:pt x="93080" y="77880"/>
                  </a:lnTo>
                  <a:lnTo>
                    <a:pt x="93080" y="77403"/>
                  </a:lnTo>
                  <a:lnTo>
                    <a:pt x="92979" y="77403"/>
                  </a:lnTo>
                  <a:lnTo>
                    <a:pt x="92878" y="77403"/>
                  </a:lnTo>
                  <a:lnTo>
                    <a:pt x="92727" y="77880"/>
                  </a:lnTo>
                  <a:lnTo>
                    <a:pt x="92727" y="77880"/>
                  </a:lnTo>
                  <a:lnTo>
                    <a:pt x="92878" y="78198"/>
                  </a:lnTo>
                  <a:lnTo>
                    <a:pt x="92979" y="78198"/>
                  </a:lnTo>
                  <a:lnTo>
                    <a:pt x="93080" y="78993"/>
                  </a:lnTo>
                  <a:lnTo>
                    <a:pt x="92979" y="78516"/>
                  </a:lnTo>
                  <a:lnTo>
                    <a:pt x="92878" y="78516"/>
                  </a:lnTo>
                  <a:lnTo>
                    <a:pt x="92878" y="78993"/>
                  </a:lnTo>
                  <a:lnTo>
                    <a:pt x="92727" y="78993"/>
                  </a:lnTo>
                  <a:lnTo>
                    <a:pt x="92626" y="78516"/>
                  </a:lnTo>
                  <a:lnTo>
                    <a:pt x="92525" y="78198"/>
                  </a:lnTo>
                  <a:lnTo>
                    <a:pt x="92373" y="77086"/>
                  </a:lnTo>
                  <a:lnTo>
                    <a:pt x="92272" y="76768"/>
                  </a:lnTo>
                  <a:lnTo>
                    <a:pt x="92272" y="76291"/>
                  </a:lnTo>
                  <a:lnTo>
                    <a:pt x="92121" y="76291"/>
                  </a:lnTo>
                  <a:lnTo>
                    <a:pt x="92020" y="76291"/>
                  </a:lnTo>
                  <a:lnTo>
                    <a:pt x="92020" y="76291"/>
                  </a:lnTo>
                  <a:lnTo>
                    <a:pt x="91666" y="76291"/>
                  </a:lnTo>
                  <a:lnTo>
                    <a:pt x="91414" y="76291"/>
                  </a:lnTo>
                  <a:lnTo>
                    <a:pt x="91060" y="75973"/>
                  </a:lnTo>
                  <a:lnTo>
                    <a:pt x="90959" y="75973"/>
                  </a:lnTo>
                  <a:lnTo>
                    <a:pt x="90858" y="75973"/>
                  </a:lnTo>
                  <a:lnTo>
                    <a:pt x="90707" y="75655"/>
                  </a:lnTo>
                  <a:lnTo>
                    <a:pt x="90707" y="75178"/>
                  </a:lnTo>
                  <a:lnTo>
                    <a:pt x="90707" y="75178"/>
                  </a:lnTo>
                  <a:lnTo>
                    <a:pt x="90707" y="74860"/>
                  </a:lnTo>
                  <a:lnTo>
                    <a:pt x="90858" y="74384"/>
                  </a:lnTo>
                  <a:lnTo>
                    <a:pt x="91060" y="74066"/>
                  </a:lnTo>
                  <a:lnTo>
                    <a:pt x="91060" y="73271"/>
                  </a:lnTo>
                  <a:lnTo>
                    <a:pt x="91060" y="73271"/>
                  </a:lnTo>
                  <a:lnTo>
                    <a:pt x="91313" y="72953"/>
                  </a:lnTo>
                  <a:lnTo>
                    <a:pt x="91313" y="72635"/>
                  </a:lnTo>
                  <a:lnTo>
                    <a:pt x="91414" y="72158"/>
                  </a:lnTo>
                  <a:lnTo>
                    <a:pt x="91414" y="71841"/>
                  </a:lnTo>
                  <a:lnTo>
                    <a:pt x="91565" y="71523"/>
                  </a:lnTo>
                  <a:lnTo>
                    <a:pt x="91565" y="71523"/>
                  </a:lnTo>
                  <a:lnTo>
                    <a:pt x="91666" y="70728"/>
                  </a:lnTo>
                  <a:lnTo>
                    <a:pt x="91666" y="70251"/>
                  </a:lnTo>
                  <a:lnTo>
                    <a:pt x="91565" y="69933"/>
                  </a:lnTo>
                  <a:lnTo>
                    <a:pt x="91565" y="69933"/>
                  </a:lnTo>
                  <a:lnTo>
                    <a:pt x="91666" y="68821"/>
                  </a:lnTo>
                  <a:lnTo>
                    <a:pt x="91767" y="68503"/>
                  </a:lnTo>
                  <a:lnTo>
                    <a:pt x="91767" y="68026"/>
                  </a:lnTo>
                  <a:lnTo>
                    <a:pt x="91919" y="67708"/>
                  </a:lnTo>
                  <a:lnTo>
                    <a:pt x="91919" y="67708"/>
                  </a:lnTo>
                  <a:lnTo>
                    <a:pt x="91919" y="67390"/>
                  </a:lnTo>
                  <a:lnTo>
                    <a:pt x="92020" y="67390"/>
                  </a:lnTo>
                  <a:lnTo>
                    <a:pt x="92020" y="66913"/>
                  </a:lnTo>
                  <a:lnTo>
                    <a:pt x="92020" y="66596"/>
                  </a:lnTo>
                  <a:lnTo>
                    <a:pt x="92272" y="66119"/>
                  </a:lnTo>
                  <a:lnTo>
                    <a:pt x="92272" y="66119"/>
                  </a:lnTo>
                  <a:lnTo>
                    <a:pt x="92020" y="65006"/>
                  </a:lnTo>
                  <a:lnTo>
                    <a:pt x="92020" y="64688"/>
                  </a:lnTo>
                  <a:lnTo>
                    <a:pt x="92121" y="64370"/>
                  </a:lnTo>
                  <a:lnTo>
                    <a:pt x="92272" y="63894"/>
                  </a:lnTo>
                  <a:lnTo>
                    <a:pt x="92373" y="63576"/>
                  </a:lnTo>
                  <a:lnTo>
                    <a:pt x="92373" y="63258"/>
                  </a:lnTo>
                  <a:lnTo>
                    <a:pt x="92373" y="62463"/>
                  </a:lnTo>
                  <a:lnTo>
                    <a:pt x="92525" y="61986"/>
                  </a:lnTo>
                  <a:lnTo>
                    <a:pt x="92626" y="61668"/>
                  </a:lnTo>
                  <a:lnTo>
                    <a:pt x="92878" y="61350"/>
                  </a:lnTo>
                  <a:lnTo>
                    <a:pt x="93232" y="61350"/>
                  </a:lnTo>
                  <a:lnTo>
                    <a:pt x="93333" y="61350"/>
                  </a:lnTo>
                  <a:lnTo>
                    <a:pt x="93585" y="61350"/>
                  </a:lnTo>
                  <a:lnTo>
                    <a:pt x="93939" y="61350"/>
                  </a:lnTo>
                  <a:lnTo>
                    <a:pt x="94646" y="61350"/>
                  </a:lnTo>
                  <a:lnTo>
                    <a:pt x="94898" y="61350"/>
                  </a:lnTo>
                  <a:lnTo>
                    <a:pt x="95000" y="61668"/>
                  </a:lnTo>
                  <a:lnTo>
                    <a:pt x="95101" y="61986"/>
                  </a:lnTo>
                  <a:lnTo>
                    <a:pt x="95252" y="61986"/>
                  </a:lnTo>
                  <a:lnTo>
                    <a:pt x="95353" y="61668"/>
                  </a:lnTo>
                  <a:lnTo>
                    <a:pt x="95353" y="61350"/>
                  </a:lnTo>
                  <a:lnTo>
                    <a:pt x="95353" y="61350"/>
                  </a:lnTo>
                  <a:lnTo>
                    <a:pt x="95606" y="61350"/>
                  </a:lnTo>
                  <a:lnTo>
                    <a:pt x="95858" y="61350"/>
                  </a:lnTo>
                  <a:lnTo>
                    <a:pt x="96313" y="61668"/>
                  </a:lnTo>
                  <a:lnTo>
                    <a:pt x="96414" y="61668"/>
                  </a:lnTo>
                  <a:lnTo>
                    <a:pt x="96414" y="61350"/>
                  </a:lnTo>
                  <a:lnTo>
                    <a:pt x="96666" y="61350"/>
                  </a:lnTo>
                  <a:lnTo>
                    <a:pt x="97020" y="61668"/>
                  </a:lnTo>
                  <a:lnTo>
                    <a:pt x="97121" y="61668"/>
                  </a:lnTo>
                  <a:lnTo>
                    <a:pt x="97272" y="61668"/>
                  </a:lnTo>
                  <a:lnTo>
                    <a:pt x="97272" y="61350"/>
                  </a:lnTo>
                  <a:lnTo>
                    <a:pt x="97121" y="61350"/>
                  </a:lnTo>
                  <a:lnTo>
                    <a:pt x="97121" y="61350"/>
                  </a:lnTo>
                  <a:lnTo>
                    <a:pt x="97020" y="61350"/>
                  </a:lnTo>
                  <a:lnTo>
                    <a:pt x="97020" y="60874"/>
                  </a:lnTo>
                  <a:lnTo>
                    <a:pt x="97121" y="60874"/>
                  </a:lnTo>
                  <a:lnTo>
                    <a:pt x="97272" y="60874"/>
                  </a:lnTo>
                  <a:lnTo>
                    <a:pt x="97373" y="60874"/>
                  </a:lnTo>
                  <a:lnTo>
                    <a:pt x="97272" y="60874"/>
                  </a:lnTo>
                  <a:lnTo>
                    <a:pt x="97272" y="60874"/>
                  </a:lnTo>
                  <a:lnTo>
                    <a:pt x="97121" y="60556"/>
                  </a:lnTo>
                  <a:lnTo>
                    <a:pt x="97121" y="60238"/>
                  </a:lnTo>
                  <a:lnTo>
                    <a:pt x="97272" y="60238"/>
                  </a:lnTo>
                  <a:lnTo>
                    <a:pt x="97373" y="60238"/>
                  </a:lnTo>
                  <a:lnTo>
                    <a:pt x="97979" y="60556"/>
                  </a:lnTo>
                  <a:lnTo>
                    <a:pt x="97979" y="60556"/>
                  </a:lnTo>
                  <a:lnTo>
                    <a:pt x="98232" y="60556"/>
                  </a:lnTo>
                  <a:lnTo>
                    <a:pt x="98333" y="60874"/>
                  </a:lnTo>
                  <a:lnTo>
                    <a:pt x="98333" y="60874"/>
                  </a:lnTo>
                  <a:lnTo>
                    <a:pt x="98333" y="60874"/>
                  </a:lnTo>
                  <a:lnTo>
                    <a:pt x="98333" y="60874"/>
                  </a:lnTo>
                  <a:lnTo>
                    <a:pt x="98434" y="60874"/>
                  </a:lnTo>
                  <a:lnTo>
                    <a:pt x="98585" y="61350"/>
                  </a:lnTo>
                  <a:lnTo>
                    <a:pt x="98585" y="60874"/>
                  </a:lnTo>
                  <a:lnTo>
                    <a:pt x="98585" y="60874"/>
                  </a:lnTo>
                  <a:lnTo>
                    <a:pt x="98585" y="60874"/>
                  </a:lnTo>
                  <a:lnTo>
                    <a:pt x="98585" y="60556"/>
                  </a:lnTo>
                  <a:lnTo>
                    <a:pt x="98686" y="60874"/>
                  </a:lnTo>
                  <a:lnTo>
                    <a:pt x="98939" y="60874"/>
                  </a:lnTo>
                  <a:lnTo>
                    <a:pt x="99040" y="60874"/>
                  </a:lnTo>
                  <a:lnTo>
                    <a:pt x="99393" y="61668"/>
                  </a:lnTo>
                  <a:lnTo>
                    <a:pt x="99646" y="61668"/>
                  </a:lnTo>
                  <a:lnTo>
                    <a:pt x="99747" y="61668"/>
                  </a:lnTo>
                  <a:lnTo>
                    <a:pt x="99747" y="61668"/>
                  </a:lnTo>
                  <a:lnTo>
                    <a:pt x="99898" y="61668"/>
                  </a:lnTo>
                  <a:lnTo>
                    <a:pt x="99747" y="61986"/>
                  </a:lnTo>
                  <a:lnTo>
                    <a:pt x="99545" y="61986"/>
                  </a:lnTo>
                  <a:lnTo>
                    <a:pt x="99393" y="61986"/>
                  </a:lnTo>
                  <a:lnTo>
                    <a:pt x="99191" y="62463"/>
                  </a:lnTo>
                  <a:lnTo>
                    <a:pt x="99545" y="62781"/>
                  </a:lnTo>
                  <a:lnTo>
                    <a:pt x="99898" y="62781"/>
                  </a:lnTo>
                  <a:lnTo>
                    <a:pt x="100101" y="62781"/>
                  </a:lnTo>
                  <a:lnTo>
                    <a:pt x="100000" y="62463"/>
                  </a:lnTo>
                  <a:lnTo>
                    <a:pt x="100101" y="62463"/>
                  </a:lnTo>
                  <a:lnTo>
                    <a:pt x="100252" y="62463"/>
                  </a:lnTo>
                  <a:lnTo>
                    <a:pt x="100353" y="62781"/>
                  </a:lnTo>
                  <a:lnTo>
                    <a:pt x="100606" y="62781"/>
                  </a:lnTo>
                  <a:lnTo>
                    <a:pt x="100606" y="62781"/>
                  </a:lnTo>
                  <a:lnTo>
                    <a:pt x="100707" y="62463"/>
                  </a:lnTo>
                  <a:lnTo>
                    <a:pt x="100707" y="62463"/>
                  </a:lnTo>
                  <a:lnTo>
                    <a:pt x="100858" y="62463"/>
                  </a:lnTo>
                  <a:lnTo>
                    <a:pt x="100707" y="61986"/>
                  </a:lnTo>
                  <a:lnTo>
                    <a:pt x="100959" y="61668"/>
                  </a:lnTo>
                  <a:lnTo>
                    <a:pt x="101212" y="61986"/>
                  </a:lnTo>
                  <a:lnTo>
                    <a:pt x="101414" y="62463"/>
                  </a:lnTo>
                  <a:lnTo>
                    <a:pt x="101565" y="61986"/>
                  </a:lnTo>
                  <a:lnTo>
                    <a:pt x="101565" y="61986"/>
                  </a:lnTo>
                  <a:lnTo>
                    <a:pt x="101565" y="61986"/>
                  </a:lnTo>
                  <a:lnTo>
                    <a:pt x="101767" y="61986"/>
                  </a:lnTo>
                  <a:lnTo>
                    <a:pt x="101919" y="61986"/>
                  </a:lnTo>
                  <a:lnTo>
                    <a:pt x="102020" y="61986"/>
                  </a:lnTo>
                  <a:lnTo>
                    <a:pt x="102121" y="61986"/>
                  </a:lnTo>
                  <a:lnTo>
                    <a:pt x="102020" y="61668"/>
                  </a:lnTo>
                  <a:lnTo>
                    <a:pt x="101919" y="61350"/>
                  </a:lnTo>
                  <a:lnTo>
                    <a:pt x="101666" y="61350"/>
                  </a:lnTo>
                  <a:lnTo>
                    <a:pt x="101313" y="60874"/>
                  </a:lnTo>
                  <a:lnTo>
                    <a:pt x="101212" y="60874"/>
                  </a:lnTo>
                  <a:lnTo>
                    <a:pt x="101212" y="60874"/>
                  </a:lnTo>
                  <a:lnTo>
                    <a:pt x="101060" y="60874"/>
                  </a:lnTo>
                  <a:lnTo>
                    <a:pt x="101060" y="60874"/>
                  </a:lnTo>
                  <a:lnTo>
                    <a:pt x="100959" y="60556"/>
                  </a:lnTo>
                  <a:lnTo>
                    <a:pt x="100959" y="60556"/>
                  </a:lnTo>
                  <a:lnTo>
                    <a:pt x="100959" y="60238"/>
                  </a:lnTo>
                  <a:lnTo>
                    <a:pt x="100858" y="59761"/>
                  </a:lnTo>
                  <a:lnTo>
                    <a:pt x="100858" y="59761"/>
                  </a:lnTo>
                  <a:lnTo>
                    <a:pt x="100858" y="59761"/>
                  </a:lnTo>
                  <a:lnTo>
                    <a:pt x="100707" y="59125"/>
                  </a:lnTo>
                  <a:lnTo>
                    <a:pt x="100858" y="58331"/>
                  </a:lnTo>
                  <a:lnTo>
                    <a:pt x="100959" y="57854"/>
                  </a:lnTo>
                  <a:lnTo>
                    <a:pt x="101060" y="57536"/>
                  </a:lnTo>
                  <a:lnTo>
                    <a:pt x="101060" y="57218"/>
                  </a:lnTo>
                  <a:lnTo>
                    <a:pt x="100959" y="56423"/>
                  </a:lnTo>
                  <a:lnTo>
                    <a:pt x="100959" y="56105"/>
                  </a:lnTo>
                  <a:lnTo>
                    <a:pt x="101060" y="55629"/>
                  </a:lnTo>
                  <a:lnTo>
                    <a:pt x="101060" y="55629"/>
                  </a:lnTo>
                  <a:lnTo>
                    <a:pt x="100959" y="54834"/>
                  </a:lnTo>
                  <a:lnTo>
                    <a:pt x="100959" y="54834"/>
                  </a:lnTo>
                  <a:lnTo>
                    <a:pt x="100959" y="54516"/>
                  </a:lnTo>
                  <a:lnTo>
                    <a:pt x="100959" y="54198"/>
                  </a:lnTo>
                  <a:lnTo>
                    <a:pt x="101060" y="54198"/>
                  </a:lnTo>
                  <a:lnTo>
                    <a:pt x="101212" y="53721"/>
                  </a:lnTo>
                  <a:lnTo>
                    <a:pt x="101414" y="54198"/>
                  </a:lnTo>
                  <a:lnTo>
                    <a:pt x="101666" y="54198"/>
                  </a:lnTo>
                  <a:lnTo>
                    <a:pt x="101666" y="54198"/>
                  </a:lnTo>
                  <a:lnTo>
                    <a:pt x="101767" y="53721"/>
                  </a:lnTo>
                  <a:lnTo>
                    <a:pt x="101919" y="53721"/>
                  </a:lnTo>
                  <a:lnTo>
                    <a:pt x="102121" y="53721"/>
                  </a:lnTo>
                  <a:lnTo>
                    <a:pt x="102121" y="53403"/>
                  </a:lnTo>
                  <a:lnTo>
                    <a:pt x="102272" y="53403"/>
                  </a:lnTo>
                  <a:lnTo>
                    <a:pt x="102373" y="53721"/>
                  </a:lnTo>
                  <a:lnTo>
                    <a:pt x="102626" y="53721"/>
                  </a:lnTo>
                  <a:lnTo>
                    <a:pt x="102626" y="54198"/>
                  </a:lnTo>
                  <a:lnTo>
                    <a:pt x="102727" y="54198"/>
                  </a:lnTo>
                  <a:lnTo>
                    <a:pt x="102878" y="54198"/>
                  </a:lnTo>
                  <a:lnTo>
                    <a:pt x="102979" y="53721"/>
                  </a:lnTo>
                  <a:lnTo>
                    <a:pt x="103080" y="53721"/>
                  </a:lnTo>
                  <a:lnTo>
                    <a:pt x="103080" y="53721"/>
                  </a:lnTo>
                  <a:lnTo>
                    <a:pt x="103232" y="53721"/>
                  </a:lnTo>
                  <a:lnTo>
                    <a:pt x="103232" y="54198"/>
                  </a:lnTo>
                  <a:lnTo>
                    <a:pt x="103333" y="54516"/>
                  </a:lnTo>
                  <a:lnTo>
                    <a:pt x="103434" y="54834"/>
                  </a:lnTo>
                  <a:lnTo>
                    <a:pt x="103434" y="55311"/>
                  </a:lnTo>
                  <a:lnTo>
                    <a:pt x="103434" y="55629"/>
                  </a:lnTo>
                  <a:lnTo>
                    <a:pt x="103585" y="55629"/>
                  </a:lnTo>
                  <a:lnTo>
                    <a:pt x="103686" y="56105"/>
                  </a:lnTo>
                  <a:lnTo>
                    <a:pt x="103686" y="56423"/>
                  </a:lnTo>
                  <a:lnTo>
                    <a:pt x="103787" y="56423"/>
                  </a:lnTo>
                  <a:lnTo>
                    <a:pt x="103787" y="56423"/>
                  </a:lnTo>
                  <a:lnTo>
                    <a:pt x="103787" y="56423"/>
                  </a:lnTo>
                  <a:lnTo>
                    <a:pt x="103939" y="56423"/>
                  </a:lnTo>
                  <a:lnTo>
                    <a:pt x="104040" y="56423"/>
                  </a:lnTo>
                  <a:lnTo>
                    <a:pt x="104191" y="56423"/>
                  </a:lnTo>
                  <a:lnTo>
                    <a:pt x="104191" y="56741"/>
                  </a:lnTo>
                  <a:lnTo>
                    <a:pt x="104292" y="57218"/>
                  </a:lnTo>
                  <a:lnTo>
                    <a:pt x="104292" y="57218"/>
                  </a:lnTo>
                  <a:lnTo>
                    <a:pt x="104393" y="57536"/>
                  </a:lnTo>
                  <a:lnTo>
                    <a:pt x="104393" y="57536"/>
                  </a:lnTo>
                  <a:lnTo>
                    <a:pt x="104393" y="57218"/>
                  </a:lnTo>
                  <a:lnTo>
                    <a:pt x="104545" y="57218"/>
                  </a:lnTo>
                  <a:lnTo>
                    <a:pt x="104747" y="57218"/>
                  </a:lnTo>
                  <a:lnTo>
                    <a:pt x="104646" y="56741"/>
                  </a:lnTo>
                  <a:lnTo>
                    <a:pt x="104646" y="56423"/>
                  </a:lnTo>
                  <a:lnTo>
                    <a:pt x="104898" y="54834"/>
                  </a:lnTo>
                  <a:lnTo>
                    <a:pt x="104898" y="54516"/>
                  </a:lnTo>
                  <a:lnTo>
                    <a:pt x="105000" y="54516"/>
                  </a:lnTo>
                  <a:lnTo>
                    <a:pt x="105101" y="54516"/>
                  </a:lnTo>
                  <a:lnTo>
                    <a:pt x="105101" y="54516"/>
                  </a:lnTo>
                  <a:lnTo>
                    <a:pt x="105101" y="54198"/>
                  </a:lnTo>
                  <a:lnTo>
                    <a:pt x="105101" y="54198"/>
                  </a:lnTo>
                  <a:lnTo>
                    <a:pt x="105252" y="54198"/>
                  </a:lnTo>
                  <a:lnTo>
                    <a:pt x="105353" y="54516"/>
                  </a:lnTo>
                  <a:lnTo>
                    <a:pt x="105454" y="54834"/>
                  </a:lnTo>
                  <a:lnTo>
                    <a:pt x="105454" y="54516"/>
                  </a:lnTo>
                  <a:lnTo>
                    <a:pt x="105454" y="54516"/>
                  </a:lnTo>
                  <a:lnTo>
                    <a:pt x="105454" y="54516"/>
                  </a:lnTo>
                  <a:lnTo>
                    <a:pt x="105606" y="54516"/>
                  </a:lnTo>
                  <a:lnTo>
                    <a:pt x="105454" y="54198"/>
                  </a:lnTo>
                  <a:lnTo>
                    <a:pt x="105454" y="54198"/>
                  </a:lnTo>
                  <a:lnTo>
                    <a:pt x="105252" y="54198"/>
                  </a:lnTo>
                  <a:lnTo>
                    <a:pt x="105101" y="53721"/>
                  </a:lnTo>
                  <a:lnTo>
                    <a:pt x="105000" y="53086"/>
                  </a:lnTo>
                  <a:lnTo>
                    <a:pt x="104898" y="53086"/>
                  </a:lnTo>
                  <a:lnTo>
                    <a:pt x="104898" y="52609"/>
                  </a:lnTo>
                  <a:lnTo>
                    <a:pt x="104747" y="52291"/>
                  </a:lnTo>
                  <a:lnTo>
                    <a:pt x="104747" y="52291"/>
                  </a:lnTo>
                  <a:lnTo>
                    <a:pt x="104747" y="52291"/>
                  </a:lnTo>
                  <a:lnTo>
                    <a:pt x="104646" y="51973"/>
                  </a:lnTo>
                  <a:lnTo>
                    <a:pt x="104646" y="51973"/>
                  </a:lnTo>
                  <a:lnTo>
                    <a:pt x="104646" y="51496"/>
                  </a:lnTo>
                  <a:lnTo>
                    <a:pt x="105101" y="51178"/>
                  </a:lnTo>
                  <a:lnTo>
                    <a:pt x="105252" y="51178"/>
                  </a:lnTo>
                  <a:lnTo>
                    <a:pt x="105353" y="51178"/>
                  </a:lnTo>
                  <a:lnTo>
                    <a:pt x="105707" y="51496"/>
                  </a:lnTo>
                  <a:lnTo>
                    <a:pt x="105959" y="51973"/>
                  </a:lnTo>
                  <a:lnTo>
                    <a:pt x="106212" y="51973"/>
                  </a:lnTo>
                  <a:lnTo>
                    <a:pt x="106313" y="51973"/>
                  </a:lnTo>
                  <a:lnTo>
                    <a:pt x="106212" y="51973"/>
                  </a:lnTo>
                  <a:lnTo>
                    <a:pt x="106060" y="51973"/>
                  </a:lnTo>
                  <a:lnTo>
                    <a:pt x="106212" y="52291"/>
                  </a:lnTo>
                  <a:lnTo>
                    <a:pt x="106212" y="52291"/>
                  </a:lnTo>
                  <a:lnTo>
                    <a:pt x="106060" y="52291"/>
                  </a:lnTo>
                  <a:lnTo>
                    <a:pt x="105959" y="51973"/>
                  </a:lnTo>
                  <a:lnTo>
                    <a:pt x="105707" y="51973"/>
                  </a:lnTo>
                  <a:lnTo>
                    <a:pt x="105606" y="51973"/>
                  </a:lnTo>
                  <a:lnTo>
                    <a:pt x="105606" y="52291"/>
                  </a:lnTo>
                  <a:lnTo>
                    <a:pt x="105606" y="52609"/>
                  </a:lnTo>
                  <a:lnTo>
                    <a:pt x="105707" y="53403"/>
                  </a:lnTo>
                  <a:lnTo>
                    <a:pt x="105959" y="53721"/>
                  </a:lnTo>
                  <a:lnTo>
                    <a:pt x="106060" y="54198"/>
                  </a:lnTo>
                  <a:lnTo>
                    <a:pt x="106060" y="54516"/>
                  </a:lnTo>
                  <a:lnTo>
                    <a:pt x="106060" y="54516"/>
                  </a:lnTo>
                  <a:lnTo>
                    <a:pt x="106212" y="54834"/>
                  </a:lnTo>
                  <a:lnTo>
                    <a:pt x="106313" y="55311"/>
                  </a:lnTo>
                  <a:lnTo>
                    <a:pt x="106414" y="55311"/>
                  </a:lnTo>
                  <a:lnTo>
                    <a:pt x="106414" y="55311"/>
                  </a:lnTo>
                  <a:lnTo>
                    <a:pt x="106565" y="55629"/>
                  </a:lnTo>
                  <a:lnTo>
                    <a:pt x="106414" y="56105"/>
                  </a:lnTo>
                  <a:lnTo>
                    <a:pt x="106414" y="56105"/>
                  </a:lnTo>
                  <a:lnTo>
                    <a:pt x="106414" y="56423"/>
                  </a:lnTo>
                  <a:lnTo>
                    <a:pt x="106666" y="56741"/>
                  </a:lnTo>
                  <a:lnTo>
                    <a:pt x="106666" y="56741"/>
                  </a:lnTo>
                  <a:lnTo>
                    <a:pt x="106666" y="56741"/>
                  </a:lnTo>
                  <a:lnTo>
                    <a:pt x="106565" y="57218"/>
                  </a:lnTo>
                  <a:lnTo>
                    <a:pt x="106313" y="57218"/>
                  </a:lnTo>
                  <a:lnTo>
                    <a:pt x="106313" y="57536"/>
                  </a:lnTo>
                  <a:lnTo>
                    <a:pt x="106060" y="57854"/>
                  </a:lnTo>
                  <a:lnTo>
                    <a:pt x="105959" y="57854"/>
                  </a:lnTo>
                  <a:lnTo>
                    <a:pt x="105959" y="58331"/>
                  </a:lnTo>
                  <a:lnTo>
                    <a:pt x="106060" y="58649"/>
                  </a:lnTo>
                  <a:lnTo>
                    <a:pt x="106060" y="59125"/>
                  </a:lnTo>
                  <a:lnTo>
                    <a:pt x="105959" y="59443"/>
                  </a:lnTo>
                  <a:lnTo>
                    <a:pt x="105959" y="59761"/>
                  </a:lnTo>
                  <a:lnTo>
                    <a:pt x="105959" y="60556"/>
                  </a:lnTo>
                  <a:lnTo>
                    <a:pt x="105858" y="60556"/>
                  </a:lnTo>
                  <a:lnTo>
                    <a:pt x="105858" y="60874"/>
                  </a:lnTo>
                  <a:lnTo>
                    <a:pt x="105858" y="61350"/>
                  </a:lnTo>
                  <a:lnTo>
                    <a:pt x="105707" y="61986"/>
                  </a:lnTo>
                  <a:lnTo>
                    <a:pt x="105858" y="63258"/>
                  </a:lnTo>
                  <a:lnTo>
                    <a:pt x="105858" y="63576"/>
                  </a:lnTo>
                  <a:lnTo>
                    <a:pt x="105858" y="63894"/>
                  </a:lnTo>
                  <a:lnTo>
                    <a:pt x="105858" y="63894"/>
                  </a:lnTo>
                  <a:lnTo>
                    <a:pt x="105858" y="64370"/>
                  </a:lnTo>
                  <a:lnTo>
                    <a:pt x="105707" y="64688"/>
                  </a:lnTo>
                  <a:lnTo>
                    <a:pt x="105707" y="65006"/>
                  </a:lnTo>
                  <a:lnTo>
                    <a:pt x="105606" y="65483"/>
                  </a:lnTo>
                  <a:lnTo>
                    <a:pt x="105707" y="65483"/>
                  </a:lnTo>
                  <a:lnTo>
                    <a:pt x="105606" y="65483"/>
                  </a:lnTo>
                  <a:lnTo>
                    <a:pt x="105454" y="65801"/>
                  </a:lnTo>
                  <a:lnTo>
                    <a:pt x="105252" y="65483"/>
                  </a:lnTo>
                  <a:lnTo>
                    <a:pt x="105252" y="66119"/>
                  </a:lnTo>
                  <a:lnTo>
                    <a:pt x="105101" y="66119"/>
                  </a:lnTo>
                  <a:lnTo>
                    <a:pt x="104898" y="66119"/>
                  </a:lnTo>
                  <a:lnTo>
                    <a:pt x="104898" y="66119"/>
                  </a:lnTo>
                  <a:lnTo>
                    <a:pt x="104747" y="66119"/>
                  </a:lnTo>
                  <a:lnTo>
                    <a:pt x="104747" y="66596"/>
                  </a:lnTo>
                  <a:lnTo>
                    <a:pt x="105000" y="66596"/>
                  </a:lnTo>
                  <a:lnTo>
                    <a:pt x="105101" y="66913"/>
                  </a:lnTo>
                  <a:lnTo>
                    <a:pt x="105101" y="66913"/>
                  </a:lnTo>
                  <a:lnTo>
                    <a:pt x="105252" y="67390"/>
                  </a:lnTo>
                  <a:lnTo>
                    <a:pt x="105353" y="67708"/>
                  </a:lnTo>
                  <a:lnTo>
                    <a:pt x="105353" y="68503"/>
                  </a:lnTo>
                  <a:lnTo>
                    <a:pt x="105353" y="68821"/>
                  </a:lnTo>
                  <a:lnTo>
                    <a:pt x="105252" y="69615"/>
                  </a:lnTo>
                  <a:lnTo>
                    <a:pt x="105252" y="69615"/>
                  </a:lnTo>
                  <a:lnTo>
                    <a:pt x="105252" y="69615"/>
                  </a:lnTo>
                  <a:lnTo>
                    <a:pt x="105606" y="71841"/>
                  </a:lnTo>
                  <a:lnTo>
                    <a:pt x="105858" y="72635"/>
                  </a:lnTo>
                  <a:lnTo>
                    <a:pt x="106212" y="74066"/>
                  </a:lnTo>
                  <a:lnTo>
                    <a:pt x="106313" y="74384"/>
                  </a:lnTo>
                  <a:lnTo>
                    <a:pt x="106666" y="75655"/>
                  </a:lnTo>
                  <a:lnTo>
                    <a:pt x="107121" y="76768"/>
                  </a:lnTo>
                  <a:lnTo>
                    <a:pt x="107878" y="78516"/>
                  </a:lnTo>
                  <a:lnTo>
                    <a:pt x="107979" y="78993"/>
                  </a:lnTo>
                  <a:lnTo>
                    <a:pt x="108787" y="81536"/>
                  </a:lnTo>
                  <a:lnTo>
                    <a:pt x="108939" y="82013"/>
                  </a:lnTo>
                  <a:lnTo>
                    <a:pt x="109040" y="82331"/>
                  </a:lnTo>
                  <a:lnTo>
                    <a:pt x="109292" y="82649"/>
                  </a:lnTo>
                  <a:lnTo>
                    <a:pt x="109545" y="83125"/>
                  </a:lnTo>
                  <a:lnTo>
                    <a:pt x="109646" y="83443"/>
                  </a:lnTo>
                  <a:lnTo>
                    <a:pt x="110101" y="85033"/>
                  </a:lnTo>
                  <a:lnTo>
                    <a:pt x="110454" y="86463"/>
                  </a:lnTo>
                  <a:lnTo>
                    <a:pt x="110606" y="86463"/>
                  </a:lnTo>
                  <a:lnTo>
                    <a:pt x="110707" y="86781"/>
                  </a:lnTo>
                  <a:lnTo>
                    <a:pt x="110808" y="87258"/>
                  </a:lnTo>
                  <a:lnTo>
                    <a:pt x="110959" y="87576"/>
                  </a:lnTo>
                  <a:lnTo>
                    <a:pt x="111060" y="87576"/>
                  </a:lnTo>
                  <a:lnTo>
                    <a:pt x="111212" y="88052"/>
                  </a:lnTo>
                  <a:lnTo>
                    <a:pt x="111212" y="88052"/>
                  </a:lnTo>
                  <a:lnTo>
                    <a:pt x="111313" y="87258"/>
                  </a:lnTo>
                  <a:lnTo>
                    <a:pt x="111414" y="86463"/>
                  </a:lnTo>
                  <a:lnTo>
                    <a:pt x="111313" y="86463"/>
                  </a:lnTo>
                  <a:lnTo>
                    <a:pt x="111414" y="86145"/>
                  </a:lnTo>
                  <a:lnTo>
                    <a:pt x="111414" y="85668"/>
                  </a:lnTo>
                  <a:lnTo>
                    <a:pt x="111565" y="85350"/>
                  </a:lnTo>
                  <a:lnTo>
                    <a:pt x="111414" y="84238"/>
                  </a:lnTo>
                  <a:lnTo>
                    <a:pt x="111313" y="83920"/>
                  </a:lnTo>
                  <a:lnTo>
                    <a:pt x="111313" y="83443"/>
                  </a:lnTo>
                  <a:lnTo>
                    <a:pt x="111212" y="83125"/>
                  </a:lnTo>
                  <a:lnTo>
                    <a:pt x="111060" y="82649"/>
                  </a:lnTo>
                  <a:lnTo>
                    <a:pt x="111060" y="82331"/>
                  </a:lnTo>
                  <a:lnTo>
                    <a:pt x="110959" y="82013"/>
                  </a:lnTo>
                  <a:lnTo>
                    <a:pt x="110808" y="81536"/>
                  </a:lnTo>
                  <a:lnTo>
                    <a:pt x="110707" y="81536"/>
                  </a:lnTo>
                  <a:lnTo>
                    <a:pt x="110707" y="81218"/>
                  </a:lnTo>
                  <a:lnTo>
                    <a:pt x="110707" y="81218"/>
                  </a:lnTo>
                  <a:lnTo>
                    <a:pt x="110808" y="81218"/>
                  </a:lnTo>
                  <a:lnTo>
                    <a:pt x="110959" y="81536"/>
                  </a:lnTo>
                  <a:lnTo>
                    <a:pt x="111060" y="81536"/>
                  </a:lnTo>
                  <a:lnTo>
                    <a:pt x="111060" y="81218"/>
                  </a:lnTo>
                  <a:lnTo>
                    <a:pt x="111212" y="81218"/>
                  </a:lnTo>
                  <a:lnTo>
                    <a:pt x="111414" y="80900"/>
                  </a:lnTo>
                  <a:lnTo>
                    <a:pt x="111565" y="80900"/>
                  </a:lnTo>
                  <a:lnTo>
                    <a:pt x="111767" y="81218"/>
                  </a:lnTo>
                  <a:lnTo>
                    <a:pt x="111767" y="80900"/>
                  </a:lnTo>
                  <a:lnTo>
                    <a:pt x="111666" y="80423"/>
                  </a:lnTo>
                  <a:lnTo>
                    <a:pt x="111565" y="80105"/>
                  </a:lnTo>
                  <a:lnTo>
                    <a:pt x="111414" y="80105"/>
                  </a:lnTo>
                  <a:lnTo>
                    <a:pt x="111414" y="79788"/>
                  </a:lnTo>
                  <a:lnTo>
                    <a:pt x="111313" y="79311"/>
                  </a:lnTo>
                  <a:lnTo>
                    <a:pt x="111212" y="79311"/>
                  </a:lnTo>
                  <a:lnTo>
                    <a:pt x="111060" y="78993"/>
                  </a:lnTo>
                  <a:lnTo>
                    <a:pt x="110959" y="78198"/>
                  </a:lnTo>
                  <a:lnTo>
                    <a:pt x="110808" y="77880"/>
                  </a:lnTo>
                  <a:lnTo>
                    <a:pt x="110808" y="77403"/>
                  </a:lnTo>
                  <a:lnTo>
                    <a:pt x="110959" y="77403"/>
                  </a:lnTo>
                  <a:lnTo>
                    <a:pt x="110959" y="76768"/>
                  </a:lnTo>
                  <a:lnTo>
                    <a:pt x="111060" y="76768"/>
                  </a:lnTo>
                  <a:lnTo>
                    <a:pt x="111212" y="76291"/>
                  </a:lnTo>
                  <a:lnTo>
                    <a:pt x="111313" y="76291"/>
                  </a:lnTo>
                  <a:lnTo>
                    <a:pt x="111565" y="76768"/>
                  </a:lnTo>
                  <a:lnTo>
                    <a:pt x="111767" y="76768"/>
                  </a:lnTo>
                  <a:lnTo>
                    <a:pt x="111767" y="76768"/>
                  </a:lnTo>
                  <a:lnTo>
                    <a:pt x="111919" y="75973"/>
                  </a:lnTo>
                  <a:lnTo>
                    <a:pt x="111919" y="75973"/>
                  </a:lnTo>
                  <a:lnTo>
                    <a:pt x="111767" y="75655"/>
                  </a:lnTo>
                  <a:lnTo>
                    <a:pt x="111565" y="75178"/>
                  </a:lnTo>
                  <a:lnTo>
                    <a:pt x="111313" y="74384"/>
                  </a:lnTo>
                  <a:lnTo>
                    <a:pt x="111212" y="74384"/>
                  </a:lnTo>
                  <a:lnTo>
                    <a:pt x="111060" y="74066"/>
                  </a:lnTo>
                  <a:lnTo>
                    <a:pt x="110808" y="73271"/>
                  </a:lnTo>
                  <a:lnTo>
                    <a:pt x="110707" y="72953"/>
                  </a:lnTo>
                  <a:lnTo>
                    <a:pt x="110707" y="72635"/>
                  </a:lnTo>
                  <a:lnTo>
                    <a:pt x="110606" y="71523"/>
                  </a:lnTo>
                  <a:lnTo>
                    <a:pt x="110606" y="71523"/>
                  </a:lnTo>
                  <a:lnTo>
                    <a:pt x="110707" y="71523"/>
                  </a:lnTo>
                  <a:lnTo>
                    <a:pt x="110707" y="71046"/>
                  </a:lnTo>
                  <a:lnTo>
                    <a:pt x="110707" y="71046"/>
                  </a:lnTo>
                  <a:lnTo>
                    <a:pt x="110606" y="70728"/>
                  </a:lnTo>
                  <a:lnTo>
                    <a:pt x="110606" y="70251"/>
                  </a:lnTo>
                  <a:lnTo>
                    <a:pt x="110606" y="70251"/>
                  </a:lnTo>
                  <a:lnTo>
                    <a:pt x="110808" y="70251"/>
                  </a:lnTo>
                  <a:lnTo>
                    <a:pt x="110808" y="70251"/>
                  </a:lnTo>
                  <a:lnTo>
                    <a:pt x="110808" y="70251"/>
                  </a:lnTo>
                  <a:lnTo>
                    <a:pt x="110959" y="70251"/>
                  </a:lnTo>
                  <a:lnTo>
                    <a:pt x="110808" y="70728"/>
                  </a:lnTo>
                  <a:lnTo>
                    <a:pt x="110808" y="70728"/>
                  </a:lnTo>
                  <a:lnTo>
                    <a:pt x="110808" y="71046"/>
                  </a:lnTo>
                  <a:lnTo>
                    <a:pt x="111212" y="71841"/>
                  </a:lnTo>
                  <a:lnTo>
                    <a:pt x="111313" y="71841"/>
                  </a:lnTo>
                  <a:lnTo>
                    <a:pt x="111313" y="71841"/>
                  </a:lnTo>
                  <a:lnTo>
                    <a:pt x="111414" y="71523"/>
                  </a:lnTo>
                  <a:lnTo>
                    <a:pt x="111414" y="71523"/>
                  </a:lnTo>
                  <a:lnTo>
                    <a:pt x="111414" y="71046"/>
                  </a:lnTo>
                  <a:lnTo>
                    <a:pt x="111212" y="70251"/>
                  </a:lnTo>
                  <a:lnTo>
                    <a:pt x="110959" y="70251"/>
                  </a:lnTo>
                  <a:lnTo>
                    <a:pt x="110808" y="69615"/>
                  </a:lnTo>
                  <a:lnTo>
                    <a:pt x="110707" y="69615"/>
                  </a:lnTo>
                  <a:lnTo>
                    <a:pt x="110606" y="69615"/>
                  </a:lnTo>
                  <a:lnTo>
                    <a:pt x="110606" y="69615"/>
                  </a:lnTo>
                  <a:lnTo>
                    <a:pt x="110454" y="69615"/>
                  </a:lnTo>
                  <a:lnTo>
                    <a:pt x="110353" y="69139"/>
                  </a:lnTo>
                  <a:lnTo>
                    <a:pt x="110353" y="69139"/>
                  </a:lnTo>
                  <a:lnTo>
                    <a:pt x="110252" y="68821"/>
                  </a:lnTo>
                  <a:lnTo>
                    <a:pt x="110101" y="68503"/>
                  </a:lnTo>
                  <a:lnTo>
                    <a:pt x="109898" y="68026"/>
                  </a:lnTo>
                  <a:lnTo>
                    <a:pt x="109898" y="68026"/>
                  </a:lnTo>
                  <a:lnTo>
                    <a:pt x="109747" y="67708"/>
                  </a:lnTo>
                  <a:lnTo>
                    <a:pt x="109898" y="67390"/>
                  </a:lnTo>
                  <a:lnTo>
                    <a:pt x="109898" y="66913"/>
                  </a:lnTo>
                  <a:lnTo>
                    <a:pt x="109898" y="66913"/>
                  </a:lnTo>
                  <a:lnTo>
                    <a:pt x="109747" y="66596"/>
                  </a:lnTo>
                  <a:lnTo>
                    <a:pt x="109646" y="66119"/>
                  </a:lnTo>
                  <a:lnTo>
                    <a:pt x="109646" y="66119"/>
                  </a:lnTo>
                  <a:lnTo>
                    <a:pt x="109191" y="65801"/>
                  </a:lnTo>
                  <a:lnTo>
                    <a:pt x="109040" y="65801"/>
                  </a:lnTo>
                  <a:lnTo>
                    <a:pt x="109040" y="65801"/>
                  </a:lnTo>
                  <a:lnTo>
                    <a:pt x="109191" y="66596"/>
                  </a:lnTo>
                  <a:lnTo>
                    <a:pt x="109191" y="66596"/>
                  </a:lnTo>
                  <a:lnTo>
                    <a:pt x="109191" y="66596"/>
                  </a:lnTo>
                  <a:lnTo>
                    <a:pt x="109040" y="66119"/>
                  </a:lnTo>
                  <a:lnTo>
                    <a:pt x="108939" y="66119"/>
                  </a:lnTo>
                  <a:lnTo>
                    <a:pt x="108787" y="66119"/>
                  </a:lnTo>
                  <a:lnTo>
                    <a:pt x="108686" y="65801"/>
                  </a:lnTo>
                  <a:lnTo>
                    <a:pt x="108585" y="65801"/>
                  </a:lnTo>
                  <a:lnTo>
                    <a:pt x="108434" y="65483"/>
                  </a:lnTo>
                  <a:lnTo>
                    <a:pt x="108333" y="64688"/>
                  </a:lnTo>
                  <a:lnTo>
                    <a:pt x="108232" y="64370"/>
                  </a:lnTo>
                  <a:lnTo>
                    <a:pt x="108080" y="63576"/>
                  </a:lnTo>
                  <a:lnTo>
                    <a:pt x="108232" y="63258"/>
                  </a:lnTo>
                  <a:lnTo>
                    <a:pt x="108232" y="62781"/>
                  </a:lnTo>
                  <a:lnTo>
                    <a:pt x="108232" y="62781"/>
                  </a:lnTo>
                  <a:lnTo>
                    <a:pt x="108232" y="62463"/>
                  </a:lnTo>
                  <a:lnTo>
                    <a:pt x="108232" y="62463"/>
                  </a:lnTo>
                  <a:lnTo>
                    <a:pt x="108080" y="61986"/>
                  </a:lnTo>
                  <a:lnTo>
                    <a:pt x="108080" y="61986"/>
                  </a:lnTo>
                  <a:lnTo>
                    <a:pt x="108080" y="61986"/>
                  </a:lnTo>
                  <a:lnTo>
                    <a:pt x="108232" y="61986"/>
                  </a:lnTo>
                  <a:lnTo>
                    <a:pt x="108080" y="61668"/>
                  </a:lnTo>
                  <a:lnTo>
                    <a:pt x="107878" y="60874"/>
                  </a:lnTo>
                  <a:lnTo>
                    <a:pt x="107727" y="60556"/>
                  </a:lnTo>
                  <a:lnTo>
                    <a:pt x="107727" y="60238"/>
                  </a:lnTo>
                  <a:lnTo>
                    <a:pt x="107626" y="59761"/>
                  </a:lnTo>
                  <a:lnTo>
                    <a:pt x="107626" y="59761"/>
                  </a:lnTo>
                  <a:lnTo>
                    <a:pt x="107727" y="59761"/>
                  </a:lnTo>
                  <a:lnTo>
                    <a:pt x="107727" y="59443"/>
                  </a:lnTo>
                  <a:lnTo>
                    <a:pt x="107727" y="59443"/>
                  </a:lnTo>
                  <a:lnTo>
                    <a:pt x="107727" y="59443"/>
                  </a:lnTo>
                  <a:lnTo>
                    <a:pt x="107878" y="59443"/>
                  </a:lnTo>
                  <a:lnTo>
                    <a:pt x="107979" y="59443"/>
                  </a:lnTo>
                  <a:lnTo>
                    <a:pt x="108080" y="59443"/>
                  </a:lnTo>
                  <a:lnTo>
                    <a:pt x="108080" y="59761"/>
                  </a:lnTo>
                  <a:lnTo>
                    <a:pt x="108080" y="59443"/>
                  </a:lnTo>
                  <a:lnTo>
                    <a:pt x="108080" y="59443"/>
                  </a:lnTo>
                  <a:lnTo>
                    <a:pt x="108232" y="59443"/>
                  </a:lnTo>
                  <a:lnTo>
                    <a:pt x="108232" y="59443"/>
                  </a:lnTo>
                  <a:lnTo>
                    <a:pt x="108434" y="59443"/>
                  </a:lnTo>
                  <a:lnTo>
                    <a:pt x="108686" y="59761"/>
                  </a:lnTo>
                  <a:lnTo>
                    <a:pt x="108686" y="59761"/>
                  </a:lnTo>
                  <a:lnTo>
                    <a:pt x="108787" y="59761"/>
                  </a:lnTo>
                  <a:lnTo>
                    <a:pt x="108787" y="59761"/>
                  </a:lnTo>
                  <a:lnTo>
                    <a:pt x="108787" y="59761"/>
                  </a:lnTo>
                  <a:lnTo>
                    <a:pt x="108686" y="59125"/>
                  </a:lnTo>
                  <a:lnTo>
                    <a:pt x="108686" y="59125"/>
                  </a:lnTo>
                  <a:lnTo>
                    <a:pt x="108686" y="59125"/>
                  </a:lnTo>
                  <a:lnTo>
                    <a:pt x="108787" y="58649"/>
                  </a:lnTo>
                  <a:lnTo>
                    <a:pt x="108787" y="58649"/>
                  </a:lnTo>
                  <a:lnTo>
                    <a:pt x="109040" y="58331"/>
                  </a:lnTo>
                  <a:lnTo>
                    <a:pt x="109040" y="57854"/>
                  </a:lnTo>
                  <a:lnTo>
                    <a:pt x="109191" y="57854"/>
                  </a:lnTo>
                  <a:lnTo>
                    <a:pt x="109191" y="58331"/>
                  </a:lnTo>
                  <a:lnTo>
                    <a:pt x="109292" y="58331"/>
                  </a:lnTo>
                  <a:lnTo>
                    <a:pt x="109393" y="59125"/>
                  </a:lnTo>
                  <a:lnTo>
                    <a:pt x="109393" y="59125"/>
                  </a:lnTo>
                  <a:lnTo>
                    <a:pt x="109545" y="59443"/>
                  </a:lnTo>
                  <a:lnTo>
                    <a:pt x="109646" y="59761"/>
                  </a:lnTo>
                  <a:lnTo>
                    <a:pt x="109747" y="59761"/>
                  </a:lnTo>
                  <a:lnTo>
                    <a:pt x="109747" y="59761"/>
                  </a:lnTo>
                  <a:lnTo>
                    <a:pt x="109898" y="59761"/>
                  </a:lnTo>
                  <a:lnTo>
                    <a:pt x="109898" y="59761"/>
                  </a:lnTo>
                  <a:lnTo>
                    <a:pt x="109747" y="58649"/>
                  </a:lnTo>
                  <a:lnTo>
                    <a:pt x="109898" y="58331"/>
                  </a:lnTo>
                  <a:lnTo>
                    <a:pt x="110101" y="57854"/>
                  </a:lnTo>
                  <a:lnTo>
                    <a:pt x="110101" y="57854"/>
                  </a:lnTo>
                  <a:lnTo>
                    <a:pt x="110353" y="57536"/>
                  </a:lnTo>
                  <a:lnTo>
                    <a:pt x="110606" y="57536"/>
                  </a:lnTo>
                  <a:lnTo>
                    <a:pt x="110808" y="57854"/>
                  </a:lnTo>
                  <a:lnTo>
                    <a:pt x="110808" y="57536"/>
                  </a:lnTo>
                  <a:lnTo>
                    <a:pt x="111212" y="57536"/>
                  </a:lnTo>
                  <a:lnTo>
                    <a:pt x="111313" y="57854"/>
                  </a:lnTo>
                  <a:lnTo>
                    <a:pt x="111666" y="58331"/>
                  </a:lnTo>
                  <a:lnTo>
                    <a:pt x="112020" y="58649"/>
                  </a:lnTo>
                  <a:lnTo>
                    <a:pt x="112020" y="58649"/>
                  </a:lnTo>
                  <a:lnTo>
                    <a:pt x="112121" y="58649"/>
                  </a:lnTo>
                  <a:lnTo>
                    <a:pt x="112121" y="59125"/>
                  </a:lnTo>
                  <a:lnTo>
                    <a:pt x="112272" y="59125"/>
                  </a:lnTo>
                  <a:lnTo>
                    <a:pt x="112373" y="59443"/>
                  </a:lnTo>
                  <a:lnTo>
                    <a:pt x="112626" y="59443"/>
                  </a:lnTo>
                  <a:lnTo>
                    <a:pt x="112727" y="59443"/>
                  </a:lnTo>
                  <a:lnTo>
                    <a:pt x="112727" y="59443"/>
                  </a:lnTo>
                  <a:lnTo>
                    <a:pt x="112727" y="59443"/>
                  </a:lnTo>
                  <a:lnTo>
                    <a:pt x="112474" y="58649"/>
                  </a:lnTo>
                  <a:lnTo>
                    <a:pt x="112474" y="58331"/>
                  </a:lnTo>
                  <a:lnTo>
                    <a:pt x="112373" y="58331"/>
                  </a:lnTo>
                  <a:lnTo>
                    <a:pt x="112373" y="58331"/>
                  </a:lnTo>
                  <a:lnTo>
                    <a:pt x="112474" y="57854"/>
                  </a:lnTo>
                  <a:lnTo>
                    <a:pt x="112474" y="57854"/>
                  </a:lnTo>
                  <a:lnTo>
                    <a:pt x="112727" y="57218"/>
                  </a:lnTo>
                  <a:lnTo>
                    <a:pt x="112727" y="56741"/>
                  </a:lnTo>
                  <a:lnTo>
                    <a:pt x="112878" y="56741"/>
                  </a:lnTo>
                  <a:lnTo>
                    <a:pt x="112878" y="56741"/>
                  </a:lnTo>
                  <a:lnTo>
                    <a:pt x="112878" y="56741"/>
                  </a:lnTo>
                  <a:lnTo>
                    <a:pt x="112979" y="56741"/>
                  </a:lnTo>
                  <a:lnTo>
                    <a:pt x="112979" y="56423"/>
                  </a:lnTo>
                  <a:lnTo>
                    <a:pt x="112979" y="56105"/>
                  </a:lnTo>
                  <a:lnTo>
                    <a:pt x="112979" y="56105"/>
                  </a:lnTo>
                  <a:lnTo>
                    <a:pt x="112878" y="56105"/>
                  </a:lnTo>
                  <a:lnTo>
                    <a:pt x="112979" y="55629"/>
                  </a:lnTo>
                  <a:lnTo>
                    <a:pt x="112979" y="55629"/>
                  </a:lnTo>
                  <a:lnTo>
                    <a:pt x="112979" y="55629"/>
                  </a:lnTo>
                  <a:lnTo>
                    <a:pt x="112979" y="55629"/>
                  </a:lnTo>
                  <a:lnTo>
                    <a:pt x="112979" y="55311"/>
                  </a:lnTo>
                  <a:lnTo>
                    <a:pt x="112979" y="55311"/>
                  </a:lnTo>
                  <a:lnTo>
                    <a:pt x="113080" y="55629"/>
                  </a:lnTo>
                  <a:lnTo>
                    <a:pt x="113080" y="55311"/>
                  </a:lnTo>
                  <a:lnTo>
                    <a:pt x="112979" y="55311"/>
                  </a:lnTo>
                  <a:lnTo>
                    <a:pt x="112878" y="54834"/>
                  </a:lnTo>
                  <a:lnTo>
                    <a:pt x="112878" y="54834"/>
                  </a:lnTo>
                  <a:lnTo>
                    <a:pt x="113080" y="55311"/>
                  </a:lnTo>
                  <a:lnTo>
                    <a:pt x="113080" y="55311"/>
                  </a:lnTo>
                  <a:lnTo>
                    <a:pt x="113232" y="54516"/>
                  </a:lnTo>
                  <a:lnTo>
                    <a:pt x="113080" y="54198"/>
                  </a:lnTo>
                  <a:lnTo>
                    <a:pt x="113333" y="54198"/>
                  </a:lnTo>
                  <a:lnTo>
                    <a:pt x="113434" y="54198"/>
                  </a:lnTo>
                  <a:lnTo>
                    <a:pt x="113585" y="53721"/>
                  </a:lnTo>
                  <a:lnTo>
                    <a:pt x="113686" y="53721"/>
                  </a:lnTo>
                  <a:lnTo>
                    <a:pt x="113686" y="53721"/>
                  </a:lnTo>
                  <a:lnTo>
                    <a:pt x="113686" y="53403"/>
                  </a:lnTo>
                  <a:lnTo>
                    <a:pt x="113787" y="53403"/>
                  </a:lnTo>
                  <a:lnTo>
                    <a:pt x="113939" y="53403"/>
                  </a:lnTo>
                  <a:lnTo>
                    <a:pt x="113939" y="53086"/>
                  </a:lnTo>
                  <a:lnTo>
                    <a:pt x="113939" y="53086"/>
                  </a:lnTo>
                  <a:lnTo>
                    <a:pt x="114040" y="53086"/>
                  </a:lnTo>
                  <a:lnTo>
                    <a:pt x="114040" y="52609"/>
                  </a:lnTo>
                  <a:lnTo>
                    <a:pt x="114393" y="52291"/>
                  </a:lnTo>
                  <a:lnTo>
                    <a:pt x="114393" y="52291"/>
                  </a:lnTo>
                  <a:lnTo>
                    <a:pt x="114545" y="51973"/>
                  </a:lnTo>
                  <a:lnTo>
                    <a:pt x="114545" y="51973"/>
                  </a:lnTo>
                  <a:lnTo>
                    <a:pt x="114747" y="51496"/>
                  </a:lnTo>
                  <a:lnTo>
                    <a:pt x="114747" y="51496"/>
                  </a:lnTo>
                  <a:lnTo>
                    <a:pt x="114545" y="51496"/>
                  </a:lnTo>
                  <a:lnTo>
                    <a:pt x="114545" y="51496"/>
                  </a:lnTo>
                  <a:lnTo>
                    <a:pt x="114393" y="51178"/>
                  </a:lnTo>
                  <a:lnTo>
                    <a:pt x="114393" y="51178"/>
                  </a:lnTo>
                  <a:lnTo>
                    <a:pt x="114393" y="51178"/>
                  </a:lnTo>
                  <a:lnTo>
                    <a:pt x="114393" y="51178"/>
                  </a:lnTo>
                  <a:lnTo>
                    <a:pt x="114545" y="51178"/>
                  </a:lnTo>
                  <a:lnTo>
                    <a:pt x="114545" y="51178"/>
                  </a:lnTo>
                  <a:lnTo>
                    <a:pt x="114545" y="51178"/>
                  </a:lnTo>
                  <a:lnTo>
                    <a:pt x="114646" y="51178"/>
                  </a:lnTo>
                  <a:lnTo>
                    <a:pt x="114646" y="51178"/>
                  </a:lnTo>
                  <a:lnTo>
                    <a:pt x="114646" y="51178"/>
                  </a:lnTo>
                  <a:lnTo>
                    <a:pt x="114747" y="51496"/>
                  </a:lnTo>
                  <a:lnTo>
                    <a:pt x="114747" y="51496"/>
                  </a:lnTo>
                  <a:lnTo>
                    <a:pt x="114898" y="51496"/>
                  </a:lnTo>
                  <a:lnTo>
                    <a:pt x="115101" y="51496"/>
                  </a:lnTo>
                  <a:lnTo>
                    <a:pt x="115353" y="51496"/>
                  </a:lnTo>
                  <a:lnTo>
                    <a:pt x="116313" y="52291"/>
                  </a:lnTo>
                  <a:lnTo>
                    <a:pt x="116414" y="52291"/>
                  </a:lnTo>
                  <a:lnTo>
                    <a:pt x="116414" y="52291"/>
                  </a:lnTo>
                  <a:lnTo>
                    <a:pt x="116414" y="52291"/>
                  </a:lnTo>
                  <a:lnTo>
                    <a:pt x="116313" y="51973"/>
                  </a:lnTo>
                  <a:lnTo>
                    <a:pt x="116313" y="51973"/>
                  </a:lnTo>
                  <a:lnTo>
                    <a:pt x="116313" y="51496"/>
                  </a:lnTo>
                  <a:lnTo>
                    <a:pt x="116313" y="51178"/>
                  </a:lnTo>
                  <a:lnTo>
                    <a:pt x="116212" y="51178"/>
                  </a:lnTo>
                  <a:lnTo>
                    <a:pt x="116060" y="50701"/>
                  </a:lnTo>
                  <a:lnTo>
                    <a:pt x="115959" y="50701"/>
                  </a:lnTo>
                  <a:lnTo>
                    <a:pt x="115808" y="50384"/>
                  </a:lnTo>
                  <a:lnTo>
                    <a:pt x="115707" y="50384"/>
                  </a:lnTo>
                  <a:lnTo>
                    <a:pt x="115707" y="50066"/>
                  </a:lnTo>
                  <a:lnTo>
                    <a:pt x="115707" y="50066"/>
                  </a:lnTo>
                  <a:lnTo>
                    <a:pt x="115606" y="50066"/>
                  </a:lnTo>
                  <a:lnTo>
                    <a:pt x="115606" y="49589"/>
                  </a:lnTo>
                  <a:lnTo>
                    <a:pt x="115252" y="49589"/>
                  </a:lnTo>
                  <a:lnTo>
                    <a:pt x="115000" y="49271"/>
                  </a:lnTo>
                  <a:lnTo>
                    <a:pt x="115000" y="49271"/>
                  </a:lnTo>
                  <a:lnTo>
                    <a:pt x="114747" y="48953"/>
                  </a:lnTo>
                  <a:lnTo>
                    <a:pt x="114747" y="48953"/>
                  </a:lnTo>
                  <a:lnTo>
                    <a:pt x="114898" y="48953"/>
                  </a:lnTo>
                  <a:lnTo>
                    <a:pt x="114898" y="49271"/>
                  </a:lnTo>
                  <a:lnTo>
                    <a:pt x="114747" y="49271"/>
                  </a:lnTo>
                  <a:lnTo>
                    <a:pt x="114747" y="48953"/>
                  </a:lnTo>
                  <a:lnTo>
                    <a:pt x="114646" y="48953"/>
                  </a:lnTo>
                  <a:lnTo>
                    <a:pt x="114646" y="48476"/>
                  </a:lnTo>
                  <a:lnTo>
                    <a:pt x="114393" y="48476"/>
                  </a:lnTo>
                  <a:lnTo>
                    <a:pt x="114393" y="48476"/>
                  </a:lnTo>
                  <a:lnTo>
                    <a:pt x="114393" y="48476"/>
                  </a:lnTo>
                  <a:lnTo>
                    <a:pt x="114545" y="48476"/>
                  </a:lnTo>
                  <a:lnTo>
                    <a:pt x="114545" y="48476"/>
                  </a:lnTo>
                  <a:lnTo>
                    <a:pt x="114292" y="47841"/>
                  </a:lnTo>
                  <a:lnTo>
                    <a:pt x="114040" y="47364"/>
                  </a:lnTo>
                  <a:lnTo>
                    <a:pt x="114040" y="47364"/>
                  </a:lnTo>
                  <a:lnTo>
                    <a:pt x="113939" y="47364"/>
                  </a:lnTo>
                  <a:lnTo>
                    <a:pt x="113787" y="47046"/>
                  </a:lnTo>
                  <a:lnTo>
                    <a:pt x="113787" y="47046"/>
                  </a:lnTo>
                  <a:lnTo>
                    <a:pt x="113585" y="46569"/>
                  </a:lnTo>
                  <a:lnTo>
                    <a:pt x="113434" y="46251"/>
                  </a:lnTo>
                  <a:lnTo>
                    <a:pt x="113333" y="46251"/>
                  </a:lnTo>
                  <a:lnTo>
                    <a:pt x="113333" y="46251"/>
                  </a:lnTo>
                  <a:lnTo>
                    <a:pt x="113333" y="46569"/>
                  </a:lnTo>
                  <a:lnTo>
                    <a:pt x="113333" y="46569"/>
                  </a:lnTo>
                  <a:lnTo>
                    <a:pt x="113232" y="46569"/>
                  </a:lnTo>
                  <a:lnTo>
                    <a:pt x="112979" y="46251"/>
                  </a:lnTo>
                  <a:lnTo>
                    <a:pt x="112626" y="45933"/>
                  </a:lnTo>
                  <a:lnTo>
                    <a:pt x="112474" y="45456"/>
                  </a:lnTo>
                  <a:lnTo>
                    <a:pt x="112272" y="45139"/>
                  </a:lnTo>
                  <a:lnTo>
                    <a:pt x="112272" y="45139"/>
                  </a:lnTo>
                  <a:lnTo>
                    <a:pt x="112121" y="45139"/>
                  </a:lnTo>
                  <a:lnTo>
                    <a:pt x="112020" y="45139"/>
                  </a:lnTo>
                  <a:lnTo>
                    <a:pt x="111919" y="45456"/>
                  </a:lnTo>
                  <a:lnTo>
                    <a:pt x="111919" y="45456"/>
                  </a:lnTo>
                  <a:lnTo>
                    <a:pt x="111666" y="45139"/>
                  </a:lnTo>
                  <a:lnTo>
                    <a:pt x="111565" y="45456"/>
                  </a:lnTo>
                  <a:lnTo>
                    <a:pt x="111565" y="45456"/>
                  </a:lnTo>
                  <a:lnTo>
                    <a:pt x="111565" y="45456"/>
                  </a:lnTo>
                  <a:lnTo>
                    <a:pt x="111565" y="45139"/>
                  </a:lnTo>
                  <a:lnTo>
                    <a:pt x="111414" y="45139"/>
                  </a:lnTo>
                  <a:lnTo>
                    <a:pt x="111313" y="44821"/>
                  </a:lnTo>
                  <a:lnTo>
                    <a:pt x="111212" y="44821"/>
                  </a:lnTo>
                  <a:lnTo>
                    <a:pt x="111060" y="44821"/>
                  </a:lnTo>
                  <a:lnTo>
                    <a:pt x="111060" y="44821"/>
                  </a:lnTo>
                  <a:lnTo>
                    <a:pt x="111060" y="44821"/>
                  </a:lnTo>
                  <a:lnTo>
                    <a:pt x="110959" y="45139"/>
                  </a:lnTo>
                  <a:lnTo>
                    <a:pt x="110707" y="45139"/>
                  </a:lnTo>
                  <a:lnTo>
                    <a:pt x="110606" y="45139"/>
                  </a:lnTo>
                  <a:lnTo>
                    <a:pt x="110353" y="45139"/>
                  </a:lnTo>
                  <a:lnTo>
                    <a:pt x="110252" y="45139"/>
                  </a:lnTo>
                  <a:lnTo>
                    <a:pt x="110454" y="45139"/>
                  </a:lnTo>
                  <a:lnTo>
                    <a:pt x="110707" y="45139"/>
                  </a:lnTo>
                  <a:lnTo>
                    <a:pt x="110959" y="44821"/>
                  </a:lnTo>
                  <a:lnTo>
                    <a:pt x="110959" y="44344"/>
                  </a:lnTo>
                  <a:lnTo>
                    <a:pt x="111414" y="44821"/>
                  </a:lnTo>
                  <a:lnTo>
                    <a:pt x="111565" y="44821"/>
                  </a:lnTo>
                  <a:lnTo>
                    <a:pt x="111666" y="44821"/>
                  </a:lnTo>
                  <a:lnTo>
                    <a:pt x="111919" y="45139"/>
                  </a:lnTo>
                  <a:lnTo>
                    <a:pt x="112020" y="45139"/>
                  </a:lnTo>
                  <a:lnTo>
                    <a:pt x="111919" y="44821"/>
                  </a:lnTo>
                  <a:lnTo>
                    <a:pt x="111767" y="44344"/>
                  </a:lnTo>
                  <a:lnTo>
                    <a:pt x="111666" y="44344"/>
                  </a:lnTo>
                  <a:lnTo>
                    <a:pt x="111565" y="44344"/>
                  </a:lnTo>
                  <a:lnTo>
                    <a:pt x="111313" y="44344"/>
                  </a:lnTo>
                  <a:lnTo>
                    <a:pt x="111212" y="44344"/>
                  </a:lnTo>
                  <a:lnTo>
                    <a:pt x="111060" y="44344"/>
                  </a:lnTo>
                  <a:lnTo>
                    <a:pt x="111060" y="44026"/>
                  </a:lnTo>
                  <a:lnTo>
                    <a:pt x="111313" y="44344"/>
                  </a:lnTo>
                  <a:lnTo>
                    <a:pt x="111414" y="44026"/>
                  </a:lnTo>
                  <a:lnTo>
                    <a:pt x="111767" y="44344"/>
                  </a:lnTo>
                  <a:lnTo>
                    <a:pt x="111919" y="44344"/>
                  </a:lnTo>
                  <a:lnTo>
                    <a:pt x="111919" y="44821"/>
                  </a:lnTo>
                  <a:lnTo>
                    <a:pt x="112272" y="45139"/>
                  </a:lnTo>
                  <a:lnTo>
                    <a:pt x="112474" y="45139"/>
                  </a:lnTo>
                  <a:lnTo>
                    <a:pt x="112979" y="45456"/>
                  </a:lnTo>
                  <a:lnTo>
                    <a:pt x="113232" y="45456"/>
                  </a:lnTo>
                  <a:lnTo>
                    <a:pt x="113333" y="45456"/>
                  </a:lnTo>
                  <a:lnTo>
                    <a:pt x="113434" y="45139"/>
                  </a:lnTo>
                  <a:lnTo>
                    <a:pt x="113585" y="44821"/>
                  </a:lnTo>
                  <a:lnTo>
                    <a:pt x="113585" y="44821"/>
                  </a:lnTo>
                  <a:lnTo>
                    <a:pt x="113585" y="44344"/>
                  </a:lnTo>
                  <a:lnTo>
                    <a:pt x="113686" y="44344"/>
                  </a:lnTo>
                  <a:lnTo>
                    <a:pt x="113686" y="44026"/>
                  </a:lnTo>
                  <a:lnTo>
                    <a:pt x="113686" y="44026"/>
                  </a:lnTo>
                  <a:lnTo>
                    <a:pt x="113686" y="44026"/>
                  </a:lnTo>
                  <a:lnTo>
                    <a:pt x="113686" y="43708"/>
                  </a:lnTo>
                  <a:lnTo>
                    <a:pt x="113585" y="43231"/>
                  </a:lnTo>
                  <a:lnTo>
                    <a:pt x="113585" y="43231"/>
                  </a:lnTo>
                  <a:lnTo>
                    <a:pt x="113585" y="42913"/>
                  </a:lnTo>
                  <a:lnTo>
                    <a:pt x="113434" y="42437"/>
                  </a:lnTo>
                  <a:lnTo>
                    <a:pt x="113434" y="42437"/>
                  </a:lnTo>
                  <a:lnTo>
                    <a:pt x="113333" y="42437"/>
                  </a:lnTo>
                  <a:lnTo>
                    <a:pt x="113080" y="42119"/>
                  </a:lnTo>
                  <a:lnTo>
                    <a:pt x="112979" y="42119"/>
                  </a:lnTo>
                  <a:lnTo>
                    <a:pt x="112727" y="41801"/>
                  </a:lnTo>
                  <a:lnTo>
                    <a:pt x="112626" y="41324"/>
                  </a:lnTo>
                  <a:lnTo>
                    <a:pt x="112474" y="41006"/>
                  </a:lnTo>
                  <a:lnTo>
                    <a:pt x="112474" y="41006"/>
                  </a:lnTo>
                  <a:lnTo>
                    <a:pt x="112626" y="41006"/>
                  </a:lnTo>
                  <a:lnTo>
                    <a:pt x="112727" y="41006"/>
                  </a:lnTo>
                  <a:lnTo>
                    <a:pt x="112727" y="41006"/>
                  </a:lnTo>
                  <a:lnTo>
                    <a:pt x="112727" y="40688"/>
                  </a:lnTo>
                  <a:lnTo>
                    <a:pt x="112626" y="40688"/>
                  </a:lnTo>
                  <a:lnTo>
                    <a:pt x="112626" y="40688"/>
                  </a:lnTo>
                  <a:lnTo>
                    <a:pt x="112626" y="40688"/>
                  </a:lnTo>
                  <a:lnTo>
                    <a:pt x="112626" y="40211"/>
                  </a:lnTo>
                  <a:lnTo>
                    <a:pt x="112626" y="40211"/>
                  </a:lnTo>
                  <a:lnTo>
                    <a:pt x="112626" y="40211"/>
                  </a:lnTo>
                  <a:lnTo>
                    <a:pt x="112878" y="40688"/>
                  </a:lnTo>
                  <a:lnTo>
                    <a:pt x="112878" y="41006"/>
                  </a:lnTo>
                  <a:lnTo>
                    <a:pt x="112979" y="41006"/>
                  </a:lnTo>
                  <a:lnTo>
                    <a:pt x="113080" y="41006"/>
                  </a:lnTo>
                  <a:lnTo>
                    <a:pt x="113080" y="41006"/>
                  </a:lnTo>
                  <a:lnTo>
                    <a:pt x="113080" y="40688"/>
                  </a:lnTo>
                  <a:lnTo>
                    <a:pt x="112979" y="40211"/>
                  </a:lnTo>
                  <a:lnTo>
                    <a:pt x="112979" y="40211"/>
                  </a:lnTo>
                  <a:lnTo>
                    <a:pt x="113080" y="40688"/>
                  </a:lnTo>
                  <a:lnTo>
                    <a:pt x="113232" y="41006"/>
                  </a:lnTo>
                  <a:lnTo>
                    <a:pt x="113232" y="41006"/>
                  </a:lnTo>
                  <a:lnTo>
                    <a:pt x="113232" y="41006"/>
                  </a:lnTo>
                  <a:lnTo>
                    <a:pt x="113333" y="41324"/>
                  </a:lnTo>
                  <a:lnTo>
                    <a:pt x="113333" y="41324"/>
                  </a:lnTo>
                  <a:lnTo>
                    <a:pt x="113232" y="41324"/>
                  </a:lnTo>
                  <a:lnTo>
                    <a:pt x="113232" y="41324"/>
                  </a:lnTo>
                  <a:lnTo>
                    <a:pt x="113333" y="41801"/>
                  </a:lnTo>
                  <a:lnTo>
                    <a:pt x="113585" y="41801"/>
                  </a:lnTo>
                  <a:lnTo>
                    <a:pt x="113686" y="42119"/>
                  </a:lnTo>
                  <a:lnTo>
                    <a:pt x="113787" y="42119"/>
                  </a:lnTo>
                  <a:lnTo>
                    <a:pt x="113787" y="42119"/>
                  </a:lnTo>
                  <a:lnTo>
                    <a:pt x="113939" y="42119"/>
                  </a:lnTo>
                  <a:lnTo>
                    <a:pt x="113939" y="42437"/>
                  </a:lnTo>
                  <a:lnTo>
                    <a:pt x="114040" y="42437"/>
                  </a:lnTo>
                  <a:lnTo>
                    <a:pt x="114141" y="42913"/>
                  </a:lnTo>
                  <a:lnTo>
                    <a:pt x="114292" y="42913"/>
                  </a:lnTo>
                  <a:lnTo>
                    <a:pt x="114292" y="42913"/>
                  </a:lnTo>
                  <a:lnTo>
                    <a:pt x="114747" y="42913"/>
                  </a:lnTo>
                  <a:lnTo>
                    <a:pt x="114898" y="42913"/>
                  </a:lnTo>
                  <a:lnTo>
                    <a:pt x="115000" y="42437"/>
                  </a:lnTo>
                  <a:lnTo>
                    <a:pt x="115101" y="42437"/>
                  </a:lnTo>
                  <a:lnTo>
                    <a:pt x="115101" y="42437"/>
                  </a:lnTo>
                  <a:lnTo>
                    <a:pt x="115454" y="42913"/>
                  </a:lnTo>
                  <a:lnTo>
                    <a:pt x="115959" y="42913"/>
                  </a:lnTo>
                  <a:lnTo>
                    <a:pt x="116212" y="43231"/>
                  </a:lnTo>
                  <a:lnTo>
                    <a:pt x="116414" y="43708"/>
                  </a:lnTo>
                  <a:lnTo>
                    <a:pt x="116565" y="44026"/>
                  </a:lnTo>
                  <a:lnTo>
                    <a:pt x="116666" y="44344"/>
                  </a:lnTo>
                  <a:lnTo>
                    <a:pt x="116666" y="44344"/>
                  </a:lnTo>
                  <a:lnTo>
                    <a:pt x="116919" y="44344"/>
                  </a:lnTo>
                  <a:lnTo>
                    <a:pt x="117121" y="44821"/>
                  </a:lnTo>
                  <a:lnTo>
                    <a:pt x="117121" y="44821"/>
                  </a:lnTo>
                  <a:lnTo>
                    <a:pt x="117272" y="44821"/>
                  </a:lnTo>
                  <a:lnTo>
                    <a:pt x="117272" y="45139"/>
                  </a:lnTo>
                  <a:lnTo>
                    <a:pt x="117373" y="45139"/>
                  </a:lnTo>
                  <a:lnTo>
                    <a:pt x="117474" y="44821"/>
                  </a:lnTo>
                  <a:lnTo>
                    <a:pt x="117474" y="44821"/>
                  </a:lnTo>
                  <a:lnTo>
                    <a:pt x="117727" y="45139"/>
                  </a:lnTo>
                  <a:lnTo>
                    <a:pt x="117979" y="45139"/>
                  </a:lnTo>
                  <a:lnTo>
                    <a:pt x="118333" y="45456"/>
                  </a:lnTo>
                  <a:lnTo>
                    <a:pt x="118434" y="45456"/>
                  </a:lnTo>
                  <a:lnTo>
                    <a:pt x="118787" y="45933"/>
                  </a:lnTo>
                  <a:lnTo>
                    <a:pt x="118939" y="46251"/>
                  </a:lnTo>
                  <a:lnTo>
                    <a:pt x="119040" y="46251"/>
                  </a:lnTo>
                  <a:lnTo>
                    <a:pt x="119141" y="46251"/>
                  </a:lnTo>
                  <a:lnTo>
                    <a:pt x="119141" y="46251"/>
                  </a:lnTo>
                  <a:lnTo>
                    <a:pt x="119141" y="45933"/>
                  </a:lnTo>
                  <a:lnTo>
                    <a:pt x="119141" y="45933"/>
                  </a:lnTo>
                  <a:lnTo>
                    <a:pt x="119141" y="45933"/>
                  </a:lnTo>
                  <a:lnTo>
                    <a:pt x="119141" y="45933"/>
                  </a:lnTo>
                  <a:lnTo>
                    <a:pt x="119292" y="45933"/>
                  </a:lnTo>
                  <a:lnTo>
                    <a:pt x="119292" y="46251"/>
                  </a:lnTo>
                  <a:lnTo>
                    <a:pt x="119292" y="46251"/>
                  </a:lnTo>
                  <a:lnTo>
                    <a:pt x="119545" y="46569"/>
                  </a:lnTo>
                  <a:lnTo>
                    <a:pt x="119646" y="46569"/>
                  </a:lnTo>
                  <a:lnTo>
                    <a:pt x="119646" y="46569"/>
                  </a:lnTo>
                  <a:lnTo>
                    <a:pt x="119646" y="46251"/>
                  </a:lnTo>
                  <a:lnTo>
                    <a:pt x="119646" y="46251"/>
                  </a:lnTo>
                  <a:lnTo>
                    <a:pt x="119393" y="45933"/>
                  </a:lnTo>
                  <a:lnTo>
                    <a:pt x="119393" y="45933"/>
                  </a:lnTo>
                  <a:lnTo>
                    <a:pt x="119545" y="45933"/>
                  </a:lnTo>
                  <a:lnTo>
                    <a:pt x="119646" y="45933"/>
                  </a:lnTo>
                  <a:lnTo>
                    <a:pt x="119747" y="46251"/>
                  </a:lnTo>
                  <a:lnTo>
                    <a:pt x="119747" y="46251"/>
                  </a:lnTo>
                  <a:lnTo>
                    <a:pt x="120000" y="46251"/>
                  </a:lnTo>
                  <a:lnTo>
                    <a:pt x="120000" y="45933"/>
                  </a:lnTo>
                  <a:close/>
                  <a:moveTo>
                    <a:pt x="19797" y="476"/>
                  </a:moveTo>
                  <a:lnTo>
                    <a:pt x="20000" y="476"/>
                  </a:lnTo>
                  <a:lnTo>
                    <a:pt x="20606" y="0"/>
                  </a:lnTo>
                  <a:lnTo>
                    <a:pt x="20606" y="0"/>
                  </a:lnTo>
                  <a:lnTo>
                    <a:pt x="20606" y="0"/>
                  </a:lnTo>
                  <a:lnTo>
                    <a:pt x="20505" y="0"/>
                  </a:lnTo>
                  <a:lnTo>
                    <a:pt x="19898" y="0"/>
                  </a:lnTo>
                  <a:lnTo>
                    <a:pt x="19797" y="0"/>
                  </a:lnTo>
                  <a:lnTo>
                    <a:pt x="19797" y="0"/>
                  </a:lnTo>
                  <a:lnTo>
                    <a:pt x="19797" y="476"/>
                  </a:lnTo>
                  <a:lnTo>
                    <a:pt x="19797" y="476"/>
                  </a:lnTo>
                  <a:lnTo>
                    <a:pt x="19797" y="476"/>
                  </a:lnTo>
                  <a:close/>
                  <a:moveTo>
                    <a:pt x="20606" y="2225"/>
                  </a:moveTo>
                  <a:lnTo>
                    <a:pt x="20707" y="2225"/>
                  </a:lnTo>
                  <a:lnTo>
                    <a:pt x="20707" y="2225"/>
                  </a:lnTo>
                  <a:lnTo>
                    <a:pt x="20707" y="1907"/>
                  </a:lnTo>
                  <a:lnTo>
                    <a:pt x="20606" y="1907"/>
                  </a:lnTo>
                  <a:lnTo>
                    <a:pt x="20606" y="1907"/>
                  </a:lnTo>
                  <a:lnTo>
                    <a:pt x="20505" y="1589"/>
                  </a:lnTo>
                  <a:lnTo>
                    <a:pt x="20353" y="1589"/>
                  </a:lnTo>
                  <a:lnTo>
                    <a:pt x="20252" y="1589"/>
                  </a:lnTo>
                  <a:lnTo>
                    <a:pt x="20151" y="1589"/>
                  </a:lnTo>
                  <a:lnTo>
                    <a:pt x="20151" y="1589"/>
                  </a:lnTo>
                  <a:lnTo>
                    <a:pt x="19898" y="1907"/>
                  </a:lnTo>
                  <a:lnTo>
                    <a:pt x="19797" y="1589"/>
                  </a:lnTo>
                  <a:lnTo>
                    <a:pt x="19646" y="1907"/>
                  </a:lnTo>
                  <a:lnTo>
                    <a:pt x="19898" y="1907"/>
                  </a:lnTo>
                  <a:lnTo>
                    <a:pt x="20000" y="1907"/>
                  </a:lnTo>
                  <a:lnTo>
                    <a:pt x="20252" y="2225"/>
                  </a:lnTo>
                  <a:lnTo>
                    <a:pt x="20505" y="2225"/>
                  </a:lnTo>
                  <a:lnTo>
                    <a:pt x="20606" y="2225"/>
                  </a:lnTo>
                  <a:close/>
                  <a:moveTo>
                    <a:pt x="20151" y="3019"/>
                  </a:moveTo>
                  <a:lnTo>
                    <a:pt x="19898" y="3019"/>
                  </a:lnTo>
                  <a:lnTo>
                    <a:pt x="19797" y="3019"/>
                  </a:lnTo>
                  <a:lnTo>
                    <a:pt x="19898" y="3019"/>
                  </a:lnTo>
                  <a:lnTo>
                    <a:pt x="20000" y="3019"/>
                  </a:lnTo>
                  <a:lnTo>
                    <a:pt x="20000" y="3019"/>
                  </a:lnTo>
                  <a:lnTo>
                    <a:pt x="20000" y="3496"/>
                  </a:lnTo>
                  <a:lnTo>
                    <a:pt x="20151" y="3496"/>
                  </a:lnTo>
                  <a:lnTo>
                    <a:pt x="20151" y="3814"/>
                  </a:lnTo>
                  <a:lnTo>
                    <a:pt x="20252" y="3814"/>
                  </a:lnTo>
                  <a:lnTo>
                    <a:pt x="20505" y="3814"/>
                  </a:lnTo>
                  <a:lnTo>
                    <a:pt x="20505" y="3814"/>
                  </a:lnTo>
                  <a:lnTo>
                    <a:pt x="20606" y="3496"/>
                  </a:lnTo>
                  <a:lnTo>
                    <a:pt x="20707" y="3496"/>
                  </a:lnTo>
                  <a:lnTo>
                    <a:pt x="20707" y="3496"/>
                  </a:lnTo>
                  <a:lnTo>
                    <a:pt x="20606" y="3496"/>
                  </a:lnTo>
                  <a:lnTo>
                    <a:pt x="20707" y="3496"/>
                  </a:lnTo>
                  <a:lnTo>
                    <a:pt x="21212" y="3496"/>
                  </a:lnTo>
                  <a:lnTo>
                    <a:pt x="21060" y="3019"/>
                  </a:lnTo>
                  <a:lnTo>
                    <a:pt x="20959" y="3019"/>
                  </a:lnTo>
                  <a:lnTo>
                    <a:pt x="20707" y="3019"/>
                  </a:lnTo>
                  <a:lnTo>
                    <a:pt x="20151" y="3019"/>
                  </a:lnTo>
                  <a:close/>
                  <a:moveTo>
                    <a:pt x="21060" y="3019"/>
                  </a:moveTo>
                  <a:lnTo>
                    <a:pt x="21212" y="3019"/>
                  </a:lnTo>
                  <a:lnTo>
                    <a:pt x="21313" y="3019"/>
                  </a:lnTo>
                  <a:lnTo>
                    <a:pt x="21565" y="3019"/>
                  </a:lnTo>
                  <a:lnTo>
                    <a:pt x="21666" y="3019"/>
                  </a:lnTo>
                  <a:lnTo>
                    <a:pt x="22020" y="3019"/>
                  </a:lnTo>
                  <a:lnTo>
                    <a:pt x="22171" y="3019"/>
                  </a:lnTo>
                  <a:lnTo>
                    <a:pt x="22272" y="3019"/>
                  </a:lnTo>
                  <a:lnTo>
                    <a:pt x="22525" y="2701"/>
                  </a:lnTo>
                  <a:lnTo>
                    <a:pt x="22525" y="2701"/>
                  </a:lnTo>
                  <a:lnTo>
                    <a:pt x="22525" y="2701"/>
                  </a:lnTo>
                  <a:lnTo>
                    <a:pt x="22626" y="2701"/>
                  </a:lnTo>
                  <a:lnTo>
                    <a:pt x="22626" y="2701"/>
                  </a:lnTo>
                  <a:lnTo>
                    <a:pt x="22727" y="2225"/>
                  </a:lnTo>
                  <a:lnTo>
                    <a:pt x="22626" y="2225"/>
                  </a:lnTo>
                  <a:lnTo>
                    <a:pt x="22626" y="2225"/>
                  </a:lnTo>
                  <a:lnTo>
                    <a:pt x="22626" y="1907"/>
                  </a:lnTo>
                  <a:lnTo>
                    <a:pt x="22373" y="1907"/>
                  </a:lnTo>
                  <a:lnTo>
                    <a:pt x="22272" y="1907"/>
                  </a:lnTo>
                  <a:lnTo>
                    <a:pt x="22171" y="2225"/>
                  </a:lnTo>
                  <a:lnTo>
                    <a:pt x="21919" y="2225"/>
                  </a:lnTo>
                  <a:lnTo>
                    <a:pt x="21666" y="2225"/>
                  </a:lnTo>
                  <a:lnTo>
                    <a:pt x="21565" y="2225"/>
                  </a:lnTo>
                  <a:lnTo>
                    <a:pt x="21565" y="2225"/>
                  </a:lnTo>
                  <a:lnTo>
                    <a:pt x="21464" y="2225"/>
                  </a:lnTo>
                  <a:lnTo>
                    <a:pt x="21212" y="2225"/>
                  </a:lnTo>
                  <a:lnTo>
                    <a:pt x="21212" y="2225"/>
                  </a:lnTo>
                  <a:lnTo>
                    <a:pt x="21212" y="2225"/>
                  </a:lnTo>
                  <a:lnTo>
                    <a:pt x="21060" y="2225"/>
                  </a:lnTo>
                  <a:lnTo>
                    <a:pt x="21060" y="2225"/>
                  </a:lnTo>
                  <a:lnTo>
                    <a:pt x="21060" y="2701"/>
                  </a:lnTo>
                  <a:lnTo>
                    <a:pt x="21060" y="2701"/>
                  </a:lnTo>
                  <a:lnTo>
                    <a:pt x="21060" y="3019"/>
                  </a:lnTo>
                  <a:close/>
                  <a:moveTo>
                    <a:pt x="20353" y="1112"/>
                  </a:moveTo>
                  <a:lnTo>
                    <a:pt x="20353" y="1112"/>
                  </a:lnTo>
                  <a:lnTo>
                    <a:pt x="20505" y="1112"/>
                  </a:lnTo>
                  <a:lnTo>
                    <a:pt x="20606" y="1112"/>
                  </a:lnTo>
                  <a:lnTo>
                    <a:pt x="20707" y="1112"/>
                  </a:lnTo>
                  <a:lnTo>
                    <a:pt x="20858" y="1112"/>
                  </a:lnTo>
                  <a:lnTo>
                    <a:pt x="20707" y="1112"/>
                  </a:lnTo>
                  <a:lnTo>
                    <a:pt x="20606" y="794"/>
                  </a:lnTo>
                  <a:lnTo>
                    <a:pt x="20505" y="794"/>
                  </a:lnTo>
                  <a:lnTo>
                    <a:pt x="20353" y="1112"/>
                  </a:lnTo>
                  <a:close/>
                  <a:moveTo>
                    <a:pt x="21818" y="1907"/>
                  </a:moveTo>
                  <a:lnTo>
                    <a:pt x="22020" y="1907"/>
                  </a:lnTo>
                  <a:lnTo>
                    <a:pt x="22171" y="1907"/>
                  </a:lnTo>
                  <a:lnTo>
                    <a:pt x="22171" y="1589"/>
                  </a:lnTo>
                  <a:lnTo>
                    <a:pt x="22020" y="1589"/>
                  </a:lnTo>
                  <a:lnTo>
                    <a:pt x="21565" y="1589"/>
                  </a:lnTo>
                  <a:lnTo>
                    <a:pt x="21464" y="1907"/>
                  </a:lnTo>
                  <a:lnTo>
                    <a:pt x="21313" y="1907"/>
                  </a:lnTo>
                  <a:lnTo>
                    <a:pt x="21313" y="1907"/>
                  </a:lnTo>
                  <a:lnTo>
                    <a:pt x="21565" y="1907"/>
                  </a:lnTo>
                  <a:lnTo>
                    <a:pt x="21818" y="1907"/>
                  </a:lnTo>
                  <a:close/>
                  <a:moveTo>
                    <a:pt x="18585" y="31947"/>
                  </a:moveTo>
                  <a:lnTo>
                    <a:pt x="18585" y="32423"/>
                  </a:lnTo>
                  <a:lnTo>
                    <a:pt x="18585" y="32423"/>
                  </a:lnTo>
                  <a:lnTo>
                    <a:pt x="18585" y="32741"/>
                  </a:lnTo>
                  <a:lnTo>
                    <a:pt x="18686" y="32741"/>
                  </a:lnTo>
                  <a:lnTo>
                    <a:pt x="18686" y="33059"/>
                  </a:lnTo>
                  <a:lnTo>
                    <a:pt x="18838" y="33536"/>
                  </a:lnTo>
                  <a:lnTo>
                    <a:pt x="18939" y="33536"/>
                  </a:lnTo>
                  <a:lnTo>
                    <a:pt x="19191" y="33536"/>
                  </a:lnTo>
                  <a:lnTo>
                    <a:pt x="19292" y="33536"/>
                  </a:lnTo>
                  <a:lnTo>
                    <a:pt x="19646" y="33059"/>
                  </a:lnTo>
                  <a:lnTo>
                    <a:pt x="19797" y="32741"/>
                  </a:lnTo>
                  <a:lnTo>
                    <a:pt x="19797" y="32741"/>
                  </a:lnTo>
                  <a:lnTo>
                    <a:pt x="19898" y="32423"/>
                  </a:lnTo>
                  <a:lnTo>
                    <a:pt x="19898" y="32423"/>
                  </a:lnTo>
                  <a:lnTo>
                    <a:pt x="19898" y="32741"/>
                  </a:lnTo>
                  <a:lnTo>
                    <a:pt x="20000" y="32741"/>
                  </a:lnTo>
                  <a:lnTo>
                    <a:pt x="20000" y="32741"/>
                  </a:lnTo>
                  <a:lnTo>
                    <a:pt x="19898" y="32423"/>
                  </a:lnTo>
                  <a:lnTo>
                    <a:pt x="19898" y="31947"/>
                  </a:lnTo>
                  <a:lnTo>
                    <a:pt x="19797" y="31947"/>
                  </a:lnTo>
                  <a:lnTo>
                    <a:pt x="19191" y="31311"/>
                  </a:lnTo>
                  <a:lnTo>
                    <a:pt x="18939" y="31311"/>
                  </a:lnTo>
                  <a:lnTo>
                    <a:pt x="18939" y="31311"/>
                  </a:lnTo>
                  <a:lnTo>
                    <a:pt x="18686" y="31629"/>
                  </a:lnTo>
                  <a:lnTo>
                    <a:pt x="18585" y="31947"/>
                  </a:lnTo>
                  <a:lnTo>
                    <a:pt x="18585" y="31947"/>
                  </a:lnTo>
                  <a:close/>
                  <a:moveTo>
                    <a:pt x="21313" y="4132"/>
                  </a:moveTo>
                  <a:lnTo>
                    <a:pt x="21313" y="4132"/>
                  </a:lnTo>
                  <a:lnTo>
                    <a:pt x="21464" y="4132"/>
                  </a:lnTo>
                  <a:lnTo>
                    <a:pt x="21666" y="4132"/>
                  </a:lnTo>
                  <a:lnTo>
                    <a:pt x="21666" y="4132"/>
                  </a:lnTo>
                  <a:lnTo>
                    <a:pt x="21666" y="3814"/>
                  </a:lnTo>
                  <a:lnTo>
                    <a:pt x="21464" y="3814"/>
                  </a:lnTo>
                  <a:lnTo>
                    <a:pt x="21212" y="3814"/>
                  </a:lnTo>
                  <a:lnTo>
                    <a:pt x="21212" y="3814"/>
                  </a:lnTo>
                  <a:lnTo>
                    <a:pt x="21212" y="4132"/>
                  </a:lnTo>
                  <a:lnTo>
                    <a:pt x="21313" y="4132"/>
                  </a:lnTo>
                  <a:lnTo>
                    <a:pt x="21313" y="4132"/>
                  </a:lnTo>
                  <a:close/>
                  <a:moveTo>
                    <a:pt x="18939" y="3496"/>
                  </a:moveTo>
                  <a:lnTo>
                    <a:pt x="19040" y="3496"/>
                  </a:lnTo>
                  <a:lnTo>
                    <a:pt x="18939" y="3496"/>
                  </a:lnTo>
                  <a:lnTo>
                    <a:pt x="18939" y="3496"/>
                  </a:lnTo>
                  <a:lnTo>
                    <a:pt x="18838" y="3496"/>
                  </a:lnTo>
                  <a:lnTo>
                    <a:pt x="18838" y="3496"/>
                  </a:lnTo>
                  <a:lnTo>
                    <a:pt x="18686" y="3496"/>
                  </a:lnTo>
                  <a:lnTo>
                    <a:pt x="18838" y="3496"/>
                  </a:lnTo>
                  <a:lnTo>
                    <a:pt x="18939" y="3496"/>
                  </a:lnTo>
                  <a:close/>
                  <a:moveTo>
                    <a:pt x="22373" y="476"/>
                  </a:moveTo>
                  <a:lnTo>
                    <a:pt x="22525" y="476"/>
                  </a:lnTo>
                  <a:lnTo>
                    <a:pt x="22626" y="476"/>
                  </a:lnTo>
                  <a:lnTo>
                    <a:pt x="22979" y="476"/>
                  </a:lnTo>
                  <a:lnTo>
                    <a:pt x="23131" y="476"/>
                  </a:lnTo>
                  <a:lnTo>
                    <a:pt x="23131" y="476"/>
                  </a:lnTo>
                  <a:lnTo>
                    <a:pt x="23131" y="476"/>
                  </a:lnTo>
                  <a:lnTo>
                    <a:pt x="23131" y="476"/>
                  </a:lnTo>
                  <a:lnTo>
                    <a:pt x="22525" y="476"/>
                  </a:lnTo>
                  <a:lnTo>
                    <a:pt x="22272" y="476"/>
                  </a:lnTo>
                  <a:lnTo>
                    <a:pt x="22171" y="476"/>
                  </a:lnTo>
                  <a:lnTo>
                    <a:pt x="22373" y="476"/>
                  </a:lnTo>
                  <a:lnTo>
                    <a:pt x="22373" y="476"/>
                  </a:lnTo>
                  <a:close/>
                  <a:moveTo>
                    <a:pt x="19292" y="3814"/>
                  </a:moveTo>
                  <a:lnTo>
                    <a:pt x="19292" y="3814"/>
                  </a:lnTo>
                  <a:lnTo>
                    <a:pt x="19545" y="3814"/>
                  </a:lnTo>
                  <a:lnTo>
                    <a:pt x="20000" y="3814"/>
                  </a:lnTo>
                  <a:lnTo>
                    <a:pt x="20000" y="3814"/>
                  </a:lnTo>
                  <a:lnTo>
                    <a:pt x="20000" y="3814"/>
                  </a:lnTo>
                  <a:lnTo>
                    <a:pt x="20000" y="3496"/>
                  </a:lnTo>
                  <a:lnTo>
                    <a:pt x="20000" y="3496"/>
                  </a:lnTo>
                  <a:lnTo>
                    <a:pt x="19898" y="3496"/>
                  </a:lnTo>
                  <a:lnTo>
                    <a:pt x="19898" y="3019"/>
                  </a:lnTo>
                  <a:lnTo>
                    <a:pt x="19646" y="3019"/>
                  </a:lnTo>
                  <a:lnTo>
                    <a:pt x="19646" y="3496"/>
                  </a:lnTo>
                  <a:lnTo>
                    <a:pt x="19292" y="3496"/>
                  </a:lnTo>
                  <a:lnTo>
                    <a:pt x="19292" y="3496"/>
                  </a:lnTo>
                  <a:lnTo>
                    <a:pt x="19393" y="3496"/>
                  </a:lnTo>
                  <a:lnTo>
                    <a:pt x="19292" y="3814"/>
                  </a:lnTo>
                  <a:lnTo>
                    <a:pt x="19292" y="3814"/>
                  </a:lnTo>
                  <a:close/>
                  <a:moveTo>
                    <a:pt x="22979" y="1907"/>
                  </a:moveTo>
                  <a:lnTo>
                    <a:pt x="22878" y="2225"/>
                  </a:lnTo>
                  <a:lnTo>
                    <a:pt x="22878" y="2225"/>
                  </a:lnTo>
                  <a:lnTo>
                    <a:pt x="22979" y="2225"/>
                  </a:lnTo>
                  <a:lnTo>
                    <a:pt x="23232" y="2225"/>
                  </a:lnTo>
                  <a:lnTo>
                    <a:pt x="23333" y="2225"/>
                  </a:lnTo>
                  <a:lnTo>
                    <a:pt x="23333" y="2225"/>
                  </a:lnTo>
                  <a:lnTo>
                    <a:pt x="24040" y="2225"/>
                  </a:lnTo>
                  <a:lnTo>
                    <a:pt x="24292" y="2225"/>
                  </a:lnTo>
                  <a:lnTo>
                    <a:pt x="24393" y="1907"/>
                  </a:lnTo>
                  <a:lnTo>
                    <a:pt x="24393" y="1907"/>
                  </a:lnTo>
                  <a:lnTo>
                    <a:pt x="24393" y="1907"/>
                  </a:lnTo>
                  <a:lnTo>
                    <a:pt x="24393" y="1589"/>
                  </a:lnTo>
                  <a:lnTo>
                    <a:pt x="24292" y="1589"/>
                  </a:lnTo>
                  <a:lnTo>
                    <a:pt x="24191" y="1589"/>
                  </a:lnTo>
                  <a:lnTo>
                    <a:pt x="24040" y="1589"/>
                  </a:lnTo>
                  <a:lnTo>
                    <a:pt x="23939" y="1589"/>
                  </a:lnTo>
                  <a:lnTo>
                    <a:pt x="23838" y="1589"/>
                  </a:lnTo>
                  <a:lnTo>
                    <a:pt x="23686" y="1589"/>
                  </a:lnTo>
                  <a:lnTo>
                    <a:pt x="23686" y="1589"/>
                  </a:lnTo>
                  <a:lnTo>
                    <a:pt x="23686" y="1589"/>
                  </a:lnTo>
                  <a:lnTo>
                    <a:pt x="23686" y="1907"/>
                  </a:lnTo>
                  <a:lnTo>
                    <a:pt x="23686" y="1907"/>
                  </a:lnTo>
                  <a:lnTo>
                    <a:pt x="23585" y="1907"/>
                  </a:lnTo>
                  <a:lnTo>
                    <a:pt x="23333" y="1907"/>
                  </a:lnTo>
                  <a:lnTo>
                    <a:pt x="23131" y="1907"/>
                  </a:lnTo>
                  <a:lnTo>
                    <a:pt x="22979" y="1907"/>
                  </a:lnTo>
                  <a:close/>
                  <a:moveTo>
                    <a:pt x="18838" y="1589"/>
                  </a:moveTo>
                  <a:lnTo>
                    <a:pt x="19040" y="1112"/>
                  </a:lnTo>
                  <a:lnTo>
                    <a:pt x="19191" y="1589"/>
                  </a:lnTo>
                  <a:lnTo>
                    <a:pt x="19191" y="1589"/>
                  </a:lnTo>
                  <a:lnTo>
                    <a:pt x="19292" y="1589"/>
                  </a:lnTo>
                  <a:lnTo>
                    <a:pt x="19393" y="1112"/>
                  </a:lnTo>
                  <a:lnTo>
                    <a:pt x="19646" y="1589"/>
                  </a:lnTo>
                  <a:lnTo>
                    <a:pt x="19797" y="1589"/>
                  </a:lnTo>
                  <a:lnTo>
                    <a:pt x="20000" y="1589"/>
                  </a:lnTo>
                  <a:lnTo>
                    <a:pt x="20000" y="1589"/>
                  </a:lnTo>
                  <a:lnTo>
                    <a:pt x="20000" y="1112"/>
                  </a:lnTo>
                  <a:lnTo>
                    <a:pt x="20000" y="1112"/>
                  </a:lnTo>
                  <a:lnTo>
                    <a:pt x="19898" y="1112"/>
                  </a:lnTo>
                  <a:lnTo>
                    <a:pt x="20252" y="1112"/>
                  </a:lnTo>
                  <a:lnTo>
                    <a:pt x="20252" y="794"/>
                  </a:lnTo>
                  <a:lnTo>
                    <a:pt x="20252" y="794"/>
                  </a:lnTo>
                  <a:lnTo>
                    <a:pt x="20000" y="794"/>
                  </a:lnTo>
                  <a:lnTo>
                    <a:pt x="19898" y="794"/>
                  </a:lnTo>
                  <a:lnTo>
                    <a:pt x="19797" y="794"/>
                  </a:lnTo>
                  <a:lnTo>
                    <a:pt x="19797" y="794"/>
                  </a:lnTo>
                  <a:lnTo>
                    <a:pt x="19646" y="794"/>
                  </a:lnTo>
                  <a:lnTo>
                    <a:pt x="19545" y="794"/>
                  </a:lnTo>
                  <a:lnTo>
                    <a:pt x="19393" y="794"/>
                  </a:lnTo>
                  <a:lnTo>
                    <a:pt x="19292" y="794"/>
                  </a:lnTo>
                  <a:lnTo>
                    <a:pt x="19292" y="794"/>
                  </a:lnTo>
                  <a:lnTo>
                    <a:pt x="19040" y="1112"/>
                  </a:lnTo>
                  <a:lnTo>
                    <a:pt x="18939" y="1112"/>
                  </a:lnTo>
                  <a:lnTo>
                    <a:pt x="18686" y="1112"/>
                  </a:lnTo>
                  <a:lnTo>
                    <a:pt x="18585" y="1112"/>
                  </a:lnTo>
                  <a:lnTo>
                    <a:pt x="18686" y="1112"/>
                  </a:lnTo>
                  <a:lnTo>
                    <a:pt x="18838" y="1589"/>
                  </a:lnTo>
                  <a:close/>
                  <a:moveTo>
                    <a:pt x="17373" y="3496"/>
                  </a:moveTo>
                  <a:lnTo>
                    <a:pt x="17373" y="3496"/>
                  </a:lnTo>
                  <a:lnTo>
                    <a:pt x="17373" y="3814"/>
                  </a:lnTo>
                  <a:lnTo>
                    <a:pt x="17525" y="3814"/>
                  </a:lnTo>
                  <a:lnTo>
                    <a:pt x="17878" y="3814"/>
                  </a:lnTo>
                  <a:lnTo>
                    <a:pt x="17979" y="3496"/>
                  </a:lnTo>
                  <a:lnTo>
                    <a:pt x="18131" y="3496"/>
                  </a:lnTo>
                  <a:lnTo>
                    <a:pt x="18131" y="3496"/>
                  </a:lnTo>
                  <a:lnTo>
                    <a:pt x="17878" y="3496"/>
                  </a:lnTo>
                  <a:lnTo>
                    <a:pt x="17727" y="3019"/>
                  </a:lnTo>
                  <a:lnTo>
                    <a:pt x="17727" y="3019"/>
                  </a:lnTo>
                  <a:lnTo>
                    <a:pt x="17626" y="3019"/>
                  </a:lnTo>
                  <a:lnTo>
                    <a:pt x="17373" y="3019"/>
                  </a:lnTo>
                  <a:lnTo>
                    <a:pt x="17373" y="3496"/>
                  </a:lnTo>
                  <a:lnTo>
                    <a:pt x="17373" y="3496"/>
                  </a:lnTo>
                  <a:lnTo>
                    <a:pt x="17272" y="3496"/>
                  </a:lnTo>
                  <a:lnTo>
                    <a:pt x="17171" y="3496"/>
                  </a:lnTo>
                  <a:lnTo>
                    <a:pt x="17171" y="3496"/>
                  </a:lnTo>
                  <a:lnTo>
                    <a:pt x="17272" y="3496"/>
                  </a:lnTo>
                  <a:lnTo>
                    <a:pt x="17373" y="3496"/>
                  </a:lnTo>
                  <a:close/>
                  <a:moveTo>
                    <a:pt x="13131" y="2701"/>
                  </a:moveTo>
                  <a:lnTo>
                    <a:pt x="13232" y="2701"/>
                  </a:lnTo>
                  <a:lnTo>
                    <a:pt x="13333" y="2701"/>
                  </a:lnTo>
                  <a:lnTo>
                    <a:pt x="13484" y="2701"/>
                  </a:lnTo>
                  <a:lnTo>
                    <a:pt x="13484" y="3019"/>
                  </a:lnTo>
                  <a:lnTo>
                    <a:pt x="13585" y="3019"/>
                  </a:lnTo>
                  <a:lnTo>
                    <a:pt x="13686" y="3019"/>
                  </a:lnTo>
                  <a:lnTo>
                    <a:pt x="13686" y="3019"/>
                  </a:lnTo>
                  <a:lnTo>
                    <a:pt x="13838" y="2701"/>
                  </a:lnTo>
                  <a:lnTo>
                    <a:pt x="13838" y="2701"/>
                  </a:lnTo>
                  <a:lnTo>
                    <a:pt x="14040" y="2701"/>
                  </a:lnTo>
                  <a:lnTo>
                    <a:pt x="14040" y="2701"/>
                  </a:lnTo>
                  <a:lnTo>
                    <a:pt x="14040" y="2701"/>
                  </a:lnTo>
                  <a:lnTo>
                    <a:pt x="14191" y="2701"/>
                  </a:lnTo>
                  <a:lnTo>
                    <a:pt x="14191" y="2701"/>
                  </a:lnTo>
                  <a:lnTo>
                    <a:pt x="14292" y="2701"/>
                  </a:lnTo>
                  <a:lnTo>
                    <a:pt x="14292" y="2225"/>
                  </a:lnTo>
                  <a:lnTo>
                    <a:pt x="14292" y="2225"/>
                  </a:lnTo>
                  <a:lnTo>
                    <a:pt x="14393" y="2225"/>
                  </a:lnTo>
                  <a:lnTo>
                    <a:pt x="14545" y="2701"/>
                  </a:lnTo>
                  <a:lnTo>
                    <a:pt x="14898" y="2701"/>
                  </a:lnTo>
                  <a:lnTo>
                    <a:pt x="14898" y="2701"/>
                  </a:lnTo>
                  <a:lnTo>
                    <a:pt x="14898" y="2225"/>
                  </a:lnTo>
                  <a:lnTo>
                    <a:pt x="14797" y="2225"/>
                  </a:lnTo>
                  <a:lnTo>
                    <a:pt x="14797" y="2225"/>
                  </a:lnTo>
                  <a:lnTo>
                    <a:pt x="14646" y="2225"/>
                  </a:lnTo>
                  <a:lnTo>
                    <a:pt x="14646" y="2225"/>
                  </a:lnTo>
                  <a:lnTo>
                    <a:pt x="14393" y="2225"/>
                  </a:lnTo>
                  <a:lnTo>
                    <a:pt x="14191" y="2225"/>
                  </a:lnTo>
                  <a:lnTo>
                    <a:pt x="14040" y="2225"/>
                  </a:lnTo>
                  <a:lnTo>
                    <a:pt x="13939" y="2225"/>
                  </a:lnTo>
                  <a:lnTo>
                    <a:pt x="13838" y="2225"/>
                  </a:lnTo>
                  <a:lnTo>
                    <a:pt x="13585" y="2225"/>
                  </a:lnTo>
                  <a:lnTo>
                    <a:pt x="12878" y="2701"/>
                  </a:lnTo>
                  <a:lnTo>
                    <a:pt x="12727" y="2701"/>
                  </a:lnTo>
                  <a:lnTo>
                    <a:pt x="12878" y="2701"/>
                  </a:lnTo>
                  <a:lnTo>
                    <a:pt x="13131" y="2701"/>
                  </a:lnTo>
                  <a:close/>
                  <a:moveTo>
                    <a:pt x="103939" y="103788"/>
                  </a:moveTo>
                  <a:lnTo>
                    <a:pt x="103939" y="103788"/>
                  </a:lnTo>
                  <a:lnTo>
                    <a:pt x="103939" y="103470"/>
                  </a:lnTo>
                  <a:lnTo>
                    <a:pt x="103787" y="102993"/>
                  </a:lnTo>
                  <a:lnTo>
                    <a:pt x="103787" y="102993"/>
                  </a:lnTo>
                  <a:lnTo>
                    <a:pt x="103686" y="102198"/>
                  </a:lnTo>
                  <a:lnTo>
                    <a:pt x="103434" y="101880"/>
                  </a:lnTo>
                  <a:lnTo>
                    <a:pt x="103434" y="101562"/>
                  </a:lnTo>
                  <a:lnTo>
                    <a:pt x="103333" y="101562"/>
                  </a:lnTo>
                  <a:lnTo>
                    <a:pt x="103333" y="101562"/>
                  </a:lnTo>
                  <a:lnTo>
                    <a:pt x="103232" y="101562"/>
                  </a:lnTo>
                  <a:lnTo>
                    <a:pt x="103232" y="101562"/>
                  </a:lnTo>
                  <a:lnTo>
                    <a:pt x="102979" y="100768"/>
                  </a:lnTo>
                  <a:lnTo>
                    <a:pt x="102727" y="100450"/>
                  </a:lnTo>
                  <a:lnTo>
                    <a:pt x="102626" y="99973"/>
                  </a:lnTo>
                  <a:lnTo>
                    <a:pt x="102626" y="99655"/>
                  </a:lnTo>
                  <a:lnTo>
                    <a:pt x="102525" y="99655"/>
                  </a:lnTo>
                  <a:lnTo>
                    <a:pt x="102525" y="99655"/>
                  </a:lnTo>
                  <a:lnTo>
                    <a:pt x="102373" y="99655"/>
                  </a:lnTo>
                  <a:lnTo>
                    <a:pt x="102272" y="99337"/>
                  </a:lnTo>
                  <a:lnTo>
                    <a:pt x="102121" y="98860"/>
                  </a:lnTo>
                  <a:lnTo>
                    <a:pt x="102020" y="98543"/>
                  </a:lnTo>
                  <a:lnTo>
                    <a:pt x="101919" y="98066"/>
                  </a:lnTo>
                  <a:lnTo>
                    <a:pt x="101767" y="97430"/>
                  </a:lnTo>
                  <a:lnTo>
                    <a:pt x="101767" y="96953"/>
                  </a:lnTo>
                  <a:lnTo>
                    <a:pt x="101565" y="94728"/>
                  </a:lnTo>
                  <a:lnTo>
                    <a:pt x="101414" y="93933"/>
                  </a:lnTo>
                  <a:lnTo>
                    <a:pt x="101414" y="93615"/>
                  </a:lnTo>
                  <a:lnTo>
                    <a:pt x="101565" y="93615"/>
                  </a:lnTo>
                  <a:lnTo>
                    <a:pt x="101666" y="93615"/>
                  </a:lnTo>
                  <a:lnTo>
                    <a:pt x="101919" y="93298"/>
                  </a:lnTo>
                  <a:lnTo>
                    <a:pt x="101919" y="93298"/>
                  </a:lnTo>
                  <a:lnTo>
                    <a:pt x="102121" y="93615"/>
                  </a:lnTo>
                  <a:lnTo>
                    <a:pt x="102121" y="93615"/>
                  </a:lnTo>
                  <a:lnTo>
                    <a:pt x="102272" y="93615"/>
                  </a:lnTo>
                  <a:lnTo>
                    <a:pt x="102525" y="93933"/>
                  </a:lnTo>
                  <a:lnTo>
                    <a:pt x="102727" y="94410"/>
                  </a:lnTo>
                  <a:lnTo>
                    <a:pt x="102878" y="94728"/>
                  </a:lnTo>
                  <a:lnTo>
                    <a:pt x="102979" y="95046"/>
                  </a:lnTo>
                  <a:lnTo>
                    <a:pt x="103080" y="95523"/>
                  </a:lnTo>
                  <a:lnTo>
                    <a:pt x="103232" y="95523"/>
                  </a:lnTo>
                  <a:lnTo>
                    <a:pt x="103080" y="95046"/>
                  </a:lnTo>
                  <a:lnTo>
                    <a:pt x="102979" y="94728"/>
                  </a:lnTo>
                  <a:lnTo>
                    <a:pt x="102878" y="94728"/>
                  </a:lnTo>
                  <a:lnTo>
                    <a:pt x="102626" y="94410"/>
                  </a:lnTo>
                  <a:lnTo>
                    <a:pt x="102525" y="93615"/>
                  </a:lnTo>
                  <a:lnTo>
                    <a:pt x="102373" y="93298"/>
                  </a:lnTo>
                  <a:lnTo>
                    <a:pt x="102272" y="92821"/>
                  </a:lnTo>
                  <a:lnTo>
                    <a:pt x="102121" y="92503"/>
                  </a:lnTo>
                  <a:lnTo>
                    <a:pt x="101919" y="92185"/>
                  </a:lnTo>
                  <a:lnTo>
                    <a:pt x="101666" y="91390"/>
                  </a:lnTo>
                  <a:lnTo>
                    <a:pt x="101212" y="90278"/>
                  </a:lnTo>
                  <a:lnTo>
                    <a:pt x="100959" y="89483"/>
                  </a:lnTo>
                  <a:lnTo>
                    <a:pt x="100252" y="87258"/>
                  </a:lnTo>
                  <a:lnTo>
                    <a:pt x="100252" y="86781"/>
                  </a:lnTo>
                  <a:lnTo>
                    <a:pt x="100101" y="86781"/>
                  </a:lnTo>
                  <a:lnTo>
                    <a:pt x="100101" y="86463"/>
                  </a:lnTo>
                  <a:lnTo>
                    <a:pt x="100000" y="86463"/>
                  </a:lnTo>
                  <a:lnTo>
                    <a:pt x="99898" y="86145"/>
                  </a:lnTo>
                  <a:lnTo>
                    <a:pt x="99747" y="86145"/>
                  </a:lnTo>
                  <a:lnTo>
                    <a:pt x="99747" y="85668"/>
                  </a:lnTo>
                  <a:lnTo>
                    <a:pt x="99646" y="85350"/>
                  </a:lnTo>
                  <a:lnTo>
                    <a:pt x="99545" y="85033"/>
                  </a:lnTo>
                  <a:lnTo>
                    <a:pt x="99393" y="85033"/>
                  </a:lnTo>
                  <a:lnTo>
                    <a:pt x="99292" y="84238"/>
                  </a:lnTo>
                  <a:lnTo>
                    <a:pt x="99040" y="83443"/>
                  </a:lnTo>
                  <a:lnTo>
                    <a:pt x="99040" y="83125"/>
                  </a:lnTo>
                  <a:lnTo>
                    <a:pt x="99040" y="83125"/>
                  </a:lnTo>
                  <a:lnTo>
                    <a:pt x="99040" y="83125"/>
                  </a:lnTo>
                  <a:lnTo>
                    <a:pt x="98939" y="82649"/>
                  </a:lnTo>
                  <a:lnTo>
                    <a:pt x="98939" y="82331"/>
                  </a:lnTo>
                  <a:lnTo>
                    <a:pt x="98686" y="81536"/>
                  </a:lnTo>
                  <a:lnTo>
                    <a:pt x="98434" y="80900"/>
                  </a:lnTo>
                  <a:lnTo>
                    <a:pt x="98434" y="80900"/>
                  </a:lnTo>
                  <a:lnTo>
                    <a:pt x="98333" y="80423"/>
                  </a:lnTo>
                  <a:lnTo>
                    <a:pt x="98080" y="79788"/>
                  </a:lnTo>
                  <a:lnTo>
                    <a:pt x="97626" y="78993"/>
                  </a:lnTo>
                  <a:lnTo>
                    <a:pt x="97626" y="78993"/>
                  </a:lnTo>
                  <a:lnTo>
                    <a:pt x="97626" y="78516"/>
                  </a:lnTo>
                  <a:lnTo>
                    <a:pt x="97525" y="78198"/>
                  </a:lnTo>
                  <a:lnTo>
                    <a:pt x="97525" y="78198"/>
                  </a:lnTo>
                  <a:lnTo>
                    <a:pt x="97525" y="77880"/>
                  </a:lnTo>
                  <a:lnTo>
                    <a:pt x="97373" y="77880"/>
                  </a:lnTo>
                  <a:lnTo>
                    <a:pt x="97020" y="77086"/>
                  </a:lnTo>
                  <a:lnTo>
                    <a:pt x="96919" y="77086"/>
                  </a:lnTo>
                  <a:lnTo>
                    <a:pt x="97020" y="77086"/>
                  </a:lnTo>
                  <a:lnTo>
                    <a:pt x="97020" y="77403"/>
                  </a:lnTo>
                  <a:lnTo>
                    <a:pt x="96919" y="77403"/>
                  </a:lnTo>
                  <a:lnTo>
                    <a:pt x="96767" y="77403"/>
                  </a:lnTo>
                  <a:lnTo>
                    <a:pt x="97020" y="77880"/>
                  </a:lnTo>
                  <a:lnTo>
                    <a:pt x="97272" y="78198"/>
                  </a:lnTo>
                  <a:lnTo>
                    <a:pt x="97373" y="78516"/>
                  </a:lnTo>
                  <a:lnTo>
                    <a:pt x="97525" y="78993"/>
                  </a:lnTo>
                  <a:lnTo>
                    <a:pt x="97525" y="78993"/>
                  </a:lnTo>
                  <a:lnTo>
                    <a:pt x="97525" y="78993"/>
                  </a:lnTo>
                  <a:lnTo>
                    <a:pt x="97626" y="79311"/>
                  </a:lnTo>
                  <a:lnTo>
                    <a:pt x="97525" y="79311"/>
                  </a:lnTo>
                  <a:lnTo>
                    <a:pt x="97525" y="79788"/>
                  </a:lnTo>
                  <a:lnTo>
                    <a:pt x="97626" y="79788"/>
                  </a:lnTo>
                  <a:lnTo>
                    <a:pt x="97626" y="80105"/>
                  </a:lnTo>
                  <a:lnTo>
                    <a:pt x="97626" y="80105"/>
                  </a:lnTo>
                  <a:lnTo>
                    <a:pt x="97525" y="80105"/>
                  </a:lnTo>
                  <a:lnTo>
                    <a:pt x="97525" y="80105"/>
                  </a:lnTo>
                  <a:lnTo>
                    <a:pt x="97373" y="79788"/>
                  </a:lnTo>
                  <a:lnTo>
                    <a:pt x="97272" y="79788"/>
                  </a:lnTo>
                  <a:lnTo>
                    <a:pt x="97121" y="80105"/>
                  </a:lnTo>
                  <a:lnTo>
                    <a:pt x="97121" y="80105"/>
                  </a:lnTo>
                  <a:lnTo>
                    <a:pt x="97121" y="80423"/>
                  </a:lnTo>
                  <a:lnTo>
                    <a:pt x="97373" y="80900"/>
                  </a:lnTo>
                  <a:lnTo>
                    <a:pt x="97525" y="81218"/>
                  </a:lnTo>
                  <a:lnTo>
                    <a:pt x="97626" y="82013"/>
                  </a:lnTo>
                  <a:lnTo>
                    <a:pt x="97878" y="82649"/>
                  </a:lnTo>
                  <a:lnTo>
                    <a:pt x="97878" y="83125"/>
                  </a:lnTo>
                  <a:lnTo>
                    <a:pt x="97878" y="83443"/>
                  </a:lnTo>
                  <a:lnTo>
                    <a:pt x="97878" y="83920"/>
                  </a:lnTo>
                  <a:lnTo>
                    <a:pt x="98232" y="85033"/>
                  </a:lnTo>
                  <a:lnTo>
                    <a:pt x="98333" y="85033"/>
                  </a:lnTo>
                  <a:lnTo>
                    <a:pt x="98434" y="85350"/>
                  </a:lnTo>
                  <a:lnTo>
                    <a:pt x="98434" y="85350"/>
                  </a:lnTo>
                  <a:lnTo>
                    <a:pt x="98434" y="85350"/>
                  </a:lnTo>
                  <a:lnTo>
                    <a:pt x="98434" y="85668"/>
                  </a:lnTo>
                  <a:lnTo>
                    <a:pt x="98585" y="85668"/>
                  </a:lnTo>
                  <a:lnTo>
                    <a:pt x="98787" y="86145"/>
                  </a:lnTo>
                  <a:lnTo>
                    <a:pt x="98939" y="86463"/>
                  </a:lnTo>
                  <a:lnTo>
                    <a:pt x="99191" y="87258"/>
                  </a:lnTo>
                  <a:lnTo>
                    <a:pt x="99393" y="88052"/>
                  </a:lnTo>
                  <a:lnTo>
                    <a:pt x="99393" y="88370"/>
                  </a:lnTo>
                  <a:lnTo>
                    <a:pt x="99393" y="88688"/>
                  </a:lnTo>
                  <a:lnTo>
                    <a:pt x="99545" y="89165"/>
                  </a:lnTo>
                  <a:lnTo>
                    <a:pt x="99646" y="89483"/>
                  </a:lnTo>
                  <a:lnTo>
                    <a:pt x="99898" y="90278"/>
                  </a:lnTo>
                  <a:lnTo>
                    <a:pt x="99898" y="90278"/>
                  </a:lnTo>
                  <a:lnTo>
                    <a:pt x="100353" y="92503"/>
                  </a:lnTo>
                  <a:lnTo>
                    <a:pt x="100454" y="92821"/>
                  </a:lnTo>
                  <a:lnTo>
                    <a:pt x="100454" y="93298"/>
                  </a:lnTo>
                  <a:lnTo>
                    <a:pt x="100606" y="93933"/>
                  </a:lnTo>
                  <a:lnTo>
                    <a:pt x="100707" y="94410"/>
                  </a:lnTo>
                  <a:lnTo>
                    <a:pt x="100707" y="95046"/>
                  </a:lnTo>
                  <a:lnTo>
                    <a:pt x="100858" y="95523"/>
                  </a:lnTo>
                  <a:lnTo>
                    <a:pt x="100858" y="95523"/>
                  </a:lnTo>
                  <a:lnTo>
                    <a:pt x="101060" y="96317"/>
                  </a:lnTo>
                  <a:lnTo>
                    <a:pt x="101313" y="96635"/>
                  </a:lnTo>
                  <a:lnTo>
                    <a:pt x="101565" y="97748"/>
                  </a:lnTo>
                  <a:lnTo>
                    <a:pt x="101565" y="98066"/>
                  </a:lnTo>
                  <a:lnTo>
                    <a:pt x="101565" y="98066"/>
                  </a:lnTo>
                  <a:lnTo>
                    <a:pt x="101666" y="98543"/>
                  </a:lnTo>
                  <a:lnTo>
                    <a:pt x="101666" y="98860"/>
                  </a:lnTo>
                  <a:lnTo>
                    <a:pt x="101666" y="99337"/>
                  </a:lnTo>
                  <a:lnTo>
                    <a:pt x="101919" y="99655"/>
                  </a:lnTo>
                  <a:lnTo>
                    <a:pt x="101919" y="99973"/>
                  </a:lnTo>
                  <a:lnTo>
                    <a:pt x="102020" y="100450"/>
                  </a:lnTo>
                  <a:lnTo>
                    <a:pt x="102121" y="100768"/>
                  </a:lnTo>
                  <a:lnTo>
                    <a:pt x="102121" y="101880"/>
                  </a:lnTo>
                  <a:lnTo>
                    <a:pt x="102373" y="102675"/>
                  </a:lnTo>
                  <a:lnTo>
                    <a:pt x="102626" y="103788"/>
                  </a:lnTo>
                  <a:lnTo>
                    <a:pt x="102626" y="103788"/>
                  </a:lnTo>
                  <a:lnTo>
                    <a:pt x="102727" y="104105"/>
                  </a:lnTo>
                  <a:lnTo>
                    <a:pt x="102878" y="104582"/>
                  </a:lnTo>
                  <a:lnTo>
                    <a:pt x="102878" y="104582"/>
                  </a:lnTo>
                  <a:lnTo>
                    <a:pt x="102878" y="104105"/>
                  </a:lnTo>
                  <a:lnTo>
                    <a:pt x="102878" y="103788"/>
                  </a:lnTo>
                  <a:lnTo>
                    <a:pt x="102727" y="102993"/>
                  </a:lnTo>
                  <a:lnTo>
                    <a:pt x="102727" y="102675"/>
                  </a:lnTo>
                  <a:lnTo>
                    <a:pt x="102727" y="102198"/>
                  </a:lnTo>
                  <a:lnTo>
                    <a:pt x="102727" y="102198"/>
                  </a:lnTo>
                  <a:lnTo>
                    <a:pt x="102727" y="101880"/>
                  </a:lnTo>
                  <a:lnTo>
                    <a:pt x="102878" y="101880"/>
                  </a:lnTo>
                  <a:lnTo>
                    <a:pt x="102878" y="101880"/>
                  </a:lnTo>
                  <a:lnTo>
                    <a:pt x="102979" y="101880"/>
                  </a:lnTo>
                  <a:lnTo>
                    <a:pt x="102979" y="102198"/>
                  </a:lnTo>
                  <a:lnTo>
                    <a:pt x="103080" y="102198"/>
                  </a:lnTo>
                  <a:lnTo>
                    <a:pt x="103232" y="102198"/>
                  </a:lnTo>
                  <a:lnTo>
                    <a:pt x="103434" y="102198"/>
                  </a:lnTo>
                  <a:lnTo>
                    <a:pt x="103585" y="102675"/>
                  </a:lnTo>
                  <a:lnTo>
                    <a:pt x="103686" y="102993"/>
                  </a:lnTo>
                  <a:lnTo>
                    <a:pt x="103787" y="103470"/>
                  </a:lnTo>
                  <a:lnTo>
                    <a:pt x="103939" y="104105"/>
                  </a:lnTo>
                  <a:lnTo>
                    <a:pt x="103939" y="104105"/>
                  </a:lnTo>
                  <a:lnTo>
                    <a:pt x="103939" y="103788"/>
                  </a:lnTo>
                  <a:close/>
                  <a:moveTo>
                    <a:pt x="15000" y="3019"/>
                  </a:moveTo>
                  <a:lnTo>
                    <a:pt x="14898" y="2701"/>
                  </a:lnTo>
                  <a:lnTo>
                    <a:pt x="14797" y="2701"/>
                  </a:lnTo>
                  <a:lnTo>
                    <a:pt x="14797" y="2701"/>
                  </a:lnTo>
                  <a:lnTo>
                    <a:pt x="14646" y="2701"/>
                  </a:lnTo>
                  <a:lnTo>
                    <a:pt x="14545" y="2701"/>
                  </a:lnTo>
                  <a:lnTo>
                    <a:pt x="14393" y="3019"/>
                  </a:lnTo>
                  <a:lnTo>
                    <a:pt x="14292" y="3019"/>
                  </a:lnTo>
                  <a:lnTo>
                    <a:pt x="13939" y="3496"/>
                  </a:lnTo>
                  <a:lnTo>
                    <a:pt x="13939" y="3496"/>
                  </a:lnTo>
                  <a:lnTo>
                    <a:pt x="14040" y="3496"/>
                  </a:lnTo>
                  <a:lnTo>
                    <a:pt x="14191" y="3814"/>
                  </a:lnTo>
                  <a:lnTo>
                    <a:pt x="14292" y="3814"/>
                  </a:lnTo>
                  <a:lnTo>
                    <a:pt x="14292" y="3814"/>
                  </a:lnTo>
                  <a:lnTo>
                    <a:pt x="14393" y="3496"/>
                  </a:lnTo>
                  <a:lnTo>
                    <a:pt x="14545" y="3496"/>
                  </a:lnTo>
                  <a:lnTo>
                    <a:pt x="14646" y="3496"/>
                  </a:lnTo>
                  <a:lnTo>
                    <a:pt x="14646" y="3496"/>
                  </a:lnTo>
                  <a:lnTo>
                    <a:pt x="14545" y="3814"/>
                  </a:lnTo>
                  <a:lnTo>
                    <a:pt x="14545" y="3814"/>
                  </a:lnTo>
                  <a:lnTo>
                    <a:pt x="14646" y="3814"/>
                  </a:lnTo>
                  <a:lnTo>
                    <a:pt x="14797" y="3814"/>
                  </a:lnTo>
                  <a:lnTo>
                    <a:pt x="14797" y="3814"/>
                  </a:lnTo>
                  <a:lnTo>
                    <a:pt x="14797" y="3814"/>
                  </a:lnTo>
                  <a:lnTo>
                    <a:pt x="14797" y="3814"/>
                  </a:lnTo>
                  <a:lnTo>
                    <a:pt x="15000" y="3814"/>
                  </a:lnTo>
                  <a:lnTo>
                    <a:pt x="15000" y="3814"/>
                  </a:lnTo>
                  <a:lnTo>
                    <a:pt x="15000" y="3814"/>
                  </a:lnTo>
                  <a:lnTo>
                    <a:pt x="15000" y="3814"/>
                  </a:lnTo>
                  <a:lnTo>
                    <a:pt x="15000" y="3496"/>
                  </a:lnTo>
                  <a:lnTo>
                    <a:pt x="15151" y="3814"/>
                  </a:lnTo>
                  <a:lnTo>
                    <a:pt x="15252" y="3814"/>
                  </a:lnTo>
                  <a:lnTo>
                    <a:pt x="15252" y="3814"/>
                  </a:lnTo>
                  <a:lnTo>
                    <a:pt x="15252" y="3496"/>
                  </a:lnTo>
                  <a:lnTo>
                    <a:pt x="15252" y="3496"/>
                  </a:lnTo>
                  <a:lnTo>
                    <a:pt x="15252" y="3496"/>
                  </a:lnTo>
                  <a:lnTo>
                    <a:pt x="15252" y="3496"/>
                  </a:lnTo>
                  <a:lnTo>
                    <a:pt x="15151" y="3496"/>
                  </a:lnTo>
                  <a:lnTo>
                    <a:pt x="15000" y="3496"/>
                  </a:lnTo>
                  <a:lnTo>
                    <a:pt x="15151" y="3496"/>
                  </a:lnTo>
                  <a:lnTo>
                    <a:pt x="15151" y="3019"/>
                  </a:lnTo>
                  <a:lnTo>
                    <a:pt x="15606" y="3019"/>
                  </a:lnTo>
                  <a:lnTo>
                    <a:pt x="15707" y="3019"/>
                  </a:lnTo>
                  <a:lnTo>
                    <a:pt x="15606" y="3019"/>
                  </a:lnTo>
                  <a:lnTo>
                    <a:pt x="15707" y="3019"/>
                  </a:lnTo>
                  <a:lnTo>
                    <a:pt x="15959" y="2701"/>
                  </a:lnTo>
                  <a:lnTo>
                    <a:pt x="16313" y="2701"/>
                  </a:lnTo>
                  <a:lnTo>
                    <a:pt x="16464" y="2701"/>
                  </a:lnTo>
                  <a:lnTo>
                    <a:pt x="16666" y="2701"/>
                  </a:lnTo>
                  <a:lnTo>
                    <a:pt x="16565" y="2225"/>
                  </a:lnTo>
                  <a:lnTo>
                    <a:pt x="16565" y="2225"/>
                  </a:lnTo>
                  <a:lnTo>
                    <a:pt x="16060" y="1907"/>
                  </a:lnTo>
                  <a:lnTo>
                    <a:pt x="16060" y="1907"/>
                  </a:lnTo>
                  <a:lnTo>
                    <a:pt x="15858" y="1907"/>
                  </a:lnTo>
                  <a:lnTo>
                    <a:pt x="15707" y="1907"/>
                  </a:lnTo>
                  <a:lnTo>
                    <a:pt x="15707" y="1907"/>
                  </a:lnTo>
                  <a:lnTo>
                    <a:pt x="15353" y="2225"/>
                  </a:lnTo>
                  <a:lnTo>
                    <a:pt x="15252" y="2225"/>
                  </a:lnTo>
                  <a:lnTo>
                    <a:pt x="15151" y="2225"/>
                  </a:lnTo>
                  <a:lnTo>
                    <a:pt x="15252" y="2701"/>
                  </a:lnTo>
                  <a:lnTo>
                    <a:pt x="15252" y="2701"/>
                  </a:lnTo>
                  <a:lnTo>
                    <a:pt x="15252" y="3019"/>
                  </a:lnTo>
                  <a:lnTo>
                    <a:pt x="15000" y="3019"/>
                  </a:lnTo>
                  <a:close/>
                  <a:moveTo>
                    <a:pt x="2525" y="75655"/>
                  </a:moveTo>
                  <a:lnTo>
                    <a:pt x="2525" y="75655"/>
                  </a:lnTo>
                  <a:lnTo>
                    <a:pt x="2373" y="75178"/>
                  </a:lnTo>
                  <a:lnTo>
                    <a:pt x="2272" y="75178"/>
                  </a:lnTo>
                  <a:lnTo>
                    <a:pt x="2272" y="74860"/>
                  </a:lnTo>
                  <a:lnTo>
                    <a:pt x="2020" y="74860"/>
                  </a:lnTo>
                  <a:lnTo>
                    <a:pt x="1919" y="74860"/>
                  </a:lnTo>
                  <a:lnTo>
                    <a:pt x="1919" y="74860"/>
                  </a:lnTo>
                  <a:lnTo>
                    <a:pt x="1666" y="74860"/>
                  </a:lnTo>
                  <a:lnTo>
                    <a:pt x="1565" y="74384"/>
                  </a:lnTo>
                  <a:lnTo>
                    <a:pt x="1464" y="74384"/>
                  </a:lnTo>
                  <a:lnTo>
                    <a:pt x="1313" y="74384"/>
                  </a:lnTo>
                  <a:lnTo>
                    <a:pt x="1313" y="74066"/>
                  </a:lnTo>
                  <a:lnTo>
                    <a:pt x="1212" y="74066"/>
                  </a:lnTo>
                  <a:lnTo>
                    <a:pt x="1212" y="74066"/>
                  </a:lnTo>
                  <a:lnTo>
                    <a:pt x="1212" y="74860"/>
                  </a:lnTo>
                  <a:lnTo>
                    <a:pt x="1212" y="75178"/>
                  </a:lnTo>
                  <a:lnTo>
                    <a:pt x="1111" y="75178"/>
                  </a:lnTo>
                  <a:lnTo>
                    <a:pt x="959" y="75178"/>
                  </a:lnTo>
                  <a:lnTo>
                    <a:pt x="858" y="75178"/>
                  </a:lnTo>
                  <a:lnTo>
                    <a:pt x="707" y="75178"/>
                  </a:lnTo>
                  <a:lnTo>
                    <a:pt x="707" y="75178"/>
                  </a:lnTo>
                  <a:lnTo>
                    <a:pt x="959" y="74384"/>
                  </a:lnTo>
                  <a:lnTo>
                    <a:pt x="959" y="74066"/>
                  </a:lnTo>
                  <a:lnTo>
                    <a:pt x="959" y="74066"/>
                  </a:lnTo>
                  <a:lnTo>
                    <a:pt x="858" y="74384"/>
                  </a:lnTo>
                  <a:lnTo>
                    <a:pt x="707" y="74860"/>
                  </a:lnTo>
                  <a:lnTo>
                    <a:pt x="606" y="75178"/>
                  </a:lnTo>
                  <a:lnTo>
                    <a:pt x="606" y="75178"/>
                  </a:lnTo>
                  <a:lnTo>
                    <a:pt x="353" y="75178"/>
                  </a:lnTo>
                  <a:lnTo>
                    <a:pt x="252" y="75178"/>
                  </a:lnTo>
                  <a:lnTo>
                    <a:pt x="252" y="75655"/>
                  </a:lnTo>
                  <a:lnTo>
                    <a:pt x="252" y="75973"/>
                  </a:lnTo>
                  <a:lnTo>
                    <a:pt x="151" y="76291"/>
                  </a:lnTo>
                  <a:lnTo>
                    <a:pt x="151" y="76291"/>
                  </a:lnTo>
                  <a:lnTo>
                    <a:pt x="0" y="76768"/>
                  </a:lnTo>
                  <a:lnTo>
                    <a:pt x="0" y="76768"/>
                  </a:lnTo>
                  <a:lnTo>
                    <a:pt x="252" y="76768"/>
                  </a:lnTo>
                  <a:lnTo>
                    <a:pt x="505" y="77086"/>
                  </a:lnTo>
                  <a:lnTo>
                    <a:pt x="858" y="77086"/>
                  </a:lnTo>
                  <a:lnTo>
                    <a:pt x="1212" y="77086"/>
                  </a:lnTo>
                  <a:lnTo>
                    <a:pt x="1565" y="77086"/>
                  </a:lnTo>
                  <a:lnTo>
                    <a:pt x="2020" y="77086"/>
                  </a:lnTo>
                  <a:lnTo>
                    <a:pt x="2373" y="77086"/>
                  </a:lnTo>
                  <a:lnTo>
                    <a:pt x="2525" y="77086"/>
                  </a:lnTo>
                  <a:lnTo>
                    <a:pt x="2373" y="77086"/>
                  </a:lnTo>
                  <a:lnTo>
                    <a:pt x="2373" y="76768"/>
                  </a:lnTo>
                  <a:lnTo>
                    <a:pt x="2373" y="76291"/>
                  </a:lnTo>
                  <a:lnTo>
                    <a:pt x="2373" y="76291"/>
                  </a:lnTo>
                  <a:lnTo>
                    <a:pt x="2525" y="75655"/>
                  </a:lnTo>
                  <a:close/>
                  <a:moveTo>
                    <a:pt x="17979" y="3019"/>
                  </a:moveTo>
                  <a:lnTo>
                    <a:pt x="18232" y="3019"/>
                  </a:lnTo>
                  <a:lnTo>
                    <a:pt x="18333" y="3019"/>
                  </a:lnTo>
                  <a:lnTo>
                    <a:pt x="18333" y="3019"/>
                  </a:lnTo>
                  <a:lnTo>
                    <a:pt x="18333" y="2701"/>
                  </a:lnTo>
                  <a:lnTo>
                    <a:pt x="18232" y="2701"/>
                  </a:lnTo>
                  <a:lnTo>
                    <a:pt x="18131" y="2701"/>
                  </a:lnTo>
                  <a:lnTo>
                    <a:pt x="17979" y="2701"/>
                  </a:lnTo>
                  <a:lnTo>
                    <a:pt x="17979" y="2701"/>
                  </a:lnTo>
                  <a:lnTo>
                    <a:pt x="17979" y="2701"/>
                  </a:lnTo>
                  <a:lnTo>
                    <a:pt x="17979" y="3019"/>
                  </a:lnTo>
                  <a:lnTo>
                    <a:pt x="17979" y="3019"/>
                  </a:lnTo>
                  <a:lnTo>
                    <a:pt x="17979" y="3019"/>
                  </a:lnTo>
                  <a:close/>
                  <a:moveTo>
                    <a:pt x="18232" y="2225"/>
                  </a:moveTo>
                  <a:lnTo>
                    <a:pt x="18232" y="2225"/>
                  </a:lnTo>
                  <a:lnTo>
                    <a:pt x="18333" y="2225"/>
                  </a:lnTo>
                  <a:lnTo>
                    <a:pt x="18333" y="2225"/>
                  </a:lnTo>
                  <a:lnTo>
                    <a:pt x="18585" y="2225"/>
                  </a:lnTo>
                  <a:lnTo>
                    <a:pt x="18838" y="2225"/>
                  </a:lnTo>
                  <a:lnTo>
                    <a:pt x="19040" y="2701"/>
                  </a:lnTo>
                  <a:lnTo>
                    <a:pt x="19040" y="2701"/>
                  </a:lnTo>
                  <a:lnTo>
                    <a:pt x="19292" y="2701"/>
                  </a:lnTo>
                  <a:lnTo>
                    <a:pt x="19646" y="2701"/>
                  </a:lnTo>
                  <a:lnTo>
                    <a:pt x="20000" y="2225"/>
                  </a:lnTo>
                  <a:lnTo>
                    <a:pt x="20151" y="2225"/>
                  </a:lnTo>
                  <a:lnTo>
                    <a:pt x="20000" y="2225"/>
                  </a:lnTo>
                  <a:lnTo>
                    <a:pt x="19545" y="1907"/>
                  </a:lnTo>
                  <a:lnTo>
                    <a:pt x="19292" y="1907"/>
                  </a:lnTo>
                  <a:lnTo>
                    <a:pt x="19040" y="1907"/>
                  </a:lnTo>
                  <a:lnTo>
                    <a:pt x="18686" y="1907"/>
                  </a:lnTo>
                  <a:lnTo>
                    <a:pt x="18232" y="1589"/>
                  </a:lnTo>
                  <a:lnTo>
                    <a:pt x="18232" y="1589"/>
                  </a:lnTo>
                  <a:lnTo>
                    <a:pt x="18131" y="1907"/>
                  </a:lnTo>
                  <a:lnTo>
                    <a:pt x="18131" y="1907"/>
                  </a:lnTo>
                  <a:lnTo>
                    <a:pt x="17979" y="1907"/>
                  </a:lnTo>
                  <a:lnTo>
                    <a:pt x="17979" y="1907"/>
                  </a:lnTo>
                  <a:lnTo>
                    <a:pt x="17979" y="2225"/>
                  </a:lnTo>
                  <a:lnTo>
                    <a:pt x="18232" y="2225"/>
                  </a:lnTo>
                  <a:close/>
                  <a:moveTo>
                    <a:pt x="15707" y="1589"/>
                  </a:moveTo>
                  <a:lnTo>
                    <a:pt x="15858" y="1589"/>
                  </a:lnTo>
                  <a:lnTo>
                    <a:pt x="15959" y="1589"/>
                  </a:lnTo>
                  <a:lnTo>
                    <a:pt x="15959" y="1589"/>
                  </a:lnTo>
                  <a:lnTo>
                    <a:pt x="15959" y="1589"/>
                  </a:lnTo>
                  <a:lnTo>
                    <a:pt x="16060" y="1589"/>
                  </a:lnTo>
                  <a:lnTo>
                    <a:pt x="15959" y="1589"/>
                  </a:lnTo>
                  <a:lnTo>
                    <a:pt x="15959" y="1589"/>
                  </a:lnTo>
                  <a:lnTo>
                    <a:pt x="15858" y="1589"/>
                  </a:lnTo>
                  <a:lnTo>
                    <a:pt x="15858" y="1589"/>
                  </a:lnTo>
                  <a:lnTo>
                    <a:pt x="15858" y="1589"/>
                  </a:lnTo>
                  <a:lnTo>
                    <a:pt x="15858" y="1589"/>
                  </a:lnTo>
                  <a:lnTo>
                    <a:pt x="15707" y="1589"/>
                  </a:lnTo>
                  <a:lnTo>
                    <a:pt x="15707" y="1589"/>
                  </a:lnTo>
                  <a:lnTo>
                    <a:pt x="15707" y="1589"/>
                  </a:lnTo>
                  <a:close/>
                  <a:moveTo>
                    <a:pt x="98686" y="62463"/>
                  </a:moveTo>
                  <a:lnTo>
                    <a:pt x="98787" y="62463"/>
                  </a:lnTo>
                  <a:lnTo>
                    <a:pt x="98787" y="62463"/>
                  </a:lnTo>
                  <a:lnTo>
                    <a:pt x="98939" y="62463"/>
                  </a:lnTo>
                  <a:lnTo>
                    <a:pt x="98787" y="61986"/>
                  </a:lnTo>
                  <a:lnTo>
                    <a:pt x="98787" y="61986"/>
                  </a:lnTo>
                  <a:lnTo>
                    <a:pt x="98787" y="62463"/>
                  </a:lnTo>
                  <a:lnTo>
                    <a:pt x="98686" y="62463"/>
                  </a:lnTo>
                  <a:lnTo>
                    <a:pt x="98686" y="62463"/>
                  </a:lnTo>
                  <a:close/>
                  <a:moveTo>
                    <a:pt x="16666" y="3814"/>
                  </a:moveTo>
                  <a:lnTo>
                    <a:pt x="16464" y="3814"/>
                  </a:lnTo>
                  <a:lnTo>
                    <a:pt x="16313" y="3814"/>
                  </a:lnTo>
                  <a:lnTo>
                    <a:pt x="16212" y="3814"/>
                  </a:lnTo>
                  <a:lnTo>
                    <a:pt x="15959" y="4132"/>
                  </a:lnTo>
                  <a:lnTo>
                    <a:pt x="16212" y="4132"/>
                  </a:lnTo>
                  <a:lnTo>
                    <a:pt x="16565" y="4132"/>
                  </a:lnTo>
                  <a:lnTo>
                    <a:pt x="16818" y="4132"/>
                  </a:lnTo>
                  <a:lnTo>
                    <a:pt x="16818" y="4132"/>
                  </a:lnTo>
                  <a:lnTo>
                    <a:pt x="16818" y="4132"/>
                  </a:lnTo>
                  <a:lnTo>
                    <a:pt x="16666" y="4132"/>
                  </a:lnTo>
                  <a:lnTo>
                    <a:pt x="16666" y="4132"/>
                  </a:lnTo>
                  <a:lnTo>
                    <a:pt x="16666" y="4132"/>
                  </a:lnTo>
                  <a:lnTo>
                    <a:pt x="16666" y="3814"/>
                  </a:lnTo>
                  <a:close/>
                  <a:moveTo>
                    <a:pt x="16060" y="3814"/>
                  </a:moveTo>
                  <a:lnTo>
                    <a:pt x="15959" y="3496"/>
                  </a:lnTo>
                  <a:lnTo>
                    <a:pt x="15858" y="3496"/>
                  </a:lnTo>
                  <a:lnTo>
                    <a:pt x="15606" y="3814"/>
                  </a:lnTo>
                  <a:lnTo>
                    <a:pt x="15606" y="3814"/>
                  </a:lnTo>
                  <a:lnTo>
                    <a:pt x="15959" y="3814"/>
                  </a:lnTo>
                  <a:lnTo>
                    <a:pt x="15959" y="3814"/>
                  </a:lnTo>
                  <a:lnTo>
                    <a:pt x="15959" y="3814"/>
                  </a:lnTo>
                  <a:lnTo>
                    <a:pt x="16060" y="3814"/>
                  </a:lnTo>
                  <a:lnTo>
                    <a:pt x="16060" y="3814"/>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98" name="Shape 398"/>
            <p:cNvSpPr/>
            <p:nvPr/>
          </p:nvSpPr>
          <p:spPr>
            <a:xfrm>
              <a:off x="4011" y="1791"/>
              <a:ext cx="300" cy="0"/>
            </a:xfrm>
            <a:custGeom>
              <a:avLst/>
              <a:gdLst/>
              <a:ahLst/>
              <a:cxnLst/>
              <a:rect l="0" t="0" r="0" b="0"/>
              <a:pathLst>
                <a:path w="120000" h="120000" extrusionOk="0">
                  <a:moveTo>
                    <a:pt x="118481" y="75463"/>
                  </a:moveTo>
                  <a:lnTo>
                    <a:pt x="118481" y="75463"/>
                  </a:lnTo>
                  <a:lnTo>
                    <a:pt x="116202" y="72989"/>
                  </a:lnTo>
                  <a:lnTo>
                    <a:pt x="113164" y="72989"/>
                  </a:lnTo>
                  <a:lnTo>
                    <a:pt x="110886" y="75463"/>
                  </a:lnTo>
                  <a:lnTo>
                    <a:pt x="109367" y="75463"/>
                  </a:lnTo>
                  <a:lnTo>
                    <a:pt x="109367" y="75463"/>
                  </a:lnTo>
                  <a:lnTo>
                    <a:pt x="107848" y="75463"/>
                  </a:lnTo>
                  <a:lnTo>
                    <a:pt x="107848" y="75463"/>
                  </a:lnTo>
                  <a:lnTo>
                    <a:pt x="107848" y="79175"/>
                  </a:lnTo>
                  <a:lnTo>
                    <a:pt x="107848" y="79175"/>
                  </a:lnTo>
                  <a:lnTo>
                    <a:pt x="107848" y="79175"/>
                  </a:lnTo>
                  <a:lnTo>
                    <a:pt x="107848" y="79175"/>
                  </a:lnTo>
                  <a:lnTo>
                    <a:pt x="104050" y="75463"/>
                  </a:lnTo>
                  <a:lnTo>
                    <a:pt x="101772" y="75463"/>
                  </a:lnTo>
                  <a:lnTo>
                    <a:pt x="100253" y="72989"/>
                  </a:lnTo>
                  <a:lnTo>
                    <a:pt x="100253" y="70515"/>
                  </a:lnTo>
                  <a:lnTo>
                    <a:pt x="98734" y="70515"/>
                  </a:lnTo>
                  <a:lnTo>
                    <a:pt x="98734" y="70515"/>
                  </a:lnTo>
                  <a:lnTo>
                    <a:pt x="98734" y="70515"/>
                  </a:lnTo>
                  <a:lnTo>
                    <a:pt x="98734" y="66804"/>
                  </a:lnTo>
                  <a:lnTo>
                    <a:pt x="100253" y="66804"/>
                  </a:lnTo>
                  <a:lnTo>
                    <a:pt x="98734" y="66804"/>
                  </a:lnTo>
                  <a:lnTo>
                    <a:pt x="98734" y="64329"/>
                  </a:lnTo>
                  <a:lnTo>
                    <a:pt x="98734" y="64329"/>
                  </a:lnTo>
                  <a:lnTo>
                    <a:pt x="98734" y="61855"/>
                  </a:lnTo>
                  <a:lnTo>
                    <a:pt x="98734" y="58144"/>
                  </a:lnTo>
                  <a:lnTo>
                    <a:pt x="98734" y="55670"/>
                  </a:lnTo>
                  <a:lnTo>
                    <a:pt x="98734" y="49484"/>
                  </a:lnTo>
                  <a:lnTo>
                    <a:pt x="100253" y="47010"/>
                  </a:lnTo>
                  <a:lnTo>
                    <a:pt x="98734" y="47010"/>
                  </a:lnTo>
                  <a:lnTo>
                    <a:pt x="98734" y="43298"/>
                  </a:lnTo>
                  <a:lnTo>
                    <a:pt x="98734" y="40824"/>
                  </a:lnTo>
                  <a:lnTo>
                    <a:pt x="98734" y="38350"/>
                  </a:lnTo>
                  <a:lnTo>
                    <a:pt x="96455" y="34639"/>
                  </a:lnTo>
                  <a:lnTo>
                    <a:pt x="94936" y="32164"/>
                  </a:lnTo>
                  <a:lnTo>
                    <a:pt x="93417" y="29690"/>
                  </a:lnTo>
                  <a:lnTo>
                    <a:pt x="93417" y="29690"/>
                  </a:lnTo>
                  <a:lnTo>
                    <a:pt x="93417" y="29690"/>
                  </a:lnTo>
                  <a:lnTo>
                    <a:pt x="91139" y="25979"/>
                  </a:lnTo>
                  <a:lnTo>
                    <a:pt x="91139" y="25979"/>
                  </a:lnTo>
                  <a:lnTo>
                    <a:pt x="89620" y="21030"/>
                  </a:lnTo>
                  <a:lnTo>
                    <a:pt x="88101" y="21030"/>
                  </a:lnTo>
                  <a:lnTo>
                    <a:pt x="88101" y="21030"/>
                  </a:lnTo>
                  <a:lnTo>
                    <a:pt x="85822" y="17319"/>
                  </a:lnTo>
                  <a:lnTo>
                    <a:pt x="85822" y="14845"/>
                  </a:lnTo>
                  <a:lnTo>
                    <a:pt x="85822" y="14845"/>
                  </a:lnTo>
                  <a:lnTo>
                    <a:pt x="84303" y="11134"/>
                  </a:lnTo>
                  <a:lnTo>
                    <a:pt x="84303" y="8659"/>
                  </a:lnTo>
                  <a:lnTo>
                    <a:pt x="82784" y="6185"/>
                  </a:lnTo>
                  <a:lnTo>
                    <a:pt x="82784" y="6185"/>
                  </a:lnTo>
                  <a:lnTo>
                    <a:pt x="82784" y="2474"/>
                  </a:lnTo>
                  <a:lnTo>
                    <a:pt x="80506" y="2474"/>
                  </a:lnTo>
                  <a:lnTo>
                    <a:pt x="78987" y="2474"/>
                  </a:lnTo>
                  <a:lnTo>
                    <a:pt x="78987" y="0"/>
                  </a:lnTo>
                  <a:lnTo>
                    <a:pt x="77468" y="0"/>
                  </a:lnTo>
                  <a:lnTo>
                    <a:pt x="77468" y="2474"/>
                  </a:lnTo>
                  <a:lnTo>
                    <a:pt x="75189" y="2474"/>
                  </a:lnTo>
                  <a:lnTo>
                    <a:pt x="73670" y="2474"/>
                  </a:lnTo>
                  <a:lnTo>
                    <a:pt x="73670" y="6185"/>
                  </a:lnTo>
                  <a:lnTo>
                    <a:pt x="71392" y="6185"/>
                  </a:lnTo>
                  <a:lnTo>
                    <a:pt x="71392" y="8659"/>
                  </a:lnTo>
                  <a:lnTo>
                    <a:pt x="68354" y="8659"/>
                  </a:lnTo>
                  <a:lnTo>
                    <a:pt x="66075" y="8659"/>
                  </a:lnTo>
                  <a:lnTo>
                    <a:pt x="63037" y="11134"/>
                  </a:lnTo>
                  <a:lnTo>
                    <a:pt x="59240" y="11134"/>
                  </a:lnTo>
                  <a:lnTo>
                    <a:pt x="59240" y="14845"/>
                  </a:lnTo>
                  <a:lnTo>
                    <a:pt x="57721" y="14845"/>
                  </a:lnTo>
                  <a:lnTo>
                    <a:pt x="55443" y="14845"/>
                  </a:lnTo>
                  <a:lnTo>
                    <a:pt x="55443" y="14845"/>
                  </a:lnTo>
                  <a:lnTo>
                    <a:pt x="53924" y="11134"/>
                  </a:lnTo>
                  <a:lnTo>
                    <a:pt x="52405" y="8659"/>
                  </a:lnTo>
                  <a:lnTo>
                    <a:pt x="50126" y="8659"/>
                  </a:lnTo>
                  <a:lnTo>
                    <a:pt x="50126" y="8659"/>
                  </a:lnTo>
                  <a:lnTo>
                    <a:pt x="48607" y="11134"/>
                  </a:lnTo>
                  <a:lnTo>
                    <a:pt x="46329" y="11134"/>
                  </a:lnTo>
                  <a:lnTo>
                    <a:pt x="44810" y="8659"/>
                  </a:lnTo>
                  <a:lnTo>
                    <a:pt x="44810" y="8659"/>
                  </a:lnTo>
                  <a:lnTo>
                    <a:pt x="44810" y="8659"/>
                  </a:lnTo>
                  <a:lnTo>
                    <a:pt x="41012" y="8659"/>
                  </a:lnTo>
                  <a:lnTo>
                    <a:pt x="41012" y="8659"/>
                  </a:lnTo>
                  <a:lnTo>
                    <a:pt x="41012" y="8659"/>
                  </a:lnTo>
                  <a:lnTo>
                    <a:pt x="39493" y="8659"/>
                  </a:lnTo>
                  <a:lnTo>
                    <a:pt x="37974" y="8659"/>
                  </a:lnTo>
                  <a:lnTo>
                    <a:pt x="34177" y="6185"/>
                  </a:lnTo>
                  <a:lnTo>
                    <a:pt x="34177" y="6185"/>
                  </a:lnTo>
                  <a:lnTo>
                    <a:pt x="34177" y="6185"/>
                  </a:lnTo>
                  <a:lnTo>
                    <a:pt x="32658" y="8659"/>
                  </a:lnTo>
                  <a:lnTo>
                    <a:pt x="30379" y="8659"/>
                  </a:lnTo>
                  <a:lnTo>
                    <a:pt x="30379" y="8659"/>
                  </a:lnTo>
                  <a:lnTo>
                    <a:pt x="30379" y="8659"/>
                  </a:lnTo>
                  <a:lnTo>
                    <a:pt x="28860" y="14845"/>
                  </a:lnTo>
                  <a:lnTo>
                    <a:pt x="27341" y="14845"/>
                  </a:lnTo>
                  <a:lnTo>
                    <a:pt x="27341" y="14845"/>
                  </a:lnTo>
                  <a:lnTo>
                    <a:pt x="27341" y="14845"/>
                  </a:lnTo>
                  <a:lnTo>
                    <a:pt x="25063" y="14845"/>
                  </a:lnTo>
                  <a:lnTo>
                    <a:pt x="25063" y="14845"/>
                  </a:lnTo>
                  <a:lnTo>
                    <a:pt x="23544" y="14845"/>
                  </a:lnTo>
                  <a:lnTo>
                    <a:pt x="23544" y="14845"/>
                  </a:lnTo>
                  <a:lnTo>
                    <a:pt x="23544" y="17319"/>
                  </a:lnTo>
                  <a:lnTo>
                    <a:pt x="21265" y="17319"/>
                  </a:lnTo>
                  <a:lnTo>
                    <a:pt x="21265" y="21030"/>
                  </a:lnTo>
                  <a:lnTo>
                    <a:pt x="19746" y="21030"/>
                  </a:lnTo>
                  <a:lnTo>
                    <a:pt x="19746" y="23505"/>
                  </a:lnTo>
                  <a:lnTo>
                    <a:pt x="19746" y="23505"/>
                  </a:lnTo>
                  <a:lnTo>
                    <a:pt x="19746" y="25979"/>
                  </a:lnTo>
                  <a:lnTo>
                    <a:pt x="18227" y="25979"/>
                  </a:lnTo>
                  <a:lnTo>
                    <a:pt x="18227" y="29690"/>
                  </a:lnTo>
                  <a:lnTo>
                    <a:pt x="18227" y="32164"/>
                  </a:lnTo>
                  <a:lnTo>
                    <a:pt x="15949" y="32164"/>
                  </a:lnTo>
                  <a:lnTo>
                    <a:pt x="15949" y="32164"/>
                  </a:lnTo>
                  <a:lnTo>
                    <a:pt x="15949" y="34639"/>
                  </a:lnTo>
                  <a:lnTo>
                    <a:pt x="15949" y="38350"/>
                  </a:lnTo>
                  <a:lnTo>
                    <a:pt x="14430" y="38350"/>
                  </a:lnTo>
                  <a:lnTo>
                    <a:pt x="14430" y="40824"/>
                  </a:lnTo>
                  <a:lnTo>
                    <a:pt x="14430" y="40824"/>
                  </a:lnTo>
                  <a:lnTo>
                    <a:pt x="14430" y="43298"/>
                  </a:lnTo>
                  <a:lnTo>
                    <a:pt x="12911" y="43298"/>
                  </a:lnTo>
                  <a:lnTo>
                    <a:pt x="12911" y="43298"/>
                  </a:lnTo>
                  <a:lnTo>
                    <a:pt x="12911" y="43298"/>
                  </a:lnTo>
                  <a:lnTo>
                    <a:pt x="12911" y="47010"/>
                  </a:lnTo>
                  <a:lnTo>
                    <a:pt x="12911" y="47010"/>
                  </a:lnTo>
                  <a:lnTo>
                    <a:pt x="12911" y="49484"/>
                  </a:lnTo>
                  <a:lnTo>
                    <a:pt x="10632" y="49484"/>
                  </a:lnTo>
                  <a:lnTo>
                    <a:pt x="10632" y="49484"/>
                  </a:lnTo>
                  <a:lnTo>
                    <a:pt x="10632" y="53195"/>
                  </a:lnTo>
                  <a:lnTo>
                    <a:pt x="10632" y="53195"/>
                  </a:lnTo>
                  <a:lnTo>
                    <a:pt x="9113" y="53195"/>
                  </a:lnTo>
                  <a:lnTo>
                    <a:pt x="7594" y="53195"/>
                  </a:lnTo>
                  <a:lnTo>
                    <a:pt x="5316" y="53195"/>
                  </a:lnTo>
                  <a:lnTo>
                    <a:pt x="5316" y="53195"/>
                  </a:lnTo>
                  <a:lnTo>
                    <a:pt x="5316" y="55670"/>
                  </a:lnTo>
                  <a:lnTo>
                    <a:pt x="5316" y="55670"/>
                  </a:lnTo>
                  <a:lnTo>
                    <a:pt x="5316" y="55670"/>
                  </a:lnTo>
                  <a:lnTo>
                    <a:pt x="3797" y="55670"/>
                  </a:lnTo>
                  <a:lnTo>
                    <a:pt x="2278" y="55670"/>
                  </a:lnTo>
                  <a:lnTo>
                    <a:pt x="0" y="55670"/>
                  </a:lnTo>
                  <a:lnTo>
                    <a:pt x="0" y="55670"/>
                  </a:lnTo>
                  <a:lnTo>
                    <a:pt x="0" y="58144"/>
                  </a:lnTo>
                  <a:lnTo>
                    <a:pt x="0" y="58144"/>
                  </a:lnTo>
                  <a:lnTo>
                    <a:pt x="2278" y="61855"/>
                  </a:lnTo>
                  <a:lnTo>
                    <a:pt x="3797" y="61855"/>
                  </a:lnTo>
                  <a:lnTo>
                    <a:pt x="3797" y="61855"/>
                  </a:lnTo>
                  <a:lnTo>
                    <a:pt x="5316" y="64329"/>
                  </a:lnTo>
                  <a:lnTo>
                    <a:pt x="5316" y="66804"/>
                  </a:lnTo>
                  <a:lnTo>
                    <a:pt x="5316" y="66804"/>
                  </a:lnTo>
                  <a:lnTo>
                    <a:pt x="5316" y="64329"/>
                  </a:lnTo>
                  <a:lnTo>
                    <a:pt x="5316" y="64329"/>
                  </a:lnTo>
                  <a:lnTo>
                    <a:pt x="7594" y="64329"/>
                  </a:lnTo>
                  <a:lnTo>
                    <a:pt x="7594" y="66804"/>
                  </a:lnTo>
                  <a:lnTo>
                    <a:pt x="7594" y="66804"/>
                  </a:lnTo>
                  <a:lnTo>
                    <a:pt x="7594" y="70515"/>
                  </a:lnTo>
                  <a:lnTo>
                    <a:pt x="7594" y="70515"/>
                  </a:lnTo>
                  <a:lnTo>
                    <a:pt x="7594" y="70515"/>
                  </a:lnTo>
                  <a:lnTo>
                    <a:pt x="7594" y="72989"/>
                  </a:lnTo>
                  <a:lnTo>
                    <a:pt x="7594" y="72989"/>
                  </a:lnTo>
                  <a:lnTo>
                    <a:pt x="7594" y="72989"/>
                  </a:lnTo>
                  <a:lnTo>
                    <a:pt x="7594" y="72989"/>
                  </a:lnTo>
                  <a:lnTo>
                    <a:pt x="9113" y="75463"/>
                  </a:lnTo>
                  <a:lnTo>
                    <a:pt x="9113" y="75463"/>
                  </a:lnTo>
                  <a:lnTo>
                    <a:pt x="10632" y="75463"/>
                  </a:lnTo>
                  <a:lnTo>
                    <a:pt x="10632" y="75463"/>
                  </a:lnTo>
                  <a:lnTo>
                    <a:pt x="12911" y="79175"/>
                  </a:lnTo>
                  <a:lnTo>
                    <a:pt x="14430" y="79175"/>
                  </a:lnTo>
                  <a:lnTo>
                    <a:pt x="14430" y="79175"/>
                  </a:lnTo>
                  <a:lnTo>
                    <a:pt x="15949" y="79175"/>
                  </a:lnTo>
                  <a:lnTo>
                    <a:pt x="15949" y="81649"/>
                  </a:lnTo>
                  <a:lnTo>
                    <a:pt x="15949" y="81649"/>
                  </a:lnTo>
                  <a:lnTo>
                    <a:pt x="15949" y="81649"/>
                  </a:lnTo>
                  <a:lnTo>
                    <a:pt x="14430" y="81649"/>
                  </a:lnTo>
                  <a:lnTo>
                    <a:pt x="14430" y="85360"/>
                  </a:lnTo>
                  <a:lnTo>
                    <a:pt x="14430" y="85360"/>
                  </a:lnTo>
                  <a:lnTo>
                    <a:pt x="14430" y="85360"/>
                  </a:lnTo>
                  <a:lnTo>
                    <a:pt x="14430" y="85360"/>
                  </a:lnTo>
                  <a:lnTo>
                    <a:pt x="14430" y="87835"/>
                  </a:lnTo>
                  <a:lnTo>
                    <a:pt x="14430" y="87835"/>
                  </a:lnTo>
                  <a:lnTo>
                    <a:pt x="14430" y="87835"/>
                  </a:lnTo>
                  <a:lnTo>
                    <a:pt x="15949" y="87835"/>
                  </a:lnTo>
                  <a:lnTo>
                    <a:pt x="15949" y="87835"/>
                  </a:lnTo>
                  <a:lnTo>
                    <a:pt x="15949" y="87835"/>
                  </a:lnTo>
                  <a:lnTo>
                    <a:pt x="15949" y="90309"/>
                  </a:lnTo>
                  <a:lnTo>
                    <a:pt x="15949" y="90309"/>
                  </a:lnTo>
                  <a:lnTo>
                    <a:pt x="14430" y="90309"/>
                  </a:lnTo>
                  <a:lnTo>
                    <a:pt x="14430" y="90309"/>
                  </a:lnTo>
                  <a:lnTo>
                    <a:pt x="14430" y="90309"/>
                  </a:lnTo>
                  <a:lnTo>
                    <a:pt x="15949" y="90309"/>
                  </a:lnTo>
                  <a:lnTo>
                    <a:pt x="18227" y="94020"/>
                  </a:lnTo>
                  <a:lnTo>
                    <a:pt x="18227" y="94020"/>
                  </a:lnTo>
                  <a:lnTo>
                    <a:pt x="19746" y="94020"/>
                  </a:lnTo>
                  <a:lnTo>
                    <a:pt x="21265" y="96494"/>
                  </a:lnTo>
                  <a:lnTo>
                    <a:pt x="23544" y="96494"/>
                  </a:lnTo>
                  <a:lnTo>
                    <a:pt x="23544" y="98969"/>
                  </a:lnTo>
                  <a:lnTo>
                    <a:pt x="25063" y="96494"/>
                  </a:lnTo>
                  <a:lnTo>
                    <a:pt x="27341" y="94020"/>
                  </a:lnTo>
                  <a:lnTo>
                    <a:pt x="28860" y="94020"/>
                  </a:lnTo>
                  <a:lnTo>
                    <a:pt x="30379" y="96494"/>
                  </a:lnTo>
                  <a:lnTo>
                    <a:pt x="32658" y="96494"/>
                  </a:lnTo>
                  <a:lnTo>
                    <a:pt x="32658" y="96494"/>
                  </a:lnTo>
                  <a:lnTo>
                    <a:pt x="32658" y="96494"/>
                  </a:lnTo>
                  <a:lnTo>
                    <a:pt x="30379" y="96494"/>
                  </a:lnTo>
                  <a:lnTo>
                    <a:pt x="30379" y="98969"/>
                  </a:lnTo>
                  <a:lnTo>
                    <a:pt x="28860" y="98969"/>
                  </a:lnTo>
                  <a:lnTo>
                    <a:pt x="28860" y="102680"/>
                  </a:lnTo>
                  <a:lnTo>
                    <a:pt x="30379" y="102680"/>
                  </a:lnTo>
                  <a:lnTo>
                    <a:pt x="30379" y="102680"/>
                  </a:lnTo>
                  <a:lnTo>
                    <a:pt x="30379" y="105154"/>
                  </a:lnTo>
                  <a:lnTo>
                    <a:pt x="32658" y="105154"/>
                  </a:lnTo>
                  <a:lnTo>
                    <a:pt x="32658" y="105154"/>
                  </a:lnTo>
                  <a:lnTo>
                    <a:pt x="32658" y="105154"/>
                  </a:lnTo>
                  <a:lnTo>
                    <a:pt x="32658" y="107628"/>
                  </a:lnTo>
                  <a:lnTo>
                    <a:pt x="35696" y="107628"/>
                  </a:lnTo>
                  <a:lnTo>
                    <a:pt x="35696" y="111340"/>
                  </a:lnTo>
                  <a:lnTo>
                    <a:pt x="35696" y="111340"/>
                  </a:lnTo>
                  <a:lnTo>
                    <a:pt x="35696" y="111340"/>
                  </a:lnTo>
                  <a:lnTo>
                    <a:pt x="34177" y="111340"/>
                  </a:lnTo>
                  <a:lnTo>
                    <a:pt x="34177" y="113814"/>
                  </a:lnTo>
                  <a:lnTo>
                    <a:pt x="34177" y="113814"/>
                  </a:lnTo>
                  <a:lnTo>
                    <a:pt x="34177" y="113814"/>
                  </a:lnTo>
                  <a:lnTo>
                    <a:pt x="35696" y="117525"/>
                  </a:lnTo>
                  <a:lnTo>
                    <a:pt x="39493" y="113814"/>
                  </a:lnTo>
                  <a:lnTo>
                    <a:pt x="43291" y="117525"/>
                  </a:lnTo>
                  <a:lnTo>
                    <a:pt x="48607" y="117525"/>
                  </a:lnTo>
                  <a:lnTo>
                    <a:pt x="52405" y="117525"/>
                  </a:lnTo>
                  <a:lnTo>
                    <a:pt x="53924" y="117525"/>
                  </a:lnTo>
                  <a:lnTo>
                    <a:pt x="59240" y="120000"/>
                  </a:lnTo>
                  <a:lnTo>
                    <a:pt x="64556" y="120000"/>
                  </a:lnTo>
                  <a:lnTo>
                    <a:pt x="68354" y="120000"/>
                  </a:lnTo>
                  <a:lnTo>
                    <a:pt x="69873" y="120000"/>
                  </a:lnTo>
                  <a:lnTo>
                    <a:pt x="71392" y="117525"/>
                  </a:lnTo>
                  <a:lnTo>
                    <a:pt x="73670" y="113814"/>
                  </a:lnTo>
                  <a:lnTo>
                    <a:pt x="77468" y="111340"/>
                  </a:lnTo>
                  <a:lnTo>
                    <a:pt x="80506" y="111340"/>
                  </a:lnTo>
                  <a:lnTo>
                    <a:pt x="84303" y="107628"/>
                  </a:lnTo>
                  <a:lnTo>
                    <a:pt x="88101" y="107628"/>
                  </a:lnTo>
                  <a:lnTo>
                    <a:pt x="88101" y="107628"/>
                  </a:lnTo>
                  <a:lnTo>
                    <a:pt x="93417" y="111340"/>
                  </a:lnTo>
                  <a:lnTo>
                    <a:pt x="93417" y="111340"/>
                  </a:lnTo>
                  <a:lnTo>
                    <a:pt x="94936" y="111340"/>
                  </a:lnTo>
                  <a:lnTo>
                    <a:pt x="96455" y="113814"/>
                  </a:lnTo>
                  <a:lnTo>
                    <a:pt x="96455" y="113814"/>
                  </a:lnTo>
                  <a:lnTo>
                    <a:pt x="98734" y="111340"/>
                  </a:lnTo>
                  <a:lnTo>
                    <a:pt x="98734" y="113814"/>
                  </a:lnTo>
                  <a:lnTo>
                    <a:pt x="100253" y="117525"/>
                  </a:lnTo>
                  <a:lnTo>
                    <a:pt x="101772" y="117525"/>
                  </a:lnTo>
                  <a:lnTo>
                    <a:pt x="104050" y="117525"/>
                  </a:lnTo>
                  <a:lnTo>
                    <a:pt x="105569" y="120000"/>
                  </a:lnTo>
                  <a:lnTo>
                    <a:pt x="107848" y="117525"/>
                  </a:lnTo>
                  <a:lnTo>
                    <a:pt x="107848" y="117525"/>
                  </a:lnTo>
                  <a:lnTo>
                    <a:pt x="107848" y="111340"/>
                  </a:lnTo>
                  <a:lnTo>
                    <a:pt x="107848" y="105154"/>
                  </a:lnTo>
                  <a:lnTo>
                    <a:pt x="107848" y="102680"/>
                  </a:lnTo>
                  <a:lnTo>
                    <a:pt x="109367" y="98969"/>
                  </a:lnTo>
                  <a:lnTo>
                    <a:pt x="110886" y="96494"/>
                  </a:lnTo>
                  <a:lnTo>
                    <a:pt x="109367" y="96494"/>
                  </a:lnTo>
                  <a:lnTo>
                    <a:pt x="109367" y="96494"/>
                  </a:lnTo>
                  <a:lnTo>
                    <a:pt x="109367" y="96494"/>
                  </a:lnTo>
                  <a:lnTo>
                    <a:pt x="109367" y="94020"/>
                  </a:lnTo>
                  <a:lnTo>
                    <a:pt x="109367" y="94020"/>
                  </a:lnTo>
                  <a:lnTo>
                    <a:pt x="110886" y="90309"/>
                  </a:lnTo>
                  <a:lnTo>
                    <a:pt x="109367" y="87835"/>
                  </a:lnTo>
                  <a:lnTo>
                    <a:pt x="110886" y="87835"/>
                  </a:lnTo>
                  <a:lnTo>
                    <a:pt x="110886" y="87835"/>
                  </a:lnTo>
                  <a:lnTo>
                    <a:pt x="113164" y="87835"/>
                  </a:lnTo>
                  <a:lnTo>
                    <a:pt x="110886" y="87835"/>
                  </a:lnTo>
                  <a:lnTo>
                    <a:pt x="113164" y="90309"/>
                  </a:lnTo>
                  <a:lnTo>
                    <a:pt x="113164" y="90309"/>
                  </a:lnTo>
                  <a:lnTo>
                    <a:pt x="113164" y="94020"/>
                  </a:lnTo>
                  <a:lnTo>
                    <a:pt x="118481" y="90309"/>
                  </a:lnTo>
                  <a:lnTo>
                    <a:pt x="118481" y="87835"/>
                  </a:lnTo>
                  <a:lnTo>
                    <a:pt x="118481" y="87835"/>
                  </a:lnTo>
                  <a:lnTo>
                    <a:pt x="120000" y="81649"/>
                  </a:lnTo>
                  <a:lnTo>
                    <a:pt x="120000" y="79175"/>
                  </a:lnTo>
                  <a:lnTo>
                    <a:pt x="120000" y="79175"/>
                  </a:lnTo>
                  <a:lnTo>
                    <a:pt x="118481" y="75463"/>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399" name="Shape 399"/>
            <p:cNvSpPr/>
            <p:nvPr/>
          </p:nvSpPr>
          <p:spPr>
            <a:xfrm>
              <a:off x="4577" y="2257"/>
              <a:ext cx="0" cy="0"/>
            </a:xfrm>
            <a:custGeom>
              <a:avLst/>
              <a:gdLst/>
              <a:ahLst/>
              <a:cxnLst/>
              <a:rect l="0" t="0" r="0" b="0"/>
              <a:pathLst>
                <a:path w="120000" h="120000" extrusionOk="0">
                  <a:moveTo>
                    <a:pt x="119999" y="76363"/>
                  </a:moveTo>
                  <a:lnTo>
                    <a:pt x="119999" y="58181"/>
                  </a:lnTo>
                  <a:lnTo>
                    <a:pt x="102857" y="50909"/>
                  </a:lnTo>
                  <a:lnTo>
                    <a:pt x="102857" y="50909"/>
                  </a:lnTo>
                  <a:lnTo>
                    <a:pt x="102857" y="43636"/>
                  </a:lnTo>
                  <a:lnTo>
                    <a:pt x="102857" y="32727"/>
                  </a:lnTo>
                  <a:lnTo>
                    <a:pt x="119999" y="25454"/>
                  </a:lnTo>
                  <a:lnTo>
                    <a:pt x="102857" y="14545"/>
                  </a:lnTo>
                  <a:lnTo>
                    <a:pt x="77142" y="7272"/>
                  </a:lnTo>
                  <a:lnTo>
                    <a:pt x="59999" y="0"/>
                  </a:lnTo>
                  <a:lnTo>
                    <a:pt x="42857" y="0"/>
                  </a:lnTo>
                  <a:lnTo>
                    <a:pt x="17142" y="7272"/>
                  </a:lnTo>
                  <a:lnTo>
                    <a:pt x="17142" y="25454"/>
                  </a:lnTo>
                  <a:lnTo>
                    <a:pt x="0" y="32727"/>
                  </a:lnTo>
                  <a:lnTo>
                    <a:pt x="0" y="43636"/>
                  </a:lnTo>
                  <a:lnTo>
                    <a:pt x="0" y="50909"/>
                  </a:lnTo>
                  <a:lnTo>
                    <a:pt x="0" y="50909"/>
                  </a:lnTo>
                  <a:lnTo>
                    <a:pt x="0" y="69090"/>
                  </a:lnTo>
                  <a:lnTo>
                    <a:pt x="17142" y="94545"/>
                  </a:lnTo>
                  <a:lnTo>
                    <a:pt x="17142" y="94545"/>
                  </a:lnTo>
                  <a:lnTo>
                    <a:pt x="0" y="101818"/>
                  </a:lnTo>
                  <a:lnTo>
                    <a:pt x="17142" y="109090"/>
                  </a:lnTo>
                  <a:lnTo>
                    <a:pt x="17142" y="109090"/>
                  </a:lnTo>
                  <a:lnTo>
                    <a:pt x="42857" y="120000"/>
                  </a:lnTo>
                  <a:lnTo>
                    <a:pt x="42857" y="120000"/>
                  </a:lnTo>
                  <a:lnTo>
                    <a:pt x="59999" y="120000"/>
                  </a:lnTo>
                  <a:lnTo>
                    <a:pt x="59999" y="120000"/>
                  </a:lnTo>
                  <a:lnTo>
                    <a:pt x="77142" y="109090"/>
                  </a:lnTo>
                  <a:lnTo>
                    <a:pt x="102857" y="109090"/>
                  </a:lnTo>
                  <a:lnTo>
                    <a:pt x="102857" y="109090"/>
                  </a:lnTo>
                  <a:lnTo>
                    <a:pt x="119999" y="94545"/>
                  </a:lnTo>
                  <a:lnTo>
                    <a:pt x="119999" y="83636"/>
                  </a:lnTo>
                  <a:lnTo>
                    <a:pt x="119999" y="76363"/>
                  </a:lnTo>
                  <a:lnTo>
                    <a:pt x="119999" y="76363"/>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00" name="Shape 400"/>
            <p:cNvSpPr/>
            <p:nvPr/>
          </p:nvSpPr>
          <p:spPr>
            <a:xfrm>
              <a:off x="2425" y="2418"/>
              <a:ext cx="0" cy="0"/>
            </a:xfrm>
            <a:custGeom>
              <a:avLst/>
              <a:gdLst/>
              <a:ahLst/>
              <a:cxnLst/>
              <a:rect l="0" t="0" r="0" b="0"/>
              <a:pathLst>
                <a:path w="120000" h="120000" extrusionOk="0">
                  <a:moveTo>
                    <a:pt x="102857" y="0"/>
                  </a:moveTo>
                  <a:lnTo>
                    <a:pt x="89999" y="0"/>
                  </a:lnTo>
                  <a:lnTo>
                    <a:pt x="89999" y="0"/>
                  </a:lnTo>
                  <a:lnTo>
                    <a:pt x="89999" y="0"/>
                  </a:lnTo>
                  <a:lnTo>
                    <a:pt x="89999" y="21818"/>
                  </a:lnTo>
                  <a:lnTo>
                    <a:pt x="89999" y="0"/>
                  </a:lnTo>
                  <a:lnTo>
                    <a:pt x="81428" y="0"/>
                  </a:lnTo>
                  <a:lnTo>
                    <a:pt x="81428" y="0"/>
                  </a:lnTo>
                  <a:lnTo>
                    <a:pt x="29999" y="0"/>
                  </a:lnTo>
                  <a:lnTo>
                    <a:pt x="8571" y="0"/>
                  </a:lnTo>
                  <a:lnTo>
                    <a:pt x="8571" y="0"/>
                  </a:lnTo>
                  <a:lnTo>
                    <a:pt x="8571" y="0"/>
                  </a:lnTo>
                  <a:lnTo>
                    <a:pt x="0" y="0"/>
                  </a:lnTo>
                  <a:lnTo>
                    <a:pt x="0" y="21818"/>
                  </a:lnTo>
                  <a:lnTo>
                    <a:pt x="0" y="21818"/>
                  </a:lnTo>
                  <a:lnTo>
                    <a:pt x="0" y="21818"/>
                  </a:lnTo>
                  <a:lnTo>
                    <a:pt x="0" y="43636"/>
                  </a:lnTo>
                  <a:lnTo>
                    <a:pt x="0" y="43636"/>
                  </a:lnTo>
                  <a:lnTo>
                    <a:pt x="0" y="76363"/>
                  </a:lnTo>
                  <a:lnTo>
                    <a:pt x="0" y="98181"/>
                  </a:lnTo>
                  <a:lnTo>
                    <a:pt x="0" y="120000"/>
                  </a:lnTo>
                  <a:lnTo>
                    <a:pt x="8571" y="120000"/>
                  </a:lnTo>
                  <a:lnTo>
                    <a:pt x="21428" y="120000"/>
                  </a:lnTo>
                  <a:lnTo>
                    <a:pt x="21428" y="120000"/>
                  </a:lnTo>
                  <a:lnTo>
                    <a:pt x="29999" y="120000"/>
                  </a:lnTo>
                  <a:lnTo>
                    <a:pt x="29999" y="98181"/>
                  </a:lnTo>
                  <a:lnTo>
                    <a:pt x="38571" y="120000"/>
                  </a:lnTo>
                  <a:lnTo>
                    <a:pt x="51428" y="98181"/>
                  </a:lnTo>
                  <a:lnTo>
                    <a:pt x="59999" y="120000"/>
                  </a:lnTo>
                  <a:lnTo>
                    <a:pt x="72857" y="120000"/>
                  </a:lnTo>
                  <a:lnTo>
                    <a:pt x="72857" y="120000"/>
                  </a:lnTo>
                  <a:lnTo>
                    <a:pt x="72857" y="120000"/>
                  </a:lnTo>
                  <a:lnTo>
                    <a:pt x="81428" y="120000"/>
                  </a:lnTo>
                  <a:lnTo>
                    <a:pt x="89999" y="120000"/>
                  </a:lnTo>
                  <a:lnTo>
                    <a:pt x="102857" y="98181"/>
                  </a:lnTo>
                  <a:lnTo>
                    <a:pt x="111428" y="76363"/>
                  </a:lnTo>
                  <a:lnTo>
                    <a:pt x="111428" y="76363"/>
                  </a:lnTo>
                  <a:lnTo>
                    <a:pt x="119999" y="43636"/>
                  </a:lnTo>
                  <a:lnTo>
                    <a:pt x="119999" y="21818"/>
                  </a:lnTo>
                  <a:lnTo>
                    <a:pt x="111428" y="21818"/>
                  </a:lnTo>
                  <a:lnTo>
                    <a:pt x="102857" y="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01" name="Shape 401"/>
            <p:cNvSpPr/>
            <p:nvPr/>
          </p:nvSpPr>
          <p:spPr>
            <a:xfrm>
              <a:off x="3504" y="1919"/>
              <a:ext cx="0" cy="0"/>
            </a:xfrm>
            <a:custGeom>
              <a:avLst/>
              <a:gdLst/>
              <a:ahLst/>
              <a:cxnLst/>
              <a:rect l="0" t="0" r="0" b="0"/>
              <a:pathLst>
                <a:path w="120000" h="120000" extrusionOk="0">
                  <a:moveTo>
                    <a:pt x="120000" y="12452"/>
                  </a:moveTo>
                  <a:lnTo>
                    <a:pt x="114193" y="12452"/>
                  </a:lnTo>
                  <a:lnTo>
                    <a:pt x="114193" y="12452"/>
                  </a:lnTo>
                  <a:lnTo>
                    <a:pt x="110322" y="10188"/>
                  </a:lnTo>
                  <a:lnTo>
                    <a:pt x="110322" y="10188"/>
                  </a:lnTo>
                  <a:lnTo>
                    <a:pt x="106451" y="10188"/>
                  </a:lnTo>
                  <a:lnTo>
                    <a:pt x="106451" y="10188"/>
                  </a:lnTo>
                  <a:lnTo>
                    <a:pt x="106451" y="7924"/>
                  </a:lnTo>
                  <a:lnTo>
                    <a:pt x="106451" y="7924"/>
                  </a:lnTo>
                  <a:lnTo>
                    <a:pt x="106451" y="4528"/>
                  </a:lnTo>
                  <a:lnTo>
                    <a:pt x="106451" y="4528"/>
                  </a:lnTo>
                  <a:lnTo>
                    <a:pt x="100645" y="4528"/>
                  </a:lnTo>
                  <a:lnTo>
                    <a:pt x="100645" y="4528"/>
                  </a:lnTo>
                  <a:lnTo>
                    <a:pt x="96774" y="4528"/>
                  </a:lnTo>
                  <a:lnTo>
                    <a:pt x="96774" y="4528"/>
                  </a:lnTo>
                  <a:lnTo>
                    <a:pt x="92903" y="4528"/>
                  </a:lnTo>
                  <a:lnTo>
                    <a:pt x="87096" y="4528"/>
                  </a:lnTo>
                  <a:lnTo>
                    <a:pt x="87096" y="4528"/>
                  </a:lnTo>
                  <a:lnTo>
                    <a:pt x="87096" y="4528"/>
                  </a:lnTo>
                  <a:lnTo>
                    <a:pt x="87096" y="4528"/>
                  </a:lnTo>
                  <a:lnTo>
                    <a:pt x="87096" y="4528"/>
                  </a:lnTo>
                  <a:lnTo>
                    <a:pt x="87096" y="4528"/>
                  </a:lnTo>
                  <a:lnTo>
                    <a:pt x="83225" y="7924"/>
                  </a:lnTo>
                  <a:lnTo>
                    <a:pt x="79354" y="7924"/>
                  </a:lnTo>
                  <a:lnTo>
                    <a:pt x="73548" y="7924"/>
                  </a:lnTo>
                  <a:lnTo>
                    <a:pt x="73548" y="7924"/>
                  </a:lnTo>
                  <a:lnTo>
                    <a:pt x="73548" y="7924"/>
                  </a:lnTo>
                  <a:lnTo>
                    <a:pt x="69677" y="4528"/>
                  </a:lnTo>
                  <a:lnTo>
                    <a:pt x="63870" y="7924"/>
                  </a:lnTo>
                  <a:lnTo>
                    <a:pt x="63870" y="7924"/>
                  </a:lnTo>
                  <a:lnTo>
                    <a:pt x="60000" y="7924"/>
                  </a:lnTo>
                  <a:lnTo>
                    <a:pt x="56129" y="7924"/>
                  </a:lnTo>
                  <a:lnTo>
                    <a:pt x="56129" y="7924"/>
                  </a:lnTo>
                  <a:lnTo>
                    <a:pt x="56129" y="7924"/>
                  </a:lnTo>
                  <a:lnTo>
                    <a:pt x="56129" y="7924"/>
                  </a:lnTo>
                  <a:lnTo>
                    <a:pt x="50322" y="4528"/>
                  </a:lnTo>
                  <a:lnTo>
                    <a:pt x="50322" y="4528"/>
                  </a:lnTo>
                  <a:lnTo>
                    <a:pt x="56129" y="2264"/>
                  </a:lnTo>
                  <a:lnTo>
                    <a:pt x="56129" y="2264"/>
                  </a:lnTo>
                  <a:lnTo>
                    <a:pt x="56129" y="2264"/>
                  </a:lnTo>
                  <a:lnTo>
                    <a:pt x="56129" y="2264"/>
                  </a:lnTo>
                  <a:lnTo>
                    <a:pt x="56129" y="0"/>
                  </a:lnTo>
                  <a:lnTo>
                    <a:pt x="50322" y="0"/>
                  </a:lnTo>
                  <a:lnTo>
                    <a:pt x="50322" y="2264"/>
                  </a:lnTo>
                  <a:lnTo>
                    <a:pt x="42580" y="2264"/>
                  </a:lnTo>
                  <a:lnTo>
                    <a:pt x="42580" y="2264"/>
                  </a:lnTo>
                  <a:lnTo>
                    <a:pt x="36774" y="2264"/>
                  </a:lnTo>
                  <a:lnTo>
                    <a:pt x="32903" y="4528"/>
                  </a:lnTo>
                  <a:lnTo>
                    <a:pt x="32903" y="7924"/>
                  </a:lnTo>
                  <a:lnTo>
                    <a:pt x="29032" y="10188"/>
                  </a:lnTo>
                  <a:lnTo>
                    <a:pt x="32903" y="10188"/>
                  </a:lnTo>
                  <a:lnTo>
                    <a:pt x="32903" y="10188"/>
                  </a:lnTo>
                  <a:lnTo>
                    <a:pt x="32903" y="12452"/>
                  </a:lnTo>
                  <a:lnTo>
                    <a:pt x="32903" y="12452"/>
                  </a:lnTo>
                  <a:lnTo>
                    <a:pt x="32903" y="21509"/>
                  </a:lnTo>
                  <a:lnTo>
                    <a:pt x="36774" y="23773"/>
                  </a:lnTo>
                  <a:lnTo>
                    <a:pt x="36774" y="23773"/>
                  </a:lnTo>
                  <a:lnTo>
                    <a:pt x="36774" y="26037"/>
                  </a:lnTo>
                  <a:lnTo>
                    <a:pt x="32903" y="29433"/>
                  </a:lnTo>
                  <a:lnTo>
                    <a:pt x="32903" y="31698"/>
                  </a:lnTo>
                  <a:lnTo>
                    <a:pt x="32903" y="33962"/>
                  </a:lnTo>
                  <a:lnTo>
                    <a:pt x="29032" y="37358"/>
                  </a:lnTo>
                  <a:lnTo>
                    <a:pt x="23225" y="45283"/>
                  </a:lnTo>
                  <a:lnTo>
                    <a:pt x="23225" y="45283"/>
                  </a:lnTo>
                  <a:lnTo>
                    <a:pt x="29032" y="47547"/>
                  </a:lnTo>
                  <a:lnTo>
                    <a:pt x="29032" y="47547"/>
                  </a:lnTo>
                  <a:lnTo>
                    <a:pt x="19354" y="53207"/>
                  </a:lnTo>
                  <a:lnTo>
                    <a:pt x="15483" y="58867"/>
                  </a:lnTo>
                  <a:lnTo>
                    <a:pt x="9677" y="61132"/>
                  </a:lnTo>
                  <a:lnTo>
                    <a:pt x="9677" y="63396"/>
                  </a:lnTo>
                  <a:lnTo>
                    <a:pt x="5806" y="63396"/>
                  </a:lnTo>
                  <a:lnTo>
                    <a:pt x="5806" y="66792"/>
                  </a:lnTo>
                  <a:lnTo>
                    <a:pt x="5806" y="66792"/>
                  </a:lnTo>
                  <a:lnTo>
                    <a:pt x="5806" y="69056"/>
                  </a:lnTo>
                  <a:lnTo>
                    <a:pt x="0" y="74716"/>
                  </a:lnTo>
                  <a:lnTo>
                    <a:pt x="0" y="76981"/>
                  </a:lnTo>
                  <a:lnTo>
                    <a:pt x="0" y="76981"/>
                  </a:lnTo>
                  <a:lnTo>
                    <a:pt x="0" y="80377"/>
                  </a:lnTo>
                  <a:lnTo>
                    <a:pt x="0" y="80377"/>
                  </a:lnTo>
                  <a:lnTo>
                    <a:pt x="5806" y="80377"/>
                  </a:lnTo>
                  <a:lnTo>
                    <a:pt x="9677" y="80377"/>
                  </a:lnTo>
                  <a:lnTo>
                    <a:pt x="9677" y="80377"/>
                  </a:lnTo>
                  <a:lnTo>
                    <a:pt x="15483" y="76981"/>
                  </a:lnTo>
                  <a:lnTo>
                    <a:pt x="19354" y="71320"/>
                  </a:lnTo>
                  <a:lnTo>
                    <a:pt x="23225" y="71320"/>
                  </a:lnTo>
                  <a:lnTo>
                    <a:pt x="23225" y="71320"/>
                  </a:lnTo>
                  <a:lnTo>
                    <a:pt x="19354" y="71320"/>
                  </a:lnTo>
                  <a:lnTo>
                    <a:pt x="19354" y="74716"/>
                  </a:lnTo>
                  <a:lnTo>
                    <a:pt x="19354" y="76981"/>
                  </a:lnTo>
                  <a:lnTo>
                    <a:pt x="15483" y="80377"/>
                  </a:lnTo>
                  <a:lnTo>
                    <a:pt x="15483" y="80377"/>
                  </a:lnTo>
                  <a:lnTo>
                    <a:pt x="9677" y="80377"/>
                  </a:lnTo>
                  <a:lnTo>
                    <a:pt x="9677" y="80377"/>
                  </a:lnTo>
                  <a:lnTo>
                    <a:pt x="9677" y="82641"/>
                  </a:lnTo>
                  <a:lnTo>
                    <a:pt x="9677" y="84905"/>
                  </a:lnTo>
                  <a:lnTo>
                    <a:pt x="9677" y="84905"/>
                  </a:lnTo>
                  <a:lnTo>
                    <a:pt x="15483" y="84905"/>
                  </a:lnTo>
                  <a:lnTo>
                    <a:pt x="19354" y="84905"/>
                  </a:lnTo>
                  <a:lnTo>
                    <a:pt x="19354" y="84905"/>
                  </a:lnTo>
                  <a:lnTo>
                    <a:pt x="23225" y="84905"/>
                  </a:lnTo>
                  <a:lnTo>
                    <a:pt x="23225" y="84905"/>
                  </a:lnTo>
                  <a:lnTo>
                    <a:pt x="29032" y="84905"/>
                  </a:lnTo>
                  <a:lnTo>
                    <a:pt x="19354" y="84905"/>
                  </a:lnTo>
                  <a:lnTo>
                    <a:pt x="19354" y="90566"/>
                  </a:lnTo>
                  <a:lnTo>
                    <a:pt x="19354" y="92830"/>
                  </a:lnTo>
                  <a:lnTo>
                    <a:pt x="19354" y="98490"/>
                  </a:lnTo>
                  <a:lnTo>
                    <a:pt x="19354" y="98490"/>
                  </a:lnTo>
                  <a:lnTo>
                    <a:pt x="19354" y="104150"/>
                  </a:lnTo>
                  <a:lnTo>
                    <a:pt x="19354" y="106415"/>
                  </a:lnTo>
                  <a:lnTo>
                    <a:pt x="19354" y="109811"/>
                  </a:lnTo>
                  <a:lnTo>
                    <a:pt x="15483" y="117735"/>
                  </a:lnTo>
                  <a:lnTo>
                    <a:pt x="9677" y="120000"/>
                  </a:lnTo>
                  <a:lnTo>
                    <a:pt x="15483" y="120000"/>
                  </a:lnTo>
                  <a:lnTo>
                    <a:pt x="15483" y="120000"/>
                  </a:lnTo>
                  <a:lnTo>
                    <a:pt x="19354" y="120000"/>
                  </a:lnTo>
                  <a:lnTo>
                    <a:pt x="23225" y="117735"/>
                  </a:lnTo>
                  <a:lnTo>
                    <a:pt x="29032" y="117735"/>
                  </a:lnTo>
                  <a:lnTo>
                    <a:pt x="42580" y="120000"/>
                  </a:lnTo>
                  <a:lnTo>
                    <a:pt x="46451" y="120000"/>
                  </a:lnTo>
                  <a:lnTo>
                    <a:pt x="50322" y="120000"/>
                  </a:lnTo>
                  <a:lnTo>
                    <a:pt x="60000" y="117735"/>
                  </a:lnTo>
                  <a:lnTo>
                    <a:pt x="63870" y="117735"/>
                  </a:lnTo>
                  <a:lnTo>
                    <a:pt x="63870" y="109811"/>
                  </a:lnTo>
                  <a:lnTo>
                    <a:pt x="63870" y="109811"/>
                  </a:lnTo>
                  <a:lnTo>
                    <a:pt x="63870" y="106415"/>
                  </a:lnTo>
                  <a:lnTo>
                    <a:pt x="63870" y="104150"/>
                  </a:lnTo>
                  <a:lnTo>
                    <a:pt x="69677" y="100754"/>
                  </a:lnTo>
                  <a:lnTo>
                    <a:pt x="69677" y="98490"/>
                  </a:lnTo>
                  <a:lnTo>
                    <a:pt x="73548" y="96226"/>
                  </a:lnTo>
                  <a:lnTo>
                    <a:pt x="79354" y="96226"/>
                  </a:lnTo>
                  <a:lnTo>
                    <a:pt x="79354" y="96226"/>
                  </a:lnTo>
                  <a:lnTo>
                    <a:pt x="83225" y="92830"/>
                  </a:lnTo>
                  <a:lnTo>
                    <a:pt x="83225" y="92830"/>
                  </a:lnTo>
                  <a:lnTo>
                    <a:pt x="83225" y="92830"/>
                  </a:lnTo>
                  <a:lnTo>
                    <a:pt x="79354" y="92830"/>
                  </a:lnTo>
                  <a:lnTo>
                    <a:pt x="69677" y="84905"/>
                  </a:lnTo>
                  <a:lnTo>
                    <a:pt x="69677" y="84905"/>
                  </a:lnTo>
                  <a:lnTo>
                    <a:pt x="73548" y="82641"/>
                  </a:lnTo>
                  <a:lnTo>
                    <a:pt x="73548" y="80377"/>
                  </a:lnTo>
                  <a:lnTo>
                    <a:pt x="73548" y="80377"/>
                  </a:lnTo>
                  <a:lnTo>
                    <a:pt x="73548" y="76981"/>
                  </a:lnTo>
                  <a:lnTo>
                    <a:pt x="79354" y="76981"/>
                  </a:lnTo>
                  <a:lnTo>
                    <a:pt x="83225" y="74716"/>
                  </a:lnTo>
                  <a:lnTo>
                    <a:pt x="83225" y="71320"/>
                  </a:lnTo>
                  <a:lnTo>
                    <a:pt x="83225" y="71320"/>
                  </a:lnTo>
                  <a:lnTo>
                    <a:pt x="83225" y="69056"/>
                  </a:lnTo>
                  <a:lnTo>
                    <a:pt x="79354" y="69056"/>
                  </a:lnTo>
                  <a:lnTo>
                    <a:pt x="73548" y="63396"/>
                  </a:lnTo>
                  <a:lnTo>
                    <a:pt x="73548" y="61132"/>
                  </a:lnTo>
                  <a:lnTo>
                    <a:pt x="73548" y="61132"/>
                  </a:lnTo>
                  <a:lnTo>
                    <a:pt x="69677" y="58867"/>
                  </a:lnTo>
                  <a:lnTo>
                    <a:pt x="69677" y="55471"/>
                  </a:lnTo>
                  <a:lnTo>
                    <a:pt x="69677" y="55471"/>
                  </a:lnTo>
                  <a:lnTo>
                    <a:pt x="69677" y="55471"/>
                  </a:lnTo>
                  <a:lnTo>
                    <a:pt x="83225" y="55471"/>
                  </a:lnTo>
                  <a:lnTo>
                    <a:pt x="83225" y="55471"/>
                  </a:lnTo>
                  <a:lnTo>
                    <a:pt x="83225" y="55471"/>
                  </a:lnTo>
                  <a:lnTo>
                    <a:pt x="87096" y="53207"/>
                  </a:lnTo>
                  <a:lnTo>
                    <a:pt x="87096" y="50943"/>
                  </a:lnTo>
                  <a:lnTo>
                    <a:pt x="92903" y="50943"/>
                  </a:lnTo>
                  <a:lnTo>
                    <a:pt x="87096" y="50943"/>
                  </a:lnTo>
                  <a:lnTo>
                    <a:pt x="87096" y="47547"/>
                  </a:lnTo>
                  <a:lnTo>
                    <a:pt x="87096" y="47547"/>
                  </a:lnTo>
                  <a:lnTo>
                    <a:pt x="87096" y="45283"/>
                  </a:lnTo>
                  <a:lnTo>
                    <a:pt x="87096" y="45283"/>
                  </a:lnTo>
                  <a:lnTo>
                    <a:pt x="92903" y="41886"/>
                  </a:lnTo>
                  <a:lnTo>
                    <a:pt x="92903" y="41886"/>
                  </a:lnTo>
                  <a:lnTo>
                    <a:pt x="92903" y="41886"/>
                  </a:lnTo>
                  <a:lnTo>
                    <a:pt x="92903" y="39622"/>
                  </a:lnTo>
                  <a:lnTo>
                    <a:pt x="92903" y="39622"/>
                  </a:lnTo>
                  <a:lnTo>
                    <a:pt x="92903" y="39622"/>
                  </a:lnTo>
                  <a:lnTo>
                    <a:pt x="92903" y="37358"/>
                  </a:lnTo>
                  <a:lnTo>
                    <a:pt x="96774" y="33962"/>
                  </a:lnTo>
                  <a:lnTo>
                    <a:pt x="96774" y="31698"/>
                  </a:lnTo>
                  <a:lnTo>
                    <a:pt x="92903" y="29433"/>
                  </a:lnTo>
                  <a:lnTo>
                    <a:pt x="92903" y="26037"/>
                  </a:lnTo>
                  <a:lnTo>
                    <a:pt x="92903" y="26037"/>
                  </a:lnTo>
                  <a:lnTo>
                    <a:pt x="92903" y="26037"/>
                  </a:lnTo>
                  <a:lnTo>
                    <a:pt x="96774" y="23773"/>
                  </a:lnTo>
                  <a:lnTo>
                    <a:pt x="100645" y="21509"/>
                  </a:lnTo>
                  <a:lnTo>
                    <a:pt x="106451" y="21509"/>
                  </a:lnTo>
                  <a:lnTo>
                    <a:pt x="110322" y="18113"/>
                  </a:lnTo>
                  <a:lnTo>
                    <a:pt x="114193" y="15849"/>
                  </a:lnTo>
                  <a:lnTo>
                    <a:pt x="114193" y="15849"/>
                  </a:lnTo>
                  <a:lnTo>
                    <a:pt x="120000" y="15849"/>
                  </a:lnTo>
                  <a:lnTo>
                    <a:pt x="120000" y="12452"/>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02" name="Shape 402"/>
            <p:cNvSpPr/>
            <p:nvPr/>
          </p:nvSpPr>
          <p:spPr>
            <a:xfrm>
              <a:off x="3907" y="1659"/>
              <a:ext cx="300" cy="0"/>
            </a:xfrm>
            <a:custGeom>
              <a:avLst/>
              <a:gdLst/>
              <a:ahLst/>
              <a:cxnLst/>
              <a:rect l="0" t="0" r="0" b="0"/>
              <a:pathLst>
                <a:path w="120000" h="120000" extrusionOk="0">
                  <a:moveTo>
                    <a:pt x="120000" y="86440"/>
                  </a:moveTo>
                  <a:lnTo>
                    <a:pt x="120000" y="83389"/>
                  </a:lnTo>
                  <a:lnTo>
                    <a:pt x="117763" y="83389"/>
                  </a:lnTo>
                  <a:lnTo>
                    <a:pt x="117763" y="83389"/>
                  </a:lnTo>
                  <a:lnTo>
                    <a:pt x="117763" y="81355"/>
                  </a:lnTo>
                  <a:lnTo>
                    <a:pt x="117763" y="81355"/>
                  </a:lnTo>
                  <a:lnTo>
                    <a:pt x="120000" y="81355"/>
                  </a:lnTo>
                  <a:lnTo>
                    <a:pt x="120000" y="81355"/>
                  </a:lnTo>
                  <a:lnTo>
                    <a:pt x="120000" y="81355"/>
                  </a:lnTo>
                  <a:lnTo>
                    <a:pt x="117763" y="79322"/>
                  </a:lnTo>
                  <a:lnTo>
                    <a:pt x="117763" y="79322"/>
                  </a:lnTo>
                  <a:lnTo>
                    <a:pt x="116273" y="76271"/>
                  </a:lnTo>
                  <a:lnTo>
                    <a:pt x="114782" y="71186"/>
                  </a:lnTo>
                  <a:lnTo>
                    <a:pt x="114782" y="71186"/>
                  </a:lnTo>
                  <a:lnTo>
                    <a:pt x="114782" y="71186"/>
                  </a:lnTo>
                  <a:lnTo>
                    <a:pt x="114782" y="69152"/>
                  </a:lnTo>
                  <a:lnTo>
                    <a:pt x="112546" y="69152"/>
                  </a:lnTo>
                  <a:lnTo>
                    <a:pt x="112546" y="67118"/>
                  </a:lnTo>
                  <a:lnTo>
                    <a:pt x="112546" y="64067"/>
                  </a:lnTo>
                  <a:lnTo>
                    <a:pt x="112546" y="64067"/>
                  </a:lnTo>
                  <a:lnTo>
                    <a:pt x="112546" y="62033"/>
                  </a:lnTo>
                  <a:lnTo>
                    <a:pt x="112546" y="62033"/>
                  </a:lnTo>
                  <a:lnTo>
                    <a:pt x="112546" y="60000"/>
                  </a:lnTo>
                  <a:lnTo>
                    <a:pt x="112546" y="56949"/>
                  </a:lnTo>
                  <a:lnTo>
                    <a:pt x="112546" y="56949"/>
                  </a:lnTo>
                  <a:lnTo>
                    <a:pt x="112546" y="56949"/>
                  </a:lnTo>
                  <a:lnTo>
                    <a:pt x="112546" y="54915"/>
                  </a:lnTo>
                  <a:lnTo>
                    <a:pt x="111055" y="54915"/>
                  </a:lnTo>
                  <a:lnTo>
                    <a:pt x="111055" y="54915"/>
                  </a:lnTo>
                  <a:lnTo>
                    <a:pt x="109565" y="52881"/>
                  </a:lnTo>
                  <a:lnTo>
                    <a:pt x="107329" y="52881"/>
                  </a:lnTo>
                  <a:lnTo>
                    <a:pt x="107329" y="52881"/>
                  </a:lnTo>
                  <a:lnTo>
                    <a:pt x="107329" y="49830"/>
                  </a:lnTo>
                  <a:lnTo>
                    <a:pt x="107329" y="49830"/>
                  </a:lnTo>
                  <a:lnTo>
                    <a:pt x="107329" y="47796"/>
                  </a:lnTo>
                  <a:lnTo>
                    <a:pt x="109565" y="47796"/>
                  </a:lnTo>
                  <a:lnTo>
                    <a:pt x="111055" y="44745"/>
                  </a:lnTo>
                  <a:lnTo>
                    <a:pt x="114782" y="42711"/>
                  </a:lnTo>
                  <a:lnTo>
                    <a:pt x="114782" y="42711"/>
                  </a:lnTo>
                  <a:lnTo>
                    <a:pt x="114782" y="42711"/>
                  </a:lnTo>
                  <a:lnTo>
                    <a:pt x="114782" y="40677"/>
                  </a:lnTo>
                  <a:lnTo>
                    <a:pt x="114782" y="37627"/>
                  </a:lnTo>
                  <a:lnTo>
                    <a:pt x="114782" y="35593"/>
                  </a:lnTo>
                  <a:lnTo>
                    <a:pt x="114782" y="35593"/>
                  </a:lnTo>
                  <a:lnTo>
                    <a:pt x="112546" y="30508"/>
                  </a:lnTo>
                  <a:lnTo>
                    <a:pt x="111055" y="23389"/>
                  </a:lnTo>
                  <a:lnTo>
                    <a:pt x="109565" y="18305"/>
                  </a:lnTo>
                  <a:lnTo>
                    <a:pt x="109565" y="16271"/>
                  </a:lnTo>
                  <a:lnTo>
                    <a:pt x="109565" y="16271"/>
                  </a:lnTo>
                  <a:lnTo>
                    <a:pt x="109565" y="14237"/>
                  </a:lnTo>
                  <a:lnTo>
                    <a:pt x="107329" y="14237"/>
                  </a:lnTo>
                  <a:lnTo>
                    <a:pt x="107329" y="11186"/>
                  </a:lnTo>
                  <a:lnTo>
                    <a:pt x="105838" y="11186"/>
                  </a:lnTo>
                  <a:lnTo>
                    <a:pt x="104347" y="11186"/>
                  </a:lnTo>
                  <a:lnTo>
                    <a:pt x="104347" y="11186"/>
                  </a:lnTo>
                  <a:lnTo>
                    <a:pt x="104347" y="11186"/>
                  </a:lnTo>
                  <a:lnTo>
                    <a:pt x="102111" y="9152"/>
                  </a:lnTo>
                  <a:lnTo>
                    <a:pt x="102111" y="9152"/>
                  </a:lnTo>
                  <a:lnTo>
                    <a:pt x="102111" y="9152"/>
                  </a:lnTo>
                  <a:lnTo>
                    <a:pt x="100621" y="9152"/>
                  </a:lnTo>
                  <a:lnTo>
                    <a:pt x="100621" y="9152"/>
                  </a:lnTo>
                  <a:lnTo>
                    <a:pt x="100621" y="9152"/>
                  </a:lnTo>
                  <a:lnTo>
                    <a:pt x="98385" y="9152"/>
                  </a:lnTo>
                  <a:lnTo>
                    <a:pt x="93167" y="9152"/>
                  </a:lnTo>
                  <a:lnTo>
                    <a:pt x="86459" y="9152"/>
                  </a:lnTo>
                  <a:lnTo>
                    <a:pt x="81242" y="9152"/>
                  </a:lnTo>
                  <a:lnTo>
                    <a:pt x="76024" y="9152"/>
                  </a:lnTo>
                  <a:lnTo>
                    <a:pt x="70807" y="9152"/>
                  </a:lnTo>
                  <a:lnTo>
                    <a:pt x="67080" y="7118"/>
                  </a:lnTo>
                  <a:lnTo>
                    <a:pt x="63354" y="7118"/>
                  </a:lnTo>
                  <a:lnTo>
                    <a:pt x="63354" y="7118"/>
                  </a:lnTo>
                  <a:lnTo>
                    <a:pt x="61863" y="7118"/>
                  </a:lnTo>
                  <a:lnTo>
                    <a:pt x="60372" y="9152"/>
                  </a:lnTo>
                  <a:lnTo>
                    <a:pt x="56645" y="9152"/>
                  </a:lnTo>
                  <a:lnTo>
                    <a:pt x="55155" y="9152"/>
                  </a:lnTo>
                  <a:lnTo>
                    <a:pt x="51428" y="7118"/>
                  </a:lnTo>
                  <a:lnTo>
                    <a:pt x="51428" y="7118"/>
                  </a:lnTo>
                  <a:lnTo>
                    <a:pt x="49192" y="2033"/>
                  </a:lnTo>
                  <a:lnTo>
                    <a:pt x="49192" y="2033"/>
                  </a:lnTo>
                  <a:lnTo>
                    <a:pt x="51428" y="2033"/>
                  </a:lnTo>
                  <a:lnTo>
                    <a:pt x="52919" y="4067"/>
                  </a:lnTo>
                  <a:lnTo>
                    <a:pt x="52919" y="2033"/>
                  </a:lnTo>
                  <a:lnTo>
                    <a:pt x="49192" y="2033"/>
                  </a:lnTo>
                  <a:lnTo>
                    <a:pt x="47701" y="0"/>
                  </a:lnTo>
                  <a:lnTo>
                    <a:pt x="43975" y="0"/>
                  </a:lnTo>
                  <a:lnTo>
                    <a:pt x="42484" y="0"/>
                  </a:lnTo>
                  <a:lnTo>
                    <a:pt x="35776" y="2033"/>
                  </a:lnTo>
                  <a:lnTo>
                    <a:pt x="32049" y="4067"/>
                  </a:lnTo>
                  <a:lnTo>
                    <a:pt x="32049" y="4067"/>
                  </a:lnTo>
                  <a:lnTo>
                    <a:pt x="26832" y="4067"/>
                  </a:lnTo>
                  <a:lnTo>
                    <a:pt x="24596" y="7118"/>
                  </a:lnTo>
                  <a:lnTo>
                    <a:pt x="24596" y="9152"/>
                  </a:lnTo>
                  <a:lnTo>
                    <a:pt x="23105" y="9152"/>
                  </a:lnTo>
                  <a:lnTo>
                    <a:pt x="23105" y="11186"/>
                  </a:lnTo>
                  <a:lnTo>
                    <a:pt x="21614" y="11186"/>
                  </a:lnTo>
                  <a:lnTo>
                    <a:pt x="19378" y="11186"/>
                  </a:lnTo>
                  <a:lnTo>
                    <a:pt x="12670" y="14237"/>
                  </a:lnTo>
                  <a:lnTo>
                    <a:pt x="5962" y="16271"/>
                  </a:lnTo>
                  <a:lnTo>
                    <a:pt x="2236" y="18305"/>
                  </a:lnTo>
                  <a:lnTo>
                    <a:pt x="0" y="18305"/>
                  </a:lnTo>
                  <a:lnTo>
                    <a:pt x="0" y="18305"/>
                  </a:lnTo>
                  <a:lnTo>
                    <a:pt x="0" y="18305"/>
                  </a:lnTo>
                  <a:lnTo>
                    <a:pt x="0" y="18305"/>
                  </a:lnTo>
                  <a:lnTo>
                    <a:pt x="2236" y="18305"/>
                  </a:lnTo>
                  <a:lnTo>
                    <a:pt x="3726" y="21355"/>
                  </a:lnTo>
                  <a:lnTo>
                    <a:pt x="3726" y="21355"/>
                  </a:lnTo>
                  <a:lnTo>
                    <a:pt x="3726" y="23389"/>
                  </a:lnTo>
                  <a:lnTo>
                    <a:pt x="5962" y="23389"/>
                  </a:lnTo>
                  <a:lnTo>
                    <a:pt x="5962" y="23389"/>
                  </a:lnTo>
                  <a:lnTo>
                    <a:pt x="3726" y="23389"/>
                  </a:lnTo>
                  <a:lnTo>
                    <a:pt x="0" y="21355"/>
                  </a:lnTo>
                  <a:lnTo>
                    <a:pt x="0" y="23389"/>
                  </a:lnTo>
                  <a:lnTo>
                    <a:pt x="2236" y="23389"/>
                  </a:lnTo>
                  <a:lnTo>
                    <a:pt x="2236" y="26440"/>
                  </a:lnTo>
                  <a:lnTo>
                    <a:pt x="3726" y="30508"/>
                  </a:lnTo>
                  <a:lnTo>
                    <a:pt x="3726" y="33559"/>
                  </a:lnTo>
                  <a:lnTo>
                    <a:pt x="3726" y="33559"/>
                  </a:lnTo>
                  <a:lnTo>
                    <a:pt x="2236" y="35593"/>
                  </a:lnTo>
                  <a:lnTo>
                    <a:pt x="2236" y="35593"/>
                  </a:lnTo>
                  <a:lnTo>
                    <a:pt x="0" y="37627"/>
                  </a:lnTo>
                  <a:lnTo>
                    <a:pt x="0" y="37627"/>
                  </a:lnTo>
                  <a:lnTo>
                    <a:pt x="0" y="40677"/>
                  </a:lnTo>
                  <a:lnTo>
                    <a:pt x="2236" y="40677"/>
                  </a:lnTo>
                  <a:lnTo>
                    <a:pt x="3726" y="44745"/>
                  </a:lnTo>
                  <a:lnTo>
                    <a:pt x="5962" y="47796"/>
                  </a:lnTo>
                  <a:lnTo>
                    <a:pt x="5962" y="47796"/>
                  </a:lnTo>
                  <a:lnTo>
                    <a:pt x="5962" y="49830"/>
                  </a:lnTo>
                  <a:lnTo>
                    <a:pt x="5962" y="49830"/>
                  </a:lnTo>
                  <a:lnTo>
                    <a:pt x="5962" y="52881"/>
                  </a:lnTo>
                  <a:lnTo>
                    <a:pt x="5962" y="52881"/>
                  </a:lnTo>
                  <a:lnTo>
                    <a:pt x="7453" y="52881"/>
                  </a:lnTo>
                  <a:lnTo>
                    <a:pt x="7453" y="54915"/>
                  </a:lnTo>
                  <a:lnTo>
                    <a:pt x="7453" y="54915"/>
                  </a:lnTo>
                  <a:lnTo>
                    <a:pt x="7453" y="54915"/>
                  </a:lnTo>
                  <a:lnTo>
                    <a:pt x="7453" y="56949"/>
                  </a:lnTo>
                  <a:lnTo>
                    <a:pt x="7453" y="56949"/>
                  </a:lnTo>
                  <a:lnTo>
                    <a:pt x="7453" y="56949"/>
                  </a:lnTo>
                  <a:lnTo>
                    <a:pt x="7453" y="60000"/>
                  </a:lnTo>
                  <a:lnTo>
                    <a:pt x="5962" y="62033"/>
                  </a:lnTo>
                  <a:lnTo>
                    <a:pt x="5962" y="62033"/>
                  </a:lnTo>
                  <a:lnTo>
                    <a:pt x="7453" y="64067"/>
                  </a:lnTo>
                  <a:lnTo>
                    <a:pt x="7453" y="64067"/>
                  </a:lnTo>
                  <a:lnTo>
                    <a:pt x="7453" y="64067"/>
                  </a:lnTo>
                  <a:lnTo>
                    <a:pt x="7453" y="67118"/>
                  </a:lnTo>
                  <a:lnTo>
                    <a:pt x="7453" y="67118"/>
                  </a:lnTo>
                  <a:lnTo>
                    <a:pt x="8944" y="69152"/>
                  </a:lnTo>
                  <a:lnTo>
                    <a:pt x="8944" y="69152"/>
                  </a:lnTo>
                  <a:lnTo>
                    <a:pt x="11180" y="69152"/>
                  </a:lnTo>
                  <a:lnTo>
                    <a:pt x="11180" y="74237"/>
                  </a:lnTo>
                  <a:lnTo>
                    <a:pt x="11180" y="76271"/>
                  </a:lnTo>
                  <a:lnTo>
                    <a:pt x="8944" y="79322"/>
                  </a:lnTo>
                  <a:lnTo>
                    <a:pt x="8944" y="81355"/>
                  </a:lnTo>
                  <a:lnTo>
                    <a:pt x="8944" y="81355"/>
                  </a:lnTo>
                  <a:lnTo>
                    <a:pt x="8944" y="81355"/>
                  </a:lnTo>
                  <a:lnTo>
                    <a:pt x="11180" y="81355"/>
                  </a:lnTo>
                  <a:lnTo>
                    <a:pt x="11180" y="79322"/>
                  </a:lnTo>
                  <a:lnTo>
                    <a:pt x="11180" y="79322"/>
                  </a:lnTo>
                  <a:lnTo>
                    <a:pt x="11180" y="79322"/>
                  </a:lnTo>
                  <a:lnTo>
                    <a:pt x="12670" y="79322"/>
                  </a:lnTo>
                  <a:lnTo>
                    <a:pt x="14161" y="79322"/>
                  </a:lnTo>
                  <a:lnTo>
                    <a:pt x="14161" y="81355"/>
                  </a:lnTo>
                  <a:lnTo>
                    <a:pt x="14161" y="81355"/>
                  </a:lnTo>
                  <a:lnTo>
                    <a:pt x="14161" y="81355"/>
                  </a:lnTo>
                  <a:lnTo>
                    <a:pt x="16397" y="81355"/>
                  </a:lnTo>
                  <a:lnTo>
                    <a:pt x="16397" y="81355"/>
                  </a:lnTo>
                  <a:lnTo>
                    <a:pt x="17888" y="83389"/>
                  </a:lnTo>
                  <a:lnTo>
                    <a:pt x="19378" y="83389"/>
                  </a:lnTo>
                  <a:lnTo>
                    <a:pt x="21614" y="83389"/>
                  </a:lnTo>
                  <a:lnTo>
                    <a:pt x="21614" y="83389"/>
                  </a:lnTo>
                  <a:lnTo>
                    <a:pt x="21614" y="86440"/>
                  </a:lnTo>
                  <a:lnTo>
                    <a:pt x="23105" y="86440"/>
                  </a:lnTo>
                  <a:lnTo>
                    <a:pt x="23105" y="86440"/>
                  </a:lnTo>
                  <a:lnTo>
                    <a:pt x="23105" y="86440"/>
                  </a:lnTo>
                  <a:lnTo>
                    <a:pt x="26832" y="86440"/>
                  </a:lnTo>
                  <a:lnTo>
                    <a:pt x="26832" y="86440"/>
                  </a:lnTo>
                  <a:lnTo>
                    <a:pt x="28322" y="86440"/>
                  </a:lnTo>
                  <a:lnTo>
                    <a:pt x="28322" y="86440"/>
                  </a:lnTo>
                  <a:lnTo>
                    <a:pt x="26832" y="88474"/>
                  </a:lnTo>
                  <a:lnTo>
                    <a:pt x="26832" y="88474"/>
                  </a:lnTo>
                  <a:lnTo>
                    <a:pt x="26832" y="88474"/>
                  </a:lnTo>
                  <a:lnTo>
                    <a:pt x="26832" y="88474"/>
                  </a:lnTo>
                  <a:lnTo>
                    <a:pt x="24596" y="88474"/>
                  </a:lnTo>
                  <a:lnTo>
                    <a:pt x="24596" y="90508"/>
                  </a:lnTo>
                  <a:lnTo>
                    <a:pt x="24596" y="90508"/>
                  </a:lnTo>
                  <a:lnTo>
                    <a:pt x="26832" y="90508"/>
                  </a:lnTo>
                  <a:lnTo>
                    <a:pt x="26832" y="90508"/>
                  </a:lnTo>
                  <a:lnTo>
                    <a:pt x="26832" y="90508"/>
                  </a:lnTo>
                  <a:lnTo>
                    <a:pt x="28322" y="93559"/>
                  </a:lnTo>
                  <a:lnTo>
                    <a:pt x="30559" y="95593"/>
                  </a:lnTo>
                  <a:lnTo>
                    <a:pt x="30559" y="95593"/>
                  </a:lnTo>
                  <a:lnTo>
                    <a:pt x="32049" y="95593"/>
                  </a:lnTo>
                  <a:lnTo>
                    <a:pt x="32049" y="95593"/>
                  </a:lnTo>
                  <a:lnTo>
                    <a:pt x="32049" y="95593"/>
                  </a:lnTo>
                  <a:lnTo>
                    <a:pt x="33540" y="95593"/>
                  </a:lnTo>
                  <a:lnTo>
                    <a:pt x="33540" y="95593"/>
                  </a:lnTo>
                  <a:lnTo>
                    <a:pt x="35776" y="93559"/>
                  </a:lnTo>
                  <a:lnTo>
                    <a:pt x="35776" y="93559"/>
                  </a:lnTo>
                  <a:lnTo>
                    <a:pt x="33540" y="90508"/>
                  </a:lnTo>
                  <a:lnTo>
                    <a:pt x="33540" y="90508"/>
                  </a:lnTo>
                  <a:lnTo>
                    <a:pt x="33540" y="90508"/>
                  </a:lnTo>
                  <a:lnTo>
                    <a:pt x="35776" y="90508"/>
                  </a:lnTo>
                  <a:lnTo>
                    <a:pt x="37267" y="90508"/>
                  </a:lnTo>
                  <a:lnTo>
                    <a:pt x="40993" y="93559"/>
                  </a:lnTo>
                  <a:lnTo>
                    <a:pt x="40993" y="93559"/>
                  </a:lnTo>
                  <a:lnTo>
                    <a:pt x="42484" y="93559"/>
                  </a:lnTo>
                  <a:lnTo>
                    <a:pt x="42484" y="93559"/>
                  </a:lnTo>
                  <a:lnTo>
                    <a:pt x="43975" y="93559"/>
                  </a:lnTo>
                  <a:lnTo>
                    <a:pt x="43975" y="93559"/>
                  </a:lnTo>
                  <a:lnTo>
                    <a:pt x="43975" y="93559"/>
                  </a:lnTo>
                  <a:lnTo>
                    <a:pt x="43975" y="95593"/>
                  </a:lnTo>
                  <a:lnTo>
                    <a:pt x="42484" y="95593"/>
                  </a:lnTo>
                  <a:lnTo>
                    <a:pt x="42484" y="95593"/>
                  </a:lnTo>
                  <a:lnTo>
                    <a:pt x="42484" y="95593"/>
                  </a:lnTo>
                  <a:lnTo>
                    <a:pt x="42484" y="95593"/>
                  </a:lnTo>
                  <a:lnTo>
                    <a:pt x="43975" y="97627"/>
                  </a:lnTo>
                  <a:lnTo>
                    <a:pt x="43975" y="97627"/>
                  </a:lnTo>
                  <a:lnTo>
                    <a:pt x="43975" y="97627"/>
                  </a:lnTo>
                  <a:lnTo>
                    <a:pt x="46211" y="100677"/>
                  </a:lnTo>
                  <a:lnTo>
                    <a:pt x="47701" y="97627"/>
                  </a:lnTo>
                  <a:lnTo>
                    <a:pt x="47701" y="97627"/>
                  </a:lnTo>
                  <a:lnTo>
                    <a:pt x="47701" y="97627"/>
                  </a:lnTo>
                  <a:lnTo>
                    <a:pt x="47701" y="97627"/>
                  </a:lnTo>
                  <a:lnTo>
                    <a:pt x="47701" y="97627"/>
                  </a:lnTo>
                  <a:lnTo>
                    <a:pt x="47701" y="97627"/>
                  </a:lnTo>
                  <a:lnTo>
                    <a:pt x="49192" y="100677"/>
                  </a:lnTo>
                  <a:lnTo>
                    <a:pt x="49192" y="100677"/>
                  </a:lnTo>
                  <a:lnTo>
                    <a:pt x="51428" y="100677"/>
                  </a:lnTo>
                  <a:lnTo>
                    <a:pt x="51428" y="100677"/>
                  </a:lnTo>
                  <a:lnTo>
                    <a:pt x="52919" y="100677"/>
                  </a:lnTo>
                  <a:lnTo>
                    <a:pt x="55155" y="100677"/>
                  </a:lnTo>
                  <a:lnTo>
                    <a:pt x="55155" y="102711"/>
                  </a:lnTo>
                  <a:lnTo>
                    <a:pt x="55155" y="102711"/>
                  </a:lnTo>
                  <a:lnTo>
                    <a:pt x="55155" y="102711"/>
                  </a:lnTo>
                  <a:lnTo>
                    <a:pt x="56645" y="107796"/>
                  </a:lnTo>
                  <a:lnTo>
                    <a:pt x="56645" y="107796"/>
                  </a:lnTo>
                  <a:lnTo>
                    <a:pt x="58136" y="109830"/>
                  </a:lnTo>
                  <a:lnTo>
                    <a:pt x="58136" y="109830"/>
                  </a:lnTo>
                  <a:lnTo>
                    <a:pt x="58136" y="109830"/>
                  </a:lnTo>
                  <a:lnTo>
                    <a:pt x="60372" y="112881"/>
                  </a:lnTo>
                  <a:lnTo>
                    <a:pt x="61863" y="112881"/>
                  </a:lnTo>
                  <a:lnTo>
                    <a:pt x="61863" y="109830"/>
                  </a:lnTo>
                  <a:lnTo>
                    <a:pt x="63354" y="107796"/>
                  </a:lnTo>
                  <a:lnTo>
                    <a:pt x="63354" y="107796"/>
                  </a:lnTo>
                  <a:lnTo>
                    <a:pt x="65590" y="107796"/>
                  </a:lnTo>
                  <a:lnTo>
                    <a:pt x="65590" y="107796"/>
                  </a:lnTo>
                  <a:lnTo>
                    <a:pt x="65590" y="109830"/>
                  </a:lnTo>
                  <a:lnTo>
                    <a:pt x="67080" y="109830"/>
                  </a:lnTo>
                  <a:lnTo>
                    <a:pt x="67080" y="109830"/>
                  </a:lnTo>
                  <a:lnTo>
                    <a:pt x="67080" y="109830"/>
                  </a:lnTo>
                  <a:lnTo>
                    <a:pt x="67080" y="112881"/>
                  </a:lnTo>
                  <a:lnTo>
                    <a:pt x="68571" y="112881"/>
                  </a:lnTo>
                  <a:lnTo>
                    <a:pt x="68571" y="112881"/>
                  </a:lnTo>
                  <a:lnTo>
                    <a:pt x="68571" y="112881"/>
                  </a:lnTo>
                  <a:lnTo>
                    <a:pt x="68571" y="114915"/>
                  </a:lnTo>
                  <a:lnTo>
                    <a:pt x="68571" y="114915"/>
                  </a:lnTo>
                  <a:lnTo>
                    <a:pt x="68571" y="114915"/>
                  </a:lnTo>
                  <a:lnTo>
                    <a:pt x="68571" y="114915"/>
                  </a:lnTo>
                  <a:lnTo>
                    <a:pt x="70807" y="114915"/>
                  </a:lnTo>
                  <a:lnTo>
                    <a:pt x="70807" y="114915"/>
                  </a:lnTo>
                  <a:lnTo>
                    <a:pt x="72298" y="114915"/>
                  </a:lnTo>
                  <a:lnTo>
                    <a:pt x="72298" y="114915"/>
                  </a:lnTo>
                  <a:lnTo>
                    <a:pt x="73788" y="112881"/>
                  </a:lnTo>
                  <a:lnTo>
                    <a:pt x="73788" y="112881"/>
                  </a:lnTo>
                  <a:lnTo>
                    <a:pt x="76024" y="112881"/>
                  </a:lnTo>
                  <a:lnTo>
                    <a:pt x="76024" y="112881"/>
                  </a:lnTo>
                  <a:lnTo>
                    <a:pt x="76024" y="112881"/>
                  </a:lnTo>
                  <a:lnTo>
                    <a:pt x="77515" y="112881"/>
                  </a:lnTo>
                  <a:lnTo>
                    <a:pt x="77515" y="112881"/>
                  </a:lnTo>
                  <a:lnTo>
                    <a:pt x="77515" y="112881"/>
                  </a:lnTo>
                  <a:lnTo>
                    <a:pt x="79751" y="112881"/>
                  </a:lnTo>
                  <a:lnTo>
                    <a:pt x="81242" y="112881"/>
                  </a:lnTo>
                  <a:lnTo>
                    <a:pt x="81242" y="112881"/>
                  </a:lnTo>
                  <a:lnTo>
                    <a:pt x="82732" y="112881"/>
                  </a:lnTo>
                  <a:lnTo>
                    <a:pt x="82732" y="112881"/>
                  </a:lnTo>
                  <a:lnTo>
                    <a:pt x="84968" y="112881"/>
                  </a:lnTo>
                  <a:lnTo>
                    <a:pt x="84968" y="109830"/>
                  </a:lnTo>
                  <a:lnTo>
                    <a:pt x="84968" y="109830"/>
                  </a:lnTo>
                  <a:lnTo>
                    <a:pt x="86459" y="109830"/>
                  </a:lnTo>
                  <a:lnTo>
                    <a:pt x="87950" y="109830"/>
                  </a:lnTo>
                  <a:lnTo>
                    <a:pt x="91677" y="109830"/>
                  </a:lnTo>
                  <a:lnTo>
                    <a:pt x="91677" y="112881"/>
                  </a:lnTo>
                  <a:lnTo>
                    <a:pt x="95403" y="112881"/>
                  </a:lnTo>
                  <a:lnTo>
                    <a:pt x="95403" y="112881"/>
                  </a:lnTo>
                  <a:lnTo>
                    <a:pt x="95403" y="114915"/>
                  </a:lnTo>
                  <a:lnTo>
                    <a:pt x="96894" y="114915"/>
                  </a:lnTo>
                  <a:lnTo>
                    <a:pt x="98385" y="116949"/>
                  </a:lnTo>
                  <a:lnTo>
                    <a:pt x="102111" y="116949"/>
                  </a:lnTo>
                  <a:lnTo>
                    <a:pt x="102111" y="116949"/>
                  </a:lnTo>
                  <a:lnTo>
                    <a:pt x="104347" y="116949"/>
                  </a:lnTo>
                  <a:lnTo>
                    <a:pt x="104347" y="120000"/>
                  </a:lnTo>
                  <a:lnTo>
                    <a:pt x="105838" y="120000"/>
                  </a:lnTo>
                  <a:lnTo>
                    <a:pt x="105838" y="120000"/>
                  </a:lnTo>
                  <a:lnTo>
                    <a:pt x="105838" y="116949"/>
                  </a:lnTo>
                  <a:lnTo>
                    <a:pt x="105838" y="116949"/>
                  </a:lnTo>
                  <a:lnTo>
                    <a:pt x="105838" y="116949"/>
                  </a:lnTo>
                  <a:lnTo>
                    <a:pt x="104347" y="116949"/>
                  </a:lnTo>
                  <a:lnTo>
                    <a:pt x="104347" y="114915"/>
                  </a:lnTo>
                  <a:lnTo>
                    <a:pt x="104347" y="114915"/>
                  </a:lnTo>
                  <a:lnTo>
                    <a:pt x="104347" y="112881"/>
                  </a:lnTo>
                  <a:lnTo>
                    <a:pt x="104347" y="112881"/>
                  </a:lnTo>
                  <a:lnTo>
                    <a:pt x="104347" y="109830"/>
                  </a:lnTo>
                  <a:lnTo>
                    <a:pt x="104347" y="107796"/>
                  </a:lnTo>
                  <a:lnTo>
                    <a:pt x="104347" y="107796"/>
                  </a:lnTo>
                  <a:lnTo>
                    <a:pt x="105838" y="102711"/>
                  </a:lnTo>
                  <a:lnTo>
                    <a:pt x="107329" y="102711"/>
                  </a:lnTo>
                  <a:lnTo>
                    <a:pt x="107329" y="100677"/>
                  </a:lnTo>
                  <a:lnTo>
                    <a:pt x="111055" y="97627"/>
                  </a:lnTo>
                  <a:lnTo>
                    <a:pt x="112546" y="95593"/>
                  </a:lnTo>
                  <a:lnTo>
                    <a:pt x="112546" y="93559"/>
                  </a:lnTo>
                  <a:lnTo>
                    <a:pt x="114782" y="93559"/>
                  </a:lnTo>
                  <a:lnTo>
                    <a:pt x="116273" y="90508"/>
                  </a:lnTo>
                  <a:lnTo>
                    <a:pt x="117763" y="90508"/>
                  </a:lnTo>
                  <a:lnTo>
                    <a:pt x="117763" y="88474"/>
                  </a:lnTo>
                  <a:lnTo>
                    <a:pt x="120000" y="88474"/>
                  </a:lnTo>
                  <a:lnTo>
                    <a:pt x="120000" y="88474"/>
                  </a:lnTo>
                  <a:lnTo>
                    <a:pt x="120000" y="8644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03" name="Shape 403"/>
            <p:cNvSpPr/>
            <p:nvPr/>
          </p:nvSpPr>
          <p:spPr>
            <a:xfrm>
              <a:off x="5826" y="2415"/>
              <a:ext cx="300" cy="300"/>
            </a:xfrm>
            <a:custGeom>
              <a:avLst/>
              <a:gdLst/>
              <a:ahLst/>
              <a:cxnLst/>
              <a:rect l="0" t="0" r="0" b="0"/>
              <a:pathLst>
                <a:path w="120000" h="120000" extrusionOk="0">
                  <a:moveTo>
                    <a:pt x="63448" y="112992"/>
                  </a:moveTo>
                  <a:lnTo>
                    <a:pt x="64827" y="112116"/>
                  </a:lnTo>
                  <a:lnTo>
                    <a:pt x="64827" y="110802"/>
                  </a:lnTo>
                  <a:lnTo>
                    <a:pt x="66896" y="110802"/>
                  </a:lnTo>
                  <a:lnTo>
                    <a:pt x="66896" y="110802"/>
                  </a:lnTo>
                  <a:lnTo>
                    <a:pt x="63448" y="109927"/>
                  </a:lnTo>
                  <a:lnTo>
                    <a:pt x="61379" y="109927"/>
                  </a:lnTo>
                  <a:lnTo>
                    <a:pt x="60000" y="110802"/>
                  </a:lnTo>
                  <a:lnTo>
                    <a:pt x="60000" y="110802"/>
                  </a:lnTo>
                  <a:lnTo>
                    <a:pt x="60000" y="110802"/>
                  </a:lnTo>
                  <a:lnTo>
                    <a:pt x="63448" y="112992"/>
                  </a:lnTo>
                  <a:close/>
                  <a:moveTo>
                    <a:pt x="120000" y="102481"/>
                  </a:moveTo>
                  <a:lnTo>
                    <a:pt x="120000" y="100729"/>
                  </a:lnTo>
                  <a:lnTo>
                    <a:pt x="120000" y="100729"/>
                  </a:lnTo>
                  <a:lnTo>
                    <a:pt x="118620" y="100729"/>
                  </a:lnTo>
                  <a:lnTo>
                    <a:pt x="118620" y="99416"/>
                  </a:lnTo>
                  <a:lnTo>
                    <a:pt x="118620" y="98540"/>
                  </a:lnTo>
                  <a:lnTo>
                    <a:pt x="118620" y="96350"/>
                  </a:lnTo>
                  <a:lnTo>
                    <a:pt x="118620" y="96350"/>
                  </a:lnTo>
                  <a:lnTo>
                    <a:pt x="117241" y="95474"/>
                  </a:lnTo>
                  <a:lnTo>
                    <a:pt x="117241" y="93284"/>
                  </a:lnTo>
                  <a:lnTo>
                    <a:pt x="115172" y="93284"/>
                  </a:lnTo>
                  <a:lnTo>
                    <a:pt x="113793" y="93284"/>
                  </a:lnTo>
                  <a:lnTo>
                    <a:pt x="113793" y="92408"/>
                  </a:lnTo>
                  <a:lnTo>
                    <a:pt x="113793" y="92408"/>
                  </a:lnTo>
                  <a:lnTo>
                    <a:pt x="113793" y="91094"/>
                  </a:lnTo>
                  <a:lnTo>
                    <a:pt x="115172" y="91094"/>
                  </a:lnTo>
                  <a:lnTo>
                    <a:pt x="115172" y="90218"/>
                  </a:lnTo>
                  <a:lnTo>
                    <a:pt x="115172" y="89343"/>
                  </a:lnTo>
                  <a:lnTo>
                    <a:pt x="113793" y="88029"/>
                  </a:lnTo>
                  <a:lnTo>
                    <a:pt x="113793" y="88029"/>
                  </a:lnTo>
                  <a:lnTo>
                    <a:pt x="113793" y="85839"/>
                  </a:lnTo>
                  <a:lnTo>
                    <a:pt x="112413" y="85839"/>
                  </a:lnTo>
                  <a:lnTo>
                    <a:pt x="110344" y="85839"/>
                  </a:lnTo>
                  <a:lnTo>
                    <a:pt x="110344" y="84963"/>
                  </a:lnTo>
                  <a:lnTo>
                    <a:pt x="108965" y="84087"/>
                  </a:lnTo>
                  <a:lnTo>
                    <a:pt x="105517" y="82773"/>
                  </a:lnTo>
                  <a:lnTo>
                    <a:pt x="104137" y="81897"/>
                  </a:lnTo>
                  <a:lnTo>
                    <a:pt x="104137" y="81897"/>
                  </a:lnTo>
                  <a:lnTo>
                    <a:pt x="102068" y="82773"/>
                  </a:lnTo>
                  <a:lnTo>
                    <a:pt x="104137" y="85839"/>
                  </a:lnTo>
                  <a:lnTo>
                    <a:pt x="105517" y="87153"/>
                  </a:lnTo>
                  <a:lnTo>
                    <a:pt x="105517" y="89343"/>
                  </a:lnTo>
                  <a:lnTo>
                    <a:pt x="104137" y="89343"/>
                  </a:lnTo>
                  <a:lnTo>
                    <a:pt x="102068" y="88029"/>
                  </a:lnTo>
                  <a:lnTo>
                    <a:pt x="100689" y="88029"/>
                  </a:lnTo>
                  <a:lnTo>
                    <a:pt x="100689" y="89343"/>
                  </a:lnTo>
                  <a:lnTo>
                    <a:pt x="100689" y="90218"/>
                  </a:lnTo>
                  <a:lnTo>
                    <a:pt x="99310" y="90218"/>
                  </a:lnTo>
                  <a:lnTo>
                    <a:pt x="97241" y="89343"/>
                  </a:lnTo>
                  <a:lnTo>
                    <a:pt x="97241" y="89343"/>
                  </a:lnTo>
                  <a:lnTo>
                    <a:pt x="95862" y="89343"/>
                  </a:lnTo>
                  <a:lnTo>
                    <a:pt x="95862" y="90218"/>
                  </a:lnTo>
                  <a:lnTo>
                    <a:pt x="95862" y="91094"/>
                  </a:lnTo>
                  <a:lnTo>
                    <a:pt x="95862" y="93284"/>
                  </a:lnTo>
                  <a:lnTo>
                    <a:pt x="94482" y="93284"/>
                  </a:lnTo>
                  <a:lnTo>
                    <a:pt x="92413" y="92408"/>
                  </a:lnTo>
                  <a:lnTo>
                    <a:pt x="91034" y="92408"/>
                  </a:lnTo>
                  <a:lnTo>
                    <a:pt x="91034" y="93284"/>
                  </a:lnTo>
                  <a:lnTo>
                    <a:pt x="91034" y="93284"/>
                  </a:lnTo>
                  <a:lnTo>
                    <a:pt x="89655" y="94160"/>
                  </a:lnTo>
                  <a:lnTo>
                    <a:pt x="89655" y="95474"/>
                  </a:lnTo>
                  <a:lnTo>
                    <a:pt x="89655" y="96350"/>
                  </a:lnTo>
                  <a:lnTo>
                    <a:pt x="89655" y="96350"/>
                  </a:lnTo>
                  <a:lnTo>
                    <a:pt x="86206" y="96350"/>
                  </a:lnTo>
                  <a:lnTo>
                    <a:pt x="86206" y="96350"/>
                  </a:lnTo>
                  <a:lnTo>
                    <a:pt x="84137" y="97226"/>
                  </a:lnTo>
                  <a:lnTo>
                    <a:pt x="82758" y="97226"/>
                  </a:lnTo>
                  <a:lnTo>
                    <a:pt x="84137" y="96350"/>
                  </a:lnTo>
                  <a:lnTo>
                    <a:pt x="84137" y="96350"/>
                  </a:lnTo>
                  <a:lnTo>
                    <a:pt x="84137" y="94160"/>
                  </a:lnTo>
                  <a:lnTo>
                    <a:pt x="84137" y="94160"/>
                  </a:lnTo>
                  <a:lnTo>
                    <a:pt x="82758" y="93284"/>
                  </a:lnTo>
                  <a:lnTo>
                    <a:pt x="82758" y="92408"/>
                  </a:lnTo>
                  <a:lnTo>
                    <a:pt x="81379" y="92408"/>
                  </a:lnTo>
                  <a:lnTo>
                    <a:pt x="79310" y="92408"/>
                  </a:lnTo>
                  <a:lnTo>
                    <a:pt x="79310" y="91094"/>
                  </a:lnTo>
                  <a:lnTo>
                    <a:pt x="77931" y="92408"/>
                  </a:lnTo>
                  <a:lnTo>
                    <a:pt x="77931" y="93284"/>
                  </a:lnTo>
                  <a:lnTo>
                    <a:pt x="77931" y="93284"/>
                  </a:lnTo>
                  <a:lnTo>
                    <a:pt x="74482" y="93284"/>
                  </a:lnTo>
                  <a:lnTo>
                    <a:pt x="74482" y="93284"/>
                  </a:lnTo>
                  <a:lnTo>
                    <a:pt x="74482" y="94160"/>
                  </a:lnTo>
                  <a:lnTo>
                    <a:pt x="73103" y="94160"/>
                  </a:lnTo>
                  <a:lnTo>
                    <a:pt x="73103" y="94160"/>
                  </a:lnTo>
                  <a:lnTo>
                    <a:pt x="73103" y="95474"/>
                  </a:lnTo>
                  <a:lnTo>
                    <a:pt x="73103" y="96350"/>
                  </a:lnTo>
                  <a:lnTo>
                    <a:pt x="73103" y="96350"/>
                  </a:lnTo>
                  <a:lnTo>
                    <a:pt x="71724" y="96350"/>
                  </a:lnTo>
                  <a:lnTo>
                    <a:pt x="69655" y="96350"/>
                  </a:lnTo>
                  <a:lnTo>
                    <a:pt x="68275" y="97226"/>
                  </a:lnTo>
                  <a:lnTo>
                    <a:pt x="66896" y="97226"/>
                  </a:lnTo>
                  <a:lnTo>
                    <a:pt x="64827" y="97226"/>
                  </a:lnTo>
                  <a:lnTo>
                    <a:pt x="64827" y="98540"/>
                  </a:lnTo>
                  <a:lnTo>
                    <a:pt x="63448" y="99416"/>
                  </a:lnTo>
                  <a:lnTo>
                    <a:pt x="63448" y="100729"/>
                  </a:lnTo>
                  <a:lnTo>
                    <a:pt x="63448" y="101605"/>
                  </a:lnTo>
                  <a:lnTo>
                    <a:pt x="61379" y="103795"/>
                  </a:lnTo>
                  <a:lnTo>
                    <a:pt x="61379" y="104671"/>
                  </a:lnTo>
                  <a:lnTo>
                    <a:pt x="61379" y="105547"/>
                  </a:lnTo>
                  <a:lnTo>
                    <a:pt x="60000" y="106861"/>
                  </a:lnTo>
                  <a:lnTo>
                    <a:pt x="61379" y="107737"/>
                  </a:lnTo>
                  <a:lnTo>
                    <a:pt x="61379" y="107737"/>
                  </a:lnTo>
                  <a:lnTo>
                    <a:pt x="63448" y="107737"/>
                  </a:lnTo>
                  <a:lnTo>
                    <a:pt x="63448" y="107737"/>
                  </a:lnTo>
                  <a:lnTo>
                    <a:pt x="64827" y="106861"/>
                  </a:lnTo>
                  <a:lnTo>
                    <a:pt x="64827" y="105547"/>
                  </a:lnTo>
                  <a:lnTo>
                    <a:pt x="66896" y="103795"/>
                  </a:lnTo>
                  <a:lnTo>
                    <a:pt x="66896" y="102481"/>
                  </a:lnTo>
                  <a:lnTo>
                    <a:pt x="68275" y="101605"/>
                  </a:lnTo>
                  <a:lnTo>
                    <a:pt x="68275" y="101605"/>
                  </a:lnTo>
                  <a:lnTo>
                    <a:pt x="69655" y="100729"/>
                  </a:lnTo>
                  <a:lnTo>
                    <a:pt x="69655" y="100729"/>
                  </a:lnTo>
                  <a:lnTo>
                    <a:pt x="71724" y="100729"/>
                  </a:lnTo>
                  <a:lnTo>
                    <a:pt x="71724" y="102481"/>
                  </a:lnTo>
                  <a:lnTo>
                    <a:pt x="73103" y="102481"/>
                  </a:lnTo>
                  <a:lnTo>
                    <a:pt x="73103" y="102481"/>
                  </a:lnTo>
                  <a:lnTo>
                    <a:pt x="74482" y="102481"/>
                  </a:lnTo>
                  <a:lnTo>
                    <a:pt x="74482" y="101605"/>
                  </a:lnTo>
                  <a:lnTo>
                    <a:pt x="74482" y="100729"/>
                  </a:lnTo>
                  <a:lnTo>
                    <a:pt x="76551" y="101605"/>
                  </a:lnTo>
                  <a:lnTo>
                    <a:pt x="76551" y="101605"/>
                  </a:lnTo>
                  <a:lnTo>
                    <a:pt x="76551" y="101605"/>
                  </a:lnTo>
                  <a:lnTo>
                    <a:pt x="76551" y="102481"/>
                  </a:lnTo>
                  <a:lnTo>
                    <a:pt x="77931" y="102481"/>
                  </a:lnTo>
                  <a:lnTo>
                    <a:pt x="79310" y="103795"/>
                  </a:lnTo>
                  <a:lnTo>
                    <a:pt x="79310" y="101605"/>
                  </a:lnTo>
                  <a:lnTo>
                    <a:pt x="79310" y="100729"/>
                  </a:lnTo>
                  <a:lnTo>
                    <a:pt x="79310" y="100729"/>
                  </a:lnTo>
                  <a:lnTo>
                    <a:pt x="81379" y="99416"/>
                  </a:lnTo>
                  <a:lnTo>
                    <a:pt x="81379" y="99416"/>
                  </a:lnTo>
                  <a:lnTo>
                    <a:pt x="81379" y="99416"/>
                  </a:lnTo>
                  <a:lnTo>
                    <a:pt x="82758" y="99416"/>
                  </a:lnTo>
                  <a:lnTo>
                    <a:pt x="82758" y="100729"/>
                  </a:lnTo>
                  <a:lnTo>
                    <a:pt x="84137" y="100729"/>
                  </a:lnTo>
                  <a:lnTo>
                    <a:pt x="86206" y="101605"/>
                  </a:lnTo>
                  <a:lnTo>
                    <a:pt x="87586" y="101605"/>
                  </a:lnTo>
                  <a:lnTo>
                    <a:pt x="89655" y="103795"/>
                  </a:lnTo>
                  <a:lnTo>
                    <a:pt x="89655" y="103795"/>
                  </a:lnTo>
                  <a:lnTo>
                    <a:pt x="89655" y="104671"/>
                  </a:lnTo>
                  <a:lnTo>
                    <a:pt x="89655" y="104671"/>
                  </a:lnTo>
                  <a:lnTo>
                    <a:pt x="89655" y="105547"/>
                  </a:lnTo>
                  <a:lnTo>
                    <a:pt x="89655" y="105547"/>
                  </a:lnTo>
                  <a:lnTo>
                    <a:pt x="87586" y="106861"/>
                  </a:lnTo>
                  <a:lnTo>
                    <a:pt x="87586" y="107737"/>
                  </a:lnTo>
                  <a:lnTo>
                    <a:pt x="87586" y="107737"/>
                  </a:lnTo>
                  <a:lnTo>
                    <a:pt x="87586" y="108613"/>
                  </a:lnTo>
                  <a:lnTo>
                    <a:pt x="89655" y="110802"/>
                  </a:lnTo>
                  <a:lnTo>
                    <a:pt x="89655" y="112116"/>
                  </a:lnTo>
                  <a:lnTo>
                    <a:pt x="89655" y="112992"/>
                  </a:lnTo>
                  <a:lnTo>
                    <a:pt x="91034" y="113868"/>
                  </a:lnTo>
                  <a:lnTo>
                    <a:pt x="94482" y="115182"/>
                  </a:lnTo>
                  <a:lnTo>
                    <a:pt x="95862" y="116058"/>
                  </a:lnTo>
                  <a:lnTo>
                    <a:pt x="100689" y="118248"/>
                  </a:lnTo>
                  <a:lnTo>
                    <a:pt x="100689" y="118248"/>
                  </a:lnTo>
                  <a:lnTo>
                    <a:pt x="102068" y="118248"/>
                  </a:lnTo>
                  <a:lnTo>
                    <a:pt x="102068" y="116934"/>
                  </a:lnTo>
                  <a:lnTo>
                    <a:pt x="104137" y="116058"/>
                  </a:lnTo>
                  <a:lnTo>
                    <a:pt x="104137" y="116058"/>
                  </a:lnTo>
                  <a:lnTo>
                    <a:pt x="104137" y="116058"/>
                  </a:lnTo>
                  <a:lnTo>
                    <a:pt x="104137" y="116058"/>
                  </a:lnTo>
                  <a:lnTo>
                    <a:pt x="104137" y="116934"/>
                  </a:lnTo>
                  <a:lnTo>
                    <a:pt x="104137" y="118248"/>
                  </a:lnTo>
                  <a:lnTo>
                    <a:pt x="104137" y="119124"/>
                  </a:lnTo>
                  <a:lnTo>
                    <a:pt x="105517" y="120000"/>
                  </a:lnTo>
                  <a:lnTo>
                    <a:pt x="105517" y="120000"/>
                  </a:lnTo>
                  <a:lnTo>
                    <a:pt x="106896" y="119124"/>
                  </a:lnTo>
                  <a:lnTo>
                    <a:pt x="108965" y="118248"/>
                  </a:lnTo>
                  <a:lnTo>
                    <a:pt x="110344" y="116934"/>
                  </a:lnTo>
                  <a:lnTo>
                    <a:pt x="110344" y="113868"/>
                  </a:lnTo>
                  <a:lnTo>
                    <a:pt x="108965" y="112116"/>
                  </a:lnTo>
                  <a:lnTo>
                    <a:pt x="108965" y="112116"/>
                  </a:lnTo>
                  <a:lnTo>
                    <a:pt x="106896" y="110802"/>
                  </a:lnTo>
                  <a:lnTo>
                    <a:pt x="105517" y="110802"/>
                  </a:lnTo>
                  <a:lnTo>
                    <a:pt x="105517" y="109927"/>
                  </a:lnTo>
                  <a:lnTo>
                    <a:pt x="105517" y="108613"/>
                  </a:lnTo>
                  <a:lnTo>
                    <a:pt x="106896" y="107737"/>
                  </a:lnTo>
                  <a:lnTo>
                    <a:pt x="106896" y="106861"/>
                  </a:lnTo>
                  <a:lnTo>
                    <a:pt x="108965" y="106861"/>
                  </a:lnTo>
                  <a:lnTo>
                    <a:pt x="108965" y="105547"/>
                  </a:lnTo>
                  <a:lnTo>
                    <a:pt x="108965" y="105547"/>
                  </a:lnTo>
                  <a:lnTo>
                    <a:pt x="108965" y="104671"/>
                  </a:lnTo>
                  <a:lnTo>
                    <a:pt x="110344" y="104671"/>
                  </a:lnTo>
                  <a:lnTo>
                    <a:pt x="110344" y="104671"/>
                  </a:lnTo>
                  <a:lnTo>
                    <a:pt x="112413" y="105547"/>
                  </a:lnTo>
                  <a:lnTo>
                    <a:pt x="112413" y="106861"/>
                  </a:lnTo>
                  <a:lnTo>
                    <a:pt x="113793" y="107737"/>
                  </a:lnTo>
                  <a:lnTo>
                    <a:pt x="113793" y="108613"/>
                  </a:lnTo>
                  <a:lnTo>
                    <a:pt x="113793" y="109927"/>
                  </a:lnTo>
                  <a:lnTo>
                    <a:pt x="115172" y="112116"/>
                  </a:lnTo>
                  <a:lnTo>
                    <a:pt x="115172" y="112992"/>
                  </a:lnTo>
                  <a:lnTo>
                    <a:pt x="117241" y="113868"/>
                  </a:lnTo>
                  <a:lnTo>
                    <a:pt x="117241" y="112116"/>
                  </a:lnTo>
                  <a:lnTo>
                    <a:pt x="117241" y="109927"/>
                  </a:lnTo>
                  <a:lnTo>
                    <a:pt x="115172" y="108613"/>
                  </a:lnTo>
                  <a:lnTo>
                    <a:pt x="115172" y="108613"/>
                  </a:lnTo>
                  <a:lnTo>
                    <a:pt x="117241" y="108613"/>
                  </a:lnTo>
                  <a:lnTo>
                    <a:pt x="118620" y="106861"/>
                  </a:lnTo>
                  <a:lnTo>
                    <a:pt x="120000" y="105547"/>
                  </a:lnTo>
                  <a:lnTo>
                    <a:pt x="120000" y="104671"/>
                  </a:lnTo>
                  <a:lnTo>
                    <a:pt x="120000" y="104671"/>
                  </a:lnTo>
                  <a:lnTo>
                    <a:pt x="120000" y="102481"/>
                  </a:lnTo>
                  <a:close/>
                  <a:moveTo>
                    <a:pt x="110344" y="81897"/>
                  </a:moveTo>
                  <a:lnTo>
                    <a:pt x="110344" y="81897"/>
                  </a:lnTo>
                  <a:lnTo>
                    <a:pt x="112413" y="81897"/>
                  </a:lnTo>
                  <a:lnTo>
                    <a:pt x="112413" y="81897"/>
                  </a:lnTo>
                  <a:lnTo>
                    <a:pt x="112413" y="81021"/>
                  </a:lnTo>
                  <a:lnTo>
                    <a:pt x="112413" y="81021"/>
                  </a:lnTo>
                  <a:lnTo>
                    <a:pt x="112413" y="79708"/>
                  </a:lnTo>
                  <a:lnTo>
                    <a:pt x="110344" y="78832"/>
                  </a:lnTo>
                  <a:lnTo>
                    <a:pt x="110344" y="79708"/>
                  </a:lnTo>
                  <a:lnTo>
                    <a:pt x="110344" y="81021"/>
                  </a:lnTo>
                  <a:lnTo>
                    <a:pt x="110344" y="81897"/>
                  </a:lnTo>
                  <a:close/>
                  <a:moveTo>
                    <a:pt x="86206" y="78832"/>
                  </a:moveTo>
                  <a:lnTo>
                    <a:pt x="86206" y="79708"/>
                  </a:lnTo>
                  <a:lnTo>
                    <a:pt x="82758" y="79708"/>
                  </a:lnTo>
                  <a:lnTo>
                    <a:pt x="82758" y="81021"/>
                  </a:lnTo>
                  <a:lnTo>
                    <a:pt x="82758" y="81021"/>
                  </a:lnTo>
                  <a:lnTo>
                    <a:pt x="82758" y="81897"/>
                  </a:lnTo>
                  <a:lnTo>
                    <a:pt x="82758" y="82773"/>
                  </a:lnTo>
                  <a:lnTo>
                    <a:pt x="84137" y="82773"/>
                  </a:lnTo>
                  <a:lnTo>
                    <a:pt x="86206" y="82773"/>
                  </a:lnTo>
                  <a:lnTo>
                    <a:pt x="89655" y="82773"/>
                  </a:lnTo>
                  <a:lnTo>
                    <a:pt x="89655" y="82773"/>
                  </a:lnTo>
                  <a:lnTo>
                    <a:pt x="91034" y="81897"/>
                  </a:lnTo>
                  <a:lnTo>
                    <a:pt x="91034" y="81897"/>
                  </a:lnTo>
                  <a:lnTo>
                    <a:pt x="92413" y="81897"/>
                  </a:lnTo>
                  <a:lnTo>
                    <a:pt x="92413" y="81897"/>
                  </a:lnTo>
                  <a:lnTo>
                    <a:pt x="92413" y="81021"/>
                  </a:lnTo>
                  <a:lnTo>
                    <a:pt x="92413" y="81021"/>
                  </a:lnTo>
                  <a:lnTo>
                    <a:pt x="92413" y="79708"/>
                  </a:lnTo>
                  <a:lnTo>
                    <a:pt x="91034" y="78832"/>
                  </a:lnTo>
                  <a:lnTo>
                    <a:pt x="89655" y="78832"/>
                  </a:lnTo>
                  <a:lnTo>
                    <a:pt x="89655" y="78832"/>
                  </a:lnTo>
                  <a:lnTo>
                    <a:pt x="89655" y="77956"/>
                  </a:lnTo>
                  <a:lnTo>
                    <a:pt x="89655" y="77956"/>
                  </a:lnTo>
                  <a:lnTo>
                    <a:pt x="86206" y="78832"/>
                  </a:lnTo>
                  <a:lnTo>
                    <a:pt x="86206" y="78832"/>
                  </a:lnTo>
                  <a:close/>
                  <a:moveTo>
                    <a:pt x="105517" y="75766"/>
                  </a:moveTo>
                  <a:lnTo>
                    <a:pt x="105517" y="75766"/>
                  </a:lnTo>
                  <a:lnTo>
                    <a:pt x="104137" y="75766"/>
                  </a:lnTo>
                  <a:lnTo>
                    <a:pt x="104137" y="76642"/>
                  </a:lnTo>
                  <a:lnTo>
                    <a:pt x="104137" y="76642"/>
                  </a:lnTo>
                  <a:lnTo>
                    <a:pt x="104137" y="77956"/>
                  </a:lnTo>
                  <a:lnTo>
                    <a:pt x="104137" y="78832"/>
                  </a:lnTo>
                  <a:lnTo>
                    <a:pt x="104137" y="78832"/>
                  </a:lnTo>
                  <a:lnTo>
                    <a:pt x="105517" y="79708"/>
                  </a:lnTo>
                  <a:lnTo>
                    <a:pt x="105517" y="79708"/>
                  </a:lnTo>
                  <a:lnTo>
                    <a:pt x="105517" y="81021"/>
                  </a:lnTo>
                  <a:lnTo>
                    <a:pt x="105517" y="81021"/>
                  </a:lnTo>
                  <a:lnTo>
                    <a:pt x="105517" y="79708"/>
                  </a:lnTo>
                  <a:lnTo>
                    <a:pt x="105517" y="79708"/>
                  </a:lnTo>
                  <a:lnTo>
                    <a:pt x="105517" y="78832"/>
                  </a:lnTo>
                  <a:lnTo>
                    <a:pt x="105517" y="77956"/>
                  </a:lnTo>
                  <a:lnTo>
                    <a:pt x="105517" y="75766"/>
                  </a:lnTo>
                  <a:lnTo>
                    <a:pt x="105517" y="75766"/>
                  </a:lnTo>
                  <a:close/>
                  <a:moveTo>
                    <a:pt x="66896" y="75766"/>
                  </a:moveTo>
                  <a:lnTo>
                    <a:pt x="66896" y="75766"/>
                  </a:lnTo>
                  <a:lnTo>
                    <a:pt x="66896" y="75766"/>
                  </a:lnTo>
                  <a:lnTo>
                    <a:pt x="66896" y="74452"/>
                  </a:lnTo>
                  <a:lnTo>
                    <a:pt x="68275" y="73576"/>
                  </a:lnTo>
                  <a:lnTo>
                    <a:pt x="68275" y="72700"/>
                  </a:lnTo>
                  <a:lnTo>
                    <a:pt x="66896" y="72700"/>
                  </a:lnTo>
                  <a:lnTo>
                    <a:pt x="66896" y="72700"/>
                  </a:lnTo>
                  <a:lnTo>
                    <a:pt x="66896" y="72700"/>
                  </a:lnTo>
                  <a:lnTo>
                    <a:pt x="66896" y="73576"/>
                  </a:lnTo>
                  <a:lnTo>
                    <a:pt x="64827" y="73576"/>
                  </a:lnTo>
                  <a:lnTo>
                    <a:pt x="64827" y="74452"/>
                  </a:lnTo>
                  <a:lnTo>
                    <a:pt x="64827" y="75766"/>
                  </a:lnTo>
                  <a:lnTo>
                    <a:pt x="66896" y="75766"/>
                  </a:lnTo>
                  <a:close/>
                  <a:moveTo>
                    <a:pt x="64827" y="81021"/>
                  </a:moveTo>
                  <a:lnTo>
                    <a:pt x="64827" y="81897"/>
                  </a:lnTo>
                  <a:lnTo>
                    <a:pt x="66896" y="84087"/>
                  </a:lnTo>
                  <a:lnTo>
                    <a:pt x="68275" y="84963"/>
                  </a:lnTo>
                  <a:lnTo>
                    <a:pt x="68275" y="84963"/>
                  </a:lnTo>
                  <a:lnTo>
                    <a:pt x="69655" y="84963"/>
                  </a:lnTo>
                  <a:lnTo>
                    <a:pt x="71724" y="85839"/>
                  </a:lnTo>
                  <a:lnTo>
                    <a:pt x="71724" y="88029"/>
                  </a:lnTo>
                  <a:lnTo>
                    <a:pt x="73103" y="88029"/>
                  </a:lnTo>
                  <a:lnTo>
                    <a:pt x="73103" y="88029"/>
                  </a:lnTo>
                  <a:lnTo>
                    <a:pt x="74482" y="88029"/>
                  </a:lnTo>
                  <a:lnTo>
                    <a:pt x="74482" y="88029"/>
                  </a:lnTo>
                  <a:lnTo>
                    <a:pt x="76551" y="88029"/>
                  </a:lnTo>
                  <a:lnTo>
                    <a:pt x="76551" y="87153"/>
                  </a:lnTo>
                  <a:lnTo>
                    <a:pt x="76551" y="85839"/>
                  </a:lnTo>
                  <a:lnTo>
                    <a:pt x="76551" y="85839"/>
                  </a:lnTo>
                  <a:lnTo>
                    <a:pt x="76551" y="84963"/>
                  </a:lnTo>
                  <a:lnTo>
                    <a:pt x="74482" y="82773"/>
                  </a:lnTo>
                  <a:lnTo>
                    <a:pt x="74482" y="82773"/>
                  </a:lnTo>
                  <a:lnTo>
                    <a:pt x="74482" y="81897"/>
                  </a:lnTo>
                  <a:lnTo>
                    <a:pt x="74482" y="81021"/>
                  </a:lnTo>
                  <a:lnTo>
                    <a:pt x="74482" y="79708"/>
                  </a:lnTo>
                  <a:lnTo>
                    <a:pt x="74482" y="78832"/>
                  </a:lnTo>
                  <a:lnTo>
                    <a:pt x="74482" y="78832"/>
                  </a:lnTo>
                  <a:lnTo>
                    <a:pt x="76551" y="76642"/>
                  </a:lnTo>
                  <a:lnTo>
                    <a:pt x="76551" y="75766"/>
                  </a:lnTo>
                  <a:lnTo>
                    <a:pt x="77931" y="74452"/>
                  </a:lnTo>
                  <a:lnTo>
                    <a:pt x="77931" y="73576"/>
                  </a:lnTo>
                  <a:lnTo>
                    <a:pt x="77931" y="72700"/>
                  </a:lnTo>
                  <a:lnTo>
                    <a:pt x="77931" y="71386"/>
                  </a:lnTo>
                  <a:lnTo>
                    <a:pt x="77931" y="71386"/>
                  </a:lnTo>
                  <a:lnTo>
                    <a:pt x="73103" y="70510"/>
                  </a:lnTo>
                  <a:lnTo>
                    <a:pt x="73103" y="70510"/>
                  </a:lnTo>
                  <a:lnTo>
                    <a:pt x="71724" y="71386"/>
                  </a:lnTo>
                  <a:lnTo>
                    <a:pt x="69655" y="71386"/>
                  </a:lnTo>
                  <a:lnTo>
                    <a:pt x="69655" y="71386"/>
                  </a:lnTo>
                  <a:lnTo>
                    <a:pt x="69655" y="72700"/>
                  </a:lnTo>
                  <a:lnTo>
                    <a:pt x="69655" y="73576"/>
                  </a:lnTo>
                  <a:lnTo>
                    <a:pt x="69655" y="73576"/>
                  </a:lnTo>
                  <a:lnTo>
                    <a:pt x="69655" y="74452"/>
                  </a:lnTo>
                  <a:lnTo>
                    <a:pt x="68275" y="74452"/>
                  </a:lnTo>
                  <a:lnTo>
                    <a:pt x="69655" y="75766"/>
                  </a:lnTo>
                  <a:lnTo>
                    <a:pt x="69655" y="76642"/>
                  </a:lnTo>
                  <a:lnTo>
                    <a:pt x="69655" y="78832"/>
                  </a:lnTo>
                  <a:lnTo>
                    <a:pt x="69655" y="78832"/>
                  </a:lnTo>
                  <a:lnTo>
                    <a:pt x="68275" y="79708"/>
                  </a:lnTo>
                  <a:lnTo>
                    <a:pt x="66896" y="79708"/>
                  </a:lnTo>
                  <a:lnTo>
                    <a:pt x="64827" y="79708"/>
                  </a:lnTo>
                  <a:lnTo>
                    <a:pt x="64827" y="79708"/>
                  </a:lnTo>
                  <a:lnTo>
                    <a:pt x="64827" y="81021"/>
                  </a:lnTo>
                  <a:lnTo>
                    <a:pt x="64827" y="81021"/>
                  </a:lnTo>
                  <a:close/>
                  <a:moveTo>
                    <a:pt x="84137" y="70510"/>
                  </a:moveTo>
                  <a:lnTo>
                    <a:pt x="84137" y="70510"/>
                  </a:lnTo>
                  <a:lnTo>
                    <a:pt x="84137" y="69635"/>
                  </a:lnTo>
                  <a:lnTo>
                    <a:pt x="82758" y="69635"/>
                  </a:lnTo>
                  <a:lnTo>
                    <a:pt x="84137" y="68321"/>
                  </a:lnTo>
                  <a:lnTo>
                    <a:pt x="82758" y="67445"/>
                  </a:lnTo>
                  <a:lnTo>
                    <a:pt x="82758" y="68321"/>
                  </a:lnTo>
                  <a:lnTo>
                    <a:pt x="82758" y="69635"/>
                  </a:lnTo>
                  <a:lnTo>
                    <a:pt x="82758" y="69635"/>
                  </a:lnTo>
                  <a:lnTo>
                    <a:pt x="82758" y="69635"/>
                  </a:lnTo>
                  <a:lnTo>
                    <a:pt x="82758" y="70510"/>
                  </a:lnTo>
                  <a:lnTo>
                    <a:pt x="81379" y="72700"/>
                  </a:lnTo>
                  <a:lnTo>
                    <a:pt x="79310" y="74452"/>
                  </a:lnTo>
                  <a:lnTo>
                    <a:pt x="79310" y="75766"/>
                  </a:lnTo>
                  <a:lnTo>
                    <a:pt x="79310" y="76642"/>
                  </a:lnTo>
                  <a:lnTo>
                    <a:pt x="77931" y="77956"/>
                  </a:lnTo>
                  <a:lnTo>
                    <a:pt x="76551" y="79708"/>
                  </a:lnTo>
                  <a:lnTo>
                    <a:pt x="76551" y="81021"/>
                  </a:lnTo>
                  <a:lnTo>
                    <a:pt x="76551" y="84087"/>
                  </a:lnTo>
                  <a:lnTo>
                    <a:pt x="76551" y="84087"/>
                  </a:lnTo>
                  <a:lnTo>
                    <a:pt x="76551" y="84963"/>
                  </a:lnTo>
                  <a:lnTo>
                    <a:pt x="77931" y="84963"/>
                  </a:lnTo>
                  <a:lnTo>
                    <a:pt x="77931" y="82773"/>
                  </a:lnTo>
                  <a:lnTo>
                    <a:pt x="79310" y="79708"/>
                  </a:lnTo>
                  <a:lnTo>
                    <a:pt x="79310" y="79708"/>
                  </a:lnTo>
                  <a:lnTo>
                    <a:pt x="81379" y="78832"/>
                  </a:lnTo>
                  <a:lnTo>
                    <a:pt x="81379" y="77956"/>
                  </a:lnTo>
                  <a:lnTo>
                    <a:pt x="82758" y="76642"/>
                  </a:lnTo>
                  <a:lnTo>
                    <a:pt x="82758" y="76642"/>
                  </a:lnTo>
                  <a:lnTo>
                    <a:pt x="84137" y="75766"/>
                  </a:lnTo>
                  <a:lnTo>
                    <a:pt x="84137" y="74452"/>
                  </a:lnTo>
                  <a:lnTo>
                    <a:pt x="84137" y="72700"/>
                  </a:lnTo>
                  <a:lnTo>
                    <a:pt x="84137" y="70510"/>
                  </a:lnTo>
                  <a:close/>
                  <a:moveTo>
                    <a:pt x="27586" y="72700"/>
                  </a:moveTo>
                  <a:lnTo>
                    <a:pt x="26206" y="70510"/>
                  </a:lnTo>
                  <a:lnTo>
                    <a:pt x="26206" y="69635"/>
                  </a:lnTo>
                  <a:lnTo>
                    <a:pt x="26206" y="69635"/>
                  </a:lnTo>
                  <a:lnTo>
                    <a:pt x="26206" y="68321"/>
                  </a:lnTo>
                  <a:lnTo>
                    <a:pt x="26206" y="67445"/>
                  </a:lnTo>
                  <a:lnTo>
                    <a:pt x="26206" y="67445"/>
                  </a:lnTo>
                  <a:lnTo>
                    <a:pt x="26206" y="67445"/>
                  </a:lnTo>
                  <a:lnTo>
                    <a:pt x="24137" y="67445"/>
                  </a:lnTo>
                  <a:lnTo>
                    <a:pt x="24137" y="70510"/>
                  </a:lnTo>
                  <a:lnTo>
                    <a:pt x="22758" y="70510"/>
                  </a:lnTo>
                  <a:lnTo>
                    <a:pt x="22758" y="71386"/>
                  </a:lnTo>
                  <a:lnTo>
                    <a:pt x="24137" y="72700"/>
                  </a:lnTo>
                  <a:lnTo>
                    <a:pt x="24137" y="73576"/>
                  </a:lnTo>
                  <a:lnTo>
                    <a:pt x="24137" y="74452"/>
                  </a:lnTo>
                  <a:lnTo>
                    <a:pt x="22758" y="74452"/>
                  </a:lnTo>
                  <a:lnTo>
                    <a:pt x="22758" y="75766"/>
                  </a:lnTo>
                  <a:lnTo>
                    <a:pt x="22758" y="75766"/>
                  </a:lnTo>
                  <a:lnTo>
                    <a:pt x="21379" y="75766"/>
                  </a:lnTo>
                  <a:lnTo>
                    <a:pt x="21379" y="76642"/>
                  </a:lnTo>
                  <a:lnTo>
                    <a:pt x="17931" y="78832"/>
                  </a:lnTo>
                  <a:lnTo>
                    <a:pt x="17931" y="78832"/>
                  </a:lnTo>
                  <a:lnTo>
                    <a:pt x="17931" y="78832"/>
                  </a:lnTo>
                  <a:lnTo>
                    <a:pt x="14482" y="81897"/>
                  </a:lnTo>
                  <a:lnTo>
                    <a:pt x="13103" y="82773"/>
                  </a:lnTo>
                  <a:lnTo>
                    <a:pt x="9655" y="85839"/>
                  </a:lnTo>
                  <a:lnTo>
                    <a:pt x="9655" y="85839"/>
                  </a:lnTo>
                  <a:lnTo>
                    <a:pt x="8275" y="85839"/>
                  </a:lnTo>
                  <a:lnTo>
                    <a:pt x="8275" y="85839"/>
                  </a:lnTo>
                  <a:lnTo>
                    <a:pt x="8275" y="87153"/>
                  </a:lnTo>
                  <a:lnTo>
                    <a:pt x="6206" y="88029"/>
                  </a:lnTo>
                  <a:lnTo>
                    <a:pt x="3448" y="89343"/>
                  </a:lnTo>
                  <a:lnTo>
                    <a:pt x="3448" y="90218"/>
                  </a:lnTo>
                  <a:lnTo>
                    <a:pt x="1379" y="91094"/>
                  </a:lnTo>
                  <a:lnTo>
                    <a:pt x="1379" y="91094"/>
                  </a:lnTo>
                  <a:lnTo>
                    <a:pt x="0" y="93284"/>
                  </a:lnTo>
                  <a:lnTo>
                    <a:pt x="0" y="94160"/>
                  </a:lnTo>
                  <a:lnTo>
                    <a:pt x="0" y="94160"/>
                  </a:lnTo>
                  <a:lnTo>
                    <a:pt x="1379" y="94160"/>
                  </a:lnTo>
                  <a:lnTo>
                    <a:pt x="1379" y="93284"/>
                  </a:lnTo>
                  <a:lnTo>
                    <a:pt x="3448" y="93284"/>
                  </a:lnTo>
                  <a:lnTo>
                    <a:pt x="3448" y="93284"/>
                  </a:lnTo>
                  <a:lnTo>
                    <a:pt x="3448" y="92408"/>
                  </a:lnTo>
                  <a:lnTo>
                    <a:pt x="3448" y="92408"/>
                  </a:lnTo>
                  <a:lnTo>
                    <a:pt x="4827" y="92408"/>
                  </a:lnTo>
                  <a:lnTo>
                    <a:pt x="6206" y="91094"/>
                  </a:lnTo>
                  <a:lnTo>
                    <a:pt x="8275" y="90218"/>
                  </a:lnTo>
                  <a:lnTo>
                    <a:pt x="9655" y="90218"/>
                  </a:lnTo>
                  <a:lnTo>
                    <a:pt x="9655" y="89343"/>
                  </a:lnTo>
                  <a:lnTo>
                    <a:pt x="11034" y="88029"/>
                  </a:lnTo>
                  <a:lnTo>
                    <a:pt x="11034" y="87153"/>
                  </a:lnTo>
                  <a:lnTo>
                    <a:pt x="13103" y="87153"/>
                  </a:lnTo>
                  <a:lnTo>
                    <a:pt x="14482" y="85839"/>
                  </a:lnTo>
                  <a:lnTo>
                    <a:pt x="14482" y="85839"/>
                  </a:lnTo>
                  <a:lnTo>
                    <a:pt x="15862" y="84963"/>
                  </a:lnTo>
                  <a:lnTo>
                    <a:pt x="17931" y="81897"/>
                  </a:lnTo>
                  <a:lnTo>
                    <a:pt x="17931" y="81021"/>
                  </a:lnTo>
                  <a:lnTo>
                    <a:pt x="17931" y="79708"/>
                  </a:lnTo>
                  <a:lnTo>
                    <a:pt x="19310" y="79708"/>
                  </a:lnTo>
                  <a:lnTo>
                    <a:pt x="19310" y="79708"/>
                  </a:lnTo>
                  <a:lnTo>
                    <a:pt x="22758" y="78832"/>
                  </a:lnTo>
                  <a:lnTo>
                    <a:pt x="22758" y="78832"/>
                  </a:lnTo>
                  <a:lnTo>
                    <a:pt x="24137" y="77956"/>
                  </a:lnTo>
                  <a:lnTo>
                    <a:pt x="24137" y="76642"/>
                  </a:lnTo>
                  <a:lnTo>
                    <a:pt x="24137" y="76642"/>
                  </a:lnTo>
                  <a:lnTo>
                    <a:pt x="26206" y="76642"/>
                  </a:lnTo>
                  <a:lnTo>
                    <a:pt x="27586" y="75766"/>
                  </a:lnTo>
                  <a:lnTo>
                    <a:pt x="27586" y="75766"/>
                  </a:lnTo>
                  <a:lnTo>
                    <a:pt x="28965" y="74452"/>
                  </a:lnTo>
                  <a:lnTo>
                    <a:pt x="28965" y="74452"/>
                  </a:lnTo>
                  <a:lnTo>
                    <a:pt x="27586" y="72700"/>
                  </a:lnTo>
                  <a:close/>
                  <a:moveTo>
                    <a:pt x="99310" y="77956"/>
                  </a:moveTo>
                  <a:lnTo>
                    <a:pt x="99310" y="77956"/>
                  </a:lnTo>
                  <a:lnTo>
                    <a:pt x="99310" y="77956"/>
                  </a:lnTo>
                  <a:lnTo>
                    <a:pt x="99310" y="76642"/>
                  </a:lnTo>
                  <a:lnTo>
                    <a:pt x="100689" y="76642"/>
                  </a:lnTo>
                  <a:lnTo>
                    <a:pt x="100689" y="76642"/>
                  </a:lnTo>
                  <a:lnTo>
                    <a:pt x="100689" y="76642"/>
                  </a:lnTo>
                  <a:lnTo>
                    <a:pt x="99310" y="75766"/>
                  </a:lnTo>
                  <a:lnTo>
                    <a:pt x="99310" y="74452"/>
                  </a:lnTo>
                  <a:lnTo>
                    <a:pt x="99310" y="73576"/>
                  </a:lnTo>
                  <a:lnTo>
                    <a:pt x="97241" y="73576"/>
                  </a:lnTo>
                  <a:lnTo>
                    <a:pt x="97241" y="72700"/>
                  </a:lnTo>
                  <a:lnTo>
                    <a:pt x="97241" y="72700"/>
                  </a:lnTo>
                  <a:lnTo>
                    <a:pt x="95862" y="72700"/>
                  </a:lnTo>
                  <a:lnTo>
                    <a:pt x="95862" y="70510"/>
                  </a:lnTo>
                  <a:lnTo>
                    <a:pt x="95862" y="69635"/>
                  </a:lnTo>
                  <a:lnTo>
                    <a:pt x="95862" y="68321"/>
                  </a:lnTo>
                  <a:lnTo>
                    <a:pt x="95862" y="68321"/>
                  </a:lnTo>
                  <a:lnTo>
                    <a:pt x="94482" y="66131"/>
                  </a:lnTo>
                  <a:lnTo>
                    <a:pt x="92413" y="66131"/>
                  </a:lnTo>
                  <a:lnTo>
                    <a:pt x="92413" y="67445"/>
                  </a:lnTo>
                  <a:lnTo>
                    <a:pt x="91034" y="67445"/>
                  </a:lnTo>
                  <a:lnTo>
                    <a:pt x="91034" y="67445"/>
                  </a:lnTo>
                  <a:lnTo>
                    <a:pt x="89655" y="66131"/>
                  </a:lnTo>
                  <a:lnTo>
                    <a:pt x="89655" y="66131"/>
                  </a:lnTo>
                  <a:lnTo>
                    <a:pt x="87586" y="66131"/>
                  </a:lnTo>
                  <a:lnTo>
                    <a:pt x="87586" y="65255"/>
                  </a:lnTo>
                  <a:lnTo>
                    <a:pt x="86206" y="65255"/>
                  </a:lnTo>
                  <a:lnTo>
                    <a:pt x="86206" y="65255"/>
                  </a:lnTo>
                  <a:lnTo>
                    <a:pt x="87586" y="66131"/>
                  </a:lnTo>
                  <a:lnTo>
                    <a:pt x="87586" y="67445"/>
                  </a:lnTo>
                  <a:lnTo>
                    <a:pt x="87586" y="68321"/>
                  </a:lnTo>
                  <a:lnTo>
                    <a:pt x="89655" y="71386"/>
                  </a:lnTo>
                  <a:lnTo>
                    <a:pt x="89655" y="71386"/>
                  </a:lnTo>
                  <a:lnTo>
                    <a:pt x="91034" y="70510"/>
                  </a:lnTo>
                  <a:lnTo>
                    <a:pt x="92413" y="70510"/>
                  </a:lnTo>
                  <a:lnTo>
                    <a:pt x="92413" y="71386"/>
                  </a:lnTo>
                  <a:lnTo>
                    <a:pt x="94482" y="72700"/>
                  </a:lnTo>
                  <a:lnTo>
                    <a:pt x="94482" y="72700"/>
                  </a:lnTo>
                  <a:lnTo>
                    <a:pt x="94482" y="73576"/>
                  </a:lnTo>
                  <a:lnTo>
                    <a:pt x="94482" y="75766"/>
                  </a:lnTo>
                  <a:lnTo>
                    <a:pt x="94482" y="76642"/>
                  </a:lnTo>
                  <a:lnTo>
                    <a:pt x="94482" y="76642"/>
                  </a:lnTo>
                  <a:lnTo>
                    <a:pt x="94482" y="77956"/>
                  </a:lnTo>
                  <a:lnTo>
                    <a:pt x="94482" y="78832"/>
                  </a:lnTo>
                  <a:lnTo>
                    <a:pt x="95862" y="78832"/>
                  </a:lnTo>
                  <a:lnTo>
                    <a:pt x="97241" y="78832"/>
                  </a:lnTo>
                  <a:lnTo>
                    <a:pt x="97241" y="78832"/>
                  </a:lnTo>
                  <a:lnTo>
                    <a:pt x="97241" y="77956"/>
                  </a:lnTo>
                  <a:lnTo>
                    <a:pt x="97241" y="75766"/>
                  </a:lnTo>
                  <a:lnTo>
                    <a:pt x="97241" y="76642"/>
                  </a:lnTo>
                  <a:lnTo>
                    <a:pt x="99310" y="77956"/>
                  </a:lnTo>
                  <a:close/>
                  <a:moveTo>
                    <a:pt x="89655" y="65255"/>
                  </a:moveTo>
                  <a:lnTo>
                    <a:pt x="91034" y="65255"/>
                  </a:lnTo>
                  <a:lnTo>
                    <a:pt x="91034" y="65255"/>
                  </a:lnTo>
                  <a:lnTo>
                    <a:pt x="89655" y="64379"/>
                  </a:lnTo>
                  <a:lnTo>
                    <a:pt x="89655" y="64379"/>
                  </a:lnTo>
                  <a:lnTo>
                    <a:pt x="87586" y="64379"/>
                  </a:lnTo>
                  <a:lnTo>
                    <a:pt x="87586" y="64379"/>
                  </a:lnTo>
                  <a:lnTo>
                    <a:pt x="87586" y="65255"/>
                  </a:lnTo>
                  <a:lnTo>
                    <a:pt x="89655" y="65255"/>
                  </a:lnTo>
                  <a:close/>
                  <a:moveTo>
                    <a:pt x="64827" y="73576"/>
                  </a:moveTo>
                  <a:lnTo>
                    <a:pt x="66896" y="72700"/>
                  </a:lnTo>
                  <a:lnTo>
                    <a:pt x="68275" y="71386"/>
                  </a:lnTo>
                  <a:lnTo>
                    <a:pt x="68275" y="71386"/>
                  </a:lnTo>
                  <a:lnTo>
                    <a:pt x="68275" y="70510"/>
                  </a:lnTo>
                  <a:lnTo>
                    <a:pt x="68275" y="70510"/>
                  </a:lnTo>
                  <a:lnTo>
                    <a:pt x="68275" y="70510"/>
                  </a:lnTo>
                  <a:lnTo>
                    <a:pt x="69655" y="69635"/>
                  </a:lnTo>
                  <a:lnTo>
                    <a:pt x="69655" y="69635"/>
                  </a:lnTo>
                  <a:lnTo>
                    <a:pt x="71724" y="68321"/>
                  </a:lnTo>
                  <a:lnTo>
                    <a:pt x="71724" y="67445"/>
                  </a:lnTo>
                  <a:lnTo>
                    <a:pt x="71724" y="67445"/>
                  </a:lnTo>
                  <a:lnTo>
                    <a:pt x="71724" y="66131"/>
                  </a:lnTo>
                  <a:lnTo>
                    <a:pt x="71724" y="65255"/>
                  </a:lnTo>
                  <a:lnTo>
                    <a:pt x="71724" y="65255"/>
                  </a:lnTo>
                  <a:lnTo>
                    <a:pt x="68275" y="66131"/>
                  </a:lnTo>
                  <a:lnTo>
                    <a:pt x="68275" y="65255"/>
                  </a:lnTo>
                  <a:lnTo>
                    <a:pt x="68275" y="65255"/>
                  </a:lnTo>
                  <a:lnTo>
                    <a:pt x="68275" y="65255"/>
                  </a:lnTo>
                  <a:lnTo>
                    <a:pt x="66896" y="64379"/>
                  </a:lnTo>
                  <a:lnTo>
                    <a:pt x="64827" y="65255"/>
                  </a:lnTo>
                  <a:lnTo>
                    <a:pt x="63448" y="64379"/>
                  </a:lnTo>
                  <a:lnTo>
                    <a:pt x="61379" y="64379"/>
                  </a:lnTo>
                  <a:lnTo>
                    <a:pt x="60000" y="63065"/>
                  </a:lnTo>
                  <a:lnTo>
                    <a:pt x="58620" y="62189"/>
                  </a:lnTo>
                  <a:lnTo>
                    <a:pt x="56551" y="62189"/>
                  </a:lnTo>
                  <a:lnTo>
                    <a:pt x="56551" y="62189"/>
                  </a:lnTo>
                  <a:lnTo>
                    <a:pt x="55172" y="62189"/>
                  </a:lnTo>
                  <a:lnTo>
                    <a:pt x="55172" y="63065"/>
                  </a:lnTo>
                  <a:lnTo>
                    <a:pt x="55172" y="63065"/>
                  </a:lnTo>
                  <a:lnTo>
                    <a:pt x="58620" y="63065"/>
                  </a:lnTo>
                  <a:lnTo>
                    <a:pt x="58620" y="64379"/>
                  </a:lnTo>
                  <a:lnTo>
                    <a:pt x="58620" y="64379"/>
                  </a:lnTo>
                  <a:lnTo>
                    <a:pt x="58620" y="67445"/>
                  </a:lnTo>
                  <a:lnTo>
                    <a:pt x="58620" y="69635"/>
                  </a:lnTo>
                  <a:lnTo>
                    <a:pt x="58620" y="70510"/>
                  </a:lnTo>
                  <a:lnTo>
                    <a:pt x="56551" y="71386"/>
                  </a:lnTo>
                  <a:lnTo>
                    <a:pt x="56551" y="72700"/>
                  </a:lnTo>
                  <a:lnTo>
                    <a:pt x="58620" y="73576"/>
                  </a:lnTo>
                  <a:lnTo>
                    <a:pt x="58620" y="73576"/>
                  </a:lnTo>
                  <a:lnTo>
                    <a:pt x="56551" y="74452"/>
                  </a:lnTo>
                  <a:lnTo>
                    <a:pt x="58620" y="75766"/>
                  </a:lnTo>
                  <a:lnTo>
                    <a:pt x="58620" y="75766"/>
                  </a:lnTo>
                  <a:lnTo>
                    <a:pt x="58620" y="75766"/>
                  </a:lnTo>
                  <a:lnTo>
                    <a:pt x="58620" y="74452"/>
                  </a:lnTo>
                  <a:lnTo>
                    <a:pt x="60000" y="74452"/>
                  </a:lnTo>
                  <a:lnTo>
                    <a:pt x="60000" y="73576"/>
                  </a:lnTo>
                  <a:lnTo>
                    <a:pt x="64827" y="73576"/>
                  </a:lnTo>
                  <a:close/>
                  <a:moveTo>
                    <a:pt x="31034" y="62189"/>
                  </a:moveTo>
                  <a:lnTo>
                    <a:pt x="31034" y="61313"/>
                  </a:lnTo>
                  <a:lnTo>
                    <a:pt x="31034" y="61313"/>
                  </a:lnTo>
                  <a:lnTo>
                    <a:pt x="28965" y="61313"/>
                  </a:lnTo>
                  <a:lnTo>
                    <a:pt x="28965" y="61313"/>
                  </a:lnTo>
                  <a:lnTo>
                    <a:pt x="31034" y="63065"/>
                  </a:lnTo>
                  <a:lnTo>
                    <a:pt x="31034" y="63065"/>
                  </a:lnTo>
                  <a:lnTo>
                    <a:pt x="31034" y="64379"/>
                  </a:lnTo>
                  <a:lnTo>
                    <a:pt x="31034" y="64379"/>
                  </a:lnTo>
                  <a:lnTo>
                    <a:pt x="32413" y="64379"/>
                  </a:lnTo>
                  <a:lnTo>
                    <a:pt x="32413" y="63065"/>
                  </a:lnTo>
                  <a:lnTo>
                    <a:pt x="32413" y="62189"/>
                  </a:lnTo>
                  <a:lnTo>
                    <a:pt x="32413" y="62189"/>
                  </a:lnTo>
                  <a:lnTo>
                    <a:pt x="31034" y="62189"/>
                  </a:lnTo>
                  <a:close/>
                  <a:moveTo>
                    <a:pt x="33793" y="59124"/>
                  </a:moveTo>
                  <a:lnTo>
                    <a:pt x="32413" y="59124"/>
                  </a:lnTo>
                  <a:lnTo>
                    <a:pt x="32413" y="60000"/>
                  </a:lnTo>
                  <a:lnTo>
                    <a:pt x="32413" y="59124"/>
                  </a:lnTo>
                  <a:lnTo>
                    <a:pt x="32413" y="59124"/>
                  </a:lnTo>
                  <a:lnTo>
                    <a:pt x="31034" y="58248"/>
                  </a:lnTo>
                  <a:lnTo>
                    <a:pt x="28965" y="58248"/>
                  </a:lnTo>
                  <a:lnTo>
                    <a:pt x="28965" y="58248"/>
                  </a:lnTo>
                  <a:lnTo>
                    <a:pt x="28965" y="58248"/>
                  </a:lnTo>
                  <a:lnTo>
                    <a:pt x="28965" y="58248"/>
                  </a:lnTo>
                  <a:lnTo>
                    <a:pt x="28965" y="58248"/>
                  </a:lnTo>
                  <a:lnTo>
                    <a:pt x="28965" y="59124"/>
                  </a:lnTo>
                  <a:lnTo>
                    <a:pt x="28965" y="59124"/>
                  </a:lnTo>
                  <a:lnTo>
                    <a:pt x="28965" y="59124"/>
                  </a:lnTo>
                  <a:lnTo>
                    <a:pt x="31034" y="60000"/>
                  </a:lnTo>
                  <a:lnTo>
                    <a:pt x="31034" y="61313"/>
                  </a:lnTo>
                  <a:lnTo>
                    <a:pt x="32413" y="61313"/>
                  </a:lnTo>
                  <a:lnTo>
                    <a:pt x="32413" y="61313"/>
                  </a:lnTo>
                  <a:lnTo>
                    <a:pt x="33793" y="61313"/>
                  </a:lnTo>
                  <a:lnTo>
                    <a:pt x="35862" y="61313"/>
                  </a:lnTo>
                  <a:lnTo>
                    <a:pt x="35862" y="60000"/>
                  </a:lnTo>
                  <a:lnTo>
                    <a:pt x="33793" y="60000"/>
                  </a:lnTo>
                  <a:lnTo>
                    <a:pt x="33793" y="59124"/>
                  </a:lnTo>
                  <a:close/>
                  <a:moveTo>
                    <a:pt x="86206" y="59124"/>
                  </a:moveTo>
                  <a:lnTo>
                    <a:pt x="87586" y="60000"/>
                  </a:lnTo>
                  <a:lnTo>
                    <a:pt x="87586" y="60000"/>
                  </a:lnTo>
                  <a:lnTo>
                    <a:pt x="89655" y="60000"/>
                  </a:lnTo>
                  <a:lnTo>
                    <a:pt x="91034" y="61313"/>
                  </a:lnTo>
                  <a:lnTo>
                    <a:pt x="91034" y="61313"/>
                  </a:lnTo>
                  <a:lnTo>
                    <a:pt x="92413" y="62189"/>
                  </a:lnTo>
                  <a:lnTo>
                    <a:pt x="92413" y="62189"/>
                  </a:lnTo>
                  <a:lnTo>
                    <a:pt x="94482" y="63065"/>
                  </a:lnTo>
                  <a:lnTo>
                    <a:pt x="94482" y="63065"/>
                  </a:lnTo>
                  <a:lnTo>
                    <a:pt x="94482" y="63065"/>
                  </a:lnTo>
                  <a:lnTo>
                    <a:pt x="95862" y="64379"/>
                  </a:lnTo>
                  <a:lnTo>
                    <a:pt x="94482" y="64379"/>
                  </a:lnTo>
                  <a:lnTo>
                    <a:pt x="94482" y="65255"/>
                  </a:lnTo>
                  <a:lnTo>
                    <a:pt x="94482" y="66131"/>
                  </a:lnTo>
                  <a:lnTo>
                    <a:pt x="95862" y="67445"/>
                  </a:lnTo>
                  <a:lnTo>
                    <a:pt x="97241" y="67445"/>
                  </a:lnTo>
                  <a:lnTo>
                    <a:pt x="97241" y="67445"/>
                  </a:lnTo>
                  <a:lnTo>
                    <a:pt x="99310" y="69635"/>
                  </a:lnTo>
                  <a:lnTo>
                    <a:pt x="99310" y="69635"/>
                  </a:lnTo>
                  <a:lnTo>
                    <a:pt x="100689" y="69635"/>
                  </a:lnTo>
                  <a:lnTo>
                    <a:pt x="104137" y="69635"/>
                  </a:lnTo>
                  <a:lnTo>
                    <a:pt x="104137" y="69635"/>
                  </a:lnTo>
                  <a:lnTo>
                    <a:pt x="105517" y="69635"/>
                  </a:lnTo>
                  <a:lnTo>
                    <a:pt x="105517" y="69635"/>
                  </a:lnTo>
                  <a:lnTo>
                    <a:pt x="105517" y="68321"/>
                  </a:lnTo>
                  <a:lnTo>
                    <a:pt x="104137" y="68321"/>
                  </a:lnTo>
                  <a:lnTo>
                    <a:pt x="102068" y="68321"/>
                  </a:lnTo>
                  <a:lnTo>
                    <a:pt x="102068" y="67445"/>
                  </a:lnTo>
                  <a:lnTo>
                    <a:pt x="104137" y="67445"/>
                  </a:lnTo>
                  <a:lnTo>
                    <a:pt x="102068" y="66131"/>
                  </a:lnTo>
                  <a:lnTo>
                    <a:pt x="102068" y="65255"/>
                  </a:lnTo>
                  <a:lnTo>
                    <a:pt x="100689" y="65255"/>
                  </a:lnTo>
                  <a:lnTo>
                    <a:pt x="100689" y="64379"/>
                  </a:lnTo>
                  <a:lnTo>
                    <a:pt x="100689" y="63065"/>
                  </a:lnTo>
                  <a:lnTo>
                    <a:pt x="100689" y="63065"/>
                  </a:lnTo>
                  <a:lnTo>
                    <a:pt x="100689" y="61313"/>
                  </a:lnTo>
                  <a:lnTo>
                    <a:pt x="100689" y="60000"/>
                  </a:lnTo>
                  <a:lnTo>
                    <a:pt x="100689" y="60000"/>
                  </a:lnTo>
                  <a:lnTo>
                    <a:pt x="100689" y="59124"/>
                  </a:lnTo>
                  <a:lnTo>
                    <a:pt x="100689" y="59124"/>
                  </a:lnTo>
                  <a:lnTo>
                    <a:pt x="99310" y="58248"/>
                  </a:lnTo>
                  <a:lnTo>
                    <a:pt x="99310" y="58248"/>
                  </a:lnTo>
                  <a:lnTo>
                    <a:pt x="97241" y="58248"/>
                  </a:lnTo>
                  <a:lnTo>
                    <a:pt x="97241" y="56934"/>
                  </a:lnTo>
                  <a:lnTo>
                    <a:pt x="97241" y="56934"/>
                  </a:lnTo>
                  <a:lnTo>
                    <a:pt x="97241" y="56058"/>
                  </a:lnTo>
                  <a:lnTo>
                    <a:pt x="95862" y="56058"/>
                  </a:lnTo>
                  <a:lnTo>
                    <a:pt x="92413" y="56058"/>
                  </a:lnTo>
                  <a:lnTo>
                    <a:pt x="87586" y="56058"/>
                  </a:lnTo>
                  <a:lnTo>
                    <a:pt x="84137" y="56058"/>
                  </a:lnTo>
                  <a:lnTo>
                    <a:pt x="86206" y="56934"/>
                  </a:lnTo>
                  <a:lnTo>
                    <a:pt x="86206" y="59124"/>
                  </a:lnTo>
                  <a:close/>
                  <a:moveTo>
                    <a:pt x="71724" y="60000"/>
                  </a:moveTo>
                  <a:lnTo>
                    <a:pt x="71724" y="61313"/>
                  </a:lnTo>
                  <a:lnTo>
                    <a:pt x="71724" y="62189"/>
                  </a:lnTo>
                  <a:lnTo>
                    <a:pt x="73103" y="61313"/>
                  </a:lnTo>
                  <a:lnTo>
                    <a:pt x="74482" y="59124"/>
                  </a:lnTo>
                  <a:lnTo>
                    <a:pt x="74482" y="59124"/>
                  </a:lnTo>
                  <a:lnTo>
                    <a:pt x="76551" y="59124"/>
                  </a:lnTo>
                  <a:lnTo>
                    <a:pt x="76551" y="60000"/>
                  </a:lnTo>
                  <a:lnTo>
                    <a:pt x="77931" y="60000"/>
                  </a:lnTo>
                  <a:lnTo>
                    <a:pt x="77931" y="60000"/>
                  </a:lnTo>
                  <a:lnTo>
                    <a:pt x="77931" y="61313"/>
                  </a:lnTo>
                  <a:lnTo>
                    <a:pt x="77931" y="61313"/>
                  </a:lnTo>
                  <a:lnTo>
                    <a:pt x="79310" y="61313"/>
                  </a:lnTo>
                  <a:lnTo>
                    <a:pt x="79310" y="62189"/>
                  </a:lnTo>
                  <a:lnTo>
                    <a:pt x="81379" y="63065"/>
                  </a:lnTo>
                  <a:lnTo>
                    <a:pt x="82758" y="63065"/>
                  </a:lnTo>
                  <a:lnTo>
                    <a:pt x="82758" y="63065"/>
                  </a:lnTo>
                  <a:lnTo>
                    <a:pt x="82758" y="61313"/>
                  </a:lnTo>
                  <a:lnTo>
                    <a:pt x="81379" y="59124"/>
                  </a:lnTo>
                  <a:lnTo>
                    <a:pt x="77931" y="58248"/>
                  </a:lnTo>
                  <a:lnTo>
                    <a:pt x="76551" y="56934"/>
                  </a:lnTo>
                  <a:lnTo>
                    <a:pt x="76551" y="56934"/>
                  </a:lnTo>
                  <a:lnTo>
                    <a:pt x="74482" y="56058"/>
                  </a:lnTo>
                  <a:lnTo>
                    <a:pt x="73103" y="56058"/>
                  </a:lnTo>
                  <a:lnTo>
                    <a:pt x="71724" y="56058"/>
                  </a:lnTo>
                  <a:lnTo>
                    <a:pt x="71724" y="56058"/>
                  </a:lnTo>
                  <a:lnTo>
                    <a:pt x="71724" y="56934"/>
                  </a:lnTo>
                  <a:lnTo>
                    <a:pt x="71724" y="58248"/>
                  </a:lnTo>
                  <a:lnTo>
                    <a:pt x="71724" y="60000"/>
                  </a:lnTo>
                  <a:close/>
                  <a:moveTo>
                    <a:pt x="56551" y="60000"/>
                  </a:moveTo>
                  <a:lnTo>
                    <a:pt x="56551" y="58248"/>
                  </a:lnTo>
                  <a:lnTo>
                    <a:pt x="56551" y="56058"/>
                  </a:lnTo>
                  <a:lnTo>
                    <a:pt x="56551" y="54744"/>
                  </a:lnTo>
                  <a:lnTo>
                    <a:pt x="56551" y="54744"/>
                  </a:lnTo>
                  <a:lnTo>
                    <a:pt x="56551" y="54744"/>
                  </a:lnTo>
                  <a:lnTo>
                    <a:pt x="55172" y="56058"/>
                  </a:lnTo>
                  <a:lnTo>
                    <a:pt x="55172" y="56934"/>
                  </a:lnTo>
                  <a:lnTo>
                    <a:pt x="55172" y="56934"/>
                  </a:lnTo>
                  <a:lnTo>
                    <a:pt x="55172" y="58248"/>
                  </a:lnTo>
                  <a:lnTo>
                    <a:pt x="55172" y="58248"/>
                  </a:lnTo>
                  <a:lnTo>
                    <a:pt x="55172" y="59124"/>
                  </a:lnTo>
                  <a:lnTo>
                    <a:pt x="55172" y="59124"/>
                  </a:lnTo>
                  <a:lnTo>
                    <a:pt x="56551" y="60000"/>
                  </a:lnTo>
                  <a:close/>
                  <a:moveTo>
                    <a:pt x="48965" y="56934"/>
                  </a:moveTo>
                  <a:lnTo>
                    <a:pt x="48965" y="56058"/>
                  </a:lnTo>
                  <a:lnTo>
                    <a:pt x="48965" y="56058"/>
                  </a:lnTo>
                  <a:lnTo>
                    <a:pt x="50344" y="54744"/>
                  </a:lnTo>
                  <a:lnTo>
                    <a:pt x="48965" y="52992"/>
                  </a:lnTo>
                  <a:lnTo>
                    <a:pt x="48965" y="52992"/>
                  </a:lnTo>
                  <a:lnTo>
                    <a:pt x="48965" y="51678"/>
                  </a:lnTo>
                  <a:lnTo>
                    <a:pt x="48965" y="50802"/>
                  </a:lnTo>
                  <a:lnTo>
                    <a:pt x="48965" y="50802"/>
                  </a:lnTo>
                  <a:lnTo>
                    <a:pt x="46896" y="49927"/>
                  </a:lnTo>
                  <a:lnTo>
                    <a:pt x="46896" y="49927"/>
                  </a:lnTo>
                  <a:lnTo>
                    <a:pt x="45517" y="48613"/>
                  </a:lnTo>
                  <a:lnTo>
                    <a:pt x="44137" y="47737"/>
                  </a:lnTo>
                  <a:lnTo>
                    <a:pt x="44137" y="48613"/>
                  </a:lnTo>
                  <a:lnTo>
                    <a:pt x="42068" y="47737"/>
                  </a:lnTo>
                  <a:lnTo>
                    <a:pt x="42068" y="47737"/>
                  </a:lnTo>
                  <a:lnTo>
                    <a:pt x="40689" y="47737"/>
                  </a:lnTo>
                  <a:lnTo>
                    <a:pt x="40689" y="46861"/>
                  </a:lnTo>
                  <a:lnTo>
                    <a:pt x="38620" y="47737"/>
                  </a:lnTo>
                  <a:lnTo>
                    <a:pt x="37241" y="47737"/>
                  </a:lnTo>
                  <a:lnTo>
                    <a:pt x="37241" y="47737"/>
                  </a:lnTo>
                  <a:lnTo>
                    <a:pt x="33793" y="46861"/>
                  </a:lnTo>
                  <a:lnTo>
                    <a:pt x="33793" y="46861"/>
                  </a:lnTo>
                  <a:lnTo>
                    <a:pt x="32413" y="47737"/>
                  </a:lnTo>
                  <a:lnTo>
                    <a:pt x="32413" y="47737"/>
                  </a:lnTo>
                  <a:lnTo>
                    <a:pt x="33793" y="47737"/>
                  </a:lnTo>
                  <a:lnTo>
                    <a:pt x="33793" y="47737"/>
                  </a:lnTo>
                  <a:lnTo>
                    <a:pt x="33793" y="47737"/>
                  </a:lnTo>
                  <a:lnTo>
                    <a:pt x="35862" y="48613"/>
                  </a:lnTo>
                  <a:lnTo>
                    <a:pt x="35862" y="49927"/>
                  </a:lnTo>
                  <a:lnTo>
                    <a:pt x="35862" y="49927"/>
                  </a:lnTo>
                  <a:lnTo>
                    <a:pt x="37241" y="49927"/>
                  </a:lnTo>
                  <a:lnTo>
                    <a:pt x="37241" y="50802"/>
                  </a:lnTo>
                  <a:lnTo>
                    <a:pt x="38620" y="51678"/>
                  </a:lnTo>
                  <a:lnTo>
                    <a:pt x="38620" y="52992"/>
                  </a:lnTo>
                  <a:lnTo>
                    <a:pt x="38620" y="53868"/>
                  </a:lnTo>
                  <a:lnTo>
                    <a:pt x="40689" y="53868"/>
                  </a:lnTo>
                  <a:lnTo>
                    <a:pt x="40689" y="54744"/>
                  </a:lnTo>
                  <a:lnTo>
                    <a:pt x="42068" y="54744"/>
                  </a:lnTo>
                  <a:lnTo>
                    <a:pt x="42068" y="56058"/>
                  </a:lnTo>
                  <a:lnTo>
                    <a:pt x="42068" y="56058"/>
                  </a:lnTo>
                  <a:lnTo>
                    <a:pt x="42068" y="56934"/>
                  </a:lnTo>
                  <a:lnTo>
                    <a:pt x="44137" y="58248"/>
                  </a:lnTo>
                  <a:lnTo>
                    <a:pt x="44137" y="58248"/>
                  </a:lnTo>
                  <a:lnTo>
                    <a:pt x="44137" y="58248"/>
                  </a:lnTo>
                  <a:lnTo>
                    <a:pt x="45517" y="59124"/>
                  </a:lnTo>
                  <a:lnTo>
                    <a:pt x="45517" y="59124"/>
                  </a:lnTo>
                  <a:lnTo>
                    <a:pt x="46896" y="59124"/>
                  </a:lnTo>
                  <a:lnTo>
                    <a:pt x="46896" y="58248"/>
                  </a:lnTo>
                  <a:lnTo>
                    <a:pt x="46896" y="58248"/>
                  </a:lnTo>
                  <a:lnTo>
                    <a:pt x="46896" y="58248"/>
                  </a:lnTo>
                  <a:lnTo>
                    <a:pt x="48965" y="58248"/>
                  </a:lnTo>
                  <a:lnTo>
                    <a:pt x="48965" y="58248"/>
                  </a:lnTo>
                  <a:lnTo>
                    <a:pt x="48965" y="56934"/>
                  </a:lnTo>
                  <a:lnTo>
                    <a:pt x="48965" y="56934"/>
                  </a:lnTo>
                  <a:close/>
                  <a:moveTo>
                    <a:pt x="53793" y="46861"/>
                  </a:moveTo>
                  <a:lnTo>
                    <a:pt x="53793" y="46861"/>
                  </a:lnTo>
                  <a:lnTo>
                    <a:pt x="53793" y="46861"/>
                  </a:lnTo>
                  <a:lnTo>
                    <a:pt x="51724" y="46861"/>
                  </a:lnTo>
                  <a:lnTo>
                    <a:pt x="51724" y="47737"/>
                  </a:lnTo>
                  <a:lnTo>
                    <a:pt x="51724" y="48613"/>
                  </a:lnTo>
                  <a:lnTo>
                    <a:pt x="53793" y="48613"/>
                  </a:lnTo>
                  <a:lnTo>
                    <a:pt x="55172" y="49927"/>
                  </a:lnTo>
                  <a:lnTo>
                    <a:pt x="55172" y="49927"/>
                  </a:lnTo>
                  <a:lnTo>
                    <a:pt x="55172" y="49927"/>
                  </a:lnTo>
                  <a:lnTo>
                    <a:pt x="55172" y="48613"/>
                  </a:lnTo>
                  <a:lnTo>
                    <a:pt x="55172" y="47737"/>
                  </a:lnTo>
                  <a:lnTo>
                    <a:pt x="55172" y="47737"/>
                  </a:lnTo>
                  <a:lnTo>
                    <a:pt x="53793" y="46861"/>
                  </a:lnTo>
                  <a:close/>
                  <a:moveTo>
                    <a:pt x="79310" y="46861"/>
                  </a:moveTo>
                  <a:lnTo>
                    <a:pt x="81379" y="46861"/>
                  </a:lnTo>
                  <a:lnTo>
                    <a:pt x="82758" y="46861"/>
                  </a:lnTo>
                  <a:lnTo>
                    <a:pt x="82758" y="46861"/>
                  </a:lnTo>
                  <a:lnTo>
                    <a:pt x="82758" y="46861"/>
                  </a:lnTo>
                  <a:lnTo>
                    <a:pt x="84137" y="45547"/>
                  </a:lnTo>
                  <a:lnTo>
                    <a:pt x="84137" y="45547"/>
                  </a:lnTo>
                  <a:lnTo>
                    <a:pt x="84137" y="44671"/>
                  </a:lnTo>
                  <a:lnTo>
                    <a:pt x="84137" y="43357"/>
                  </a:lnTo>
                  <a:lnTo>
                    <a:pt x="82758" y="43357"/>
                  </a:lnTo>
                  <a:lnTo>
                    <a:pt x="82758" y="43357"/>
                  </a:lnTo>
                  <a:lnTo>
                    <a:pt x="81379" y="41605"/>
                  </a:lnTo>
                  <a:lnTo>
                    <a:pt x="81379" y="42481"/>
                  </a:lnTo>
                  <a:lnTo>
                    <a:pt x="81379" y="42481"/>
                  </a:lnTo>
                  <a:lnTo>
                    <a:pt x="79310" y="42481"/>
                  </a:lnTo>
                  <a:lnTo>
                    <a:pt x="81379" y="44671"/>
                  </a:lnTo>
                  <a:lnTo>
                    <a:pt x="79310" y="45547"/>
                  </a:lnTo>
                  <a:lnTo>
                    <a:pt x="79310" y="46861"/>
                  </a:lnTo>
                  <a:close/>
                  <a:moveTo>
                    <a:pt x="51724" y="40291"/>
                  </a:moveTo>
                  <a:lnTo>
                    <a:pt x="51724" y="40291"/>
                  </a:lnTo>
                  <a:lnTo>
                    <a:pt x="51724" y="41605"/>
                  </a:lnTo>
                  <a:lnTo>
                    <a:pt x="55172" y="42481"/>
                  </a:lnTo>
                  <a:lnTo>
                    <a:pt x="55172" y="42481"/>
                  </a:lnTo>
                  <a:lnTo>
                    <a:pt x="51724" y="40291"/>
                  </a:lnTo>
                  <a:lnTo>
                    <a:pt x="51724" y="40291"/>
                  </a:lnTo>
                  <a:close/>
                  <a:moveTo>
                    <a:pt x="21379" y="24087"/>
                  </a:moveTo>
                  <a:lnTo>
                    <a:pt x="21379" y="24963"/>
                  </a:lnTo>
                  <a:lnTo>
                    <a:pt x="22758" y="24963"/>
                  </a:lnTo>
                  <a:lnTo>
                    <a:pt x="22758" y="24963"/>
                  </a:lnTo>
                  <a:lnTo>
                    <a:pt x="22758" y="25839"/>
                  </a:lnTo>
                  <a:lnTo>
                    <a:pt x="24137" y="28905"/>
                  </a:lnTo>
                  <a:lnTo>
                    <a:pt x="24137" y="30218"/>
                  </a:lnTo>
                  <a:lnTo>
                    <a:pt x="26206" y="31094"/>
                  </a:lnTo>
                  <a:lnTo>
                    <a:pt x="26206" y="31970"/>
                  </a:lnTo>
                  <a:lnTo>
                    <a:pt x="26206" y="33284"/>
                  </a:lnTo>
                  <a:lnTo>
                    <a:pt x="27586" y="34160"/>
                  </a:lnTo>
                  <a:lnTo>
                    <a:pt x="27586" y="35474"/>
                  </a:lnTo>
                  <a:lnTo>
                    <a:pt x="28965" y="35474"/>
                  </a:lnTo>
                  <a:lnTo>
                    <a:pt x="28965" y="35474"/>
                  </a:lnTo>
                  <a:lnTo>
                    <a:pt x="31034" y="36350"/>
                  </a:lnTo>
                  <a:lnTo>
                    <a:pt x="31034" y="37226"/>
                  </a:lnTo>
                  <a:lnTo>
                    <a:pt x="32413" y="38540"/>
                  </a:lnTo>
                  <a:lnTo>
                    <a:pt x="32413" y="38540"/>
                  </a:lnTo>
                  <a:lnTo>
                    <a:pt x="33793" y="38540"/>
                  </a:lnTo>
                  <a:lnTo>
                    <a:pt x="33793" y="38540"/>
                  </a:lnTo>
                  <a:lnTo>
                    <a:pt x="33793" y="38540"/>
                  </a:lnTo>
                  <a:lnTo>
                    <a:pt x="33793" y="37226"/>
                  </a:lnTo>
                  <a:lnTo>
                    <a:pt x="33793" y="35474"/>
                  </a:lnTo>
                  <a:lnTo>
                    <a:pt x="33793" y="34160"/>
                  </a:lnTo>
                  <a:lnTo>
                    <a:pt x="33793" y="35474"/>
                  </a:lnTo>
                  <a:lnTo>
                    <a:pt x="35862" y="35474"/>
                  </a:lnTo>
                  <a:lnTo>
                    <a:pt x="37241" y="35474"/>
                  </a:lnTo>
                  <a:lnTo>
                    <a:pt x="37241" y="36350"/>
                  </a:lnTo>
                  <a:lnTo>
                    <a:pt x="38620" y="36350"/>
                  </a:lnTo>
                  <a:lnTo>
                    <a:pt x="38620" y="37226"/>
                  </a:lnTo>
                  <a:lnTo>
                    <a:pt x="38620" y="38540"/>
                  </a:lnTo>
                  <a:lnTo>
                    <a:pt x="35862" y="39416"/>
                  </a:lnTo>
                  <a:lnTo>
                    <a:pt x="35862" y="40291"/>
                  </a:lnTo>
                  <a:lnTo>
                    <a:pt x="35862" y="40291"/>
                  </a:lnTo>
                  <a:lnTo>
                    <a:pt x="35862" y="42481"/>
                  </a:lnTo>
                  <a:lnTo>
                    <a:pt x="35862" y="44671"/>
                  </a:lnTo>
                  <a:lnTo>
                    <a:pt x="37241" y="43357"/>
                  </a:lnTo>
                  <a:lnTo>
                    <a:pt x="38620" y="43357"/>
                  </a:lnTo>
                  <a:lnTo>
                    <a:pt x="40689" y="44671"/>
                  </a:lnTo>
                  <a:lnTo>
                    <a:pt x="40689" y="44671"/>
                  </a:lnTo>
                  <a:lnTo>
                    <a:pt x="42068" y="45547"/>
                  </a:lnTo>
                  <a:lnTo>
                    <a:pt x="44137" y="45547"/>
                  </a:lnTo>
                  <a:lnTo>
                    <a:pt x="45517" y="45547"/>
                  </a:lnTo>
                  <a:lnTo>
                    <a:pt x="46896" y="45547"/>
                  </a:lnTo>
                  <a:lnTo>
                    <a:pt x="46896" y="44671"/>
                  </a:lnTo>
                  <a:lnTo>
                    <a:pt x="46896" y="43357"/>
                  </a:lnTo>
                  <a:lnTo>
                    <a:pt x="48965" y="43357"/>
                  </a:lnTo>
                  <a:lnTo>
                    <a:pt x="48965" y="43357"/>
                  </a:lnTo>
                  <a:lnTo>
                    <a:pt x="50344" y="43357"/>
                  </a:lnTo>
                  <a:lnTo>
                    <a:pt x="50344" y="43357"/>
                  </a:lnTo>
                  <a:lnTo>
                    <a:pt x="55172" y="44671"/>
                  </a:lnTo>
                  <a:lnTo>
                    <a:pt x="56551" y="45547"/>
                  </a:lnTo>
                  <a:lnTo>
                    <a:pt x="58620" y="46861"/>
                  </a:lnTo>
                  <a:lnTo>
                    <a:pt x="58620" y="47737"/>
                  </a:lnTo>
                  <a:lnTo>
                    <a:pt x="60000" y="48613"/>
                  </a:lnTo>
                  <a:lnTo>
                    <a:pt x="61379" y="48613"/>
                  </a:lnTo>
                  <a:lnTo>
                    <a:pt x="61379" y="49927"/>
                  </a:lnTo>
                  <a:lnTo>
                    <a:pt x="61379" y="49927"/>
                  </a:lnTo>
                  <a:lnTo>
                    <a:pt x="63448" y="49927"/>
                  </a:lnTo>
                  <a:lnTo>
                    <a:pt x="63448" y="47737"/>
                  </a:lnTo>
                  <a:lnTo>
                    <a:pt x="61379" y="46861"/>
                  </a:lnTo>
                  <a:lnTo>
                    <a:pt x="61379" y="46861"/>
                  </a:lnTo>
                  <a:lnTo>
                    <a:pt x="60000" y="45547"/>
                  </a:lnTo>
                  <a:lnTo>
                    <a:pt x="60000" y="45547"/>
                  </a:lnTo>
                  <a:lnTo>
                    <a:pt x="60000" y="44671"/>
                  </a:lnTo>
                  <a:lnTo>
                    <a:pt x="60000" y="44671"/>
                  </a:lnTo>
                  <a:lnTo>
                    <a:pt x="60000" y="43357"/>
                  </a:lnTo>
                  <a:lnTo>
                    <a:pt x="60000" y="43357"/>
                  </a:lnTo>
                  <a:lnTo>
                    <a:pt x="60000" y="43357"/>
                  </a:lnTo>
                  <a:lnTo>
                    <a:pt x="61379" y="43357"/>
                  </a:lnTo>
                  <a:lnTo>
                    <a:pt x="63448" y="44671"/>
                  </a:lnTo>
                  <a:lnTo>
                    <a:pt x="64827" y="45547"/>
                  </a:lnTo>
                  <a:lnTo>
                    <a:pt x="64827" y="46861"/>
                  </a:lnTo>
                  <a:lnTo>
                    <a:pt x="68275" y="47737"/>
                  </a:lnTo>
                  <a:lnTo>
                    <a:pt x="69655" y="47737"/>
                  </a:lnTo>
                  <a:lnTo>
                    <a:pt x="69655" y="48613"/>
                  </a:lnTo>
                  <a:lnTo>
                    <a:pt x="71724" y="49927"/>
                  </a:lnTo>
                  <a:lnTo>
                    <a:pt x="71724" y="50802"/>
                  </a:lnTo>
                  <a:lnTo>
                    <a:pt x="71724" y="51678"/>
                  </a:lnTo>
                  <a:lnTo>
                    <a:pt x="73103" y="51678"/>
                  </a:lnTo>
                  <a:lnTo>
                    <a:pt x="76551" y="52992"/>
                  </a:lnTo>
                  <a:lnTo>
                    <a:pt x="76551" y="52992"/>
                  </a:lnTo>
                  <a:lnTo>
                    <a:pt x="77931" y="52992"/>
                  </a:lnTo>
                  <a:lnTo>
                    <a:pt x="77931" y="52992"/>
                  </a:lnTo>
                  <a:lnTo>
                    <a:pt x="79310" y="51678"/>
                  </a:lnTo>
                  <a:lnTo>
                    <a:pt x="79310" y="52992"/>
                  </a:lnTo>
                  <a:lnTo>
                    <a:pt x="79310" y="53868"/>
                  </a:lnTo>
                  <a:lnTo>
                    <a:pt x="79310" y="54744"/>
                  </a:lnTo>
                  <a:lnTo>
                    <a:pt x="81379" y="56058"/>
                  </a:lnTo>
                  <a:lnTo>
                    <a:pt x="81379" y="56058"/>
                  </a:lnTo>
                  <a:lnTo>
                    <a:pt x="82758" y="53868"/>
                  </a:lnTo>
                  <a:lnTo>
                    <a:pt x="82758" y="51678"/>
                  </a:lnTo>
                  <a:lnTo>
                    <a:pt x="81379" y="51678"/>
                  </a:lnTo>
                  <a:lnTo>
                    <a:pt x="81379" y="51678"/>
                  </a:lnTo>
                  <a:lnTo>
                    <a:pt x="79310" y="50802"/>
                  </a:lnTo>
                  <a:lnTo>
                    <a:pt x="77931" y="50802"/>
                  </a:lnTo>
                  <a:lnTo>
                    <a:pt x="77931" y="50802"/>
                  </a:lnTo>
                  <a:lnTo>
                    <a:pt x="77931" y="49927"/>
                  </a:lnTo>
                  <a:lnTo>
                    <a:pt x="77931" y="49927"/>
                  </a:lnTo>
                  <a:lnTo>
                    <a:pt x="76551" y="48613"/>
                  </a:lnTo>
                  <a:lnTo>
                    <a:pt x="76551" y="47737"/>
                  </a:lnTo>
                  <a:lnTo>
                    <a:pt x="74482" y="46861"/>
                  </a:lnTo>
                  <a:lnTo>
                    <a:pt x="73103" y="45547"/>
                  </a:lnTo>
                  <a:lnTo>
                    <a:pt x="74482" y="45547"/>
                  </a:lnTo>
                  <a:lnTo>
                    <a:pt x="76551" y="45547"/>
                  </a:lnTo>
                  <a:lnTo>
                    <a:pt x="77931" y="44671"/>
                  </a:lnTo>
                  <a:lnTo>
                    <a:pt x="76551" y="43357"/>
                  </a:lnTo>
                  <a:lnTo>
                    <a:pt x="74482" y="43357"/>
                  </a:lnTo>
                  <a:lnTo>
                    <a:pt x="74482" y="43357"/>
                  </a:lnTo>
                  <a:lnTo>
                    <a:pt x="74482" y="43357"/>
                  </a:lnTo>
                  <a:lnTo>
                    <a:pt x="71724" y="42481"/>
                  </a:lnTo>
                  <a:lnTo>
                    <a:pt x="71724" y="42481"/>
                  </a:lnTo>
                  <a:lnTo>
                    <a:pt x="69655" y="41605"/>
                  </a:lnTo>
                  <a:lnTo>
                    <a:pt x="69655" y="42481"/>
                  </a:lnTo>
                  <a:lnTo>
                    <a:pt x="69655" y="42481"/>
                  </a:lnTo>
                  <a:lnTo>
                    <a:pt x="69655" y="43357"/>
                  </a:lnTo>
                  <a:lnTo>
                    <a:pt x="69655" y="43357"/>
                  </a:lnTo>
                  <a:lnTo>
                    <a:pt x="69655" y="44671"/>
                  </a:lnTo>
                  <a:lnTo>
                    <a:pt x="68275" y="44671"/>
                  </a:lnTo>
                  <a:lnTo>
                    <a:pt x="66896" y="44671"/>
                  </a:lnTo>
                  <a:lnTo>
                    <a:pt x="66896" y="43357"/>
                  </a:lnTo>
                  <a:lnTo>
                    <a:pt x="66896" y="43357"/>
                  </a:lnTo>
                  <a:lnTo>
                    <a:pt x="66896" y="42481"/>
                  </a:lnTo>
                  <a:lnTo>
                    <a:pt x="66896" y="41605"/>
                  </a:lnTo>
                  <a:lnTo>
                    <a:pt x="64827" y="40291"/>
                  </a:lnTo>
                  <a:lnTo>
                    <a:pt x="63448" y="40291"/>
                  </a:lnTo>
                  <a:lnTo>
                    <a:pt x="61379" y="39416"/>
                  </a:lnTo>
                  <a:lnTo>
                    <a:pt x="60000" y="39416"/>
                  </a:lnTo>
                  <a:lnTo>
                    <a:pt x="58620" y="39416"/>
                  </a:lnTo>
                  <a:lnTo>
                    <a:pt x="56551" y="40291"/>
                  </a:lnTo>
                  <a:lnTo>
                    <a:pt x="56551" y="40291"/>
                  </a:lnTo>
                  <a:lnTo>
                    <a:pt x="55172" y="40291"/>
                  </a:lnTo>
                  <a:lnTo>
                    <a:pt x="55172" y="41605"/>
                  </a:lnTo>
                  <a:lnTo>
                    <a:pt x="55172" y="41605"/>
                  </a:lnTo>
                  <a:lnTo>
                    <a:pt x="56551" y="42481"/>
                  </a:lnTo>
                  <a:lnTo>
                    <a:pt x="56551" y="42481"/>
                  </a:lnTo>
                  <a:lnTo>
                    <a:pt x="56551" y="42481"/>
                  </a:lnTo>
                  <a:lnTo>
                    <a:pt x="56551" y="43357"/>
                  </a:lnTo>
                  <a:lnTo>
                    <a:pt x="55172" y="43357"/>
                  </a:lnTo>
                  <a:lnTo>
                    <a:pt x="53793" y="43357"/>
                  </a:lnTo>
                  <a:lnTo>
                    <a:pt x="51724" y="42481"/>
                  </a:lnTo>
                  <a:lnTo>
                    <a:pt x="51724" y="41605"/>
                  </a:lnTo>
                  <a:lnTo>
                    <a:pt x="50344" y="41605"/>
                  </a:lnTo>
                  <a:lnTo>
                    <a:pt x="50344" y="41605"/>
                  </a:lnTo>
                  <a:lnTo>
                    <a:pt x="50344" y="40291"/>
                  </a:lnTo>
                  <a:lnTo>
                    <a:pt x="46896" y="38540"/>
                  </a:lnTo>
                  <a:lnTo>
                    <a:pt x="46896" y="37226"/>
                  </a:lnTo>
                  <a:lnTo>
                    <a:pt x="46896" y="36350"/>
                  </a:lnTo>
                  <a:lnTo>
                    <a:pt x="48965" y="35474"/>
                  </a:lnTo>
                  <a:lnTo>
                    <a:pt x="46896" y="35474"/>
                  </a:lnTo>
                  <a:lnTo>
                    <a:pt x="46896" y="35474"/>
                  </a:lnTo>
                  <a:lnTo>
                    <a:pt x="45517" y="33284"/>
                  </a:lnTo>
                  <a:lnTo>
                    <a:pt x="44137" y="31094"/>
                  </a:lnTo>
                  <a:lnTo>
                    <a:pt x="44137" y="31094"/>
                  </a:lnTo>
                  <a:lnTo>
                    <a:pt x="44137" y="30218"/>
                  </a:lnTo>
                  <a:lnTo>
                    <a:pt x="44137" y="30218"/>
                  </a:lnTo>
                  <a:lnTo>
                    <a:pt x="44137" y="28905"/>
                  </a:lnTo>
                  <a:lnTo>
                    <a:pt x="44137" y="28905"/>
                  </a:lnTo>
                  <a:lnTo>
                    <a:pt x="45517" y="28029"/>
                  </a:lnTo>
                  <a:lnTo>
                    <a:pt x="45517" y="27153"/>
                  </a:lnTo>
                  <a:lnTo>
                    <a:pt x="45517" y="27153"/>
                  </a:lnTo>
                  <a:lnTo>
                    <a:pt x="44137" y="25839"/>
                  </a:lnTo>
                  <a:lnTo>
                    <a:pt x="44137" y="25839"/>
                  </a:lnTo>
                  <a:lnTo>
                    <a:pt x="44137" y="24963"/>
                  </a:lnTo>
                  <a:lnTo>
                    <a:pt x="45517" y="24087"/>
                  </a:lnTo>
                  <a:lnTo>
                    <a:pt x="46896" y="22773"/>
                  </a:lnTo>
                  <a:lnTo>
                    <a:pt x="48965" y="22773"/>
                  </a:lnTo>
                  <a:lnTo>
                    <a:pt x="50344" y="22773"/>
                  </a:lnTo>
                  <a:lnTo>
                    <a:pt x="51724" y="20583"/>
                  </a:lnTo>
                  <a:lnTo>
                    <a:pt x="51724" y="19708"/>
                  </a:lnTo>
                  <a:lnTo>
                    <a:pt x="53793" y="16642"/>
                  </a:lnTo>
                  <a:lnTo>
                    <a:pt x="53793" y="14452"/>
                  </a:lnTo>
                  <a:lnTo>
                    <a:pt x="53793" y="14452"/>
                  </a:lnTo>
                  <a:lnTo>
                    <a:pt x="53793" y="13576"/>
                  </a:lnTo>
                  <a:lnTo>
                    <a:pt x="53793" y="13576"/>
                  </a:lnTo>
                  <a:lnTo>
                    <a:pt x="51724" y="13576"/>
                  </a:lnTo>
                  <a:lnTo>
                    <a:pt x="51724" y="12700"/>
                  </a:lnTo>
                  <a:lnTo>
                    <a:pt x="51724" y="12700"/>
                  </a:lnTo>
                  <a:lnTo>
                    <a:pt x="50344" y="11386"/>
                  </a:lnTo>
                  <a:lnTo>
                    <a:pt x="50344" y="11386"/>
                  </a:lnTo>
                  <a:lnTo>
                    <a:pt x="48965" y="10510"/>
                  </a:lnTo>
                  <a:lnTo>
                    <a:pt x="48965" y="9197"/>
                  </a:lnTo>
                  <a:lnTo>
                    <a:pt x="46896" y="8321"/>
                  </a:lnTo>
                  <a:lnTo>
                    <a:pt x="46896" y="7445"/>
                  </a:lnTo>
                  <a:lnTo>
                    <a:pt x="46896" y="5255"/>
                  </a:lnTo>
                  <a:lnTo>
                    <a:pt x="46896" y="4379"/>
                  </a:lnTo>
                  <a:lnTo>
                    <a:pt x="48965" y="3065"/>
                  </a:lnTo>
                  <a:lnTo>
                    <a:pt x="48965" y="2189"/>
                  </a:lnTo>
                  <a:lnTo>
                    <a:pt x="46896" y="2189"/>
                  </a:lnTo>
                  <a:lnTo>
                    <a:pt x="46896" y="1313"/>
                  </a:lnTo>
                  <a:lnTo>
                    <a:pt x="46896" y="1313"/>
                  </a:lnTo>
                  <a:lnTo>
                    <a:pt x="45517" y="1313"/>
                  </a:lnTo>
                  <a:lnTo>
                    <a:pt x="45517" y="2189"/>
                  </a:lnTo>
                  <a:lnTo>
                    <a:pt x="45517" y="2189"/>
                  </a:lnTo>
                  <a:lnTo>
                    <a:pt x="44137" y="3065"/>
                  </a:lnTo>
                  <a:lnTo>
                    <a:pt x="42068" y="3065"/>
                  </a:lnTo>
                  <a:lnTo>
                    <a:pt x="40689" y="2189"/>
                  </a:lnTo>
                  <a:lnTo>
                    <a:pt x="38620" y="2189"/>
                  </a:lnTo>
                  <a:lnTo>
                    <a:pt x="33793" y="0"/>
                  </a:lnTo>
                  <a:lnTo>
                    <a:pt x="32413" y="0"/>
                  </a:lnTo>
                  <a:lnTo>
                    <a:pt x="31034" y="0"/>
                  </a:lnTo>
                  <a:lnTo>
                    <a:pt x="31034" y="0"/>
                  </a:lnTo>
                  <a:lnTo>
                    <a:pt x="28965" y="0"/>
                  </a:lnTo>
                  <a:lnTo>
                    <a:pt x="28965" y="0"/>
                  </a:lnTo>
                  <a:lnTo>
                    <a:pt x="27586" y="0"/>
                  </a:lnTo>
                  <a:lnTo>
                    <a:pt x="26206" y="1313"/>
                  </a:lnTo>
                  <a:lnTo>
                    <a:pt x="26206" y="2189"/>
                  </a:lnTo>
                  <a:lnTo>
                    <a:pt x="26206" y="3065"/>
                  </a:lnTo>
                  <a:lnTo>
                    <a:pt x="26206" y="4379"/>
                  </a:lnTo>
                  <a:lnTo>
                    <a:pt x="24137" y="9197"/>
                  </a:lnTo>
                  <a:lnTo>
                    <a:pt x="26206" y="9197"/>
                  </a:lnTo>
                  <a:lnTo>
                    <a:pt x="26206" y="10510"/>
                  </a:lnTo>
                  <a:lnTo>
                    <a:pt x="26206" y="11386"/>
                  </a:lnTo>
                  <a:lnTo>
                    <a:pt x="26206" y="12700"/>
                  </a:lnTo>
                  <a:lnTo>
                    <a:pt x="27586" y="13576"/>
                  </a:lnTo>
                  <a:lnTo>
                    <a:pt x="27586" y="15766"/>
                  </a:lnTo>
                  <a:lnTo>
                    <a:pt x="26206" y="16642"/>
                  </a:lnTo>
                  <a:lnTo>
                    <a:pt x="26206" y="17518"/>
                  </a:lnTo>
                  <a:lnTo>
                    <a:pt x="27586" y="18832"/>
                  </a:lnTo>
                  <a:lnTo>
                    <a:pt x="27586" y="20583"/>
                  </a:lnTo>
                  <a:lnTo>
                    <a:pt x="28965" y="21897"/>
                  </a:lnTo>
                  <a:lnTo>
                    <a:pt x="28965" y="22773"/>
                  </a:lnTo>
                  <a:lnTo>
                    <a:pt x="28965" y="22773"/>
                  </a:lnTo>
                  <a:lnTo>
                    <a:pt x="27586" y="24087"/>
                  </a:lnTo>
                  <a:lnTo>
                    <a:pt x="27586" y="24087"/>
                  </a:lnTo>
                  <a:lnTo>
                    <a:pt x="26206" y="24087"/>
                  </a:lnTo>
                  <a:lnTo>
                    <a:pt x="26206" y="24087"/>
                  </a:lnTo>
                  <a:lnTo>
                    <a:pt x="24137" y="22773"/>
                  </a:lnTo>
                  <a:lnTo>
                    <a:pt x="22758" y="21897"/>
                  </a:lnTo>
                  <a:lnTo>
                    <a:pt x="22758" y="21897"/>
                  </a:lnTo>
                  <a:lnTo>
                    <a:pt x="22758" y="21897"/>
                  </a:lnTo>
                  <a:lnTo>
                    <a:pt x="21379" y="20583"/>
                  </a:lnTo>
                  <a:lnTo>
                    <a:pt x="21379" y="20583"/>
                  </a:lnTo>
                  <a:lnTo>
                    <a:pt x="21379" y="21897"/>
                  </a:lnTo>
                  <a:lnTo>
                    <a:pt x="21379" y="24087"/>
                  </a:lnTo>
                  <a:lnTo>
                    <a:pt x="21379" y="24087"/>
                  </a:lnTo>
                  <a:close/>
                </a:path>
              </a:pathLst>
            </a:custGeom>
            <a:solidFill>
              <a:schemeClr val="lt2"/>
            </a:solidFill>
            <a:ln>
              <a:noFill/>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04" name="Shape 404"/>
            <p:cNvSpPr/>
            <p:nvPr/>
          </p:nvSpPr>
          <p:spPr>
            <a:xfrm>
              <a:off x="5826" y="2415"/>
              <a:ext cx="300" cy="300"/>
            </a:xfrm>
            <a:custGeom>
              <a:avLst/>
              <a:gdLst/>
              <a:ahLst/>
              <a:cxnLst/>
              <a:rect l="0" t="0" r="0" b="0"/>
              <a:pathLst>
                <a:path w="120000" h="120000" extrusionOk="0">
                  <a:moveTo>
                    <a:pt x="63448" y="112992"/>
                  </a:moveTo>
                  <a:lnTo>
                    <a:pt x="64827" y="112116"/>
                  </a:lnTo>
                  <a:lnTo>
                    <a:pt x="64827" y="110802"/>
                  </a:lnTo>
                  <a:lnTo>
                    <a:pt x="66896" y="110802"/>
                  </a:lnTo>
                  <a:lnTo>
                    <a:pt x="66896" y="110802"/>
                  </a:lnTo>
                  <a:lnTo>
                    <a:pt x="63448" y="109927"/>
                  </a:lnTo>
                  <a:lnTo>
                    <a:pt x="61379" y="109927"/>
                  </a:lnTo>
                  <a:lnTo>
                    <a:pt x="60000" y="110802"/>
                  </a:lnTo>
                  <a:lnTo>
                    <a:pt x="60000" y="110802"/>
                  </a:lnTo>
                  <a:lnTo>
                    <a:pt x="60000" y="110802"/>
                  </a:lnTo>
                  <a:moveTo>
                    <a:pt x="120000" y="102481"/>
                  </a:moveTo>
                  <a:lnTo>
                    <a:pt x="120000" y="100729"/>
                  </a:lnTo>
                  <a:lnTo>
                    <a:pt x="120000" y="100729"/>
                  </a:lnTo>
                  <a:lnTo>
                    <a:pt x="118620" y="100729"/>
                  </a:lnTo>
                  <a:lnTo>
                    <a:pt x="118620" y="99416"/>
                  </a:lnTo>
                  <a:lnTo>
                    <a:pt x="118620" y="98540"/>
                  </a:lnTo>
                  <a:lnTo>
                    <a:pt x="118620" y="96350"/>
                  </a:lnTo>
                  <a:lnTo>
                    <a:pt x="118620" y="96350"/>
                  </a:lnTo>
                  <a:lnTo>
                    <a:pt x="117241" y="95474"/>
                  </a:lnTo>
                  <a:lnTo>
                    <a:pt x="117241" y="93284"/>
                  </a:lnTo>
                  <a:lnTo>
                    <a:pt x="115172" y="93284"/>
                  </a:lnTo>
                  <a:lnTo>
                    <a:pt x="113793" y="93284"/>
                  </a:lnTo>
                  <a:lnTo>
                    <a:pt x="113793" y="92408"/>
                  </a:lnTo>
                  <a:lnTo>
                    <a:pt x="113793" y="92408"/>
                  </a:lnTo>
                  <a:lnTo>
                    <a:pt x="113793" y="91094"/>
                  </a:lnTo>
                  <a:lnTo>
                    <a:pt x="115172" y="91094"/>
                  </a:lnTo>
                  <a:lnTo>
                    <a:pt x="115172" y="90218"/>
                  </a:lnTo>
                  <a:lnTo>
                    <a:pt x="115172" y="89343"/>
                  </a:lnTo>
                  <a:lnTo>
                    <a:pt x="113793" y="88029"/>
                  </a:lnTo>
                  <a:lnTo>
                    <a:pt x="113793" y="88029"/>
                  </a:lnTo>
                  <a:lnTo>
                    <a:pt x="113793" y="85839"/>
                  </a:lnTo>
                  <a:lnTo>
                    <a:pt x="112413" y="85839"/>
                  </a:lnTo>
                  <a:lnTo>
                    <a:pt x="110344" y="85839"/>
                  </a:lnTo>
                  <a:lnTo>
                    <a:pt x="110344" y="84963"/>
                  </a:lnTo>
                  <a:lnTo>
                    <a:pt x="108965" y="84087"/>
                  </a:lnTo>
                  <a:lnTo>
                    <a:pt x="105517" y="82773"/>
                  </a:lnTo>
                  <a:lnTo>
                    <a:pt x="104137" y="81897"/>
                  </a:lnTo>
                  <a:lnTo>
                    <a:pt x="104137" y="81897"/>
                  </a:lnTo>
                  <a:lnTo>
                    <a:pt x="102068" y="82773"/>
                  </a:lnTo>
                  <a:lnTo>
                    <a:pt x="104137" y="85839"/>
                  </a:lnTo>
                  <a:lnTo>
                    <a:pt x="105517" y="87153"/>
                  </a:lnTo>
                  <a:lnTo>
                    <a:pt x="105517" y="89343"/>
                  </a:lnTo>
                  <a:lnTo>
                    <a:pt x="104137" y="89343"/>
                  </a:lnTo>
                  <a:lnTo>
                    <a:pt x="102068" y="88029"/>
                  </a:lnTo>
                  <a:lnTo>
                    <a:pt x="100689" y="88029"/>
                  </a:lnTo>
                  <a:lnTo>
                    <a:pt x="100689" y="89343"/>
                  </a:lnTo>
                  <a:lnTo>
                    <a:pt x="100689" y="90218"/>
                  </a:lnTo>
                  <a:lnTo>
                    <a:pt x="99310" y="90218"/>
                  </a:lnTo>
                  <a:lnTo>
                    <a:pt x="97241" y="89343"/>
                  </a:lnTo>
                  <a:lnTo>
                    <a:pt x="97241" y="89343"/>
                  </a:lnTo>
                  <a:lnTo>
                    <a:pt x="95862" y="89343"/>
                  </a:lnTo>
                  <a:lnTo>
                    <a:pt x="95862" y="90218"/>
                  </a:lnTo>
                  <a:lnTo>
                    <a:pt x="95862" y="91094"/>
                  </a:lnTo>
                  <a:lnTo>
                    <a:pt x="95862" y="93284"/>
                  </a:lnTo>
                  <a:lnTo>
                    <a:pt x="94482" y="93284"/>
                  </a:lnTo>
                  <a:lnTo>
                    <a:pt x="92413" y="92408"/>
                  </a:lnTo>
                  <a:lnTo>
                    <a:pt x="91034" y="92408"/>
                  </a:lnTo>
                  <a:lnTo>
                    <a:pt x="91034" y="93284"/>
                  </a:lnTo>
                  <a:lnTo>
                    <a:pt x="91034" y="93284"/>
                  </a:lnTo>
                  <a:lnTo>
                    <a:pt x="89655" y="94160"/>
                  </a:lnTo>
                  <a:lnTo>
                    <a:pt x="89655" y="95474"/>
                  </a:lnTo>
                  <a:lnTo>
                    <a:pt x="89655" y="96350"/>
                  </a:lnTo>
                  <a:lnTo>
                    <a:pt x="89655" y="96350"/>
                  </a:lnTo>
                  <a:lnTo>
                    <a:pt x="86206" y="96350"/>
                  </a:lnTo>
                  <a:lnTo>
                    <a:pt x="86206" y="96350"/>
                  </a:lnTo>
                  <a:lnTo>
                    <a:pt x="84137" y="97226"/>
                  </a:lnTo>
                  <a:lnTo>
                    <a:pt x="82758" y="97226"/>
                  </a:lnTo>
                  <a:lnTo>
                    <a:pt x="84137" y="96350"/>
                  </a:lnTo>
                  <a:lnTo>
                    <a:pt x="84137" y="96350"/>
                  </a:lnTo>
                  <a:lnTo>
                    <a:pt x="84137" y="94160"/>
                  </a:lnTo>
                  <a:lnTo>
                    <a:pt x="84137" y="94160"/>
                  </a:lnTo>
                  <a:lnTo>
                    <a:pt x="82758" y="93284"/>
                  </a:lnTo>
                  <a:lnTo>
                    <a:pt x="82758" y="92408"/>
                  </a:lnTo>
                  <a:lnTo>
                    <a:pt x="81379" y="92408"/>
                  </a:lnTo>
                  <a:lnTo>
                    <a:pt x="79310" y="92408"/>
                  </a:lnTo>
                  <a:lnTo>
                    <a:pt x="79310" y="91094"/>
                  </a:lnTo>
                  <a:lnTo>
                    <a:pt x="77931" y="92408"/>
                  </a:lnTo>
                  <a:lnTo>
                    <a:pt x="77931" y="93284"/>
                  </a:lnTo>
                  <a:lnTo>
                    <a:pt x="77931" y="93284"/>
                  </a:lnTo>
                  <a:lnTo>
                    <a:pt x="74482" y="93284"/>
                  </a:lnTo>
                  <a:lnTo>
                    <a:pt x="74482" y="93284"/>
                  </a:lnTo>
                  <a:lnTo>
                    <a:pt x="74482" y="94160"/>
                  </a:lnTo>
                  <a:lnTo>
                    <a:pt x="73103" y="94160"/>
                  </a:lnTo>
                  <a:lnTo>
                    <a:pt x="73103" y="94160"/>
                  </a:lnTo>
                  <a:lnTo>
                    <a:pt x="73103" y="95474"/>
                  </a:lnTo>
                  <a:lnTo>
                    <a:pt x="73103" y="96350"/>
                  </a:lnTo>
                  <a:lnTo>
                    <a:pt x="73103" y="96350"/>
                  </a:lnTo>
                  <a:lnTo>
                    <a:pt x="71724" y="96350"/>
                  </a:lnTo>
                  <a:lnTo>
                    <a:pt x="69655" y="96350"/>
                  </a:lnTo>
                  <a:lnTo>
                    <a:pt x="68275" y="97226"/>
                  </a:lnTo>
                  <a:lnTo>
                    <a:pt x="66896" y="97226"/>
                  </a:lnTo>
                  <a:lnTo>
                    <a:pt x="64827" y="97226"/>
                  </a:lnTo>
                  <a:lnTo>
                    <a:pt x="64827" y="98540"/>
                  </a:lnTo>
                  <a:lnTo>
                    <a:pt x="63448" y="99416"/>
                  </a:lnTo>
                  <a:lnTo>
                    <a:pt x="63448" y="100729"/>
                  </a:lnTo>
                  <a:lnTo>
                    <a:pt x="63448" y="101605"/>
                  </a:lnTo>
                  <a:lnTo>
                    <a:pt x="61379" y="103795"/>
                  </a:lnTo>
                  <a:lnTo>
                    <a:pt x="61379" y="104671"/>
                  </a:lnTo>
                  <a:lnTo>
                    <a:pt x="61379" y="105547"/>
                  </a:lnTo>
                  <a:lnTo>
                    <a:pt x="60000" y="106861"/>
                  </a:lnTo>
                  <a:lnTo>
                    <a:pt x="61379" y="107737"/>
                  </a:lnTo>
                  <a:lnTo>
                    <a:pt x="61379" y="107737"/>
                  </a:lnTo>
                  <a:lnTo>
                    <a:pt x="63448" y="107737"/>
                  </a:lnTo>
                  <a:lnTo>
                    <a:pt x="63448" y="107737"/>
                  </a:lnTo>
                  <a:lnTo>
                    <a:pt x="64827" y="106861"/>
                  </a:lnTo>
                  <a:lnTo>
                    <a:pt x="64827" y="105547"/>
                  </a:lnTo>
                  <a:lnTo>
                    <a:pt x="66896" y="103795"/>
                  </a:lnTo>
                  <a:lnTo>
                    <a:pt x="66896" y="102481"/>
                  </a:lnTo>
                  <a:lnTo>
                    <a:pt x="68275" y="101605"/>
                  </a:lnTo>
                  <a:lnTo>
                    <a:pt x="68275" y="101605"/>
                  </a:lnTo>
                  <a:lnTo>
                    <a:pt x="69655" y="100729"/>
                  </a:lnTo>
                  <a:lnTo>
                    <a:pt x="69655" y="100729"/>
                  </a:lnTo>
                  <a:lnTo>
                    <a:pt x="71724" y="100729"/>
                  </a:lnTo>
                  <a:lnTo>
                    <a:pt x="71724" y="102481"/>
                  </a:lnTo>
                  <a:lnTo>
                    <a:pt x="73103" y="102481"/>
                  </a:lnTo>
                  <a:lnTo>
                    <a:pt x="73103" y="102481"/>
                  </a:lnTo>
                  <a:lnTo>
                    <a:pt x="74482" y="102481"/>
                  </a:lnTo>
                  <a:lnTo>
                    <a:pt x="74482" y="101605"/>
                  </a:lnTo>
                  <a:lnTo>
                    <a:pt x="74482" y="100729"/>
                  </a:lnTo>
                  <a:lnTo>
                    <a:pt x="76551" y="101605"/>
                  </a:lnTo>
                  <a:lnTo>
                    <a:pt x="76551" y="101605"/>
                  </a:lnTo>
                  <a:lnTo>
                    <a:pt x="76551" y="101605"/>
                  </a:lnTo>
                  <a:lnTo>
                    <a:pt x="76551" y="102481"/>
                  </a:lnTo>
                  <a:lnTo>
                    <a:pt x="77931" y="102481"/>
                  </a:lnTo>
                  <a:lnTo>
                    <a:pt x="79310" y="103795"/>
                  </a:lnTo>
                  <a:lnTo>
                    <a:pt x="79310" y="101605"/>
                  </a:lnTo>
                  <a:lnTo>
                    <a:pt x="79310" y="100729"/>
                  </a:lnTo>
                  <a:lnTo>
                    <a:pt x="79310" y="100729"/>
                  </a:lnTo>
                  <a:lnTo>
                    <a:pt x="81379" y="99416"/>
                  </a:lnTo>
                  <a:lnTo>
                    <a:pt x="81379" y="99416"/>
                  </a:lnTo>
                  <a:lnTo>
                    <a:pt x="81379" y="99416"/>
                  </a:lnTo>
                  <a:lnTo>
                    <a:pt x="82758" y="99416"/>
                  </a:lnTo>
                  <a:lnTo>
                    <a:pt x="82758" y="100729"/>
                  </a:lnTo>
                  <a:lnTo>
                    <a:pt x="84137" y="100729"/>
                  </a:lnTo>
                  <a:lnTo>
                    <a:pt x="86206" y="101605"/>
                  </a:lnTo>
                  <a:lnTo>
                    <a:pt x="87586" y="101605"/>
                  </a:lnTo>
                  <a:lnTo>
                    <a:pt x="89655" y="103795"/>
                  </a:lnTo>
                  <a:lnTo>
                    <a:pt x="89655" y="103795"/>
                  </a:lnTo>
                  <a:lnTo>
                    <a:pt x="89655" y="104671"/>
                  </a:lnTo>
                  <a:lnTo>
                    <a:pt x="89655" y="104671"/>
                  </a:lnTo>
                  <a:lnTo>
                    <a:pt x="89655" y="105547"/>
                  </a:lnTo>
                  <a:lnTo>
                    <a:pt x="89655" y="105547"/>
                  </a:lnTo>
                  <a:lnTo>
                    <a:pt x="87586" y="106861"/>
                  </a:lnTo>
                  <a:lnTo>
                    <a:pt x="87586" y="107737"/>
                  </a:lnTo>
                  <a:lnTo>
                    <a:pt x="87586" y="107737"/>
                  </a:lnTo>
                  <a:lnTo>
                    <a:pt x="87586" y="108613"/>
                  </a:lnTo>
                  <a:lnTo>
                    <a:pt x="89655" y="110802"/>
                  </a:lnTo>
                  <a:lnTo>
                    <a:pt x="89655" y="112116"/>
                  </a:lnTo>
                  <a:lnTo>
                    <a:pt x="89655" y="112992"/>
                  </a:lnTo>
                  <a:lnTo>
                    <a:pt x="91034" y="113868"/>
                  </a:lnTo>
                  <a:lnTo>
                    <a:pt x="94482" y="115182"/>
                  </a:lnTo>
                  <a:lnTo>
                    <a:pt x="95862" y="116058"/>
                  </a:lnTo>
                  <a:lnTo>
                    <a:pt x="100689" y="118248"/>
                  </a:lnTo>
                  <a:lnTo>
                    <a:pt x="100689" y="118248"/>
                  </a:lnTo>
                  <a:lnTo>
                    <a:pt x="102068" y="118248"/>
                  </a:lnTo>
                  <a:lnTo>
                    <a:pt x="102068" y="116934"/>
                  </a:lnTo>
                  <a:lnTo>
                    <a:pt x="104137" y="116058"/>
                  </a:lnTo>
                  <a:lnTo>
                    <a:pt x="104137" y="116058"/>
                  </a:lnTo>
                  <a:lnTo>
                    <a:pt x="104137" y="116058"/>
                  </a:lnTo>
                  <a:lnTo>
                    <a:pt x="104137" y="116058"/>
                  </a:lnTo>
                  <a:lnTo>
                    <a:pt x="104137" y="116934"/>
                  </a:lnTo>
                  <a:lnTo>
                    <a:pt x="104137" y="118248"/>
                  </a:lnTo>
                  <a:lnTo>
                    <a:pt x="104137" y="119124"/>
                  </a:lnTo>
                  <a:lnTo>
                    <a:pt x="105517" y="120000"/>
                  </a:lnTo>
                  <a:lnTo>
                    <a:pt x="105517" y="120000"/>
                  </a:lnTo>
                  <a:lnTo>
                    <a:pt x="106896" y="119124"/>
                  </a:lnTo>
                  <a:lnTo>
                    <a:pt x="108965" y="118248"/>
                  </a:lnTo>
                  <a:lnTo>
                    <a:pt x="110344" y="116934"/>
                  </a:lnTo>
                  <a:lnTo>
                    <a:pt x="110344" y="113868"/>
                  </a:lnTo>
                  <a:lnTo>
                    <a:pt x="108965" y="112116"/>
                  </a:lnTo>
                  <a:lnTo>
                    <a:pt x="108965" y="112116"/>
                  </a:lnTo>
                  <a:lnTo>
                    <a:pt x="106896" y="110802"/>
                  </a:lnTo>
                  <a:lnTo>
                    <a:pt x="105517" y="110802"/>
                  </a:lnTo>
                  <a:lnTo>
                    <a:pt x="105517" y="109927"/>
                  </a:lnTo>
                  <a:lnTo>
                    <a:pt x="105517" y="108613"/>
                  </a:lnTo>
                  <a:lnTo>
                    <a:pt x="106896" y="107737"/>
                  </a:lnTo>
                  <a:lnTo>
                    <a:pt x="106896" y="106861"/>
                  </a:lnTo>
                  <a:lnTo>
                    <a:pt x="108965" y="106861"/>
                  </a:lnTo>
                  <a:lnTo>
                    <a:pt x="108965" y="105547"/>
                  </a:lnTo>
                  <a:lnTo>
                    <a:pt x="108965" y="105547"/>
                  </a:lnTo>
                  <a:lnTo>
                    <a:pt x="108965" y="104671"/>
                  </a:lnTo>
                  <a:lnTo>
                    <a:pt x="110344" y="104671"/>
                  </a:lnTo>
                  <a:lnTo>
                    <a:pt x="110344" y="104671"/>
                  </a:lnTo>
                  <a:lnTo>
                    <a:pt x="112413" y="105547"/>
                  </a:lnTo>
                  <a:lnTo>
                    <a:pt x="112413" y="106861"/>
                  </a:lnTo>
                  <a:lnTo>
                    <a:pt x="113793" y="107737"/>
                  </a:lnTo>
                  <a:lnTo>
                    <a:pt x="113793" y="108613"/>
                  </a:lnTo>
                  <a:lnTo>
                    <a:pt x="113793" y="109927"/>
                  </a:lnTo>
                  <a:lnTo>
                    <a:pt x="115172" y="112116"/>
                  </a:lnTo>
                  <a:lnTo>
                    <a:pt x="115172" y="112992"/>
                  </a:lnTo>
                  <a:lnTo>
                    <a:pt x="117241" y="113868"/>
                  </a:lnTo>
                  <a:lnTo>
                    <a:pt x="117241" y="112116"/>
                  </a:lnTo>
                  <a:lnTo>
                    <a:pt x="117241" y="109927"/>
                  </a:lnTo>
                  <a:lnTo>
                    <a:pt x="115172" y="108613"/>
                  </a:lnTo>
                  <a:lnTo>
                    <a:pt x="115172" y="108613"/>
                  </a:lnTo>
                  <a:lnTo>
                    <a:pt x="117241" y="108613"/>
                  </a:lnTo>
                  <a:lnTo>
                    <a:pt x="118620" y="106861"/>
                  </a:lnTo>
                  <a:lnTo>
                    <a:pt x="120000" y="105547"/>
                  </a:lnTo>
                  <a:lnTo>
                    <a:pt x="120000" y="104671"/>
                  </a:lnTo>
                  <a:lnTo>
                    <a:pt x="120000" y="104671"/>
                  </a:lnTo>
                  <a:lnTo>
                    <a:pt x="120000" y="102481"/>
                  </a:lnTo>
                  <a:moveTo>
                    <a:pt x="110344" y="81897"/>
                  </a:moveTo>
                  <a:lnTo>
                    <a:pt x="110344" y="81897"/>
                  </a:lnTo>
                  <a:lnTo>
                    <a:pt x="112413" y="81897"/>
                  </a:lnTo>
                  <a:lnTo>
                    <a:pt x="112413" y="81897"/>
                  </a:lnTo>
                  <a:lnTo>
                    <a:pt x="112413" y="81021"/>
                  </a:lnTo>
                  <a:lnTo>
                    <a:pt x="112413" y="81021"/>
                  </a:lnTo>
                  <a:lnTo>
                    <a:pt x="112413" y="79708"/>
                  </a:lnTo>
                  <a:lnTo>
                    <a:pt x="110344" y="78832"/>
                  </a:lnTo>
                  <a:lnTo>
                    <a:pt x="110344" y="79708"/>
                  </a:lnTo>
                  <a:lnTo>
                    <a:pt x="110344" y="81021"/>
                  </a:lnTo>
                  <a:lnTo>
                    <a:pt x="110344" y="81897"/>
                  </a:lnTo>
                  <a:moveTo>
                    <a:pt x="86206" y="78832"/>
                  </a:moveTo>
                  <a:lnTo>
                    <a:pt x="86206" y="79708"/>
                  </a:lnTo>
                  <a:lnTo>
                    <a:pt x="82758" y="79708"/>
                  </a:lnTo>
                  <a:lnTo>
                    <a:pt x="82758" y="81021"/>
                  </a:lnTo>
                  <a:lnTo>
                    <a:pt x="82758" y="81021"/>
                  </a:lnTo>
                  <a:lnTo>
                    <a:pt x="82758" y="81897"/>
                  </a:lnTo>
                  <a:lnTo>
                    <a:pt x="82758" y="82773"/>
                  </a:lnTo>
                  <a:lnTo>
                    <a:pt x="84137" y="82773"/>
                  </a:lnTo>
                  <a:lnTo>
                    <a:pt x="86206" y="82773"/>
                  </a:lnTo>
                  <a:lnTo>
                    <a:pt x="89655" y="82773"/>
                  </a:lnTo>
                  <a:lnTo>
                    <a:pt x="89655" y="82773"/>
                  </a:lnTo>
                  <a:lnTo>
                    <a:pt x="91034" y="81897"/>
                  </a:lnTo>
                  <a:lnTo>
                    <a:pt x="91034" y="81897"/>
                  </a:lnTo>
                  <a:lnTo>
                    <a:pt x="92413" y="81897"/>
                  </a:lnTo>
                  <a:lnTo>
                    <a:pt x="92413" y="81897"/>
                  </a:lnTo>
                  <a:lnTo>
                    <a:pt x="92413" y="81021"/>
                  </a:lnTo>
                  <a:lnTo>
                    <a:pt x="92413" y="81021"/>
                  </a:lnTo>
                  <a:lnTo>
                    <a:pt x="92413" y="79708"/>
                  </a:lnTo>
                  <a:lnTo>
                    <a:pt x="91034" y="78832"/>
                  </a:lnTo>
                  <a:lnTo>
                    <a:pt x="89655" y="78832"/>
                  </a:lnTo>
                  <a:lnTo>
                    <a:pt x="89655" y="78832"/>
                  </a:lnTo>
                  <a:lnTo>
                    <a:pt x="89655" y="77956"/>
                  </a:lnTo>
                  <a:lnTo>
                    <a:pt x="89655" y="77956"/>
                  </a:lnTo>
                  <a:lnTo>
                    <a:pt x="86206" y="78832"/>
                  </a:lnTo>
                  <a:lnTo>
                    <a:pt x="86206" y="78832"/>
                  </a:lnTo>
                  <a:moveTo>
                    <a:pt x="105517" y="75766"/>
                  </a:moveTo>
                  <a:lnTo>
                    <a:pt x="105517" y="75766"/>
                  </a:lnTo>
                  <a:lnTo>
                    <a:pt x="104137" y="75766"/>
                  </a:lnTo>
                  <a:lnTo>
                    <a:pt x="104137" y="76642"/>
                  </a:lnTo>
                  <a:lnTo>
                    <a:pt x="104137" y="76642"/>
                  </a:lnTo>
                  <a:lnTo>
                    <a:pt x="104137" y="77956"/>
                  </a:lnTo>
                  <a:lnTo>
                    <a:pt x="104137" y="78832"/>
                  </a:lnTo>
                  <a:lnTo>
                    <a:pt x="104137" y="78832"/>
                  </a:lnTo>
                  <a:lnTo>
                    <a:pt x="105517" y="79708"/>
                  </a:lnTo>
                  <a:lnTo>
                    <a:pt x="105517" y="79708"/>
                  </a:lnTo>
                  <a:lnTo>
                    <a:pt x="105517" y="81021"/>
                  </a:lnTo>
                  <a:lnTo>
                    <a:pt x="105517" y="81021"/>
                  </a:lnTo>
                  <a:lnTo>
                    <a:pt x="105517" y="79708"/>
                  </a:lnTo>
                  <a:lnTo>
                    <a:pt x="105517" y="79708"/>
                  </a:lnTo>
                  <a:lnTo>
                    <a:pt x="105517" y="78832"/>
                  </a:lnTo>
                  <a:lnTo>
                    <a:pt x="105517" y="77956"/>
                  </a:lnTo>
                  <a:lnTo>
                    <a:pt x="105517" y="75766"/>
                  </a:lnTo>
                  <a:lnTo>
                    <a:pt x="105517" y="75766"/>
                  </a:lnTo>
                  <a:moveTo>
                    <a:pt x="66896" y="75766"/>
                  </a:moveTo>
                  <a:lnTo>
                    <a:pt x="66896" y="75766"/>
                  </a:lnTo>
                  <a:lnTo>
                    <a:pt x="66896" y="75766"/>
                  </a:lnTo>
                  <a:lnTo>
                    <a:pt x="66896" y="74452"/>
                  </a:lnTo>
                  <a:lnTo>
                    <a:pt x="68275" y="73576"/>
                  </a:lnTo>
                  <a:lnTo>
                    <a:pt x="68275" y="72700"/>
                  </a:lnTo>
                  <a:lnTo>
                    <a:pt x="66896" y="72700"/>
                  </a:lnTo>
                  <a:lnTo>
                    <a:pt x="66896" y="72700"/>
                  </a:lnTo>
                  <a:lnTo>
                    <a:pt x="66896" y="72700"/>
                  </a:lnTo>
                  <a:lnTo>
                    <a:pt x="66896" y="73576"/>
                  </a:lnTo>
                  <a:lnTo>
                    <a:pt x="64827" y="73576"/>
                  </a:lnTo>
                  <a:lnTo>
                    <a:pt x="64827" y="74452"/>
                  </a:lnTo>
                  <a:lnTo>
                    <a:pt x="64827" y="75766"/>
                  </a:lnTo>
                  <a:lnTo>
                    <a:pt x="66896" y="75766"/>
                  </a:lnTo>
                  <a:moveTo>
                    <a:pt x="64827" y="81021"/>
                  </a:moveTo>
                  <a:lnTo>
                    <a:pt x="64827" y="81897"/>
                  </a:lnTo>
                  <a:lnTo>
                    <a:pt x="66896" y="84087"/>
                  </a:lnTo>
                  <a:lnTo>
                    <a:pt x="68275" y="84963"/>
                  </a:lnTo>
                  <a:lnTo>
                    <a:pt x="68275" y="84963"/>
                  </a:lnTo>
                  <a:lnTo>
                    <a:pt x="69655" y="84963"/>
                  </a:lnTo>
                  <a:lnTo>
                    <a:pt x="71724" y="85839"/>
                  </a:lnTo>
                  <a:lnTo>
                    <a:pt x="71724" y="88029"/>
                  </a:lnTo>
                  <a:lnTo>
                    <a:pt x="73103" y="88029"/>
                  </a:lnTo>
                  <a:lnTo>
                    <a:pt x="73103" y="88029"/>
                  </a:lnTo>
                  <a:lnTo>
                    <a:pt x="74482" y="88029"/>
                  </a:lnTo>
                  <a:lnTo>
                    <a:pt x="74482" y="88029"/>
                  </a:lnTo>
                  <a:lnTo>
                    <a:pt x="76551" y="88029"/>
                  </a:lnTo>
                  <a:lnTo>
                    <a:pt x="76551" y="87153"/>
                  </a:lnTo>
                  <a:lnTo>
                    <a:pt x="76551" y="85839"/>
                  </a:lnTo>
                  <a:lnTo>
                    <a:pt x="76551" y="85839"/>
                  </a:lnTo>
                  <a:lnTo>
                    <a:pt x="76551" y="84963"/>
                  </a:lnTo>
                  <a:lnTo>
                    <a:pt x="74482" y="82773"/>
                  </a:lnTo>
                  <a:lnTo>
                    <a:pt x="74482" y="82773"/>
                  </a:lnTo>
                  <a:lnTo>
                    <a:pt x="74482" y="81897"/>
                  </a:lnTo>
                  <a:lnTo>
                    <a:pt x="74482" y="81021"/>
                  </a:lnTo>
                  <a:lnTo>
                    <a:pt x="74482" y="79708"/>
                  </a:lnTo>
                  <a:lnTo>
                    <a:pt x="74482" y="78832"/>
                  </a:lnTo>
                  <a:lnTo>
                    <a:pt x="74482" y="78832"/>
                  </a:lnTo>
                  <a:lnTo>
                    <a:pt x="76551" y="76642"/>
                  </a:lnTo>
                  <a:lnTo>
                    <a:pt x="76551" y="75766"/>
                  </a:lnTo>
                  <a:lnTo>
                    <a:pt x="77931" y="74452"/>
                  </a:lnTo>
                  <a:lnTo>
                    <a:pt x="77931" y="73576"/>
                  </a:lnTo>
                  <a:lnTo>
                    <a:pt x="77931" y="72700"/>
                  </a:lnTo>
                  <a:lnTo>
                    <a:pt x="77931" y="71386"/>
                  </a:lnTo>
                  <a:lnTo>
                    <a:pt x="77931" y="71386"/>
                  </a:lnTo>
                  <a:lnTo>
                    <a:pt x="73103" y="70510"/>
                  </a:lnTo>
                  <a:lnTo>
                    <a:pt x="73103" y="70510"/>
                  </a:lnTo>
                  <a:lnTo>
                    <a:pt x="71724" y="71386"/>
                  </a:lnTo>
                  <a:lnTo>
                    <a:pt x="69655" y="71386"/>
                  </a:lnTo>
                  <a:lnTo>
                    <a:pt x="69655" y="71386"/>
                  </a:lnTo>
                  <a:lnTo>
                    <a:pt x="69655" y="72700"/>
                  </a:lnTo>
                  <a:lnTo>
                    <a:pt x="69655" y="73576"/>
                  </a:lnTo>
                  <a:lnTo>
                    <a:pt x="69655" y="73576"/>
                  </a:lnTo>
                  <a:lnTo>
                    <a:pt x="69655" y="74452"/>
                  </a:lnTo>
                  <a:lnTo>
                    <a:pt x="68275" y="74452"/>
                  </a:lnTo>
                  <a:lnTo>
                    <a:pt x="69655" y="75766"/>
                  </a:lnTo>
                  <a:lnTo>
                    <a:pt x="69655" y="76642"/>
                  </a:lnTo>
                  <a:lnTo>
                    <a:pt x="69655" y="78832"/>
                  </a:lnTo>
                  <a:lnTo>
                    <a:pt x="69655" y="78832"/>
                  </a:lnTo>
                  <a:lnTo>
                    <a:pt x="68275" y="79708"/>
                  </a:lnTo>
                  <a:lnTo>
                    <a:pt x="66896" y="79708"/>
                  </a:lnTo>
                  <a:lnTo>
                    <a:pt x="64827" y="79708"/>
                  </a:lnTo>
                  <a:lnTo>
                    <a:pt x="64827" y="79708"/>
                  </a:lnTo>
                  <a:lnTo>
                    <a:pt x="64827" y="81021"/>
                  </a:lnTo>
                  <a:lnTo>
                    <a:pt x="64827" y="81021"/>
                  </a:lnTo>
                  <a:moveTo>
                    <a:pt x="84137" y="70510"/>
                  </a:moveTo>
                  <a:lnTo>
                    <a:pt x="84137" y="70510"/>
                  </a:lnTo>
                  <a:lnTo>
                    <a:pt x="84137" y="69635"/>
                  </a:lnTo>
                  <a:lnTo>
                    <a:pt x="82758" y="69635"/>
                  </a:lnTo>
                  <a:lnTo>
                    <a:pt x="84137" y="68321"/>
                  </a:lnTo>
                  <a:lnTo>
                    <a:pt x="82758" y="67445"/>
                  </a:lnTo>
                  <a:lnTo>
                    <a:pt x="82758" y="68321"/>
                  </a:lnTo>
                  <a:lnTo>
                    <a:pt x="82758" y="69635"/>
                  </a:lnTo>
                  <a:lnTo>
                    <a:pt x="82758" y="69635"/>
                  </a:lnTo>
                  <a:lnTo>
                    <a:pt x="82758" y="69635"/>
                  </a:lnTo>
                  <a:lnTo>
                    <a:pt x="82758" y="70510"/>
                  </a:lnTo>
                  <a:lnTo>
                    <a:pt x="81379" y="72700"/>
                  </a:lnTo>
                  <a:lnTo>
                    <a:pt x="79310" y="74452"/>
                  </a:lnTo>
                  <a:lnTo>
                    <a:pt x="79310" y="75766"/>
                  </a:lnTo>
                  <a:lnTo>
                    <a:pt x="79310" y="76642"/>
                  </a:lnTo>
                  <a:lnTo>
                    <a:pt x="77931" y="77956"/>
                  </a:lnTo>
                  <a:lnTo>
                    <a:pt x="76551" y="79708"/>
                  </a:lnTo>
                  <a:lnTo>
                    <a:pt x="76551" y="81021"/>
                  </a:lnTo>
                  <a:lnTo>
                    <a:pt x="76551" y="84087"/>
                  </a:lnTo>
                  <a:lnTo>
                    <a:pt x="76551" y="84087"/>
                  </a:lnTo>
                  <a:lnTo>
                    <a:pt x="76551" y="84963"/>
                  </a:lnTo>
                  <a:lnTo>
                    <a:pt x="77931" y="84963"/>
                  </a:lnTo>
                  <a:lnTo>
                    <a:pt x="77931" y="82773"/>
                  </a:lnTo>
                  <a:lnTo>
                    <a:pt x="79310" y="79708"/>
                  </a:lnTo>
                  <a:lnTo>
                    <a:pt x="79310" y="79708"/>
                  </a:lnTo>
                  <a:lnTo>
                    <a:pt x="81379" y="78832"/>
                  </a:lnTo>
                  <a:lnTo>
                    <a:pt x="81379" y="77956"/>
                  </a:lnTo>
                  <a:lnTo>
                    <a:pt x="82758" y="76642"/>
                  </a:lnTo>
                  <a:lnTo>
                    <a:pt x="82758" y="76642"/>
                  </a:lnTo>
                  <a:lnTo>
                    <a:pt x="84137" y="75766"/>
                  </a:lnTo>
                  <a:lnTo>
                    <a:pt x="84137" y="74452"/>
                  </a:lnTo>
                  <a:lnTo>
                    <a:pt x="84137" y="72700"/>
                  </a:lnTo>
                  <a:lnTo>
                    <a:pt x="84137" y="70510"/>
                  </a:lnTo>
                  <a:moveTo>
                    <a:pt x="27586" y="72700"/>
                  </a:moveTo>
                  <a:lnTo>
                    <a:pt x="26206" y="70510"/>
                  </a:lnTo>
                  <a:lnTo>
                    <a:pt x="26206" y="69635"/>
                  </a:lnTo>
                  <a:lnTo>
                    <a:pt x="26206" y="69635"/>
                  </a:lnTo>
                  <a:lnTo>
                    <a:pt x="26206" y="68321"/>
                  </a:lnTo>
                  <a:lnTo>
                    <a:pt x="26206" y="67445"/>
                  </a:lnTo>
                  <a:lnTo>
                    <a:pt x="26206" y="67445"/>
                  </a:lnTo>
                  <a:lnTo>
                    <a:pt x="26206" y="67445"/>
                  </a:lnTo>
                  <a:lnTo>
                    <a:pt x="24137" y="67445"/>
                  </a:lnTo>
                  <a:lnTo>
                    <a:pt x="24137" y="70510"/>
                  </a:lnTo>
                  <a:lnTo>
                    <a:pt x="22758" y="70510"/>
                  </a:lnTo>
                  <a:lnTo>
                    <a:pt x="22758" y="71386"/>
                  </a:lnTo>
                  <a:lnTo>
                    <a:pt x="24137" y="72700"/>
                  </a:lnTo>
                  <a:lnTo>
                    <a:pt x="24137" y="73576"/>
                  </a:lnTo>
                  <a:lnTo>
                    <a:pt x="24137" y="74452"/>
                  </a:lnTo>
                  <a:lnTo>
                    <a:pt x="22758" y="74452"/>
                  </a:lnTo>
                  <a:lnTo>
                    <a:pt x="22758" y="75766"/>
                  </a:lnTo>
                  <a:lnTo>
                    <a:pt x="22758" y="75766"/>
                  </a:lnTo>
                  <a:lnTo>
                    <a:pt x="21379" y="75766"/>
                  </a:lnTo>
                  <a:lnTo>
                    <a:pt x="21379" y="76642"/>
                  </a:lnTo>
                  <a:lnTo>
                    <a:pt x="17931" y="78832"/>
                  </a:lnTo>
                  <a:lnTo>
                    <a:pt x="17931" y="78832"/>
                  </a:lnTo>
                  <a:lnTo>
                    <a:pt x="17931" y="78832"/>
                  </a:lnTo>
                  <a:lnTo>
                    <a:pt x="14482" y="81897"/>
                  </a:lnTo>
                  <a:lnTo>
                    <a:pt x="13103" y="82773"/>
                  </a:lnTo>
                  <a:lnTo>
                    <a:pt x="9655" y="85839"/>
                  </a:lnTo>
                  <a:lnTo>
                    <a:pt x="9655" y="85839"/>
                  </a:lnTo>
                  <a:lnTo>
                    <a:pt x="8275" y="85839"/>
                  </a:lnTo>
                  <a:lnTo>
                    <a:pt x="8275" y="85839"/>
                  </a:lnTo>
                  <a:lnTo>
                    <a:pt x="8275" y="87153"/>
                  </a:lnTo>
                  <a:lnTo>
                    <a:pt x="6206" y="88029"/>
                  </a:lnTo>
                  <a:lnTo>
                    <a:pt x="3448" y="89343"/>
                  </a:lnTo>
                  <a:lnTo>
                    <a:pt x="3448" y="90218"/>
                  </a:lnTo>
                  <a:lnTo>
                    <a:pt x="1379" y="91094"/>
                  </a:lnTo>
                  <a:lnTo>
                    <a:pt x="1379" y="91094"/>
                  </a:lnTo>
                  <a:lnTo>
                    <a:pt x="0" y="93284"/>
                  </a:lnTo>
                  <a:lnTo>
                    <a:pt x="0" y="94160"/>
                  </a:lnTo>
                  <a:lnTo>
                    <a:pt x="0" y="94160"/>
                  </a:lnTo>
                  <a:lnTo>
                    <a:pt x="1379" y="94160"/>
                  </a:lnTo>
                  <a:lnTo>
                    <a:pt x="1379" y="93284"/>
                  </a:lnTo>
                  <a:lnTo>
                    <a:pt x="3448" y="93284"/>
                  </a:lnTo>
                  <a:lnTo>
                    <a:pt x="3448" y="93284"/>
                  </a:lnTo>
                  <a:lnTo>
                    <a:pt x="3448" y="92408"/>
                  </a:lnTo>
                  <a:lnTo>
                    <a:pt x="3448" y="92408"/>
                  </a:lnTo>
                  <a:lnTo>
                    <a:pt x="4827" y="92408"/>
                  </a:lnTo>
                  <a:lnTo>
                    <a:pt x="6206" y="91094"/>
                  </a:lnTo>
                  <a:lnTo>
                    <a:pt x="8275" y="90218"/>
                  </a:lnTo>
                  <a:lnTo>
                    <a:pt x="9655" y="90218"/>
                  </a:lnTo>
                  <a:lnTo>
                    <a:pt x="9655" y="89343"/>
                  </a:lnTo>
                  <a:lnTo>
                    <a:pt x="11034" y="88029"/>
                  </a:lnTo>
                  <a:lnTo>
                    <a:pt x="11034" y="87153"/>
                  </a:lnTo>
                  <a:lnTo>
                    <a:pt x="13103" y="87153"/>
                  </a:lnTo>
                  <a:lnTo>
                    <a:pt x="14482" y="85839"/>
                  </a:lnTo>
                  <a:lnTo>
                    <a:pt x="14482" y="85839"/>
                  </a:lnTo>
                  <a:lnTo>
                    <a:pt x="15862" y="84963"/>
                  </a:lnTo>
                  <a:lnTo>
                    <a:pt x="17931" y="81897"/>
                  </a:lnTo>
                  <a:lnTo>
                    <a:pt x="17931" y="81021"/>
                  </a:lnTo>
                  <a:lnTo>
                    <a:pt x="17931" y="79708"/>
                  </a:lnTo>
                  <a:lnTo>
                    <a:pt x="19310" y="79708"/>
                  </a:lnTo>
                  <a:lnTo>
                    <a:pt x="19310" y="79708"/>
                  </a:lnTo>
                  <a:lnTo>
                    <a:pt x="22758" y="78832"/>
                  </a:lnTo>
                  <a:lnTo>
                    <a:pt x="22758" y="78832"/>
                  </a:lnTo>
                  <a:lnTo>
                    <a:pt x="24137" y="77956"/>
                  </a:lnTo>
                  <a:lnTo>
                    <a:pt x="24137" y="76642"/>
                  </a:lnTo>
                  <a:lnTo>
                    <a:pt x="24137" y="76642"/>
                  </a:lnTo>
                  <a:lnTo>
                    <a:pt x="26206" y="76642"/>
                  </a:lnTo>
                  <a:lnTo>
                    <a:pt x="27586" y="75766"/>
                  </a:lnTo>
                  <a:lnTo>
                    <a:pt x="27586" y="75766"/>
                  </a:lnTo>
                  <a:lnTo>
                    <a:pt x="28965" y="74452"/>
                  </a:lnTo>
                  <a:lnTo>
                    <a:pt x="28965" y="74452"/>
                  </a:lnTo>
                  <a:lnTo>
                    <a:pt x="27586" y="72700"/>
                  </a:lnTo>
                  <a:moveTo>
                    <a:pt x="99310" y="77956"/>
                  </a:moveTo>
                  <a:lnTo>
                    <a:pt x="99310" y="77956"/>
                  </a:lnTo>
                  <a:lnTo>
                    <a:pt x="99310" y="77956"/>
                  </a:lnTo>
                  <a:lnTo>
                    <a:pt x="99310" y="76642"/>
                  </a:lnTo>
                  <a:lnTo>
                    <a:pt x="100689" y="76642"/>
                  </a:lnTo>
                  <a:lnTo>
                    <a:pt x="100689" y="76642"/>
                  </a:lnTo>
                  <a:lnTo>
                    <a:pt x="100689" y="76642"/>
                  </a:lnTo>
                  <a:lnTo>
                    <a:pt x="99310" y="75766"/>
                  </a:lnTo>
                  <a:lnTo>
                    <a:pt x="99310" y="74452"/>
                  </a:lnTo>
                  <a:lnTo>
                    <a:pt x="99310" y="73576"/>
                  </a:lnTo>
                  <a:lnTo>
                    <a:pt x="97241" y="73576"/>
                  </a:lnTo>
                  <a:lnTo>
                    <a:pt x="97241" y="72700"/>
                  </a:lnTo>
                  <a:lnTo>
                    <a:pt x="97241" y="72700"/>
                  </a:lnTo>
                  <a:lnTo>
                    <a:pt x="95862" y="72700"/>
                  </a:lnTo>
                  <a:lnTo>
                    <a:pt x="95862" y="70510"/>
                  </a:lnTo>
                  <a:lnTo>
                    <a:pt x="95862" y="69635"/>
                  </a:lnTo>
                  <a:lnTo>
                    <a:pt x="95862" y="68321"/>
                  </a:lnTo>
                  <a:lnTo>
                    <a:pt x="95862" y="68321"/>
                  </a:lnTo>
                  <a:lnTo>
                    <a:pt x="94482" y="66131"/>
                  </a:lnTo>
                  <a:lnTo>
                    <a:pt x="92413" y="66131"/>
                  </a:lnTo>
                  <a:lnTo>
                    <a:pt x="92413" y="67445"/>
                  </a:lnTo>
                  <a:lnTo>
                    <a:pt x="91034" y="67445"/>
                  </a:lnTo>
                  <a:lnTo>
                    <a:pt x="91034" y="67445"/>
                  </a:lnTo>
                  <a:lnTo>
                    <a:pt x="89655" y="66131"/>
                  </a:lnTo>
                  <a:lnTo>
                    <a:pt x="89655" y="66131"/>
                  </a:lnTo>
                  <a:lnTo>
                    <a:pt x="87586" y="66131"/>
                  </a:lnTo>
                  <a:lnTo>
                    <a:pt x="87586" y="65255"/>
                  </a:lnTo>
                  <a:lnTo>
                    <a:pt x="86206" y="65255"/>
                  </a:lnTo>
                  <a:lnTo>
                    <a:pt x="86206" y="65255"/>
                  </a:lnTo>
                  <a:lnTo>
                    <a:pt x="87586" y="66131"/>
                  </a:lnTo>
                  <a:lnTo>
                    <a:pt x="87586" y="67445"/>
                  </a:lnTo>
                  <a:lnTo>
                    <a:pt x="87586" y="68321"/>
                  </a:lnTo>
                  <a:lnTo>
                    <a:pt x="89655" y="71386"/>
                  </a:lnTo>
                  <a:lnTo>
                    <a:pt x="89655" y="71386"/>
                  </a:lnTo>
                  <a:lnTo>
                    <a:pt x="91034" y="70510"/>
                  </a:lnTo>
                  <a:lnTo>
                    <a:pt x="92413" y="70510"/>
                  </a:lnTo>
                  <a:lnTo>
                    <a:pt x="92413" y="71386"/>
                  </a:lnTo>
                  <a:lnTo>
                    <a:pt x="94482" y="72700"/>
                  </a:lnTo>
                  <a:lnTo>
                    <a:pt x="94482" y="72700"/>
                  </a:lnTo>
                  <a:lnTo>
                    <a:pt x="94482" y="73576"/>
                  </a:lnTo>
                  <a:lnTo>
                    <a:pt x="94482" y="75766"/>
                  </a:lnTo>
                  <a:lnTo>
                    <a:pt x="94482" y="76642"/>
                  </a:lnTo>
                  <a:lnTo>
                    <a:pt x="94482" y="76642"/>
                  </a:lnTo>
                  <a:lnTo>
                    <a:pt x="94482" y="77956"/>
                  </a:lnTo>
                  <a:lnTo>
                    <a:pt x="94482" y="78832"/>
                  </a:lnTo>
                  <a:lnTo>
                    <a:pt x="95862" y="78832"/>
                  </a:lnTo>
                  <a:lnTo>
                    <a:pt x="97241" y="78832"/>
                  </a:lnTo>
                  <a:lnTo>
                    <a:pt x="97241" y="78832"/>
                  </a:lnTo>
                  <a:lnTo>
                    <a:pt x="97241" y="77956"/>
                  </a:lnTo>
                  <a:lnTo>
                    <a:pt x="97241" y="75766"/>
                  </a:lnTo>
                  <a:lnTo>
                    <a:pt x="97241" y="76642"/>
                  </a:lnTo>
                  <a:lnTo>
                    <a:pt x="99310" y="77956"/>
                  </a:lnTo>
                  <a:moveTo>
                    <a:pt x="89655" y="65255"/>
                  </a:moveTo>
                  <a:lnTo>
                    <a:pt x="91034" y="65255"/>
                  </a:lnTo>
                  <a:lnTo>
                    <a:pt x="91034" y="65255"/>
                  </a:lnTo>
                  <a:lnTo>
                    <a:pt x="89655" y="64379"/>
                  </a:lnTo>
                  <a:lnTo>
                    <a:pt x="89655" y="64379"/>
                  </a:lnTo>
                  <a:lnTo>
                    <a:pt x="87586" y="64379"/>
                  </a:lnTo>
                  <a:lnTo>
                    <a:pt x="87586" y="64379"/>
                  </a:lnTo>
                  <a:lnTo>
                    <a:pt x="87586" y="65255"/>
                  </a:lnTo>
                  <a:lnTo>
                    <a:pt x="89655" y="65255"/>
                  </a:lnTo>
                  <a:moveTo>
                    <a:pt x="64827" y="73576"/>
                  </a:moveTo>
                  <a:lnTo>
                    <a:pt x="66896" y="72700"/>
                  </a:lnTo>
                  <a:lnTo>
                    <a:pt x="68275" y="71386"/>
                  </a:lnTo>
                  <a:lnTo>
                    <a:pt x="68275" y="71386"/>
                  </a:lnTo>
                  <a:lnTo>
                    <a:pt x="68275" y="70510"/>
                  </a:lnTo>
                  <a:lnTo>
                    <a:pt x="68275" y="70510"/>
                  </a:lnTo>
                  <a:lnTo>
                    <a:pt x="68275" y="70510"/>
                  </a:lnTo>
                  <a:lnTo>
                    <a:pt x="69655" y="69635"/>
                  </a:lnTo>
                  <a:lnTo>
                    <a:pt x="69655" y="69635"/>
                  </a:lnTo>
                  <a:lnTo>
                    <a:pt x="71724" y="68321"/>
                  </a:lnTo>
                  <a:lnTo>
                    <a:pt x="71724" y="67445"/>
                  </a:lnTo>
                  <a:lnTo>
                    <a:pt x="71724" y="67445"/>
                  </a:lnTo>
                  <a:lnTo>
                    <a:pt x="71724" y="66131"/>
                  </a:lnTo>
                  <a:lnTo>
                    <a:pt x="71724" y="65255"/>
                  </a:lnTo>
                  <a:lnTo>
                    <a:pt x="71724" y="65255"/>
                  </a:lnTo>
                  <a:lnTo>
                    <a:pt x="68275" y="66131"/>
                  </a:lnTo>
                  <a:lnTo>
                    <a:pt x="68275" y="65255"/>
                  </a:lnTo>
                  <a:lnTo>
                    <a:pt x="68275" y="65255"/>
                  </a:lnTo>
                  <a:lnTo>
                    <a:pt x="68275" y="65255"/>
                  </a:lnTo>
                  <a:lnTo>
                    <a:pt x="66896" y="64379"/>
                  </a:lnTo>
                  <a:lnTo>
                    <a:pt x="64827" y="65255"/>
                  </a:lnTo>
                  <a:lnTo>
                    <a:pt x="63448" y="64379"/>
                  </a:lnTo>
                  <a:lnTo>
                    <a:pt x="61379" y="64379"/>
                  </a:lnTo>
                  <a:lnTo>
                    <a:pt x="60000" y="63065"/>
                  </a:lnTo>
                  <a:lnTo>
                    <a:pt x="58620" y="62189"/>
                  </a:lnTo>
                  <a:lnTo>
                    <a:pt x="56551" y="62189"/>
                  </a:lnTo>
                  <a:lnTo>
                    <a:pt x="56551" y="62189"/>
                  </a:lnTo>
                  <a:lnTo>
                    <a:pt x="55172" y="62189"/>
                  </a:lnTo>
                  <a:lnTo>
                    <a:pt x="55172" y="63065"/>
                  </a:lnTo>
                  <a:lnTo>
                    <a:pt x="55172" y="63065"/>
                  </a:lnTo>
                  <a:lnTo>
                    <a:pt x="58620" y="63065"/>
                  </a:lnTo>
                  <a:lnTo>
                    <a:pt x="58620" y="64379"/>
                  </a:lnTo>
                  <a:lnTo>
                    <a:pt x="58620" y="64379"/>
                  </a:lnTo>
                  <a:lnTo>
                    <a:pt x="58620" y="67445"/>
                  </a:lnTo>
                  <a:lnTo>
                    <a:pt x="58620" y="69635"/>
                  </a:lnTo>
                  <a:lnTo>
                    <a:pt x="58620" y="70510"/>
                  </a:lnTo>
                  <a:lnTo>
                    <a:pt x="56551" y="71386"/>
                  </a:lnTo>
                  <a:lnTo>
                    <a:pt x="56551" y="72700"/>
                  </a:lnTo>
                  <a:lnTo>
                    <a:pt x="58620" y="73576"/>
                  </a:lnTo>
                  <a:lnTo>
                    <a:pt x="58620" y="73576"/>
                  </a:lnTo>
                  <a:lnTo>
                    <a:pt x="56551" y="74452"/>
                  </a:lnTo>
                  <a:lnTo>
                    <a:pt x="58620" y="75766"/>
                  </a:lnTo>
                  <a:lnTo>
                    <a:pt x="58620" y="75766"/>
                  </a:lnTo>
                  <a:lnTo>
                    <a:pt x="58620" y="75766"/>
                  </a:lnTo>
                  <a:lnTo>
                    <a:pt x="58620" y="74452"/>
                  </a:lnTo>
                  <a:lnTo>
                    <a:pt x="60000" y="74452"/>
                  </a:lnTo>
                  <a:lnTo>
                    <a:pt x="60000" y="73576"/>
                  </a:lnTo>
                  <a:lnTo>
                    <a:pt x="64827" y="73576"/>
                  </a:lnTo>
                  <a:moveTo>
                    <a:pt x="31034" y="62189"/>
                  </a:moveTo>
                  <a:lnTo>
                    <a:pt x="31034" y="61313"/>
                  </a:lnTo>
                  <a:lnTo>
                    <a:pt x="31034" y="61313"/>
                  </a:lnTo>
                  <a:lnTo>
                    <a:pt x="28965" y="61313"/>
                  </a:lnTo>
                  <a:lnTo>
                    <a:pt x="28965" y="61313"/>
                  </a:lnTo>
                  <a:lnTo>
                    <a:pt x="31034" y="63065"/>
                  </a:lnTo>
                  <a:lnTo>
                    <a:pt x="31034" y="63065"/>
                  </a:lnTo>
                  <a:lnTo>
                    <a:pt x="31034" y="64379"/>
                  </a:lnTo>
                  <a:lnTo>
                    <a:pt x="31034" y="64379"/>
                  </a:lnTo>
                  <a:lnTo>
                    <a:pt x="32413" y="64379"/>
                  </a:lnTo>
                  <a:lnTo>
                    <a:pt x="32413" y="63065"/>
                  </a:lnTo>
                  <a:lnTo>
                    <a:pt x="32413" y="62189"/>
                  </a:lnTo>
                  <a:lnTo>
                    <a:pt x="32413" y="62189"/>
                  </a:lnTo>
                  <a:lnTo>
                    <a:pt x="31034" y="62189"/>
                  </a:lnTo>
                  <a:moveTo>
                    <a:pt x="33793" y="59124"/>
                  </a:moveTo>
                  <a:lnTo>
                    <a:pt x="32413" y="59124"/>
                  </a:lnTo>
                  <a:lnTo>
                    <a:pt x="32413" y="60000"/>
                  </a:lnTo>
                  <a:lnTo>
                    <a:pt x="32413" y="59124"/>
                  </a:lnTo>
                  <a:lnTo>
                    <a:pt x="32413" y="59124"/>
                  </a:lnTo>
                  <a:lnTo>
                    <a:pt x="31034" y="58248"/>
                  </a:lnTo>
                  <a:lnTo>
                    <a:pt x="28965" y="58248"/>
                  </a:lnTo>
                  <a:lnTo>
                    <a:pt x="28965" y="58248"/>
                  </a:lnTo>
                  <a:lnTo>
                    <a:pt x="28965" y="58248"/>
                  </a:lnTo>
                  <a:lnTo>
                    <a:pt x="28965" y="58248"/>
                  </a:lnTo>
                  <a:lnTo>
                    <a:pt x="28965" y="58248"/>
                  </a:lnTo>
                  <a:lnTo>
                    <a:pt x="28965" y="59124"/>
                  </a:lnTo>
                  <a:lnTo>
                    <a:pt x="28965" y="59124"/>
                  </a:lnTo>
                  <a:lnTo>
                    <a:pt x="28965" y="59124"/>
                  </a:lnTo>
                  <a:lnTo>
                    <a:pt x="31034" y="60000"/>
                  </a:lnTo>
                  <a:lnTo>
                    <a:pt x="31034" y="61313"/>
                  </a:lnTo>
                  <a:lnTo>
                    <a:pt x="32413" y="61313"/>
                  </a:lnTo>
                  <a:lnTo>
                    <a:pt x="32413" y="61313"/>
                  </a:lnTo>
                  <a:lnTo>
                    <a:pt x="33793" y="61313"/>
                  </a:lnTo>
                  <a:lnTo>
                    <a:pt x="35862" y="61313"/>
                  </a:lnTo>
                  <a:lnTo>
                    <a:pt x="35862" y="60000"/>
                  </a:lnTo>
                  <a:lnTo>
                    <a:pt x="33793" y="60000"/>
                  </a:lnTo>
                  <a:lnTo>
                    <a:pt x="33793" y="59124"/>
                  </a:lnTo>
                  <a:moveTo>
                    <a:pt x="86206" y="59124"/>
                  </a:moveTo>
                  <a:lnTo>
                    <a:pt x="87586" y="60000"/>
                  </a:lnTo>
                  <a:lnTo>
                    <a:pt x="87586" y="60000"/>
                  </a:lnTo>
                  <a:lnTo>
                    <a:pt x="89655" y="60000"/>
                  </a:lnTo>
                  <a:lnTo>
                    <a:pt x="91034" y="61313"/>
                  </a:lnTo>
                  <a:lnTo>
                    <a:pt x="91034" y="61313"/>
                  </a:lnTo>
                  <a:lnTo>
                    <a:pt x="92413" y="62189"/>
                  </a:lnTo>
                  <a:lnTo>
                    <a:pt x="92413" y="62189"/>
                  </a:lnTo>
                  <a:lnTo>
                    <a:pt x="94482" y="63065"/>
                  </a:lnTo>
                  <a:lnTo>
                    <a:pt x="94482" y="63065"/>
                  </a:lnTo>
                  <a:lnTo>
                    <a:pt x="94482" y="63065"/>
                  </a:lnTo>
                  <a:lnTo>
                    <a:pt x="95862" y="64379"/>
                  </a:lnTo>
                  <a:lnTo>
                    <a:pt x="94482" y="64379"/>
                  </a:lnTo>
                  <a:lnTo>
                    <a:pt x="94482" y="65255"/>
                  </a:lnTo>
                  <a:lnTo>
                    <a:pt x="94482" y="66131"/>
                  </a:lnTo>
                  <a:lnTo>
                    <a:pt x="95862" y="67445"/>
                  </a:lnTo>
                  <a:lnTo>
                    <a:pt x="97241" y="67445"/>
                  </a:lnTo>
                  <a:lnTo>
                    <a:pt x="97241" y="67445"/>
                  </a:lnTo>
                  <a:lnTo>
                    <a:pt x="99310" y="69635"/>
                  </a:lnTo>
                  <a:lnTo>
                    <a:pt x="99310" y="69635"/>
                  </a:lnTo>
                  <a:lnTo>
                    <a:pt x="100689" y="69635"/>
                  </a:lnTo>
                  <a:lnTo>
                    <a:pt x="104137" y="69635"/>
                  </a:lnTo>
                  <a:lnTo>
                    <a:pt x="104137" y="69635"/>
                  </a:lnTo>
                  <a:lnTo>
                    <a:pt x="105517" y="69635"/>
                  </a:lnTo>
                  <a:lnTo>
                    <a:pt x="105517" y="69635"/>
                  </a:lnTo>
                  <a:lnTo>
                    <a:pt x="105517" y="68321"/>
                  </a:lnTo>
                  <a:lnTo>
                    <a:pt x="104137" y="68321"/>
                  </a:lnTo>
                  <a:lnTo>
                    <a:pt x="102068" y="68321"/>
                  </a:lnTo>
                  <a:lnTo>
                    <a:pt x="102068" y="67445"/>
                  </a:lnTo>
                  <a:lnTo>
                    <a:pt x="104137" y="67445"/>
                  </a:lnTo>
                  <a:lnTo>
                    <a:pt x="102068" y="66131"/>
                  </a:lnTo>
                  <a:lnTo>
                    <a:pt x="102068" y="65255"/>
                  </a:lnTo>
                  <a:lnTo>
                    <a:pt x="100689" y="65255"/>
                  </a:lnTo>
                  <a:lnTo>
                    <a:pt x="100689" y="64379"/>
                  </a:lnTo>
                  <a:lnTo>
                    <a:pt x="100689" y="63065"/>
                  </a:lnTo>
                  <a:lnTo>
                    <a:pt x="100689" y="63065"/>
                  </a:lnTo>
                  <a:lnTo>
                    <a:pt x="100689" y="61313"/>
                  </a:lnTo>
                  <a:lnTo>
                    <a:pt x="100689" y="60000"/>
                  </a:lnTo>
                  <a:lnTo>
                    <a:pt x="100689" y="60000"/>
                  </a:lnTo>
                  <a:lnTo>
                    <a:pt x="100689" y="59124"/>
                  </a:lnTo>
                  <a:lnTo>
                    <a:pt x="100689" y="59124"/>
                  </a:lnTo>
                  <a:lnTo>
                    <a:pt x="99310" y="58248"/>
                  </a:lnTo>
                  <a:lnTo>
                    <a:pt x="99310" y="58248"/>
                  </a:lnTo>
                  <a:lnTo>
                    <a:pt x="97241" y="58248"/>
                  </a:lnTo>
                  <a:lnTo>
                    <a:pt x="97241" y="56934"/>
                  </a:lnTo>
                  <a:lnTo>
                    <a:pt x="97241" y="56934"/>
                  </a:lnTo>
                  <a:lnTo>
                    <a:pt x="97241" y="56058"/>
                  </a:lnTo>
                  <a:lnTo>
                    <a:pt x="95862" y="56058"/>
                  </a:lnTo>
                  <a:lnTo>
                    <a:pt x="92413" y="56058"/>
                  </a:lnTo>
                  <a:lnTo>
                    <a:pt x="87586" y="56058"/>
                  </a:lnTo>
                  <a:lnTo>
                    <a:pt x="84137" y="56058"/>
                  </a:lnTo>
                  <a:lnTo>
                    <a:pt x="86206" y="56934"/>
                  </a:lnTo>
                  <a:lnTo>
                    <a:pt x="86206" y="59124"/>
                  </a:lnTo>
                  <a:moveTo>
                    <a:pt x="71724" y="60000"/>
                  </a:moveTo>
                  <a:lnTo>
                    <a:pt x="71724" y="61313"/>
                  </a:lnTo>
                  <a:lnTo>
                    <a:pt x="71724" y="62189"/>
                  </a:lnTo>
                  <a:lnTo>
                    <a:pt x="73103" y="61313"/>
                  </a:lnTo>
                  <a:lnTo>
                    <a:pt x="74482" y="59124"/>
                  </a:lnTo>
                  <a:lnTo>
                    <a:pt x="74482" y="59124"/>
                  </a:lnTo>
                  <a:lnTo>
                    <a:pt x="76551" y="59124"/>
                  </a:lnTo>
                  <a:lnTo>
                    <a:pt x="76551" y="60000"/>
                  </a:lnTo>
                  <a:lnTo>
                    <a:pt x="77931" y="60000"/>
                  </a:lnTo>
                  <a:lnTo>
                    <a:pt x="77931" y="60000"/>
                  </a:lnTo>
                  <a:lnTo>
                    <a:pt x="77931" y="61313"/>
                  </a:lnTo>
                  <a:lnTo>
                    <a:pt x="77931" y="61313"/>
                  </a:lnTo>
                  <a:lnTo>
                    <a:pt x="79310" y="61313"/>
                  </a:lnTo>
                  <a:lnTo>
                    <a:pt x="79310" y="62189"/>
                  </a:lnTo>
                  <a:lnTo>
                    <a:pt x="81379" y="63065"/>
                  </a:lnTo>
                  <a:lnTo>
                    <a:pt x="82758" y="63065"/>
                  </a:lnTo>
                  <a:lnTo>
                    <a:pt x="82758" y="63065"/>
                  </a:lnTo>
                  <a:lnTo>
                    <a:pt x="82758" y="61313"/>
                  </a:lnTo>
                  <a:lnTo>
                    <a:pt x="81379" y="59124"/>
                  </a:lnTo>
                  <a:lnTo>
                    <a:pt x="77931" y="58248"/>
                  </a:lnTo>
                  <a:lnTo>
                    <a:pt x="76551" y="56934"/>
                  </a:lnTo>
                  <a:lnTo>
                    <a:pt x="76551" y="56934"/>
                  </a:lnTo>
                  <a:lnTo>
                    <a:pt x="74482" y="56058"/>
                  </a:lnTo>
                  <a:lnTo>
                    <a:pt x="73103" y="56058"/>
                  </a:lnTo>
                  <a:lnTo>
                    <a:pt x="71724" y="56058"/>
                  </a:lnTo>
                  <a:lnTo>
                    <a:pt x="71724" y="56058"/>
                  </a:lnTo>
                  <a:lnTo>
                    <a:pt x="71724" y="56934"/>
                  </a:lnTo>
                  <a:lnTo>
                    <a:pt x="71724" y="58248"/>
                  </a:lnTo>
                  <a:lnTo>
                    <a:pt x="71724" y="60000"/>
                  </a:lnTo>
                  <a:moveTo>
                    <a:pt x="56551" y="60000"/>
                  </a:moveTo>
                  <a:lnTo>
                    <a:pt x="56551" y="58248"/>
                  </a:lnTo>
                  <a:lnTo>
                    <a:pt x="56551" y="56058"/>
                  </a:lnTo>
                  <a:lnTo>
                    <a:pt x="56551" y="54744"/>
                  </a:lnTo>
                  <a:lnTo>
                    <a:pt x="56551" y="54744"/>
                  </a:lnTo>
                  <a:lnTo>
                    <a:pt x="56551" y="54744"/>
                  </a:lnTo>
                  <a:lnTo>
                    <a:pt x="55172" y="56058"/>
                  </a:lnTo>
                  <a:lnTo>
                    <a:pt x="55172" y="56934"/>
                  </a:lnTo>
                  <a:lnTo>
                    <a:pt x="55172" y="56934"/>
                  </a:lnTo>
                  <a:lnTo>
                    <a:pt x="55172" y="58248"/>
                  </a:lnTo>
                  <a:lnTo>
                    <a:pt x="55172" y="58248"/>
                  </a:lnTo>
                  <a:lnTo>
                    <a:pt x="55172" y="59124"/>
                  </a:lnTo>
                  <a:lnTo>
                    <a:pt x="55172" y="59124"/>
                  </a:lnTo>
                  <a:lnTo>
                    <a:pt x="56551" y="60000"/>
                  </a:lnTo>
                  <a:moveTo>
                    <a:pt x="48965" y="56934"/>
                  </a:moveTo>
                  <a:lnTo>
                    <a:pt x="48965" y="56058"/>
                  </a:lnTo>
                  <a:lnTo>
                    <a:pt x="48965" y="56058"/>
                  </a:lnTo>
                  <a:lnTo>
                    <a:pt x="50344" y="54744"/>
                  </a:lnTo>
                  <a:lnTo>
                    <a:pt x="48965" y="52992"/>
                  </a:lnTo>
                  <a:lnTo>
                    <a:pt x="48965" y="52992"/>
                  </a:lnTo>
                  <a:lnTo>
                    <a:pt x="48965" y="51678"/>
                  </a:lnTo>
                  <a:lnTo>
                    <a:pt x="48965" y="50802"/>
                  </a:lnTo>
                  <a:lnTo>
                    <a:pt x="48965" y="50802"/>
                  </a:lnTo>
                  <a:lnTo>
                    <a:pt x="46896" y="49927"/>
                  </a:lnTo>
                  <a:lnTo>
                    <a:pt x="46896" y="49927"/>
                  </a:lnTo>
                  <a:lnTo>
                    <a:pt x="45517" y="48613"/>
                  </a:lnTo>
                  <a:lnTo>
                    <a:pt x="44137" y="47737"/>
                  </a:lnTo>
                  <a:lnTo>
                    <a:pt x="44137" y="48613"/>
                  </a:lnTo>
                  <a:lnTo>
                    <a:pt x="42068" y="47737"/>
                  </a:lnTo>
                  <a:lnTo>
                    <a:pt x="42068" y="47737"/>
                  </a:lnTo>
                  <a:lnTo>
                    <a:pt x="40689" y="47737"/>
                  </a:lnTo>
                  <a:lnTo>
                    <a:pt x="40689" y="46861"/>
                  </a:lnTo>
                  <a:lnTo>
                    <a:pt x="38620" y="47737"/>
                  </a:lnTo>
                  <a:lnTo>
                    <a:pt x="37241" y="47737"/>
                  </a:lnTo>
                  <a:lnTo>
                    <a:pt x="37241" y="47737"/>
                  </a:lnTo>
                  <a:lnTo>
                    <a:pt x="33793" y="46861"/>
                  </a:lnTo>
                  <a:lnTo>
                    <a:pt x="33793" y="46861"/>
                  </a:lnTo>
                  <a:lnTo>
                    <a:pt x="32413" y="47737"/>
                  </a:lnTo>
                  <a:lnTo>
                    <a:pt x="32413" y="47737"/>
                  </a:lnTo>
                  <a:lnTo>
                    <a:pt x="33793" y="47737"/>
                  </a:lnTo>
                  <a:lnTo>
                    <a:pt x="33793" y="47737"/>
                  </a:lnTo>
                  <a:lnTo>
                    <a:pt x="33793" y="47737"/>
                  </a:lnTo>
                  <a:lnTo>
                    <a:pt x="35862" y="48613"/>
                  </a:lnTo>
                  <a:lnTo>
                    <a:pt x="35862" y="49927"/>
                  </a:lnTo>
                  <a:lnTo>
                    <a:pt x="35862" y="49927"/>
                  </a:lnTo>
                  <a:lnTo>
                    <a:pt x="37241" y="49927"/>
                  </a:lnTo>
                  <a:lnTo>
                    <a:pt x="37241" y="50802"/>
                  </a:lnTo>
                  <a:lnTo>
                    <a:pt x="38620" y="51678"/>
                  </a:lnTo>
                  <a:lnTo>
                    <a:pt x="38620" y="52992"/>
                  </a:lnTo>
                  <a:lnTo>
                    <a:pt x="38620" y="53868"/>
                  </a:lnTo>
                  <a:lnTo>
                    <a:pt x="40689" y="53868"/>
                  </a:lnTo>
                  <a:lnTo>
                    <a:pt x="40689" y="54744"/>
                  </a:lnTo>
                  <a:lnTo>
                    <a:pt x="42068" y="54744"/>
                  </a:lnTo>
                  <a:lnTo>
                    <a:pt x="42068" y="56058"/>
                  </a:lnTo>
                  <a:lnTo>
                    <a:pt x="42068" y="56058"/>
                  </a:lnTo>
                  <a:lnTo>
                    <a:pt x="42068" y="56934"/>
                  </a:lnTo>
                  <a:lnTo>
                    <a:pt x="44137" y="58248"/>
                  </a:lnTo>
                  <a:lnTo>
                    <a:pt x="44137" y="58248"/>
                  </a:lnTo>
                  <a:lnTo>
                    <a:pt x="44137" y="58248"/>
                  </a:lnTo>
                  <a:lnTo>
                    <a:pt x="45517" y="59124"/>
                  </a:lnTo>
                  <a:lnTo>
                    <a:pt x="45517" y="59124"/>
                  </a:lnTo>
                  <a:lnTo>
                    <a:pt x="46896" y="59124"/>
                  </a:lnTo>
                  <a:lnTo>
                    <a:pt x="46896" y="58248"/>
                  </a:lnTo>
                  <a:lnTo>
                    <a:pt x="46896" y="58248"/>
                  </a:lnTo>
                  <a:lnTo>
                    <a:pt x="46896" y="58248"/>
                  </a:lnTo>
                  <a:lnTo>
                    <a:pt x="48965" y="58248"/>
                  </a:lnTo>
                  <a:lnTo>
                    <a:pt x="48965" y="58248"/>
                  </a:lnTo>
                  <a:lnTo>
                    <a:pt x="48965" y="56934"/>
                  </a:lnTo>
                  <a:lnTo>
                    <a:pt x="48965" y="56934"/>
                  </a:lnTo>
                  <a:moveTo>
                    <a:pt x="53793" y="46861"/>
                  </a:moveTo>
                  <a:lnTo>
                    <a:pt x="53793" y="46861"/>
                  </a:lnTo>
                  <a:lnTo>
                    <a:pt x="53793" y="46861"/>
                  </a:lnTo>
                  <a:lnTo>
                    <a:pt x="51724" y="46861"/>
                  </a:lnTo>
                  <a:lnTo>
                    <a:pt x="51724" y="47737"/>
                  </a:lnTo>
                  <a:lnTo>
                    <a:pt x="51724" y="48613"/>
                  </a:lnTo>
                  <a:lnTo>
                    <a:pt x="53793" y="48613"/>
                  </a:lnTo>
                  <a:lnTo>
                    <a:pt x="55172" y="49927"/>
                  </a:lnTo>
                  <a:lnTo>
                    <a:pt x="55172" y="49927"/>
                  </a:lnTo>
                  <a:lnTo>
                    <a:pt x="55172" y="49927"/>
                  </a:lnTo>
                  <a:lnTo>
                    <a:pt x="55172" y="48613"/>
                  </a:lnTo>
                  <a:lnTo>
                    <a:pt x="55172" y="47737"/>
                  </a:lnTo>
                  <a:lnTo>
                    <a:pt x="55172" y="47737"/>
                  </a:lnTo>
                  <a:lnTo>
                    <a:pt x="53793" y="46861"/>
                  </a:lnTo>
                  <a:moveTo>
                    <a:pt x="79310" y="46861"/>
                  </a:moveTo>
                  <a:lnTo>
                    <a:pt x="81379" y="46861"/>
                  </a:lnTo>
                  <a:lnTo>
                    <a:pt x="82758" y="46861"/>
                  </a:lnTo>
                  <a:lnTo>
                    <a:pt x="82758" y="46861"/>
                  </a:lnTo>
                  <a:lnTo>
                    <a:pt x="82758" y="46861"/>
                  </a:lnTo>
                  <a:lnTo>
                    <a:pt x="84137" y="45547"/>
                  </a:lnTo>
                  <a:lnTo>
                    <a:pt x="84137" y="45547"/>
                  </a:lnTo>
                  <a:lnTo>
                    <a:pt x="84137" y="44671"/>
                  </a:lnTo>
                  <a:lnTo>
                    <a:pt x="84137" y="43357"/>
                  </a:lnTo>
                  <a:lnTo>
                    <a:pt x="82758" y="43357"/>
                  </a:lnTo>
                  <a:lnTo>
                    <a:pt x="82758" y="43357"/>
                  </a:lnTo>
                  <a:lnTo>
                    <a:pt x="81379" y="41605"/>
                  </a:lnTo>
                  <a:lnTo>
                    <a:pt x="81379" y="42481"/>
                  </a:lnTo>
                  <a:lnTo>
                    <a:pt x="81379" y="42481"/>
                  </a:lnTo>
                  <a:lnTo>
                    <a:pt x="79310" y="42481"/>
                  </a:lnTo>
                  <a:lnTo>
                    <a:pt x="81379" y="44671"/>
                  </a:lnTo>
                  <a:lnTo>
                    <a:pt x="79310" y="45547"/>
                  </a:lnTo>
                  <a:lnTo>
                    <a:pt x="79310" y="46861"/>
                  </a:lnTo>
                  <a:moveTo>
                    <a:pt x="51724" y="40291"/>
                  </a:moveTo>
                  <a:lnTo>
                    <a:pt x="51724" y="40291"/>
                  </a:lnTo>
                  <a:lnTo>
                    <a:pt x="51724" y="41605"/>
                  </a:lnTo>
                  <a:lnTo>
                    <a:pt x="55172" y="42481"/>
                  </a:lnTo>
                  <a:lnTo>
                    <a:pt x="55172" y="42481"/>
                  </a:lnTo>
                  <a:lnTo>
                    <a:pt x="51724" y="40291"/>
                  </a:lnTo>
                  <a:lnTo>
                    <a:pt x="51724" y="40291"/>
                  </a:lnTo>
                  <a:moveTo>
                    <a:pt x="21379" y="24087"/>
                  </a:moveTo>
                  <a:lnTo>
                    <a:pt x="21379" y="24963"/>
                  </a:lnTo>
                  <a:lnTo>
                    <a:pt x="22758" y="24963"/>
                  </a:lnTo>
                  <a:lnTo>
                    <a:pt x="22758" y="24963"/>
                  </a:lnTo>
                  <a:lnTo>
                    <a:pt x="22758" y="25839"/>
                  </a:lnTo>
                  <a:lnTo>
                    <a:pt x="24137" y="28905"/>
                  </a:lnTo>
                  <a:lnTo>
                    <a:pt x="24137" y="30218"/>
                  </a:lnTo>
                  <a:lnTo>
                    <a:pt x="26206" y="31094"/>
                  </a:lnTo>
                  <a:lnTo>
                    <a:pt x="26206" y="31970"/>
                  </a:lnTo>
                  <a:lnTo>
                    <a:pt x="26206" y="33284"/>
                  </a:lnTo>
                  <a:lnTo>
                    <a:pt x="27586" y="34160"/>
                  </a:lnTo>
                  <a:lnTo>
                    <a:pt x="27586" y="35474"/>
                  </a:lnTo>
                  <a:lnTo>
                    <a:pt x="28965" y="35474"/>
                  </a:lnTo>
                  <a:lnTo>
                    <a:pt x="28965" y="35474"/>
                  </a:lnTo>
                  <a:lnTo>
                    <a:pt x="31034" y="36350"/>
                  </a:lnTo>
                  <a:lnTo>
                    <a:pt x="31034" y="37226"/>
                  </a:lnTo>
                  <a:lnTo>
                    <a:pt x="32413" y="38540"/>
                  </a:lnTo>
                  <a:lnTo>
                    <a:pt x="32413" y="38540"/>
                  </a:lnTo>
                  <a:lnTo>
                    <a:pt x="33793" y="38540"/>
                  </a:lnTo>
                  <a:lnTo>
                    <a:pt x="33793" y="38540"/>
                  </a:lnTo>
                  <a:lnTo>
                    <a:pt x="33793" y="38540"/>
                  </a:lnTo>
                  <a:lnTo>
                    <a:pt x="33793" y="37226"/>
                  </a:lnTo>
                  <a:lnTo>
                    <a:pt x="33793" y="35474"/>
                  </a:lnTo>
                  <a:lnTo>
                    <a:pt x="33793" y="34160"/>
                  </a:lnTo>
                  <a:lnTo>
                    <a:pt x="33793" y="35474"/>
                  </a:lnTo>
                  <a:lnTo>
                    <a:pt x="35862" y="35474"/>
                  </a:lnTo>
                  <a:lnTo>
                    <a:pt x="37241" y="35474"/>
                  </a:lnTo>
                  <a:lnTo>
                    <a:pt x="37241" y="36350"/>
                  </a:lnTo>
                  <a:lnTo>
                    <a:pt x="38620" y="36350"/>
                  </a:lnTo>
                  <a:lnTo>
                    <a:pt x="38620" y="37226"/>
                  </a:lnTo>
                  <a:lnTo>
                    <a:pt x="38620" y="38540"/>
                  </a:lnTo>
                  <a:lnTo>
                    <a:pt x="35862" y="39416"/>
                  </a:lnTo>
                  <a:lnTo>
                    <a:pt x="35862" y="40291"/>
                  </a:lnTo>
                  <a:lnTo>
                    <a:pt x="35862" y="40291"/>
                  </a:lnTo>
                  <a:lnTo>
                    <a:pt x="35862" y="42481"/>
                  </a:lnTo>
                  <a:lnTo>
                    <a:pt x="35862" y="44671"/>
                  </a:lnTo>
                  <a:lnTo>
                    <a:pt x="37241" y="43357"/>
                  </a:lnTo>
                  <a:lnTo>
                    <a:pt x="38620" y="43357"/>
                  </a:lnTo>
                  <a:lnTo>
                    <a:pt x="40689" y="44671"/>
                  </a:lnTo>
                  <a:lnTo>
                    <a:pt x="40689" y="44671"/>
                  </a:lnTo>
                  <a:lnTo>
                    <a:pt x="42068" y="45547"/>
                  </a:lnTo>
                  <a:lnTo>
                    <a:pt x="44137" y="45547"/>
                  </a:lnTo>
                  <a:lnTo>
                    <a:pt x="45517" y="45547"/>
                  </a:lnTo>
                  <a:lnTo>
                    <a:pt x="46896" y="45547"/>
                  </a:lnTo>
                  <a:lnTo>
                    <a:pt x="46896" y="44671"/>
                  </a:lnTo>
                  <a:lnTo>
                    <a:pt x="46896" y="43357"/>
                  </a:lnTo>
                  <a:lnTo>
                    <a:pt x="48965" y="43357"/>
                  </a:lnTo>
                  <a:lnTo>
                    <a:pt x="48965" y="43357"/>
                  </a:lnTo>
                  <a:lnTo>
                    <a:pt x="50344" y="43357"/>
                  </a:lnTo>
                  <a:lnTo>
                    <a:pt x="50344" y="43357"/>
                  </a:lnTo>
                  <a:lnTo>
                    <a:pt x="55172" y="44671"/>
                  </a:lnTo>
                  <a:lnTo>
                    <a:pt x="56551" y="45547"/>
                  </a:lnTo>
                  <a:lnTo>
                    <a:pt x="58620" y="46861"/>
                  </a:lnTo>
                  <a:lnTo>
                    <a:pt x="58620" y="47737"/>
                  </a:lnTo>
                  <a:lnTo>
                    <a:pt x="60000" y="48613"/>
                  </a:lnTo>
                  <a:lnTo>
                    <a:pt x="61379" y="48613"/>
                  </a:lnTo>
                  <a:lnTo>
                    <a:pt x="61379" y="49927"/>
                  </a:lnTo>
                  <a:lnTo>
                    <a:pt x="61379" y="49927"/>
                  </a:lnTo>
                  <a:lnTo>
                    <a:pt x="63448" y="49927"/>
                  </a:lnTo>
                  <a:lnTo>
                    <a:pt x="63448" y="47737"/>
                  </a:lnTo>
                  <a:lnTo>
                    <a:pt x="61379" y="46861"/>
                  </a:lnTo>
                  <a:lnTo>
                    <a:pt x="61379" y="46861"/>
                  </a:lnTo>
                  <a:lnTo>
                    <a:pt x="60000" y="45547"/>
                  </a:lnTo>
                  <a:lnTo>
                    <a:pt x="60000" y="45547"/>
                  </a:lnTo>
                  <a:lnTo>
                    <a:pt x="60000" y="44671"/>
                  </a:lnTo>
                  <a:lnTo>
                    <a:pt x="60000" y="44671"/>
                  </a:lnTo>
                  <a:lnTo>
                    <a:pt x="60000" y="43357"/>
                  </a:lnTo>
                  <a:lnTo>
                    <a:pt x="60000" y="43357"/>
                  </a:lnTo>
                  <a:lnTo>
                    <a:pt x="60000" y="43357"/>
                  </a:lnTo>
                  <a:lnTo>
                    <a:pt x="61379" y="43357"/>
                  </a:lnTo>
                  <a:lnTo>
                    <a:pt x="63448" y="44671"/>
                  </a:lnTo>
                  <a:lnTo>
                    <a:pt x="64827" y="45547"/>
                  </a:lnTo>
                  <a:lnTo>
                    <a:pt x="64827" y="46861"/>
                  </a:lnTo>
                  <a:lnTo>
                    <a:pt x="68275" y="47737"/>
                  </a:lnTo>
                  <a:lnTo>
                    <a:pt x="69655" y="47737"/>
                  </a:lnTo>
                  <a:lnTo>
                    <a:pt x="69655" y="48613"/>
                  </a:lnTo>
                  <a:lnTo>
                    <a:pt x="71724" y="49927"/>
                  </a:lnTo>
                  <a:lnTo>
                    <a:pt x="71724" y="50802"/>
                  </a:lnTo>
                  <a:lnTo>
                    <a:pt x="71724" y="51678"/>
                  </a:lnTo>
                  <a:lnTo>
                    <a:pt x="73103" y="51678"/>
                  </a:lnTo>
                  <a:lnTo>
                    <a:pt x="76551" y="52992"/>
                  </a:lnTo>
                  <a:lnTo>
                    <a:pt x="76551" y="52992"/>
                  </a:lnTo>
                  <a:lnTo>
                    <a:pt x="77931" y="52992"/>
                  </a:lnTo>
                  <a:lnTo>
                    <a:pt x="77931" y="52992"/>
                  </a:lnTo>
                  <a:lnTo>
                    <a:pt x="79310" y="51678"/>
                  </a:lnTo>
                  <a:lnTo>
                    <a:pt x="79310" y="52992"/>
                  </a:lnTo>
                  <a:lnTo>
                    <a:pt x="79310" y="53868"/>
                  </a:lnTo>
                  <a:lnTo>
                    <a:pt x="79310" y="54744"/>
                  </a:lnTo>
                  <a:lnTo>
                    <a:pt x="81379" y="56058"/>
                  </a:lnTo>
                  <a:lnTo>
                    <a:pt x="81379" y="56058"/>
                  </a:lnTo>
                  <a:lnTo>
                    <a:pt x="82758" y="53868"/>
                  </a:lnTo>
                  <a:lnTo>
                    <a:pt x="82758" y="51678"/>
                  </a:lnTo>
                  <a:lnTo>
                    <a:pt x="81379" y="51678"/>
                  </a:lnTo>
                  <a:lnTo>
                    <a:pt x="81379" y="51678"/>
                  </a:lnTo>
                  <a:lnTo>
                    <a:pt x="79310" y="50802"/>
                  </a:lnTo>
                  <a:lnTo>
                    <a:pt x="77931" y="50802"/>
                  </a:lnTo>
                  <a:lnTo>
                    <a:pt x="77931" y="50802"/>
                  </a:lnTo>
                  <a:lnTo>
                    <a:pt x="77931" y="49927"/>
                  </a:lnTo>
                  <a:lnTo>
                    <a:pt x="77931" y="49927"/>
                  </a:lnTo>
                  <a:lnTo>
                    <a:pt x="76551" y="48613"/>
                  </a:lnTo>
                  <a:lnTo>
                    <a:pt x="76551" y="47737"/>
                  </a:lnTo>
                  <a:lnTo>
                    <a:pt x="74482" y="46861"/>
                  </a:lnTo>
                  <a:lnTo>
                    <a:pt x="73103" y="45547"/>
                  </a:lnTo>
                  <a:lnTo>
                    <a:pt x="74482" y="45547"/>
                  </a:lnTo>
                  <a:lnTo>
                    <a:pt x="76551" y="45547"/>
                  </a:lnTo>
                  <a:lnTo>
                    <a:pt x="77931" y="44671"/>
                  </a:lnTo>
                  <a:lnTo>
                    <a:pt x="76551" y="43357"/>
                  </a:lnTo>
                  <a:lnTo>
                    <a:pt x="74482" y="43357"/>
                  </a:lnTo>
                  <a:lnTo>
                    <a:pt x="74482" y="43357"/>
                  </a:lnTo>
                  <a:lnTo>
                    <a:pt x="74482" y="43357"/>
                  </a:lnTo>
                  <a:lnTo>
                    <a:pt x="71724" y="42481"/>
                  </a:lnTo>
                  <a:lnTo>
                    <a:pt x="71724" y="42481"/>
                  </a:lnTo>
                  <a:lnTo>
                    <a:pt x="69655" y="41605"/>
                  </a:lnTo>
                  <a:lnTo>
                    <a:pt x="69655" y="42481"/>
                  </a:lnTo>
                  <a:lnTo>
                    <a:pt x="69655" y="42481"/>
                  </a:lnTo>
                  <a:lnTo>
                    <a:pt x="69655" y="43357"/>
                  </a:lnTo>
                  <a:lnTo>
                    <a:pt x="69655" y="43357"/>
                  </a:lnTo>
                  <a:lnTo>
                    <a:pt x="69655" y="44671"/>
                  </a:lnTo>
                  <a:lnTo>
                    <a:pt x="68275" y="44671"/>
                  </a:lnTo>
                  <a:lnTo>
                    <a:pt x="66896" y="44671"/>
                  </a:lnTo>
                  <a:lnTo>
                    <a:pt x="66896" y="43357"/>
                  </a:lnTo>
                  <a:lnTo>
                    <a:pt x="66896" y="43357"/>
                  </a:lnTo>
                  <a:lnTo>
                    <a:pt x="66896" y="42481"/>
                  </a:lnTo>
                  <a:lnTo>
                    <a:pt x="66896" y="41605"/>
                  </a:lnTo>
                  <a:lnTo>
                    <a:pt x="64827" y="40291"/>
                  </a:lnTo>
                  <a:lnTo>
                    <a:pt x="63448" y="40291"/>
                  </a:lnTo>
                  <a:lnTo>
                    <a:pt x="61379" y="39416"/>
                  </a:lnTo>
                  <a:lnTo>
                    <a:pt x="60000" y="39416"/>
                  </a:lnTo>
                  <a:lnTo>
                    <a:pt x="58620" y="39416"/>
                  </a:lnTo>
                  <a:lnTo>
                    <a:pt x="56551" y="40291"/>
                  </a:lnTo>
                  <a:lnTo>
                    <a:pt x="56551" y="40291"/>
                  </a:lnTo>
                  <a:lnTo>
                    <a:pt x="55172" y="40291"/>
                  </a:lnTo>
                  <a:lnTo>
                    <a:pt x="55172" y="41605"/>
                  </a:lnTo>
                  <a:lnTo>
                    <a:pt x="55172" y="41605"/>
                  </a:lnTo>
                  <a:lnTo>
                    <a:pt x="56551" y="42481"/>
                  </a:lnTo>
                  <a:lnTo>
                    <a:pt x="56551" y="42481"/>
                  </a:lnTo>
                  <a:lnTo>
                    <a:pt x="56551" y="42481"/>
                  </a:lnTo>
                  <a:lnTo>
                    <a:pt x="56551" y="43357"/>
                  </a:lnTo>
                  <a:lnTo>
                    <a:pt x="55172" y="43357"/>
                  </a:lnTo>
                  <a:lnTo>
                    <a:pt x="53793" y="43357"/>
                  </a:lnTo>
                  <a:lnTo>
                    <a:pt x="51724" y="42481"/>
                  </a:lnTo>
                  <a:lnTo>
                    <a:pt x="51724" y="41605"/>
                  </a:lnTo>
                  <a:lnTo>
                    <a:pt x="50344" y="41605"/>
                  </a:lnTo>
                  <a:lnTo>
                    <a:pt x="50344" y="41605"/>
                  </a:lnTo>
                  <a:lnTo>
                    <a:pt x="50344" y="40291"/>
                  </a:lnTo>
                  <a:lnTo>
                    <a:pt x="46896" y="38540"/>
                  </a:lnTo>
                  <a:lnTo>
                    <a:pt x="46896" y="37226"/>
                  </a:lnTo>
                  <a:lnTo>
                    <a:pt x="46896" y="36350"/>
                  </a:lnTo>
                  <a:lnTo>
                    <a:pt x="48965" y="35474"/>
                  </a:lnTo>
                  <a:lnTo>
                    <a:pt x="46896" y="35474"/>
                  </a:lnTo>
                  <a:lnTo>
                    <a:pt x="46896" y="35474"/>
                  </a:lnTo>
                  <a:lnTo>
                    <a:pt x="45517" y="33284"/>
                  </a:lnTo>
                  <a:lnTo>
                    <a:pt x="44137" y="31094"/>
                  </a:lnTo>
                  <a:lnTo>
                    <a:pt x="44137" y="31094"/>
                  </a:lnTo>
                  <a:lnTo>
                    <a:pt x="44137" y="30218"/>
                  </a:lnTo>
                  <a:lnTo>
                    <a:pt x="44137" y="30218"/>
                  </a:lnTo>
                  <a:lnTo>
                    <a:pt x="44137" y="28905"/>
                  </a:lnTo>
                  <a:lnTo>
                    <a:pt x="44137" y="28905"/>
                  </a:lnTo>
                  <a:lnTo>
                    <a:pt x="45517" y="28029"/>
                  </a:lnTo>
                  <a:lnTo>
                    <a:pt x="45517" y="27153"/>
                  </a:lnTo>
                  <a:lnTo>
                    <a:pt x="45517" y="27153"/>
                  </a:lnTo>
                  <a:lnTo>
                    <a:pt x="44137" y="25839"/>
                  </a:lnTo>
                  <a:lnTo>
                    <a:pt x="44137" y="25839"/>
                  </a:lnTo>
                  <a:lnTo>
                    <a:pt x="44137" y="24963"/>
                  </a:lnTo>
                  <a:lnTo>
                    <a:pt x="45517" y="24087"/>
                  </a:lnTo>
                  <a:lnTo>
                    <a:pt x="46896" y="22773"/>
                  </a:lnTo>
                  <a:lnTo>
                    <a:pt x="48965" y="22773"/>
                  </a:lnTo>
                  <a:lnTo>
                    <a:pt x="50344" y="22773"/>
                  </a:lnTo>
                  <a:lnTo>
                    <a:pt x="51724" y="20583"/>
                  </a:lnTo>
                  <a:lnTo>
                    <a:pt x="51724" y="19708"/>
                  </a:lnTo>
                  <a:lnTo>
                    <a:pt x="53793" y="16642"/>
                  </a:lnTo>
                  <a:lnTo>
                    <a:pt x="53793" y="14452"/>
                  </a:lnTo>
                  <a:lnTo>
                    <a:pt x="53793" y="14452"/>
                  </a:lnTo>
                  <a:lnTo>
                    <a:pt x="53793" y="13576"/>
                  </a:lnTo>
                  <a:lnTo>
                    <a:pt x="53793" y="13576"/>
                  </a:lnTo>
                  <a:lnTo>
                    <a:pt x="51724" y="13576"/>
                  </a:lnTo>
                  <a:lnTo>
                    <a:pt x="51724" y="12700"/>
                  </a:lnTo>
                  <a:lnTo>
                    <a:pt x="51724" y="12700"/>
                  </a:lnTo>
                  <a:lnTo>
                    <a:pt x="50344" y="11386"/>
                  </a:lnTo>
                  <a:lnTo>
                    <a:pt x="50344" y="11386"/>
                  </a:lnTo>
                  <a:lnTo>
                    <a:pt x="48965" y="10510"/>
                  </a:lnTo>
                  <a:lnTo>
                    <a:pt x="48965" y="9197"/>
                  </a:lnTo>
                  <a:lnTo>
                    <a:pt x="46896" y="8321"/>
                  </a:lnTo>
                  <a:lnTo>
                    <a:pt x="46896" y="7445"/>
                  </a:lnTo>
                  <a:lnTo>
                    <a:pt x="46896" y="5255"/>
                  </a:lnTo>
                  <a:lnTo>
                    <a:pt x="46896" y="4379"/>
                  </a:lnTo>
                  <a:lnTo>
                    <a:pt x="48965" y="3065"/>
                  </a:lnTo>
                  <a:lnTo>
                    <a:pt x="48965" y="2189"/>
                  </a:lnTo>
                  <a:lnTo>
                    <a:pt x="46896" y="2189"/>
                  </a:lnTo>
                  <a:lnTo>
                    <a:pt x="46896" y="1313"/>
                  </a:lnTo>
                  <a:lnTo>
                    <a:pt x="46896" y="1313"/>
                  </a:lnTo>
                  <a:lnTo>
                    <a:pt x="45517" y="1313"/>
                  </a:lnTo>
                  <a:lnTo>
                    <a:pt x="45517" y="2189"/>
                  </a:lnTo>
                  <a:lnTo>
                    <a:pt x="45517" y="2189"/>
                  </a:lnTo>
                  <a:lnTo>
                    <a:pt x="44137" y="3065"/>
                  </a:lnTo>
                  <a:lnTo>
                    <a:pt x="42068" y="3065"/>
                  </a:lnTo>
                  <a:lnTo>
                    <a:pt x="40689" y="2189"/>
                  </a:lnTo>
                  <a:lnTo>
                    <a:pt x="38620" y="2189"/>
                  </a:lnTo>
                  <a:lnTo>
                    <a:pt x="33793" y="0"/>
                  </a:lnTo>
                  <a:lnTo>
                    <a:pt x="32413" y="0"/>
                  </a:lnTo>
                  <a:lnTo>
                    <a:pt x="31034" y="0"/>
                  </a:lnTo>
                  <a:lnTo>
                    <a:pt x="31034" y="0"/>
                  </a:lnTo>
                  <a:lnTo>
                    <a:pt x="28965" y="0"/>
                  </a:lnTo>
                  <a:lnTo>
                    <a:pt x="28965" y="0"/>
                  </a:lnTo>
                  <a:lnTo>
                    <a:pt x="27586" y="0"/>
                  </a:lnTo>
                  <a:lnTo>
                    <a:pt x="26206" y="1313"/>
                  </a:lnTo>
                  <a:lnTo>
                    <a:pt x="26206" y="2189"/>
                  </a:lnTo>
                  <a:lnTo>
                    <a:pt x="26206" y="3065"/>
                  </a:lnTo>
                  <a:lnTo>
                    <a:pt x="26206" y="4379"/>
                  </a:lnTo>
                  <a:lnTo>
                    <a:pt x="24137" y="9197"/>
                  </a:lnTo>
                  <a:lnTo>
                    <a:pt x="26206" y="9197"/>
                  </a:lnTo>
                  <a:lnTo>
                    <a:pt x="26206" y="10510"/>
                  </a:lnTo>
                  <a:lnTo>
                    <a:pt x="26206" y="11386"/>
                  </a:lnTo>
                  <a:lnTo>
                    <a:pt x="26206" y="12700"/>
                  </a:lnTo>
                  <a:lnTo>
                    <a:pt x="27586" y="13576"/>
                  </a:lnTo>
                  <a:lnTo>
                    <a:pt x="27586" y="15766"/>
                  </a:lnTo>
                  <a:lnTo>
                    <a:pt x="26206" y="16642"/>
                  </a:lnTo>
                  <a:lnTo>
                    <a:pt x="26206" y="17518"/>
                  </a:lnTo>
                  <a:lnTo>
                    <a:pt x="27586" y="18832"/>
                  </a:lnTo>
                  <a:lnTo>
                    <a:pt x="27586" y="20583"/>
                  </a:lnTo>
                  <a:lnTo>
                    <a:pt x="28965" y="21897"/>
                  </a:lnTo>
                  <a:lnTo>
                    <a:pt x="28965" y="22773"/>
                  </a:lnTo>
                  <a:lnTo>
                    <a:pt x="28965" y="22773"/>
                  </a:lnTo>
                  <a:lnTo>
                    <a:pt x="27586" y="24087"/>
                  </a:lnTo>
                  <a:lnTo>
                    <a:pt x="27586" y="24087"/>
                  </a:lnTo>
                  <a:lnTo>
                    <a:pt x="26206" y="24087"/>
                  </a:lnTo>
                  <a:lnTo>
                    <a:pt x="26206" y="24087"/>
                  </a:lnTo>
                  <a:lnTo>
                    <a:pt x="24137" y="22773"/>
                  </a:lnTo>
                  <a:lnTo>
                    <a:pt x="22758" y="21897"/>
                  </a:lnTo>
                  <a:lnTo>
                    <a:pt x="22758" y="21897"/>
                  </a:lnTo>
                  <a:lnTo>
                    <a:pt x="22758" y="21897"/>
                  </a:lnTo>
                  <a:lnTo>
                    <a:pt x="21379" y="20583"/>
                  </a:lnTo>
                  <a:lnTo>
                    <a:pt x="21379" y="20583"/>
                  </a:lnTo>
                  <a:lnTo>
                    <a:pt x="21379" y="21897"/>
                  </a:lnTo>
                  <a:lnTo>
                    <a:pt x="21379" y="24087"/>
                  </a:lnTo>
                  <a:lnTo>
                    <a:pt x="21379" y="24087"/>
                  </a:lnTo>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05" name="Shape 405"/>
            <p:cNvSpPr/>
            <p:nvPr/>
          </p:nvSpPr>
          <p:spPr>
            <a:xfrm>
              <a:off x="2142" y="2808"/>
              <a:ext cx="300" cy="300"/>
            </a:xfrm>
            <a:custGeom>
              <a:avLst/>
              <a:gdLst/>
              <a:ahLst/>
              <a:cxnLst/>
              <a:rect l="0" t="0" r="0" b="0"/>
              <a:pathLst>
                <a:path w="120000" h="120000" extrusionOk="0">
                  <a:moveTo>
                    <a:pt x="120000" y="106976"/>
                  </a:moveTo>
                  <a:lnTo>
                    <a:pt x="120000" y="106356"/>
                  </a:lnTo>
                  <a:lnTo>
                    <a:pt x="118548" y="106356"/>
                  </a:lnTo>
                  <a:lnTo>
                    <a:pt x="117580" y="106356"/>
                  </a:lnTo>
                  <a:lnTo>
                    <a:pt x="117580" y="106356"/>
                  </a:lnTo>
                  <a:lnTo>
                    <a:pt x="116612" y="105426"/>
                  </a:lnTo>
                  <a:lnTo>
                    <a:pt x="115161" y="103255"/>
                  </a:lnTo>
                  <a:lnTo>
                    <a:pt x="114193" y="102635"/>
                  </a:lnTo>
                  <a:lnTo>
                    <a:pt x="114193" y="101705"/>
                  </a:lnTo>
                  <a:lnTo>
                    <a:pt x="115161" y="101085"/>
                  </a:lnTo>
                  <a:lnTo>
                    <a:pt x="115161" y="100465"/>
                  </a:lnTo>
                  <a:lnTo>
                    <a:pt x="116612" y="99534"/>
                  </a:lnTo>
                  <a:lnTo>
                    <a:pt x="116612" y="99534"/>
                  </a:lnTo>
                  <a:lnTo>
                    <a:pt x="114193" y="98294"/>
                  </a:lnTo>
                  <a:lnTo>
                    <a:pt x="114193" y="98294"/>
                  </a:lnTo>
                  <a:lnTo>
                    <a:pt x="114193" y="97364"/>
                  </a:lnTo>
                  <a:lnTo>
                    <a:pt x="114193" y="96744"/>
                  </a:lnTo>
                  <a:lnTo>
                    <a:pt x="115161" y="96744"/>
                  </a:lnTo>
                  <a:lnTo>
                    <a:pt x="115161" y="95813"/>
                  </a:lnTo>
                  <a:lnTo>
                    <a:pt x="115161" y="95193"/>
                  </a:lnTo>
                  <a:lnTo>
                    <a:pt x="115161" y="95193"/>
                  </a:lnTo>
                  <a:lnTo>
                    <a:pt x="115161" y="95193"/>
                  </a:lnTo>
                  <a:lnTo>
                    <a:pt x="116612" y="94573"/>
                  </a:lnTo>
                  <a:lnTo>
                    <a:pt x="116612" y="94573"/>
                  </a:lnTo>
                  <a:lnTo>
                    <a:pt x="116612" y="93643"/>
                  </a:lnTo>
                  <a:lnTo>
                    <a:pt x="116612" y="93023"/>
                  </a:lnTo>
                  <a:lnTo>
                    <a:pt x="117580" y="93023"/>
                  </a:lnTo>
                  <a:lnTo>
                    <a:pt x="117580" y="93023"/>
                  </a:lnTo>
                  <a:lnTo>
                    <a:pt x="117580" y="93023"/>
                  </a:lnTo>
                  <a:lnTo>
                    <a:pt x="117580" y="92403"/>
                  </a:lnTo>
                  <a:lnTo>
                    <a:pt x="117580" y="91472"/>
                  </a:lnTo>
                  <a:lnTo>
                    <a:pt x="116612" y="91472"/>
                  </a:lnTo>
                  <a:lnTo>
                    <a:pt x="116612" y="90232"/>
                  </a:lnTo>
                  <a:lnTo>
                    <a:pt x="115161" y="89302"/>
                  </a:lnTo>
                  <a:lnTo>
                    <a:pt x="115161" y="89302"/>
                  </a:lnTo>
                  <a:lnTo>
                    <a:pt x="116612" y="88682"/>
                  </a:lnTo>
                  <a:lnTo>
                    <a:pt x="116612" y="88682"/>
                  </a:lnTo>
                  <a:lnTo>
                    <a:pt x="116612" y="87751"/>
                  </a:lnTo>
                  <a:lnTo>
                    <a:pt x="115161" y="84961"/>
                  </a:lnTo>
                  <a:lnTo>
                    <a:pt x="115161" y="84341"/>
                  </a:lnTo>
                  <a:lnTo>
                    <a:pt x="116612" y="84341"/>
                  </a:lnTo>
                  <a:lnTo>
                    <a:pt x="116612" y="83410"/>
                  </a:lnTo>
                  <a:lnTo>
                    <a:pt x="117580" y="83410"/>
                  </a:lnTo>
                  <a:lnTo>
                    <a:pt x="117580" y="82790"/>
                  </a:lnTo>
                  <a:lnTo>
                    <a:pt x="117580" y="82790"/>
                  </a:lnTo>
                  <a:lnTo>
                    <a:pt x="117580" y="81860"/>
                  </a:lnTo>
                  <a:lnTo>
                    <a:pt x="117580" y="81860"/>
                  </a:lnTo>
                  <a:lnTo>
                    <a:pt x="116612" y="80620"/>
                  </a:lnTo>
                  <a:lnTo>
                    <a:pt x="115161" y="79069"/>
                  </a:lnTo>
                  <a:lnTo>
                    <a:pt x="114193" y="77519"/>
                  </a:lnTo>
                  <a:lnTo>
                    <a:pt x="113225" y="76279"/>
                  </a:lnTo>
                  <a:lnTo>
                    <a:pt x="111774" y="75348"/>
                  </a:lnTo>
                  <a:lnTo>
                    <a:pt x="110806" y="73798"/>
                  </a:lnTo>
                  <a:lnTo>
                    <a:pt x="110806" y="73178"/>
                  </a:lnTo>
                  <a:lnTo>
                    <a:pt x="108387" y="71627"/>
                  </a:lnTo>
                  <a:lnTo>
                    <a:pt x="108387" y="71627"/>
                  </a:lnTo>
                  <a:lnTo>
                    <a:pt x="105967" y="71627"/>
                  </a:lnTo>
                  <a:lnTo>
                    <a:pt x="105000" y="71627"/>
                  </a:lnTo>
                  <a:lnTo>
                    <a:pt x="105000" y="71627"/>
                  </a:lnTo>
                  <a:lnTo>
                    <a:pt x="104032" y="72558"/>
                  </a:lnTo>
                  <a:lnTo>
                    <a:pt x="102580" y="72558"/>
                  </a:lnTo>
                  <a:lnTo>
                    <a:pt x="102580" y="72558"/>
                  </a:lnTo>
                  <a:lnTo>
                    <a:pt x="101612" y="72558"/>
                  </a:lnTo>
                  <a:lnTo>
                    <a:pt x="101612" y="71627"/>
                  </a:lnTo>
                  <a:lnTo>
                    <a:pt x="100645" y="71627"/>
                  </a:lnTo>
                  <a:lnTo>
                    <a:pt x="100645" y="71627"/>
                  </a:lnTo>
                  <a:lnTo>
                    <a:pt x="99193" y="71627"/>
                  </a:lnTo>
                  <a:lnTo>
                    <a:pt x="99193" y="71007"/>
                  </a:lnTo>
                  <a:lnTo>
                    <a:pt x="99193" y="69457"/>
                  </a:lnTo>
                  <a:lnTo>
                    <a:pt x="99193" y="68217"/>
                  </a:lnTo>
                  <a:lnTo>
                    <a:pt x="99193" y="66666"/>
                  </a:lnTo>
                  <a:lnTo>
                    <a:pt x="99193" y="65116"/>
                  </a:lnTo>
                  <a:lnTo>
                    <a:pt x="99193" y="64496"/>
                  </a:lnTo>
                  <a:lnTo>
                    <a:pt x="99193" y="63565"/>
                  </a:lnTo>
                  <a:lnTo>
                    <a:pt x="99193" y="63565"/>
                  </a:lnTo>
                  <a:lnTo>
                    <a:pt x="99193" y="62945"/>
                  </a:lnTo>
                  <a:lnTo>
                    <a:pt x="99193" y="62325"/>
                  </a:lnTo>
                  <a:lnTo>
                    <a:pt x="99193" y="62325"/>
                  </a:lnTo>
                  <a:lnTo>
                    <a:pt x="99193" y="61395"/>
                  </a:lnTo>
                  <a:lnTo>
                    <a:pt x="99193" y="62325"/>
                  </a:lnTo>
                  <a:lnTo>
                    <a:pt x="98225" y="62325"/>
                  </a:lnTo>
                  <a:lnTo>
                    <a:pt x="98225" y="62325"/>
                  </a:lnTo>
                  <a:lnTo>
                    <a:pt x="97258" y="62325"/>
                  </a:lnTo>
                  <a:lnTo>
                    <a:pt x="97258" y="62945"/>
                  </a:lnTo>
                  <a:lnTo>
                    <a:pt x="97258" y="62945"/>
                  </a:lnTo>
                  <a:lnTo>
                    <a:pt x="95806" y="63565"/>
                  </a:lnTo>
                  <a:lnTo>
                    <a:pt x="94838" y="64496"/>
                  </a:lnTo>
                  <a:lnTo>
                    <a:pt x="94838" y="64496"/>
                  </a:lnTo>
                  <a:lnTo>
                    <a:pt x="93387" y="65116"/>
                  </a:lnTo>
                  <a:lnTo>
                    <a:pt x="92419" y="65116"/>
                  </a:lnTo>
                  <a:lnTo>
                    <a:pt x="90000" y="65116"/>
                  </a:lnTo>
                  <a:lnTo>
                    <a:pt x="88064" y="65116"/>
                  </a:lnTo>
                  <a:lnTo>
                    <a:pt x="85645" y="65116"/>
                  </a:lnTo>
                  <a:lnTo>
                    <a:pt x="85645" y="65116"/>
                  </a:lnTo>
                  <a:lnTo>
                    <a:pt x="84677" y="65116"/>
                  </a:lnTo>
                  <a:lnTo>
                    <a:pt x="85645" y="64496"/>
                  </a:lnTo>
                  <a:lnTo>
                    <a:pt x="84677" y="63565"/>
                  </a:lnTo>
                  <a:lnTo>
                    <a:pt x="84677" y="63565"/>
                  </a:lnTo>
                  <a:lnTo>
                    <a:pt x="83225" y="62945"/>
                  </a:lnTo>
                  <a:lnTo>
                    <a:pt x="83225" y="62325"/>
                  </a:lnTo>
                  <a:lnTo>
                    <a:pt x="83225" y="62325"/>
                  </a:lnTo>
                  <a:lnTo>
                    <a:pt x="82258" y="62325"/>
                  </a:lnTo>
                  <a:lnTo>
                    <a:pt x="81290" y="61395"/>
                  </a:lnTo>
                  <a:lnTo>
                    <a:pt x="78870" y="61395"/>
                  </a:lnTo>
                  <a:lnTo>
                    <a:pt x="77419" y="61395"/>
                  </a:lnTo>
                  <a:lnTo>
                    <a:pt x="75483" y="61395"/>
                  </a:lnTo>
                  <a:lnTo>
                    <a:pt x="76451" y="60775"/>
                  </a:lnTo>
                  <a:lnTo>
                    <a:pt x="77419" y="59224"/>
                  </a:lnTo>
                  <a:lnTo>
                    <a:pt x="77419" y="58604"/>
                  </a:lnTo>
                  <a:lnTo>
                    <a:pt x="76451" y="57674"/>
                  </a:lnTo>
                  <a:lnTo>
                    <a:pt x="76451" y="57674"/>
                  </a:lnTo>
                  <a:lnTo>
                    <a:pt x="75483" y="57054"/>
                  </a:lnTo>
                  <a:lnTo>
                    <a:pt x="74032" y="56434"/>
                  </a:lnTo>
                  <a:lnTo>
                    <a:pt x="74032" y="56434"/>
                  </a:lnTo>
                  <a:lnTo>
                    <a:pt x="74032" y="55503"/>
                  </a:lnTo>
                  <a:lnTo>
                    <a:pt x="73064" y="55503"/>
                  </a:lnTo>
                  <a:lnTo>
                    <a:pt x="73064" y="55503"/>
                  </a:lnTo>
                  <a:lnTo>
                    <a:pt x="73064" y="54883"/>
                  </a:lnTo>
                  <a:lnTo>
                    <a:pt x="72096" y="54883"/>
                  </a:lnTo>
                  <a:lnTo>
                    <a:pt x="72096" y="54883"/>
                  </a:lnTo>
                  <a:lnTo>
                    <a:pt x="72096" y="54263"/>
                  </a:lnTo>
                  <a:lnTo>
                    <a:pt x="72096" y="54263"/>
                  </a:lnTo>
                  <a:lnTo>
                    <a:pt x="70645" y="53333"/>
                  </a:lnTo>
                  <a:lnTo>
                    <a:pt x="70645" y="53333"/>
                  </a:lnTo>
                  <a:lnTo>
                    <a:pt x="70645" y="52713"/>
                  </a:lnTo>
                  <a:lnTo>
                    <a:pt x="70645" y="52713"/>
                  </a:lnTo>
                  <a:lnTo>
                    <a:pt x="69677" y="52093"/>
                  </a:lnTo>
                  <a:lnTo>
                    <a:pt x="69677" y="52093"/>
                  </a:lnTo>
                  <a:lnTo>
                    <a:pt x="69677" y="52093"/>
                  </a:lnTo>
                  <a:lnTo>
                    <a:pt x="69677" y="51162"/>
                  </a:lnTo>
                  <a:lnTo>
                    <a:pt x="69677" y="51162"/>
                  </a:lnTo>
                  <a:lnTo>
                    <a:pt x="69677" y="51162"/>
                  </a:lnTo>
                  <a:lnTo>
                    <a:pt x="69677" y="50542"/>
                  </a:lnTo>
                  <a:lnTo>
                    <a:pt x="69677" y="50542"/>
                  </a:lnTo>
                  <a:lnTo>
                    <a:pt x="68709" y="49612"/>
                  </a:lnTo>
                  <a:lnTo>
                    <a:pt x="67258" y="49612"/>
                  </a:lnTo>
                  <a:lnTo>
                    <a:pt x="67258" y="49612"/>
                  </a:lnTo>
                  <a:lnTo>
                    <a:pt x="67258" y="48992"/>
                  </a:lnTo>
                  <a:lnTo>
                    <a:pt x="67258" y="48992"/>
                  </a:lnTo>
                  <a:lnTo>
                    <a:pt x="67258" y="48992"/>
                  </a:lnTo>
                  <a:lnTo>
                    <a:pt x="67258" y="48992"/>
                  </a:lnTo>
                  <a:lnTo>
                    <a:pt x="67258" y="48372"/>
                  </a:lnTo>
                  <a:lnTo>
                    <a:pt x="67258" y="48372"/>
                  </a:lnTo>
                  <a:lnTo>
                    <a:pt x="68709" y="48372"/>
                  </a:lnTo>
                  <a:lnTo>
                    <a:pt x="68709" y="48372"/>
                  </a:lnTo>
                  <a:lnTo>
                    <a:pt x="68709" y="48372"/>
                  </a:lnTo>
                  <a:lnTo>
                    <a:pt x="68709" y="48372"/>
                  </a:lnTo>
                  <a:lnTo>
                    <a:pt x="69677" y="48372"/>
                  </a:lnTo>
                  <a:lnTo>
                    <a:pt x="69677" y="47441"/>
                  </a:lnTo>
                  <a:lnTo>
                    <a:pt x="69677" y="47441"/>
                  </a:lnTo>
                  <a:lnTo>
                    <a:pt x="69677" y="46821"/>
                  </a:lnTo>
                  <a:lnTo>
                    <a:pt x="68709" y="46821"/>
                  </a:lnTo>
                  <a:lnTo>
                    <a:pt x="68709" y="46201"/>
                  </a:lnTo>
                  <a:lnTo>
                    <a:pt x="69677" y="45271"/>
                  </a:lnTo>
                  <a:lnTo>
                    <a:pt x="69677" y="45271"/>
                  </a:lnTo>
                  <a:lnTo>
                    <a:pt x="69677" y="44651"/>
                  </a:lnTo>
                  <a:lnTo>
                    <a:pt x="72096" y="44031"/>
                  </a:lnTo>
                  <a:lnTo>
                    <a:pt x="73064" y="43100"/>
                  </a:lnTo>
                  <a:lnTo>
                    <a:pt x="74032" y="43100"/>
                  </a:lnTo>
                  <a:lnTo>
                    <a:pt x="74032" y="42480"/>
                  </a:lnTo>
                  <a:lnTo>
                    <a:pt x="74032" y="42480"/>
                  </a:lnTo>
                  <a:lnTo>
                    <a:pt x="74032" y="41550"/>
                  </a:lnTo>
                  <a:lnTo>
                    <a:pt x="74032" y="41550"/>
                  </a:lnTo>
                  <a:lnTo>
                    <a:pt x="74032" y="40930"/>
                  </a:lnTo>
                  <a:lnTo>
                    <a:pt x="74032" y="40310"/>
                  </a:lnTo>
                  <a:lnTo>
                    <a:pt x="73064" y="39379"/>
                  </a:lnTo>
                  <a:lnTo>
                    <a:pt x="74032" y="39379"/>
                  </a:lnTo>
                  <a:lnTo>
                    <a:pt x="74032" y="38759"/>
                  </a:lnTo>
                  <a:lnTo>
                    <a:pt x="75483" y="38139"/>
                  </a:lnTo>
                  <a:lnTo>
                    <a:pt x="75483" y="36589"/>
                  </a:lnTo>
                  <a:lnTo>
                    <a:pt x="75483" y="36589"/>
                  </a:lnTo>
                  <a:lnTo>
                    <a:pt x="75483" y="35968"/>
                  </a:lnTo>
                  <a:lnTo>
                    <a:pt x="76451" y="34418"/>
                  </a:lnTo>
                  <a:lnTo>
                    <a:pt x="76451" y="33488"/>
                  </a:lnTo>
                  <a:lnTo>
                    <a:pt x="76451" y="33488"/>
                  </a:lnTo>
                  <a:lnTo>
                    <a:pt x="76451" y="33488"/>
                  </a:lnTo>
                  <a:lnTo>
                    <a:pt x="76451" y="33488"/>
                  </a:lnTo>
                  <a:lnTo>
                    <a:pt x="77419" y="32868"/>
                  </a:lnTo>
                  <a:lnTo>
                    <a:pt x="78870" y="32868"/>
                  </a:lnTo>
                  <a:lnTo>
                    <a:pt x="79838" y="32248"/>
                  </a:lnTo>
                  <a:lnTo>
                    <a:pt x="81290" y="31317"/>
                  </a:lnTo>
                  <a:lnTo>
                    <a:pt x="82258" y="30697"/>
                  </a:lnTo>
                  <a:lnTo>
                    <a:pt x="83225" y="30077"/>
                  </a:lnTo>
                  <a:lnTo>
                    <a:pt x="84677" y="30077"/>
                  </a:lnTo>
                  <a:lnTo>
                    <a:pt x="84677" y="30077"/>
                  </a:lnTo>
                  <a:lnTo>
                    <a:pt x="85645" y="29147"/>
                  </a:lnTo>
                  <a:lnTo>
                    <a:pt x="86612" y="29147"/>
                  </a:lnTo>
                  <a:lnTo>
                    <a:pt x="88064" y="29147"/>
                  </a:lnTo>
                  <a:lnTo>
                    <a:pt x="89032" y="29147"/>
                  </a:lnTo>
                  <a:lnTo>
                    <a:pt x="90000" y="29147"/>
                  </a:lnTo>
                  <a:lnTo>
                    <a:pt x="91451" y="28527"/>
                  </a:lnTo>
                  <a:lnTo>
                    <a:pt x="91451" y="28527"/>
                  </a:lnTo>
                  <a:lnTo>
                    <a:pt x="93387" y="28527"/>
                  </a:lnTo>
                  <a:lnTo>
                    <a:pt x="93387" y="27906"/>
                  </a:lnTo>
                  <a:lnTo>
                    <a:pt x="94838" y="27906"/>
                  </a:lnTo>
                  <a:lnTo>
                    <a:pt x="94838" y="26976"/>
                  </a:lnTo>
                  <a:lnTo>
                    <a:pt x="95806" y="26976"/>
                  </a:lnTo>
                  <a:lnTo>
                    <a:pt x="95806" y="26976"/>
                  </a:lnTo>
                  <a:lnTo>
                    <a:pt x="97258" y="26976"/>
                  </a:lnTo>
                  <a:lnTo>
                    <a:pt x="98225" y="26976"/>
                  </a:lnTo>
                  <a:lnTo>
                    <a:pt x="99193" y="26976"/>
                  </a:lnTo>
                  <a:lnTo>
                    <a:pt x="99193" y="27906"/>
                  </a:lnTo>
                  <a:lnTo>
                    <a:pt x="100645" y="27906"/>
                  </a:lnTo>
                  <a:lnTo>
                    <a:pt x="100645" y="27906"/>
                  </a:lnTo>
                  <a:lnTo>
                    <a:pt x="100645" y="27906"/>
                  </a:lnTo>
                  <a:lnTo>
                    <a:pt x="101612" y="28527"/>
                  </a:lnTo>
                  <a:lnTo>
                    <a:pt x="101612" y="28527"/>
                  </a:lnTo>
                  <a:lnTo>
                    <a:pt x="102580" y="27906"/>
                  </a:lnTo>
                  <a:lnTo>
                    <a:pt x="102580" y="27906"/>
                  </a:lnTo>
                  <a:lnTo>
                    <a:pt x="101612" y="26976"/>
                  </a:lnTo>
                  <a:lnTo>
                    <a:pt x="101612" y="26976"/>
                  </a:lnTo>
                  <a:lnTo>
                    <a:pt x="100645" y="26356"/>
                  </a:lnTo>
                  <a:lnTo>
                    <a:pt x="100645" y="26356"/>
                  </a:lnTo>
                  <a:lnTo>
                    <a:pt x="99193" y="25426"/>
                  </a:lnTo>
                  <a:lnTo>
                    <a:pt x="99193" y="24806"/>
                  </a:lnTo>
                  <a:lnTo>
                    <a:pt x="99193" y="24806"/>
                  </a:lnTo>
                  <a:lnTo>
                    <a:pt x="98225" y="24806"/>
                  </a:lnTo>
                  <a:lnTo>
                    <a:pt x="98225" y="24806"/>
                  </a:lnTo>
                  <a:lnTo>
                    <a:pt x="97258" y="25426"/>
                  </a:lnTo>
                  <a:lnTo>
                    <a:pt x="97258" y="25426"/>
                  </a:lnTo>
                  <a:lnTo>
                    <a:pt x="95806" y="24806"/>
                  </a:lnTo>
                  <a:lnTo>
                    <a:pt x="94838" y="24806"/>
                  </a:lnTo>
                  <a:lnTo>
                    <a:pt x="95806" y="23255"/>
                  </a:lnTo>
                  <a:lnTo>
                    <a:pt x="98225" y="21085"/>
                  </a:lnTo>
                  <a:lnTo>
                    <a:pt x="99193" y="20465"/>
                  </a:lnTo>
                  <a:lnTo>
                    <a:pt x="100645" y="18914"/>
                  </a:lnTo>
                  <a:lnTo>
                    <a:pt x="100645" y="18294"/>
                  </a:lnTo>
                  <a:lnTo>
                    <a:pt x="101612" y="17364"/>
                  </a:lnTo>
                  <a:lnTo>
                    <a:pt x="100645" y="17364"/>
                  </a:lnTo>
                  <a:lnTo>
                    <a:pt x="100645" y="17364"/>
                  </a:lnTo>
                  <a:lnTo>
                    <a:pt x="100645" y="17364"/>
                  </a:lnTo>
                  <a:lnTo>
                    <a:pt x="99193" y="16744"/>
                  </a:lnTo>
                  <a:lnTo>
                    <a:pt x="99193" y="16744"/>
                  </a:lnTo>
                  <a:lnTo>
                    <a:pt x="98225" y="16744"/>
                  </a:lnTo>
                  <a:lnTo>
                    <a:pt x="98225" y="16124"/>
                  </a:lnTo>
                  <a:lnTo>
                    <a:pt x="97258" y="16124"/>
                  </a:lnTo>
                  <a:lnTo>
                    <a:pt x="95806" y="16124"/>
                  </a:lnTo>
                  <a:lnTo>
                    <a:pt x="95806" y="16124"/>
                  </a:lnTo>
                  <a:lnTo>
                    <a:pt x="94838" y="15193"/>
                  </a:lnTo>
                  <a:lnTo>
                    <a:pt x="93387" y="14573"/>
                  </a:lnTo>
                  <a:lnTo>
                    <a:pt x="92419" y="14573"/>
                  </a:lnTo>
                  <a:lnTo>
                    <a:pt x="92419" y="14573"/>
                  </a:lnTo>
                  <a:lnTo>
                    <a:pt x="91451" y="14573"/>
                  </a:lnTo>
                  <a:lnTo>
                    <a:pt x="90000" y="15193"/>
                  </a:lnTo>
                  <a:lnTo>
                    <a:pt x="90000" y="15193"/>
                  </a:lnTo>
                  <a:lnTo>
                    <a:pt x="89032" y="15193"/>
                  </a:lnTo>
                  <a:lnTo>
                    <a:pt x="89032" y="15193"/>
                  </a:lnTo>
                  <a:lnTo>
                    <a:pt x="88064" y="14573"/>
                  </a:lnTo>
                  <a:lnTo>
                    <a:pt x="88064" y="14573"/>
                  </a:lnTo>
                  <a:lnTo>
                    <a:pt x="86612" y="14573"/>
                  </a:lnTo>
                  <a:lnTo>
                    <a:pt x="85645" y="13953"/>
                  </a:lnTo>
                  <a:lnTo>
                    <a:pt x="85645" y="13953"/>
                  </a:lnTo>
                  <a:lnTo>
                    <a:pt x="84677" y="14573"/>
                  </a:lnTo>
                  <a:lnTo>
                    <a:pt x="84677" y="14573"/>
                  </a:lnTo>
                  <a:lnTo>
                    <a:pt x="83225" y="15193"/>
                  </a:lnTo>
                  <a:lnTo>
                    <a:pt x="83225" y="15193"/>
                  </a:lnTo>
                  <a:lnTo>
                    <a:pt x="82258" y="15193"/>
                  </a:lnTo>
                  <a:lnTo>
                    <a:pt x="81290" y="15193"/>
                  </a:lnTo>
                  <a:lnTo>
                    <a:pt x="81290" y="16124"/>
                  </a:lnTo>
                  <a:lnTo>
                    <a:pt x="79838" y="16124"/>
                  </a:lnTo>
                  <a:lnTo>
                    <a:pt x="78870" y="15193"/>
                  </a:lnTo>
                  <a:lnTo>
                    <a:pt x="78870" y="15193"/>
                  </a:lnTo>
                  <a:lnTo>
                    <a:pt x="77419" y="15193"/>
                  </a:lnTo>
                  <a:lnTo>
                    <a:pt x="77419" y="15193"/>
                  </a:lnTo>
                  <a:lnTo>
                    <a:pt x="77419" y="15193"/>
                  </a:lnTo>
                  <a:lnTo>
                    <a:pt x="76451" y="16124"/>
                  </a:lnTo>
                  <a:lnTo>
                    <a:pt x="75483" y="16124"/>
                  </a:lnTo>
                  <a:lnTo>
                    <a:pt x="75483" y="15193"/>
                  </a:lnTo>
                  <a:lnTo>
                    <a:pt x="74032" y="15193"/>
                  </a:lnTo>
                  <a:lnTo>
                    <a:pt x="74032" y="15193"/>
                  </a:lnTo>
                  <a:lnTo>
                    <a:pt x="73064" y="14573"/>
                  </a:lnTo>
                  <a:lnTo>
                    <a:pt x="73064" y="14573"/>
                  </a:lnTo>
                  <a:lnTo>
                    <a:pt x="73064" y="13953"/>
                  </a:lnTo>
                  <a:lnTo>
                    <a:pt x="73064" y="13953"/>
                  </a:lnTo>
                  <a:lnTo>
                    <a:pt x="73064" y="13023"/>
                  </a:lnTo>
                  <a:lnTo>
                    <a:pt x="73064" y="12403"/>
                  </a:lnTo>
                  <a:lnTo>
                    <a:pt x="73064" y="11782"/>
                  </a:lnTo>
                  <a:lnTo>
                    <a:pt x="72096" y="11782"/>
                  </a:lnTo>
                  <a:lnTo>
                    <a:pt x="72096" y="11782"/>
                  </a:lnTo>
                  <a:lnTo>
                    <a:pt x="70645" y="11782"/>
                  </a:lnTo>
                  <a:lnTo>
                    <a:pt x="70645" y="11782"/>
                  </a:lnTo>
                  <a:lnTo>
                    <a:pt x="69677" y="10852"/>
                  </a:lnTo>
                  <a:lnTo>
                    <a:pt x="69677" y="10852"/>
                  </a:lnTo>
                  <a:lnTo>
                    <a:pt x="69677" y="10232"/>
                  </a:lnTo>
                  <a:lnTo>
                    <a:pt x="69677" y="9302"/>
                  </a:lnTo>
                  <a:lnTo>
                    <a:pt x="69677" y="9302"/>
                  </a:lnTo>
                  <a:lnTo>
                    <a:pt x="68709" y="8682"/>
                  </a:lnTo>
                  <a:lnTo>
                    <a:pt x="68709" y="8062"/>
                  </a:lnTo>
                  <a:lnTo>
                    <a:pt x="67258" y="8062"/>
                  </a:lnTo>
                  <a:lnTo>
                    <a:pt x="67258" y="8062"/>
                  </a:lnTo>
                  <a:lnTo>
                    <a:pt x="66290" y="8062"/>
                  </a:lnTo>
                  <a:lnTo>
                    <a:pt x="66290" y="7131"/>
                  </a:lnTo>
                  <a:lnTo>
                    <a:pt x="65322" y="7131"/>
                  </a:lnTo>
                  <a:lnTo>
                    <a:pt x="65322" y="6511"/>
                  </a:lnTo>
                  <a:lnTo>
                    <a:pt x="63870" y="6511"/>
                  </a:lnTo>
                  <a:lnTo>
                    <a:pt x="62903" y="6511"/>
                  </a:lnTo>
                  <a:lnTo>
                    <a:pt x="62903" y="5891"/>
                  </a:lnTo>
                  <a:lnTo>
                    <a:pt x="62903" y="5891"/>
                  </a:lnTo>
                  <a:lnTo>
                    <a:pt x="62903" y="4961"/>
                  </a:lnTo>
                  <a:lnTo>
                    <a:pt x="61451" y="4961"/>
                  </a:lnTo>
                  <a:lnTo>
                    <a:pt x="61451" y="4341"/>
                  </a:lnTo>
                  <a:lnTo>
                    <a:pt x="61451" y="3410"/>
                  </a:lnTo>
                  <a:lnTo>
                    <a:pt x="60483" y="3410"/>
                  </a:lnTo>
                  <a:lnTo>
                    <a:pt x="60483" y="2790"/>
                  </a:lnTo>
                  <a:lnTo>
                    <a:pt x="60483" y="2790"/>
                  </a:lnTo>
                  <a:lnTo>
                    <a:pt x="59516" y="2170"/>
                  </a:lnTo>
                  <a:lnTo>
                    <a:pt x="59516" y="2170"/>
                  </a:lnTo>
                  <a:lnTo>
                    <a:pt x="58064" y="2170"/>
                  </a:lnTo>
                  <a:lnTo>
                    <a:pt x="58064" y="1240"/>
                  </a:lnTo>
                  <a:lnTo>
                    <a:pt x="58064" y="1240"/>
                  </a:lnTo>
                  <a:lnTo>
                    <a:pt x="58064" y="1240"/>
                  </a:lnTo>
                  <a:lnTo>
                    <a:pt x="57096" y="1240"/>
                  </a:lnTo>
                  <a:lnTo>
                    <a:pt x="57096" y="1240"/>
                  </a:lnTo>
                  <a:lnTo>
                    <a:pt x="56129" y="620"/>
                  </a:lnTo>
                  <a:lnTo>
                    <a:pt x="56129" y="620"/>
                  </a:lnTo>
                  <a:lnTo>
                    <a:pt x="54677" y="0"/>
                  </a:lnTo>
                  <a:lnTo>
                    <a:pt x="54677" y="0"/>
                  </a:lnTo>
                  <a:lnTo>
                    <a:pt x="53709" y="0"/>
                  </a:lnTo>
                  <a:lnTo>
                    <a:pt x="53709" y="620"/>
                  </a:lnTo>
                  <a:lnTo>
                    <a:pt x="53709" y="620"/>
                  </a:lnTo>
                  <a:lnTo>
                    <a:pt x="52741" y="620"/>
                  </a:lnTo>
                  <a:lnTo>
                    <a:pt x="52741" y="620"/>
                  </a:lnTo>
                  <a:lnTo>
                    <a:pt x="51290" y="620"/>
                  </a:lnTo>
                  <a:lnTo>
                    <a:pt x="50322" y="620"/>
                  </a:lnTo>
                  <a:lnTo>
                    <a:pt x="50322" y="620"/>
                  </a:lnTo>
                  <a:lnTo>
                    <a:pt x="51290" y="1240"/>
                  </a:lnTo>
                  <a:lnTo>
                    <a:pt x="51290" y="1240"/>
                  </a:lnTo>
                  <a:lnTo>
                    <a:pt x="52741" y="2170"/>
                  </a:lnTo>
                  <a:lnTo>
                    <a:pt x="52741" y="2790"/>
                  </a:lnTo>
                  <a:lnTo>
                    <a:pt x="53709" y="3410"/>
                  </a:lnTo>
                  <a:lnTo>
                    <a:pt x="53709" y="3410"/>
                  </a:lnTo>
                  <a:lnTo>
                    <a:pt x="53709" y="3410"/>
                  </a:lnTo>
                  <a:lnTo>
                    <a:pt x="53709" y="4341"/>
                  </a:lnTo>
                  <a:lnTo>
                    <a:pt x="53709" y="4341"/>
                  </a:lnTo>
                  <a:lnTo>
                    <a:pt x="53709" y="6511"/>
                  </a:lnTo>
                  <a:lnTo>
                    <a:pt x="53709" y="6511"/>
                  </a:lnTo>
                  <a:lnTo>
                    <a:pt x="53709" y="6511"/>
                  </a:lnTo>
                  <a:lnTo>
                    <a:pt x="53709" y="6511"/>
                  </a:lnTo>
                  <a:lnTo>
                    <a:pt x="52741" y="5891"/>
                  </a:lnTo>
                  <a:lnTo>
                    <a:pt x="52741" y="5891"/>
                  </a:lnTo>
                  <a:lnTo>
                    <a:pt x="52741" y="6511"/>
                  </a:lnTo>
                  <a:lnTo>
                    <a:pt x="52741" y="7131"/>
                  </a:lnTo>
                  <a:lnTo>
                    <a:pt x="51290" y="8682"/>
                  </a:lnTo>
                  <a:lnTo>
                    <a:pt x="51290" y="10232"/>
                  </a:lnTo>
                  <a:lnTo>
                    <a:pt x="50322" y="10232"/>
                  </a:lnTo>
                  <a:lnTo>
                    <a:pt x="50322" y="10852"/>
                  </a:lnTo>
                  <a:lnTo>
                    <a:pt x="47903" y="12403"/>
                  </a:lnTo>
                  <a:lnTo>
                    <a:pt x="46935" y="13953"/>
                  </a:lnTo>
                  <a:lnTo>
                    <a:pt x="45483" y="14573"/>
                  </a:lnTo>
                  <a:lnTo>
                    <a:pt x="44516" y="15193"/>
                  </a:lnTo>
                  <a:lnTo>
                    <a:pt x="43548" y="16124"/>
                  </a:lnTo>
                  <a:lnTo>
                    <a:pt x="41129" y="16744"/>
                  </a:lnTo>
                  <a:lnTo>
                    <a:pt x="40161" y="17364"/>
                  </a:lnTo>
                  <a:lnTo>
                    <a:pt x="37741" y="17364"/>
                  </a:lnTo>
                  <a:lnTo>
                    <a:pt x="35322" y="18294"/>
                  </a:lnTo>
                  <a:lnTo>
                    <a:pt x="34354" y="18914"/>
                  </a:lnTo>
                  <a:lnTo>
                    <a:pt x="33387" y="18914"/>
                  </a:lnTo>
                  <a:lnTo>
                    <a:pt x="30967" y="19844"/>
                  </a:lnTo>
                  <a:lnTo>
                    <a:pt x="29516" y="19844"/>
                  </a:lnTo>
                  <a:lnTo>
                    <a:pt x="29516" y="21085"/>
                  </a:lnTo>
                  <a:lnTo>
                    <a:pt x="28548" y="21085"/>
                  </a:lnTo>
                  <a:lnTo>
                    <a:pt x="28548" y="22015"/>
                  </a:lnTo>
                  <a:lnTo>
                    <a:pt x="28548" y="22015"/>
                  </a:lnTo>
                  <a:lnTo>
                    <a:pt x="28548" y="22015"/>
                  </a:lnTo>
                  <a:lnTo>
                    <a:pt x="28548" y="22635"/>
                  </a:lnTo>
                  <a:lnTo>
                    <a:pt x="28548" y="22635"/>
                  </a:lnTo>
                  <a:lnTo>
                    <a:pt x="28548" y="22635"/>
                  </a:lnTo>
                  <a:lnTo>
                    <a:pt x="27580" y="22635"/>
                  </a:lnTo>
                  <a:lnTo>
                    <a:pt x="27580" y="22635"/>
                  </a:lnTo>
                  <a:lnTo>
                    <a:pt x="27580" y="22635"/>
                  </a:lnTo>
                  <a:lnTo>
                    <a:pt x="27580" y="22015"/>
                  </a:lnTo>
                  <a:lnTo>
                    <a:pt x="27580" y="22015"/>
                  </a:lnTo>
                  <a:lnTo>
                    <a:pt x="26129" y="22015"/>
                  </a:lnTo>
                  <a:lnTo>
                    <a:pt x="26129" y="22635"/>
                  </a:lnTo>
                  <a:lnTo>
                    <a:pt x="26129" y="23255"/>
                  </a:lnTo>
                  <a:lnTo>
                    <a:pt x="26129" y="24186"/>
                  </a:lnTo>
                  <a:lnTo>
                    <a:pt x="26129" y="24186"/>
                  </a:lnTo>
                  <a:lnTo>
                    <a:pt x="26129" y="24806"/>
                  </a:lnTo>
                  <a:lnTo>
                    <a:pt x="26129" y="24806"/>
                  </a:lnTo>
                  <a:lnTo>
                    <a:pt x="25161" y="25426"/>
                  </a:lnTo>
                  <a:lnTo>
                    <a:pt x="25161" y="25426"/>
                  </a:lnTo>
                  <a:lnTo>
                    <a:pt x="25161" y="26356"/>
                  </a:lnTo>
                  <a:lnTo>
                    <a:pt x="25161" y="26356"/>
                  </a:lnTo>
                  <a:lnTo>
                    <a:pt x="25161" y="26976"/>
                  </a:lnTo>
                  <a:lnTo>
                    <a:pt x="24193" y="27906"/>
                  </a:lnTo>
                  <a:lnTo>
                    <a:pt x="24193" y="28527"/>
                  </a:lnTo>
                  <a:lnTo>
                    <a:pt x="24193" y="28527"/>
                  </a:lnTo>
                  <a:lnTo>
                    <a:pt x="24193" y="29147"/>
                  </a:lnTo>
                  <a:lnTo>
                    <a:pt x="24193" y="29147"/>
                  </a:lnTo>
                  <a:lnTo>
                    <a:pt x="24193" y="29147"/>
                  </a:lnTo>
                  <a:lnTo>
                    <a:pt x="24193" y="30077"/>
                  </a:lnTo>
                  <a:lnTo>
                    <a:pt x="24193" y="30077"/>
                  </a:lnTo>
                  <a:lnTo>
                    <a:pt x="22741" y="30697"/>
                  </a:lnTo>
                  <a:lnTo>
                    <a:pt x="21774" y="30697"/>
                  </a:lnTo>
                  <a:lnTo>
                    <a:pt x="21774" y="31317"/>
                  </a:lnTo>
                  <a:lnTo>
                    <a:pt x="21774" y="31317"/>
                  </a:lnTo>
                  <a:lnTo>
                    <a:pt x="21774" y="31317"/>
                  </a:lnTo>
                  <a:lnTo>
                    <a:pt x="21774" y="32248"/>
                  </a:lnTo>
                  <a:lnTo>
                    <a:pt x="21774" y="32248"/>
                  </a:lnTo>
                  <a:lnTo>
                    <a:pt x="20806" y="32248"/>
                  </a:lnTo>
                  <a:lnTo>
                    <a:pt x="20806" y="32868"/>
                  </a:lnTo>
                  <a:lnTo>
                    <a:pt x="19354" y="32248"/>
                  </a:lnTo>
                  <a:lnTo>
                    <a:pt x="19354" y="32248"/>
                  </a:lnTo>
                  <a:lnTo>
                    <a:pt x="18387" y="32248"/>
                  </a:lnTo>
                  <a:lnTo>
                    <a:pt x="18387" y="31317"/>
                  </a:lnTo>
                  <a:lnTo>
                    <a:pt x="17419" y="31317"/>
                  </a:lnTo>
                  <a:lnTo>
                    <a:pt x="17419" y="30697"/>
                  </a:lnTo>
                  <a:lnTo>
                    <a:pt x="15967" y="30077"/>
                  </a:lnTo>
                  <a:lnTo>
                    <a:pt x="15967" y="29147"/>
                  </a:lnTo>
                  <a:lnTo>
                    <a:pt x="15000" y="29147"/>
                  </a:lnTo>
                  <a:lnTo>
                    <a:pt x="15000" y="29147"/>
                  </a:lnTo>
                  <a:lnTo>
                    <a:pt x="13548" y="29147"/>
                  </a:lnTo>
                  <a:lnTo>
                    <a:pt x="13548" y="29147"/>
                  </a:lnTo>
                  <a:lnTo>
                    <a:pt x="12580" y="28527"/>
                  </a:lnTo>
                  <a:lnTo>
                    <a:pt x="11612" y="28527"/>
                  </a:lnTo>
                  <a:lnTo>
                    <a:pt x="10161" y="27906"/>
                  </a:lnTo>
                  <a:lnTo>
                    <a:pt x="10161" y="28527"/>
                  </a:lnTo>
                  <a:lnTo>
                    <a:pt x="10161" y="28527"/>
                  </a:lnTo>
                  <a:lnTo>
                    <a:pt x="9193" y="28527"/>
                  </a:lnTo>
                  <a:lnTo>
                    <a:pt x="9193" y="29147"/>
                  </a:lnTo>
                  <a:lnTo>
                    <a:pt x="8225" y="29147"/>
                  </a:lnTo>
                  <a:lnTo>
                    <a:pt x="8225" y="29147"/>
                  </a:lnTo>
                  <a:lnTo>
                    <a:pt x="8225" y="28527"/>
                  </a:lnTo>
                  <a:lnTo>
                    <a:pt x="8225" y="28527"/>
                  </a:lnTo>
                  <a:lnTo>
                    <a:pt x="9193" y="27906"/>
                  </a:lnTo>
                  <a:lnTo>
                    <a:pt x="8225" y="27906"/>
                  </a:lnTo>
                  <a:lnTo>
                    <a:pt x="8225" y="26976"/>
                  </a:lnTo>
                  <a:lnTo>
                    <a:pt x="8225" y="26976"/>
                  </a:lnTo>
                  <a:lnTo>
                    <a:pt x="8225" y="26356"/>
                  </a:lnTo>
                  <a:lnTo>
                    <a:pt x="8225" y="26356"/>
                  </a:lnTo>
                  <a:lnTo>
                    <a:pt x="8225" y="26356"/>
                  </a:lnTo>
                  <a:lnTo>
                    <a:pt x="9193" y="26356"/>
                  </a:lnTo>
                  <a:lnTo>
                    <a:pt x="9193" y="26356"/>
                  </a:lnTo>
                  <a:lnTo>
                    <a:pt x="9193" y="25426"/>
                  </a:lnTo>
                  <a:lnTo>
                    <a:pt x="10161" y="25426"/>
                  </a:lnTo>
                  <a:lnTo>
                    <a:pt x="10161" y="25426"/>
                  </a:lnTo>
                  <a:lnTo>
                    <a:pt x="10161" y="25426"/>
                  </a:lnTo>
                  <a:lnTo>
                    <a:pt x="10161" y="24806"/>
                  </a:lnTo>
                  <a:lnTo>
                    <a:pt x="10161" y="24186"/>
                  </a:lnTo>
                  <a:lnTo>
                    <a:pt x="10161" y="24186"/>
                  </a:lnTo>
                  <a:lnTo>
                    <a:pt x="10161" y="24186"/>
                  </a:lnTo>
                  <a:lnTo>
                    <a:pt x="10161" y="23255"/>
                  </a:lnTo>
                  <a:lnTo>
                    <a:pt x="9193" y="23255"/>
                  </a:lnTo>
                  <a:lnTo>
                    <a:pt x="9193" y="22635"/>
                  </a:lnTo>
                  <a:lnTo>
                    <a:pt x="9193" y="22635"/>
                  </a:lnTo>
                  <a:lnTo>
                    <a:pt x="9193" y="22635"/>
                  </a:lnTo>
                  <a:lnTo>
                    <a:pt x="9193" y="22635"/>
                  </a:lnTo>
                  <a:lnTo>
                    <a:pt x="9193" y="22015"/>
                  </a:lnTo>
                  <a:lnTo>
                    <a:pt x="9193" y="22015"/>
                  </a:lnTo>
                  <a:lnTo>
                    <a:pt x="6774" y="22635"/>
                  </a:lnTo>
                  <a:lnTo>
                    <a:pt x="5806" y="24186"/>
                  </a:lnTo>
                  <a:lnTo>
                    <a:pt x="4838" y="24186"/>
                  </a:lnTo>
                  <a:lnTo>
                    <a:pt x="3387" y="25426"/>
                  </a:lnTo>
                  <a:lnTo>
                    <a:pt x="1451" y="27906"/>
                  </a:lnTo>
                  <a:lnTo>
                    <a:pt x="0" y="28527"/>
                  </a:lnTo>
                  <a:lnTo>
                    <a:pt x="0" y="30697"/>
                  </a:lnTo>
                  <a:lnTo>
                    <a:pt x="1451" y="31317"/>
                  </a:lnTo>
                  <a:lnTo>
                    <a:pt x="1451" y="32248"/>
                  </a:lnTo>
                  <a:lnTo>
                    <a:pt x="2419" y="32868"/>
                  </a:lnTo>
                  <a:lnTo>
                    <a:pt x="2419" y="33488"/>
                  </a:lnTo>
                  <a:lnTo>
                    <a:pt x="2419" y="33488"/>
                  </a:lnTo>
                  <a:lnTo>
                    <a:pt x="4838" y="35968"/>
                  </a:lnTo>
                  <a:lnTo>
                    <a:pt x="4838" y="36589"/>
                  </a:lnTo>
                  <a:lnTo>
                    <a:pt x="4838" y="37209"/>
                  </a:lnTo>
                  <a:lnTo>
                    <a:pt x="4838" y="38139"/>
                  </a:lnTo>
                  <a:lnTo>
                    <a:pt x="3387" y="38139"/>
                  </a:lnTo>
                  <a:lnTo>
                    <a:pt x="3387" y="38139"/>
                  </a:lnTo>
                  <a:lnTo>
                    <a:pt x="2419" y="38139"/>
                  </a:lnTo>
                  <a:lnTo>
                    <a:pt x="2419" y="38759"/>
                  </a:lnTo>
                  <a:lnTo>
                    <a:pt x="2419" y="39379"/>
                  </a:lnTo>
                  <a:lnTo>
                    <a:pt x="3387" y="40310"/>
                  </a:lnTo>
                  <a:lnTo>
                    <a:pt x="5806" y="40930"/>
                  </a:lnTo>
                  <a:lnTo>
                    <a:pt x="12580" y="43100"/>
                  </a:lnTo>
                  <a:lnTo>
                    <a:pt x="13548" y="44031"/>
                  </a:lnTo>
                  <a:lnTo>
                    <a:pt x="13548" y="45271"/>
                  </a:lnTo>
                  <a:lnTo>
                    <a:pt x="15967" y="46201"/>
                  </a:lnTo>
                  <a:lnTo>
                    <a:pt x="17419" y="47441"/>
                  </a:lnTo>
                  <a:lnTo>
                    <a:pt x="17419" y="48372"/>
                  </a:lnTo>
                  <a:lnTo>
                    <a:pt x="19354" y="51162"/>
                  </a:lnTo>
                  <a:lnTo>
                    <a:pt x="19354" y="52093"/>
                  </a:lnTo>
                  <a:lnTo>
                    <a:pt x="21774" y="52713"/>
                  </a:lnTo>
                  <a:lnTo>
                    <a:pt x="22741" y="53333"/>
                  </a:lnTo>
                  <a:lnTo>
                    <a:pt x="24193" y="54883"/>
                  </a:lnTo>
                  <a:lnTo>
                    <a:pt x="25161" y="56434"/>
                  </a:lnTo>
                  <a:lnTo>
                    <a:pt x="25161" y="57054"/>
                  </a:lnTo>
                  <a:lnTo>
                    <a:pt x="26129" y="58604"/>
                  </a:lnTo>
                  <a:lnTo>
                    <a:pt x="27580" y="60155"/>
                  </a:lnTo>
                  <a:lnTo>
                    <a:pt x="28548" y="61395"/>
                  </a:lnTo>
                  <a:lnTo>
                    <a:pt x="29516" y="62945"/>
                  </a:lnTo>
                  <a:lnTo>
                    <a:pt x="30967" y="64496"/>
                  </a:lnTo>
                  <a:lnTo>
                    <a:pt x="30967" y="65736"/>
                  </a:lnTo>
                  <a:lnTo>
                    <a:pt x="31935" y="67286"/>
                  </a:lnTo>
                  <a:lnTo>
                    <a:pt x="35322" y="71007"/>
                  </a:lnTo>
                  <a:lnTo>
                    <a:pt x="36774" y="71627"/>
                  </a:lnTo>
                  <a:lnTo>
                    <a:pt x="36774" y="73178"/>
                  </a:lnTo>
                  <a:lnTo>
                    <a:pt x="37741" y="73798"/>
                  </a:lnTo>
                  <a:lnTo>
                    <a:pt x="40161" y="75348"/>
                  </a:lnTo>
                  <a:lnTo>
                    <a:pt x="41129" y="76279"/>
                  </a:lnTo>
                  <a:lnTo>
                    <a:pt x="42096" y="77519"/>
                  </a:lnTo>
                  <a:lnTo>
                    <a:pt x="42096" y="79069"/>
                  </a:lnTo>
                  <a:lnTo>
                    <a:pt x="43548" y="79069"/>
                  </a:lnTo>
                  <a:lnTo>
                    <a:pt x="43548" y="79689"/>
                  </a:lnTo>
                  <a:lnTo>
                    <a:pt x="43548" y="79689"/>
                  </a:lnTo>
                  <a:lnTo>
                    <a:pt x="45483" y="80620"/>
                  </a:lnTo>
                  <a:lnTo>
                    <a:pt x="45483" y="81860"/>
                  </a:lnTo>
                  <a:lnTo>
                    <a:pt x="46935" y="83410"/>
                  </a:lnTo>
                  <a:lnTo>
                    <a:pt x="47903" y="84341"/>
                  </a:lnTo>
                  <a:lnTo>
                    <a:pt x="49354" y="84961"/>
                  </a:lnTo>
                  <a:lnTo>
                    <a:pt x="49354" y="85581"/>
                  </a:lnTo>
                  <a:lnTo>
                    <a:pt x="51290" y="87131"/>
                  </a:lnTo>
                  <a:lnTo>
                    <a:pt x="52741" y="88682"/>
                  </a:lnTo>
                  <a:lnTo>
                    <a:pt x="51290" y="90232"/>
                  </a:lnTo>
                  <a:lnTo>
                    <a:pt x="51290" y="90232"/>
                  </a:lnTo>
                  <a:lnTo>
                    <a:pt x="50322" y="90852"/>
                  </a:lnTo>
                  <a:lnTo>
                    <a:pt x="51290" y="91472"/>
                  </a:lnTo>
                  <a:lnTo>
                    <a:pt x="51290" y="92403"/>
                  </a:lnTo>
                  <a:lnTo>
                    <a:pt x="52741" y="93023"/>
                  </a:lnTo>
                  <a:lnTo>
                    <a:pt x="53709" y="93643"/>
                  </a:lnTo>
                  <a:lnTo>
                    <a:pt x="54677" y="94573"/>
                  </a:lnTo>
                  <a:lnTo>
                    <a:pt x="54677" y="95813"/>
                  </a:lnTo>
                  <a:lnTo>
                    <a:pt x="57096" y="96744"/>
                  </a:lnTo>
                  <a:lnTo>
                    <a:pt x="59516" y="97364"/>
                  </a:lnTo>
                  <a:lnTo>
                    <a:pt x="60483" y="98914"/>
                  </a:lnTo>
                  <a:lnTo>
                    <a:pt x="61451" y="99534"/>
                  </a:lnTo>
                  <a:lnTo>
                    <a:pt x="62903" y="100465"/>
                  </a:lnTo>
                  <a:lnTo>
                    <a:pt x="63870" y="101085"/>
                  </a:lnTo>
                  <a:lnTo>
                    <a:pt x="68709" y="102635"/>
                  </a:lnTo>
                  <a:lnTo>
                    <a:pt x="70645" y="103255"/>
                  </a:lnTo>
                  <a:lnTo>
                    <a:pt x="73064" y="103875"/>
                  </a:lnTo>
                  <a:lnTo>
                    <a:pt x="75483" y="105426"/>
                  </a:lnTo>
                  <a:lnTo>
                    <a:pt x="76451" y="106356"/>
                  </a:lnTo>
                  <a:lnTo>
                    <a:pt x="79838" y="106976"/>
                  </a:lnTo>
                  <a:lnTo>
                    <a:pt x="81290" y="106976"/>
                  </a:lnTo>
                  <a:lnTo>
                    <a:pt x="83225" y="108527"/>
                  </a:lnTo>
                  <a:lnTo>
                    <a:pt x="85645" y="108527"/>
                  </a:lnTo>
                  <a:lnTo>
                    <a:pt x="88064" y="109147"/>
                  </a:lnTo>
                  <a:lnTo>
                    <a:pt x="89032" y="109767"/>
                  </a:lnTo>
                  <a:lnTo>
                    <a:pt x="90000" y="110697"/>
                  </a:lnTo>
                  <a:lnTo>
                    <a:pt x="92419" y="111317"/>
                  </a:lnTo>
                  <a:lnTo>
                    <a:pt x="93387" y="111317"/>
                  </a:lnTo>
                  <a:lnTo>
                    <a:pt x="94838" y="111937"/>
                  </a:lnTo>
                  <a:lnTo>
                    <a:pt x="94838" y="112868"/>
                  </a:lnTo>
                  <a:lnTo>
                    <a:pt x="97258" y="112868"/>
                  </a:lnTo>
                  <a:lnTo>
                    <a:pt x="98225" y="113488"/>
                  </a:lnTo>
                  <a:lnTo>
                    <a:pt x="98225" y="114418"/>
                  </a:lnTo>
                  <a:lnTo>
                    <a:pt x="99193" y="115038"/>
                  </a:lnTo>
                  <a:lnTo>
                    <a:pt x="99193" y="115658"/>
                  </a:lnTo>
                  <a:lnTo>
                    <a:pt x="102580" y="117209"/>
                  </a:lnTo>
                  <a:lnTo>
                    <a:pt x="104032" y="117209"/>
                  </a:lnTo>
                  <a:lnTo>
                    <a:pt x="105000" y="117829"/>
                  </a:lnTo>
                  <a:lnTo>
                    <a:pt x="107419" y="119379"/>
                  </a:lnTo>
                  <a:lnTo>
                    <a:pt x="108387" y="120000"/>
                  </a:lnTo>
                  <a:lnTo>
                    <a:pt x="108387" y="120000"/>
                  </a:lnTo>
                  <a:lnTo>
                    <a:pt x="109354" y="120000"/>
                  </a:lnTo>
                  <a:lnTo>
                    <a:pt x="110806" y="120000"/>
                  </a:lnTo>
                  <a:lnTo>
                    <a:pt x="111774" y="119379"/>
                  </a:lnTo>
                  <a:lnTo>
                    <a:pt x="113225" y="119379"/>
                  </a:lnTo>
                  <a:lnTo>
                    <a:pt x="113225" y="118759"/>
                  </a:lnTo>
                  <a:lnTo>
                    <a:pt x="114193" y="117829"/>
                  </a:lnTo>
                  <a:lnTo>
                    <a:pt x="113225" y="117209"/>
                  </a:lnTo>
                  <a:lnTo>
                    <a:pt x="113225" y="116589"/>
                  </a:lnTo>
                  <a:lnTo>
                    <a:pt x="113225" y="115658"/>
                  </a:lnTo>
                  <a:lnTo>
                    <a:pt x="113225" y="115658"/>
                  </a:lnTo>
                  <a:lnTo>
                    <a:pt x="114193" y="115658"/>
                  </a:lnTo>
                  <a:lnTo>
                    <a:pt x="115161" y="115038"/>
                  </a:lnTo>
                  <a:lnTo>
                    <a:pt x="115161" y="114418"/>
                  </a:lnTo>
                  <a:lnTo>
                    <a:pt x="115161" y="114418"/>
                  </a:lnTo>
                  <a:lnTo>
                    <a:pt x="115161" y="114418"/>
                  </a:lnTo>
                  <a:lnTo>
                    <a:pt x="115161" y="113488"/>
                  </a:lnTo>
                  <a:lnTo>
                    <a:pt x="115161" y="113488"/>
                  </a:lnTo>
                  <a:lnTo>
                    <a:pt x="114193" y="112868"/>
                  </a:lnTo>
                  <a:lnTo>
                    <a:pt x="114193" y="112868"/>
                  </a:lnTo>
                  <a:lnTo>
                    <a:pt x="114193" y="112868"/>
                  </a:lnTo>
                  <a:lnTo>
                    <a:pt x="115161" y="111937"/>
                  </a:lnTo>
                  <a:lnTo>
                    <a:pt x="115161" y="111937"/>
                  </a:lnTo>
                  <a:lnTo>
                    <a:pt x="116612" y="111317"/>
                  </a:lnTo>
                  <a:lnTo>
                    <a:pt x="116612" y="111317"/>
                  </a:lnTo>
                  <a:lnTo>
                    <a:pt x="117580" y="110697"/>
                  </a:lnTo>
                  <a:lnTo>
                    <a:pt x="117580" y="109767"/>
                  </a:lnTo>
                  <a:lnTo>
                    <a:pt x="117580" y="109147"/>
                  </a:lnTo>
                  <a:lnTo>
                    <a:pt x="118548" y="109147"/>
                  </a:lnTo>
                  <a:lnTo>
                    <a:pt x="118548" y="109147"/>
                  </a:lnTo>
                  <a:lnTo>
                    <a:pt x="118548" y="108527"/>
                  </a:lnTo>
                  <a:lnTo>
                    <a:pt x="118548" y="107596"/>
                  </a:lnTo>
                  <a:lnTo>
                    <a:pt x="118548" y="107596"/>
                  </a:lnTo>
                  <a:lnTo>
                    <a:pt x="120000" y="106976"/>
                  </a:lnTo>
                  <a:lnTo>
                    <a:pt x="120000" y="106976"/>
                  </a:lnTo>
                  <a:lnTo>
                    <a:pt x="120000" y="106976"/>
                  </a:lnTo>
                  <a:lnTo>
                    <a:pt x="120000" y="106976"/>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06" name="Shape 406"/>
            <p:cNvSpPr/>
            <p:nvPr/>
          </p:nvSpPr>
          <p:spPr>
            <a:xfrm>
              <a:off x="2517" y="3214"/>
              <a:ext cx="300" cy="300"/>
            </a:xfrm>
            <a:custGeom>
              <a:avLst/>
              <a:gdLst/>
              <a:ahLst/>
              <a:cxnLst/>
              <a:rect l="0" t="0" r="0" b="0"/>
              <a:pathLst>
                <a:path w="120000" h="120000" extrusionOk="0">
                  <a:moveTo>
                    <a:pt x="117721" y="69942"/>
                  </a:moveTo>
                  <a:lnTo>
                    <a:pt x="120000" y="69942"/>
                  </a:lnTo>
                  <a:lnTo>
                    <a:pt x="120000" y="69942"/>
                  </a:lnTo>
                  <a:lnTo>
                    <a:pt x="117721" y="68571"/>
                  </a:lnTo>
                  <a:lnTo>
                    <a:pt x="116202" y="66514"/>
                  </a:lnTo>
                  <a:lnTo>
                    <a:pt x="114683" y="66514"/>
                  </a:lnTo>
                  <a:lnTo>
                    <a:pt x="114683" y="66514"/>
                  </a:lnTo>
                  <a:lnTo>
                    <a:pt x="112405" y="66514"/>
                  </a:lnTo>
                  <a:lnTo>
                    <a:pt x="112405" y="66514"/>
                  </a:lnTo>
                  <a:lnTo>
                    <a:pt x="110886" y="66514"/>
                  </a:lnTo>
                  <a:lnTo>
                    <a:pt x="110886" y="68571"/>
                  </a:lnTo>
                  <a:lnTo>
                    <a:pt x="109367" y="68571"/>
                  </a:lnTo>
                  <a:lnTo>
                    <a:pt x="107088" y="68571"/>
                  </a:lnTo>
                  <a:lnTo>
                    <a:pt x="107088" y="68571"/>
                  </a:lnTo>
                  <a:lnTo>
                    <a:pt x="105569" y="68571"/>
                  </a:lnTo>
                  <a:lnTo>
                    <a:pt x="104050" y="68571"/>
                  </a:lnTo>
                  <a:lnTo>
                    <a:pt x="104050" y="68571"/>
                  </a:lnTo>
                  <a:lnTo>
                    <a:pt x="101772" y="66514"/>
                  </a:lnTo>
                  <a:lnTo>
                    <a:pt x="101772" y="65142"/>
                  </a:lnTo>
                  <a:lnTo>
                    <a:pt x="101772" y="65142"/>
                  </a:lnTo>
                  <a:lnTo>
                    <a:pt x="101772" y="63771"/>
                  </a:lnTo>
                  <a:lnTo>
                    <a:pt x="100253" y="63771"/>
                  </a:lnTo>
                  <a:lnTo>
                    <a:pt x="100253" y="61714"/>
                  </a:lnTo>
                  <a:lnTo>
                    <a:pt x="100253" y="60342"/>
                  </a:lnTo>
                  <a:lnTo>
                    <a:pt x="100253" y="60342"/>
                  </a:lnTo>
                  <a:lnTo>
                    <a:pt x="100253" y="60342"/>
                  </a:lnTo>
                  <a:lnTo>
                    <a:pt x="100253" y="58285"/>
                  </a:lnTo>
                  <a:lnTo>
                    <a:pt x="100253" y="58285"/>
                  </a:lnTo>
                  <a:lnTo>
                    <a:pt x="100253" y="56914"/>
                  </a:lnTo>
                  <a:lnTo>
                    <a:pt x="98734" y="55542"/>
                  </a:lnTo>
                  <a:lnTo>
                    <a:pt x="98734" y="55542"/>
                  </a:lnTo>
                  <a:lnTo>
                    <a:pt x="98734" y="53485"/>
                  </a:lnTo>
                  <a:lnTo>
                    <a:pt x="98734" y="52114"/>
                  </a:lnTo>
                  <a:lnTo>
                    <a:pt x="98734" y="52114"/>
                  </a:lnTo>
                  <a:lnTo>
                    <a:pt x="98734" y="50742"/>
                  </a:lnTo>
                  <a:lnTo>
                    <a:pt x="98734" y="48685"/>
                  </a:lnTo>
                  <a:lnTo>
                    <a:pt x="98734" y="48685"/>
                  </a:lnTo>
                  <a:lnTo>
                    <a:pt x="96455" y="48685"/>
                  </a:lnTo>
                  <a:lnTo>
                    <a:pt x="96455" y="47314"/>
                  </a:lnTo>
                  <a:lnTo>
                    <a:pt x="96455" y="45942"/>
                  </a:lnTo>
                  <a:lnTo>
                    <a:pt x="94936" y="45942"/>
                  </a:lnTo>
                  <a:lnTo>
                    <a:pt x="94936" y="43885"/>
                  </a:lnTo>
                  <a:lnTo>
                    <a:pt x="92658" y="43885"/>
                  </a:lnTo>
                  <a:lnTo>
                    <a:pt x="92658" y="43885"/>
                  </a:lnTo>
                  <a:lnTo>
                    <a:pt x="91139" y="43885"/>
                  </a:lnTo>
                  <a:lnTo>
                    <a:pt x="89620" y="43885"/>
                  </a:lnTo>
                  <a:lnTo>
                    <a:pt x="89620" y="43885"/>
                  </a:lnTo>
                  <a:lnTo>
                    <a:pt x="87341" y="42514"/>
                  </a:lnTo>
                  <a:lnTo>
                    <a:pt x="87341" y="42514"/>
                  </a:lnTo>
                  <a:lnTo>
                    <a:pt x="85822" y="40457"/>
                  </a:lnTo>
                  <a:lnTo>
                    <a:pt x="85822" y="40457"/>
                  </a:lnTo>
                  <a:lnTo>
                    <a:pt x="84303" y="40457"/>
                  </a:lnTo>
                  <a:lnTo>
                    <a:pt x="84303" y="42514"/>
                  </a:lnTo>
                  <a:lnTo>
                    <a:pt x="84303" y="42514"/>
                  </a:lnTo>
                  <a:lnTo>
                    <a:pt x="84303" y="43885"/>
                  </a:lnTo>
                  <a:lnTo>
                    <a:pt x="82025" y="43885"/>
                  </a:lnTo>
                  <a:lnTo>
                    <a:pt x="82025" y="43885"/>
                  </a:lnTo>
                  <a:lnTo>
                    <a:pt x="80506" y="43885"/>
                  </a:lnTo>
                  <a:lnTo>
                    <a:pt x="78987" y="43885"/>
                  </a:lnTo>
                  <a:lnTo>
                    <a:pt x="78987" y="43885"/>
                  </a:lnTo>
                  <a:lnTo>
                    <a:pt x="76708" y="42514"/>
                  </a:lnTo>
                  <a:lnTo>
                    <a:pt x="75189" y="42514"/>
                  </a:lnTo>
                  <a:lnTo>
                    <a:pt x="73670" y="42514"/>
                  </a:lnTo>
                  <a:lnTo>
                    <a:pt x="73670" y="42514"/>
                  </a:lnTo>
                  <a:lnTo>
                    <a:pt x="71392" y="42514"/>
                  </a:lnTo>
                  <a:lnTo>
                    <a:pt x="69873" y="42514"/>
                  </a:lnTo>
                  <a:lnTo>
                    <a:pt x="69873" y="42514"/>
                  </a:lnTo>
                  <a:lnTo>
                    <a:pt x="68354" y="40457"/>
                  </a:lnTo>
                  <a:lnTo>
                    <a:pt x="68354" y="40457"/>
                  </a:lnTo>
                  <a:lnTo>
                    <a:pt x="66075" y="42514"/>
                  </a:lnTo>
                  <a:lnTo>
                    <a:pt x="66075" y="42514"/>
                  </a:lnTo>
                  <a:lnTo>
                    <a:pt x="64556" y="40457"/>
                  </a:lnTo>
                  <a:lnTo>
                    <a:pt x="64556" y="40457"/>
                  </a:lnTo>
                  <a:lnTo>
                    <a:pt x="64556" y="40457"/>
                  </a:lnTo>
                  <a:lnTo>
                    <a:pt x="64556" y="39085"/>
                  </a:lnTo>
                  <a:lnTo>
                    <a:pt x="64556" y="39085"/>
                  </a:lnTo>
                  <a:lnTo>
                    <a:pt x="64556" y="37714"/>
                  </a:lnTo>
                  <a:lnTo>
                    <a:pt x="64556" y="37714"/>
                  </a:lnTo>
                  <a:lnTo>
                    <a:pt x="64556" y="35657"/>
                  </a:lnTo>
                  <a:lnTo>
                    <a:pt x="64556" y="35657"/>
                  </a:lnTo>
                  <a:lnTo>
                    <a:pt x="64556" y="34285"/>
                  </a:lnTo>
                  <a:lnTo>
                    <a:pt x="64556" y="34285"/>
                  </a:lnTo>
                  <a:lnTo>
                    <a:pt x="64556" y="32914"/>
                  </a:lnTo>
                  <a:lnTo>
                    <a:pt x="64556" y="32914"/>
                  </a:lnTo>
                  <a:lnTo>
                    <a:pt x="64556" y="30857"/>
                  </a:lnTo>
                  <a:lnTo>
                    <a:pt x="64556" y="30857"/>
                  </a:lnTo>
                  <a:lnTo>
                    <a:pt x="64556" y="29485"/>
                  </a:lnTo>
                  <a:lnTo>
                    <a:pt x="64556" y="29485"/>
                  </a:lnTo>
                  <a:lnTo>
                    <a:pt x="64556" y="28114"/>
                  </a:lnTo>
                  <a:lnTo>
                    <a:pt x="64556" y="28114"/>
                  </a:lnTo>
                  <a:lnTo>
                    <a:pt x="64556" y="26057"/>
                  </a:lnTo>
                  <a:lnTo>
                    <a:pt x="64556" y="24685"/>
                  </a:lnTo>
                  <a:lnTo>
                    <a:pt x="64556" y="24685"/>
                  </a:lnTo>
                  <a:lnTo>
                    <a:pt x="64556" y="22628"/>
                  </a:lnTo>
                  <a:lnTo>
                    <a:pt x="64556" y="22628"/>
                  </a:lnTo>
                  <a:lnTo>
                    <a:pt x="64556" y="22628"/>
                  </a:lnTo>
                  <a:lnTo>
                    <a:pt x="62278" y="22628"/>
                  </a:lnTo>
                  <a:lnTo>
                    <a:pt x="64556" y="21257"/>
                  </a:lnTo>
                  <a:lnTo>
                    <a:pt x="62278" y="21257"/>
                  </a:lnTo>
                  <a:lnTo>
                    <a:pt x="62278" y="21257"/>
                  </a:lnTo>
                  <a:lnTo>
                    <a:pt x="62278" y="19885"/>
                  </a:lnTo>
                  <a:lnTo>
                    <a:pt x="62278" y="19885"/>
                  </a:lnTo>
                  <a:lnTo>
                    <a:pt x="60759" y="17828"/>
                  </a:lnTo>
                  <a:lnTo>
                    <a:pt x="60759" y="17828"/>
                  </a:lnTo>
                  <a:lnTo>
                    <a:pt x="60759" y="16457"/>
                  </a:lnTo>
                  <a:lnTo>
                    <a:pt x="60759" y="16457"/>
                  </a:lnTo>
                  <a:lnTo>
                    <a:pt x="60759" y="16457"/>
                  </a:lnTo>
                  <a:lnTo>
                    <a:pt x="59240" y="15085"/>
                  </a:lnTo>
                  <a:lnTo>
                    <a:pt x="59240" y="15085"/>
                  </a:lnTo>
                  <a:lnTo>
                    <a:pt x="59240" y="13028"/>
                  </a:lnTo>
                  <a:lnTo>
                    <a:pt x="59240" y="11657"/>
                  </a:lnTo>
                  <a:lnTo>
                    <a:pt x="59240" y="8228"/>
                  </a:lnTo>
                  <a:lnTo>
                    <a:pt x="59240" y="8228"/>
                  </a:lnTo>
                  <a:lnTo>
                    <a:pt x="53924" y="4800"/>
                  </a:lnTo>
                  <a:lnTo>
                    <a:pt x="50126" y="3428"/>
                  </a:lnTo>
                  <a:lnTo>
                    <a:pt x="44810" y="0"/>
                  </a:lnTo>
                  <a:lnTo>
                    <a:pt x="37215" y="0"/>
                  </a:lnTo>
                  <a:lnTo>
                    <a:pt x="31898" y="0"/>
                  </a:lnTo>
                  <a:lnTo>
                    <a:pt x="25063" y="2057"/>
                  </a:lnTo>
                  <a:lnTo>
                    <a:pt x="19746" y="3428"/>
                  </a:lnTo>
                  <a:lnTo>
                    <a:pt x="18227" y="3428"/>
                  </a:lnTo>
                  <a:lnTo>
                    <a:pt x="10632" y="4800"/>
                  </a:lnTo>
                  <a:lnTo>
                    <a:pt x="9113" y="4800"/>
                  </a:lnTo>
                  <a:lnTo>
                    <a:pt x="6835" y="8228"/>
                  </a:lnTo>
                  <a:lnTo>
                    <a:pt x="6835" y="11657"/>
                  </a:lnTo>
                  <a:lnTo>
                    <a:pt x="5316" y="13028"/>
                  </a:lnTo>
                  <a:lnTo>
                    <a:pt x="3797" y="16457"/>
                  </a:lnTo>
                  <a:lnTo>
                    <a:pt x="1518" y="19885"/>
                  </a:lnTo>
                  <a:lnTo>
                    <a:pt x="3797" y="22628"/>
                  </a:lnTo>
                  <a:lnTo>
                    <a:pt x="3797" y="26057"/>
                  </a:lnTo>
                  <a:lnTo>
                    <a:pt x="1518" y="30857"/>
                  </a:lnTo>
                  <a:lnTo>
                    <a:pt x="1518" y="35657"/>
                  </a:lnTo>
                  <a:lnTo>
                    <a:pt x="1518" y="39085"/>
                  </a:lnTo>
                  <a:lnTo>
                    <a:pt x="0" y="42514"/>
                  </a:lnTo>
                  <a:lnTo>
                    <a:pt x="0" y="43885"/>
                  </a:lnTo>
                  <a:lnTo>
                    <a:pt x="0" y="43885"/>
                  </a:lnTo>
                  <a:lnTo>
                    <a:pt x="1518" y="43885"/>
                  </a:lnTo>
                  <a:lnTo>
                    <a:pt x="1518" y="45942"/>
                  </a:lnTo>
                  <a:lnTo>
                    <a:pt x="5316" y="45942"/>
                  </a:lnTo>
                  <a:lnTo>
                    <a:pt x="6835" y="48685"/>
                  </a:lnTo>
                  <a:lnTo>
                    <a:pt x="9113" y="52114"/>
                  </a:lnTo>
                  <a:lnTo>
                    <a:pt x="12151" y="55542"/>
                  </a:lnTo>
                  <a:lnTo>
                    <a:pt x="14430" y="56914"/>
                  </a:lnTo>
                  <a:lnTo>
                    <a:pt x="15949" y="58285"/>
                  </a:lnTo>
                  <a:lnTo>
                    <a:pt x="18227" y="58285"/>
                  </a:lnTo>
                  <a:lnTo>
                    <a:pt x="18227" y="60342"/>
                  </a:lnTo>
                  <a:lnTo>
                    <a:pt x="18227" y="60342"/>
                  </a:lnTo>
                  <a:lnTo>
                    <a:pt x="19746" y="60342"/>
                  </a:lnTo>
                  <a:lnTo>
                    <a:pt x="23544" y="61714"/>
                  </a:lnTo>
                  <a:lnTo>
                    <a:pt x="25063" y="63771"/>
                  </a:lnTo>
                  <a:lnTo>
                    <a:pt x="25063" y="65142"/>
                  </a:lnTo>
                  <a:lnTo>
                    <a:pt x="28860" y="66514"/>
                  </a:lnTo>
                  <a:lnTo>
                    <a:pt x="34177" y="68571"/>
                  </a:lnTo>
                  <a:lnTo>
                    <a:pt x="37215" y="68571"/>
                  </a:lnTo>
                  <a:lnTo>
                    <a:pt x="39493" y="68571"/>
                  </a:lnTo>
                  <a:lnTo>
                    <a:pt x="43291" y="69942"/>
                  </a:lnTo>
                  <a:lnTo>
                    <a:pt x="46329" y="73371"/>
                  </a:lnTo>
                  <a:lnTo>
                    <a:pt x="48607" y="74742"/>
                  </a:lnTo>
                  <a:lnTo>
                    <a:pt x="50126" y="74742"/>
                  </a:lnTo>
                  <a:lnTo>
                    <a:pt x="51645" y="76114"/>
                  </a:lnTo>
                  <a:lnTo>
                    <a:pt x="59240" y="79542"/>
                  </a:lnTo>
                  <a:lnTo>
                    <a:pt x="62278" y="81600"/>
                  </a:lnTo>
                  <a:lnTo>
                    <a:pt x="64556" y="81600"/>
                  </a:lnTo>
                  <a:lnTo>
                    <a:pt x="64556" y="82971"/>
                  </a:lnTo>
                  <a:lnTo>
                    <a:pt x="66075" y="82971"/>
                  </a:lnTo>
                  <a:lnTo>
                    <a:pt x="66075" y="82971"/>
                  </a:lnTo>
                  <a:lnTo>
                    <a:pt x="68354" y="82971"/>
                  </a:lnTo>
                  <a:lnTo>
                    <a:pt x="69873" y="84342"/>
                  </a:lnTo>
                  <a:lnTo>
                    <a:pt x="73670" y="84342"/>
                  </a:lnTo>
                  <a:lnTo>
                    <a:pt x="75189" y="87771"/>
                  </a:lnTo>
                  <a:lnTo>
                    <a:pt x="76708" y="89142"/>
                  </a:lnTo>
                  <a:lnTo>
                    <a:pt x="76708" y="89142"/>
                  </a:lnTo>
                  <a:lnTo>
                    <a:pt x="76708" y="91200"/>
                  </a:lnTo>
                  <a:lnTo>
                    <a:pt x="76708" y="92571"/>
                  </a:lnTo>
                  <a:lnTo>
                    <a:pt x="75189" y="92571"/>
                  </a:lnTo>
                  <a:lnTo>
                    <a:pt x="75189" y="92571"/>
                  </a:lnTo>
                  <a:lnTo>
                    <a:pt x="75189" y="94628"/>
                  </a:lnTo>
                  <a:lnTo>
                    <a:pt x="75189" y="94628"/>
                  </a:lnTo>
                  <a:lnTo>
                    <a:pt x="73670" y="96000"/>
                  </a:lnTo>
                  <a:lnTo>
                    <a:pt x="73670" y="97371"/>
                  </a:lnTo>
                  <a:lnTo>
                    <a:pt x="73670" y="97371"/>
                  </a:lnTo>
                  <a:lnTo>
                    <a:pt x="73670" y="99428"/>
                  </a:lnTo>
                  <a:lnTo>
                    <a:pt x="71392" y="99428"/>
                  </a:lnTo>
                  <a:lnTo>
                    <a:pt x="71392" y="100800"/>
                  </a:lnTo>
                  <a:lnTo>
                    <a:pt x="71392" y="100800"/>
                  </a:lnTo>
                  <a:lnTo>
                    <a:pt x="71392" y="100800"/>
                  </a:lnTo>
                  <a:lnTo>
                    <a:pt x="69873" y="102171"/>
                  </a:lnTo>
                  <a:lnTo>
                    <a:pt x="69873" y="102171"/>
                  </a:lnTo>
                  <a:lnTo>
                    <a:pt x="69873" y="104228"/>
                  </a:lnTo>
                  <a:lnTo>
                    <a:pt x="69873" y="104228"/>
                  </a:lnTo>
                  <a:lnTo>
                    <a:pt x="71392" y="105599"/>
                  </a:lnTo>
                  <a:lnTo>
                    <a:pt x="71392" y="106971"/>
                  </a:lnTo>
                  <a:lnTo>
                    <a:pt x="69873" y="106971"/>
                  </a:lnTo>
                  <a:lnTo>
                    <a:pt x="69873" y="106971"/>
                  </a:lnTo>
                  <a:lnTo>
                    <a:pt x="69873" y="109028"/>
                  </a:lnTo>
                  <a:lnTo>
                    <a:pt x="69873" y="109028"/>
                  </a:lnTo>
                  <a:lnTo>
                    <a:pt x="69873" y="109028"/>
                  </a:lnTo>
                  <a:lnTo>
                    <a:pt x="69873" y="110399"/>
                  </a:lnTo>
                  <a:lnTo>
                    <a:pt x="69873" y="110399"/>
                  </a:lnTo>
                  <a:lnTo>
                    <a:pt x="69873" y="110399"/>
                  </a:lnTo>
                  <a:lnTo>
                    <a:pt x="68354" y="110399"/>
                  </a:lnTo>
                  <a:lnTo>
                    <a:pt x="68354" y="112457"/>
                  </a:lnTo>
                  <a:lnTo>
                    <a:pt x="68354" y="112457"/>
                  </a:lnTo>
                  <a:lnTo>
                    <a:pt x="68354" y="113828"/>
                  </a:lnTo>
                  <a:lnTo>
                    <a:pt x="66075" y="113828"/>
                  </a:lnTo>
                  <a:lnTo>
                    <a:pt x="66075" y="115199"/>
                  </a:lnTo>
                  <a:lnTo>
                    <a:pt x="66075" y="117257"/>
                  </a:lnTo>
                  <a:lnTo>
                    <a:pt x="73670" y="117257"/>
                  </a:lnTo>
                  <a:lnTo>
                    <a:pt x="76708" y="117257"/>
                  </a:lnTo>
                  <a:lnTo>
                    <a:pt x="84303" y="118628"/>
                  </a:lnTo>
                  <a:lnTo>
                    <a:pt x="87341" y="118628"/>
                  </a:lnTo>
                  <a:lnTo>
                    <a:pt x="89620" y="118628"/>
                  </a:lnTo>
                  <a:lnTo>
                    <a:pt x="91139" y="118628"/>
                  </a:lnTo>
                  <a:lnTo>
                    <a:pt x="91139" y="118628"/>
                  </a:lnTo>
                  <a:lnTo>
                    <a:pt x="92658" y="119999"/>
                  </a:lnTo>
                  <a:lnTo>
                    <a:pt x="94936" y="118628"/>
                  </a:lnTo>
                  <a:lnTo>
                    <a:pt x="96455" y="118628"/>
                  </a:lnTo>
                  <a:lnTo>
                    <a:pt x="96455" y="119999"/>
                  </a:lnTo>
                  <a:lnTo>
                    <a:pt x="98734" y="119999"/>
                  </a:lnTo>
                  <a:lnTo>
                    <a:pt x="98734" y="118628"/>
                  </a:lnTo>
                  <a:lnTo>
                    <a:pt x="100253" y="117257"/>
                  </a:lnTo>
                  <a:lnTo>
                    <a:pt x="100253" y="117257"/>
                  </a:lnTo>
                  <a:lnTo>
                    <a:pt x="101772" y="117257"/>
                  </a:lnTo>
                  <a:lnTo>
                    <a:pt x="104050" y="117257"/>
                  </a:lnTo>
                  <a:lnTo>
                    <a:pt x="104050" y="117257"/>
                  </a:lnTo>
                  <a:lnTo>
                    <a:pt x="105569" y="118628"/>
                  </a:lnTo>
                  <a:lnTo>
                    <a:pt x="107088" y="118628"/>
                  </a:lnTo>
                  <a:lnTo>
                    <a:pt x="107088" y="117257"/>
                  </a:lnTo>
                  <a:lnTo>
                    <a:pt x="107088" y="117257"/>
                  </a:lnTo>
                  <a:lnTo>
                    <a:pt x="107088" y="115199"/>
                  </a:lnTo>
                  <a:lnTo>
                    <a:pt x="107088" y="113828"/>
                  </a:lnTo>
                  <a:lnTo>
                    <a:pt x="109367" y="113828"/>
                  </a:lnTo>
                  <a:lnTo>
                    <a:pt x="109367" y="113828"/>
                  </a:lnTo>
                  <a:lnTo>
                    <a:pt x="109367" y="112457"/>
                  </a:lnTo>
                  <a:lnTo>
                    <a:pt x="110886" y="112457"/>
                  </a:lnTo>
                  <a:lnTo>
                    <a:pt x="112405" y="112457"/>
                  </a:lnTo>
                  <a:lnTo>
                    <a:pt x="112405" y="110399"/>
                  </a:lnTo>
                  <a:lnTo>
                    <a:pt x="112405" y="110399"/>
                  </a:lnTo>
                  <a:lnTo>
                    <a:pt x="114683" y="110399"/>
                  </a:lnTo>
                  <a:lnTo>
                    <a:pt x="114683" y="109028"/>
                  </a:lnTo>
                  <a:lnTo>
                    <a:pt x="116202" y="109028"/>
                  </a:lnTo>
                  <a:lnTo>
                    <a:pt x="116202" y="106971"/>
                  </a:lnTo>
                  <a:lnTo>
                    <a:pt x="116202" y="106971"/>
                  </a:lnTo>
                  <a:lnTo>
                    <a:pt x="116202" y="106971"/>
                  </a:lnTo>
                  <a:lnTo>
                    <a:pt x="117721" y="105599"/>
                  </a:lnTo>
                  <a:lnTo>
                    <a:pt x="117721" y="102171"/>
                  </a:lnTo>
                  <a:lnTo>
                    <a:pt x="117721" y="97371"/>
                  </a:lnTo>
                  <a:lnTo>
                    <a:pt x="117721" y="91200"/>
                  </a:lnTo>
                  <a:lnTo>
                    <a:pt x="117721" y="89142"/>
                  </a:lnTo>
                  <a:lnTo>
                    <a:pt x="117721" y="86400"/>
                  </a:lnTo>
                  <a:lnTo>
                    <a:pt x="120000" y="84342"/>
                  </a:lnTo>
                  <a:lnTo>
                    <a:pt x="117721" y="84342"/>
                  </a:lnTo>
                  <a:lnTo>
                    <a:pt x="117721" y="81600"/>
                  </a:lnTo>
                  <a:lnTo>
                    <a:pt x="120000" y="76114"/>
                  </a:lnTo>
                  <a:lnTo>
                    <a:pt x="120000" y="73371"/>
                  </a:lnTo>
                  <a:lnTo>
                    <a:pt x="117721" y="71314"/>
                  </a:lnTo>
                  <a:lnTo>
                    <a:pt x="117721" y="69942"/>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07" name="Shape 407"/>
            <p:cNvSpPr/>
            <p:nvPr/>
          </p:nvSpPr>
          <p:spPr>
            <a:xfrm>
              <a:off x="6264" y="2848"/>
              <a:ext cx="300" cy="300"/>
            </a:xfrm>
            <a:custGeom>
              <a:avLst/>
              <a:gdLst/>
              <a:ahLst/>
              <a:cxnLst/>
              <a:rect l="0" t="0" r="0" b="0"/>
              <a:pathLst>
                <a:path w="120000" h="120000" extrusionOk="0">
                  <a:moveTo>
                    <a:pt x="91794" y="118695"/>
                  </a:moveTo>
                  <a:lnTo>
                    <a:pt x="91794" y="120000"/>
                  </a:lnTo>
                  <a:lnTo>
                    <a:pt x="91794" y="120000"/>
                  </a:lnTo>
                  <a:lnTo>
                    <a:pt x="93333" y="120000"/>
                  </a:lnTo>
                  <a:lnTo>
                    <a:pt x="93333" y="118695"/>
                  </a:lnTo>
                  <a:lnTo>
                    <a:pt x="93333" y="118695"/>
                  </a:lnTo>
                  <a:lnTo>
                    <a:pt x="91794" y="118695"/>
                  </a:lnTo>
                  <a:close/>
                  <a:moveTo>
                    <a:pt x="96923" y="110869"/>
                  </a:moveTo>
                  <a:lnTo>
                    <a:pt x="95384" y="110869"/>
                  </a:lnTo>
                  <a:lnTo>
                    <a:pt x="95384" y="110869"/>
                  </a:lnTo>
                  <a:lnTo>
                    <a:pt x="94358" y="110869"/>
                  </a:lnTo>
                  <a:lnTo>
                    <a:pt x="95384" y="110869"/>
                  </a:lnTo>
                  <a:lnTo>
                    <a:pt x="93333" y="109565"/>
                  </a:lnTo>
                  <a:lnTo>
                    <a:pt x="93333" y="107608"/>
                  </a:lnTo>
                  <a:lnTo>
                    <a:pt x="93333" y="107608"/>
                  </a:lnTo>
                  <a:lnTo>
                    <a:pt x="93333" y="107608"/>
                  </a:lnTo>
                  <a:lnTo>
                    <a:pt x="93333" y="109565"/>
                  </a:lnTo>
                  <a:lnTo>
                    <a:pt x="93333" y="110869"/>
                  </a:lnTo>
                  <a:lnTo>
                    <a:pt x="94358" y="110869"/>
                  </a:lnTo>
                  <a:lnTo>
                    <a:pt x="94358" y="112173"/>
                  </a:lnTo>
                  <a:lnTo>
                    <a:pt x="95384" y="114130"/>
                  </a:lnTo>
                  <a:lnTo>
                    <a:pt x="96923" y="114130"/>
                  </a:lnTo>
                  <a:lnTo>
                    <a:pt x="96923" y="110869"/>
                  </a:lnTo>
                  <a:lnTo>
                    <a:pt x="96923" y="110869"/>
                  </a:lnTo>
                  <a:lnTo>
                    <a:pt x="96923" y="110869"/>
                  </a:lnTo>
                  <a:close/>
                  <a:moveTo>
                    <a:pt x="89743" y="106304"/>
                  </a:moveTo>
                  <a:lnTo>
                    <a:pt x="90769" y="106304"/>
                  </a:lnTo>
                  <a:lnTo>
                    <a:pt x="91794" y="106304"/>
                  </a:lnTo>
                  <a:lnTo>
                    <a:pt x="93333" y="106304"/>
                  </a:lnTo>
                  <a:lnTo>
                    <a:pt x="93333" y="106304"/>
                  </a:lnTo>
                  <a:lnTo>
                    <a:pt x="93333" y="107608"/>
                  </a:lnTo>
                  <a:lnTo>
                    <a:pt x="94358" y="106304"/>
                  </a:lnTo>
                  <a:lnTo>
                    <a:pt x="94358" y="106304"/>
                  </a:lnTo>
                  <a:lnTo>
                    <a:pt x="94358" y="106304"/>
                  </a:lnTo>
                  <a:lnTo>
                    <a:pt x="94358" y="105000"/>
                  </a:lnTo>
                  <a:lnTo>
                    <a:pt x="93333" y="103043"/>
                  </a:lnTo>
                  <a:lnTo>
                    <a:pt x="93333" y="103043"/>
                  </a:lnTo>
                  <a:lnTo>
                    <a:pt x="91794" y="103043"/>
                  </a:lnTo>
                  <a:lnTo>
                    <a:pt x="90769" y="101739"/>
                  </a:lnTo>
                  <a:lnTo>
                    <a:pt x="90769" y="101739"/>
                  </a:lnTo>
                  <a:lnTo>
                    <a:pt x="89743" y="103043"/>
                  </a:lnTo>
                  <a:lnTo>
                    <a:pt x="89743" y="103043"/>
                  </a:lnTo>
                  <a:lnTo>
                    <a:pt x="89743" y="103043"/>
                  </a:lnTo>
                  <a:lnTo>
                    <a:pt x="90769" y="105000"/>
                  </a:lnTo>
                  <a:lnTo>
                    <a:pt x="90769" y="105000"/>
                  </a:lnTo>
                  <a:lnTo>
                    <a:pt x="89743" y="106304"/>
                  </a:lnTo>
                  <a:close/>
                  <a:moveTo>
                    <a:pt x="88205" y="105000"/>
                  </a:moveTo>
                  <a:lnTo>
                    <a:pt x="88205" y="105000"/>
                  </a:lnTo>
                  <a:lnTo>
                    <a:pt x="89743" y="103043"/>
                  </a:lnTo>
                  <a:lnTo>
                    <a:pt x="89743" y="103043"/>
                  </a:lnTo>
                  <a:lnTo>
                    <a:pt x="88205" y="101739"/>
                  </a:lnTo>
                  <a:lnTo>
                    <a:pt x="88205" y="100434"/>
                  </a:lnTo>
                  <a:lnTo>
                    <a:pt x="87179" y="101739"/>
                  </a:lnTo>
                  <a:lnTo>
                    <a:pt x="87179" y="103043"/>
                  </a:lnTo>
                  <a:lnTo>
                    <a:pt x="88205" y="105000"/>
                  </a:lnTo>
                  <a:lnTo>
                    <a:pt x="88205" y="105000"/>
                  </a:lnTo>
                  <a:close/>
                  <a:moveTo>
                    <a:pt x="96923" y="89347"/>
                  </a:moveTo>
                  <a:lnTo>
                    <a:pt x="96923" y="89347"/>
                  </a:lnTo>
                  <a:lnTo>
                    <a:pt x="95384" y="90652"/>
                  </a:lnTo>
                  <a:lnTo>
                    <a:pt x="96923" y="92608"/>
                  </a:lnTo>
                  <a:lnTo>
                    <a:pt x="96923" y="92608"/>
                  </a:lnTo>
                  <a:lnTo>
                    <a:pt x="96923" y="92608"/>
                  </a:lnTo>
                  <a:lnTo>
                    <a:pt x="96923" y="93913"/>
                  </a:lnTo>
                  <a:lnTo>
                    <a:pt x="96923" y="95217"/>
                  </a:lnTo>
                  <a:lnTo>
                    <a:pt x="96923" y="93913"/>
                  </a:lnTo>
                  <a:lnTo>
                    <a:pt x="96923" y="92608"/>
                  </a:lnTo>
                  <a:lnTo>
                    <a:pt x="96923" y="90652"/>
                  </a:lnTo>
                  <a:lnTo>
                    <a:pt x="96923" y="89347"/>
                  </a:lnTo>
                  <a:lnTo>
                    <a:pt x="96923" y="89347"/>
                  </a:lnTo>
                  <a:close/>
                  <a:moveTo>
                    <a:pt x="69230" y="54130"/>
                  </a:moveTo>
                  <a:lnTo>
                    <a:pt x="69230" y="54130"/>
                  </a:lnTo>
                  <a:lnTo>
                    <a:pt x="70256" y="54130"/>
                  </a:lnTo>
                  <a:lnTo>
                    <a:pt x="70256" y="52173"/>
                  </a:lnTo>
                  <a:lnTo>
                    <a:pt x="70256" y="50869"/>
                  </a:lnTo>
                  <a:lnTo>
                    <a:pt x="70256" y="50869"/>
                  </a:lnTo>
                  <a:lnTo>
                    <a:pt x="69230" y="49565"/>
                  </a:lnTo>
                  <a:lnTo>
                    <a:pt x="67692" y="49565"/>
                  </a:lnTo>
                  <a:lnTo>
                    <a:pt x="67692" y="49565"/>
                  </a:lnTo>
                  <a:lnTo>
                    <a:pt x="67692" y="50869"/>
                  </a:lnTo>
                  <a:lnTo>
                    <a:pt x="69230" y="52173"/>
                  </a:lnTo>
                  <a:lnTo>
                    <a:pt x="69230" y="54130"/>
                  </a:lnTo>
                  <a:close/>
                  <a:moveTo>
                    <a:pt x="60512" y="46304"/>
                  </a:moveTo>
                  <a:lnTo>
                    <a:pt x="60512" y="46304"/>
                  </a:lnTo>
                  <a:lnTo>
                    <a:pt x="60512" y="47608"/>
                  </a:lnTo>
                  <a:lnTo>
                    <a:pt x="61538" y="49565"/>
                  </a:lnTo>
                  <a:lnTo>
                    <a:pt x="61538" y="49565"/>
                  </a:lnTo>
                  <a:lnTo>
                    <a:pt x="63076" y="47608"/>
                  </a:lnTo>
                  <a:lnTo>
                    <a:pt x="63076" y="46304"/>
                  </a:lnTo>
                  <a:lnTo>
                    <a:pt x="61538" y="44347"/>
                  </a:lnTo>
                  <a:lnTo>
                    <a:pt x="60512" y="46304"/>
                  </a:lnTo>
                  <a:close/>
                  <a:moveTo>
                    <a:pt x="50769" y="38478"/>
                  </a:moveTo>
                  <a:lnTo>
                    <a:pt x="52307" y="38478"/>
                  </a:lnTo>
                  <a:lnTo>
                    <a:pt x="52307" y="37173"/>
                  </a:lnTo>
                  <a:lnTo>
                    <a:pt x="52307" y="37173"/>
                  </a:lnTo>
                  <a:lnTo>
                    <a:pt x="50769" y="37173"/>
                  </a:lnTo>
                  <a:lnTo>
                    <a:pt x="50769" y="37173"/>
                  </a:lnTo>
                  <a:lnTo>
                    <a:pt x="50769" y="37173"/>
                  </a:lnTo>
                  <a:lnTo>
                    <a:pt x="49743" y="38478"/>
                  </a:lnTo>
                  <a:lnTo>
                    <a:pt x="50769" y="38478"/>
                  </a:lnTo>
                  <a:lnTo>
                    <a:pt x="50769" y="38478"/>
                  </a:lnTo>
                  <a:close/>
                  <a:moveTo>
                    <a:pt x="110256" y="43043"/>
                  </a:moveTo>
                  <a:lnTo>
                    <a:pt x="110256" y="41739"/>
                  </a:lnTo>
                  <a:lnTo>
                    <a:pt x="111282" y="41739"/>
                  </a:lnTo>
                  <a:lnTo>
                    <a:pt x="111282" y="39782"/>
                  </a:lnTo>
                  <a:lnTo>
                    <a:pt x="112307" y="38478"/>
                  </a:lnTo>
                  <a:lnTo>
                    <a:pt x="112307" y="37173"/>
                  </a:lnTo>
                  <a:lnTo>
                    <a:pt x="112307" y="37173"/>
                  </a:lnTo>
                  <a:lnTo>
                    <a:pt x="112307" y="35217"/>
                  </a:lnTo>
                  <a:lnTo>
                    <a:pt x="112307" y="33913"/>
                  </a:lnTo>
                  <a:lnTo>
                    <a:pt x="111282" y="33913"/>
                  </a:lnTo>
                  <a:lnTo>
                    <a:pt x="110256" y="32608"/>
                  </a:lnTo>
                  <a:lnTo>
                    <a:pt x="110256" y="32608"/>
                  </a:lnTo>
                  <a:lnTo>
                    <a:pt x="108717" y="33913"/>
                  </a:lnTo>
                  <a:lnTo>
                    <a:pt x="107692" y="32608"/>
                  </a:lnTo>
                  <a:lnTo>
                    <a:pt x="107692" y="32608"/>
                  </a:lnTo>
                  <a:lnTo>
                    <a:pt x="106666" y="32608"/>
                  </a:lnTo>
                  <a:lnTo>
                    <a:pt x="106666" y="32608"/>
                  </a:lnTo>
                  <a:lnTo>
                    <a:pt x="105128" y="32608"/>
                  </a:lnTo>
                  <a:lnTo>
                    <a:pt x="104102" y="32608"/>
                  </a:lnTo>
                  <a:lnTo>
                    <a:pt x="104102" y="32608"/>
                  </a:lnTo>
                  <a:lnTo>
                    <a:pt x="104102" y="33913"/>
                  </a:lnTo>
                  <a:lnTo>
                    <a:pt x="105128" y="37173"/>
                  </a:lnTo>
                  <a:lnTo>
                    <a:pt x="105128" y="39782"/>
                  </a:lnTo>
                  <a:lnTo>
                    <a:pt x="105128" y="41739"/>
                  </a:lnTo>
                  <a:lnTo>
                    <a:pt x="104102" y="41739"/>
                  </a:lnTo>
                  <a:lnTo>
                    <a:pt x="103076" y="41739"/>
                  </a:lnTo>
                  <a:lnTo>
                    <a:pt x="103076" y="41739"/>
                  </a:lnTo>
                  <a:lnTo>
                    <a:pt x="101538" y="41739"/>
                  </a:lnTo>
                  <a:lnTo>
                    <a:pt x="100512" y="44347"/>
                  </a:lnTo>
                  <a:lnTo>
                    <a:pt x="99487" y="44347"/>
                  </a:lnTo>
                  <a:lnTo>
                    <a:pt x="99487" y="47608"/>
                  </a:lnTo>
                  <a:lnTo>
                    <a:pt x="97948" y="47608"/>
                  </a:lnTo>
                  <a:lnTo>
                    <a:pt x="97948" y="49565"/>
                  </a:lnTo>
                  <a:lnTo>
                    <a:pt x="96923" y="49565"/>
                  </a:lnTo>
                  <a:lnTo>
                    <a:pt x="96923" y="49565"/>
                  </a:lnTo>
                  <a:lnTo>
                    <a:pt x="95384" y="49565"/>
                  </a:lnTo>
                  <a:lnTo>
                    <a:pt x="94358" y="49565"/>
                  </a:lnTo>
                  <a:lnTo>
                    <a:pt x="94358" y="49565"/>
                  </a:lnTo>
                  <a:lnTo>
                    <a:pt x="93333" y="49565"/>
                  </a:lnTo>
                  <a:lnTo>
                    <a:pt x="91794" y="49565"/>
                  </a:lnTo>
                  <a:lnTo>
                    <a:pt x="90769" y="49565"/>
                  </a:lnTo>
                  <a:lnTo>
                    <a:pt x="89743" y="49565"/>
                  </a:lnTo>
                  <a:lnTo>
                    <a:pt x="89743" y="46304"/>
                  </a:lnTo>
                  <a:lnTo>
                    <a:pt x="89743" y="44347"/>
                  </a:lnTo>
                  <a:lnTo>
                    <a:pt x="90769" y="44347"/>
                  </a:lnTo>
                  <a:lnTo>
                    <a:pt x="90769" y="43043"/>
                  </a:lnTo>
                  <a:lnTo>
                    <a:pt x="90769" y="43043"/>
                  </a:lnTo>
                  <a:lnTo>
                    <a:pt x="89743" y="43043"/>
                  </a:lnTo>
                  <a:lnTo>
                    <a:pt x="89743" y="43043"/>
                  </a:lnTo>
                  <a:lnTo>
                    <a:pt x="89743" y="44347"/>
                  </a:lnTo>
                  <a:lnTo>
                    <a:pt x="88205" y="49565"/>
                  </a:lnTo>
                  <a:lnTo>
                    <a:pt x="87179" y="49565"/>
                  </a:lnTo>
                  <a:lnTo>
                    <a:pt x="86153" y="49565"/>
                  </a:lnTo>
                  <a:lnTo>
                    <a:pt x="86153" y="49565"/>
                  </a:lnTo>
                  <a:lnTo>
                    <a:pt x="83589" y="50869"/>
                  </a:lnTo>
                  <a:lnTo>
                    <a:pt x="82564" y="50869"/>
                  </a:lnTo>
                  <a:lnTo>
                    <a:pt x="81025" y="50869"/>
                  </a:lnTo>
                  <a:lnTo>
                    <a:pt x="81025" y="49565"/>
                  </a:lnTo>
                  <a:lnTo>
                    <a:pt x="80000" y="49565"/>
                  </a:lnTo>
                  <a:lnTo>
                    <a:pt x="77435" y="49565"/>
                  </a:lnTo>
                  <a:lnTo>
                    <a:pt x="76410" y="49565"/>
                  </a:lnTo>
                  <a:lnTo>
                    <a:pt x="76410" y="49565"/>
                  </a:lnTo>
                  <a:lnTo>
                    <a:pt x="76410" y="49565"/>
                  </a:lnTo>
                  <a:lnTo>
                    <a:pt x="74871" y="49565"/>
                  </a:lnTo>
                  <a:lnTo>
                    <a:pt x="73846" y="49565"/>
                  </a:lnTo>
                  <a:lnTo>
                    <a:pt x="72820" y="50869"/>
                  </a:lnTo>
                  <a:lnTo>
                    <a:pt x="72820" y="52173"/>
                  </a:lnTo>
                  <a:lnTo>
                    <a:pt x="73846" y="54130"/>
                  </a:lnTo>
                  <a:lnTo>
                    <a:pt x="74871" y="54130"/>
                  </a:lnTo>
                  <a:lnTo>
                    <a:pt x="74871" y="54130"/>
                  </a:lnTo>
                  <a:lnTo>
                    <a:pt x="76410" y="54130"/>
                  </a:lnTo>
                  <a:lnTo>
                    <a:pt x="77435" y="55434"/>
                  </a:lnTo>
                  <a:lnTo>
                    <a:pt x="80000" y="58695"/>
                  </a:lnTo>
                  <a:lnTo>
                    <a:pt x="80000" y="58695"/>
                  </a:lnTo>
                  <a:lnTo>
                    <a:pt x="81025" y="56739"/>
                  </a:lnTo>
                  <a:lnTo>
                    <a:pt x="82564" y="56739"/>
                  </a:lnTo>
                  <a:lnTo>
                    <a:pt x="83589" y="58695"/>
                  </a:lnTo>
                  <a:lnTo>
                    <a:pt x="84615" y="60000"/>
                  </a:lnTo>
                  <a:lnTo>
                    <a:pt x="84615" y="60000"/>
                  </a:lnTo>
                  <a:lnTo>
                    <a:pt x="86153" y="60000"/>
                  </a:lnTo>
                  <a:lnTo>
                    <a:pt x="87179" y="60000"/>
                  </a:lnTo>
                  <a:lnTo>
                    <a:pt x="90769" y="60000"/>
                  </a:lnTo>
                  <a:lnTo>
                    <a:pt x="91794" y="60000"/>
                  </a:lnTo>
                  <a:lnTo>
                    <a:pt x="93333" y="60000"/>
                  </a:lnTo>
                  <a:lnTo>
                    <a:pt x="94358" y="58695"/>
                  </a:lnTo>
                  <a:lnTo>
                    <a:pt x="95384" y="58695"/>
                  </a:lnTo>
                  <a:lnTo>
                    <a:pt x="95384" y="58695"/>
                  </a:lnTo>
                  <a:lnTo>
                    <a:pt x="96923" y="56739"/>
                  </a:lnTo>
                  <a:lnTo>
                    <a:pt x="96923" y="56739"/>
                  </a:lnTo>
                  <a:lnTo>
                    <a:pt x="97948" y="56739"/>
                  </a:lnTo>
                  <a:lnTo>
                    <a:pt x="99487" y="56739"/>
                  </a:lnTo>
                  <a:lnTo>
                    <a:pt x="100512" y="55434"/>
                  </a:lnTo>
                  <a:lnTo>
                    <a:pt x="101538" y="54130"/>
                  </a:lnTo>
                  <a:lnTo>
                    <a:pt x="103076" y="52173"/>
                  </a:lnTo>
                  <a:lnTo>
                    <a:pt x="103076" y="52173"/>
                  </a:lnTo>
                  <a:lnTo>
                    <a:pt x="103076" y="52173"/>
                  </a:lnTo>
                  <a:lnTo>
                    <a:pt x="103076" y="50869"/>
                  </a:lnTo>
                  <a:lnTo>
                    <a:pt x="103076" y="50869"/>
                  </a:lnTo>
                  <a:lnTo>
                    <a:pt x="105128" y="50869"/>
                  </a:lnTo>
                  <a:lnTo>
                    <a:pt x="106666" y="50869"/>
                  </a:lnTo>
                  <a:lnTo>
                    <a:pt x="107692" y="49565"/>
                  </a:lnTo>
                  <a:lnTo>
                    <a:pt x="108717" y="49565"/>
                  </a:lnTo>
                  <a:lnTo>
                    <a:pt x="108717" y="47608"/>
                  </a:lnTo>
                  <a:lnTo>
                    <a:pt x="108717" y="46304"/>
                  </a:lnTo>
                  <a:lnTo>
                    <a:pt x="107692" y="44347"/>
                  </a:lnTo>
                  <a:lnTo>
                    <a:pt x="107692" y="43043"/>
                  </a:lnTo>
                  <a:lnTo>
                    <a:pt x="108717" y="43043"/>
                  </a:lnTo>
                  <a:lnTo>
                    <a:pt x="110256" y="43043"/>
                  </a:lnTo>
                  <a:close/>
                  <a:moveTo>
                    <a:pt x="114871" y="18260"/>
                  </a:moveTo>
                  <a:lnTo>
                    <a:pt x="116410" y="16956"/>
                  </a:lnTo>
                  <a:lnTo>
                    <a:pt x="114871" y="15652"/>
                  </a:lnTo>
                  <a:lnTo>
                    <a:pt x="114871" y="15652"/>
                  </a:lnTo>
                  <a:lnTo>
                    <a:pt x="114871" y="16956"/>
                  </a:lnTo>
                  <a:lnTo>
                    <a:pt x="114871" y="16956"/>
                  </a:lnTo>
                  <a:lnTo>
                    <a:pt x="114871" y="18260"/>
                  </a:lnTo>
                  <a:close/>
                  <a:moveTo>
                    <a:pt x="90769" y="115434"/>
                  </a:moveTo>
                  <a:lnTo>
                    <a:pt x="89743" y="114130"/>
                  </a:lnTo>
                  <a:lnTo>
                    <a:pt x="88205" y="114130"/>
                  </a:lnTo>
                  <a:lnTo>
                    <a:pt x="87179" y="114130"/>
                  </a:lnTo>
                  <a:lnTo>
                    <a:pt x="87179" y="112173"/>
                  </a:lnTo>
                  <a:lnTo>
                    <a:pt x="86153" y="112173"/>
                  </a:lnTo>
                  <a:lnTo>
                    <a:pt x="84615" y="112173"/>
                  </a:lnTo>
                  <a:lnTo>
                    <a:pt x="84615" y="112173"/>
                  </a:lnTo>
                  <a:lnTo>
                    <a:pt x="83589" y="110869"/>
                  </a:lnTo>
                  <a:lnTo>
                    <a:pt x="83589" y="110869"/>
                  </a:lnTo>
                  <a:lnTo>
                    <a:pt x="82564" y="109565"/>
                  </a:lnTo>
                  <a:lnTo>
                    <a:pt x="83589" y="109565"/>
                  </a:lnTo>
                  <a:lnTo>
                    <a:pt x="83589" y="107608"/>
                  </a:lnTo>
                  <a:lnTo>
                    <a:pt x="84615" y="107608"/>
                  </a:lnTo>
                  <a:lnTo>
                    <a:pt x="84615" y="107608"/>
                  </a:lnTo>
                  <a:lnTo>
                    <a:pt x="86153" y="107608"/>
                  </a:lnTo>
                  <a:lnTo>
                    <a:pt x="84615" y="106304"/>
                  </a:lnTo>
                  <a:lnTo>
                    <a:pt x="84615" y="106304"/>
                  </a:lnTo>
                  <a:lnTo>
                    <a:pt x="83589" y="106304"/>
                  </a:lnTo>
                  <a:lnTo>
                    <a:pt x="80000" y="106304"/>
                  </a:lnTo>
                  <a:lnTo>
                    <a:pt x="80000" y="105000"/>
                  </a:lnTo>
                  <a:lnTo>
                    <a:pt x="78461" y="105000"/>
                  </a:lnTo>
                  <a:lnTo>
                    <a:pt x="78461" y="103043"/>
                  </a:lnTo>
                  <a:lnTo>
                    <a:pt x="78461" y="101739"/>
                  </a:lnTo>
                  <a:lnTo>
                    <a:pt x="78461" y="100434"/>
                  </a:lnTo>
                  <a:lnTo>
                    <a:pt x="78461" y="98478"/>
                  </a:lnTo>
                  <a:lnTo>
                    <a:pt x="78461" y="98478"/>
                  </a:lnTo>
                  <a:lnTo>
                    <a:pt x="77435" y="98478"/>
                  </a:lnTo>
                  <a:lnTo>
                    <a:pt x="77435" y="98478"/>
                  </a:lnTo>
                  <a:lnTo>
                    <a:pt x="74871" y="98478"/>
                  </a:lnTo>
                  <a:lnTo>
                    <a:pt x="73846" y="98478"/>
                  </a:lnTo>
                  <a:lnTo>
                    <a:pt x="72820" y="98478"/>
                  </a:lnTo>
                  <a:lnTo>
                    <a:pt x="72820" y="97173"/>
                  </a:lnTo>
                  <a:lnTo>
                    <a:pt x="71282" y="93913"/>
                  </a:lnTo>
                  <a:lnTo>
                    <a:pt x="71282" y="92608"/>
                  </a:lnTo>
                  <a:lnTo>
                    <a:pt x="70256" y="90652"/>
                  </a:lnTo>
                  <a:lnTo>
                    <a:pt x="70256" y="90652"/>
                  </a:lnTo>
                  <a:lnTo>
                    <a:pt x="70256" y="90652"/>
                  </a:lnTo>
                  <a:lnTo>
                    <a:pt x="70256" y="88043"/>
                  </a:lnTo>
                  <a:lnTo>
                    <a:pt x="69230" y="86086"/>
                  </a:lnTo>
                  <a:lnTo>
                    <a:pt x="69230" y="84782"/>
                  </a:lnTo>
                  <a:lnTo>
                    <a:pt x="67692" y="83478"/>
                  </a:lnTo>
                  <a:lnTo>
                    <a:pt x="66666" y="83478"/>
                  </a:lnTo>
                  <a:lnTo>
                    <a:pt x="65641" y="81521"/>
                  </a:lnTo>
                  <a:lnTo>
                    <a:pt x="64102" y="80217"/>
                  </a:lnTo>
                  <a:lnTo>
                    <a:pt x="63076" y="78260"/>
                  </a:lnTo>
                  <a:lnTo>
                    <a:pt x="61538" y="76956"/>
                  </a:lnTo>
                  <a:lnTo>
                    <a:pt x="61538" y="76956"/>
                  </a:lnTo>
                  <a:lnTo>
                    <a:pt x="60512" y="75652"/>
                  </a:lnTo>
                  <a:lnTo>
                    <a:pt x="60512" y="72391"/>
                  </a:lnTo>
                  <a:lnTo>
                    <a:pt x="59487" y="69130"/>
                  </a:lnTo>
                  <a:lnTo>
                    <a:pt x="59487" y="67826"/>
                  </a:lnTo>
                  <a:lnTo>
                    <a:pt x="59487" y="67826"/>
                  </a:lnTo>
                  <a:lnTo>
                    <a:pt x="60512" y="66521"/>
                  </a:lnTo>
                  <a:lnTo>
                    <a:pt x="63076" y="66521"/>
                  </a:lnTo>
                  <a:lnTo>
                    <a:pt x="66666" y="66521"/>
                  </a:lnTo>
                  <a:lnTo>
                    <a:pt x="67692" y="66521"/>
                  </a:lnTo>
                  <a:lnTo>
                    <a:pt x="67692" y="66521"/>
                  </a:lnTo>
                  <a:lnTo>
                    <a:pt x="67692" y="64565"/>
                  </a:lnTo>
                  <a:lnTo>
                    <a:pt x="67692" y="61304"/>
                  </a:lnTo>
                  <a:lnTo>
                    <a:pt x="67692" y="60000"/>
                  </a:lnTo>
                  <a:lnTo>
                    <a:pt x="66666" y="60000"/>
                  </a:lnTo>
                  <a:lnTo>
                    <a:pt x="66666" y="60000"/>
                  </a:lnTo>
                  <a:lnTo>
                    <a:pt x="66666" y="58695"/>
                  </a:lnTo>
                  <a:lnTo>
                    <a:pt x="65641" y="56739"/>
                  </a:lnTo>
                  <a:lnTo>
                    <a:pt x="65641" y="56739"/>
                  </a:lnTo>
                  <a:lnTo>
                    <a:pt x="64102" y="55434"/>
                  </a:lnTo>
                  <a:lnTo>
                    <a:pt x="64102" y="55434"/>
                  </a:lnTo>
                  <a:lnTo>
                    <a:pt x="63076" y="55434"/>
                  </a:lnTo>
                  <a:lnTo>
                    <a:pt x="61538" y="55434"/>
                  </a:lnTo>
                  <a:lnTo>
                    <a:pt x="60512" y="55434"/>
                  </a:lnTo>
                  <a:lnTo>
                    <a:pt x="54358" y="50869"/>
                  </a:lnTo>
                  <a:lnTo>
                    <a:pt x="53333" y="50869"/>
                  </a:lnTo>
                  <a:lnTo>
                    <a:pt x="50769" y="49565"/>
                  </a:lnTo>
                  <a:lnTo>
                    <a:pt x="49743" y="49565"/>
                  </a:lnTo>
                  <a:lnTo>
                    <a:pt x="48717" y="47608"/>
                  </a:lnTo>
                  <a:lnTo>
                    <a:pt x="49743" y="44347"/>
                  </a:lnTo>
                  <a:lnTo>
                    <a:pt x="49743" y="41739"/>
                  </a:lnTo>
                  <a:lnTo>
                    <a:pt x="48717" y="39782"/>
                  </a:lnTo>
                  <a:lnTo>
                    <a:pt x="44615" y="33913"/>
                  </a:lnTo>
                  <a:lnTo>
                    <a:pt x="43589" y="33913"/>
                  </a:lnTo>
                  <a:lnTo>
                    <a:pt x="42564" y="33913"/>
                  </a:lnTo>
                  <a:lnTo>
                    <a:pt x="42564" y="32608"/>
                  </a:lnTo>
                  <a:lnTo>
                    <a:pt x="41025" y="30652"/>
                  </a:lnTo>
                  <a:lnTo>
                    <a:pt x="41025" y="30652"/>
                  </a:lnTo>
                  <a:lnTo>
                    <a:pt x="40000" y="29347"/>
                  </a:lnTo>
                  <a:lnTo>
                    <a:pt x="38974" y="29347"/>
                  </a:lnTo>
                  <a:lnTo>
                    <a:pt x="37435" y="27391"/>
                  </a:lnTo>
                  <a:lnTo>
                    <a:pt x="37435" y="26086"/>
                  </a:lnTo>
                  <a:lnTo>
                    <a:pt x="37435" y="26086"/>
                  </a:lnTo>
                  <a:lnTo>
                    <a:pt x="36410" y="26086"/>
                  </a:lnTo>
                  <a:lnTo>
                    <a:pt x="36410" y="26086"/>
                  </a:lnTo>
                  <a:lnTo>
                    <a:pt x="35384" y="26086"/>
                  </a:lnTo>
                  <a:lnTo>
                    <a:pt x="33846" y="26086"/>
                  </a:lnTo>
                  <a:lnTo>
                    <a:pt x="33846" y="26086"/>
                  </a:lnTo>
                  <a:lnTo>
                    <a:pt x="32820" y="26086"/>
                  </a:lnTo>
                  <a:lnTo>
                    <a:pt x="31794" y="24782"/>
                  </a:lnTo>
                  <a:lnTo>
                    <a:pt x="31794" y="22826"/>
                  </a:lnTo>
                  <a:lnTo>
                    <a:pt x="30256" y="22826"/>
                  </a:lnTo>
                  <a:lnTo>
                    <a:pt x="27692" y="21521"/>
                  </a:lnTo>
                  <a:lnTo>
                    <a:pt x="26666" y="20217"/>
                  </a:lnTo>
                  <a:lnTo>
                    <a:pt x="24102" y="20217"/>
                  </a:lnTo>
                  <a:lnTo>
                    <a:pt x="23076" y="20217"/>
                  </a:lnTo>
                  <a:lnTo>
                    <a:pt x="23076" y="20217"/>
                  </a:lnTo>
                  <a:lnTo>
                    <a:pt x="19487" y="18260"/>
                  </a:lnTo>
                  <a:lnTo>
                    <a:pt x="15897" y="16956"/>
                  </a:lnTo>
                  <a:lnTo>
                    <a:pt x="13333" y="13695"/>
                  </a:lnTo>
                  <a:lnTo>
                    <a:pt x="13333" y="13695"/>
                  </a:lnTo>
                  <a:lnTo>
                    <a:pt x="13333" y="13695"/>
                  </a:lnTo>
                  <a:lnTo>
                    <a:pt x="12307" y="13695"/>
                  </a:lnTo>
                  <a:lnTo>
                    <a:pt x="10769" y="12391"/>
                  </a:lnTo>
                  <a:lnTo>
                    <a:pt x="6153" y="9130"/>
                  </a:lnTo>
                  <a:lnTo>
                    <a:pt x="6153" y="9130"/>
                  </a:lnTo>
                  <a:lnTo>
                    <a:pt x="5128" y="9130"/>
                  </a:lnTo>
                  <a:lnTo>
                    <a:pt x="5128" y="9130"/>
                  </a:lnTo>
                  <a:lnTo>
                    <a:pt x="5128" y="9130"/>
                  </a:lnTo>
                  <a:lnTo>
                    <a:pt x="5128" y="10434"/>
                  </a:lnTo>
                  <a:lnTo>
                    <a:pt x="5128" y="12391"/>
                  </a:lnTo>
                  <a:lnTo>
                    <a:pt x="3589" y="15652"/>
                  </a:lnTo>
                  <a:lnTo>
                    <a:pt x="3589" y="18260"/>
                  </a:lnTo>
                  <a:lnTo>
                    <a:pt x="3589" y="21521"/>
                  </a:lnTo>
                  <a:lnTo>
                    <a:pt x="3589" y="22826"/>
                  </a:lnTo>
                  <a:lnTo>
                    <a:pt x="3589" y="26086"/>
                  </a:lnTo>
                  <a:lnTo>
                    <a:pt x="3589" y="29347"/>
                  </a:lnTo>
                  <a:lnTo>
                    <a:pt x="3589" y="32608"/>
                  </a:lnTo>
                  <a:lnTo>
                    <a:pt x="3589" y="35217"/>
                  </a:lnTo>
                  <a:lnTo>
                    <a:pt x="3589" y="37173"/>
                  </a:lnTo>
                  <a:lnTo>
                    <a:pt x="3589" y="39782"/>
                  </a:lnTo>
                  <a:lnTo>
                    <a:pt x="3589" y="43043"/>
                  </a:lnTo>
                  <a:lnTo>
                    <a:pt x="3589" y="46304"/>
                  </a:lnTo>
                  <a:lnTo>
                    <a:pt x="2564" y="49565"/>
                  </a:lnTo>
                  <a:lnTo>
                    <a:pt x="2564" y="50869"/>
                  </a:lnTo>
                  <a:lnTo>
                    <a:pt x="2564" y="54130"/>
                  </a:lnTo>
                  <a:lnTo>
                    <a:pt x="2564" y="56739"/>
                  </a:lnTo>
                  <a:lnTo>
                    <a:pt x="2564" y="60000"/>
                  </a:lnTo>
                  <a:lnTo>
                    <a:pt x="2564" y="61304"/>
                  </a:lnTo>
                  <a:lnTo>
                    <a:pt x="2564" y="63260"/>
                  </a:lnTo>
                  <a:lnTo>
                    <a:pt x="1538" y="64565"/>
                  </a:lnTo>
                  <a:lnTo>
                    <a:pt x="1538" y="66521"/>
                  </a:lnTo>
                  <a:lnTo>
                    <a:pt x="1538" y="67826"/>
                  </a:lnTo>
                  <a:lnTo>
                    <a:pt x="2564" y="69130"/>
                  </a:lnTo>
                  <a:lnTo>
                    <a:pt x="2564" y="71086"/>
                  </a:lnTo>
                  <a:lnTo>
                    <a:pt x="1538" y="73695"/>
                  </a:lnTo>
                  <a:lnTo>
                    <a:pt x="1538" y="76956"/>
                  </a:lnTo>
                  <a:lnTo>
                    <a:pt x="1538" y="80217"/>
                  </a:lnTo>
                  <a:lnTo>
                    <a:pt x="1538" y="81521"/>
                  </a:lnTo>
                  <a:lnTo>
                    <a:pt x="1538" y="84782"/>
                  </a:lnTo>
                  <a:lnTo>
                    <a:pt x="1538" y="88043"/>
                  </a:lnTo>
                  <a:lnTo>
                    <a:pt x="1538" y="90652"/>
                  </a:lnTo>
                  <a:lnTo>
                    <a:pt x="0" y="93913"/>
                  </a:lnTo>
                  <a:lnTo>
                    <a:pt x="0" y="97173"/>
                  </a:lnTo>
                  <a:lnTo>
                    <a:pt x="0" y="98478"/>
                  </a:lnTo>
                  <a:lnTo>
                    <a:pt x="0" y="98478"/>
                  </a:lnTo>
                  <a:lnTo>
                    <a:pt x="1538" y="100434"/>
                  </a:lnTo>
                  <a:lnTo>
                    <a:pt x="2564" y="100434"/>
                  </a:lnTo>
                  <a:lnTo>
                    <a:pt x="3589" y="100434"/>
                  </a:lnTo>
                  <a:lnTo>
                    <a:pt x="3589" y="100434"/>
                  </a:lnTo>
                  <a:lnTo>
                    <a:pt x="5128" y="100434"/>
                  </a:lnTo>
                  <a:lnTo>
                    <a:pt x="6153" y="100434"/>
                  </a:lnTo>
                  <a:lnTo>
                    <a:pt x="7179" y="100434"/>
                  </a:lnTo>
                  <a:lnTo>
                    <a:pt x="9743" y="100434"/>
                  </a:lnTo>
                  <a:lnTo>
                    <a:pt x="12307" y="100434"/>
                  </a:lnTo>
                  <a:lnTo>
                    <a:pt x="12307" y="100434"/>
                  </a:lnTo>
                  <a:lnTo>
                    <a:pt x="13333" y="100434"/>
                  </a:lnTo>
                  <a:lnTo>
                    <a:pt x="13333" y="101739"/>
                  </a:lnTo>
                  <a:lnTo>
                    <a:pt x="14871" y="101739"/>
                  </a:lnTo>
                  <a:lnTo>
                    <a:pt x="15897" y="101739"/>
                  </a:lnTo>
                  <a:lnTo>
                    <a:pt x="18461" y="100434"/>
                  </a:lnTo>
                  <a:lnTo>
                    <a:pt x="20512" y="98478"/>
                  </a:lnTo>
                  <a:lnTo>
                    <a:pt x="22051" y="98478"/>
                  </a:lnTo>
                  <a:lnTo>
                    <a:pt x="23076" y="97173"/>
                  </a:lnTo>
                  <a:lnTo>
                    <a:pt x="23076" y="97173"/>
                  </a:lnTo>
                  <a:lnTo>
                    <a:pt x="23076" y="95217"/>
                  </a:lnTo>
                  <a:lnTo>
                    <a:pt x="23076" y="93913"/>
                  </a:lnTo>
                  <a:lnTo>
                    <a:pt x="23076" y="92608"/>
                  </a:lnTo>
                  <a:lnTo>
                    <a:pt x="22051" y="92608"/>
                  </a:lnTo>
                  <a:lnTo>
                    <a:pt x="20512" y="90652"/>
                  </a:lnTo>
                  <a:lnTo>
                    <a:pt x="20512" y="90652"/>
                  </a:lnTo>
                  <a:lnTo>
                    <a:pt x="20512" y="89347"/>
                  </a:lnTo>
                  <a:lnTo>
                    <a:pt x="18461" y="89347"/>
                  </a:lnTo>
                  <a:lnTo>
                    <a:pt x="15897" y="88043"/>
                  </a:lnTo>
                  <a:lnTo>
                    <a:pt x="14871" y="89347"/>
                  </a:lnTo>
                  <a:lnTo>
                    <a:pt x="14871" y="88043"/>
                  </a:lnTo>
                  <a:lnTo>
                    <a:pt x="14871" y="88043"/>
                  </a:lnTo>
                  <a:lnTo>
                    <a:pt x="13333" y="86086"/>
                  </a:lnTo>
                  <a:lnTo>
                    <a:pt x="12307" y="86086"/>
                  </a:lnTo>
                  <a:lnTo>
                    <a:pt x="13333" y="86086"/>
                  </a:lnTo>
                  <a:lnTo>
                    <a:pt x="14871" y="86086"/>
                  </a:lnTo>
                  <a:lnTo>
                    <a:pt x="14871" y="86086"/>
                  </a:lnTo>
                  <a:lnTo>
                    <a:pt x="14871" y="88043"/>
                  </a:lnTo>
                  <a:lnTo>
                    <a:pt x="14871" y="88043"/>
                  </a:lnTo>
                  <a:lnTo>
                    <a:pt x="15897" y="88043"/>
                  </a:lnTo>
                  <a:lnTo>
                    <a:pt x="16923" y="88043"/>
                  </a:lnTo>
                  <a:lnTo>
                    <a:pt x="16923" y="88043"/>
                  </a:lnTo>
                  <a:lnTo>
                    <a:pt x="18461" y="88043"/>
                  </a:lnTo>
                  <a:lnTo>
                    <a:pt x="19487" y="88043"/>
                  </a:lnTo>
                  <a:lnTo>
                    <a:pt x="20512" y="88043"/>
                  </a:lnTo>
                  <a:lnTo>
                    <a:pt x="23076" y="88043"/>
                  </a:lnTo>
                  <a:lnTo>
                    <a:pt x="24102" y="88043"/>
                  </a:lnTo>
                  <a:lnTo>
                    <a:pt x="26666" y="86086"/>
                  </a:lnTo>
                  <a:lnTo>
                    <a:pt x="25641" y="84782"/>
                  </a:lnTo>
                  <a:lnTo>
                    <a:pt x="25641" y="84782"/>
                  </a:lnTo>
                  <a:lnTo>
                    <a:pt x="25641" y="83478"/>
                  </a:lnTo>
                  <a:lnTo>
                    <a:pt x="25641" y="83478"/>
                  </a:lnTo>
                  <a:lnTo>
                    <a:pt x="26666" y="83478"/>
                  </a:lnTo>
                  <a:lnTo>
                    <a:pt x="27692" y="84782"/>
                  </a:lnTo>
                  <a:lnTo>
                    <a:pt x="27692" y="84782"/>
                  </a:lnTo>
                  <a:lnTo>
                    <a:pt x="29230" y="84782"/>
                  </a:lnTo>
                  <a:lnTo>
                    <a:pt x="27692" y="83478"/>
                  </a:lnTo>
                  <a:lnTo>
                    <a:pt x="29230" y="83478"/>
                  </a:lnTo>
                  <a:lnTo>
                    <a:pt x="29230" y="83478"/>
                  </a:lnTo>
                  <a:lnTo>
                    <a:pt x="27692" y="76956"/>
                  </a:lnTo>
                  <a:lnTo>
                    <a:pt x="26666" y="76956"/>
                  </a:lnTo>
                  <a:lnTo>
                    <a:pt x="27692" y="76956"/>
                  </a:lnTo>
                  <a:lnTo>
                    <a:pt x="27692" y="76956"/>
                  </a:lnTo>
                  <a:lnTo>
                    <a:pt x="29230" y="78260"/>
                  </a:lnTo>
                  <a:lnTo>
                    <a:pt x="29230" y="80217"/>
                  </a:lnTo>
                  <a:lnTo>
                    <a:pt x="30256" y="80217"/>
                  </a:lnTo>
                  <a:lnTo>
                    <a:pt x="31794" y="80217"/>
                  </a:lnTo>
                  <a:lnTo>
                    <a:pt x="32820" y="80217"/>
                  </a:lnTo>
                  <a:lnTo>
                    <a:pt x="32820" y="80217"/>
                  </a:lnTo>
                  <a:lnTo>
                    <a:pt x="32820" y="80217"/>
                  </a:lnTo>
                  <a:lnTo>
                    <a:pt x="33846" y="78260"/>
                  </a:lnTo>
                  <a:lnTo>
                    <a:pt x="33846" y="80217"/>
                  </a:lnTo>
                  <a:lnTo>
                    <a:pt x="33846" y="80217"/>
                  </a:lnTo>
                  <a:lnTo>
                    <a:pt x="35384" y="78260"/>
                  </a:lnTo>
                  <a:lnTo>
                    <a:pt x="35384" y="78260"/>
                  </a:lnTo>
                  <a:lnTo>
                    <a:pt x="36410" y="78260"/>
                  </a:lnTo>
                  <a:lnTo>
                    <a:pt x="36410" y="78260"/>
                  </a:lnTo>
                  <a:lnTo>
                    <a:pt x="37435" y="78260"/>
                  </a:lnTo>
                  <a:lnTo>
                    <a:pt x="38974" y="78260"/>
                  </a:lnTo>
                  <a:lnTo>
                    <a:pt x="38974" y="80217"/>
                  </a:lnTo>
                  <a:lnTo>
                    <a:pt x="38974" y="80217"/>
                  </a:lnTo>
                  <a:lnTo>
                    <a:pt x="38974" y="81521"/>
                  </a:lnTo>
                  <a:lnTo>
                    <a:pt x="40000" y="81521"/>
                  </a:lnTo>
                  <a:lnTo>
                    <a:pt x="41025" y="81521"/>
                  </a:lnTo>
                  <a:lnTo>
                    <a:pt x="42564" y="81521"/>
                  </a:lnTo>
                  <a:lnTo>
                    <a:pt x="43589" y="83478"/>
                  </a:lnTo>
                  <a:lnTo>
                    <a:pt x="44615" y="83478"/>
                  </a:lnTo>
                  <a:lnTo>
                    <a:pt x="46153" y="83478"/>
                  </a:lnTo>
                  <a:lnTo>
                    <a:pt x="47179" y="83478"/>
                  </a:lnTo>
                  <a:lnTo>
                    <a:pt x="47179" y="83478"/>
                  </a:lnTo>
                  <a:lnTo>
                    <a:pt x="49743" y="84782"/>
                  </a:lnTo>
                  <a:lnTo>
                    <a:pt x="49743" y="84782"/>
                  </a:lnTo>
                  <a:lnTo>
                    <a:pt x="49743" y="86086"/>
                  </a:lnTo>
                  <a:lnTo>
                    <a:pt x="49743" y="86086"/>
                  </a:lnTo>
                  <a:lnTo>
                    <a:pt x="50769" y="88043"/>
                  </a:lnTo>
                  <a:lnTo>
                    <a:pt x="50769" y="89347"/>
                  </a:lnTo>
                  <a:lnTo>
                    <a:pt x="50769" y="90652"/>
                  </a:lnTo>
                  <a:lnTo>
                    <a:pt x="53333" y="92608"/>
                  </a:lnTo>
                  <a:lnTo>
                    <a:pt x="53333" y="93913"/>
                  </a:lnTo>
                  <a:lnTo>
                    <a:pt x="54358" y="97173"/>
                  </a:lnTo>
                  <a:lnTo>
                    <a:pt x="54358" y="98478"/>
                  </a:lnTo>
                  <a:lnTo>
                    <a:pt x="55897" y="98478"/>
                  </a:lnTo>
                  <a:lnTo>
                    <a:pt x="56923" y="98478"/>
                  </a:lnTo>
                  <a:lnTo>
                    <a:pt x="56923" y="98478"/>
                  </a:lnTo>
                  <a:lnTo>
                    <a:pt x="56923" y="100434"/>
                  </a:lnTo>
                  <a:lnTo>
                    <a:pt x="56923" y="101739"/>
                  </a:lnTo>
                  <a:lnTo>
                    <a:pt x="56923" y="103043"/>
                  </a:lnTo>
                  <a:lnTo>
                    <a:pt x="57948" y="103043"/>
                  </a:lnTo>
                  <a:lnTo>
                    <a:pt x="59487" y="106304"/>
                  </a:lnTo>
                  <a:lnTo>
                    <a:pt x="60512" y="106304"/>
                  </a:lnTo>
                  <a:lnTo>
                    <a:pt x="61538" y="107608"/>
                  </a:lnTo>
                  <a:lnTo>
                    <a:pt x="61538" y="110869"/>
                  </a:lnTo>
                  <a:lnTo>
                    <a:pt x="63076" y="110869"/>
                  </a:lnTo>
                  <a:lnTo>
                    <a:pt x="63076" y="110869"/>
                  </a:lnTo>
                  <a:lnTo>
                    <a:pt x="64102" y="112173"/>
                  </a:lnTo>
                  <a:lnTo>
                    <a:pt x="65641" y="112173"/>
                  </a:lnTo>
                  <a:lnTo>
                    <a:pt x="66666" y="112173"/>
                  </a:lnTo>
                  <a:lnTo>
                    <a:pt x="66666" y="112173"/>
                  </a:lnTo>
                  <a:lnTo>
                    <a:pt x="67692" y="112173"/>
                  </a:lnTo>
                  <a:lnTo>
                    <a:pt x="69230" y="112173"/>
                  </a:lnTo>
                  <a:lnTo>
                    <a:pt x="69230" y="114130"/>
                  </a:lnTo>
                  <a:lnTo>
                    <a:pt x="70256" y="114130"/>
                  </a:lnTo>
                  <a:lnTo>
                    <a:pt x="71282" y="114130"/>
                  </a:lnTo>
                  <a:lnTo>
                    <a:pt x="72820" y="114130"/>
                  </a:lnTo>
                  <a:lnTo>
                    <a:pt x="72820" y="114130"/>
                  </a:lnTo>
                  <a:lnTo>
                    <a:pt x="73846" y="114130"/>
                  </a:lnTo>
                  <a:lnTo>
                    <a:pt x="74871" y="115434"/>
                  </a:lnTo>
                  <a:lnTo>
                    <a:pt x="78461" y="115434"/>
                  </a:lnTo>
                  <a:lnTo>
                    <a:pt x="80000" y="115434"/>
                  </a:lnTo>
                  <a:lnTo>
                    <a:pt x="81025" y="115434"/>
                  </a:lnTo>
                  <a:lnTo>
                    <a:pt x="82564" y="115434"/>
                  </a:lnTo>
                  <a:lnTo>
                    <a:pt x="83589" y="117391"/>
                  </a:lnTo>
                  <a:lnTo>
                    <a:pt x="83589" y="118695"/>
                  </a:lnTo>
                  <a:lnTo>
                    <a:pt x="84615" y="118695"/>
                  </a:lnTo>
                  <a:lnTo>
                    <a:pt x="84615" y="118695"/>
                  </a:lnTo>
                  <a:lnTo>
                    <a:pt x="86153" y="120000"/>
                  </a:lnTo>
                  <a:lnTo>
                    <a:pt x="87179" y="120000"/>
                  </a:lnTo>
                  <a:lnTo>
                    <a:pt x="88205" y="120000"/>
                  </a:lnTo>
                  <a:lnTo>
                    <a:pt x="88205" y="120000"/>
                  </a:lnTo>
                  <a:lnTo>
                    <a:pt x="90769" y="118695"/>
                  </a:lnTo>
                  <a:lnTo>
                    <a:pt x="90769" y="118695"/>
                  </a:lnTo>
                  <a:lnTo>
                    <a:pt x="90769" y="118695"/>
                  </a:lnTo>
                  <a:lnTo>
                    <a:pt x="89743" y="117391"/>
                  </a:lnTo>
                  <a:lnTo>
                    <a:pt x="88205" y="115434"/>
                  </a:lnTo>
                  <a:lnTo>
                    <a:pt x="88205" y="115434"/>
                  </a:lnTo>
                  <a:lnTo>
                    <a:pt x="90769" y="115434"/>
                  </a:lnTo>
                  <a:lnTo>
                    <a:pt x="90769" y="115434"/>
                  </a:lnTo>
                  <a:lnTo>
                    <a:pt x="93333" y="114130"/>
                  </a:lnTo>
                  <a:lnTo>
                    <a:pt x="90769" y="115434"/>
                  </a:lnTo>
                  <a:close/>
                  <a:moveTo>
                    <a:pt x="118461" y="30652"/>
                  </a:moveTo>
                  <a:lnTo>
                    <a:pt x="112307" y="22826"/>
                  </a:lnTo>
                  <a:lnTo>
                    <a:pt x="112307" y="21521"/>
                  </a:lnTo>
                  <a:lnTo>
                    <a:pt x="111282" y="20217"/>
                  </a:lnTo>
                  <a:lnTo>
                    <a:pt x="110256" y="18260"/>
                  </a:lnTo>
                  <a:lnTo>
                    <a:pt x="110256" y="18260"/>
                  </a:lnTo>
                  <a:lnTo>
                    <a:pt x="107692" y="16956"/>
                  </a:lnTo>
                  <a:lnTo>
                    <a:pt x="106666" y="15652"/>
                  </a:lnTo>
                  <a:lnTo>
                    <a:pt x="105128" y="15652"/>
                  </a:lnTo>
                  <a:lnTo>
                    <a:pt x="104102" y="13695"/>
                  </a:lnTo>
                  <a:lnTo>
                    <a:pt x="103076" y="13695"/>
                  </a:lnTo>
                  <a:lnTo>
                    <a:pt x="101538" y="13695"/>
                  </a:lnTo>
                  <a:lnTo>
                    <a:pt x="101538" y="12391"/>
                  </a:lnTo>
                  <a:lnTo>
                    <a:pt x="100512" y="10434"/>
                  </a:lnTo>
                  <a:lnTo>
                    <a:pt x="97948" y="9130"/>
                  </a:lnTo>
                  <a:lnTo>
                    <a:pt x="97948" y="10434"/>
                  </a:lnTo>
                  <a:lnTo>
                    <a:pt x="97948" y="10434"/>
                  </a:lnTo>
                  <a:lnTo>
                    <a:pt x="97948" y="10434"/>
                  </a:lnTo>
                  <a:lnTo>
                    <a:pt x="97948" y="12391"/>
                  </a:lnTo>
                  <a:lnTo>
                    <a:pt x="99487" y="12391"/>
                  </a:lnTo>
                  <a:lnTo>
                    <a:pt x="100512" y="12391"/>
                  </a:lnTo>
                  <a:lnTo>
                    <a:pt x="104102" y="15652"/>
                  </a:lnTo>
                  <a:lnTo>
                    <a:pt x="104102" y="16956"/>
                  </a:lnTo>
                  <a:lnTo>
                    <a:pt x="105128" y="16956"/>
                  </a:lnTo>
                  <a:lnTo>
                    <a:pt x="107692" y="20217"/>
                  </a:lnTo>
                  <a:lnTo>
                    <a:pt x="107692" y="20217"/>
                  </a:lnTo>
                  <a:lnTo>
                    <a:pt x="108717" y="21521"/>
                  </a:lnTo>
                  <a:lnTo>
                    <a:pt x="108717" y="21521"/>
                  </a:lnTo>
                  <a:lnTo>
                    <a:pt x="110256" y="21521"/>
                  </a:lnTo>
                  <a:lnTo>
                    <a:pt x="111282" y="21521"/>
                  </a:lnTo>
                  <a:lnTo>
                    <a:pt x="111282" y="22826"/>
                  </a:lnTo>
                  <a:lnTo>
                    <a:pt x="112307" y="24782"/>
                  </a:lnTo>
                  <a:lnTo>
                    <a:pt x="114871" y="29347"/>
                  </a:lnTo>
                  <a:lnTo>
                    <a:pt x="114871" y="30652"/>
                  </a:lnTo>
                  <a:lnTo>
                    <a:pt x="114871" y="32608"/>
                  </a:lnTo>
                  <a:lnTo>
                    <a:pt x="114871" y="33913"/>
                  </a:lnTo>
                  <a:lnTo>
                    <a:pt x="114871" y="35217"/>
                  </a:lnTo>
                  <a:lnTo>
                    <a:pt x="114871" y="35217"/>
                  </a:lnTo>
                  <a:lnTo>
                    <a:pt x="116410" y="37173"/>
                  </a:lnTo>
                  <a:lnTo>
                    <a:pt x="116410" y="38478"/>
                  </a:lnTo>
                  <a:lnTo>
                    <a:pt x="116410" y="39782"/>
                  </a:lnTo>
                  <a:lnTo>
                    <a:pt x="117435" y="39782"/>
                  </a:lnTo>
                  <a:lnTo>
                    <a:pt x="117435" y="38478"/>
                  </a:lnTo>
                  <a:lnTo>
                    <a:pt x="118461" y="38478"/>
                  </a:lnTo>
                  <a:lnTo>
                    <a:pt x="118461" y="37173"/>
                  </a:lnTo>
                  <a:lnTo>
                    <a:pt x="118461" y="35217"/>
                  </a:lnTo>
                  <a:lnTo>
                    <a:pt x="120000" y="33913"/>
                  </a:lnTo>
                  <a:lnTo>
                    <a:pt x="120000" y="33913"/>
                  </a:lnTo>
                  <a:lnTo>
                    <a:pt x="120000" y="32608"/>
                  </a:lnTo>
                  <a:lnTo>
                    <a:pt x="118461" y="30652"/>
                  </a:lnTo>
                  <a:close/>
                  <a:moveTo>
                    <a:pt x="90769" y="7826"/>
                  </a:moveTo>
                  <a:lnTo>
                    <a:pt x="91794" y="9130"/>
                  </a:lnTo>
                  <a:lnTo>
                    <a:pt x="91794" y="10434"/>
                  </a:lnTo>
                  <a:lnTo>
                    <a:pt x="93333" y="10434"/>
                  </a:lnTo>
                  <a:lnTo>
                    <a:pt x="94358" y="10434"/>
                  </a:lnTo>
                  <a:lnTo>
                    <a:pt x="94358" y="10434"/>
                  </a:lnTo>
                  <a:lnTo>
                    <a:pt x="94358" y="9130"/>
                  </a:lnTo>
                  <a:lnTo>
                    <a:pt x="94358" y="7826"/>
                  </a:lnTo>
                  <a:lnTo>
                    <a:pt x="94358" y="7826"/>
                  </a:lnTo>
                  <a:lnTo>
                    <a:pt x="93333" y="5869"/>
                  </a:lnTo>
                  <a:lnTo>
                    <a:pt x="91794" y="7826"/>
                  </a:lnTo>
                  <a:lnTo>
                    <a:pt x="90769" y="7826"/>
                  </a:lnTo>
                  <a:lnTo>
                    <a:pt x="90769" y="7826"/>
                  </a:lnTo>
                  <a:lnTo>
                    <a:pt x="90769" y="7826"/>
                  </a:lnTo>
                  <a:close/>
                  <a:moveTo>
                    <a:pt x="57948" y="4565"/>
                  </a:moveTo>
                  <a:lnTo>
                    <a:pt x="57948" y="3260"/>
                  </a:lnTo>
                  <a:lnTo>
                    <a:pt x="59487" y="4565"/>
                  </a:lnTo>
                  <a:lnTo>
                    <a:pt x="59487" y="3260"/>
                  </a:lnTo>
                  <a:lnTo>
                    <a:pt x="61538" y="4565"/>
                  </a:lnTo>
                  <a:lnTo>
                    <a:pt x="63076" y="4565"/>
                  </a:lnTo>
                  <a:lnTo>
                    <a:pt x="63076" y="3260"/>
                  </a:lnTo>
                  <a:lnTo>
                    <a:pt x="64102" y="4565"/>
                  </a:lnTo>
                  <a:lnTo>
                    <a:pt x="65641" y="3260"/>
                  </a:lnTo>
                  <a:lnTo>
                    <a:pt x="65641" y="1304"/>
                  </a:lnTo>
                  <a:lnTo>
                    <a:pt x="65641" y="3260"/>
                  </a:lnTo>
                  <a:lnTo>
                    <a:pt x="66666" y="1304"/>
                  </a:lnTo>
                  <a:lnTo>
                    <a:pt x="66666" y="1304"/>
                  </a:lnTo>
                  <a:lnTo>
                    <a:pt x="66666" y="1304"/>
                  </a:lnTo>
                  <a:lnTo>
                    <a:pt x="66666" y="1304"/>
                  </a:lnTo>
                  <a:lnTo>
                    <a:pt x="66666" y="1304"/>
                  </a:lnTo>
                  <a:lnTo>
                    <a:pt x="65641" y="1304"/>
                  </a:lnTo>
                  <a:lnTo>
                    <a:pt x="63076" y="1304"/>
                  </a:lnTo>
                  <a:lnTo>
                    <a:pt x="60512" y="0"/>
                  </a:lnTo>
                  <a:lnTo>
                    <a:pt x="59487" y="1304"/>
                  </a:lnTo>
                  <a:lnTo>
                    <a:pt x="59487" y="1304"/>
                  </a:lnTo>
                  <a:lnTo>
                    <a:pt x="57948" y="1304"/>
                  </a:lnTo>
                  <a:lnTo>
                    <a:pt x="57948" y="3260"/>
                  </a:lnTo>
                  <a:lnTo>
                    <a:pt x="57948" y="3260"/>
                  </a:lnTo>
                  <a:lnTo>
                    <a:pt x="57948" y="3260"/>
                  </a:lnTo>
                  <a:lnTo>
                    <a:pt x="57948" y="4565"/>
                  </a:lnTo>
                  <a:lnTo>
                    <a:pt x="57948" y="4565"/>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08" name="Shape 408"/>
            <p:cNvSpPr/>
            <p:nvPr/>
          </p:nvSpPr>
          <p:spPr>
            <a:xfrm>
              <a:off x="2114" y="2604"/>
              <a:ext cx="0" cy="0"/>
            </a:xfrm>
            <a:custGeom>
              <a:avLst/>
              <a:gdLst/>
              <a:ahLst/>
              <a:cxnLst/>
              <a:rect l="0" t="0" r="0" b="0"/>
              <a:pathLst>
                <a:path w="120000" h="120000" extrusionOk="0">
                  <a:moveTo>
                    <a:pt x="25555" y="110769"/>
                  </a:moveTo>
                  <a:lnTo>
                    <a:pt x="25555" y="103846"/>
                  </a:lnTo>
                  <a:lnTo>
                    <a:pt x="28888" y="103846"/>
                  </a:lnTo>
                  <a:lnTo>
                    <a:pt x="25555" y="99230"/>
                  </a:lnTo>
                  <a:lnTo>
                    <a:pt x="25555" y="99230"/>
                  </a:lnTo>
                  <a:lnTo>
                    <a:pt x="25555" y="99230"/>
                  </a:lnTo>
                  <a:lnTo>
                    <a:pt x="23333" y="103846"/>
                  </a:lnTo>
                  <a:lnTo>
                    <a:pt x="23333" y="103846"/>
                  </a:lnTo>
                  <a:lnTo>
                    <a:pt x="23333" y="103846"/>
                  </a:lnTo>
                  <a:lnTo>
                    <a:pt x="25555" y="110769"/>
                  </a:lnTo>
                  <a:lnTo>
                    <a:pt x="28888" y="115384"/>
                  </a:lnTo>
                  <a:lnTo>
                    <a:pt x="28888" y="115384"/>
                  </a:lnTo>
                  <a:lnTo>
                    <a:pt x="28888" y="110769"/>
                  </a:lnTo>
                  <a:lnTo>
                    <a:pt x="25555" y="110769"/>
                  </a:lnTo>
                  <a:close/>
                  <a:moveTo>
                    <a:pt x="81111" y="66923"/>
                  </a:moveTo>
                  <a:lnTo>
                    <a:pt x="81111" y="66923"/>
                  </a:lnTo>
                  <a:lnTo>
                    <a:pt x="81111" y="71538"/>
                  </a:lnTo>
                  <a:lnTo>
                    <a:pt x="83333" y="66923"/>
                  </a:lnTo>
                  <a:lnTo>
                    <a:pt x="81111" y="66923"/>
                  </a:lnTo>
                  <a:lnTo>
                    <a:pt x="81111" y="66923"/>
                  </a:lnTo>
                  <a:close/>
                  <a:moveTo>
                    <a:pt x="86666" y="55384"/>
                  </a:moveTo>
                  <a:lnTo>
                    <a:pt x="86666" y="60000"/>
                  </a:lnTo>
                  <a:lnTo>
                    <a:pt x="83333" y="60000"/>
                  </a:lnTo>
                  <a:lnTo>
                    <a:pt x="83333" y="60000"/>
                  </a:lnTo>
                  <a:lnTo>
                    <a:pt x="83333" y="66923"/>
                  </a:lnTo>
                  <a:lnTo>
                    <a:pt x="86666" y="71538"/>
                  </a:lnTo>
                  <a:lnTo>
                    <a:pt x="86666" y="66923"/>
                  </a:lnTo>
                  <a:lnTo>
                    <a:pt x="86666" y="66923"/>
                  </a:lnTo>
                  <a:lnTo>
                    <a:pt x="86666" y="60000"/>
                  </a:lnTo>
                  <a:lnTo>
                    <a:pt x="86666" y="60000"/>
                  </a:lnTo>
                  <a:lnTo>
                    <a:pt x="86666" y="55384"/>
                  </a:lnTo>
                  <a:close/>
                  <a:moveTo>
                    <a:pt x="17777" y="11538"/>
                  </a:moveTo>
                  <a:lnTo>
                    <a:pt x="17777" y="11538"/>
                  </a:lnTo>
                  <a:lnTo>
                    <a:pt x="17777" y="11538"/>
                  </a:lnTo>
                  <a:lnTo>
                    <a:pt x="17777" y="11538"/>
                  </a:lnTo>
                  <a:lnTo>
                    <a:pt x="17777" y="16153"/>
                  </a:lnTo>
                  <a:lnTo>
                    <a:pt x="17777" y="11538"/>
                  </a:lnTo>
                  <a:close/>
                  <a:moveTo>
                    <a:pt x="120000" y="76153"/>
                  </a:moveTo>
                  <a:lnTo>
                    <a:pt x="120000" y="71538"/>
                  </a:lnTo>
                  <a:lnTo>
                    <a:pt x="117777" y="66923"/>
                  </a:lnTo>
                  <a:lnTo>
                    <a:pt x="117777" y="60000"/>
                  </a:lnTo>
                  <a:lnTo>
                    <a:pt x="117777" y="60000"/>
                  </a:lnTo>
                  <a:lnTo>
                    <a:pt x="115555" y="55384"/>
                  </a:lnTo>
                  <a:lnTo>
                    <a:pt x="115555" y="55384"/>
                  </a:lnTo>
                  <a:lnTo>
                    <a:pt x="117777" y="50769"/>
                  </a:lnTo>
                  <a:lnTo>
                    <a:pt x="117777" y="50769"/>
                  </a:lnTo>
                  <a:lnTo>
                    <a:pt x="112222" y="39230"/>
                  </a:lnTo>
                  <a:lnTo>
                    <a:pt x="110000" y="27692"/>
                  </a:lnTo>
                  <a:lnTo>
                    <a:pt x="104444" y="23076"/>
                  </a:lnTo>
                  <a:lnTo>
                    <a:pt x="96666" y="11538"/>
                  </a:lnTo>
                  <a:lnTo>
                    <a:pt x="91111" y="11538"/>
                  </a:lnTo>
                  <a:lnTo>
                    <a:pt x="86666" y="11538"/>
                  </a:lnTo>
                  <a:lnTo>
                    <a:pt x="86666" y="11538"/>
                  </a:lnTo>
                  <a:lnTo>
                    <a:pt x="86666" y="6923"/>
                  </a:lnTo>
                  <a:lnTo>
                    <a:pt x="83333" y="6923"/>
                  </a:lnTo>
                  <a:lnTo>
                    <a:pt x="81111" y="6923"/>
                  </a:lnTo>
                  <a:lnTo>
                    <a:pt x="78888" y="6923"/>
                  </a:lnTo>
                  <a:lnTo>
                    <a:pt x="73333" y="0"/>
                  </a:lnTo>
                  <a:lnTo>
                    <a:pt x="73333" y="6923"/>
                  </a:lnTo>
                  <a:lnTo>
                    <a:pt x="71111" y="6923"/>
                  </a:lnTo>
                  <a:lnTo>
                    <a:pt x="67777" y="11538"/>
                  </a:lnTo>
                  <a:lnTo>
                    <a:pt x="65555" y="11538"/>
                  </a:lnTo>
                  <a:lnTo>
                    <a:pt x="65555" y="16153"/>
                  </a:lnTo>
                  <a:lnTo>
                    <a:pt x="62222" y="23076"/>
                  </a:lnTo>
                  <a:lnTo>
                    <a:pt x="52222" y="27692"/>
                  </a:lnTo>
                  <a:lnTo>
                    <a:pt x="50000" y="27692"/>
                  </a:lnTo>
                  <a:lnTo>
                    <a:pt x="46666" y="39230"/>
                  </a:lnTo>
                  <a:lnTo>
                    <a:pt x="42222" y="39230"/>
                  </a:lnTo>
                  <a:lnTo>
                    <a:pt x="38888" y="43846"/>
                  </a:lnTo>
                  <a:lnTo>
                    <a:pt x="36666" y="43846"/>
                  </a:lnTo>
                  <a:lnTo>
                    <a:pt x="31111" y="39230"/>
                  </a:lnTo>
                  <a:lnTo>
                    <a:pt x="28888" y="34615"/>
                  </a:lnTo>
                  <a:lnTo>
                    <a:pt x="25555" y="27692"/>
                  </a:lnTo>
                  <a:lnTo>
                    <a:pt x="25555" y="27692"/>
                  </a:lnTo>
                  <a:lnTo>
                    <a:pt x="25555" y="23076"/>
                  </a:lnTo>
                  <a:lnTo>
                    <a:pt x="25555" y="27692"/>
                  </a:lnTo>
                  <a:lnTo>
                    <a:pt x="25555" y="27692"/>
                  </a:lnTo>
                  <a:lnTo>
                    <a:pt x="28888" y="34615"/>
                  </a:lnTo>
                  <a:lnTo>
                    <a:pt x="25555" y="34615"/>
                  </a:lnTo>
                  <a:lnTo>
                    <a:pt x="25555" y="34615"/>
                  </a:lnTo>
                  <a:lnTo>
                    <a:pt x="21111" y="34615"/>
                  </a:lnTo>
                  <a:lnTo>
                    <a:pt x="21111" y="34615"/>
                  </a:lnTo>
                  <a:lnTo>
                    <a:pt x="17777" y="27692"/>
                  </a:lnTo>
                  <a:lnTo>
                    <a:pt x="17777" y="23076"/>
                  </a:lnTo>
                  <a:lnTo>
                    <a:pt x="17777" y="23076"/>
                  </a:lnTo>
                  <a:lnTo>
                    <a:pt x="17777" y="23076"/>
                  </a:lnTo>
                  <a:lnTo>
                    <a:pt x="17777" y="23076"/>
                  </a:lnTo>
                  <a:lnTo>
                    <a:pt x="17777" y="23076"/>
                  </a:lnTo>
                  <a:lnTo>
                    <a:pt x="15555" y="23076"/>
                  </a:lnTo>
                  <a:lnTo>
                    <a:pt x="15555" y="16153"/>
                  </a:lnTo>
                  <a:lnTo>
                    <a:pt x="15555" y="11538"/>
                  </a:lnTo>
                  <a:lnTo>
                    <a:pt x="15555" y="11538"/>
                  </a:lnTo>
                  <a:lnTo>
                    <a:pt x="13333" y="6923"/>
                  </a:lnTo>
                  <a:lnTo>
                    <a:pt x="13333" y="6923"/>
                  </a:lnTo>
                  <a:lnTo>
                    <a:pt x="13333" y="6923"/>
                  </a:lnTo>
                  <a:lnTo>
                    <a:pt x="13333" y="6923"/>
                  </a:lnTo>
                  <a:lnTo>
                    <a:pt x="10000" y="6923"/>
                  </a:lnTo>
                  <a:lnTo>
                    <a:pt x="10000" y="6923"/>
                  </a:lnTo>
                  <a:lnTo>
                    <a:pt x="7777" y="6923"/>
                  </a:lnTo>
                  <a:lnTo>
                    <a:pt x="7777" y="0"/>
                  </a:lnTo>
                  <a:lnTo>
                    <a:pt x="7777" y="6923"/>
                  </a:lnTo>
                  <a:lnTo>
                    <a:pt x="5555" y="6923"/>
                  </a:lnTo>
                  <a:lnTo>
                    <a:pt x="5555" y="6923"/>
                  </a:lnTo>
                  <a:lnTo>
                    <a:pt x="5555" y="6923"/>
                  </a:lnTo>
                  <a:lnTo>
                    <a:pt x="5555" y="11538"/>
                  </a:lnTo>
                  <a:lnTo>
                    <a:pt x="5555" y="16153"/>
                  </a:lnTo>
                  <a:lnTo>
                    <a:pt x="2222" y="27692"/>
                  </a:lnTo>
                  <a:lnTo>
                    <a:pt x="5555" y="27692"/>
                  </a:lnTo>
                  <a:lnTo>
                    <a:pt x="7777" y="34615"/>
                  </a:lnTo>
                  <a:lnTo>
                    <a:pt x="7777" y="34615"/>
                  </a:lnTo>
                  <a:lnTo>
                    <a:pt x="7777" y="34615"/>
                  </a:lnTo>
                  <a:lnTo>
                    <a:pt x="7777" y="39230"/>
                  </a:lnTo>
                  <a:lnTo>
                    <a:pt x="5555" y="39230"/>
                  </a:lnTo>
                  <a:lnTo>
                    <a:pt x="5555" y="39230"/>
                  </a:lnTo>
                  <a:lnTo>
                    <a:pt x="2222" y="43846"/>
                  </a:lnTo>
                  <a:lnTo>
                    <a:pt x="5555" y="50769"/>
                  </a:lnTo>
                  <a:lnTo>
                    <a:pt x="5555" y="55384"/>
                  </a:lnTo>
                  <a:lnTo>
                    <a:pt x="5555" y="55384"/>
                  </a:lnTo>
                  <a:lnTo>
                    <a:pt x="5555" y="60000"/>
                  </a:lnTo>
                  <a:lnTo>
                    <a:pt x="2222" y="60000"/>
                  </a:lnTo>
                  <a:lnTo>
                    <a:pt x="0" y="66923"/>
                  </a:lnTo>
                  <a:lnTo>
                    <a:pt x="0" y="66923"/>
                  </a:lnTo>
                  <a:lnTo>
                    <a:pt x="2222" y="66923"/>
                  </a:lnTo>
                  <a:lnTo>
                    <a:pt x="2222" y="71538"/>
                  </a:lnTo>
                  <a:lnTo>
                    <a:pt x="2222" y="71538"/>
                  </a:lnTo>
                  <a:lnTo>
                    <a:pt x="2222" y="76153"/>
                  </a:lnTo>
                  <a:lnTo>
                    <a:pt x="5555" y="76153"/>
                  </a:lnTo>
                  <a:lnTo>
                    <a:pt x="5555" y="66923"/>
                  </a:lnTo>
                  <a:lnTo>
                    <a:pt x="5555" y="66923"/>
                  </a:lnTo>
                  <a:lnTo>
                    <a:pt x="7777" y="66923"/>
                  </a:lnTo>
                  <a:lnTo>
                    <a:pt x="10000" y="66923"/>
                  </a:lnTo>
                  <a:lnTo>
                    <a:pt x="15555" y="66923"/>
                  </a:lnTo>
                  <a:lnTo>
                    <a:pt x="17777" y="66923"/>
                  </a:lnTo>
                  <a:lnTo>
                    <a:pt x="17777" y="71538"/>
                  </a:lnTo>
                  <a:lnTo>
                    <a:pt x="17777" y="71538"/>
                  </a:lnTo>
                  <a:lnTo>
                    <a:pt x="21111" y="71538"/>
                  </a:lnTo>
                  <a:lnTo>
                    <a:pt x="23333" y="71538"/>
                  </a:lnTo>
                  <a:lnTo>
                    <a:pt x="25555" y="71538"/>
                  </a:lnTo>
                  <a:lnTo>
                    <a:pt x="28888" y="71538"/>
                  </a:lnTo>
                  <a:lnTo>
                    <a:pt x="28888" y="76153"/>
                  </a:lnTo>
                  <a:lnTo>
                    <a:pt x="28888" y="76153"/>
                  </a:lnTo>
                  <a:lnTo>
                    <a:pt x="31111" y="94615"/>
                  </a:lnTo>
                  <a:lnTo>
                    <a:pt x="34444" y="99230"/>
                  </a:lnTo>
                  <a:lnTo>
                    <a:pt x="36666" y="99230"/>
                  </a:lnTo>
                  <a:lnTo>
                    <a:pt x="36666" y="99230"/>
                  </a:lnTo>
                  <a:lnTo>
                    <a:pt x="36666" y="99230"/>
                  </a:lnTo>
                  <a:lnTo>
                    <a:pt x="38888" y="87692"/>
                  </a:lnTo>
                  <a:lnTo>
                    <a:pt x="38888" y="87692"/>
                  </a:lnTo>
                  <a:lnTo>
                    <a:pt x="38888" y="87692"/>
                  </a:lnTo>
                  <a:lnTo>
                    <a:pt x="42222" y="83076"/>
                  </a:lnTo>
                  <a:lnTo>
                    <a:pt x="42222" y="94615"/>
                  </a:lnTo>
                  <a:lnTo>
                    <a:pt x="44444" y="110769"/>
                  </a:lnTo>
                  <a:lnTo>
                    <a:pt x="44444" y="115384"/>
                  </a:lnTo>
                  <a:lnTo>
                    <a:pt x="44444" y="120000"/>
                  </a:lnTo>
                  <a:lnTo>
                    <a:pt x="46666" y="120000"/>
                  </a:lnTo>
                  <a:lnTo>
                    <a:pt x="52222" y="115384"/>
                  </a:lnTo>
                  <a:lnTo>
                    <a:pt x="54444" y="115384"/>
                  </a:lnTo>
                  <a:lnTo>
                    <a:pt x="54444" y="110769"/>
                  </a:lnTo>
                  <a:lnTo>
                    <a:pt x="57777" y="110769"/>
                  </a:lnTo>
                  <a:lnTo>
                    <a:pt x="60000" y="110769"/>
                  </a:lnTo>
                  <a:lnTo>
                    <a:pt x="60000" y="103846"/>
                  </a:lnTo>
                  <a:lnTo>
                    <a:pt x="62222" y="103846"/>
                  </a:lnTo>
                  <a:lnTo>
                    <a:pt x="62222" y="99230"/>
                  </a:lnTo>
                  <a:lnTo>
                    <a:pt x="60000" y="99230"/>
                  </a:lnTo>
                  <a:lnTo>
                    <a:pt x="57777" y="87692"/>
                  </a:lnTo>
                  <a:lnTo>
                    <a:pt x="54444" y="83076"/>
                  </a:lnTo>
                  <a:lnTo>
                    <a:pt x="54444" y="76153"/>
                  </a:lnTo>
                  <a:lnTo>
                    <a:pt x="52222" y="76153"/>
                  </a:lnTo>
                  <a:lnTo>
                    <a:pt x="52222" y="71538"/>
                  </a:lnTo>
                  <a:lnTo>
                    <a:pt x="54444" y="71538"/>
                  </a:lnTo>
                  <a:lnTo>
                    <a:pt x="54444" y="66923"/>
                  </a:lnTo>
                  <a:lnTo>
                    <a:pt x="54444" y="66923"/>
                  </a:lnTo>
                  <a:lnTo>
                    <a:pt x="60000" y="66923"/>
                  </a:lnTo>
                  <a:lnTo>
                    <a:pt x="60000" y="60000"/>
                  </a:lnTo>
                  <a:lnTo>
                    <a:pt x="67777" y="50769"/>
                  </a:lnTo>
                  <a:lnTo>
                    <a:pt x="67777" y="50769"/>
                  </a:lnTo>
                  <a:lnTo>
                    <a:pt x="67777" y="43846"/>
                  </a:lnTo>
                  <a:lnTo>
                    <a:pt x="71111" y="43846"/>
                  </a:lnTo>
                  <a:lnTo>
                    <a:pt x="71111" y="39230"/>
                  </a:lnTo>
                  <a:lnTo>
                    <a:pt x="73333" y="39230"/>
                  </a:lnTo>
                  <a:lnTo>
                    <a:pt x="73333" y="34615"/>
                  </a:lnTo>
                  <a:lnTo>
                    <a:pt x="73333" y="34615"/>
                  </a:lnTo>
                  <a:lnTo>
                    <a:pt x="75555" y="34615"/>
                  </a:lnTo>
                  <a:lnTo>
                    <a:pt x="78888" y="27692"/>
                  </a:lnTo>
                  <a:lnTo>
                    <a:pt x="83333" y="34615"/>
                  </a:lnTo>
                  <a:lnTo>
                    <a:pt x="86666" y="34615"/>
                  </a:lnTo>
                  <a:lnTo>
                    <a:pt x="88888" y="39230"/>
                  </a:lnTo>
                  <a:lnTo>
                    <a:pt x="88888" y="39230"/>
                  </a:lnTo>
                  <a:lnTo>
                    <a:pt x="91111" y="43846"/>
                  </a:lnTo>
                  <a:lnTo>
                    <a:pt x="91111" y="43846"/>
                  </a:lnTo>
                  <a:lnTo>
                    <a:pt x="91111" y="43846"/>
                  </a:lnTo>
                  <a:lnTo>
                    <a:pt x="94444" y="50769"/>
                  </a:lnTo>
                  <a:lnTo>
                    <a:pt x="94444" y="60000"/>
                  </a:lnTo>
                  <a:lnTo>
                    <a:pt x="96666" y="60000"/>
                  </a:lnTo>
                  <a:lnTo>
                    <a:pt x="96666" y="60000"/>
                  </a:lnTo>
                  <a:lnTo>
                    <a:pt x="96666" y="60000"/>
                  </a:lnTo>
                  <a:lnTo>
                    <a:pt x="96666" y="60000"/>
                  </a:lnTo>
                  <a:lnTo>
                    <a:pt x="96666" y="60000"/>
                  </a:lnTo>
                  <a:lnTo>
                    <a:pt x="96666" y="55384"/>
                  </a:lnTo>
                  <a:lnTo>
                    <a:pt x="96666" y="55384"/>
                  </a:lnTo>
                  <a:lnTo>
                    <a:pt x="96666" y="55384"/>
                  </a:lnTo>
                  <a:lnTo>
                    <a:pt x="98888" y="60000"/>
                  </a:lnTo>
                  <a:lnTo>
                    <a:pt x="98888" y="60000"/>
                  </a:lnTo>
                  <a:lnTo>
                    <a:pt x="98888" y="60000"/>
                  </a:lnTo>
                  <a:lnTo>
                    <a:pt x="98888" y="60000"/>
                  </a:lnTo>
                  <a:lnTo>
                    <a:pt x="102222" y="60000"/>
                  </a:lnTo>
                  <a:lnTo>
                    <a:pt x="102222" y="55384"/>
                  </a:lnTo>
                  <a:lnTo>
                    <a:pt x="104444" y="60000"/>
                  </a:lnTo>
                  <a:lnTo>
                    <a:pt x="104444" y="66923"/>
                  </a:lnTo>
                  <a:lnTo>
                    <a:pt x="107777" y="71538"/>
                  </a:lnTo>
                  <a:lnTo>
                    <a:pt x="110000" y="71538"/>
                  </a:lnTo>
                  <a:lnTo>
                    <a:pt x="107777" y="71538"/>
                  </a:lnTo>
                  <a:lnTo>
                    <a:pt x="104444" y="71538"/>
                  </a:lnTo>
                  <a:lnTo>
                    <a:pt x="104444" y="66923"/>
                  </a:lnTo>
                  <a:lnTo>
                    <a:pt x="102222" y="60000"/>
                  </a:lnTo>
                  <a:lnTo>
                    <a:pt x="102222" y="60000"/>
                  </a:lnTo>
                  <a:lnTo>
                    <a:pt x="102222" y="66923"/>
                  </a:lnTo>
                  <a:lnTo>
                    <a:pt x="98888" y="66923"/>
                  </a:lnTo>
                  <a:lnTo>
                    <a:pt x="98888" y="71538"/>
                  </a:lnTo>
                  <a:lnTo>
                    <a:pt x="98888" y="76153"/>
                  </a:lnTo>
                  <a:lnTo>
                    <a:pt x="96666" y="76153"/>
                  </a:lnTo>
                  <a:lnTo>
                    <a:pt x="96666" y="76153"/>
                  </a:lnTo>
                  <a:lnTo>
                    <a:pt x="94444" y="76153"/>
                  </a:lnTo>
                  <a:lnTo>
                    <a:pt x="96666" y="83076"/>
                  </a:lnTo>
                  <a:lnTo>
                    <a:pt x="98888" y="103846"/>
                  </a:lnTo>
                  <a:lnTo>
                    <a:pt x="104444" y="115384"/>
                  </a:lnTo>
                  <a:lnTo>
                    <a:pt x="104444" y="115384"/>
                  </a:lnTo>
                  <a:lnTo>
                    <a:pt x="107777" y="110769"/>
                  </a:lnTo>
                  <a:lnTo>
                    <a:pt x="107777" y="103846"/>
                  </a:lnTo>
                  <a:lnTo>
                    <a:pt x="110000" y="103846"/>
                  </a:lnTo>
                  <a:lnTo>
                    <a:pt x="107777" y="99230"/>
                  </a:lnTo>
                  <a:lnTo>
                    <a:pt x="110000" y="94615"/>
                  </a:lnTo>
                  <a:lnTo>
                    <a:pt x="110000" y="94615"/>
                  </a:lnTo>
                  <a:lnTo>
                    <a:pt x="110000" y="94615"/>
                  </a:lnTo>
                  <a:lnTo>
                    <a:pt x="110000" y="94615"/>
                  </a:lnTo>
                  <a:lnTo>
                    <a:pt x="110000" y="99230"/>
                  </a:lnTo>
                  <a:lnTo>
                    <a:pt x="112222" y="99230"/>
                  </a:lnTo>
                  <a:lnTo>
                    <a:pt x="112222" y="103846"/>
                  </a:lnTo>
                  <a:lnTo>
                    <a:pt x="112222" y="99230"/>
                  </a:lnTo>
                  <a:lnTo>
                    <a:pt x="117777" y="94615"/>
                  </a:lnTo>
                  <a:lnTo>
                    <a:pt x="117777" y="94615"/>
                  </a:lnTo>
                  <a:lnTo>
                    <a:pt x="117777" y="87692"/>
                  </a:lnTo>
                  <a:lnTo>
                    <a:pt x="117777" y="83076"/>
                  </a:lnTo>
                  <a:lnTo>
                    <a:pt x="120000" y="83076"/>
                  </a:lnTo>
                  <a:lnTo>
                    <a:pt x="120000" y="83076"/>
                  </a:lnTo>
                  <a:lnTo>
                    <a:pt x="120000" y="76153"/>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09" name="Shape 409"/>
            <p:cNvSpPr/>
            <p:nvPr/>
          </p:nvSpPr>
          <p:spPr>
            <a:xfrm>
              <a:off x="6090" y="2744"/>
              <a:ext cx="0" cy="0"/>
            </a:xfrm>
            <a:custGeom>
              <a:avLst/>
              <a:gdLst/>
              <a:ahLst/>
              <a:cxnLst/>
              <a:rect l="0" t="0" r="0" b="0"/>
              <a:pathLst>
                <a:path w="120000" h="120000" extrusionOk="0">
                  <a:moveTo>
                    <a:pt x="0" y="0"/>
                  </a:moveTo>
                  <a:lnTo>
                    <a:pt x="0" y="0"/>
                  </a:lnTo>
                  <a:lnTo>
                    <a:pt x="0" y="0"/>
                  </a:lnTo>
                  <a:lnTo>
                    <a:pt x="0" y="0"/>
                  </a:lnTo>
                  <a:lnTo>
                    <a:pt x="0" y="0"/>
                  </a:lnTo>
                  <a:lnTo>
                    <a:pt x="0" y="0"/>
                  </a:lnTo>
                  <a:lnTo>
                    <a:pt x="0" y="0"/>
                  </a:lnTo>
                  <a:lnTo>
                    <a:pt x="0" y="0"/>
                  </a:lnTo>
                  <a:lnTo>
                    <a:pt x="0" y="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10" name="Shape 410"/>
            <p:cNvSpPr/>
            <p:nvPr/>
          </p:nvSpPr>
          <p:spPr>
            <a:xfrm>
              <a:off x="4270" y="2122"/>
              <a:ext cx="0" cy="0"/>
            </a:xfrm>
            <a:custGeom>
              <a:avLst/>
              <a:gdLst/>
              <a:ahLst/>
              <a:cxnLst/>
              <a:rect l="0" t="0" r="0" b="0"/>
              <a:pathLst>
                <a:path w="120000" h="120000" extrusionOk="0">
                  <a:moveTo>
                    <a:pt x="25000" y="87692"/>
                  </a:moveTo>
                  <a:lnTo>
                    <a:pt x="25000" y="87692"/>
                  </a:lnTo>
                  <a:lnTo>
                    <a:pt x="15000" y="96923"/>
                  </a:lnTo>
                  <a:lnTo>
                    <a:pt x="0" y="110769"/>
                  </a:lnTo>
                  <a:lnTo>
                    <a:pt x="0" y="120000"/>
                  </a:lnTo>
                  <a:lnTo>
                    <a:pt x="0" y="120000"/>
                  </a:lnTo>
                  <a:lnTo>
                    <a:pt x="15000" y="120000"/>
                  </a:lnTo>
                  <a:lnTo>
                    <a:pt x="15000" y="110769"/>
                  </a:lnTo>
                  <a:lnTo>
                    <a:pt x="25000" y="96923"/>
                  </a:lnTo>
                  <a:lnTo>
                    <a:pt x="25000" y="87692"/>
                  </a:lnTo>
                  <a:close/>
                  <a:moveTo>
                    <a:pt x="110000" y="55384"/>
                  </a:moveTo>
                  <a:lnTo>
                    <a:pt x="110000" y="32307"/>
                  </a:lnTo>
                  <a:lnTo>
                    <a:pt x="110000" y="23076"/>
                  </a:lnTo>
                  <a:lnTo>
                    <a:pt x="110000" y="9230"/>
                  </a:lnTo>
                  <a:lnTo>
                    <a:pt x="110000" y="9230"/>
                  </a:lnTo>
                  <a:lnTo>
                    <a:pt x="95000" y="0"/>
                  </a:lnTo>
                  <a:lnTo>
                    <a:pt x="95000" y="0"/>
                  </a:lnTo>
                  <a:lnTo>
                    <a:pt x="95000" y="0"/>
                  </a:lnTo>
                  <a:lnTo>
                    <a:pt x="85000" y="0"/>
                  </a:lnTo>
                  <a:lnTo>
                    <a:pt x="75000" y="0"/>
                  </a:lnTo>
                  <a:lnTo>
                    <a:pt x="60000" y="0"/>
                  </a:lnTo>
                  <a:lnTo>
                    <a:pt x="60000" y="9230"/>
                  </a:lnTo>
                  <a:lnTo>
                    <a:pt x="60000" y="23076"/>
                  </a:lnTo>
                  <a:lnTo>
                    <a:pt x="60000" y="32307"/>
                  </a:lnTo>
                  <a:lnTo>
                    <a:pt x="60000" y="41538"/>
                  </a:lnTo>
                  <a:lnTo>
                    <a:pt x="60000" y="41538"/>
                  </a:lnTo>
                  <a:lnTo>
                    <a:pt x="60000" y="55384"/>
                  </a:lnTo>
                  <a:lnTo>
                    <a:pt x="60000" y="64615"/>
                  </a:lnTo>
                  <a:lnTo>
                    <a:pt x="60000" y="64615"/>
                  </a:lnTo>
                  <a:lnTo>
                    <a:pt x="60000" y="64615"/>
                  </a:lnTo>
                  <a:lnTo>
                    <a:pt x="60000" y="64615"/>
                  </a:lnTo>
                  <a:lnTo>
                    <a:pt x="75000" y="64615"/>
                  </a:lnTo>
                  <a:lnTo>
                    <a:pt x="75000" y="64615"/>
                  </a:lnTo>
                  <a:lnTo>
                    <a:pt x="85000" y="64615"/>
                  </a:lnTo>
                  <a:lnTo>
                    <a:pt x="85000" y="78461"/>
                  </a:lnTo>
                  <a:lnTo>
                    <a:pt x="85000" y="78461"/>
                  </a:lnTo>
                  <a:lnTo>
                    <a:pt x="75000" y="78461"/>
                  </a:lnTo>
                  <a:lnTo>
                    <a:pt x="60000" y="87692"/>
                  </a:lnTo>
                  <a:lnTo>
                    <a:pt x="60000" y="96923"/>
                  </a:lnTo>
                  <a:lnTo>
                    <a:pt x="60000" y="110769"/>
                  </a:lnTo>
                  <a:lnTo>
                    <a:pt x="60000" y="110769"/>
                  </a:lnTo>
                  <a:lnTo>
                    <a:pt x="60000" y="110769"/>
                  </a:lnTo>
                  <a:lnTo>
                    <a:pt x="75000" y="110769"/>
                  </a:lnTo>
                  <a:lnTo>
                    <a:pt x="95000" y="110769"/>
                  </a:lnTo>
                  <a:lnTo>
                    <a:pt x="110000" y="96923"/>
                  </a:lnTo>
                  <a:lnTo>
                    <a:pt x="110000" y="96923"/>
                  </a:lnTo>
                  <a:lnTo>
                    <a:pt x="110000" y="87692"/>
                  </a:lnTo>
                  <a:lnTo>
                    <a:pt x="110000" y="78461"/>
                  </a:lnTo>
                  <a:lnTo>
                    <a:pt x="120000" y="64615"/>
                  </a:lnTo>
                  <a:lnTo>
                    <a:pt x="110000" y="55384"/>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11" name="Shape 411"/>
            <p:cNvSpPr/>
            <p:nvPr/>
          </p:nvSpPr>
          <p:spPr>
            <a:xfrm>
              <a:off x="4746" y="2025"/>
              <a:ext cx="300" cy="300"/>
            </a:xfrm>
            <a:custGeom>
              <a:avLst/>
              <a:gdLst/>
              <a:ahLst/>
              <a:cxnLst/>
              <a:rect l="0" t="0" r="0" b="0"/>
              <a:pathLst>
                <a:path w="120000" h="120000" extrusionOk="0">
                  <a:moveTo>
                    <a:pt x="119107" y="17081"/>
                  </a:moveTo>
                  <a:lnTo>
                    <a:pt x="119107" y="16227"/>
                  </a:lnTo>
                  <a:lnTo>
                    <a:pt x="117769" y="14946"/>
                  </a:lnTo>
                  <a:lnTo>
                    <a:pt x="117769" y="14946"/>
                  </a:lnTo>
                  <a:lnTo>
                    <a:pt x="116877" y="13238"/>
                  </a:lnTo>
                  <a:lnTo>
                    <a:pt x="115985" y="13238"/>
                  </a:lnTo>
                  <a:lnTo>
                    <a:pt x="115985" y="11957"/>
                  </a:lnTo>
                  <a:lnTo>
                    <a:pt x="114646" y="11957"/>
                  </a:lnTo>
                  <a:lnTo>
                    <a:pt x="114646" y="11957"/>
                  </a:lnTo>
                  <a:lnTo>
                    <a:pt x="113754" y="10249"/>
                  </a:lnTo>
                  <a:lnTo>
                    <a:pt x="113754" y="11103"/>
                  </a:lnTo>
                  <a:lnTo>
                    <a:pt x="112862" y="11103"/>
                  </a:lnTo>
                  <a:lnTo>
                    <a:pt x="111524" y="11103"/>
                  </a:lnTo>
                  <a:lnTo>
                    <a:pt x="111524" y="11103"/>
                  </a:lnTo>
                  <a:lnTo>
                    <a:pt x="111524" y="11103"/>
                  </a:lnTo>
                  <a:lnTo>
                    <a:pt x="110631" y="10249"/>
                  </a:lnTo>
                  <a:lnTo>
                    <a:pt x="110631" y="10249"/>
                  </a:lnTo>
                  <a:lnTo>
                    <a:pt x="109739" y="10249"/>
                  </a:lnTo>
                  <a:lnTo>
                    <a:pt x="109739" y="8967"/>
                  </a:lnTo>
                  <a:lnTo>
                    <a:pt x="108401" y="8967"/>
                  </a:lnTo>
                  <a:lnTo>
                    <a:pt x="108401" y="8967"/>
                  </a:lnTo>
                  <a:lnTo>
                    <a:pt x="108401" y="8113"/>
                  </a:lnTo>
                  <a:lnTo>
                    <a:pt x="109739" y="8113"/>
                  </a:lnTo>
                  <a:lnTo>
                    <a:pt x="108401" y="5978"/>
                  </a:lnTo>
                  <a:lnTo>
                    <a:pt x="108401" y="5124"/>
                  </a:lnTo>
                  <a:lnTo>
                    <a:pt x="108401" y="5124"/>
                  </a:lnTo>
                  <a:lnTo>
                    <a:pt x="107509" y="3843"/>
                  </a:lnTo>
                  <a:lnTo>
                    <a:pt x="107509" y="3843"/>
                  </a:lnTo>
                  <a:lnTo>
                    <a:pt x="106617" y="2989"/>
                  </a:lnTo>
                  <a:lnTo>
                    <a:pt x="105278" y="2989"/>
                  </a:lnTo>
                  <a:lnTo>
                    <a:pt x="104386" y="2989"/>
                  </a:lnTo>
                  <a:lnTo>
                    <a:pt x="104386" y="2989"/>
                  </a:lnTo>
                  <a:lnTo>
                    <a:pt x="103048" y="2989"/>
                  </a:lnTo>
                  <a:lnTo>
                    <a:pt x="103048" y="854"/>
                  </a:lnTo>
                  <a:lnTo>
                    <a:pt x="102156" y="854"/>
                  </a:lnTo>
                  <a:lnTo>
                    <a:pt x="101263" y="854"/>
                  </a:lnTo>
                  <a:lnTo>
                    <a:pt x="99925" y="0"/>
                  </a:lnTo>
                  <a:lnTo>
                    <a:pt x="99033" y="854"/>
                  </a:lnTo>
                  <a:lnTo>
                    <a:pt x="99033" y="854"/>
                  </a:lnTo>
                  <a:lnTo>
                    <a:pt x="99033" y="854"/>
                  </a:lnTo>
                  <a:lnTo>
                    <a:pt x="98141" y="0"/>
                  </a:lnTo>
                  <a:lnTo>
                    <a:pt x="96802" y="0"/>
                  </a:lnTo>
                  <a:lnTo>
                    <a:pt x="96802" y="0"/>
                  </a:lnTo>
                  <a:lnTo>
                    <a:pt x="95910" y="0"/>
                  </a:lnTo>
                  <a:lnTo>
                    <a:pt x="95910" y="854"/>
                  </a:lnTo>
                  <a:lnTo>
                    <a:pt x="93680" y="854"/>
                  </a:lnTo>
                  <a:lnTo>
                    <a:pt x="92788" y="2135"/>
                  </a:lnTo>
                  <a:lnTo>
                    <a:pt x="92788" y="2135"/>
                  </a:lnTo>
                  <a:lnTo>
                    <a:pt x="91895" y="2135"/>
                  </a:lnTo>
                  <a:lnTo>
                    <a:pt x="90557" y="854"/>
                  </a:lnTo>
                  <a:lnTo>
                    <a:pt x="90557" y="854"/>
                  </a:lnTo>
                  <a:lnTo>
                    <a:pt x="87434" y="854"/>
                  </a:lnTo>
                  <a:lnTo>
                    <a:pt x="85204" y="2135"/>
                  </a:lnTo>
                  <a:lnTo>
                    <a:pt x="84312" y="2135"/>
                  </a:lnTo>
                  <a:lnTo>
                    <a:pt x="83420" y="2135"/>
                  </a:lnTo>
                  <a:lnTo>
                    <a:pt x="81189" y="2135"/>
                  </a:lnTo>
                  <a:lnTo>
                    <a:pt x="81189" y="2135"/>
                  </a:lnTo>
                  <a:lnTo>
                    <a:pt x="80297" y="2989"/>
                  </a:lnTo>
                  <a:lnTo>
                    <a:pt x="78959" y="2989"/>
                  </a:lnTo>
                  <a:lnTo>
                    <a:pt x="78959" y="2989"/>
                  </a:lnTo>
                  <a:lnTo>
                    <a:pt x="78066" y="2989"/>
                  </a:lnTo>
                  <a:lnTo>
                    <a:pt x="78066" y="3843"/>
                  </a:lnTo>
                  <a:lnTo>
                    <a:pt x="77174" y="5124"/>
                  </a:lnTo>
                  <a:lnTo>
                    <a:pt x="75836" y="5124"/>
                  </a:lnTo>
                  <a:lnTo>
                    <a:pt x="75836" y="5978"/>
                  </a:lnTo>
                  <a:lnTo>
                    <a:pt x="75836" y="5978"/>
                  </a:lnTo>
                  <a:lnTo>
                    <a:pt x="74944" y="5978"/>
                  </a:lnTo>
                  <a:lnTo>
                    <a:pt x="73605" y="5978"/>
                  </a:lnTo>
                  <a:lnTo>
                    <a:pt x="73605" y="7259"/>
                  </a:lnTo>
                  <a:lnTo>
                    <a:pt x="72713" y="8113"/>
                  </a:lnTo>
                  <a:lnTo>
                    <a:pt x="72713" y="8113"/>
                  </a:lnTo>
                  <a:lnTo>
                    <a:pt x="71821" y="8967"/>
                  </a:lnTo>
                  <a:lnTo>
                    <a:pt x="72713" y="8967"/>
                  </a:lnTo>
                  <a:lnTo>
                    <a:pt x="73605" y="10249"/>
                  </a:lnTo>
                  <a:lnTo>
                    <a:pt x="73605" y="11103"/>
                  </a:lnTo>
                  <a:lnTo>
                    <a:pt x="74944" y="11103"/>
                  </a:lnTo>
                  <a:lnTo>
                    <a:pt x="74944" y="11957"/>
                  </a:lnTo>
                  <a:lnTo>
                    <a:pt x="75836" y="13238"/>
                  </a:lnTo>
                  <a:lnTo>
                    <a:pt x="75836" y="14092"/>
                  </a:lnTo>
                  <a:lnTo>
                    <a:pt x="75836" y="14092"/>
                  </a:lnTo>
                  <a:lnTo>
                    <a:pt x="77174" y="14946"/>
                  </a:lnTo>
                  <a:lnTo>
                    <a:pt x="77174" y="14946"/>
                  </a:lnTo>
                  <a:lnTo>
                    <a:pt x="75836" y="16227"/>
                  </a:lnTo>
                  <a:lnTo>
                    <a:pt x="75836" y="16227"/>
                  </a:lnTo>
                  <a:lnTo>
                    <a:pt x="77174" y="16227"/>
                  </a:lnTo>
                  <a:lnTo>
                    <a:pt x="77174" y="17081"/>
                  </a:lnTo>
                  <a:lnTo>
                    <a:pt x="77174" y="17081"/>
                  </a:lnTo>
                  <a:lnTo>
                    <a:pt x="77174" y="17081"/>
                  </a:lnTo>
                  <a:lnTo>
                    <a:pt x="77174" y="18362"/>
                  </a:lnTo>
                  <a:lnTo>
                    <a:pt x="77174" y="18362"/>
                  </a:lnTo>
                  <a:lnTo>
                    <a:pt x="75836" y="19217"/>
                  </a:lnTo>
                  <a:lnTo>
                    <a:pt x="75836" y="19217"/>
                  </a:lnTo>
                  <a:lnTo>
                    <a:pt x="74944" y="20071"/>
                  </a:lnTo>
                  <a:lnTo>
                    <a:pt x="74944" y="21352"/>
                  </a:lnTo>
                  <a:lnTo>
                    <a:pt x="73605" y="21352"/>
                  </a:lnTo>
                  <a:lnTo>
                    <a:pt x="73605" y="22206"/>
                  </a:lnTo>
                  <a:lnTo>
                    <a:pt x="73605" y="23060"/>
                  </a:lnTo>
                  <a:lnTo>
                    <a:pt x="73605" y="23060"/>
                  </a:lnTo>
                  <a:lnTo>
                    <a:pt x="73605" y="23060"/>
                  </a:lnTo>
                  <a:lnTo>
                    <a:pt x="73605" y="24341"/>
                  </a:lnTo>
                  <a:lnTo>
                    <a:pt x="74944" y="24341"/>
                  </a:lnTo>
                  <a:lnTo>
                    <a:pt x="74944" y="25195"/>
                  </a:lnTo>
                  <a:lnTo>
                    <a:pt x="74944" y="26476"/>
                  </a:lnTo>
                  <a:lnTo>
                    <a:pt x="74944" y="26476"/>
                  </a:lnTo>
                  <a:lnTo>
                    <a:pt x="74944" y="27330"/>
                  </a:lnTo>
                  <a:lnTo>
                    <a:pt x="73605" y="28185"/>
                  </a:lnTo>
                  <a:lnTo>
                    <a:pt x="71821" y="28185"/>
                  </a:lnTo>
                  <a:lnTo>
                    <a:pt x="69591" y="28185"/>
                  </a:lnTo>
                  <a:lnTo>
                    <a:pt x="69591" y="28185"/>
                  </a:lnTo>
                  <a:lnTo>
                    <a:pt x="68698" y="28185"/>
                  </a:lnTo>
                  <a:lnTo>
                    <a:pt x="66468" y="27330"/>
                  </a:lnTo>
                  <a:lnTo>
                    <a:pt x="65576" y="27330"/>
                  </a:lnTo>
                  <a:lnTo>
                    <a:pt x="65576" y="28185"/>
                  </a:lnTo>
                  <a:lnTo>
                    <a:pt x="67360" y="30320"/>
                  </a:lnTo>
                  <a:lnTo>
                    <a:pt x="68698" y="31174"/>
                  </a:lnTo>
                  <a:lnTo>
                    <a:pt x="69591" y="32455"/>
                  </a:lnTo>
                  <a:lnTo>
                    <a:pt x="69591" y="33309"/>
                  </a:lnTo>
                  <a:lnTo>
                    <a:pt x="69591" y="34163"/>
                  </a:lnTo>
                  <a:lnTo>
                    <a:pt x="68698" y="35444"/>
                  </a:lnTo>
                  <a:lnTo>
                    <a:pt x="67360" y="35444"/>
                  </a:lnTo>
                  <a:lnTo>
                    <a:pt x="66468" y="36298"/>
                  </a:lnTo>
                  <a:lnTo>
                    <a:pt x="65576" y="36298"/>
                  </a:lnTo>
                  <a:lnTo>
                    <a:pt x="64237" y="36298"/>
                  </a:lnTo>
                  <a:lnTo>
                    <a:pt x="64237" y="38434"/>
                  </a:lnTo>
                  <a:lnTo>
                    <a:pt x="64237" y="39288"/>
                  </a:lnTo>
                  <a:lnTo>
                    <a:pt x="64237" y="39288"/>
                  </a:lnTo>
                  <a:lnTo>
                    <a:pt x="64237" y="40569"/>
                  </a:lnTo>
                  <a:lnTo>
                    <a:pt x="63345" y="41423"/>
                  </a:lnTo>
                  <a:lnTo>
                    <a:pt x="63345" y="42277"/>
                  </a:lnTo>
                  <a:lnTo>
                    <a:pt x="64237" y="43558"/>
                  </a:lnTo>
                  <a:lnTo>
                    <a:pt x="64237" y="46548"/>
                  </a:lnTo>
                  <a:lnTo>
                    <a:pt x="64237" y="47402"/>
                  </a:lnTo>
                  <a:lnTo>
                    <a:pt x="63345" y="48683"/>
                  </a:lnTo>
                  <a:lnTo>
                    <a:pt x="62453" y="48683"/>
                  </a:lnTo>
                  <a:lnTo>
                    <a:pt x="62453" y="49537"/>
                  </a:lnTo>
                  <a:lnTo>
                    <a:pt x="61115" y="49537"/>
                  </a:lnTo>
                  <a:lnTo>
                    <a:pt x="60223" y="48683"/>
                  </a:lnTo>
                  <a:lnTo>
                    <a:pt x="60223" y="48683"/>
                  </a:lnTo>
                  <a:lnTo>
                    <a:pt x="58884" y="47402"/>
                  </a:lnTo>
                  <a:lnTo>
                    <a:pt x="58884" y="47402"/>
                  </a:lnTo>
                  <a:lnTo>
                    <a:pt x="57992" y="48683"/>
                  </a:lnTo>
                  <a:lnTo>
                    <a:pt x="57100" y="47402"/>
                  </a:lnTo>
                  <a:lnTo>
                    <a:pt x="55762" y="47402"/>
                  </a:lnTo>
                  <a:lnTo>
                    <a:pt x="55762" y="47402"/>
                  </a:lnTo>
                  <a:lnTo>
                    <a:pt x="55762" y="48683"/>
                  </a:lnTo>
                  <a:lnTo>
                    <a:pt x="54869" y="48683"/>
                  </a:lnTo>
                  <a:lnTo>
                    <a:pt x="52639" y="49537"/>
                  </a:lnTo>
                  <a:lnTo>
                    <a:pt x="51747" y="49537"/>
                  </a:lnTo>
                  <a:lnTo>
                    <a:pt x="51747" y="50391"/>
                  </a:lnTo>
                  <a:lnTo>
                    <a:pt x="51747" y="50391"/>
                  </a:lnTo>
                  <a:lnTo>
                    <a:pt x="52639" y="51672"/>
                  </a:lnTo>
                  <a:lnTo>
                    <a:pt x="52639" y="51672"/>
                  </a:lnTo>
                  <a:lnTo>
                    <a:pt x="53977" y="51672"/>
                  </a:lnTo>
                  <a:lnTo>
                    <a:pt x="52639" y="52526"/>
                  </a:lnTo>
                  <a:lnTo>
                    <a:pt x="52639" y="52526"/>
                  </a:lnTo>
                  <a:lnTo>
                    <a:pt x="51747" y="52526"/>
                  </a:lnTo>
                  <a:lnTo>
                    <a:pt x="49516" y="52526"/>
                  </a:lnTo>
                  <a:lnTo>
                    <a:pt x="48624" y="52526"/>
                  </a:lnTo>
                  <a:lnTo>
                    <a:pt x="47732" y="52526"/>
                  </a:lnTo>
                  <a:lnTo>
                    <a:pt x="46394" y="52526"/>
                  </a:lnTo>
                  <a:lnTo>
                    <a:pt x="46394" y="52526"/>
                  </a:lnTo>
                  <a:lnTo>
                    <a:pt x="45501" y="53380"/>
                  </a:lnTo>
                  <a:lnTo>
                    <a:pt x="45501" y="54661"/>
                  </a:lnTo>
                  <a:lnTo>
                    <a:pt x="44163" y="54661"/>
                  </a:lnTo>
                  <a:lnTo>
                    <a:pt x="44163" y="54661"/>
                  </a:lnTo>
                  <a:lnTo>
                    <a:pt x="44163" y="55516"/>
                  </a:lnTo>
                  <a:lnTo>
                    <a:pt x="43271" y="55516"/>
                  </a:lnTo>
                  <a:lnTo>
                    <a:pt x="43271" y="56370"/>
                  </a:lnTo>
                  <a:lnTo>
                    <a:pt x="43271" y="58505"/>
                  </a:lnTo>
                  <a:lnTo>
                    <a:pt x="43271" y="59786"/>
                  </a:lnTo>
                  <a:lnTo>
                    <a:pt x="43271" y="60640"/>
                  </a:lnTo>
                  <a:lnTo>
                    <a:pt x="43271" y="61494"/>
                  </a:lnTo>
                  <a:lnTo>
                    <a:pt x="43271" y="62775"/>
                  </a:lnTo>
                  <a:lnTo>
                    <a:pt x="43271" y="63629"/>
                  </a:lnTo>
                  <a:lnTo>
                    <a:pt x="44163" y="63629"/>
                  </a:lnTo>
                  <a:lnTo>
                    <a:pt x="44163" y="64483"/>
                  </a:lnTo>
                  <a:lnTo>
                    <a:pt x="43271" y="64483"/>
                  </a:lnTo>
                  <a:lnTo>
                    <a:pt x="43271" y="65765"/>
                  </a:lnTo>
                  <a:lnTo>
                    <a:pt x="41040" y="65765"/>
                  </a:lnTo>
                  <a:lnTo>
                    <a:pt x="39256" y="66619"/>
                  </a:lnTo>
                  <a:lnTo>
                    <a:pt x="37918" y="66619"/>
                  </a:lnTo>
                  <a:lnTo>
                    <a:pt x="36133" y="67473"/>
                  </a:lnTo>
                  <a:lnTo>
                    <a:pt x="34795" y="67473"/>
                  </a:lnTo>
                  <a:lnTo>
                    <a:pt x="33903" y="67473"/>
                  </a:lnTo>
                  <a:lnTo>
                    <a:pt x="33011" y="67473"/>
                  </a:lnTo>
                  <a:lnTo>
                    <a:pt x="31672" y="67473"/>
                  </a:lnTo>
                  <a:lnTo>
                    <a:pt x="30780" y="67473"/>
                  </a:lnTo>
                  <a:lnTo>
                    <a:pt x="29442" y="67473"/>
                  </a:lnTo>
                  <a:lnTo>
                    <a:pt x="28550" y="68754"/>
                  </a:lnTo>
                  <a:lnTo>
                    <a:pt x="27657" y="68754"/>
                  </a:lnTo>
                  <a:lnTo>
                    <a:pt x="27657" y="68754"/>
                  </a:lnTo>
                  <a:lnTo>
                    <a:pt x="27657" y="69608"/>
                  </a:lnTo>
                  <a:lnTo>
                    <a:pt x="26319" y="68754"/>
                  </a:lnTo>
                  <a:lnTo>
                    <a:pt x="22304" y="68754"/>
                  </a:lnTo>
                  <a:lnTo>
                    <a:pt x="13828" y="68754"/>
                  </a:lnTo>
                  <a:lnTo>
                    <a:pt x="12936" y="68754"/>
                  </a:lnTo>
                  <a:lnTo>
                    <a:pt x="10706" y="67473"/>
                  </a:lnTo>
                  <a:lnTo>
                    <a:pt x="6691" y="66619"/>
                  </a:lnTo>
                  <a:lnTo>
                    <a:pt x="3568" y="65765"/>
                  </a:lnTo>
                  <a:lnTo>
                    <a:pt x="0" y="64483"/>
                  </a:lnTo>
                  <a:lnTo>
                    <a:pt x="2230" y="66619"/>
                  </a:lnTo>
                  <a:lnTo>
                    <a:pt x="3568" y="67473"/>
                  </a:lnTo>
                  <a:lnTo>
                    <a:pt x="5353" y="69608"/>
                  </a:lnTo>
                  <a:lnTo>
                    <a:pt x="5353" y="69608"/>
                  </a:lnTo>
                  <a:lnTo>
                    <a:pt x="5353" y="70889"/>
                  </a:lnTo>
                  <a:lnTo>
                    <a:pt x="6691" y="72597"/>
                  </a:lnTo>
                  <a:lnTo>
                    <a:pt x="7583" y="73879"/>
                  </a:lnTo>
                  <a:lnTo>
                    <a:pt x="8475" y="74733"/>
                  </a:lnTo>
                  <a:lnTo>
                    <a:pt x="9814" y="75587"/>
                  </a:lnTo>
                  <a:lnTo>
                    <a:pt x="10706" y="76868"/>
                  </a:lnTo>
                  <a:lnTo>
                    <a:pt x="11598" y="77722"/>
                  </a:lnTo>
                  <a:lnTo>
                    <a:pt x="12936" y="77722"/>
                  </a:lnTo>
                  <a:lnTo>
                    <a:pt x="14721" y="77722"/>
                  </a:lnTo>
                  <a:lnTo>
                    <a:pt x="14721" y="78576"/>
                  </a:lnTo>
                  <a:lnTo>
                    <a:pt x="16059" y="79857"/>
                  </a:lnTo>
                  <a:lnTo>
                    <a:pt x="16951" y="79857"/>
                  </a:lnTo>
                  <a:lnTo>
                    <a:pt x="18289" y="79857"/>
                  </a:lnTo>
                  <a:lnTo>
                    <a:pt x="18289" y="79857"/>
                  </a:lnTo>
                  <a:lnTo>
                    <a:pt x="18289" y="79857"/>
                  </a:lnTo>
                  <a:lnTo>
                    <a:pt x="18289" y="81992"/>
                  </a:lnTo>
                  <a:lnTo>
                    <a:pt x="18289" y="83701"/>
                  </a:lnTo>
                  <a:lnTo>
                    <a:pt x="19182" y="86690"/>
                  </a:lnTo>
                  <a:lnTo>
                    <a:pt x="19182" y="86690"/>
                  </a:lnTo>
                  <a:lnTo>
                    <a:pt x="19182" y="87971"/>
                  </a:lnTo>
                  <a:lnTo>
                    <a:pt x="19182" y="87971"/>
                  </a:lnTo>
                  <a:lnTo>
                    <a:pt x="19182" y="88825"/>
                  </a:lnTo>
                  <a:lnTo>
                    <a:pt x="19182" y="88825"/>
                  </a:lnTo>
                  <a:lnTo>
                    <a:pt x="19182" y="88825"/>
                  </a:lnTo>
                  <a:lnTo>
                    <a:pt x="20074" y="88825"/>
                  </a:lnTo>
                  <a:lnTo>
                    <a:pt x="22304" y="88825"/>
                  </a:lnTo>
                  <a:lnTo>
                    <a:pt x="22304" y="88825"/>
                  </a:lnTo>
                  <a:lnTo>
                    <a:pt x="23197" y="88825"/>
                  </a:lnTo>
                  <a:lnTo>
                    <a:pt x="23197" y="89679"/>
                  </a:lnTo>
                  <a:lnTo>
                    <a:pt x="23197" y="89679"/>
                  </a:lnTo>
                  <a:lnTo>
                    <a:pt x="23197" y="89679"/>
                  </a:lnTo>
                  <a:lnTo>
                    <a:pt x="23197" y="90960"/>
                  </a:lnTo>
                  <a:lnTo>
                    <a:pt x="23197" y="91814"/>
                  </a:lnTo>
                  <a:lnTo>
                    <a:pt x="23197" y="91814"/>
                  </a:lnTo>
                  <a:lnTo>
                    <a:pt x="23197" y="91814"/>
                  </a:lnTo>
                  <a:lnTo>
                    <a:pt x="23197" y="93950"/>
                  </a:lnTo>
                  <a:lnTo>
                    <a:pt x="23197" y="93950"/>
                  </a:lnTo>
                  <a:lnTo>
                    <a:pt x="22304" y="93950"/>
                  </a:lnTo>
                  <a:lnTo>
                    <a:pt x="20074" y="93950"/>
                  </a:lnTo>
                  <a:lnTo>
                    <a:pt x="19182" y="93950"/>
                  </a:lnTo>
                  <a:lnTo>
                    <a:pt x="19182" y="94804"/>
                  </a:lnTo>
                  <a:lnTo>
                    <a:pt x="16951" y="94804"/>
                  </a:lnTo>
                  <a:lnTo>
                    <a:pt x="16951" y="94804"/>
                  </a:lnTo>
                  <a:lnTo>
                    <a:pt x="16059" y="94804"/>
                  </a:lnTo>
                  <a:lnTo>
                    <a:pt x="16059" y="96085"/>
                  </a:lnTo>
                  <a:lnTo>
                    <a:pt x="16059" y="96939"/>
                  </a:lnTo>
                  <a:lnTo>
                    <a:pt x="16059" y="96939"/>
                  </a:lnTo>
                  <a:lnTo>
                    <a:pt x="14721" y="96939"/>
                  </a:lnTo>
                  <a:lnTo>
                    <a:pt x="14721" y="96939"/>
                  </a:lnTo>
                  <a:lnTo>
                    <a:pt x="12936" y="97793"/>
                  </a:lnTo>
                  <a:lnTo>
                    <a:pt x="12936" y="97793"/>
                  </a:lnTo>
                  <a:lnTo>
                    <a:pt x="12936" y="97793"/>
                  </a:lnTo>
                  <a:lnTo>
                    <a:pt x="12936" y="99928"/>
                  </a:lnTo>
                  <a:lnTo>
                    <a:pt x="12936" y="100782"/>
                  </a:lnTo>
                  <a:lnTo>
                    <a:pt x="11598" y="100782"/>
                  </a:lnTo>
                  <a:lnTo>
                    <a:pt x="11598" y="102064"/>
                  </a:lnTo>
                  <a:lnTo>
                    <a:pt x="11598" y="102064"/>
                  </a:lnTo>
                  <a:lnTo>
                    <a:pt x="11598" y="102918"/>
                  </a:lnTo>
                  <a:lnTo>
                    <a:pt x="11598" y="104199"/>
                  </a:lnTo>
                  <a:lnTo>
                    <a:pt x="11598" y="105907"/>
                  </a:lnTo>
                  <a:lnTo>
                    <a:pt x="11598" y="107188"/>
                  </a:lnTo>
                  <a:lnTo>
                    <a:pt x="11598" y="107188"/>
                  </a:lnTo>
                  <a:lnTo>
                    <a:pt x="12936" y="108042"/>
                  </a:lnTo>
                  <a:lnTo>
                    <a:pt x="13828" y="108042"/>
                  </a:lnTo>
                  <a:lnTo>
                    <a:pt x="16059" y="107188"/>
                  </a:lnTo>
                  <a:lnTo>
                    <a:pt x="16059" y="107188"/>
                  </a:lnTo>
                  <a:lnTo>
                    <a:pt x="16951" y="107188"/>
                  </a:lnTo>
                  <a:lnTo>
                    <a:pt x="16951" y="107188"/>
                  </a:lnTo>
                  <a:lnTo>
                    <a:pt x="16951" y="108042"/>
                  </a:lnTo>
                  <a:lnTo>
                    <a:pt x="18289" y="107188"/>
                  </a:lnTo>
                  <a:lnTo>
                    <a:pt x="18289" y="107188"/>
                  </a:lnTo>
                  <a:lnTo>
                    <a:pt x="19182" y="107188"/>
                  </a:lnTo>
                  <a:lnTo>
                    <a:pt x="20074" y="105907"/>
                  </a:lnTo>
                  <a:lnTo>
                    <a:pt x="23197" y="107188"/>
                  </a:lnTo>
                  <a:lnTo>
                    <a:pt x="24535" y="107188"/>
                  </a:lnTo>
                  <a:lnTo>
                    <a:pt x="25427" y="107188"/>
                  </a:lnTo>
                  <a:lnTo>
                    <a:pt x="26319" y="107188"/>
                  </a:lnTo>
                  <a:lnTo>
                    <a:pt x="26319" y="105907"/>
                  </a:lnTo>
                  <a:lnTo>
                    <a:pt x="27657" y="105907"/>
                  </a:lnTo>
                  <a:lnTo>
                    <a:pt x="28550" y="105053"/>
                  </a:lnTo>
                  <a:lnTo>
                    <a:pt x="30780" y="105907"/>
                  </a:lnTo>
                  <a:lnTo>
                    <a:pt x="30780" y="105907"/>
                  </a:lnTo>
                  <a:lnTo>
                    <a:pt x="31672" y="105053"/>
                  </a:lnTo>
                  <a:lnTo>
                    <a:pt x="31672" y="105053"/>
                  </a:lnTo>
                  <a:lnTo>
                    <a:pt x="31672" y="105907"/>
                  </a:lnTo>
                  <a:lnTo>
                    <a:pt x="36133" y="107188"/>
                  </a:lnTo>
                  <a:lnTo>
                    <a:pt x="36133" y="107188"/>
                  </a:lnTo>
                  <a:lnTo>
                    <a:pt x="36133" y="107188"/>
                  </a:lnTo>
                  <a:lnTo>
                    <a:pt x="37026" y="105907"/>
                  </a:lnTo>
                  <a:lnTo>
                    <a:pt x="39256" y="105907"/>
                  </a:lnTo>
                  <a:lnTo>
                    <a:pt x="42379" y="105053"/>
                  </a:lnTo>
                  <a:lnTo>
                    <a:pt x="44163" y="105907"/>
                  </a:lnTo>
                  <a:lnTo>
                    <a:pt x="46394" y="105053"/>
                  </a:lnTo>
                  <a:lnTo>
                    <a:pt x="48624" y="105053"/>
                  </a:lnTo>
                  <a:lnTo>
                    <a:pt x="49516" y="105053"/>
                  </a:lnTo>
                  <a:lnTo>
                    <a:pt x="50855" y="105053"/>
                  </a:lnTo>
                  <a:lnTo>
                    <a:pt x="50855" y="105053"/>
                  </a:lnTo>
                  <a:lnTo>
                    <a:pt x="50855" y="104199"/>
                  </a:lnTo>
                  <a:lnTo>
                    <a:pt x="49516" y="104199"/>
                  </a:lnTo>
                  <a:lnTo>
                    <a:pt x="47732" y="104199"/>
                  </a:lnTo>
                  <a:lnTo>
                    <a:pt x="48624" y="104199"/>
                  </a:lnTo>
                  <a:lnTo>
                    <a:pt x="48624" y="104199"/>
                  </a:lnTo>
                  <a:lnTo>
                    <a:pt x="49516" y="102918"/>
                  </a:lnTo>
                  <a:lnTo>
                    <a:pt x="50855" y="104199"/>
                  </a:lnTo>
                  <a:lnTo>
                    <a:pt x="51747" y="104199"/>
                  </a:lnTo>
                  <a:lnTo>
                    <a:pt x="51747" y="105053"/>
                  </a:lnTo>
                  <a:lnTo>
                    <a:pt x="52639" y="107188"/>
                  </a:lnTo>
                  <a:lnTo>
                    <a:pt x="52639" y="108042"/>
                  </a:lnTo>
                  <a:lnTo>
                    <a:pt x="52639" y="108896"/>
                  </a:lnTo>
                  <a:lnTo>
                    <a:pt x="52639" y="110177"/>
                  </a:lnTo>
                  <a:lnTo>
                    <a:pt x="57100" y="111032"/>
                  </a:lnTo>
                  <a:lnTo>
                    <a:pt x="57100" y="111032"/>
                  </a:lnTo>
                  <a:lnTo>
                    <a:pt x="57992" y="114021"/>
                  </a:lnTo>
                  <a:lnTo>
                    <a:pt x="58884" y="115302"/>
                  </a:lnTo>
                  <a:lnTo>
                    <a:pt x="58884" y="116156"/>
                  </a:lnTo>
                  <a:lnTo>
                    <a:pt x="58884" y="117010"/>
                  </a:lnTo>
                  <a:lnTo>
                    <a:pt x="60223" y="117010"/>
                  </a:lnTo>
                  <a:lnTo>
                    <a:pt x="60223" y="117010"/>
                  </a:lnTo>
                  <a:lnTo>
                    <a:pt x="60223" y="118291"/>
                  </a:lnTo>
                  <a:lnTo>
                    <a:pt x="60223" y="118291"/>
                  </a:lnTo>
                  <a:lnTo>
                    <a:pt x="61115" y="119145"/>
                  </a:lnTo>
                  <a:lnTo>
                    <a:pt x="62453" y="118291"/>
                  </a:lnTo>
                  <a:lnTo>
                    <a:pt x="62453" y="119145"/>
                  </a:lnTo>
                  <a:lnTo>
                    <a:pt x="62453" y="119145"/>
                  </a:lnTo>
                  <a:lnTo>
                    <a:pt x="63345" y="119145"/>
                  </a:lnTo>
                  <a:lnTo>
                    <a:pt x="63345" y="119145"/>
                  </a:lnTo>
                  <a:lnTo>
                    <a:pt x="64237" y="119145"/>
                  </a:lnTo>
                  <a:lnTo>
                    <a:pt x="64237" y="119145"/>
                  </a:lnTo>
                  <a:lnTo>
                    <a:pt x="65576" y="119145"/>
                  </a:lnTo>
                  <a:lnTo>
                    <a:pt x="65576" y="119145"/>
                  </a:lnTo>
                  <a:lnTo>
                    <a:pt x="65576" y="120000"/>
                  </a:lnTo>
                  <a:lnTo>
                    <a:pt x="66468" y="120000"/>
                  </a:lnTo>
                  <a:lnTo>
                    <a:pt x="66468" y="119145"/>
                  </a:lnTo>
                  <a:lnTo>
                    <a:pt x="66468" y="119145"/>
                  </a:lnTo>
                  <a:lnTo>
                    <a:pt x="66468" y="118291"/>
                  </a:lnTo>
                  <a:lnTo>
                    <a:pt x="67360" y="118291"/>
                  </a:lnTo>
                  <a:lnTo>
                    <a:pt x="68698" y="118291"/>
                  </a:lnTo>
                  <a:lnTo>
                    <a:pt x="69591" y="118291"/>
                  </a:lnTo>
                  <a:lnTo>
                    <a:pt x="70483" y="118291"/>
                  </a:lnTo>
                  <a:lnTo>
                    <a:pt x="70483" y="115302"/>
                  </a:lnTo>
                  <a:lnTo>
                    <a:pt x="70483" y="115302"/>
                  </a:lnTo>
                  <a:lnTo>
                    <a:pt x="70483" y="115302"/>
                  </a:lnTo>
                  <a:lnTo>
                    <a:pt x="70483" y="115302"/>
                  </a:lnTo>
                  <a:lnTo>
                    <a:pt x="70483" y="115302"/>
                  </a:lnTo>
                  <a:lnTo>
                    <a:pt x="70483" y="115302"/>
                  </a:lnTo>
                  <a:lnTo>
                    <a:pt x="71821" y="115302"/>
                  </a:lnTo>
                  <a:lnTo>
                    <a:pt x="71821" y="115302"/>
                  </a:lnTo>
                  <a:lnTo>
                    <a:pt x="71821" y="115302"/>
                  </a:lnTo>
                  <a:lnTo>
                    <a:pt x="72713" y="115302"/>
                  </a:lnTo>
                  <a:lnTo>
                    <a:pt x="73605" y="115302"/>
                  </a:lnTo>
                  <a:lnTo>
                    <a:pt x="73605" y="115302"/>
                  </a:lnTo>
                  <a:lnTo>
                    <a:pt x="75836" y="115302"/>
                  </a:lnTo>
                  <a:lnTo>
                    <a:pt x="77174" y="115302"/>
                  </a:lnTo>
                  <a:lnTo>
                    <a:pt x="78066" y="116156"/>
                  </a:lnTo>
                  <a:lnTo>
                    <a:pt x="78066" y="116156"/>
                  </a:lnTo>
                  <a:lnTo>
                    <a:pt x="78959" y="116156"/>
                  </a:lnTo>
                  <a:lnTo>
                    <a:pt x="80297" y="116156"/>
                  </a:lnTo>
                  <a:lnTo>
                    <a:pt x="81189" y="116156"/>
                  </a:lnTo>
                  <a:lnTo>
                    <a:pt x="81189" y="116156"/>
                  </a:lnTo>
                  <a:lnTo>
                    <a:pt x="81189" y="115302"/>
                  </a:lnTo>
                  <a:lnTo>
                    <a:pt x="82081" y="115302"/>
                  </a:lnTo>
                  <a:lnTo>
                    <a:pt x="84312" y="114021"/>
                  </a:lnTo>
                  <a:lnTo>
                    <a:pt x="84312" y="114021"/>
                  </a:lnTo>
                  <a:lnTo>
                    <a:pt x="85204" y="114021"/>
                  </a:lnTo>
                  <a:lnTo>
                    <a:pt x="85204" y="115302"/>
                  </a:lnTo>
                  <a:lnTo>
                    <a:pt x="85204" y="115302"/>
                  </a:lnTo>
                  <a:lnTo>
                    <a:pt x="85204" y="116156"/>
                  </a:lnTo>
                  <a:lnTo>
                    <a:pt x="86542" y="116156"/>
                  </a:lnTo>
                  <a:lnTo>
                    <a:pt x="86542" y="116156"/>
                  </a:lnTo>
                  <a:lnTo>
                    <a:pt x="87434" y="115302"/>
                  </a:lnTo>
                  <a:lnTo>
                    <a:pt x="87434" y="115302"/>
                  </a:lnTo>
                  <a:lnTo>
                    <a:pt x="87434" y="115302"/>
                  </a:lnTo>
                  <a:lnTo>
                    <a:pt x="88327" y="115302"/>
                  </a:lnTo>
                  <a:lnTo>
                    <a:pt x="88327" y="114021"/>
                  </a:lnTo>
                  <a:lnTo>
                    <a:pt x="88327" y="114021"/>
                  </a:lnTo>
                  <a:lnTo>
                    <a:pt x="88327" y="114021"/>
                  </a:lnTo>
                  <a:lnTo>
                    <a:pt x="88327" y="113167"/>
                  </a:lnTo>
                  <a:lnTo>
                    <a:pt x="88327" y="113167"/>
                  </a:lnTo>
                  <a:lnTo>
                    <a:pt x="87434" y="113167"/>
                  </a:lnTo>
                  <a:lnTo>
                    <a:pt x="87434" y="111886"/>
                  </a:lnTo>
                  <a:lnTo>
                    <a:pt x="88327" y="111886"/>
                  </a:lnTo>
                  <a:lnTo>
                    <a:pt x="88327" y="111886"/>
                  </a:lnTo>
                  <a:lnTo>
                    <a:pt x="88327" y="111032"/>
                  </a:lnTo>
                  <a:lnTo>
                    <a:pt x="87434" y="110177"/>
                  </a:lnTo>
                  <a:lnTo>
                    <a:pt x="86542" y="108042"/>
                  </a:lnTo>
                  <a:lnTo>
                    <a:pt x="86542" y="107188"/>
                  </a:lnTo>
                  <a:lnTo>
                    <a:pt x="85204" y="105907"/>
                  </a:lnTo>
                  <a:lnTo>
                    <a:pt x="84312" y="105053"/>
                  </a:lnTo>
                  <a:lnTo>
                    <a:pt x="84312" y="102918"/>
                  </a:lnTo>
                  <a:lnTo>
                    <a:pt x="84312" y="102918"/>
                  </a:lnTo>
                  <a:lnTo>
                    <a:pt x="84312" y="102918"/>
                  </a:lnTo>
                  <a:lnTo>
                    <a:pt x="83420" y="102918"/>
                  </a:lnTo>
                  <a:lnTo>
                    <a:pt x="83420" y="102918"/>
                  </a:lnTo>
                  <a:lnTo>
                    <a:pt x="82081" y="102918"/>
                  </a:lnTo>
                  <a:lnTo>
                    <a:pt x="81189" y="102918"/>
                  </a:lnTo>
                  <a:lnTo>
                    <a:pt x="81189" y="102918"/>
                  </a:lnTo>
                  <a:lnTo>
                    <a:pt x="78959" y="100782"/>
                  </a:lnTo>
                  <a:lnTo>
                    <a:pt x="78959" y="99928"/>
                  </a:lnTo>
                  <a:lnTo>
                    <a:pt x="78959" y="99074"/>
                  </a:lnTo>
                  <a:lnTo>
                    <a:pt x="78959" y="97793"/>
                  </a:lnTo>
                  <a:lnTo>
                    <a:pt x="78959" y="96939"/>
                  </a:lnTo>
                  <a:lnTo>
                    <a:pt x="78959" y="96085"/>
                  </a:lnTo>
                  <a:lnTo>
                    <a:pt x="78959" y="94804"/>
                  </a:lnTo>
                  <a:lnTo>
                    <a:pt x="78959" y="94804"/>
                  </a:lnTo>
                  <a:lnTo>
                    <a:pt x="78066" y="94804"/>
                  </a:lnTo>
                  <a:lnTo>
                    <a:pt x="77174" y="94804"/>
                  </a:lnTo>
                  <a:lnTo>
                    <a:pt x="75836" y="93950"/>
                  </a:lnTo>
                  <a:lnTo>
                    <a:pt x="74944" y="93950"/>
                  </a:lnTo>
                  <a:lnTo>
                    <a:pt x="73605" y="93096"/>
                  </a:lnTo>
                  <a:lnTo>
                    <a:pt x="73605" y="93096"/>
                  </a:lnTo>
                  <a:lnTo>
                    <a:pt x="73605" y="93096"/>
                  </a:lnTo>
                  <a:lnTo>
                    <a:pt x="73605" y="90960"/>
                  </a:lnTo>
                  <a:lnTo>
                    <a:pt x="73605" y="89679"/>
                  </a:lnTo>
                  <a:lnTo>
                    <a:pt x="73605" y="88825"/>
                  </a:lnTo>
                  <a:lnTo>
                    <a:pt x="73605" y="88825"/>
                  </a:lnTo>
                  <a:lnTo>
                    <a:pt x="74944" y="88825"/>
                  </a:lnTo>
                  <a:lnTo>
                    <a:pt x="74944" y="87971"/>
                  </a:lnTo>
                  <a:lnTo>
                    <a:pt x="75836" y="86690"/>
                  </a:lnTo>
                  <a:lnTo>
                    <a:pt x="77174" y="84982"/>
                  </a:lnTo>
                  <a:lnTo>
                    <a:pt x="78066" y="82846"/>
                  </a:lnTo>
                  <a:lnTo>
                    <a:pt x="78066" y="82846"/>
                  </a:lnTo>
                  <a:lnTo>
                    <a:pt x="78066" y="82846"/>
                  </a:lnTo>
                  <a:lnTo>
                    <a:pt x="78959" y="81992"/>
                  </a:lnTo>
                  <a:lnTo>
                    <a:pt x="78959" y="81992"/>
                  </a:lnTo>
                  <a:lnTo>
                    <a:pt x="80297" y="81992"/>
                  </a:lnTo>
                  <a:lnTo>
                    <a:pt x="81189" y="81992"/>
                  </a:lnTo>
                  <a:lnTo>
                    <a:pt x="81189" y="82846"/>
                  </a:lnTo>
                  <a:lnTo>
                    <a:pt x="81189" y="82846"/>
                  </a:lnTo>
                  <a:lnTo>
                    <a:pt x="82081" y="83701"/>
                  </a:lnTo>
                  <a:lnTo>
                    <a:pt x="82081" y="83701"/>
                  </a:lnTo>
                  <a:lnTo>
                    <a:pt x="83420" y="84982"/>
                  </a:lnTo>
                  <a:lnTo>
                    <a:pt x="83420" y="84982"/>
                  </a:lnTo>
                  <a:lnTo>
                    <a:pt x="85204" y="83701"/>
                  </a:lnTo>
                  <a:lnTo>
                    <a:pt x="86542" y="82846"/>
                  </a:lnTo>
                  <a:lnTo>
                    <a:pt x="88327" y="82846"/>
                  </a:lnTo>
                  <a:lnTo>
                    <a:pt x="89665" y="82846"/>
                  </a:lnTo>
                  <a:lnTo>
                    <a:pt x="91895" y="81992"/>
                  </a:lnTo>
                  <a:lnTo>
                    <a:pt x="91895" y="81992"/>
                  </a:lnTo>
                  <a:lnTo>
                    <a:pt x="91895" y="79857"/>
                  </a:lnTo>
                  <a:lnTo>
                    <a:pt x="92788" y="78576"/>
                  </a:lnTo>
                  <a:lnTo>
                    <a:pt x="92788" y="77722"/>
                  </a:lnTo>
                  <a:lnTo>
                    <a:pt x="92788" y="76868"/>
                  </a:lnTo>
                  <a:lnTo>
                    <a:pt x="93680" y="75587"/>
                  </a:lnTo>
                  <a:lnTo>
                    <a:pt x="93680" y="74733"/>
                  </a:lnTo>
                  <a:lnTo>
                    <a:pt x="95910" y="73879"/>
                  </a:lnTo>
                  <a:lnTo>
                    <a:pt x="98141" y="72597"/>
                  </a:lnTo>
                  <a:lnTo>
                    <a:pt x="98141" y="71743"/>
                  </a:lnTo>
                  <a:lnTo>
                    <a:pt x="99033" y="69608"/>
                  </a:lnTo>
                  <a:lnTo>
                    <a:pt x="99925" y="67473"/>
                  </a:lnTo>
                  <a:lnTo>
                    <a:pt x="99925" y="67473"/>
                  </a:lnTo>
                  <a:lnTo>
                    <a:pt x="99925" y="65765"/>
                  </a:lnTo>
                  <a:lnTo>
                    <a:pt x="99925" y="64483"/>
                  </a:lnTo>
                  <a:lnTo>
                    <a:pt x="101263" y="63629"/>
                  </a:lnTo>
                  <a:lnTo>
                    <a:pt x="102156" y="63629"/>
                  </a:lnTo>
                  <a:lnTo>
                    <a:pt x="103048" y="62775"/>
                  </a:lnTo>
                  <a:lnTo>
                    <a:pt x="104386" y="62775"/>
                  </a:lnTo>
                  <a:lnTo>
                    <a:pt x="104386" y="61494"/>
                  </a:lnTo>
                  <a:lnTo>
                    <a:pt x="104386" y="61494"/>
                  </a:lnTo>
                  <a:lnTo>
                    <a:pt x="103048" y="60640"/>
                  </a:lnTo>
                  <a:lnTo>
                    <a:pt x="103048" y="60640"/>
                  </a:lnTo>
                  <a:lnTo>
                    <a:pt x="103048" y="59786"/>
                  </a:lnTo>
                  <a:lnTo>
                    <a:pt x="104386" y="59786"/>
                  </a:lnTo>
                  <a:lnTo>
                    <a:pt x="105278" y="56370"/>
                  </a:lnTo>
                  <a:lnTo>
                    <a:pt x="106617" y="55516"/>
                  </a:lnTo>
                  <a:lnTo>
                    <a:pt x="106617" y="55516"/>
                  </a:lnTo>
                  <a:lnTo>
                    <a:pt x="107509" y="55516"/>
                  </a:lnTo>
                  <a:lnTo>
                    <a:pt x="108401" y="54661"/>
                  </a:lnTo>
                  <a:lnTo>
                    <a:pt x="108401" y="54661"/>
                  </a:lnTo>
                  <a:lnTo>
                    <a:pt x="108401" y="53380"/>
                  </a:lnTo>
                  <a:lnTo>
                    <a:pt x="107509" y="53380"/>
                  </a:lnTo>
                  <a:lnTo>
                    <a:pt x="107509" y="53380"/>
                  </a:lnTo>
                  <a:lnTo>
                    <a:pt x="107509" y="52526"/>
                  </a:lnTo>
                  <a:lnTo>
                    <a:pt x="107509" y="50391"/>
                  </a:lnTo>
                  <a:lnTo>
                    <a:pt x="107509" y="50391"/>
                  </a:lnTo>
                  <a:lnTo>
                    <a:pt x="106617" y="48683"/>
                  </a:lnTo>
                  <a:lnTo>
                    <a:pt x="106617" y="47402"/>
                  </a:lnTo>
                  <a:lnTo>
                    <a:pt x="106617" y="47402"/>
                  </a:lnTo>
                  <a:lnTo>
                    <a:pt x="107509" y="46548"/>
                  </a:lnTo>
                  <a:lnTo>
                    <a:pt x="107509" y="46548"/>
                  </a:lnTo>
                  <a:lnTo>
                    <a:pt x="110631" y="45266"/>
                  </a:lnTo>
                  <a:lnTo>
                    <a:pt x="110631" y="44412"/>
                  </a:lnTo>
                  <a:lnTo>
                    <a:pt x="111524" y="44412"/>
                  </a:lnTo>
                  <a:lnTo>
                    <a:pt x="111524" y="43558"/>
                  </a:lnTo>
                  <a:lnTo>
                    <a:pt x="111524" y="43558"/>
                  </a:lnTo>
                  <a:lnTo>
                    <a:pt x="111524" y="43558"/>
                  </a:lnTo>
                  <a:lnTo>
                    <a:pt x="110631" y="42277"/>
                  </a:lnTo>
                  <a:lnTo>
                    <a:pt x="109739" y="42277"/>
                  </a:lnTo>
                  <a:lnTo>
                    <a:pt x="108401" y="41423"/>
                  </a:lnTo>
                  <a:lnTo>
                    <a:pt x="107509" y="41423"/>
                  </a:lnTo>
                  <a:lnTo>
                    <a:pt x="106617" y="41423"/>
                  </a:lnTo>
                  <a:lnTo>
                    <a:pt x="106617" y="41423"/>
                  </a:lnTo>
                  <a:lnTo>
                    <a:pt x="105278" y="40569"/>
                  </a:lnTo>
                  <a:lnTo>
                    <a:pt x="105278" y="39288"/>
                  </a:lnTo>
                  <a:lnTo>
                    <a:pt x="105278" y="39288"/>
                  </a:lnTo>
                  <a:lnTo>
                    <a:pt x="105278" y="39288"/>
                  </a:lnTo>
                  <a:lnTo>
                    <a:pt x="104386" y="39288"/>
                  </a:lnTo>
                  <a:lnTo>
                    <a:pt x="103048" y="39288"/>
                  </a:lnTo>
                  <a:lnTo>
                    <a:pt x="103048" y="38434"/>
                  </a:lnTo>
                  <a:lnTo>
                    <a:pt x="103048" y="38434"/>
                  </a:lnTo>
                  <a:lnTo>
                    <a:pt x="102156" y="37580"/>
                  </a:lnTo>
                  <a:lnTo>
                    <a:pt x="102156" y="37580"/>
                  </a:lnTo>
                  <a:lnTo>
                    <a:pt x="102156" y="36298"/>
                  </a:lnTo>
                  <a:lnTo>
                    <a:pt x="102156" y="36298"/>
                  </a:lnTo>
                  <a:lnTo>
                    <a:pt x="101263" y="36298"/>
                  </a:lnTo>
                  <a:lnTo>
                    <a:pt x="99925" y="35444"/>
                  </a:lnTo>
                  <a:lnTo>
                    <a:pt x="99925" y="35444"/>
                  </a:lnTo>
                  <a:lnTo>
                    <a:pt x="99033" y="35444"/>
                  </a:lnTo>
                  <a:lnTo>
                    <a:pt x="99033" y="34163"/>
                  </a:lnTo>
                  <a:lnTo>
                    <a:pt x="99925" y="34163"/>
                  </a:lnTo>
                  <a:lnTo>
                    <a:pt x="99925" y="33309"/>
                  </a:lnTo>
                  <a:lnTo>
                    <a:pt x="99925" y="32455"/>
                  </a:lnTo>
                  <a:lnTo>
                    <a:pt x="99925" y="32455"/>
                  </a:lnTo>
                  <a:lnTo>
                    <a:pt x="99925" y="32455"/>
                  </a:lnTo>
                  <a:lnTo>
                    <a:pt x="99033" y="31174"/>
                  </a:lnTo>
                  <a:lnTo>
                    <a:pt x="99033" y="31174"/>
                  </a:lnTo>
                  <a:lnTo>
                    <a:pt x="99033" y="31174"/>
                  </a:lnTo>
                  <a:lnTo>
                    <a:pt x="98141" y="30320"/>
                  </a:lnTo>
                  <a:lnTo>
                    <a:pt x="99033" y="29466"/>
                  </a:lnTo>
                  <a:lnTo>
                    <a:pt x="99033" y="29466"/>
                  </a:lnTo>
                  <a:lnTo>
                    <a:pt x="99925" y="29466"/>
                  </a:lnTo>
                  <a:lnTo>
                    <a:pt x="99925" y="28185"/>
                  </a:lnTo>
                  <a:lnTo>
                    <a:pt x="99925" y="28185"/>
                  </a:lnTo>
                  <a:lnTo>
                    <a:pt x="99925" y="28185"/>
                  </a:lnTo>
                  <a:lnTo>
                    <a:pt x="99033" y="28185"/>
                  </a:lnTo>
                  <a:lnTo>
                    <a:pt x="98141" y="27330"/>
                  </a:lnTo>
                  <a:lnTo>
                    <a:pt x="96802" y="27330"/>
                  </a:lnTo>
                  <a:lnTo>
                    <a:pt x="96802" y="27330"/>
                  </a:lnTo>
                  <a:lnTo>
                    <a:pt x="96802" y="27330"/>
                  </a:lnTo>
                  <a:lnTo>
                    <a:pt x="96802" y="26476"/>
                  </a:lnTo>
                  <a:lnTo>
                    <a:pt x="98141" y="26476"/>
                  </a:lnTo>
                  <a:lnTo>
                    <a:pt x="96802" y="25195"/>
                  </a:lnTo>
                  <a:lnTo>
                    <a:pt x="96802" y="25195"/>
                  </a:lnTo>
                  <a:lnTo>
                    <a:pt x="95910" y="25195"/>
                  </a:lnTo>
                  <a:lnTo>
                    <a:pt x="95910" y="24341"/>
                  </a:lnTo>
                  <a:lnTo>
                    <a:pt x="95910" y="24341"/>
                  </a:lnTo>
                  <a:lnTo>
                    <a:pt x="95910" y="23060"/>
                  </a:lnTo>
                  <a:lnTo>
                    <a:pt x="95910" y="23060"/>
                  </a:lnTo>
                  <a:lnTo>
                    <a:pt x="96802" y="22206"/>
                  </a:lnTo>
                  <a:lnTo>
                    <a:pt x="96802" y="21352"/>
                  </a:lnTo>
                  <a:lnTo>
                    <a:pt x="98141" y="21352"/>
                  </a:lnTo>
                  <a:lnTo>
                    <a:pt x="99033" y="21352"/>
                  </a:lnTo>
                  <a:lnTo>
                    <a:pt x="99925" y="21352"/>
                  </a:lnTo>
                  <a:lnTo>
                    <a:pt x="101263" y="21352"/>
                  </a:lnTo>
                  <a:lnTo>
                    <a:pt x="103048" y="21352"/>
                  </a:lnTo>
                  <a:lnTo>
                    <a:pt x="104386" y="22206"/>
                  </a:lnTo>
                  <a:lnTo>
                    <a:pt x="105278" y="22206"/>
                  </a:lnTo>
                  <a:lnTo>
                    <a:pt x="106617" y="22206"/>
                  </a:lnTo>
                  <a:lnTo>
                    <a:pt x="106617" y="22206"/>
                  </a:lnTo>
                  <a:lnTo>
                    <a:pt x="108401" y="23060"/>
                  </a:lnTo>
                  <a:lnTo>
                    <a:pt x="109739" y="23060"/>
                  </a:lnTo>
                  <a:lnTo>
                    <a:pt x="110631" y="23060"/>
                  </a:lnTo>
                  <a:lnTo>
                    <a:pt x="111524" y="23060"/>
                  </a:lnTo>
                  <a:lnTo>
                    <a:pt x="111524" y="22206"/>
                  </a:lnTo>
                  <a:lnTo>
                    <a:pt x="112862" y="22206"/>
                  </a:lnTo>
                  <a:lnTo>
                    <a:pt x="113754" y="22206"/>
                  </a:lnTo>
                  <a:lnTo>
                    <a:pt x="115985" y="21352"/>
                  </a:lnTo>
                  <a:lnTo>
                    <a:pt x="115985" y="21352"/>
                  </a:lnTo>
                  <a:lnTo>
                    <a:pt x="116877" y="21352"/>
                  </a:lnTo>
                  <a:lnTo>
                    <a:pt x="117769" y="20071"/>
                  </a:lnTo>
                  <a:lnTo>
                    <a:pt x="117769" y="20071"/>
                  </a:lnTo>
                  <a:lnTo>
                    <a:pt x="117769" y="20071"/>
                  </a:lnTo>
                  <a:lnTo>
                    <a:pt x="117769" y="19217"/>
                  </a:lnTo>
                  <a:lnTo>
                    <a:pt x="119107" y="19217"/>
                  </a:lnTo>
                  <a:lnTo>
                    <a:pt x="120000" y="19217"/>
                  </a:lnTo>
                  <a:lnTo>
                    <a:pt x="120000" y="18362"/>
                  </a:lnTo>
                  <a:lnTo>
                    <a:pt x="120000" y="18362"/>
                  </a:lnTo>
                  <a:lnTo>
                    <a:pt x="119107" y="17081"/>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12" name="Shape 412"/>
            <p:cNvSpPr/>
            <p:nvPr/>
          </p:nvSpPr>
          <p:spPr>
            <a:xfrm>
              <a:off x="4607" y="2252"/>
              <a:ext cx="0" cy="300"/>
            </a:xfrm>
            <a:custGeom>
              <a:avLst/>
              <a:gdLst/>
              <a:ahLst/>
              <a:cxnLst/>
              <a:rect l="0" t="0" r="0" b="0"/>
              <a:pathLst>
                <a:path w="120000" h="120000" extrusionOk="0">
                  <a:moveTo>
                    <a:pt x="106187" y="72709"/>
                  </a:moveTo>
                  <a:lnTo>
                    <a:pt x="104460" y="73891"/>
                  </a:lnTo>
                  <a:lnTo>
                    <a:pt x="104460" y="76847"/>
                  </a:lnTo>
                  <a:lnTo>
                    <a:pt x="104460" y="76847"/>
                  </a:lnTo>
                  <a:lnTo>
                    <a:pt x="104460" y="76847"/>
                  </a:lnTo>
                  <a:lnTo>
                    <a:pt x="106187" y="75665"/>
                  </a:lnTo>
                  <a:lnTo>
                    <a:pt x="106187" y="73891"/>
                  </a:lnTo>
                  <a:lnTo>
                    <a:pt x="107913" y="72709"/>
                  </a:lnTo>
                  <a:lnTo>
                    <a:pt x="106187" y="69753"/>
                  </a:lnTo>
                  <a:lnTo>
                    <a:pt x="106187" y="72709"/>
                  </a:lnTo>
                  <a:close/>
                  <a:moveTo>
                    <a:pt x="118273" y="47290"/>
                  </a:moveTo>
                  <a:lnTo>
                    <a:pt x="116546" y="47290"/>
                  </a:lnTo>
                  <a:lnTo>
                    <a:pt x="113956" y="46108"/>
                  </a:lnTo>
                  <a:lnTo>
                    <a:pt x="112230" y="46108"/>
                  </a:lnTo>
                  <a:lnTo>
                    <a:pt x="110503" y="44926"/>
                  </a:lnTo>
                  <a:lnTo>
                    <a:pt x="107913" y="41970"/>
                  </a:lnTo>
                  <a:lnTo>
                    <a:pt x="106187" y="40788"/>
                  </a:lnTo>
                  <a:lnTo>
                    <a:pt x="104460" y="39014"/>
                  </a:lnTo>
                  <a:lnTo>
                    <a:pt x="104460" y="37832"/>
                  </a:lnTo>
                  <a:lnTo>
                    <a:pt x="101870" y="36059"/>
                  </a:lnTo>
                  <a:lnTo>
                    <a:pt x="101870" y="34876"/>
                  </a:lnTo>
                  <a:lnTo>
                    <a:pt x="98417" y="33694"/>
                  </a:lnTo>
                  <a:lnTo>
                    <a:pt x="95827" y="33694"/>
                  </a:lnTo>
                  <a:lnTo>
                    <a:pt x="95827" y="33694"/>
                  </a:lnTo>
                  <a:lnTo>
                    <a:pt x="94100" y="33694"/>
                  </a:lnTo>
                  <a:lnTo>
                    <a:pt x="89784" y="31921"/>
                  </a:lnTo>
                  <a:lnTo>
                    <a:pt x="85467" y="31921"/>
                  </a:lnTo>
                  <a:lnTo>
                    <a:pt x="82014" y="31921"/>
                  </a:lnTo>
                  <a:lnTo>
                    <a:pt x="75971" y="29556"/>
                  </a:lnTo>
                  <a:lnTo>
                    <a:pt x="75971" y="29556"/>
                  </a:lnTo>
                  <a:lnTo>
                    <a:pt x="71654" y="26600"/>
                  </a:lnTo>
                  <a:lnTo>
                    <a:pt x="69928" y="25418"/>
                  </a:lnTo>
                  <a:lnTo>
                    <a:pt x="65611" y="23645"/>
                  </a:lnTo>
                  <a:lnTo>
                    <a:pt x="63021" y="19507"/>
                  </a:lnTo>
                  <a:lnTo>
                    <a:pt x="61294" y="16551"/>
                  </a:lnTo>
                  <a:lnTo>
                    <a:pt x="61294" y="16551"/>
                  </a:lnTo>
                  <a:lnTo>
                    <a:pt x="61294" y="16551"/>
                  </a:lnTo>
                  <a:lnTo>
                    <a:pt x="59568" y="18325"/>
                  </a:lnTo>
                  <a:lnTo>
                    <a:pt x="59568" y="18325"/>
                  </a:lnTo>
                  <a:lnTo>
                    <a:pt x="56978" y="19507"/>
                  </a:lnTo>
                  <a:lnTo>
                    <a:pt x="56978" y="19507"/>
                  </a:lnTo>
                  <a:lnTo>
                    <a:pt x="56978" y="19507"/>
                  </a:lnTo>
                  <a:lnTo>
                    <a:pt x="55251" y="19507"/>
                  </a:lnTo>
                  <a:lnTo>
                    <a:pt x="55251" y="18325"/>
                  </a:lnTo>
                  <a:lnTo>
                    <a:pt x="55251" y="18325"/>
                  </a:lnTo>
                  <a:lnTo>
                    <a:pt x="55251" y="18325"/>
                  </a:lnTo>
                  <a:lnTo>
                    <a:pt x="55251" y="18325"/>
                  </a:lnTo>
                  <a:lnTo>
                    <a:pt x="55251" y="16551"/>
                  </a:lnTo>
                  <a:lnTo>
                    <a:pt x="55251" y="16551"/>
                  </a:lnTo>
                  <a:lnTo>
                    <a:pt x="55251" y="16551"/>
                  </a:lnTo>
                  <a:lnTo>
                    <a:pt x="53525" y="16551"/>
                  </a:lnTo>
                  <a:lnTo>
                    <a:pt x="53525" y="18325"/>
                  </a:lnTo>
                  <a:lnTo>
                    <a:pt x="53525" y="18325"/>
                  </a:lnTo>
                  <a:lnTo>
                    <a:pt x="53525" y="19507"/>
                  </a:lnTo>
                  <a:lnTo>
                    <a:pt x="53525" y="20689"/>
                  </a:lnTo>
                  <a:lnTo>
                    <a:pt x="53525" y="20689"/>
                  </a:lnTo>
                  <a:lnTo>
                    <a:pt x="53525" y="22463"/>
                  </a:lnTo>
                  <a:lnTo>
                    <a:pt x="53525" y="22463"/>
                  </a:lnTo>
                  <a:lnTo>
                    <a:pt x="53525" y="23645"/>
                  </a:lnTo>
                  <a:lnTo>
                    <a:pt x="53525" y="23645"/>
                  </a:lnTo>
                  <a:lnTo>
                    <a:pt x="53525" y="25418"/>
                  </a:lnTo>
                  <a:lnTo>
                    <a:pt x="53525" y="26600"/>
                  </a:lnTo>
                  <a:lnTo>
                    <a:pt x="53525" y="26600"/>
                  </a:lnTo>
                  <a:lnTo>
                    <a:pt x="55251" y="26600"/>
                  </a:lnTo>
                  <a:lnTo>
                    <a:pt x="56978" y="26600"/>
                  </a:lnTo>
                  <a:lnTo>
                    <a:pt x="56978" y="27783"/>
                  </a:lnTo>
                  <a:lnTo>
                    <a:pt x="56978" y="27783"/>
                  </a:lnTo>
                  <a:lnTo>
                    <a:pt x="55251" y="27783"/>
                  </a:lnTo>
                  <a:lnTo>
                    <a:pt x="53525" y="29556"/>
                  </a:lnTo>
                  <a:lnTo>
                    <a:pt x="53525" y="29556"/>
                  </a:lnTo>
                  <a:lnTo>
                    <a:pt x="49208" y="29556"/>
                  </a:lnTo>
                  <a:lnTo>
                    <a:pt x="49208" y="29556"/>
                  </a:lnTo>
                  <a:lnTo>
                    <a:pt x="49208" y="30738"/>
                  </a:lnTo>
                  <a:lnTo>
                    <a:pt x="49208" y="30738"/>
                  </a:lnTo>
                  <a:lnTo>
                    <a:pt x="49208" y="30738"/>
                  </a:lnTo>
                  <a:lnTo>
                    <a:pt x="49208" y="31921"/>
                  </a:lnTo>
                  <a:lnTo>
                    <a:pt x="49208" y="33694"/>
                  </a:lnTo>
                  <a:lnTo>
                    <a:pt x="49208" y="34876"/>
                  </a:lnTo>
                  <a:lnTo>
                    <a:pt x="47482" y="36059"/>
                  </a:lnTo>
                  <a:lnTo>
                    <a:pt x="47482" y="39014"/>
                  </a:lnTo>
                  <a:lnTo>
                    <a:pt x="44892" y="40788"/>
                  </a:lnTo>
                  <a:lnTo>
                    <a:pt x="44892" y="41970"/>
                  </a:lnTo>
                  <a:lnTo>
                    <a:pt x="44892" y="43152"/>
                  </a:lnTo>
                  <a:lnTo>
                    <a:pt x="44892" y="44926"/>
                  </a:lnTo>
                  <a:lnTo>
                    <a:pt x="47482" y="46108"/>
                  </a:lnTo>
                  <a:lnTo>
                    <a:pt x="49208" y="47290"/>
                  </a:lnTo>
                  <a:lnTo>
                    <a:pt x="49208" y="49064"/>
                  </a:lnTo>
                  <a:lnTo>
                    <a:pt x="50935" y="52019"/>
                  </a:lnTo>
                  <a:lnTo>
                    <a:pt x="53525" y="53201"/>
                  </a:lnTo>
                  <a:lnTo>
                    <a:pt x="53525" y="54384"/>
                  </a:lnTo>
                  <a:lnTo>
                    <a:pt x="53525" y="56157"/>
                  </a:lnTo>
                  <a:lnTo>
                    <a:pt x="53525" y="56157"/>
                  </a:lnTo>
                  <a:lnTo>
                    <a:pt x="53525" y="57339"/>
                  </a:lnTo>
                  <a:lnTo>
                    <a:pt x="53525" y="58522"/>
                  </a:lnTo>
                  <a:lnTo>
                    <a:pt x="50935" y="61477"/>
                  </a:lnTo>
                  <a:lnTo>
                    <a:pt x="50935" y="62660"/>
                  </a:lnTo>
                  <a:lnTo>
                    <a:pt x="50935" y="64433"/>
                  </a:lnTo>
                  <a:lnTo>
                    <a:pt x="49208" y="65615"/>
                  </a:lnTo>
                  <a:lnTo>
                    <a:pt x="49208" y="67389"/>
                  </a:lnTo>
                  <a:lnTo>
                    <a:pt x="49208" y="68571"/>
                  </a:lnTo>
                  <a:lnTo>
                    <a:pt x="49208" y="69753"/>
                  </a:lnTo>
                  <a:lnTo>
                    <a:pt x="49208" y="71527"/>
                  </a:lnTo>
                  <a:lnTo>
                    <a:pt x="47482" y="72709"/>
                  </a:lnTo>
                  <a:lnTo>
                    <a:pt x="47482" y="73891"/>
                  </a:lnTo>
                  <a:lnTo>
                    <a:pt x="47482" y="75665"/>
                  </a:lnTo>
                  <a:lnTo>
                    <a:pt x="47482" y="76847"/>
                  </a:lnTo>
                  <a:lnTo>
                    <a:pt x="44892" y="79802"/>
                  </a:lnTo>
                  <a:lnTo>
                    <a:pt x="44892" y="79802"/>
                  </a:lnTo>
                  <a:lnTo>
                    <a:pt x="41438" y="79802"/>
                  </a:lnTo>
                  <a:lnTo>
                    <a:pt x="38848" y="80985"/>
                  </a:lnTo>
                  <a:lnTo>
                    <a:pt x="37122" y="80985"/>
                  </a:lnTo>
                  <a:lnTo>
                    <a:pt x="32805" y="82758"/>
                  </a:lnTo>
                  <a:lnTo>
                    <a:pt x="31079" y="82758"/>
                  </a:lnTo>
                  <a:lnTo>
                    <a:pt x="28489" y="83940"/>
                  </a:lnTo>
                  <a:lnTo>
                    <a:pt x="26762" y="83940"/>
                  </a:lnTo>
                  <a:lnTo>
                    <a:pt x="22446" y="85123"/>
                  </a:lnTo>
                  <a:lnTo>
                    <a:pt x="20719" y="85123"/>
                  </a:lnTo>
                  <a:lnTo>
                    <a:pt x="18992" y="86896"/>
                  </a:lnTo>
                  <a:lnTo>
                    <a:pt x="14676" y="86896"/>
                  </a:lnTo>
                  <a:lnTo>
                    <a:pt x="12949" y="88078"/>
                  </a:lnTo>
                  <a:lnTo>
                    <a:pt x="10359" y="88078"/>
                  </a:lnTo>
                  <a:lnTo>
                    <a:pt x="6906" y="89261"/>
                  </a:lnTo>
                  <a:lnTo>
                    <a:pt x="4316" y="89261"/>
                  </a:lnTo>
                  <a:lnTo>
                    <a:pt x="2589" y="91034"/>
                  </a:lnTo>
                  <a:lnTo>
                    <a:pt x="0" y="91034"/>
                  </a:lnTo>
                  <a:lnTo>
                    <a:pt x="0" y="92216"/>
                  </a:lnTo>
                  <a:lnTo>
                    <a:pt x="2589" y="93399"/>
                  </a:lnTo>
                  <a:lnTo>
                    <a:pt x="2589" y="95172"/>
                  </a:lnTo>
                  <a:lnTo>
                    <a:pt x="2589" y="96354"/>
                  </a:lnTo>
                  <a:lnTo>
                    <a:pt x="4316" y="98128"/>
                  </a:lnTo>
                  <a:lnTo>
                    <a:pt x="4316" y="99310"/>
                  </a:lnTo>
                  <a:lnTo>
                    <a:pt x="6906" y="100492"/>
                  </a:lnTo>
                  <a:lnTo>
                    <a:pt x="6906" y="102266"/>
                  </a:lnTo>
                  <a:lnTo>
                    <a:pt x="6906" y="102266"/>
                  </a:lnTo>
                  <a:lnTo>
                    <a:pt x="8633" y="103448"/>
                  </a:lnTo>
                  <a:lnTo>
                    <a:pt x="8633" y="104630"/>
                  </a:lnTo>
                  <a:lnTo>
                    <a:pt x="10359" y="106403"/>
                  </a:lnTo>
                  <a:lnTo>
                    <a:pt x="10359" y="107586"/>
                  </a:lnTo>
                  <a:lnTo>
                    <a:pt x="10359" y="108768"/>
                  </a:lnTo>
                  <a:lnTo>
                    <a:pt x="12949" y="110541"/>
                  </a:lnTo>
                  <a:lnTo>
                    <a:pt x="12949" y="111724"/>
                  </a:lnTo>
                  <a:lnTo>
                    <a:pt x="14676" y="113497"/>
                  </a:lnTo>
                  <a:lnTo>
                    <a:pt x="14676" y="113497"/>
                  </a:lnTo>
                  <a:lnTo>
                    <a:pt x="14676" y="114679"/>
                  </a:lnTo>
                  <a:lnTo>
                    <a:pt x="16402" y="115862"/>
                  </a:lnTo>
                  <a:lnTo>
                    <a:pt x="18992" y="117635"/>
                  </a:lnTo>
                  <a:lnTo>
                    <a:pt x="18992" y="118817"/>
                  </a:lnTo>
                  <a:lnTo>
                    <a:pt x="20719" y="120000"/>
                  </a:lnTo>
                  <a:lnTo>
                    <a:pt x="22446" y="120000"/>
                  </a:lnTo>
                  <a:lnTo>
                    <a:pt x="28489" y="118817"/>
                  </a:lnTo>
                  <a:lnTo>
                    <a:pt x="31079" y="118817"/>
                  </a:lnTo>
                  <a:lnTo>
                    <a:pt x="32805" y="117635"/>
                  </a:lnTo>
                  <a:lnTo>
                    <a:pt x="34532" y="115862"/>
                  </a:lnTo>
                  <a:lnTo>
                    <a:pt x="38848" y="115862"/>
                  </a:lnTo>
                  <a:lnTo>
                    <a:pt x="43165" y="115862"/>
                  </a:lnTo>
                  <a:lnTo>
                    <a:pt x="44892" y="115862"/>
                  </a:lnTo>
                  <a:lnTo>
                    <a:pt x="47482" y="117635"/>
                  </a:lnTo>
                  <a:lnTo>
                    <a:pt x="50935" y="115862"/>
                  </a:lnTo>
                  <a:lnTo>
                    <a:pt x="53525" y="114679"/>
                  </a:lnTo>
                  <a:lnTo>
                    <a:pt x="53525" y="111724"/>
                  </a:lnTo>
                  <a:lnTo>
                    <a:pt x="53525" y="111724"/>
                  </a:lnTo>
                  <a:lnTo>
                    <a:pt x="53525" y="110541"/>
                  </a:lnTo>
                  <a:lnTo>
                    <a:pt x="53525" y="110541"/>
                  </a:lnTo>
                  <a:lnTo>
                    <a:pt x="53525" y="108768"/>
                  </a:lnTo>
                  <a:lnTo>
                    <a:pt x="56978" y="106403"/>
                  </a:lnTo>
                  <a:lnTo>
                    <a:pt x="59568" y="104630"/>
                  </a:lnTo>
                  <a:lnTo>
                    <a:pt x="65611" y="104630"/>
                  </a:lnTo>
                  <a:lnTo>
                    <a:pt x="69928" y="104630"/>
                  </a:lnTo>
                  <a:lnTo>
                    <a:pt x="71654" y="103448"/>
                  </a:lnTo>
                  <a:lnTo>
                    <a:pt x="73381" y="102266"/>
                  </a:lnTo>
                  <a:lnTo>
                    <a:pt x="73381" y="96354"/>
                  </a:lnTo>
                  <a:lnTo>
                    <a:pt x="77697" y="95172"/>
                  </a:lnTo>
                  <a:lnTo>
                    <a:pt x="79424" y="93399"/>
                  </a:lnTo>
                  <a:lnTo>
                    <a:pt x="82014" y="92216"/>
                  </a:lnTo>
                  <a:lnTo>
                    <a:pt x="85467" y="92216"/>
                  </a:lnTo>
                  <a:lnTo>
                    <a:pt x="89784" y="92216"/>
                  </a:lnTo>
                  <a:lnTo>
                    <a:pt x="91510" y="92216"/>
                  </a:lnTo>
                  <a:lnTo>
                    <a:pt x="91510" y="91034"/>
                  </a:lnTo>
                  <a:lnTo>
                    <a:pt x="91510" y="89261"/>
                  </a:lnTo>
                  <a:lnTo>
                    <a:pt x="91510" y="88078"/>
                  </a:lnTo>
                  <a:lnTo>
                    <a:pt x="89784" y="86896"/>
                  </a:lnTo>
                  <a:lnTo>
                    <a:pt x="89784" y="83940"/>
                  </a:lnTo>
                  <a:lnTo>
                    <a:pt x="89784" y="82758"/>
                  </a:lnTo>
                  <a:lnTo>
                    <a:pt x="89784" y="80985"/>
                  </a:lnTo>
                  <a:lnTo>
                    <a:pt x="89784" y="79802"/>
                  </a:lnTo>
                  <a:lnTo>
                    <a:pt x="91510" y="76847"/>
                  </a:lnTo>
                  <a:lnTo>
                    <a:pt x="91510" y="75665"/>
                  </a:lnTo>
                  <a:lnTo>
                    <a:pt x="91510" y="73891"/>
                  </a:lnTo>
                  <a:lnTo>
                    <a:pt x="94100" y="71527"/>
                  </a:lnTo>
                  <a:lnTo>
                    <a:pt x="95827" y="71527"/>
                  </a:lnTo>
                  <a:lnTo>
                    <a:pt x="95827" y="71527"/>
                  </a:lnTo>
                  <a:lnTo>
                    <a:pt x="95827" y="72709"/>
                  </a:lnTo>
                  <a:lnTo>
                    <a:pt x="95827" y="73891"/>
                  </a:lnTo>
                  <a:lnTo>
                    <a:pt x="98417" y="73891"/>
                  </a:lnTo>
                  <a:lnTo>
                    <a:pt x="98417" y="73891"/>
                  </a:lnTo>
                  <a:lnTo>
                    <a:pt x="100143" y="73891"/>
                  </a:lnTo>
                  <a:lnTo>
                    <a:pt x="101870" y="72709"/>
                  </a:lnTo>
                  <a:lnTo>
                    <a:pt x="104460" y="68571"/>
                  </a:lnTo>
                  <a:lnTo>
                    <a:pt x="106187" y="65615"/>
                  </a:lnTo>
                  <a:lnTo>
                    <a:pt x="107913" y="62660"/>
                  </a:lnTo>
                  <a:lnTo>
                    <a:pt x="112230" y="61477"/>
                  </a:lnTo>
                  <a:lnTo>
                    <a:pt x="113956" y="60295"/>
                  </a:lnTo>
                  <a:lnTo>
                    <a:pt x="113956" y="57339"/>
                  </a:lnTo>
                  <a:lnTo>
                    <a:pt x="116546" y="54384"/>
                  </a:lnTo>
                  <a:lnTo>
                    <a:pt x="118273" y="53201"/>
                  </a:lnTo>
                  <a:lnTo>
                    <a:pt x="118273" y="52019"/>
                  </a:lnTo>
                  <a:lnTo>
                    <a:pt x="120000" y="50246"/>
                  </a:lnTo>
                  <a:lnTo>
                    <a:pt x="120000" y="49064"/>
                  </a:lnTo>
                  <a:lnTo>
                    <a:pt x="118273" y="47290"/>
                  </a:lnTo>
                  <a:close/>
                  <a:moveTo>
                    <a:pt x="59568" y="12413"/>
                  </a:moveTo>
                  <a:lnTo>
                    <a:pt x="59568" y="12413"/>
                  </a:lnTo>
                  <a:lnTo>
                    <a:pt x="59568" y="14187"/>
                  </a:lnTo>
                  <a:lnTo>
                    <a:pt x="59568" y="14187"/>
                  </a:lnTo>
                  <a:lnTo>
                    <a:pt x="59568" y="14187"/>
                  </a:lnTo>
                  <a:lnTo>
                    <a:pt x="59568" y="12413"/>
                  </a:lnTo>
                  <a:lnTo>
                    <a:pt x="59568" y="12413"/>
                  </a:lnTo>
                  <a:lnTo>
                    <a:pt x="59568" y="12413"/>
                  </a:lnTo>
                  <a:close/>
                  <a:moveTo>
                    <a:pt x="56978" y="2955"/>
                  </a:moveTo>
                  <a:lnTo>
                    <a:pt x="56978" y="4137"/>
                  </a:lnTo>
                  <a:lnTo>
                    <a:pt x="56978" y="5320"/>
                  </a:lnTo>
                  <a:lnTo>
                    <a:pt x="56978" y="7093"/>
                  </a:lnTo>
                  <a:lnTo>
                    <a:pt x="56978" y="8275"/>
                  </a:lnTo>
                  <a:lnTo>
                    <a:pt x="56978" y="8275"/>
                  </a:lnTo>
                  <a:lnTo>
                    <a:pt x="59568" y="8275"/>
                  </a:lnTo>
                  <a:lnTo>
                    <a:pt x="59568" y="8275"/>
                  </a:lnTo>
                  <a:lnTo>
                    <a:pt x="59568" y="8275"/>
                  </a:lnTo>
                  <a:lnTo>
                    <a:pt x="59568" y="7093"/>
                  </a:lnTo>
                  <a:lnTo>
                    <a:pt x="59568" y="7093"/>
                  </a:lnTo>
                  <a:lnTo>
                    <a:pt x="59568" y="7093"/>
                  </a:lnTo>
                  <a:lnTo>
                    <a:pt x="59568" y="2955"/>
                  </a:lnTo>
                  <a:lnTo>
                    <a:pt x="59568" y="1182"/>
                  </a:lnTo>
                  <a:lnTo>
                    <a:pt x="59568" y="0"/>
                  </a:lnTo>
                  <a:lnTo>
                    <a:pt x="59568" y="0"/>
                  </a:lnTo>
                  <a:lnTo>
                    <a:pt x="59568" y="0"/>
                  </a:lnTo>
                  <a:lnTo>
                    <a:pt x="59568" y="0"/>
                  </a:lnTo>
                  <a:lnTo>
                    <a:pt x="56978" y="1182"/>
                  </a:lnTo>
                  <a:lnTo>
                    <a:pt x="56978" y="1182"/>
                  </a:lnTo>
                  <a:lnTo>
                    <a:pt x="56978" y="1182"/>
                  </a:lnTo>
                  <a:lnTo>
                    <a:pt x="55251" y="1182"/>
                  </a:lnTo>
                  <a:lnTo>
                    <a:pt x="55251" y="2955"/>
                  </a:lnTo>
                  <a:lnTo>
                    <a:pt x="55251" y="2955"/>
                  </a:lnTo>
                  <a:lnTo>
                    <a:pt x="56978" y="2955"/>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13" name="Shape 413"/>
            <p:cNvSpPr/>
            <p:nvPr/>
          </p:nvSpPr>
          <p:spPr>
            <a:xfrm>
              <a:off x="3766" y="1202"/>
              <a:ext cx="300" cy="300"/>
            </a:xfrm>
            <a:custGeom>
              <a:avLst/>
              <a:gdLst/>
              <a:ahLst/>
              <a:cxnLst/>
              <a:rect l="0" t="0" r="0" b="0"/>
              <a:pathLst>
                <a:path w="120000" h="120000" extrusionOk="0">
                  <a:moveTo>
                    <a:pt x="1675" y="106870"/>
                  </a:moveTo>
                  <a:lnTo>
                    <a:pt x="670" y="106259"/>
                  </a:lnTo>
                  <a:lnTo>
                    <a:pt x="670" y="105343"/>
                  </a:lnTo>
                  <a:lnTo>
                    <a:pt x="670" y="105343"/>
                  </a:lnTo>
                  <a:lnTo>
                    <a:pt x="670" y="106259"/>
                  </a:lnTo>
                  <a:lnTo>
                    <a:pt x="670" y="106259"/>
                  </a:lnTo>
                  <a:lnTo>
                    <a:pt x="670" y="106870"/>
                  </a:lnTo>
                  <a:lnTo>
                    <a:pt x="670" y="106870"/>
                  </a:lnTo>
                  <a:lnTo>
                    <a:pt x="670" y="106870"/>
                  </a:lnTo>
                  <a:lnTo>
                    <a:pt x="1675" y="107786"/>
                  </a:lnTo>
                  <a:lnTo>
                    <a:pt x="1675" y="106870"/>
                  </a:lnTo>
                  <a:close/>
                  <a:moveTo>
                    <a:pt x="670" y="101984"/>
                  </a:moveTo>
                  <a:lnTo>
                    <a:pt x="670" y="101068"/>
                  </a:lnTo>
                  <a:lnTo>
                    <a:pt x="0" y="101068"/>
                  </a:lnTo>
                  <a:lnTo>
                    <a:pt x="0" y="101984"/>
                  </a:lnTo>
                  <a:lnTo>
                    <a:pt x="0" y="101984"/>
                  </a:lnTo>
                  <a:lnTo>
                    <a:pt x="0" y="101984"/>
                  </a:lnTo>
                  <a:lnTo>
                    <a:pt x="670" y="101984"/>
                  </a:lnTo>
                  <a:lnTo>
                    <a:pt x="670" y="101984"/>
                  </a:lnTo>
                  <a:close/>
                  <a:moveTo>
                    <a:pt x="15754" y="88854"/>
                  </a:moveTo>
                  <a:lnTo>
                    <a:pt x="15754" y="88854"/>
                  </a:lnTo>
                  <a:lnTo>
                    <a:pt x="16759" y="88854"/>
                  </a:lnTo>
                  <a:lnTo>
                    <a:pt x="16759" y="88854"/>
                  </a:lnTo>
                  <a:lnTo>
                    <a:pt x="16759" y="88244"/>
                  </a:lnTo>
                  <a:lnTo>
                    <a:pt x="16759" y="88244"/>
                  </a:lnTo>
                  <a:lnTo>
                    <a:pt x="15754" y="88244"/>
                  </a:lnTo>
                  <a:lnTo>
                    <a:pt x="15083" y="88854"/>
                  </a:lnTo>
                  <a:lnTo>
                    <a:pt x="15083" y="88854"/>
                  </a:lnTo>
                  <a:lnTo>
                    <a:pt x="15754" y="88854"/>
                  </a:lnTo>
                  <a:close/>
                  <a:moveTo>
                    <a:pt x="18100" y="87328"/>
                  </a:moveTo>
                  <a:lnTo>
                    <a:pt x="19776" y="86717"/>
                  </a:lnTo>
                  <a:lnTo>
                    <a:pt x="19776" y="86717"/>
                  </a:lnTo>
                  <a:lnTo>
                    <a:pt x="19776" y="86717"/>
                  </a:lnTo>
                  <a:lnTo>
                    <a:pt x="19776" y="86106"/>
                  </a:lnTo>
                  <a:lnTo>
                    <a:pt x="19776" y="86106"/>
                  </a:lnTo>
                  <a:lnTo>
                    <a:pt x="19776" y="86717"/>
                  </a:lnTo>
                  <a:lnTo>
                    <a:pt x="18100" y="86717"/>
                  </a:lnTo>
                  <a:lnTo>
                    <a:pt x="17430" y="86717"/>
                  </a:lnTo>
                  <a:lnTo>
                    <a:pt x="18100" y="87328"/>
                  </a:lnTo>
                  <a:lnTo>
                    <a:pt x="18100" y="87328"/>
                  </a:lnTo>
                  <a:close/>
                  <a:moveTo>
                    <a:pt x="30837" y="79389"/>
                  </a:moveTo>
                  <a:lnTo>
                    <a:pt x="30167" y="80305"/>
                  </a:lnTo>
                  <a:lnTo>
                    <a:pt x="29162" y="80305"/>
                  </a:lnTo>
                  <a:lnTo>
                    <a:pt x="30167" y="80305"/>
                  </a:lnTo>
                  <a:lnTo>
                    <a:pt x="30837" y="80305"/>
                  </a:lnTo>
                  <a:lnTo>
                    <a:pt x="31508" y="80305"/>
                  </a:lnTo>
                  <a:lnTo>
                    <a:pt x="31508" y="80305"/>
                  </a:lnTo>
                  <a:lnTo>
                    <a:pt x="31508" y="80305"/>
                  </a:lnTo>
                  <a:lnTo>
                    <a:pt x="31508" y="79389"/>
                  </a:lnTo>
                  <a:lnTo>
                    <a:pt x="30837" y="79389"/>
                  </a:lnTo>
                  <a:close/>
                  <a:moveTo>
                    <a:pt x="33854" y="75725"/>
                  </a:moveTo>
                  <a:lnTo>
                    <a:pt x="33854" y="75725"/>
                  </a:lnTo>
                  <a:lnTo>
                    <a:pt x="33854" y="75725"/>
                  </a:lnTo>
                  <a:lnTo>
                    <a:pt x="34860" y="75725"/>
                  </a:lnTo>
                  <a:lnTo>
                    <a:pt x="34860" y="75725"/>
                  </a:lnTo>
                  <a:lnTo>
                    <a:pt x="35530" y="75725"/>
                  </a:lnTo>
                  <a:lnTo>
                    <a:pt x="35530" y="75725"/>
                  </a:lnTo>
                  <a:lnTo>
                    <a:pt x="34860" y="75114"/>
                  </a:lnTo>
                  <a:lnTo>
                    <a:pt x="33854" y="75725"/>
                  </a:lnTo>
                  <a:close/>
                  <a:moveTo>
                    <a:pt x="38882" y="73587"/>
                  </a:moveTo>
                  <a:lnTo>
                    <a:pt x="38882" y="73587"/>
                  </a:lnTo>
                  <a:lnTo>
                    <a:pt x="38882" y="73587"/>
                  </a:lnTo>
                  <a:lnTo>
                    <a:pt x="37877" y="73587"/>
                  </a:lnTo>
                  <a:lnTo>
                    <a:pt x="37877" y="73587"/>
                  </a:lnTo>
                  <a:lnTo>
                    <a:pt x="37206" y="73587"/>
                  </a:lnTo>
                  <a:lnTo>
                    <a:pt x="37206" y="74503"/>
                  </a:lnTo>
                  <a:lnTo>
                    <a:pt x="37206" y="74503"/>
                  </a:lnTo>
                  <a:lnTo>
                    <a:pt x="37877" y="74503"/>
                  </a:lnTo>
                  <a:lnTo>
                    <a:pt x="38882" y="73587"/>
                  </a:lnTo>
                  <a:close/>
                  <a:moveTo>
                    <a:pt x="37877" y="72977"/>
                  </a:moveTo>
                  <a:lnTo>
                    <a:pt x="37877" y="72977"/>
                  </a:lnTo>
                  <a:lnTo>
                    <a:pt x="37877" y="72977"/>
                  </a:lnTo>
                  <a:lnTo>
                    <a:pt x="37206" y="72977"/>
                  </a:lnTo>
                  <a:lnTo>
                    <a:pt x="37206" y="72977"/>
                  </a:lnTo>
                  <a:lnTo>
                    <a:pt x="37206" y="72977"/>
                  </a:lnTo>
                  <a:lnTo>
                    <a:pt x="37206" y="73587"/>
                  </a:lnTo>
                  <a:lnTo>
                    <a:pt x="37206" y="73587"/>
                  </a:lnTo>
                  <a:lnTo>
                    <a:pt x="37206" y="73587"/>
                  </a:lnTo>
                  <a:lnTo>
                    <a:pt x="37877" y="73587"/>
                  </a:lnTo>
                  <a:lnTo>
                    <a:pt x="37877" y="72977"/>
                  </a:lnTo>
                  <a:close/>
                  <a:moveTo>
                    <a:pt x="40223" y="62290"/>
                  </a:moveTo>
                  <a:lnTo>
                    <a:pt x="39553" y="62900"/>
                  </a:lnTo>
                  <a:lnTo>
                    <a:pt x="39553" y="62900"/>
                  </a:lnTo>
                  <a:lnTo>
                    <a:pt x="38882" y="63511"/>
                  </a:lnTo>
                  <a:lnTo>
                    <a:pt x="39553" y="63511"/>
                  </a:lnTo>
                  <a:lnTo>
                    <a:pt x="40223" y="62900"/>
                  </a:lnTo>
                  <a:lnTo>
                    <a:pt x="40223" y="62900"/>
                  </a:lnTo>
                  <a:lnTo>
                    <a:pt x="40223" y="62900"/>
                  </a:lnTo>
                  <a:lnTo>
                    <a:pt x="40223" y="62290"/>
                  </a:lnTo>
                  <a:lnTo>
                    <a:pt x="40223" y="62290"/>
                  </a:lnTo>
                  <a:close/>
                  <a:moveTo>
                    <a:pt x="44245" y="61374"/>
                  </a:moveTo>
                  <a:lnTo>
                    <a:pt x="43575" y="61374"/>
                  </a:lnTo>
                  <a:lnTo>
                    <a:pt x="43575" y="61374"/>
                  </a:lnTo>
                  <a:lnTo>
                    <a:pt x="42569" y="61374"/>
                  </a:lnTo>
                  <a:lnTo>
                    <a:pt x="41899" y="61374"/>
                  </a:lnTo>
                  <a:lnTo>
                    <a:pt x="41899" y="62290"/>
                  </a:lnTo>
                  <a:lnTo>
                    <a:pt x="41229" y="61374"/>
                  </a:lnTo>
                  <a:lnTo>
                    <a:pt x="41229" y="62290"/>
                  </a:lnTo>
                  <a:lnTo>
                    <a:pt x="41229" y="62290"/>
                  </a:lnTo>
                  <a:lnTo>
                    <a:pt x="40223" y="62290"/>
                  </a:lnTo>
                  <a:lnTo>
                    <a:pt x="41229" y="62900"/>
                  </a:lnTo>
                  <a:lnTo>
                    <a:pt x="41229" y="62900"/>
                  </a:lnTo>
                  <a:lnTo>
                    <a:pt x="41899" y="62900"/>
                  </a:lnTo>
                  <a:lnTo>
                    <a:pt x="41899" y="62290"/>
                  </a:lnTo>
                  <a:lnTo>
                    <a:pt x="41899" y="62290"/>
                  </a:lnTo>
                  <a:lnTo>
                    <a:pt x="41899" y="62290"/>
                  </a:lnTo>
                  <a:lnTo>
                    <a:pt x="42569" y="62290"/>
                  </a:lnTo>
                  <a:lnTo>
                    <a:pt x="42569" y="62290"/>
                  </a:lnTo>
                  <a:lnTo>
                    <a:pt x="43575" y="62290"/>
                  </a:lnTo>
                  <a:lnTo>
                    <a:pt x="43575" y="62290"/>
                  </a:lnTo>
                  <a:lnTo>
                    <a:pt x="43575" y="61374"/>
                  </a:lnTo>
                  <a:lnTo>
                    <a:pt x="44245" y="61374"/>
                  </a:lnTo>
                  <a:lnTo>
                    <a:pt x="44916" y="61374"/>
                  </a:lnTo>
                  <a:lnTo>
                    <a:pt x="44916" y="61374"/>
                  </a:lnTo>
                  <a:lnTo>
                    <a:pt x="44916" y="61374"/>
                  </a:lnTo>
                  <a:lnTo>
                    <a:pt x="44245" y="61374"/>
                  </a:lnTo>
                  <a:close/>
                  <a:moveTo>
                    <a:pt x="47262" y="58625"/>
                  </a:moveTo>
                  <a:lnTo>
                    <a:pt x="47262" y="58625"/>
                  </a:lnTo>
                  <a:lnTo>
                    <a:pt x="46592" y="58625"/>
                  </a:lnTo>
                  <a:lnTo>
                    <a:pt x="46592" y="58625"/>
                  </a:lnTo>
                  <a:lnTo>
                    <a:pt x="45921" y="58625"/>
                  </a:lnTo>
                  <a:lnTo>
                    <a:pt x="45921" y="59236"/>
                  </a:lnTo>
                  <a:lnTo>
                    <a:pt x="46592" y="59236"/>
                  </a:lnTo>
                  <a:lnTo>
                    <a:pt x="47262" y="59236"/>
                  </a:lnTo>
                  <a:lnTo>
                    <a:pt x="47262" y="59236"/>
                  </a:lnTo>
                  <a:lnTo>
                    <a:pt x="48268" y="59236"/>
                  </a:lnTo>
                  <a:lnTo>
                    <a:pt x="48268" y="59236"/>
                  </a:lnTo>
                  <a:lnTo>
                    <a:pt x="48268" y="59236"/>
                  </a:lnTo>
                  <a:lnTo>
                    <a:pt x="48938" y="59236"/>
                  </a:lnTo>
                  <a:lnTo>
                    <a:pt x="49944" y="59236"/>
                  </a:lnTo>
                  <a:lnTo>
                    <a:pt x="50614" y="59236"/>
                  </a:lnTo>
                  <a:lnTo>
                    <a:pt x="50614" y="58625"/>
                  </a:lnTo>
                  <a:lnTo>
                    <a:pt x="50614" y="57709"/>
                  </a:lnTo>
                  <a:lnTo>
                    <a:pt x="49944" y="57709"/>
                  </a:lnTo>
                  <a:lnTo>
                    <a:pt x="49944" y="57099"/>
                  </a:lnTo>
                  <a:lnTo>
                    <a:pt x="48938" y="57099"/>
                  </a:lnTo>
                  <a:lnTo>
                    <a:pt x="48938" y="57099"/>
                  </a:lnTo>
                  <a:lnTo>
                    <a:pt x="48938" y="57099"/>
                  </a:lnTo>
                  <a:lnTo>
                    <a:pt x="48938" y="57709"/>
                  </a:lnTo>
                  <a:lnTo>
                    <a:pt x="48268" y="57709"/>
                  </a:lnTo>
                  <a:lnTo>
                    <a:pt x="48268" y="57709"/>
                  </a:lnTo>
                  <a:lnTo>
                    <a:pt x="48268" y="57709"/>
                  </a:lnTo>
                  <a:lnTo>
                    <a:pt x="48268" y="58625"/>
                  </a:lnTo>
                  <a:lnTo>
                    <a:pt x="47262" y="58625"/>
                  </a:lnTo>
                  <a:close/>
                  <a:moveTo>
                    <a:pt x="45921" y="61374"/>
                  </a:moveTo>
                  <a:lnTo>
                    <a:pt x="45921" y="61374"/>
                  </a:lnTo>
                  <a:lnTo>
                    <a:pt x="47262" y="61374"/>
                  </a:lnTo>
                  <a:lnTo>
                    <a:pt x="48268" y="60763"/>
                  </a:lnTo>
                  <a:lnTo>
                    <a:pt x="48938" y="61374"/>
                  </a:lnTo>
                  <a:lnTo>
                    <a:pt x="48938" y="61374"/>
                  </a:lnTo>
                  <a:lnTo>
                    <a:pt x="49944" y="60763"/>
                  </a:lnTo>
                  <a:lnTo>
                    <a:pt x="49944" y="60763"/>
                  </a:lnTo>
                  <a:lnTo>
                    <a:pt x="50614" y="60763"/>
                  </a:lnTo>
                  <a:lnTo>
                    <a:pt x="50614" y="60763"/>
                  </a:lnTo>
                  <a:lnTo>
                    <a:pt x="50614" y="60763"/>
                  </a:lnTo>
                  <a:lnTo>
                    <a:pt x="52290" y="60763"/>
                  </a:lnTo>
                  <a:lnTo>
                    <a:pt x="52290" y="60763"/>
                  </a:lnTo>
                  <a:lnTo>
                    <a:pt x="52960" y="60763"/>
                  </a:lnTo>
                  <a:lnTo>
                    <a:pt x="52960" y="60763"/>
                  </a:lnTo>
                  <a:lnTo>
                    <a:pt x="52960" y="60763"/>
                  </a:lnTo>
                  <a:lnTo>
                    <a:pt x="52960" y="60763"/>
                  </a:lnTo>
                  <a:lnTo>
                    <a:pt x="53631" y="59847"/>
                  </a:lnTo>
                  <a:lnTo>
                    <a:pt x="54636" y="59847"/>
                  </a:lnTo>
                  <a:lnTo>
                    <a:pt x="54636" y="59236"/>
                  </a:lnTo>
                  <a:lnTo>
                    <a:pt x="55977" y="59236"/>
                  </a:lnTo>
                  <a:lnTo>
                    <a:pt x="55977" y="58625"/>
                  </a:lnTo>
                  <a:lnTo>
                    <a:pt x="55307" y="58625"/>
                  </a:lnTo>
                  <a:lnTo>
                    <a:pt x="55307" y="57709"/>
                  </a:lnTo>
                  <a:lnTo>
                    <a:pt x="54636" y="57709"/>
                  </a:lnTo>
                  <a:lnTo>
                    <a:pt x="54636" y="57709"/>
                  </a:lnTo>
                  <a:lnTo>
                    <a:pt x="54636" y="57709"/>
                  </a:lnTo>
                  <a:lnTo>
                    <a:pt x="53631" y="57709"/>
                  </a:lnTo>
                  <a:lnTo>
                    <a:pt x="53631" y="58625"/>
                  </a:lnTo>
                  <a:lnTo>
                    <a:pt x="53631" y="58625"/>
                  </a:lnTo>
                  <a:lnTo>
                    <a:pt x="53631" y="58625"/>
                  </a:lnTo>
                  <a:lnTo>
                    <a:pt x="53631" y="59236"/>
                  </a:lnTo>
                  <a:lnTo>
                    <a:pt x="52960" y="59236"/>
                  </a:lnTo>
                  <a:lnTo>
                    <a:pt x="52290" y="59847"/>
                  </a:lnTo>
                  <a:lnTo>
                    <a:pt x="52290" y="59236"/>
                  </a:lnTo>
                  <a:lnTo>
                    <a:pt x="52290" y="59236"/>
                  </a:lnTo>
                  <a:lnTo>
                    <a:pt x="52960" y="58625"/>
                  </a:lnTo>
                  <a:lnTo>
                    <a:pt x="52960" y="58625"/>
                  </a:lnTo>
                  <a:lnTo>
                    <a:pt x="52960" y="57709"/>
                  </a:lnTo>
                  <a:lnTo>
                    <a:pt x="52290" y="57099"/>
                  </a:lnTo>
                  <a:lnTo>
                    <a:pt x="52290" y="57099"/>
                  </a:lnTo>
                  <a:lnTo>
                    <a:pt x="52960" y="56488"/>
                  </a:lnTo>
                  <a:lnTo>
                    <a:pt x="53631" y="56488"/>
                  </a:lnTo>
                  <a:lnTo>
                    <a:pt x="53631" y="55572"/>
                  </a:lnTo>
                  <a:lnTo>
                    <a:pt x="53631" y="55572"/>
                  </a:lnTo>
                  <a:lnTo>
                    <a:pt x="52960" y="55572"/>
                  </a:lnTo>
                  <a:lnTo>
                    <a:pt x="52960" y="55572"/>
                  </a:lnTo>
                  <a:lnTo>
                    <a:pt x="52290" y="56488"/>
                  </a:lnTo>
                  <a:lnTo>
                    <a:pt x="51284" y="56488"/>
                  </a:lnTo>
                  <a:lnTo>
                    <a:pt x="50614" y="57099"/>
                  </a:lnTo>
                  <a:lnTo>
                    <a:pt x="50614" y="57099"/>
                  </a:lnTo>
                  <a:lnTo>
                    <a:pt x="50614" y="57709"/>
                  </a:lnTo>
                  <a:lnTo>
                    <a:pt x="51284" y="57709"/>
                  </a:lnTo>
                  <a:lnTo>
                    <a:pt x="51284" y="57709"/>
                  </a:lnTo>
                  <a:lnTo>
                    <a:pt x="51284" y="58625"/>
                  </a:lnTo>
                  <a:lnTo>
                    <a:pt x="50614" y="59236"/>
                  </a:lnTo>
                  <a:lnTo>
                    <a:pt x="48938" y="59847"/>
                  </a:lnTo>
                  <a:lnTo>
                    <a:pt x="46592" y="60763"/>
                  </a:lnTo>
                  <a:lnTo>
                    <a:pt x="46592" y="60763"/>
                  </a:lnTo>
                  <a:lnTo>
                    <a:pt x="45921" y="61374"/>
                  </a:lnTo>
                  <a:lnTo>
                    <a:pt x="45921" y="61374"/>
                  </a:lnTo>
                  <a:close/>
                  <a:moveTo>
                    <a:pt x="62346" y="55572"/>
                  </a:moveTo>
                  <a:lnTo>
                    <a:pt x="62346" y="54961"/>
                  </a:lnTo>
                  <a:lnTo>
                    <a:pt x="62346" y="54961"/>
                  </a:lnTo>
                  <a:lnTo>
                    <a:pt x="62346" y="54351"/>
                  </a:lnTo>
                  <a:lnTo>
                    <a:pt x="61675" y="54351"/>
                  </a:lnTo>
                  <a:lnTo>
                    <a:pt x="61675" y="54351"/>
                  </a:lnTo>
                  <a:lnTo>
                    <a:pt x="61005" y="54351"/>
                  </a:lnTo>
                  <a:lnTo>
                    <a:pt x="61005" y="54351"/>
                  </a:lnTo>
                  <a:lnTo>
                    <a:pt x="60000" y="54351"/>
                  </a:lnTo>
                  <a:lnTo>
                    <a:pt x="60000" y="54351"/>
                  </a:lnTo>
                  <a:lnTo>
                    <a:pt x="60000" y="54351"/>
                  </a:lnTo>
                  <a:lnTo>
                    <a:pt x="60000" y="54351"/>
                  </a:lnTo>
                  <a:lnTo>
                    <a:pt x="60000" y="54351"/>
                  </a:lnTo>
                  <a:lnTo>
                    <a:pt x="59329" y="54351"/>
                  </a:lnTo>
                  <a:lnTo>
                    <a:pt x="58324" y="54351"/>
                  </a:lnTo>
                  <a:lnTo>
                    <a:pt x="58324" y="54961"/>
                  </a:lnTo>
                  <a:lnTo>
                    <a:pt x="59329" y="54961"/>
                  </a:lnTo>
                  <a:lnTo>
                    <a:pt x="59329" y="54961"/>
                  </a:lnTo>
                  <a:lnTo>
                    <a:pt x="59329" y="54961"/>
                  </a:lnTo>
                  <a:lnTo>
                    <a:pt x="57653" y="54961"/>
                  </a:lnTo>
                  <a:lnTo>
                    <a:pt x="57653" y="54961"/>
                  </a:lnTo>
                  <a:lnTo>
                    <a:pt x="57653" y="55572"/>
                  </a:lnTo>
                  <a:lnTo>
                    <a:pt x="57653" y="55572"/>
                  </a:lnTo>
                  <a:lnTo>
                    <a:pt x="57653" y="56488"/>
                  </a:lnTo>
                  <a:lnTo>
                    <a:pt x="57653" y="56488"/>
                  </a:lnTo>
                  <a:lnTo>
                    <a:pt x="56983" y="56488"/>
                  </a:lnTo>
                  <a:lnTo>
                    <a:pt x="56983" y="56488"/>
                  </a:lnTo>
                  <a:lnTo>
                    <a:pt x="56983" y="57099"/>
                  </a:lnTo>
                  <a:lnTo>
                    <a:pt x="57653" y="57099"/>
                  </a:lnTo>
                  <a:lnTo>
                    <a:pt x="58324" y="57099"/>
                  </a:lnTo>
                  <a:lnTo>
                    <a:pt x="58324" y="57099"/>
                  </a:lnTo>
                  <a:lnTo>
                    <a:pt x="58324" y="57099"/>
                  </a:lnTo>
                  <a:lnTo>
                    <a:pt x="59329" y="56488"/>
                  </a:lnTo>
                  <a:lnTo>
                    <a:pt x="60000" y="56488"/>
                  </a:lnTo>
                  <a:lnTo>
                    <a:pt x="60000" y="56488"/>
                  </a:lnTo>
                  <a:lnTo>
                    <a:pt x="61005" y="56488"/>
                  </a:lnTo>
                  <a:lnTo>
                    <a:pt x="61675" y="56488"/>
                  </a:lnTo>
                  <a:lnTo>
                    <a:pt x="61675" y="55572"/>
                  </a:lnTo>
                  <a:lnTo>
                    <a:pt x="61675" y="55572"/>
                  </a:lnTo>
                  <a:lnTo>
                    <a:pt x="62346" y="55572"/>
                  </a:lnTo>
                  <a:close/>
                  <a:moveTo>
                    <a:pt x="115307" y="51908"/>
                  </a:moveTo>
                  <a:lnTo>
                    <a:pt x="114636" y="52824"/>
                  </a:lnTo>
                  <a:lnTo>
                    <a:pt x="114636" y="52824"/>
                  </a:lnTo>
                  <a:lnTo>
                    <a:pt x="114636" y="52824"/>
                  </a:lnTo>
                  <a:lnTo>
                    <a:pt x="115307" y="52824"/>
                  </a:lnTo>
                  <a:lnTo>
                    <a:pt x="116312" y="52824"/>
                  </a:lnTo>
                  <a:lnTo>
                    <a:pt x="116312" y="52824"/>
                  </a:lnTo>
                  <a:lnTo>
                    <a:pt x="115307" y="51908"/>
                  </a:lnTo>
                  <a:lnTo>
                    <a:pt x="115307" y="51908"/>
                  </a:lnTo>
                  <a:close/>
                  <a:moveTo>
                    <a:pt x="73407" y="50687"/>
                  </a:moveTo>
                  <a:lnTo>
                    <a:pt x="72737" y="50687"/>
                  </a:lnTo>
                  <a:lnTo>
                    <a:pt x="72737" y="51297"/>
                  </a:lnTo>
                  <a:lnTo>
                    <a:pt x="72737" y="51297"/>
                  </a:lnTo>
                  <a:lnTo>
                    <a:pt x="72737" y="51297"/>
                  </a:lnTo>
                  <a:lnTo>
                    <a:pt x="73407" y="51297"/>
                  </a:lnTo>
                  <a:lnTo>
                    <a:pt x="73407" y="51297"/>
                  </a:lnTo>
                  <a:lnTo>
                    <a:pt x="73407" y="51297"/>
                  </a:lnTo>
                  <a:lnTo>
                    <a:pt x="74413" y="51297"/>
                  </a:lnTo>
                  <a:lnTo>
                    <a:pt x="74413" y="51297"/>
                  </a:lnTo>
                  <a:lnTo>
                    <a:pt x="74413" y="50687"/>
                  </a:lnTo>
                  <a:lnTo>
                    <a:pt x="74413" y="50687"/>
                  </a:lnTo>
                  <a:lnTo>
                    <a:pt x="73407" y="50687"/>
                  </a:lnTo>
                  <a:close/>
                  <a:moveTo>
                    <a:pt x="63351" y="54351"/>
                  </a:moveTo>
                  <a:lnTo>
                    <a:pt x="64022" y="54351"/>
                  </a:lnTo>
                  <a:lnTo>
                    <a:pt x="65698" y="54351"/>
                  </a:lnTo>
                  <a:lnTo>
                    <a:pt x="65698" y="54351"/>
                  </a:lnTo>
                  <a:lnTo>
                    <a:pt x="65698" y="53435"/>
                  </a:lnTo>
                  <a:lnTo>
                    <a:pt x="66368" y="53435"/>
                  </a:lnTo>
                  <a:lnTo>
                    <a:pt x="66368" y="52824"/>
                  </a:lnTo>
                  <a:lnTo>
                    <a:pt x="67039" y="52824"/>
                  </a:lnTo>
                  <a:lnTo>
                    <a:pt x="67039" y="52824"/>
                  </a:lnTo>
                  <a:lnTo>
                    <a:pt x="68044" y="52824"/>
                  </a:lnTo>
                  <a:lnTo>
                    <a:pt x="68715" y="51908"/>
                  </a:lnTo>
                  <a:lnTo>
                    <a:pt x="68715" y="51908"/>
                  </a:lnTo>
                  <a:lnTo>
                    <a:pt x="69385" y="51908"/>
                  </a:lnTo>
                  <a:lnTo>
                    <a:pt x="68715" y="51297"/>
                  </a:lnTo>
                  <a:lnTo>
                    <a:pt x="68715" y="51297"/>
                  </a:lnTo>
                  <a:lnTo>
                    <a:pt x="68044" y="51908"/>
                  </a:lnTo>
                  <a:lnTo>
                    <a:pt x="68044" y="51908"/>
                  </a:lnTo>
                  <a:lnTo>
                    <a:pt x="67039" y="51297"/>
                  </a:lnTo>
                  <a:lnTo>
                    <a:pt x="67039" y="50687"/>
                  </a:lnTo>
                  <a:lnTo>
                    <a:pt x="67039" y="50687"/>
                  </a:lnTo>
                  <a:lnTo>
                    <a:pt x="67039" y="50687"/>
                  </a:lnTo>
                  <a:lnTo>
                    <a:pt x="66368" y="50687"/>
                  </a:lnTo>
                  <a:lnTo>
                    <a:pt x="66368" y="51297"/>
                  </a:lnTo>
                  <a:lnTo>
                    <a:pt x="66368" y="51297"/>
                  </a:lnTo>
                  <a:lnTo>
                    <a:pt x="66368" y="51297"/>
                  </a:lnTo>
                  <a:lnTo>
                    <a:pt x="66368" y="51297"/>
                  </a:lnTo>
                  <a:lnTo>
                    <a:pt x="65698" y="51908"/>
                  </a:lnTo>
                  <a:lnTo>
                    <a:pt x="65698" y="51908"/>
                  </a:lnTo>
                  <a:lnTo>
                    <a:pt x="64692" y="52824"/>
                  </a:lnTo>
                  <a:lnTo>
                    <a:pt x="64692" y="52824"/>
                  </a:lnTo>
                  <a:lnTo>
                    <a:pt x="64692" y="52824"/>
                  </a:lnTo>
                  <a:lnTo>
                    <a:pt x="64692" y="52824"/>
                  </a:lnTo>
                  <a:lnTo>
                    <a:pt x="64692" y="52824"/>
                  </a:lnTo>
                  <a:lnTo>
                    <a:pt x="64692" y="52824"/>
                  </a:lnTo>
                  <a:lnTo>
                    <a:pt x="64022" y="52824"/>
                  </a:lnTo>
                  <a:lnTo>
                    <a:pt x="64022" y="52824"/>
                  </a:lnTo>
                  <a:lnTo>
                    <a:pt x="63351" y="52824"/>
                  </a:lnTo>
                  <a:lnTo>
                    <a:pt x="63351" y="53435"/>
                  </a:lnTo>
                  <a:lnTo>
                    <a:pt x="63351" y="53435"/>
                  </a:lnTo>
                  <a:lnTo>
                    <a:pt x="63351" y="53435"/>
                  </a:lnTo>
                  <a:lnTo>
                    <a:pt x="63351" y="53435"/>
                  </a:lnTo>
                  <a:lnTo>
                    <a:pt x="62346" y="53435"/>
                  </a:lnTo>
                  <a:lnTo>
                    <a:pt x="62346" y="54351"/>
                  </a:lnTo>
                  <a:lnTo>
                    <a:pt x="62346" y="54351"/>
                  </a:lnTo>
                  <a:lnTo>
                    <a:pt x="63351" y="54351"/>
                  </a:lnTo>
                  <a:close/>
                  <a:moveTo>
                    <a:pt x="69385" y="51297"/>
                  </a:moveTo>
                  <a:lnTo>
                    <a:pt x="69385" y="51297"/>
                  </a:lnTo>
                  <a:lnTo>
                    <a:pt x="70391" y="51297"/>
                  </a:lnTo>
                  <a:lnTo>
                    <a:pt x="71061" y="51297"/>
                  </a:lnTo>
                  <a:lnTo>
                    <a:pt x="71061" y="51297"/>
                  </a:lnTo>
                  <a:lnTo>
                    <a:pt x="71061" y="51297"/>
                  </a:lnTo>
                  <a:lnTo>
                    <a:pt x="71061" y="51297"/>
                  </a:lnTo>
                  <a:lnTo>
                    <a:pt x="70391" y="50687"/>
                  </a:lnTo>
                  <a:lnTo>
                    <a:pt x="70391" y="50687"/>
                  </a:lnTo>
                  <a:lnTo>
                    <a:pt x="70391" y="50687"/>
                  </a:lnTo>
                  <a:lnTo>
                    <a:pt x="69385" y="50687"/>
                  </a:lnTo>
                  <a:lnTo>
                    <a:pt x="69385" y="50687"/>
                  </a:lnTo>
                  <a:lnTo>
                    <a:pt x="68715" y="50687"/>
                  </a:lnTo>
                  <a:lnTo>
                    <a:pt x="68715" y="50687"/>
                  </a:lnTo>
                  <a:lnTo>
                    <a:pt x="69385" y="50687"/>
                  </a:lnTo>
                  <a:lnTo>
                    <a:pt x="69385" y="51297"/>
                  </a:lnTo>
                  <a:close/>
                  <a:moveTo>
                    <a:pt x="86815" y="49160"/>
                  </a:moveTo>
                  <a:lnTo>
                    <a:pt x="86815" y="49160"/>
                  </a:lnTo>
                  <a:lnTo>
                    <a:pt x="86815" y="49160"/>
                  </a:lnTo>
                  <a:lnTo>
                    <a:pt x="86815" y="48549"/>
                  </a:lnTo>
                  <a:lnTo>
                    <a:pt x="86145" y="48549"/>
                  </a:lnTo>
                  <a:lnTo>
                    <a:pt x="85474" y="49160"/>
                  </a:lnTo>
                  <a:lnTo>
                    <a:pt x="84469" y="49160"/>
                  </a:lnTo>
                  <a:lnTo>
                    <a:pt x="83798" y="49160"/>
                  </a:lnTo>
                  <a:lnTo>
                    <a:pt x="83798" y="49160"/>
                  </a:lnTo>
                  <a:lnTo>
                    <a:pt x="83798" y="49770"/>
                  </a:lnTo>
                  <a:lnTo>
                    <a:pt x="83798" y="49770"/>
                  </a:lnTo>
                  <a:lnTo>
                    <a:pt x="83798" y="49770"/>
                  </a:lnTo>
                  <a:lnTo>
                    <a:pt x="84469" y="49770"/>
                  </a:lnTo>
                  <a:lnTo>
                    <a:pt x="84469" y="49770"/>
                  </a:lnTo>
                  <a:lnTo>
                    <a:pt x="84469" y="49770"/>
                  </a:lnTo>
                  <a:lnTo>
                    <a:pt x="84469" y="50687"/>
                  </a:lnTo>
                  <a:lnTo>
                    <a:pt x="85474" y="49770"/>
                  </a:lnTo>
                  <a:lnTo>
                    <a:pt x="85474" y="49770"/>
                  </a:lnTo>
                  <a:lnTo>
                    <a:pt x="85474" y="49770"/>
                  </a:lnTo>
                  <a:lnTo>
                    <a:pt x="86815" y="49770"/>
                  </a:lnTo>
                  <a:lnTo>
                    <a:pt x="86815" y="49160"/>
                  </a:lnTo>
                  <a:close/>
                  <a:moveTo>
                    <a:pt x="86815" y="49160"/>
                  </a:moveTo>
                  <a:lnTo>
                    <a:pt x="87821" y="49160"/>
                  </a:lnTo>
                  <a:lnTo>
                    <a:pt x="88491" y="48549"/>
                  </a:lnTo>
                  <a:lnTo>
                    <a:pt x="88491" y="48549"/>
                  </a:lnTo>
                  <a:lnTo>
                    <a:pt x="88491" y="48549"/>
                  </a:lnTo>
                  <a:lnTo>
                    <a:pt x="87821" y="47633"/>
                  </a:lnTo>
                  <a:lnTo>
                    <a:pt x="87821" y="47633"/>
                  </a:lnTo>
                  <a:lnTo>
                    <a:pt x="87821" y="47633"/>
                  </a:lnTo>
                  <a:lnTo>
                    <a:pt x="86815" y="47633"/>
                  </a:lnTo>
                  <a:lnTo>
                    <a:pt x="86815" y="48549"/>
                  </a:lnTo>
                  <a:lnTo>
                    <a:pt x="86815" y="48549"/>
                  </a:lnTo>
                  <a:lnTo>
                    <a:pt x="86815" y="49160"/>
                  </a:lnTo>
                  <a:close/>
                  <a:moveTo>
                    <a:pt x="80446" y="49160"/>
                  </a:moveTo>
                  <a:lnTo>
                    <a:pt x="81452" y="49160"/>
                  </a:lnTo>
                  <a:lnTo>
                    <a:pt x="81452" y="49160"/>
                  </a:lnTo>
                  <a:lnTo>
                    <a:pt x="82122" y="49160"/>
                  </a:lnTo>
                  <a:lnTo>
                    <a:pt x="82122" y="49160"/>
                  </a:lnTo>
                  <a:lnTo>
                    <a:pt x="82122" y="49160"/>
                  </a:lnTo>
                  <a:lnTo>
                    <a:pt x="83128" y="49160"/>
                  </a:lnTo>
                  <a:lnTo>
                    <a:pt x="83798" y="49160"/>
                  </a:lnTo>
                  <a:lnTo>
                    <a:pt x="83798" y="48549"/>
                  </a:lnTo>
                  <a:lnTo>
                    <a:pt x="84469" y="48549"/>
                  </a:lnTo>
                  <a:lnTo>
                    <a:pt x="85474" y="47633"/>
                  </a:lnTo>
                  <a:lnTo>
                    <a:pt x="85474" y="47633"/>
                  </a:lnTo>
                  <a:lnTo>
                    <a:pt x="85474" y="47633"/>
                  </a:lnTo>
                  <a:lnTo>
                    <a:pt x="86145" y="47633"/>
                  </a:lnTo>
                  <a:lnTo>
                    <a:pt x="85474" y="47022"/>
                  </a:lnTo>
                  <a:lnTo>
                    <a:pt x="85474" y="47633"/>
                  </a:lnTo>
                  <a:lnTo>
                    <a:pt x="84469" y="47633"/>
                  </a:lnTo>
                  <a:lnTo>
                    <a:pt x="83798" y="47633"/>
                  </a:lnTo>
                  <a:lnTo>
                    <a:pt x="83128" y="47633"/>
                  </a:lnTo>
                  <a:lnTo>
                    <a:pt x="82122" y="48549"/>
                  </a:lnTo>
                  <a:lnTo>
                    <a:pt x="81452" y="47633"/>
                  </a:lnTo>
                  <a:lnTo>
                    <a:pt x="81452" y="48549"/>
                  </a:lnTo>
                  <a:lnTo>
                    <a:pt x="80446" y="48549"/>
                  </a:lnTo>
                  <a:lnTo>
                    <a:pt x="80446" y="48549"/>
                  </a:lnTo>
                  <a:lnTo>
                    <a:pt x="79776" y="48549"/>
                  </a:lnTo>
                  <a:lnTo>
                    <a:pt x="79776" y="48549"/>
                  </a:lnTo>
                  <a:lnTo>
                    <a:pt x="80446" y="49160"/>
                  </a:lnTo>
                  <a:close/>
                  <a:moveTo>
                    <a:pt x="120000" y="53435"/>
                  </a:moveTo>
                  <a:lnTo>
                    <a:pt x="120000" y="52824"/>
                  </a:lnTo>
                  <a:lnTo>
                    <a:pt x="119329" y="52824"/>
                  </a:lnTo>
                  <a:lnTo>
                    <a:pt x="118659" y="52824"/>
                  </a:lnTo>
                  <a:lnTo>
                    <a:pt x="117653" y="52824"/>
                  </a:lnTo>
                  <a:lnTo>
                    <a:pt x="117653" y="53435"/>
                  </a:lnTo>
                  <a:lnTo>
                    <a:pt x="117653" y="53435"/>
                  </a:lnTo>
                  <a:lnTo>
                    <a:pt x="117653" y="52824"/>
                  </a:lnTo>
                  <a:lnTo>
                    <a:pt x="116983" y="52824"/>
                  </a:lnTo>
                  <a:lnTo>
                    <a:pt x="116983" y="52824"/>
                  </a:lnTo>
                  <a:lnTo>
                    <a:pt x="116983" y="53435"/>
                  </a:lnTo>
                  <a:lnTo>
                    <a:pt x="116312" y="53435"/>
                  </a:lnTo>
                  <a:lnTo>
                    <a:pt x="116312" y="53435"/>
                  </a:lnTo>
                  <a:lnTo>
                    <a:pt x="115307" y="53435"/>
                  </a:lnTo>
                  <a:lnTo>
                    <a:pt x="114636" y="53435"/>
                  </a:lnTo>
                  <a:lnTo>
                    <a:pt x="114636" y="52824"/>
                  </a:lnTo>
                  <a:lnTo>
                    <a:pt x="114636" y="52824"/>
                  </a:lnTo>
                  <a:lnTo>
                    <a:pt x="113631" y="52824"/>
                  </a:lnTo>
                  <a:lnTo>
                    <a:pt x="113631" y="51908"/>
                  </a:lnTo>
                  <a:lnTo>
                    <a:pt x="113631" y="51908"/>
                  </a:lnTo>
                  <a:lnTo>
                    <a:pt x="110614" y="51297"/>
                  </a:lnTo>
                  <a:lnTo>
                    <a:pt x="109944" y="51297"/>
                  </a:lnTo>
                  <a:lnTo>
                    <a:pt x="115307" y="51297"/>
                  </a:lnTo>
                  <a:lnTo>
                    <a:pt x="116983" y="51297"/>
                  </a:lnTo>
                  <a:lnTo>
                    <a:pt x="117653" y="50687"/>
                  </a:lnTo>
                  <a:lnTo>
                    <a:pt x="119329" y="50687"/>
                  </a:lnTo>
                  <a:lnTo>
                    <a:pt x="119329" y="49770"/>
                  </a:lnTo>
                  <a:lnTo>
                    <a:pt x="119329" y="49770"/>
                  </a:lnTo>
                  <a:lnTo>
                    <a:pt x="117653" y="49160"/>
                  </a:lnTo>
                  <a:lnTo>
                    <a:pt x="116983" y="49160"/>
                  </a:lnTo>
                  <a:lnTo>
                    <a:pt x="116312" y="49160"/>
                  </a:lnTo>
                  <a:lnTo>
                    <a:pt x="116312" y="49160"/>
                  </a:lnTo>
                  <a:lnTo>
                    <a:pt x="116312" y="48549"/>
                  </a:lnTo>
                  <a:lnTo>
                    <a:pt x="115307" y="47633"/>
                  </a:lnTo>
                  <a:lnTo>
                    <a:pt x="114636" y="48549"/>
                  </a:lnTo>
                  <a:lnTo>
                    <a:pt x="113631" y="48549"/>
                  </a:lnTo>
                  <a:lnTo>
                    <a:pt x="113631" y="48549"/>
                  </a:lnTo>
                  <a:lnTo>
                    <a:pt x="113631" y="48549"/>
                  </a:lnTo>
                  <a:lnTo>
                    <a:pt x="112960" y="47633"/>
                  </a:lnTo>
                  <a:lnTo>
                    <a:pt x="112290" y="47633"/>
                  </a:lnTo>
                  <a:lnTo>
                    <a:pt x="112290" y="47633"/>
                  </a:lnTo>
                  <a:lnTo>
                    <a:pt x="111284" y="47633"/>
                  </a:lnTo>
                  <a:lnTo>
                    <a:pt x="110614" y="47022"/>
                  </a:lnTo>
                  <a:lnTo>
                    <a:pt x="109944" y="47022"/>
                  </a:lnTo>
                  <a:lnTo>
                    <a:pt x="108938" y="47022"/>
                  </a:lnTo>
                  <a:lnTo>
                    <a:pt x="108938" y="47633"/>
                  </a:lnTo>
                  <a:lnTo>
                    <a:pt x="108268" y="48549"/>
                  </a:lnTo>
                  <a:lnTo>
                    <a:pt x="108268" y="49160"/>
                  </a:lnTo>
                  <a:lnTo>
                    <a:pt x="107597" y="49160"/>
                  </a:lnTo>
                  <a:lnTo>
                    <a:pt x="107597" y="49770"/>
                  </a:lnTo>
                  <a:lnTo>
                    <a:pt x="107597" y="50687"/>
                  </a:lnTo>
                  <a:lnTo>
                    <a:pt x="107597" y="50687"/>
                  </a:lnTo>
                  <a:lnTo>
                    <a:pt x="107597" y="49770"/>
                  </a:lnTo>
                  <a:lnTo>
                    <a:pt x="107597" y="49160"/>
                  </a:lnTo>
                  <a:lnTo>
                    <a:pt x="107597" y="48549"/>
                  </a:lnTo>
                  <a:lnTo>
                    <a:pt x="107597" y="48549"/>
                  </a:lnTo>
                  <a:lnTo>
                    <a:pt x="106592" y="47633"/>
                  </a:lnTo>
                  <a:lnTo>
                    <a:pt x="105921" y="48549"/>
                  </a:lnTo>
                  <a:lnTo>
                    <a:pt x="105921" y="48549"/>
                  </a:lnTo>
                  <a:lnTo>
                    <a:pt x="105921" y="47633"/>
                  </a:lnTo>
                  <a:lnTo>
                    <a:pt x="107597" y="47633"/>
                  </a:lnTo>
                  <a:lnTo>
                    <a:pt x="107597" y="47633"/>
                  </a:lnTo>
                  <a:lnTo>
                    <a:pt x="107597" y="47022"/>
                  </a:lnTo>
                  <a:lnTo>
                    <a:pt x="107597" y="46412"/>
                  </a:lnTo>
                  <a:lnTo>
                    <a:pt x="106592" y="46412"/>
                  </a:lnTo>
                  <a:lnTo>
                    <a:pt x="105251" y="46412"/>
                  </a:lnTo>
                  <a:lnTo>
                    <a:pt x="104245" y="46412"/>
                  </a:lnTo>
                  <a:lnTo>
                    <a:pt x="104245" y="46412"/>
                  </a:lnTo>
                  <a:lnTo>
                    <a:pt x="102569" y="46412"/>
                  </a:lnTo>
                  <a:lnTo>
                    <a:pt x="102569" y="47022"/>
                  </a:lnTo>
                  <a:lnTo>
                    <a:pt x="102569" y="47022"/>
                  </a:lnTo>
                  <a:lnTo>
                    <a:pt x="104245" y="47633"/>
                  </a:lnTo>
                  <a:lnTo>
                    <a:pt x="104245" y="47633"/>
                  </a:lnTo>
                  <a:lnTo>
                    <a:pt x="102569" y="47633"/>
                  </a:lnTo>
                  <a:lnTo>
                    <a:pt x="102569" y="47633"/>
                  </a:lnTo>
                  <a:lnTo>
                    <a:pt x="102569" y="48549"/>
                  </a:lnTo>
                  <a:lnTo>
                    <a:pt x="101899" y="48549"/>
                  </a:lnTo>
                  <a:lnTo>
                    <a:pt x="101899" y="49160"/>
                  </a:lnTo>
                  <a:lnTo>
                    <a:pt x="100223" y="49770"/>
                  </a:lnTo>
                  <a:lnTo>
                    <a:pt x="100223" y="49770"/>
                  </a:lnTo>
                  <a:lnTo>
                    <a:pt x="100223" y="49160"/>
                  </a:lnTo>
                  <a:lnTo>
                    <a:pt x="100223" y="49160"/>
                  </a:lnTo>
                  <a:lnTo>
                    <a:pt x="100223" y="49160"/>
                  </a:lnTo>
                  <a:lnTo>
                    <a:pt x="100223" y="48549"/>
                  </a:lnTo>
                  <a:lnTo>
                    <a:pt x="99553" y="48549"/>
                  </a:lnTo>
                  <a:lnTo>
                    <a:pt x="100223" y="47633"/>
                  </a:lnTo>
                  <a:lnTo>
                    <a:pt x="100223" y="47022"/>
                  </a:lnTo>
                  <a:lnTo>
                    <a:pt x="100223" y="47022"/>
                  </a:lnTo>
                  <a:lnTo>
                    <a:pt x="99553" y="47022"/>
                  </a:lnTo>
                  <a:lnTo>
                    <a:pt x="97877" y="47633"/>
                  </a:lnTo>
                  <a:lnTo>
                    <a:pt x="97206" y="48549"/>
                  </a:lnTo>
                  <a:lnTo>
                    <a:pt x="94860" y="49770"/>
                  </a:lnTo>
                  <a:lnTo>
                    <a:pt x="94860" y="50687"/>
                  </a:lnTo>
                  <a:lnTo>
                    <a:pt x="94189" y="51297"/>
                  </a:lnTo>
                  <a:lnTo>
                    <a:pt x="93184" y="51297"/>
                  </a:lnTo>
                  <a:lnTo>
                    <a:pt x="93184" y="51297"/>
                  </a:lnTo>
                  <a:lnTo>
                    <a:pt x="93184" y="50687"/>
                  </a:lnTo>
                  <a:lnTo>
                    <a:pt x="94189" y="49770"/>
                  </a:lnTo>
                  <a:lnTo>
                    <a:pt x="94189" y="49160"/>
                  </a:lnTo>
                  <a:lnTo>
                    <a:pt x="94189" y="49160"/>
                  </a:lnTo>
                  <a:lnTo>
                    <a:pt x="94860" y="48549"/>
                  </a:lnTo>
                  <a:lnTo>
                    <a:pt x="95530" y="47633"/>
                  </a:lnTo>
                  <a:lnTo>
                    <a:pt x="96536" y="47633"/>
                  </a:lnTo>
                  <a:lnTo>
                    <a:pt x="96536" y="47022"/>
                  </a:lnTo>
                  <a:lnTo>
                    <a:pt x="95530" y="47022"/>
                  </a:lnTo>
                  <a:lnTo>
                    <a:pt x="95530" y="47022"/>
                  </a:lnTo>
                  <a:lnTo>
                    <a:pt x="94860" y="47022"/>
                  </a:lnTo>
                  <a:lnTo>
                    <a:pt x="94860" y="47022"/>
                  </a:lnTo>
                  <a:lnTo>
                    <a:pt x="94189" y="47022"/>
                  </a:lnTo>
                  <a:lnTo>
                    <a:pt x="94189" y="47022"/>
                  </a:lnTo>
                  <a:lnTo>
                    <a:pt x="94189" y="47022"/>
                  </a:lnTo>
                  <a:lnTo>
                    <a:pt x="93184" y="47022"/>
                  </a:lnTo>
                  <a:lnTo>
                    <a:pt x="92513" y="47022"/>
                  </a:lnTo>
                  <a:lnTo>
                    <a:pt x="91508" y="46412"/>
                  </a:lnTo>
                  <a:lnTo>
                    <a:pt x="91508" y="46412"/>
                  </a:lnTo>
                  <a:lnTo>
                    <a:pt x="90837" y="46412"/>
                  </a:lnTo>
                  <a:lnTo>
                    <a:pt x="90167" y="47022"/>
                  </a:lnTo>
                  <a:lnTo>
                    <a:pt x="89162" y="47633"/>
                  </a:lnTo>
                  <a:lnTo>
                    <a:pt x="89162" y="47633"/>
                  </a:lnTo>
                  <a:lnTo>
                    <a:pt x="90167" y="47633"/>
                  </a:lnTo>
                  <a:lnTo>
                    <a:pt x="90167" y="47633"/>
                  </a:lnTo>
                  <a:lnTo>
                    <a:pt x="90167" y="48549"/>
                  </a:lnTo>
                  <a:lnTo>
                    <a:pt x="89162" y="48549"/>
                  </a:lnTo>
                  <a:lnTo>
                    <a:pt x="88491" y="49160"/>
                  </a:lnTo>
                  <a:lnTo>
                    <a:pt x="87821" y="49160"/>
                  </a:lnTo>
                  <a:lnTo>
                    <a:pt x="86815" y="49770"/>
                  </a:lnTo>
                  <a:lnTo>
                    <a:pt x="86145" y="50687"/>
                  </a:lnTo>
                  <a:lnTo>
                    <a:pt x="85474" y="50687"/>
                  </a:lnTo>
                  <a:lnTo>
                    <a:pt x="85474" y="51297"/>
                  </a:lnTo>
                  <a:lnTo>
                    <a:pt x="85474" y="51297"/>
                  </a:lnTo>
                  <a:lnTo>
                    <a:pt x="86145" y="51908"/>
                  </a:lnTo>
                  <a:lnTo>
                    <a:pt x="86145" y="51908"/>
                  </a:lnTo>
                  <a:lnTo>
                    <a:pt x="85474" y="51908"/>
                  </a:lnTo>
                  <a:lnTo>
                    <a:pt x="85474" y="51297"/>
                  </a:lnTo>
                  <a:lnTo>
                    <a:pt x="84469" y="51297"/>
                  </a:lnTo>
                  <a:lnTo>
                    <a:pt x="83798" y="50687"/>
                  </a:lnTo>
                  <a:lnTo>
                    <a:pt x="83798" y="49770"/>
                  </a:lnTo>
                  <a:lnTo>
                    <a:pt x="83798" y="49770"/>
                  </a:lnTo>
                  <a:lnTo>
                    <a:pt x="83128" y="49770"/>
                  </a:lnTo>
                  <a:lnTo>
                    <a:pt x="81452" y="49770"/>
                  </a:lnTo>
                  <a:lnTo>
                    <a:pt x="81452" y="50687"/>
                  </a:lnTo>
                  <a:lnTo>
                    <a:pt x="81452" y="50687"/>
                  </a:lnTo>
                  <a:lnTo>
                    <a:pt x="80446" y="49770"/>
                  </a:lnTo>
                  <a:lnTo>
                    <a:pt x="79776" y="50687"/>
                  </a:lnTo>
                  <a:lnTo>
                    <a:pt x="79776" y="50687"/>
                  </a:lnTo>
                  <a:lnTo>
                    <a:pt x="79106" y="50687"/>
                  </a:lnTo>
                  <a:lnTo>
                    <a:pt x="77430" y="50687"/>
                  </a:lnTo>
                  <a:lnTo>
                    <a:pt x="76759" y="50687"/>
                  </a:lnTo>
                  <a:lnTo>
                    <a:pt x="76759" y="50687"/>
                  </a:lnTo>
                  <a:lnTo>
                    <a:pt x="77430" y="50687"/>
                  </a:lnTo>
                  <a:lnTo>
                    <a:pt x="78100" y="51297"/>
                  </a:lnTo>
                  <a:lnTo>
                    <a:pt x="79106" y="51297"/>
                  </a:lnTo>
                  <a:lnTo>
                    <a:pt x="79106" y="51908"/>
                  </a:lnTo>
                  <a:lnTo>
                    <a:pt x="79776" y="52824"/>
                  </a:lnTo>
                  <a:lnTo>
                    <a:pt x="79776" y="52824"/>
                  </a:lnTo>
                  <a:lnTo>
                    <a:pt x="79106" y="52824"/>
                  </a:lnTo>
                  <a:lnTo>
                    <a:pt x="78100" y="51908"/>
                  </a:lnTo>
                  <a:lnTo>
                    <a:pt x="77430" y="51908"/>
                  </a:lnTo>
                  <a:lnTo>
                    <a:pt x="76759" y="51908"/>
                  </a:lnTo>
                  <a:lnTo>
                    <a:pt x="75754" y="52824"/>
                  </a:lnTo>
                  <a:lnTo>
                    <a:pt x="75754" y="52824"/>
                  </a:lnTo>
                  <a:lnTo>
                    <a:pt x="75083" y="51908"/>
                  </a:lnTo>
                  <a:lnTo>
                    <a:pt x="75083" y="51908"/>
                  </a:lnTo>
                  <a:lnTo>
                    <a:pt x="73407" y="51908"/>
                  </a:lnTo>
                  <a:lnTo>
                    <a:pt x="73407" y="52824"/>
                  </a:lnTo>
                  <a:lnTo>
                    <a:pt x="73407" y="53435"/>
                  </a:lnTo>
                  <a:lnTo>
                    <a:pt x="73407" y="53435"/>
                  </a:lnTo>
                  <a:lnTo>
                    <a:pt x="74413" y="54351"/>
                  </a:lnTo>
                  <a:lnTo>
                    <a:pt x="74413" y="54351"/>
                  </a:lnTo>
                  <a:lnTo>
                    <a:pt x="74413" y="54351"/>
                  </a:lnTo>
                  <a:lnTo>
                    <a:pt x="73407" y="54351"/>
                  </a:lnTo>
                  <a:lnTo>
                    <a:pt x="72067" y="54961"/>
                  </a:lnTo>
                  <a:lnTo>
                    <a:pt x="72067" y="55572"/>
                  </a:lnTo>
                  <a:lnTo>
                    <a:pt x="71061" y="55572"/>
                  </a:lnTo>
                  <a:lnTo>
                    <a:pt x="71061" y="55572"/>
                  </a:lnTo>
                  <a:lnTo>
                    <a:pt x="72737" y="54351"/>
                  </a:lnTo>
                  <a:lnTo>
                    <a:pt x="72737" y="54351"/>
                  </a:lnTo>
                  <a:lnTo>
                    <a:pt x="72737" y="53435"/>
                  </a:lnTo>
                  <a:lnTo>
                    <a:pt x="72737" y="52824"/>
                  </a:lnTo>
                  <a:lnTo>
                    <a:pt x="72737" y="51908"/>
                  </a:lnTo>
                  <a:lnTo>
                    <a:pt x="72737" y="51908"/>
                  </a:lnTo>
                  <a:lnTo>
                    <a:pt x="72067" y="51908"/>
                  </a:lnTo>
                  <a:lnTo>
                    <a:pt x="72067" y="51908"/>
                  </a:lnTo>
                  <a:lnTo>
                    <a:pt x="71061" y="52824"/>
                  </a:lnTo>
                  <a:lnTo>
                    <a:pt x="71061" y="52824"/>
                  </a:lnTo>
                  <a:lnTo>
                    <a:pt x="70391" y="53435"/>
                  </a:lnTo>
                  <a:lnTo>
                    <a:pt x="70391" y="54351"/>
                  </a:lnTo>
                  <a:lnTo>
                    <a:pt x="69385" y="54961"/>
                  </a:lnTo>
                  <a:lnTo>
                    <a:pt x="69385" y="54351"/>
                  </a:lnTo>
                  <a:lnTo>
                    <a:pt x="69385" y="54351"/>
                  </a:lnTo>
                  <a:lnTo>
                    <a:pt x="69385" y="52824"/>
                  </a:lnTo>
                  <a:lnTo>
                    <a:pt x="69385" y="52824"/>
                  </a:lnTo>
                  <a:lnTo>
                    <a:pt x="67039" y="53435"/>
                  </a:lnTo>
                  <a:lnTo>
                    <a:pt x="66368" y="53435"/>
                  </a:lnTo>
                  <a:lnTo>
                    <a:pt x="66368" y="53435"/>
                  </a:lnTo>
                  <a:lnTo>
                    <a:pt x="66368" y="54351"/>
                  </a:lnTo>
                  <a:lnTo>
                    <a:pt x="66368" y="54351"/>
                  </a:lnTo>
                  <a:lnTo>
                    <a:pt x="66368" y="54351"/>
                  </a:lnTo>
                  <a:lnTo>
                    <a:pt x="65698" y="54351"/>
                  </a:lnTo>
                  <a:lnTo>
                    <a:pt x="64692" y="54351"/>
                  </a:lnTo>
                  <a:lnTo>
                    <a:pt x="64692" y="54351"/>
                  </a:lnTo>
                  <a:lnTo>
                    <a:pt x="64692" y="54961"/>
                  </a:lnTo>
                  <a:lnTo>
                    <a:pt x="65698" y="54961"/>
                  </a:lnTo>
                  <a:lnTo>
                    <a:pt x="66368" y="55572"/>
                  </a:lnTo>
                  <a:lnTo>
                    <a:pt x="66368" y="55572"/>
                  </a:lnTo>
                  <a:lnTo>
                    <a:pt x="64692" y="55572"/>
                  </a:lnTo>
                  <a:lnTo>
                    <a:pt x="64022" y="54961"/>
                  </a:lnTo>
                  <a:lnTo>
                    <a:pt x="64022" y="54961"/>
                  </a:lnTo>
                  <a:lnTo>
                    <a:pt x="63351" y="54961"/>
                  </a:lnTo>
                  <a:lnTo>
                    <a:pt x="63351" y="54961"/>
                  </a:lnTo>
                  <a:lnTo>
                    <a:pt x="63351" y="54961"/>
                  </a:lnTo>
                  <a:lnTo>
                    <a:pt x="62346" y="55572"/>
                  </a:lnTo>
                  <a:lnTo>
                    <a:pt x="62346" y="55572"/>
                  </a:lnTo>
                  <a:lnTo>
                    <a:pt x="62346" y="56488"/>
                  </a:lnTo>
                  <a:lnTo>
                    <a:pt x="62346" y="56488"/>
                  </a:lnTo>
                  <a:lnTo>
                    <a:pt x="61005" y="56488"/>
                  </a:lnTo>
                  <a:lnTo>
                    <a:pt x="60000" y="57099"/>
                  </a:lnTo>
                  <a:lnTo>
                    <a:pt x="60000" y="57709"/>
                  </a:lnTo>
                  <a:lnTo>
                    <a:pt x="59329" y="58625"/>
                  </a:lnTo>
                  <a:lnTo>
                    <a:pt x="58324" y="58625"/>
                  </a:lnTo>
                  <a:lnTo>
                    <a:pt x="57653" y="59236"/>
                  </a:lnTo>
                  <a:lnTo>
                    <a:pt x="55977" y="59236"/>
                  </a:lnTo>
                  <a:lnTo>
                    <a:pt x="55977" y="59236"/>
                  </a:lnTo>
                  <a:lnTo>
                    <a:pt x="55977" y="59847"/>
                  </a:lnTo>
                  <a:lnTo>
                    <a:pt x="55977" y="59847"/>
                  </a:lnTo>
                  <a:lnTo>
                    <a:pt x="55977" y="59847"/>
                  </a:lnTo>
                  <a:lnTo>
                    <a:pt x="59329" y="59847"/>
                  </a:lnTo>
                  <a:lnTo>
                    <a:pt x="60000" y="59847"/>
                  </a:lnTo>
                  <a:lnTo>
                    <a:pt x="60000" y="59847"/>
                  </a:lnTo>
                  <a:lnTo>
                    <a:pt x="60000" y="59847"/>
                  </a:lnTo>
                  <a:lnTo>
                    <a:pt x="61005" y="59847"/>
                  </a:lnTo>
                  <a:lnTo>
                    <a:pt x="61005" y="60763"/>
                  </a:lnTo>
                  <a:lnTo>
                    <a:pt x="60000" y="60763"/>
                  </a:lnTo>
                  <a:lnTo>
                    <a:pt x="59329" y="60763"/>
                  </a:lnTo>
                  <a:lnTo>
                    <a:pt x="58324" y="60763"/>
                  </a:lnTo>
                  <a:lnTo>
                    <a:pt x="57653" y="60763"/>
                  </a:lnTo>
                  <a:lnTo>
                    <a:pt x="57653" y="60763"/>
                  </a:lnTo>
                  <a:lnTo>
                    <a:pt x="55977" y="60763"/>
                  </a:lnTo>
                  <a:lnTo>
                    <a:pt x="55307" y="60763"/>
                  </a:lnTo>
                  <a:lnTo>
                    <a:pt x="54636" y="60763"/>
                  </a:lnTo>
                  <a:lnTo>
                    <a:pt x="54636" y="61374"/>
                  </a:lnTo>
                  <a:lnTo>
                    <a:pt x="54636" y="62290"/>
                  </a:lnTo>
                  <a:lnTo>
                    <a:pt x="55307" y="62290"/>
                  </a:lnTo>
                  <a:lnTo>
                    <a:pt x="55307" y="62290"/>
                  </a:lnTo>
                  <a:lnTo>
                    <a:pt x="55307" y="62290"/>
                  </a:lnTo>
                  <a:lnTo>
                    <a:pt x="55307" y="62290"/>
                  </a:lnTo>
                  <a:lnTo>
                    <a:pt x="54636" y="62900"/>
                  </a:lnTo>
                  <a:lnTo>
                    <a:pt x="55307" y="63511"/>
                  </a:lnTo>
                  <a:lnTo>
                    <a:pt x="54636" y="63511"/>
                  </a:lnTo>
                  <a:lnTo>
                    <a:pt x="53631" y="62900"/>
                  </a:lnTo>
                  <a:lnTo>
                    <a:pt x="53631" y="61374"/>
                  </a:lnTo>
                  <a:lnTo>
                    <a:pt x="53631" y="61374"/>
                  </a:lnTo>
                  <a:lnTo>
                    <a:pt x="53631" y="61374"/>
                  </a:lnTo>
                  <a:lnTo>
                    <a:pt x="52960" y="61374"/>
                  </a:lnTo>
                  <a:lnTo>
                    <a:pt x="52290" y="62290"/>
                  </a:lnTo>
                  <a:lnTo>
                    <a:pt x="51284" y="62290"/>
                  </a:lnTo>
                  <a:lnTo>
                    <a:pt x="50614" y="62290"/>
                  </a:lnTo>
                  <a:lnTo>
                    <a:pt x="50614" y="62290"/>
                  </a:lnTo>
                  <a:lnTo>
                    <a:pt x="50614" y="62900"/>
                  </a:lnTo>
                  <a:lnTo>
                    <a:pt x="51284" y="62900"/>
                  </a:lnTo>
                  <a:lnTo>
                    <a:pt x="52290" y="62900"/>
                  </a:lnTo>
                  <a:lnTo>
                    <a:pt x="51284" y="62900"/>
                  </a:lnTo>
                  <a:lnTo>
                    <a:pt x="50614" y="62900"/>
                  </a:lnTo>
                  <a:lnTo>
                    <a:pt x="50614" y="62900"/>
                  </a:lnTo>
                  <a:lnTo>
                    <a:pt x="49944" y="62900"/>
                  </a:lnTo>
                  <a:lnTo>
                    <a:pt x="48938" y="62900"/>
                  </a:lnTo>
                  <a:lnTo>
                    <a:pt x="48268" y="63511"/>
                  </a:lnTo>
                  <a:lnTo>
                    <a:pt x="48268" y="64427"/>
                  </a:lnTo>
                  <a:lnTo>
                    <a:pt x="48268" y="64427"/>
                  </a:lnTo>
                  <a:lnTo>
                    <a:pt x="48268" y="64427"/>
                  </a:lnTo>
                  <a:lnTo>
                    <a:pt x="48938" y="64427"/>
                  </a:lnTo>
                  <a:lnTo>
                    <a:pt x="50614" y="64427"/>
                  </a:lnTo>
                  <a:lnTo>
                    <a:pt x="50614" y="64427"/>
                  </a:lnTo>
                  <a:lnTo>
                    <a:pt x="50614" y="64427"/>
                  </a:lnTo>
                  <a:lnTo>
                    <a:pt x="49944" y="64427"/>
                  </a:lnTo>
                  <a:lnTo>
                    <a:pt x="49944" y="65038"/>
                  </a:lnTo>
                  <a:lnTo>
                    <a:pt x="50614" y="65038"/>
                  </a:lnTo>
                  <a:lnTo>
                    <a:pt x="51284" y="65038"/>
                  </a:lnTo>
                  <a:lnTo>
                    <a:pt x="52290" y="65038"/>
                  </a:lnTo>
                  <a:lnTo>
                    <a:pt x="52290" y="65038"/>
                  </a:lnTo>
                  <a:lnTo>
                    <a:pt x="51284" y="65648"/>
                  </a:lnTo>
                  <a:lnTo>
                    <a:pt x="52290" y="66564"/>
                  </a:lnTo>
                  <a:lnTo>
                    <a:pt x="51284" y="66564"/>
                  </a:lnTo>
                  <a:lnTo>
                    <a:pt x="51284" y="65648"/>
                  </a:lnTo>
                  <a:lnTo>
                    <a:pt x="50614" y="65648"/>
                  </a:lnTo>
                  <a:lnTo>
                    <a:pt x="50614" y="65648"/>
                  </a:lnTo>
                  <a:lnTo>
                    <a:pt x="49944" y="65038"/>
                  </a:lnTo>
                  <a:lnTo>
                    <a:pt x="48938" y="65038"/>
                  </a:lnTo>
                  <a:lnTo>
                    <a:pt x="48268" y="65648"/>
                  </a:lnTo>
                  <a:lnTo>
                    <a:pt x="47262" y="65648"/>
                  </a:lnTo>
                  <a:lnTo>
                    <a:pt x="46592" y="66564"/>
                  </a:lnTo>
                  <a:lnTo>
                    <a:pt x="46592" y="66564"/>
                  </a:lnTo>
                  <a:lnTo>
                    <a:pt x="46592" y="66564"/>
                  </a:lnTo>
                  <a:lnTo>
                    <a:pt x="46592" y="66564"/>
                  </a:lnTo>
                  <a:lnTo>
                    <a:pt x="47262" y="66564"/>
                  </a:lnTo>
                  <a:lnTo>
                    <a:pt x="48268" y="66564"/>
                  </a:lnTo>
                  <a:lnTo>
                    <a:pt x="50614" y="66564"/>
                  </a:lnTo>
                  <a:lnTo>
                    <a:pt x="51284" y="67175"/>
                  </a:lnTo>
                  <a:lnTo>
                    <a:pt x="51284" y="67175"/>
                  </a:lnTo>
                  <a:lnTo>
                    <a:pt x="48268" y="67175"/>
                  </a:lnTo>
                  <a:lnTo>
                    <a:pt x="47262" y="67175"/>
                  </a:lnTo>
                  <a:lnTo>
                    <a:pt x="46592" y="67175"/>
                  </a:lnTo>
                  <a:lnTo>
                    <a:pt x="45921" y="67175"/>
                  </a:lnTo>
                  <a:lnTo>
                    <a:pt x="44916" y="67786"/>
                  </a:lnTo>
                  <a:lnTo>
                    <a:pt x="44916" y="67786"/>
                  </a:lnTo>
                  <a:lnTo>
                    <a:pt x="44245" y="67786"/>
                  </a:lnTo>
                  <a:lnTo>
                    <a:pt x="44245" y="68702"/>
                  </a:lnTo>
                  <a:lnTo>
                    <a:pt x="43575" y="68702"/>
                  </a:lnTo>
                  <a:lnTo>
                    <a:pt x="43575" y="68702"/>
                  </a:lnTo>
                  <a:lnTo>
                    <a:pt x="42569" y="68702"/>
                  </a:lnTo>
                  <a:lnTo>
                    <a:pt x="43575" y="69312"/>
                  </a:lnTo>
                  <a:lnTo>
                    <a:pt x="44245" y="69312"/>
                  </a:lnTo>
                  <a:lnTo>
                    <a:pt x="44245" y="69312"/>
                  </a:lnTo>
                  <a:lnTo>
                    <a:pt x="43575" y="69312"/>
                  </a:lnTo>
                  <a:lnTo>
                    <a:pt x="42569" y="69312"/>
                  </a:lnTo>
                  <a:lnTo>
                    <a:pt x="42569" y="69312"/>
                  </a:lnTo>
                  <a:lnTo>
                    <a:pt x="41899" y="70229"/>
                  </a:lnTo>
                  <a:lnTo>
                    <a:pt x="41229" y="70229"/>
                  </a:lnTo>
                  <a:lnTo>
                    <a:pt x="41229" y="70229"/>
                  </a:lnTo>
                  <a:lnTo>
                    <a:pt x="41229" y="70839"/>
                  </a:lnTo>
                  <a:lnTo>
                    <a:pt x="40223" y="70839"/>
                  </a:lnTo>
                  <a:lnTo>
                    <a:pt x="40223" y="71450"/>
                  </a:lnTo>
                  <a:lnTo>
                    <a:pt x="40223" y="72366"/>
                  </a:lnTo>
                  <a:lnTo>
                    <a:pt x="41899" y="72366"/>
                  </a:lnTo>
                  <a:lnTo>
                    <a:pt x="41899" y="72366"/>
                  </a:lnTo>
                  <a:lnTo>
                    <a:pt x="41899" y="72366"/>
                  </a:lnTo>
                  <a:lnTo>
                    <a:pt x="43575" y="72366"/>
                  </a:lnTo>
                  <a:lnTo>
                    <a:pt x="44245" y="72366"/>
                  </a:lnTo>
                  <a:lnTo>
                    <a:pt x="44916" y="72366"/>
                  </a:lnTo>
                  <a:lnTo>
                    <a:pt x="44245" y="72366"/>
                  </a:lnTo>
                  <a:lnTo>
                    <a:pt x="43575" y="72366"/>
                  </a:lnTo>
                  <a:lnTo>
                    <a:pt x="43575" y="72977"/>
                  </a:lnTo>
                  <a:lnTo>
                    <a:pt x="41899" y="72977"/>
                  </a:lnTo>
                  <a:lnTo>
                    <a:pt x="38882" y="72977"/>
                  </a:lnTo>
                  <a:lnTo>
                    <a:pt x="38882" y="73587"/>
                  </a:lnTo>
                  <a:lnTo>
                    <a:pt x="39553" y="73587"/>
                  </a:lnTo>
                  <a:lnTo>
                    <a:pt x="40223" y="74503"/>
                  </a:lnTo>
                  <a:lnTo>
                    <a:pt x="39553" y="74503"/>
                  </a:lnTo>
                  <a:lnTo>
                    <a:pt x="38882" y="74503"/>
                  </a:lnTo>
                  <a:lnTo>
                    <a:pt x="38882" y="74503"/>
                  </a:lnTo>
                  <a:lnTo>
                    <a:pt x="37877" y="75114"/>
                  </a:lnTo>
                  <a:lnTo>
                    <a:pt x="37206" y="75725"/>
                  </a:lnTo>
                  <a:lnTo>
                    <a:pt x="36201" y="76641"/>
                  </a:lnTo>
                  <a:lnTo>
                    <a:pt x="36201" y="76641"/>
                  </a:lnTo>
                  <a:lnTo>
                    <a:pt x="35530" y="77251"/>
                  </a:lnTo>
                  <a:lnTo>
                    <a:pt x="35530" y="78167"/>
                  </a:lnTo>
                  <a:lnTo>
                    <a:pt x="36201" y="78167"/>
                  </a:lnTo>
                  <a:lnTo>
                    <a:pt x="36201" y="78167"/>
                  </a:lnTo>
                  <a:lnTo>
                    <a:pt x="37206" y="78167"/>
                  </a:lnTo>
                  <a:lnTo>
                    <a:pt x="37206" y="78167"/>
                  </a:lnTo>
                  <a:lnTo>
                    <a:pt x="37206" y="78778"/>
                  </a:lnTo>
                  <a:lnTo>
                    <a:pt x="37877" y="78167"/>
                  </a:lnTo>
                  <a:lnTo>
                    <a:pt x="38882" y="78167"/>
                  </a:lnTo>
                  <a:lnTo>
                    <a:pt x="39553" y="78167"/>
                  </a:lnTo>
                  <a:lnTo>
                    <a:pt x="39553" y="77251"/>
                  </a:lnTo>
                  <a:lnTo>
                    <a:pt x="38882" y="78167"/>
                  </a:lnTo>
                  <a:lnTo>
                    <a:pt x="37877" y="78778"/>
                  </a:lnTo>
                  <a:lnTo>
                    <a:pt x="37206" y="78778"/>
                  </a:lnTo>
                  <a:lnTo>
                    <a:pt x="36201" y="78778"/>
                  </a:lnTo>
                  <a:lnTo>
                    <a:pt x="36201" y="78778"/>
                  </a:lnTo>
                  <a:lnTo>
                    <a:pt x="33184" y="79389"/>
                  </a:lnTo>
                  <a:lnTo>
                    <a:pt x="32513" y="80305"/>
                  </a:lnTo>
                  <a:lnTo>
                    <a:pt x="32513" y="80305"/>
                  </a:lnTo>
                  <a:lnTo>
                    <a:pt x="32513" y="80916"/>
                  </a:lnTo>
                  <a:lnTo>
                    <a:pt x="32513" y="80916"/>
                  </a:lnTo>
                  <a:lnTo>
                    <a:pt x="33184" y="80305"/>
                  </a:lnTo>
                  <a:lnTo>
                    <a:pt x="33854" y="80305"/>
                  </a:lnTo>
                  <a:lnTo>
                    <a:pt x="33184" y="80916"/>
                  </a:lnTo>
                  <a:lnTo>
                    <a:pt x="32513" y="80916"/>
                  </a:lnTo>
                  <a:lnTo>
                    <a:pt x="31508" y="81526"/>
                  </a:lnTo>
                  <a:lnTo>
                    <a:pt x="30837" y="81526"/>
                  </a:lnTo>
                  <a:lnTo>
                    <a:pt x="30167" y="81526"/>
                  </a:lnTo>
                  <a:lnTo>
                    <a:pt x="30167" y="82442"/>
                  </a:lnTo>
                  <a:lnTo>
                    <a:pt x="28491" y="83053"/>
                  </a:lnTo>
                  <a:lnTo>
                    <a:pt x="26815" y="83664"/>
                  </a:lnTo>
                  <a:lnTo>
                    <a:pt x="26145" y="84580"/>
                  </a:lnTo>
                  <a:lnTo>
                    <a:pt x="25139" y="85190"/>
                  </a:lnTo>
                  <a:lnTo>
                    <a:pt x="25139" y="86106"/>
                  </a:lnTo>
                  <a:lnTo>
                    <a:pt x="24469" y="86106"/>
                  </a:lnTo>
                  <a:lnTo>
                    <a:pt x="23798" y="86717"/>
                  </a:lnTo>
                  <a:lnTo>
                    <a:pt x="23798" y="86717"/>
                  </a:lnTo>
                  <a:lnTo>
                    <a:pt x="23798" y="86717"/>
                  </a:lnTo>
                  <a:lnTo>
                    <a:pt x="24469" y="86717"/>
                  </a:lnTo>
                  <a:lnTo>
                    <a:pt x="24469" y="86717"/>
                  </a:lnTo>
                  <a:lnTo>
                    <a:pt x="25139" y="87328"/>
                  </a:lnTo>
                  <a:lnTo>
                    <a:pt x="25139" y="87328"/>
                  </a:lnTo>
                  <a:lnTo>
                    <a:pt x="25139" y="88244"/>
                  </a:lnTo>
                  <a:lnTo>
                    <a:pt x="26145" y="88244"/>
                  </a:lnTo>
                  <a:lnTo>
                    <a:pt x="27821" y="87328"/>
                  </a:lnTo>
                  <a:lnTo>
                    <a:pt x="30167" y="86717"/>
                  </a:lnTo>
                  <a:lnTo>
                    <a:pt x="30837" y="86106"/>
                  </a:lnTo>
                  <a:lnTo>
                    <a:pt x="30837" y="86106"/>
                  </a:lnTo>
                  <a:lnTo>
                    <a:pt x="30167" y="86106"/>
                  </a:lnTo>
                  <a:lnTo>
                    <a:pt x="30837" y="85190"/>
                  </a:lnTo>
                  <a:lnTo>
                    <a:pt x="31508" y="85190"/>
                  </a:lnTo>
                  <a:lnTo>
                    <a:pt x="32513" y="84580"/>
                  </a:lnTo>
                  <a:lnTo>
                    <a:pt x="32513" y="85190"/>
                  </a:lnTo>
                  <a:lnTo>
                    <a:pt x="32513" y="85190"/>
                  </a:lnTo>
                  <a:lnTo>
                    <a:pt x="32513" y="85190"/>
                  </a:lnTo>
                  <a:lnTo>
                    <a:pt x="31508" y="86106"/>
                  </a:lnTo>
                  <a:lnTo>
                    <a:pt x="31508" y="86106"/>
                  </a:lnTo>
                  <a:lnTo>
                    <a:pt x="32513" y="86106"/>
                  </a:lnTo>
                  <a:lnTo>
                    <a:pt x="32513" y="86106"/>
                  </a:lnTo>
                  <a:lnTo>
                    <a:pt x="32513" y="86106"/>
                  </a:lnTo>
                  <a:lnTo>
                    <a:pt x="31508" y="86717"/>
                  </a:lnTo>
                  <a:lnTo>
                    <a:pt x="30837" y="86717"/>
                  </a:lnTo>
                  <a:lnTo>
                    <a:pt x="30167" y="86717"/>
                  </a:lnTo>
                  <a:lnTo>
                    <a:pt x="29162" y="87328"/>
                  </a:lnTo>
                  <a:lnTo>
                    <a:pt x="29162" y="87328"/>
                  </a:lnTo>
                  <a:lnTo>
                    <a:pt x="29162" y="87328"/>
                  </a:lnTo>
                  <a:lnTo>
                    <a:pt x="29162" y="88244"/>
                  </a:lnTo>
                  <a:lnTo>
                    <a:pt x="29162" y="88244"/>
                  </a:lnTo>
                  <a:lnTo>
                    <a:pt x="29162" y="88244"/>
                  </a:lnTo>
                  <a:lnTo>
                    <a:pt x="28491" y="88244"/>
                  </a:lnTo>
                  <a:lnTo>
                    <a:pt x="27821" y="88244"/>
                  </a:lnTo>
                  <a:lnTo>
                    <a:pt x="26815" y="88244"/>
                  </a:lnTo>
                  <a:lnTo>
                    <a:pt x="26145" y="88244"/>
                  </a:lnTo>
                  <a:lnTo>
                    <a:pt x="26145" y="88854"/>
                  </a:lnTo>
                  <a:lnTo>
                    <a:pt x="25139" y="88854"/>
                  </a:lnTo>
                  <a:lnTo>
                    <a:pt x="25139" y="88244"/>
                  </a:lnTo>
                  <a:lnTo>
                    <a:pt x="25139" y="88244"/>
                  </a:lnTo>
                  <a:lnTo>
                    <a:pt x="25139" y="88244"/>
                  </a:lnTo>
                  <a:lnTo>
                    <a:pt x="24469" y="87328"/>
                  </a:lnTo>
                  <a:lnTo>
                    <a:pt x="23798" y="87328"/>
                  </a:lnTo>
                  <a:lnTo>
                    <a:pt x="23798" y="87328"/>
                  </a:lnTo>
                  <a:lnTo>
                    <a:pt x="22793" y="87328"/>
                  </a:lnTo>
                  <a:lnTo>
                    <a:pt x="21452" y="88244"/>
                  </a:lnTo>
                  <a:lnTo>
                    <a:pt x="21452" y="88244"/>
                  </a:lnTo>
                  <a:lnTo>
                    <a:pt x="21452" y="88244"/>
                  </a:lnTo>
                  <a:lnTo>
                    <a:pt x="22122" y="87328"/>
                  </a:lnTo>
                  <a:lnTo>
                    <a:pt x="21452" y="87328"/>
                  </a:lnTo>
                  <a:lnTo>
                    <a:pt x="20446" y="87328"/>
                  </a:lnTo>
                  <a:lnTo>
                    <a:pt x="19776" y="87328"/>
                  </a:lnTo>
                  <a:lnTo>
                    <a:pt x="19106" y="87328"/>
                  </a:lnTo>
                  <a:lnTo>
                    <a:pt x="18100" y="88244"/>
                  </a:lnTo>
                  <a:lnTo>
                    <a:pt x="18100" y="88244"/>
                  </a:lnTo>
                  <a:lnTo>
                    <a:pt x="18100" y="88244"/>
                  </a:lnTo>
                  <a:lnTo>
                    <a:pt x="18100" y="88244"/>
                  </a:lnTo>
                  <a:lnTo>
                    <a:pt x="19106" y="88244"/>
                  </a:lnTo>
                  <a:lnTo>
                    <a:pt x="19106" y="88854"/>
                  </a:lnTo>
                  <a:lnTo>
                    <a:pt x="19106" y="88854"/>
                  </a:lnTo>
                  <a:lnTo>
                    <a:pt x="19106" y="88854"/>
                  </a:lnTo>
                  <a:lnTo>
                    <a:pt x="17430" y="89465"/>
                  </a:lnTo>
                  <a:lnTo>
                    <a:pt x="17430" y="89465"/>
                  </a:lnTo>
                  <a:lnTo>
                    <a:pt x="16759" y="90381"/>
                  </a:lnTo>
                  <a:lnTo>
                    <a:pt x="17430" y="90381"/>
                  </a:lnTo>
                  <a:lnTo>
                    <a:pt x="17430" y="90992"/>
                  </a:lnTo>
                  <a:lnTo>
                    <a:pt x="19106" y="91603"/>
                  </a:lnTo>
                  <a:lnTo>
                    <a:pt x="19106" y="91603"/>
                  </a:lnTo>
                  <a:lnTo>
                    <a:pt x="17430" y="90992"/>
                  </a:lnTo>
                  <a:lnTo>
                    <a:pt x="17430" y="90992"/>
                  </a:lnTo>
                  <a:lnTo>
                    <a:pt x="16759" y="90381"/>
                  </a:lnTo>
                  <a:lnTo>
                    <a:pt x="15754" y="90381"/>
                  </a:lnTo>
                  <a:lnTo>
                    <a:pt x="15083" y="90381"/>
                  </a:lnTo>
                  <a:lnTo>
                    <a:pt x="14078" y="90381"/>
                  </a:lnTo>
                  <a:lnTo>
                    <a:pt x="14078" y="90381"/>
                  </a:lnTo>
                  <a:lnTo>
                    <a:pt x="13407" y="90992"/>
                  </a:lnTo>
                  <a:lnTo>
                    <a:pt x="11061" y="90992"/>
                  </a:lnTo>
                  <a:lnTo>
                    <a:pt x="11061" y="90992"/>
                  </a:lnTo>
                  <a:lnTo>
                    <a:pt x="11061" y="91603"/>
                  </a:lnTo>
                  <a:lnTo>
                    <a:pt x="10391" y="92519"/>
                  </a:lnTo>
                  <a:lnTo>
                    <a:pt x="10391" y="92519"/>
                  </a:lnTo>
                  <a:lnTo>
                    <a:pt x="10391" y="92519"/>
                  </a:lnTo>
                  <a:lnTo>
                    <a:pt x="11061" y="92519"/>
                  </a:lnTo>
                  <a:lnTo>
                    <a:pt x="11731" y="92519"/>
                  </a:lnTo>
                  <a:lnTo>
                    <a:pt x="12737" y="92519"/>
                  </a:lnTo>
                  <a:lnTo>
                    <a:pt x="13407" y="92519"/>
                  </a:lnTo>
                  <a:lnTo>
                    <a:pt x="16759" y="92519"/>
                  </a:lnTo>
                  <a:lnTo>
                    <a:pt x="16759" y="92519"/>
                  </a:lnTo>
                  <a:lnTo>
                    <a:pt x="15083" y="92519"/>
                  </a:lnTo>
                  <a:lnTo>
                    <a:pt x="13407" y="92519"/>
                  </a:lnTo>
                  <a:lnTo>
                    <a:pt x="13407" y="93129"/>
                  </a:lnTo>
                  <a:lnTo>
                    <a:pt x="13407" y="93129"/>
                  </a:lnTo>
                  <a:lnTo>
                    <a:pt x="14078" y="93129"/>
                  </a:lnTo>
                  <a:lnTo>
                    <a:pt x="14078" y="93129"/>
                  </a:lnTo>
                  <a:lnTo>
                    <a:pt x="14078" y="93129"/>
                  </a:lnTo>
                  <a:lnTo>
                    <a:pt x="13407" y="94045"/>
                  </a:lnTo>
                  <a:lnTo>
                    <a:pt x="12737" y="93129"/>
                  </a:lnTo>
                  <a:lnTo>
                    <a:pt x="11061" y="93129"/>
                  </a:lnTo>
                  <a:lnTo>
                    <a:pt x="10391" y="93129"/>
                  </a:lnTo>
                  <a:lnTo>
                    <a:pt x="9385" y="93129"/>
                  </a:lnTo>
                  <a:lnTo>
                    <a:pt x="8715" y="93129"/>
                  </a:lnTo>
                  <a:lnTo>
                    <a:pt x="8044" y="93129"/>
                  </a:lnTo>
                  <a:lnTo>
                    <a:pt x="8044" y="93129"/>
                  </a:lnTo>
                  <a:lnTo>
                    <a:pt x="7039" y="94045"/>
                  </a:lnTo>
                  <a:lnTo>
                    <a:pt x="7039" y="94045"/>
                  </a:lnTo>
                  <a:lnTo>
                    <a:pt x="7039" y="94045"/>
                  </a:lnTo>
                  <a:lnTo>
                    <a:pt x="7039" y="94656"/>
                  </a:lnTo>
                  <a:lnTo>
                    <a:pt x="8044" y="94656"/>
                  </a:lnTo>
                  <a:lnTo>
                    <a:pt x="8715" y="94045"/>
                  </a:lnTo>
                  <a:lnTo>
                    <a:pt x="9385" y="94045"/>
                  </a:lnTo>
                  <a:lnTo>
                    <a:pt x="9385" y="94045"/>
                  </a:lnTo>
                  <a:lnTo>
                    <a:pt x="9385" y="94656"/>
                  </a:lnTo>
                  <a:lnTo>
                    <a:pt x="7039" y="94656"/>
                  </a:lnTo>
                  <a:lnTo>
                    <a:pt x="6368" y="94656"/>
                  </a:lnTo>
                  <a:lnTo>
                    <a:pt x="6368" y="94656"/>
                  </a:lnTo>
                  <a:lnTo>
                    <a:pt x="6368" y="94656"/>
                  </a:lnTo>
                  <a:lnTo>
                    <a:pt x="5698" y="94656"/>
                  </a:lnTo>
                  <a:lnTo>
                    <a:pt x="5698" y="94656"/>
                  </a:lnTo>
                  <a:lnTo>
                    <a:pt x="4692" y="94656"/>
                  </a:lnTo>
                  <a:lnTo>
                    <a:pt x="4022" y="94656"/>
                  </a:lnTo>
                  <a:lnTo>
                    <a:pt x="4022" y="95267"/>
                  </a:lnTo>
                  <a:lnTo>
                    <a:pt x="3016" y="95267"/>
                  </a:lnTo>
                  <a:lnTo>
                    <a:pt x="3016" y="96183"/>
                  </a:lnTo>
                  <a:lnTo>
                    <a:pt x="3016" y="96183"/>
                  </a:lnTo>
                  <a:lnTo>
                    <a:pt x="2346" y="95267"/>
                  </a:lnTo>
                  <a:lnTo>
                    <a:pt x="2346" y="96183"/>
                  </a:lnTo>
                  <a:lnTo>
                    <a:pt x="1675" y="96793"/>
                  </a:lnTo>
                  <a:lnTo>
                    <a:pt x="2346" y="96793"/>
                  </a:lnTo>
                  <a:lnTo>
                    <a:pt x="2346" y="96793"/>
                  </a:lnTo>
                  <a:lnTo>
                    <a:pt x="4022" y="96793"/>
                  </a:lnTo>
                  <a:lnTo>
                    <a:pt x="4692" y="96793"/>
                  </a:lnTo>
                  <a:lnTo>
                    <a:pt x="7039" y="97404"/>
                  </a:lnTo>
                  <a:lnTo>
                    <a:pt x="8044" y="97404"/>
                  </a:lnTo>
                  <a:lnTo>
                    <a:pt x="9385" y="97404"/>
                  </a:lnTo>
                  <a:lnTo>
                    <a:pt x="9385" y="97404"/>
                  </a:lnTo>
                  <a:lnTo>
                    <a:pt x="8715" y="97404"/>
                  </a:lnTo>
                  <a:lnTo>
                    <a:pt x="6368" y="98320"/>
                  </a:lnTo>
                  <a:lnTo>
                    <a:pt x="4692" y="97404"/>
                  </a:lnTo>
                  <a:lnTo>
                    <a:pt x="3016" y="97404"/>
                  </a:lnTo>
                  <a:lnTo>
                    <a:pt x="1675" y="97404"/>
                  </a:lnTo>
                  <a:lnTo>
                    <a:pt x="1675" y="97404"/>
                  </a:lnTo>
                  <a:lnTo>
                    <a:pt x="670" y="97404"/>
                  </a:lnTo>
                  <a:lnTo>
                    <a:pt x="670" y="97404"/>
                  </a:lnTo>
                  <a:lnTo>
                    <a:pt x="670" y="98320"/>
                  </a:lnTo>
                  <a:lnTo>
                    <a:pt x="670" y="98931"/>
                  </a:lnTo>
                  <a:lnTo>
                    <a:pt x="1675" y="98931"/>
                  </a:lnTo>
                  <a:lnTo>
                    <a:pt x="2346" y="99541"/>
                  </a:lnTo>
                  <a:lnTo>
                    <a:pt x="2346" y="99541"/>
                  </a:lnTo>
                  <a:lnTo>
                    <a:pt x="3016" y="99541"/>
                  </a:lnTo>
                  <a:lnTo>
                    <a:pt x="2346" y="99541"/>
                  </a:lnTo>
                  <a:lnTo>
                    <a:pt x="2346" y="99541"/>
                  </a:lnTo>
                  <a:lnTo>
                    <a:pt x="670" y="99541"/>
                  </a:lnTo>
                  <a:lnTo>
                    <a:pt x="670" y="100458"/>
                  </a:lnTo>
                  <a:lnTo>
                    <a:pt x="1675" y="101068"/>
                  </a:lnTo>
                  <a:lnTo>
                    <a:pt x="1675" y="101068"/>
                  </a:lnTo>
                  <a:lnTo>
                    <a:pt x="2346" y="101984"/>
                  </a:lnTo>
                  <a:lnTo>
                    <a:pt x="3016" y="101984"/>
                  </a:lnTo>
                  <a:lnTo>
                    <a:pt x="4022" y="101984"/>
                  </a:lnTo>
                  <a:lnTo>
                    <a:pt x="6368" y="101984"/>
                  </a:lnTo>
                  <a:lnTo>
                    <a:pt x="8044" y="101984"/>
                  </a:lnTo>
                  <a:lnTo>
                    <a:pt x="8715" y="101984"/>
                  </a:lnTo>
                  <a:lnTo>
                    <a:pt x="8715" y="101068"/>
                  </a:lnTo>
                  <a:lnTo>
                    <a:pt x="8715" y="101068"/>
                  </a:lnTo>
                  <a:lnTo>
                    <a:pt x="8715" y="101068"/>
                  </a:lnTo>
                  <a:lnTo>
                    <a:pt x="8715" y="101068"/>
                  </a:lnTo>
                  <a:lnTo>
                    <a:pt x="9385" y="101068"/>
                  </a:lnTo>
                  <a:lnTo>
                    <a:pt x="10391" y="101068"/>
                  </a:lnTo>
                  <a:lnTo>
                    <a:pt x="10391" y="101984"/>
                  </a:lnTo>
                  <a:lnTo>
                    <a:pt x="11731" y="101984"/>
                  </a:lnTo>
                  <a:lnTo>
                    <a:pt x="12737" y="101068"/>
                  </a:lnTo>
                  <a:lnTo>
                    <a:pt x="12737" y="101068"/>
                  </a:lnTo>
                  <a:lnTo>
                    <a:pt x="12737" y="101068"/>
                  </a:lnTo>
                  <a:lnTo>
                    <a:pt x="12737" y="100458"/>
                  </a:lnTo>
                  <a:lnTo>
                    <a:pt x="13407" y="99541"/>
                  </a:lnTo>
                  <a:lnTo>
                    <a:pt x="13407" y="100458"/>
                  </a:lnTo>
                  <a:lnTo>
                    <a:pt x="12737" y="101068"/>
                  </a:lnTo>
                  <a:lnTo>
                    <a:pt x="12737" y="101068"/>
                  </a:lnTo>
                  <a:lnTo>
                    <a:pt x="14078" y="101068"/>
                  </a:lnTo>
                  <a:lnTo>
                    <a:pt x="13407" y="101984"/>
                  </a:lnTo>
                  <a:lnTo>
                    <a:pt x="11061" y="101984"/>
                  </a:lnTo>
                  <a:lnTo>
                    <a:pt x="11061" y="102595"/>
                  </a:lnTo>
                  <a:lnTo>
                    <a:pt x="11061" y="102595"/>
                  </a:lnTo>
                  <a:lnTo>
                    <a:pt x="11061" y="102595"/>
                  </a:lnTo>
                  <a:lnTo>
                    <a:pt x="11061" y="102595"/>
                  </a:lnTo>
                  <a:lnTo>
                    <a:pt x="11061" y="101984"/>
                  </a:lnTo>
                  <a:lnTo>
                    <a:pt x="10391" y="101984"/>
                  </a:lnTo>
                  <a:lnTo>
                    <a:pt x="9385" y="101984"/>
                  </a:lnTo>
                  <a:lnTo>
                    <a:pt x="8715" y="101984"/>
                  </a:lnTo>
                  <a:lnTo>
                    <a:pt x="8044" y="101984"/>
                  </a:lnTo>
                  <a:lnTo>
                    <a:pt x="7039" y="101984"/>
                  </a:lnTo>
                  <a:lnTo>
                    <a:pt x="5698" y="101984"/>
                  </a:lnTo>
                  <a:lnTo>
                    <a:pt x="3016" y="101984"/>
                  </a:lnTo>
                  <a:lnTo>
                    <a:pt x="2346" y="102595"/>
                  </a:lnTo>
                  <a:lnTo>
                    <a:pt x="1675" y="102595"/>
                  </a:lnTo>
                  <a:lnTo>
                    <a:pt x="1675" y="101984"/>
                  </a:lnTo>
                  <a:lnTo>
                    <a:pt x="670" y="102595"/>
                  </a:lnTo>
                  <a:lnTo>
                    <a:pt x="670" y="102595"/>
                  </a:lnTo>
                  <a:lnTo>
                    <a:pt x="670" y="103206"/>
                  </a:lnTo>
                  <a:lnTo>
                    <a:pt x="670" y="104122"/>
                  </a:lnTo>
                  <a:lnTo>
                    <a:pt x="1675" y="104732"/>
                  </a:lnTo>
                  <a:lnTo>
                    <a:pt x="2346" y="104732"/>
                  </a:lnTo>
                  <a:lnTo>
                    <a:pt x="3016" y="104732"/>
                  </a:lnTo>
                  <a:lnTo>
                    <a:pt x="4022" y="104122"/>
                  </a:lnTo>
                  <a:lnTo>
                    <a:pt x="4022" y="104122"/>
                  </a:lnTo>
                  <a:lnTo>
                    <a:pt x="4022" y="104732"/>
                  </a:lnTo>
                  <a:lnTo>
                    <a:pt x="1675" y="105343"/>
                  </a:lnTo>
                  <a:lnTo>
                    <a:pt x="1675" y="105343"/>
                  </a:lnTo>
                  <a:lnTo>
                    <a:pt x="1675" y="106870"/>
                  </a:lnTo>
                  <a:lnTo>
                    <a:pt x="2346" y="106870"/>
                  </a:lnTo>
                  <a:lnTo>
                    <a:pt x="3016" y="107786"/>
                  </a:lnTo>
                  <a:lnTo>
                    <a:pt x="4022" y="107786"/>
                  </a:lnTo>
                  <a:lnTo>
                    <a:pt x="4022" y="107786"/>
                  </a:lnTo>
                  <a:lnTo>
                    <a:pt x="4022" y="107786"/>
                  </a:lnTo>
                  <a:lnTo>
                    <a:pt x="3016" y="108396"/>
                  </a:lnTo>
                  <a:lnTo>
                    <a:pt x="2346" y="108396"/>
                  </a:lnTo>
                  <a:lnTo>
                    <a:pt x="2346" y="107786"/>
                  </a:lnTo>
                  <a:lnTo>
                    <a:pt x="1675" y="107786"/>
                  </a:lnTo>
                  <a:lnTo>
                    <a:pt x="1675" y="108396"/>
                  </a:lnTo>
                  <a:lnTo>
                    <a:pt x="1675" y="108396"/>
                  </a:lnTo>
                  <a:lnTo>
                    <a:pt x="1675" y="109007"/>
                  </a:lnTo>
                  <a:lnTo>
                    <a:pt x="1675" y="109007"/>
                  </a:lnTo>
                  <a:lnTo>
                    <a:pt x="670" y="109923"/>
                  </a:lnTo>
                  <a:lnTo>
                    <a:pt x="670" y="110534"/>
                  </a:lnTo>
                  <a:lnTo>
                    <a:pt x="1675" y="110534"/>
                  </a:lnTo>
                  <a:lnTo>
                    <a:pt x="1675" y="110534"/>
                  </a:lnTo>
                  <a:lnTo>
                    <a:pt x="1675" y="110534"/>
                  </a:lnTo>
                  <a:lnTo>
                    <a:pt x="1675" y="109923"/>
                  </a:lnTo>
                  <a:lnTo>
                    <a:pt x="2346" y="109923"/>
                  </a:lnTo>
                  <a:lnTo>
                    <a:pt x="3016" y="109923"/>
                  </a:lnTo>
                  <a:lnTo>
                    <a:pt x="3016" y="109007"/>
                  </a:lnTo>
                  <a:lnTo>
                    <a:pt x="4022" y="108396"/>
                  </a:lnTo>
                  <a:lnTo>
                    <a:pt x="4692" y="108396"/>
                  </a:lnTo>
                  <a:lnTo>
                    <a:pt x="4692" y="108396"/>
                  </a:lnTo>
                  <a:lnTo>
                    <a:pt x="5698" y="107786"/>
                  </a:lnTo>
                  <a:lnTo>
                    <a:pt x="5698" y="106870"/>
                  </a:lnTo>
                  <a:lnTo>
                    <a:pt x="6368" y="106870"/>
                  </a:lnTo>
                  <a:lnTo>
                    <a:pt x="6368" y="106259"/>
                  </a:lnTo>
                  <a:lnTo>
                    <a:pt x="8044" y="106259"/>
                  </a:lnTo>
                  <a:lnTo>
                    <a:pt x="9385" y="105343"/>
                  </a:lnTo>
                  <a:lnTo>
                    <a:pt x="11061" y="105343"/>
                  </a:lnTo>
                  <a:lnTo>
                    <a:pt x="10391" y="105343"/>
                  </a:lnTo>
                  <a:lnTo>
                    <a:pt x="9385" y="105343"/>
                  </a:lnTo>
                  <a:lnTo>
                    <a:pt x="9385" y="106259"/>
                  </a:lnTo>
                  <a:lnTo>
                    <a:pt x="8715" y="106259"/>
                  </a:lnTo>
                  <a:lnTo>
                    <a:pt x="8715" y="107786"/>
                  </a:lnTo>
                  <a:lnTo>
                    <a:pt x="8715" y="106870"/>
                  </a:lnTo>
                  <a:lnTo>
                    <a:pt x="8715" y="106259"/>
                  </a:lnTo>
                  <a:lnTo>
                    <a:pt x="8715" y="106259"/>
                  </a:lnTo>
                  <a:lnTo>
                    <a:pt x="8044" y="106259"/>
                  </a:lnTo>
                  <a:lnTo>
                    <a:pt x="6368" y="106870"/>
                  </a:lnTo>
                  <a:lnTo>
                    <a:pt x="6368" y="107786"/>
                  </a:lnTo>
                  <a:lnTo>
                    <a:pt x="6368" y="107786"/>
                  </a:lnTo>
                  <a:lnTo>
                    <a:pt x="6368" y="107786"/>
                  </a:lnTo>
                  <a:lnTo>
                    <a:pt x="5698" y="108396"/>
                  </a:lnTo>
                  <a:lnTo>
                    <a:pt x="4692" y="109007"/>
                  </a:lnTo>
                  <a:lnTo>
                    <a:pt x="4022" y="109007"/>
                  </a:lnTo>
                  <a:lnTo>
                    <a:pt x="4692" y="109923"/>
                  </a:lnTo>
                  <a:lnTo>
                    <a:pt x="4692" y="109923"/>
                  </a:lnTo>
                  <a:lnTo>
                    <a:pt x="5698" y="109923"/>
                  </a:lnTo>
                  <a:lnTo>
                    <a:pt x="6368" y="109923"/>
                  </a:lnTo>
                  <a:lnTo>
                    <a:pt x="7039" y="109007"/>
                  </a:lnTo>
                  <a:lnTo>
                    <a:pt x="7039" y="109923"/>
                  </a:lnTo>
                  <a:lnTo>
                    <a:pt x="5698" y="109923"/>
                  </a:lnTo>
                  <a:lnTo>
                    <a:pt x="4692" y="109923"/>
                  </a:lnTo>
                  <a:lnTo>
                    <a:pt x="4692" y="110534"/>
                  </a:lnTo>
                  <a:lnTo>
                    <a:pt x="3016" y="110534"/>
                  </a:lnTo>
                  <a:lnTo>
                    <a:pt x="3016" y="109923"/>
                  </a:lnTo>
                  <a:lnTo>
                    <a:pt x="3016" y="109923"/>
                  </a:lnTo>
                  <a:lnTo>
                    <a:pt x="2346" y="110534"/>
                  </a:lnTo>
                  <a:lnTo>
                    <a:pt x="2346" y="110534"/>
                  </a:lnTo>
                  <a:lnTo>
                    <a:pt x="1675" y="111145"/>
                  </a:lnTo>
                  <a:lnTo>
                    <a:pt x="1675" y="112061"/>
                  </a:lnTo>
                  <a:lnTo>
                    <a:pt x="670" y="112671"/>
                  </a:lnTo>
                  <a:lnTo>
                    <a:pt x="1675" y="113282"/>
                  </a:lnTo>
                  <a:lnTo>
                    <a:pt x="2346" y="113282"/>
                  </a:lnTo>
                  <a:lnTo>
                    <a:pt x="3016" y="113282"/>
                  </a:lnTo>
                  <a:lnTo>
                    <a:pt x="3016" y="112671"/>
                  </a:lnTo>
                  <a:lnTo>
                    <a:pt x="4022" y="112671"/>
                  </a:lnTo>
                  <a:lnTo>
                    <a:pt x="4022" y="112671"/>
                  </a:lnTo>
                  <a:lnTo>
                    <a:pt x="4692" y="112061"/>
                  </a:lnTo>
                  <a:lnTo>
                    <a:pt x="5698" y="112061"/>
                  </a:lnTo>
                  <a:lnTo>
                    <a:pt x="6368" y="111145"/>
                  </a:lnTo>
                  <a:lnTo>
                    <a:pt x="7039" y="111145"/>
                  </a:lnTo>
                  <a:lnTo>
                    <a:pt x="8044" y="111145"/>
                  </a:lnTo>
                  <a:lnTo>
                    <a:pt x="8044" y="111145"/>
                  </a:lnTo>
                  <a:lnTo>
                    <a:pt x="7039" y="111145"/>
                  </a:lnTo>
                  <a:lnTo>
                    <a:pt x="6368" y="112061"/>
                  </a:lnTo>
                  <a:lnTo>
                    <a:pt x="5698" y="112061"/>
                  </a:lnTo>
                  <a:lnTo>
                    <a:pt x="5698" y="112671"/>
                  </a:lnTo>
                  <a:lnTo>
                    <a:pt x="5698" y="112671"/>
                  </a:lnTo>
                  <a:lnTo>
                    <a:pt x="5698" y="113282"/>
                  </a:lnTo>
                  <a:lnTo>
                    <a:pt x="5698" y="113282"/>
                  </a:lnTo>
                  <a:lnTo>
                    <a:pt x="4692" y="113282"/>
                  </a:lnTo>
                  <a:lnTo>
                    <a:pt x="4692" y="114198"/>
                  </a:lnTo>
                  <a:lnTo>
                    <a:pt x="5698" y="114198"/>
                  </a:lnTo>
                  <a:lnTo>
                    <a:pt x="6368" y="114809"/>
                  </a:lnTo>
                  <a:lnTo>
                    <a:pt x="7039" y="114198"/>
                  </a:lnTo>
                  <a:lnTo>
                    <a:pt x="7039" y="114198"/>
                  </a:lnTo>
                  <a:lnTo>
                    <a:pt x="6368" y="114809"/>
                  </a:lnTo>
                  <a:lnTo>
                    <a:pt x="6368" y="114809"/>
                  </a:lnTo>
                  <a:lnTo>
                    <a:pt x="6368" y="114809"/>
                  </a:lnTo>
                  <a:lnTo>
                    <a:pt x="4692" y="114809"/>
                  </a:lnTo>
                  <a:lnTo>
                    <a:pt x="3016" y="114198"/>
                  </a:lnTo>
                  <a:lnTo>
                    <a:pt x="3016" y="114809"/>
                  </a:lnTo>
                  <a:lnTo>
                    <a:pt x="3016" y="115725"/>
                  </a:lnTo>
                  <a:lnTo>
                    <a:pt x="3016" y="116335"/>
                  </a:lnTo>
                  <a:lnTo>
                    <a:pt x="3016" y="116335"/>
                  </a:lnTo>
                  <a:lnTo>
                    <a:pt x="4022" y="116946"/>
                  </a:lnTo>
                  <a:lnTo>
                    <a:pt x="5698" y="117862"/>
                  </a:lnTo>
                  <a:lnTo>
                    <a:pt x="5698" y="117862"/>
                  </a:lnTo>
                  <a:lnTo>
                    <a:pt x="7039" y="118473"/>
                  </a:lnTo>
                  <a:lnTo>
                    <a:pt x="8044" y="118473"/>
                  </a:lnTo>
                  <a:lnTo>
                    <a:pt x="8715" y="118473"/>
                  </a:lnTo>
                  <a:lnTo>
                    <a:pt x="8715" y="118473"/>
                  </a:lnTo>
                  <a:lnTo>
                    <a:pt x="8715" y="119083"/>
                  </a:lnTo>
                  <a:lnTo>
                    <a:pt x="8715" y="119083"/>
                  </a:lnTo>
                  <a:lnTo>
                    <a:pt x="8715" y="119083"/>
                  </a:lnTo>
                  <a:lnTo>
                    <a:pt x="8044" y="120000"/>
                  </a:lnTo>
                  <a:lnTo>
                    <a:pt x="8044" y="120000"/>
                  </a:lnTo>
                  <a:lnTo>
                    <a:pt x="8715" y="120000"/>
                  </a:lnTo>
                  <a:lnTo>
                    <a:pt x="9385" y="120000"/>
                  </a:lnTo>
                  <a:lnTo>
                    <a:pt x="9385" y="119083"/>
                  </a:lnTo>
                  <a:lnTo>
                    <a:pt x="9385" y="119083"/>
                  </a:lnTo>
                  <a:lnTo>
                    <a:pt x="9385" y="119083"/>
                  </a:lnTo>
                  <a:lnTo>
                    <a:pt x="10391" y="119083"/>
                  </a:lnTo>
                  <a:lnTo>
                    <a:pt x="9385" y="120000"/>
                  </a:lnTo>
                  <a:lnTo>
                    <a:pt x="9385" y="120000"/>
                  </a:lnTo>
                  <a:lnTo>
                    <a:pt x="9385" y="120000"/>
                  </a:lnTo>
                  <a:lnTo>
                    <a:pt x="10391" y="120000"/>
                  </a:lnTo>
                  <a:lnTo>
                    <a:pt x="11061" y="120000"/>
                  </a:lnTo>
                  <a:lnTo>
                    <a:pt x="12737" y="120000"/>
                  </a:lnTo>
                  <a:lnTo>
                    <a:pt x="15083" y="120000"/>
                  </a:lnTo>
                  <a:lnTo>
                    <a:pt x="15754" y="119083"/>
                  </a:lnTo>
                  <a:lnTo>
                    <a:pt x="16759" y="119083"/>
                  </a:lnTo>
                  <a:lnTo>
                    <a:pt x="17430" y="119083"/>
                  </a:lnTo>
                  <a:lnTo>
                    <a:pt x="18100" y="118473"/>
                  </a:lnTo>
                  <a:lnTo>
                    <a:pt x="19776" y="116946"/>
                  </a:lnTo>
                  <a:lnTo>
                    <a:pt x="21452" y="116335"/>
                  </a:lnTo>
                  <a:lnTo>
                    <a:pt x="21452" y="116335"/>
                  </a:lnTo>
                  <a:lnTo>
                    <a:pt x="21452" y="115725"/>
                  </a:lnTo>
                  <a:lnTo>
                    <a:pt x="22122" y="115725"/>
                  </a:lnTo>
                  <a:lnTo>
                    <a:pt x="22122" y="115725"/>
                  </a:lnTo>
                  <a:lnTo>
                    <a:pt x="22122" y="114809"/>
                  </a:lnTo>
                  <a:lnTo>
                    <a:pt x="22793" y="114809"/>
                  </a:lnTo>
                  <a:lnTo>
                    <a:pt x="23798" y="114809"/>
                  </a:lnTo>
                  <a:lnTo>
                    <a:pt x="23798" y="114809"/>
                  </a:lnTo>
                  <a:lnTo>
                    <a:pt x="23798" y="114198"/>
                  </a:lnTo>
                  <a:lnTo>
                    <a:pt x="23798" y="114198"/>
                  </a:lnTo>
                  <a:lnTo>
                    <a:pt x="23798" y="113282"/>
                  </a:lnTo>
                  <a:lnTo>
                    <a:pt x="23798" y="113282"/>
                  </a:lnTo>
                  <a:lnTo>
                    <a:pt x="24469" y="114198"/>
                  </a:lnTo>
                  <a:lnTo>
                    <a:pt x="24469" y="114809"/>
                  </a:lnTo>
                  <a:lnTo>
                    <a:pt x="25139" y="114809"/>
                  </a:lnTo>
                  <a:lnTo>
                    <a:pt x="26145" y="114198"/>
                  </a:lnTo>
                  <a:lnTo>
                    <a:pt x="26145" y="114198"/>
                  </a:lnTo>
                  <a:lnTo>
                    <a:pt x="26815" y="114198"/>
                  </a:lnTo>
                  <a:lnTo>
                    <a:pt x="26815" y="114198"/>
                  </a:lnTo>
                  <a:lnTo>
                    <a:pt x="27821" y="112671"/>
                  </a:lnTo>
                  <a:lnTo>
                    <a:pt x="27821" y="112061"/>
                  </a:lnTo>
                  <a:lnTo>
                    <a:pt x="27821" y="112061"/>
                  </a:lnTo>
                  <a:lnTo>
                    <a:pt x="27821" y="112061"/>
                  </a:lnTo>
                  <a:lnTo>
                    <a:pt x="27821" y="111145"/>
                  </a:lnTo>
                  <a:lnTo>
                    <a:pt x="28491" y="111145"/>
                  </a:lnTo>
                  <a:lnTo>
                    <a:pt x="28491" y="110534"/>
                  </a:lnTo>
                  <a:lnTo>
                    <a:pt x="28491" y="110534"/>
                  </a:lnTo>
                  <a:lnTo>
                    <a:pt x="28491" y="109923"/>
                  </a:lnTo>
                  <a:lnTo>
                    <a:pt x="28491" y="110534"/>
                  </a:lnTo>
                  <a:lnTo>
                    <a:pt x="28491" y="110534"/>
                  </a:lnTo>
                  <a:lnTo>
                    <a:pt x="28491" y="112061"/>
                  </a:lnTo>
                  <a:lnTo>
                    <a:pt x="28491" y="112061"/>
                  </a:lnTo>
                  <a:lnTo>
                    <a:pt x="29162" y="112671"/>
                  </a:lnTo>
                  <a:lnTo>
                    <a:pt x="30167" y="113282"/>
                  </a:lnTo>
                  <a:lnTo>
                    <a:pt x="30167" y="113282"/>
                  </a:lnTo>
                  <a:lnTo>
                    <a:pt x="30837" y="113282"/>
                  </a:lnTo>
                  <a:lnTo>
                    <a:pt x="30837" y="113282"/>
                  </a:lnTo>
                  <a:lnTo>
                    <a:pt x="31508" y="113282"/>
                  </a:lnTo>
                  <a:lnTo>
                    <a:pt x="32513" y="113282"/>
                  </a:lnTo>
                  <a:lnTo>
                    <a:pt x="32513" y="114198"/>
                  </a:lnTo>
                  <a:lnTo>
                    <a:pt x="32513" y="114198"/>
                  </a:lnTo>
                  <a:lnTo>
                    <a:pt x="33184" y="114809"/>
                  </a:lnTo>
                  <a:lnTo>
                    <a:pt x="33184" y="114809"/>
                  </a:lnTo>
                  <a:lnTo>
                    <a:pt x="33854" y="114809"/>
                  </a:lnTo>
                  <a:lnTo>
                    <a:pt x="33854" y="114198"/>
                  </a:lnTo>
                  <a:lnTo>
                    <a:pt x="33854" y="113282"/>
                  </a:lnTo>
                  <a:lnTo>
                    <a:pt x="34860" y="112671"/>
                  </a:lnTo>
                  <a:lnTo>
                    <a:pt x="33854" y="112061"/>
                  </a:lnTo>
                  <a:lnTo>
                    <a:pt x="33854" y="111145"/>
                  </a:lnTo>
                  <a:lnTo>
                    <a:pt x="33854" y="110534"/>
                  </a:lnTo>
                  <a:lnTo>
                    <a:pt x="34860" y="110534"/>
                  </a:lnTo>
                  <a:lnTo>
                    <a:pt x="34860" y="109923"/>
                  </a:lnTo>
                  <a:lnTo>
                    <a:pt x="35530" y="109007"/>
                  </a:lnTo>
                  <a:lnTo>
                    <a:pt x="35530" y="109007"/>
                  </a:lnTo>
                  <a:lnTo>
                    <a:pt x="35530" y="109007"/>
                  </a:lnTo>
                  <a:lnTo>
                    <a:pt x="36201" y="109007"/>
                  </a:lnTo>
                  <a:lnTo>
                    <a:pt x="37206" y="108396"/>
                  </a:lnTo>
                  <a:lnTo>
                    <a:pt x="37877" y="108396"/>
                  </a:lnTo>
                  <a:lnTo>
                    <a:pt x="37877" y="107786"/>
                  </a:lnTo>
                  <a:lnTo>
                    <a:pt x="37877" y="106870"/>
                  </a:lnTo>
                  <a:lnTo>
                    <a:pt x="37877" y="106870"/>
                  </a:lnTo>
                  <a:lnTo>
                    <a:pt x="37877" y="106259"/>
                  </a:lnTo>
                  <a:lnTo>
                    <a:pt x="38882" y="105343"/>
                  </a:lnTo>
                  <a:lnTo>
                    <a:pt x="37877" y="105343"/>
                  </a:lnTo>
                  <a:lnTo>
                    <a:pt x="37877" y="104122"/>
                  </a:lnTo>
                  <a:lnTo>
                    <a:pt x="37206" y="103206"/>
                  </a:lnTo>
                  <a:lnTo>
                    <a:pt x="37206" y="102595"/>
                  </a:lnTo>
                  <a:lnTo>
                    <a:pt x="37206" y="102595"/>
                  </a:lnTo>
                  <a:lnTo>
                    <a:pt x="37877" y="102595"/>
                  </a:lnTo>
                  <a:lnTo>
                    <a:pt x="38882" y="102595"/>
                  </a:lnTo>
                  <a:lnTo>
                    <a:pt x="38882" y="101984"/>
                  </a:lnTo>
                  <a:lnTo>
                    <a:pt x="38882" y="101984"/>
                  </a:lnTo>
                  <a:lnTo>
                    <a:pt x="39553" y="101984"/>
                  </a:lnTo>
                  <a:lnTo>
                    <a:pt x="39553" y="101068"/>
                  </a:lnTo>
                  <a:lnTo>
                    <a:pt x="39553" y="101068"/>
                  </a:lnTo>
                  <a:lnTo>
                    <a:pt x="39553" y="100458"/>
                  </a:lnTo>
                  <a:lnTo>
                    <a:pt x="39553" y="99541"/>
                  </a:lnTo>
                  <a:lnTo>
                    <a:pt x="38882" y="99541"/>
                  </a:lnTo>
                  <a:lnTo>
                    <a:pt x="37877" y="98931"/>
                  </a:lnTo>
                  <a:lnTo>
                    <a:pt x="37206" y="98931"/>
                  </a:lnTo>
                  <a:lnTo>
                    <a:pt x="36201" y="98320"/>
                  </a:lnTo>
                  <a:lnTo>
                    <a:pt x="36201" y="96793"/>
                  </a:lnTo>
                  <a:lnTo>
                    <a:pt x="37206" y="96183"/>
                  </a:lnTo>
                  <a:lnTo>
                    <a:pt x="37206" y="95267"/>
                  </a:lnTo>
                  <a:lnTo>
                    <a:pt x="37206" y="95267"/>
                  </a:lnTo>
                  <a:lnTo>
                    <a:pt x="36201" y="93129"/>
                  </a:lnTo>
                  <a:lnTo>
                    <a:pt x="36201" y="93129"/>
                  </a:lnTo>
                  <a:lnTo>
                    <a:pt x="36201" y="92519"/>
                  </a:lnTo>
                  <a:lnTo>
                    <a:pt x="36201" y="91603"/>
                  </a:lnTo>
                  <a:lnTo>
                    <a:pt x="36201" y="90992"/>
                  </a:lnTo>
                  <a:lnTo>
                    <a:pt x="36201" y="90992"/>
                  </a:lnTo>
                  <a:lnTo>
                    <a:pt x="36201" y="90992"/>
                  </a:lnTo>
                  <a:lnTo>
                    <a:pt x="36201" y="90381"/>
                  </a:lnTo>
                  <a:lnTo>
                    <a:pt x="36201" y="90381"/>
                  </a:lnTo>
                  <a:lnTo>
                    <a:pt x="35530" y="89465"/>
                  </a:lnTo>
                  <a:lnTo>
                    <a:pt x="36201" y="88244"/>
                  </a:lnTo>
                  <a:lnTo>
                    <a:pt x="36201" y="87328"/>
                  </a:lnTo>
                  <a:lnTo>
                    <a:pt x="37206" y="86717"/>
                  </a:lnTo>
                  <a:lnTo>
                    <a:pt x="37877" y="86106"/>
                  </a:lnTo>
                  <a:lnTo>
                    <a:pt x="38882" y="85190"/>
                  </a:lnTo>
                  <a:lnTo>
                    <a:pt x="38882" y="85190"/>
                  </a:lnTo>
                  <a:lnTo>
                    <a:pt x="39553" y="85190"/>
                  </a:lnTo>
                  <a:lnTo>
                    <a:pt x="40223" y="84580"/>
                  </a:lnTo>
                  <a:lnTo>
                    <a:pt x="41229" y="84580"/>
                  </a:lnTo>
                  <a:lnTo>
                    <a:pt x="41899" y="84580"/>
                  </a:lnTo>
                  <a:lnTo>
                    <a:pt x="43575" y="85190"/>
                  </a:lnTo>
                  <a:lnTo>
                    <a:pt x="44916" y="85190"/>
                  </a:lnTo>
                  <a:lnTo>
                    <a:pt x="44916" y="85190"/>
                  </a:lnTo>
                  <a:lnTo>
                    <a:pt x="44916" y="84580"/>
                  </a:lnTo>
                  <a:lnTo>
                    <a:pt x="45921" y="84580"/>
                  </a:lnTo>
                  <a:lnTo>
                    <a:pt x="45921" y="83664"/>
                  </a:lnTo>
                  <a:lnTo>
                    <a:pt x="45921" y="83053"/>
                  </a:lnTo>
                  <a:lnTo>
                    <a:pt x="44916" y="82442"/>
                  </a:lnTo>
                  <a:lnTo>
                    <a:pt x="44245" y="82442"/>
                  </a:lnTo>
                  <a:lnTo>
                    <a:pt x="43575" y="81526"/>
                  </a:lnTo>
                  <a:lnTo>
                    <a:pt x="44245" y="80916"/>
                  </a:lnTo>
                  <a:lnTo>
                    <a:pt x="44916" y="79389"/>
                  </a:lnTo>
                  <a:lnTo>
                    <a:pt x="46592" y="78778"/>
                  </a:lnTo>
                  <a:lnTo>
                    <a:pt x="46592" y="78167"/>
                  </a:lnTo>
                  <a:lnTo>
                    <a:pt x="47262" y="78167"/>
                  </a:lnTo>
                  <a:lnTo>
                    <a:pt x="47262" y="75725"/>
                  </a:lnTo>
                  <a:lnTo>
                    <a:pt x="47262" y="75114"/>
                  </a:lnTo>
                  <a:lnTo>
                    <a:pt x="47262" y="75114"/>
                  </a:lnTo>
                  <a:lnTo>
                    <a:pt x="47262" y="74503"/>
                  </a:lnTo>
                  <a:lnTo>
                    <a:pt x="47262" y="74503"/>
                  </a:lnTo>
                  <a:lnTo>
                    <a:pt x="47262" y="72977"/>
                  </a:lnTo>
                  <a:lnTo>
                    <a:pt x="48938" y="72977"/>
                  </a:lnTo>
                  <a:lnTo>
                    <a:pt x="49944" y="72977"/>
                  </a:lnTo>
                  <a:lnTo>
                    <a:pt x="49944" y="72977"/>
                  </a:lnTo>
                  <a:lnTo>
                    <a:pt x="51284" y="72366"/>
                  </a:lnTo>
                  <a:lnTo>
                    <a:pt x="51284" y="72366"/>
                  </a:lnTo>
                  <a:lnTo>
                    <a:pt x="51284" y="70839"/>
                  </a:lnTo>
                  <a:lnTo>
                    <a:pt x="52290" y="70839"/>
                  </a:lnTo>
                  <a:lnTo>
                    <a:pt x="52960" y="69312"/>
                  </a:lnTo>
                  <a:lnTo>
                    <a:pt x="54636" y="68702"/>
                  </a:lnTo>
                  <a:lnTo>
                    <a:pt x="55307" y="67786"/>
                  </a:lnTo>
                  <a:lnTo>
                    <a:pt x="55307" y="67786"/>
                  </a:lnTo>
                  <a:lnTo>
                    <a:pt x="55977" y="67175"/>
                  </a:lnTo>
                  <a:lnTo>
                    <a:pt x="55307" y="66564"/>
                  </a:lnTo>
                  <a:lnTo>
                    <a:pt x="55307" y="66564"/>
                  </a:lnTo>
                  <a:lnTo>
                    <a:pt x="54636" y="65648"/>
                  </a:lnTo>
                  <a:lnTo>
                    <a:pt x="54636" y="65648"/>
                  </a:lnTo>
                  <a:lnTo>
                    <a:pt x="55307" y="65038"/>
                  </a:lnTo>
                  <a:lnTo>
                    <a:pt x="55977" y="65038"/>
                  </a:lnTo>
                  <a:lnTo>
                    <a:pt x="55977" y="65038"/>
                  </a:lnTo>
                  <a:lnTo>
                    <a:pt x="55977" y="65038"/>
                  </a:lnTo>
                  <a:lnTo>
                    <a:pt x="56983" y="63511"/>
                  </a:lnTo>
                  <a:lnTo>
                    <a:pt x="59329" y="62900"/>
                  </a:lnTo>
                  <a:lnTo>
                    <a:pt x="59329" y="62290"/>
                  </a:lnTo>
                  <a:lnTo>
                    <a:pt x="61005" y="62290"/>
                  </a:lnTo>
                  <a:lnTo>
                    <a:pt x="62346" y="62900"/>
                  </a:lnTo>
                  <a:lnTo>
                    <a:pt x="63351" y="62290"/>
                  </a:lnTo>
                  <a:lnTo>
                    <a:pt x="63351" y="62290"/>
                  </a:lnTo>
                  <a:lnTo>
                    <a:pt x="63351" y="61374"/>
                  </a:lnTo>
                  <a:lnTo>
                    <a:pt x="63351" y="60763"/>
                  </a:lnTo>
                  <a:lnTo>
                    <a:pt x="63351" y="59847"/>
                  </a:lnTo>
                  <a:lnTo>
                    <a:pt x="63351" y="59847"/>
                  </a:lnTo>
                  <a:lnTo>
                    <a:pt x="64022" y="59847"/>
                  </a:lnTo>
                  <a:lnTo>
                    <a:pt x="64022" y="59236"/>
                  </a:lnTo>
                  <a:lnTo>
                    <a:pt x="66368" y="59847"/>
                  </a:lnTo>
                  <a:lnTo>
                    <a:pt x="66368" y="59847"/>
                  </a:lnTo>
                  <a:lnTo>
                    <a:pt x="67039" y="59847"/>
                  </a:lnTo>
                  <a:lnTo>
                    <a:pt x="68044" y="59847"/>
                  </a:lnTo>
                  <a:lnTo>
                    <a:pt x="70391" y="60763"/>
                  </a:lnTo>
                  <a:lnTo>
                    <a:pt x="71061" y="60763"/>
                  </a:lnTo>
                  <a:lnTo>
                    <a:pt x="72067" y="60763"/>
                  </a:lnTo>
                  <a:lnTo>
                    <a:pt x="72067" y="60763"/>
                  </a:lnTo>
                  <a:lnTo>
                    <a:pt x="72737" y="59847"/>
                  </a:lnTo>
                  <a:lnTo>
                    <a:pt x="71061" y="59847"/>
                  </a:lnTo>
                  <a:lnTo>
                    <a:pt x="72067" y="59236"/>
                  </a:lnTo>
                  <a:lnTo>
                    <a:pt x="72737" y="59236"/>
                  </a:lnTo>
                  <a:lnTo>
                    <a:pt x="72737" y="58625"/>
                  </a:lnTo>
                  <a:lnTo>
                    <a:pt x="72737" y="57709"/>
                  </a:lnTo>
                  <a:lnTo>
                    <a:pt x="72737" y="57709"/>
                  </a:lnTo>
                  <a:lnTo>
                    <a:pt x="72737" y="57709"/>
                  </a:lnTo>
                  <a:lnTo>
                    <a:pt x="72067" y="57099"/>
                  </a:lnTo>
                  <a:lnTo>
                    <a:pt x="73407" y="57099"/>
                  </a:lnTo>
                  <a:lnTo>
                    <a:pt x="74413" y="57099"/>
                  </a:lnTo>
                  <a:lnTo>
                    <a:pt x="74413" y="57099"/>
                  </a:lnTo>
                  <a:lnTo>
                    <a:pt x="75083" y="57099"/>
                  </a:lnTo>
                  <a:lnTo>
                    <a:pt x="75754" y="57099"/>
                  </a:lnTo>
                  <a:lnTo>
                    <a:pt x="76759" y="57099"/>
                  </a:lnTo>
                  <a:lnTo>
                    <a:pt x="76759" y="57099"/>
                  </a:lnTo>
                  <a:lnTo>
                    <a:pt x="75754" y="56488"/>
                  </a:lnTo>
                  <a:lnTo>
                    <a:pt x="75754" y="56488"/>
                  </a:lnTo>
                  <a:lnTo>
                    <a:pt x="76759" y="55572"/>
                  </a:lnTo>
                  <a:lnTo>
                    <a:pt x="76759" y="55572"/>
                  </a:lnTo>
                  <a:lnTo>
                    <a:pt x="78100" y="55572"/>
                  </a:lnTo>
                  <a:lnTo>
                    <a:pt x="78100" y="55572"/>
                  </a:lnTo>
                  <a:lnTo>
                    <a:pt x="78100" y="55572"/>
                  </a:lnTo>
                  <a:lnTo>
                    <a:pt x="79776" y="56488"/>
                  </a:lnTo>
                  <a:lnTo>
                    <a:pt x="80446" y="57099"/>
                  </a:lnTo>
                  <a:lnTo>
                    <a:pt x="80446" y="57099"/>
                  </a:lnTo>
                  <a:lnTo>
                    <a:pt x="82122" y="57709"/>
                  </a:lnTo>
                  <a:lnTo>
                    <a:pt x="82122" y="58625"/>
                  </a:lnTo>
                  <a:lnTo>
                    <a:pt x="82122" y="58625"/>
                  </a:lnTo>
                  <a:lnTo>
                    <a:pt x="83128" y="58625"/>
                  </a:lnTo>
                  <a:lnTo>
                    <a:pt x="84469" y="58625"/>
                  </a:lnTo>
                  <a:lnTo>
                    <a:pt x="85474" y="59236"/>
                  </a:lnTo>
                  <a:lnTo>
                    <a:pt x="86145" y="59236"/>
                  </a:lnTo>
                  <a:lnTo>
                    <a:pt x="86815" y="59236"/>
                  </a:lnTo>
                  <a:lnTo>
                    <a:pt x="86815" y="59236"/>
                  </a:lnTo>
                  <a:lnTo>
                    <a:pt x="88491" y="58625"/>
                  </a:lnTo>
                  <a:lnTo>
                    <a:pt x="88491" y="58625"/>
                  </a:lnTo>
                  <a:lnTo>
                    <a:pt x="89162" y="58625"/>
                  </a:lnTo>
                  <a:lnTo>
                    <a:pt x="89162" y="58625"/>
                  </a:lnTo>
                  <a:lnTo>
                    <a:pt x="90167" y="58625"/>
                  </a:lnTo>
                  <a:lnTo>
                    <a:pt x="90837" y="58625"/>
                  </a:lnTo>
                  <a:lnTo>
                    <a:pt x="91508" y="59236"/>
                  </a:lnTo>
                  <a:lnTo>
                    <a:pt x="93184" y="59236"/>
                  </a:lnTo>
                  <a:lnTo>
                    <a:pt x="93184" y="59236"/>
                  </a:lnTo>
                  <a:lnTo>
                    <a:pt x="94189" y="59236"/>
                  </a:lnTo>
                  <a:lnTo>
                    <a:pt x="94860" y="59236"/>
                  </a:lnTo>
                  <a:lnTo>
                    <a:pt x="94860" y="58625"/>
                  </a:lnTo>
                  <a:lnTo>
                    <a:pt x="95530" y="58625"/>
                  </a:lnTo>
                  <a:lnTo>
                    <a:pt x="95530" y="57709"/>
                  </a:lnTo>
                  <a:lnTo>
                    <a:pt x="96536" y="57709"/>
                  </a:lnTo>
                  <a:lnTo>
                    <a:pt x="96536" y="57709"/>
                  </a:lnTo>
                  <a:lnTo>
                    <a:pt x="97206" y="57709"/>
                  </a:lnTo>
                  <a:lnTo>
                    <a:pt x="97206" y="57099"/>
                  </a:lnTo>
                  <a:lnTo>
                    <a:pt x="97206" y="57099"/>
                  </a:lnTo>
                  <a:lnTo>
                    <a:pt x="97206" y="55572"/>
                  </a:lnTo>
                  <a:lnTo>
                    <a:pt x="97206" y="55572"/>
                  </a:lnTo>
                  <a:lnTo>
                    <a:pt x="97877" y="54961"/>
                  </a:lnTo>
                  <a:lnTo>
                    <a:pt x="97877" y="54351"/>
                  </a:lnTo>
                  <a:lnTo>
                    <a:pt x="97877" y="53435"/>
                  </a:lnTo>
                  <a:lnTo>
                    <a:pt x="97877" y="53435"/>
                  </a:lnTo>
                  <a:lnTo>
                    <a:pt x="98882" y="53435"/>
                  </a:lnTo>
                  <a:lnTo>
                    <a:pt x="99553" y="52824"/>
                  </a:lnTo>
                  <a:lnTo>
                    <a:pt x="100223" y="51908"/>
                  </a:lnTo>
                  <a:lnTo>
                    <a:pt x="100223" y="51908"/>
                  </a:lnTo>
                  <a:lnTo>
                    <a:pt x="101229" y="51908"/>
                  </a:lnTo>
                  <a:lnTo>
                    <a:pt x="101899" y="51908"/>
                  </a:lnTo>
                  <a:lnTo>
                    <a:pt x="102569" y="51908"/>
                  </a:lnTo>
                  <a:lnTo>
                    <a:pt x="102569" y="51908"/>
                  </a:lnTo>
                  <a:lnTo>
                    <a:pt x="103575" y="51908"/>
                  </a:lnTo>
                  <a:lnTo>
                    <a:pt x="103575" y="51908"/>
                  </a:lnTo>
                  <a:lnTo>
                    <a:pt x="105251" y="51297"/>
                  </a:lnTo>
                  <a:lnTo>
                    <a:pt x="105921" y="51297"/>
                  </a:lnTo>
                  <a:lnTo>
                    <a:pt x="105921" y="51297"/>
                  </a:lnTo>
                  <a:lnTo>
                    <a:pt x="106592" y="51908"/>
                  </a:lnTo>
                  <a:lnTo>
                    <a:pt x="108268" y="52824"/>
                  </a:lnTo>
                  <a:lnTo>
                    <a:pt x="108938" y="52824"/>
                  </a:lnTo>
                  <a:lnTo>
                    <a:pt x="110614" y="53435"/>
                  </a:lnTo>
                  <a:lnTo>
                    <a:pt x="112290" y="53435"/>
                  </a:lnTo>
                  <a:lnTo>
                    <a:pt x="112960" y="54961"/>
                  </a:lnTo>
                  <a:lnTo>
                    <a:pt x="112960" y="54961"/>
                  </a:lnTo>
                  <a:lnTo>
                    <a:pt x="112960" y="54961"/>
                  </a:lnTo>
                  <a:lnTo>
                    <a:pt x="112290" y="55572"/>
                  </a:lnTo>
                  <a:lnTo>
                    <a:pt x="111284" y="56488"/>
                  </a:lnTo>
                  <a:lnTo>
                    <a:pt x="111284" y="56488"/>
                  </a:lnTo>
                  <a:lnTo>
                    <a:pt x="111284" y="57099"/>
                  </a:lnTo>
                  <a:lnTo>
                    <a:pt x="112290" y="57099"/>
                  </a:lnTo>
                  <a:lnTo>
                    <a:pt x="112960" y="57099"/>
                  </a:lnTo>
                  <a:lnTo>
                    <a:pt x="112960" y="57099"/>
                  </a:lnTo>
                  <a:lnTo>
                    <a:pt x="112960" y="56488"/>
                  </a:lnTo>
                  <a:lnTo>
                    <a:pt x="113631" y="55572"/>
                  </a:lnTo>
                  <a:lnTo>
                    <a:pt x="113631" y="55572"/>
                  </a:lnTo>
                  <a:lnTo>
                    <a:pt x="115307" y="54961"/>
                  </a:lnTo>
                  <a:lnTo>
                    <a:pt x="116312" y="54961"/>
                  </a:lnTo>
                  <a:lnTo>
                    <a:pt x="116983" y="54961"/>
                  </a:lnTo>
                  <a:lnTo>
                    <a:pt x="116983" y="54961"/>
                  </a:lnTo>
                  <a:lnTo>
                    <a:pt x="116983" y="54351"/>
                  </a:lnTo>
                  <a:lnTo>
                    <a:pt x="116983" y="54351"/>
                  </a:lnTo>
                  <a:lnTo>
                    <a:pt x="116983" y="54351"/>
                  </a:lnTo>
                  <a:lnTo>
                    <a:pt x="116983" y="53435"/>
                  </a:lnTo>
                  <a:lnTo>
                    <a:pt x="116983" y="53435"/>
                  </a:lnTo>
                  <a:lnTo>
                    <a:pt x="116983" y="53435"/>
                  </a:lnTo>
                  <a:lnTo>
                    <a:pt x="117653" y="54351"/>
                  </a:lnTo>
                  <a:lnTo>
                    <a:pt x="119329" y="54351"/>
                  </a:lnTo>
                  <a:lnTo>
                    <a:pt x="120000" y="54351"/>
                  </a:lnTo>
                  <a:lnTo>
                    <a:pt x="120000" y="54351"/>
                  </a:lnTo>
                  <a:lnTo>
                    <a:pt x="120000" y="54351"/>
                  </a:lnTo>
                  <a:lnTo>
                    <a:pt x="120000" y="54351"/>
                  </a:lnTo>
                  <a:lnTo>
                    <a:pt x="120000" y="53435"/>
                  </a:lnTo>
                  <a:close/>
                  <a:moveTo>
                    <a:pt x="94189" y="46412"/>
                  </a:moveTo>
                  <a:lnTo>
                    <a:pt x="94860" y="46412"/>
                  </a:lnTo>
                  <a:lnTo>
                    <a:pt x="94860" y="47022"/>
                  </a:lnTo>
                  <a:lnTo>
                    <a:pt x="95530" y="47022"/>
                  </a:lnTo>
                  <a:lnTo>
                    <a:pt x="96536" y="47022"/>
                  </a:lnTo>
                  <a:lnTo>
                    <a:pt x="97206" y="46412"/>
                  </a:lnTo>
                  <a:lnTo>
                    <a:pt x="97206" y="46412"/>
                  </a:lnTo>
                  <a:lnTo>
                    <a:pt x="97877" y="46412"/>
                  </a:lnTo>
                  <a:lnTo>
                    <a:pt x="97206" y="46412"/>
                  </a:lnTo>
                  <a:lnTo>
                    <a:pt x="96536" y="46412"/>
                  </a:lnTo>
                  <a:lnTo>
                    <a:pt x="96536" y="46412"/>
                  </a:lnTo>
                  <a:lnTo>
                    <a:pt x="94860" y="45496"/>
                  </a:lnTo>
                  <a:lnTo>
                    <a:pt x="94189" y="46412"/>
                  </a:lnTo>
                  <a:lnTo>
                    <a:pt x="94189" y="46412"/>
                  </a:lnTo>
                  <a:lnTo>
                    <a:pt x="94189" y="46412"/>
                  </a:lnTo>
                  <a:close/>
                  <a:moveTo>
                    <a:pt x="76759" y="14351"/>
                  </a:moveTo>
                  <a:lnTo>
                    <a:pt x="77430" y="14351"/>
                  </a:lnTo>
                  <a:lnTo>
                    <a:pt x="78100" y="14351"/>
                  </a:lnTo>
                  <a:lnTo>
                    <a:pt x="79106" y="14351"/>
                  </a:lnTo>
                  <a:lnTo>
                    <a:pt x="79106" y="13740"/>
                  </a:lnTo>
                  <a:lnTo>
                    <a:pt x="79776" y="13740"/>
                  </a:lnTo>
                  <a:lnTo>
                    <a:pt x="80446" y="13740"/>
                  </a:lnTo>
                  <a:lnTo>
                    <a:pt x="81452" y="13740"/>
                  </a:lnTo>
                  <a:lnTo>
                    <a:pt x="82122" y="13740"/>
                  </a:lnTo>
                  <a:lnTo>
                    <a:pt x="82122" y="13740"/>
                  </a:lnTo>
                  <a:lnTo>
                    <a:pt x="83128" y="13129"/>
                  </a:lnTo>
                  <a:lnTo>
                    <a:pt x="83128" y="13129"/>
                  </a:lnTo>
                  <a:lnTo>
                    <a:pt x="83798" y="12213"/>
                  </a:lnTo>
                  <a:lnTo>
                    <a:pt x="86145" y="12213"/>
                  </a:lnTo>
                  <a:lnTo>
                    <a:pt x="85474" y="11603"/>
                  </a:lnTo>
                  <a:lnTo>
                    <a:pt x="83798" y="11603"/>
                  </a:lnTo>
                  <a:lnTo>
                    <a:pt x="82122" y="11603"/>
                  </a:lnTo>
                  <a:lnTo>
                    <a:pt x="81452" y="11603"/>
                  </a:lnTo>
                  <a:lnTo>
                    <a:pt x="79776" y="11603"/>
                  </a:lnTo>
                  <a:lnTo>
                    <a:pt x="79106" y="10992"/>
                  </a:lnTo>
                  <a:lnTo>
                    <a:pt x="79106" y="10992"/>
                  </a:lnTo>
                  <a:lnTo>
                    <a:pt x="79776" y="10076"/>
                  </a:lnTo>
                  <a:lnTo>
                    <a:pt x="80446" y="10076"/>
                  </a:lnTo>
                  <a:lnTo>
                    <a:pt x="79776" y="10076"/>
                  </a:lnTo>
                  <a:lnTo>
                    <a:pt x="79106" y="10076"/>
                  </a:lnTo>
                  <a:lnTo>
                    <a:pt x="78100" y="10076"/>
                  </a:lnTo>
                  <a:lnTo>
                    <a:pt x="77430" y="10076"/>
                  </a:lnTo>
                  <a:lnTo>
                    <a:pt x="76759" y="10076"/>
                  </a:lnTo>
                  <a:lnTo>
                    <a:pt x="75754" y="10076"/>
                  </a:lnTo>
                  <a:lnTo>
                    <a:pt x="75083" y="9465"/>
                  </a:lnTo>
                  <a:lnTo>
                    <a:pt x="74413" y="8854"/>
                  </a:lnTo>
                  <a:lnTo>
                    <a:pt x="73407" y="8854"/>
                  </a:lnTo>
                  <a:lnTo>
                    <a:pt x="72737" y="7938"/>
                  </a:lnTo>
                  <a:lnTo>
                    <a:pt x="72067" y="7938"/>
                  </a:lnTo>
                  <a:lnTo>
                    <a:pt x="70391" y="8854"/>
                  </a:lnTo>
                  <a:lnTo>
                    <a:pt x="68044" y="8854"/>
                  </a:lnTo>
                  <a:lnTo>
                    <a:pt x="67039" y="8854"/>
                  </a:lnTo>
                  <a:lnTo>
                    <a:pt x="68044" y="9465"/>
                  </a:lnTo>
                  <a:lnTo>
                    <a:pt x="68715" y="9465"/>
                  </a:lnTo>
                  <a:lnTo>
                    <a:pt x="68715" y="9465"/>
                  </a:lnTo>
                  <a:lnTo>
                    <a:pt x="69385" y="10076"/>
                  </a:lnTo>
                  <a:lnTo>
                    <a:pt x="69385" y="10076"/>
                  </a:lnTo>
                  <a:lnTo>
                    <a:pt x="71061" y="10992"/>
                  </a:lnTo>
                  <a:lnTo>
                    <a:pt x="71061" y="10992"/>
                  </a:lnTo>
                  <a:lnTo>
                    <a:pt x="73407" y="11603"/>
                  </a:lnTo>
                  <a:lnTo>
                    <a:pt x="73407" y="11603"/>
                  </a:lnTo>
                  <a:lnTo>
                    <a:pt x="72737" y="11603"/>
                  </a:lnTo>
                  <a:lnTo>
                    <a:pt x="72067" y="12213"/>
                  </a:lnTo>
                  <a:lnTo>
                    <a:pt x="72067" y="12213"/>
                  </a:lnTo>
                  <a:lnTo>
                    <a:pt x="72067" y="13129"/>
                  </a:lnTo>
                  <a:lnTo>
                    <a:pt x="70391" y="13129"/>
                  </a:lnTo>
                  <a:lnTo>
                    <a:pt x="70391" y="13740"/>
                  </a:lnTo>
                  <a:lnTo>
                    <a:pt x="71061" y="13740"/>
                  </a:lnTo>
                  <a:lnTo>
                    <a:pt x="74413" y="13740"/>
                  </a:lnTo>
                  <a:lnTo>
                    <a:pt x="75083" y="13740"/>
                  </a:lnTo>
                  <a:lnTo>
                    <a:pt x="75754" y="13129"/>
                  </a:lnTo>
                  <a:lnTo>
                    <a:pt x="76759" y="13129"/>
                  </a:lnTo>
                  <a:lnTo>
                    <a:pt x="76759" y="13129"/>
                  </a:lnTo>
                  <a:lnTo>
                    <a:pt x="77430" y="13129"/>
                  </a:lnTo>
                  <a:lnTo>
                    <a:pt x="77430" y="13129"/>
                  </a:lnTo>
                  <a:lnTo>
                    <a:pt x="78100" y="13129"/>
                  </a:lnTo>
                  <a:lnTo>
                    <a:pt x="77430" y="13740"/>
                  </a:lnTo>
                  <a:lnTo>
                    <a:pt x="76759" y="13740"/>
                  </a:lnTo>
                  <a:lnTo>
                    <a:pt x="77430" y="13740"/>
                  </a:lnTo>
                  <a:lnTo>
                    <a:pt x="76759" y="14351"/>
                  </a:lnTo>
                  <a:lnTo>
                    <a:pt x="76759" y="14351"/>
                  </a:lnTo>
                  <a:close/>
                  <a:moveTo>
                    <a:pt x="30167" y="7938"/>
                  </a:moveTo>
                  <a:lnTo>
                    <a:pt x="30167" y="7938"/>
                  </a:lnTo>
                  <a:lnTo>
                    <a:pt x="30837" y="8854"/>
                  </a:lnTo>
                  <a:lnTo>
                    <a:pt x="31508" y="8854"/>
                  </a:lnTo>
                  <a:lnTo>
                    <a:pt x="32513" y="8854"/>
                  </a:lnTo>
                  <a:lnTo>
                    <a:pt x="33184" y="9465"/>
                  </a:lnTo>
                  <a:lnTo>
                    <a:pt x="33854" y="9465"/>
                  </a:lnTo>
                  <a:lnTo>
                    <a:pt x="34860" y="10076"/>
                  </a:lnTo>
                  <a:lnTo>
                    <a:pt x="34860" y="10076"/>
                  </a:lnTo>
                  <a:lnTo>
                    <a:pt x="34860" y="9465"/>
                  </a:lnTo>
                  <a:lnTo>
                    <a:pt x="33854" y="9465"/>
                  </a:lnTo>
                  <a:lnTo>
                    <a:pt x="33854" y="9465"/>
                  </a:lnTo>
                  <a:lnTo>
                    <a:pt x="33854" y="8854"/>
                  </a:lnTo>
                  <a:lnTo>
                    <a:pt x="33184" y="8854"/>
                  </a:lnTo>
                  <a:lnTo>
                    <a:pt x="32513" y="8854"/>
                  </a:lnTo>
                  <a:lnTo>
                    <a:pt x="31508" y="8854"/>
                  </a:lnTo>
                  <a:lnTo>
                    <a:pt x="31508" y="7938"/>
                  </a:lnTo>
                  <a:lnTo>
                    <a:pt x="30837" y="7938"/>
                  </a:lnTo>
                  <a:lnTo>
                    <a:pt x="30837" y="7938"/>
                  </a:lnTo>
                  <a:lnTo>
                    <a:pt x="30837" y="7938"/>
                  </a:lnTo>
                  <a:lnTo>
                    <a:pt x="30837" y="7328"/>
                  </a:lnTo>
                  <a:lnTo>
                    <a:pt x="30837" y="7328"/>
                  </a:lnTo>
                  <a:lnTo>
                    <a:pt x="30167" y="7328"/>
                  </a:lnTo>
                  <a:lnTo>
                    <a:pt x="29162" y="6412"/>
                  </a:lnTo>
                  <a:lnTo>
                    <a:pt x="29162" y="7328"/>
                  </a:lnTo>
                  <a:lnTo>
                    <a:pt x="29162" y="7328"/>
                  </a:lnTo>
                  <a:lnTo>
                    <a:pt x="30167" y="7938"/>
                  </a:lnTo>
                  <a:close/>
                  <a:moveTo>
                    <a:pt x="30167" y="3664"/>
                  </a:moveTo>
                  <a:lnTo>
                    <a:pt x="30167" y="3664"/>
                  </a:lnTo>
                  <a:lnTo>
                    <a:pt x="29162" y="3664"/>
                  </a:lnTo>
                  <a:lnTo>
                    <a:pt x="29162" y="3664"/>
                  </a:lnTo>
                  <a:lnTo>
                    <a:pt x="29162" y="4274"/>
                  </a:lnTo>
                  <a:lnTo>
                    <a:pt x="30167" y="4274"/>
                  </a:lnTo>
                  <a:lnTo>
                    <a:pt x="30167" y="4274"/>
                  </a:lnTo>
                  <a:lnTo>
                    <a:pt x="30167" y="5190"/>
                  </a:lnTo>
                  <a:lnTo>
                    <a:pt x="30837" y="5190"/>
                  </a:lnTo>
                  <a:lnTo>
                    <a:pt x="30837" y="5190"/>
                  </a:lnTo>
                  <a:lnTo>
                    <a:pt x="31508" y="5801"/>
                  </a:lnTo>
                  <a:lnTo>
                    <a:pt x="31508" y="5801"/>
                  </a:lnTo>
                  <a:lnTo>
                    <a:pt x="32513" y="5801"/>
                  </a:lnTo>
                  <a:lnTo>
                    <a:pt x="33184" y="5801"/>
                  </a:lnTo>
                  <a:lnTo>
                    <a:pt x="33184" y="5190"/>
                  </a:lnTo>
                  <a:lnTo>
                    <a:pt x="33184" y="5190"/>
                  </a:lnTo>
                  <a:lnTo>
                    <a:pt x="34860" y="5190"/>
                  </a:lnTo>
                  <a:lnTo>
                    <a:pt x="34860" y="5190"/>
                  </a:lnTo>
                  <a:lnTo>
                    <a:pt x="34860" y="5190"/>
                  </a:lnTo>
                  <a:lnTo>
                    <a:pt x="33854" y="5801"/>
                  </a:lnTo>
                  <a:lnTo>
                    <a:pt x="33854" y="5801"/>
                  </a:lnTo>
                  <a:lnTo>
                    <a:pt x="33854" y="5801"/>
                  </a:lnTo>
                  <a:lnTo>
                    <a:pt x="34860" y="6412"/>
                  </a:lnTo>
                  <a:lnTo>
                    <a:pt x="34860" y="6412"/>
                  </a:lnTo>
                  <a:lnTo>
                    <a:pt x="34860" y="6412"/>
                  </a:lnTo>
                  <a:lnTo>
                    <a:pt x="35530" y="6412"/>
                  </a:lnTo>
                  <a:lnTo>
                    <a:pt x="36201" y="6412"/>
                  </a:lnTo>
                  <a:lnTo>
                    <a:pt x="36201" y="6412"/>
                  </a:lnTo>
                  <a:lnTo>
                    <a:pt x="35530" y="6412"/>
                  </a:lnTo>
                  <a:lnTo>
                    <a:pt x="35530" y="6412"/>
                  </a:lnTo>
                  <a:lnTo>
                    <a:pt x="32513" y="6412"/>
                  </a:lnTo>
                  <a:lnTo>
                    <a:pt x="32513" y="6412"/>
                  </a:lnTo>
                  <a:lnTo>
                    <a:pt x="32513" y="6412"/>
                  </a:lnTo>
                  <a:lnTo>
                    <a:pt x="33184" y="7328"/>
                  </a:lnTo>
                  <a:lnTo>
                    <a:pt x="33854" y="7328"/>
                  </a:lnTo>
                  <a:lnTo>
                    <a:pt x="33184" y="7328"/>
                  </a:lnTo>
                  <a:lnTo>
                    <a:pt x="33184" y="7328"/>
                  </a:lnTo>
                  <a:lnTo>
                    <a:pt x="33854" y="7938"/>
                  </a:lnTo>
                  <a:lnTo>
                    <a:pt x="33854" y="7938"/>
                  </a:lnTo>
                  <a:lnTo>
                    <a:pt x="34860" y="7938"/>
                  </a:lnTo>
                  <a:lnTo>
                    <a:pt x="34860" y="7938"/>
                  </a:lnTo>
                  <a:lnTo>
                    <a:pt x="35530" y="7938"/>
                  </a:lnTo>
                  <a:lnTo>
                    <a:pt x="36201" y="8854"/>
                  </a:lnTo>
                  <a:lnTo>
                    <a:pt x="37206" y="9465"/>
                  </a:lnTo>
                  <a:lnTo>
                    <a:pt x="37877" y="9465"/>
                  </a:lnTo>
                  <a:lnTo>
                    <a:pt x="37877" y="9465"/>
                  </a:lnTo>
                  <a:lnTo>
                    <a:pt x="37877" y="9465"/>
                  </a:lnTo>
                  <a:lnTo>
                    <a:pt x="39553" y="10076"/>
                  </a:lnTo>
                  <a:lnTo>
                    <a:pt x="41229" y="10076"/>
                  </a:lnTo>
                  <a:lnTo>
                    <a:pt x="41899" y="10076"/>
                  </a:lnTo>
                  <a:lnTo>
                    <a:pt x="42569" y="9465"/>
                  </a:lnTo>
                  <a:lnTo>
                    <a:pt x="43575" y="9465"/>
                  </a:lnTo>
                  <a:lnTo>
                    <a:pt x="44245" y="9465"/>
                  </a:lnTo>
                  <a:lnTo>
                    <a:pt x="44245" y="9465"/>
                  </a:lnTo>
                  <a:lnTo>
                    <a:pt x="44916" y="9465"/>
                  </a:lnTo>
                  <a:lnTo>
                    <a:pt x="44916" y="8854"/>
                  </a:lnTo>
                  <a:lnTo>
                    <a:pt x="44245" y="8854"/>
                  </a:lnTo>
                  <a:lnTo>
                    <a:pt x="44245" y="8854"/>
                  </a:lnTo>
                  <a:lnTo>
                    <a:pt x="44245" y="7938"/>
                  </a:lnTo>
                  <a:lnTo>
                    <a:pt x="44245" y="7938"/>
                  </a:lnTo>
                  <a:lnTo>
                    <a:pt x="44245" y="7938"/>
                  </a:lnTo>
                  <a:lnTo>
                    <a:pt x="44916" y="7938"/>
                  </a:lnTo>
                  <a:lnTo>
                    <a:pt x="44916" y="7938"/>
                  </a:lnTo>
                  <a:lnTo>
                    <a:pt x="44916" y="7938"/>
                  </a:lnTo>
                  <a:lnTo>
                    <a:pt x="45921" y="7938"/>
                  </a:lnTo>
                  <a:lnTo>
                    <a:pt x="45921" y="7938"/>
                  </a:lnTo>
                  <a:lnTo>
                    <a:pt x="45921" y="7938"/>
                  </a:lnTo>
                  <a:lnTo>
                    <a:pt x="46592" y="7938"/>
                  </a:lnTo>
                  <a:lnTo>
                    <a:pt x="46592" y="7938"/>
                  </a:lnTo>
                  <a:lnTo>
                    <a:pt x="47262" y="7938"/>
                  </a:lnTo>
                  <a:lnTo>
                    <a:pt x="47262" y="7328"/>
                  </a:lnTo>
                  <a:lnTo>
                    <a:pt x="48268" y="7328"/>
                  </a:lnTo>
                  <a:lnTo>
                    <a:pt x="48268" y="7938"/>
                  </a:lnTo>
                  <a:lnTo>
                    <a:pt x="48268" y="7938"/>
                  </a:lnTo>
                  <a:lnTo>
                    <a:pt x="47262" y="7938"/>
                  </a:lnTo>
                  <a:lnTo>
                    <a:pt x="47262" y="7938"/>
                  </a:lnTo>
                  <a:lnTo>
                    <a:pt x="47262" y="8854"/>
                  </a:lnTo>
                  <a:lnTo>
                    <a:pt x="48268" y="8854"/>
                  </a:lnTo>
                  <a:lnTo>
                    <a:pt x="48268" y="8854"/>
                  </a:lnTo>
                  <a:lnTo>
                    <a:pt x="48938" y="8854"/>
                  </a:lnTo>
                  <a:lnTo>
                    <a:pt x="50614" y="8854"/>
                  </a:lnTo>
                  <a:lnTo>
                    <a:pt x="51284" y="8854"/>
                  </a:lnTo>
                  <a:lnTo>
                    <a:pt x="52290" y="7938"/>
                  </a:lnTo>
                  <a:lnTo>
                    <a:pt x="52290" y="7938"/>
                  </a:lnTo>
                  <a:lnTo>
                    <a:pt x="53631" y="7938"/>
                  </a:lnTo>
                  <a:lnTo>
                    <a:pt x="52960" y="7938"/>
                  </a:lnTo>
                  <a:lnTo>
                    <a:pt x="52290" y="8854"/>
                  </a:lnTo>
                  <a:lnTo>
                    <a:pt x="52960" y="8854"/>
                  </a:lnTo>
                  <a:lnTo>
                    <a:pt x="53631" y="9465"/>
                  </a:lnTo>
                  <a:lnTo>
                    <a:pt x="53631" y="9465"/>
                  </a:lnTo>
                  <a:lnTo>
                    <a:pt x="54636" y="9465"/>
                  </a:lnTo>
                  <a:lnTo>
                    <a:pt x="55307" y="9465"/>
                  </a:lnTo>
                  <a:lnTo>
                    <a:pt x="54636" y="9465"/>
                  </a:lnTo>
                  <a:lnTo>
                    <a:pt x="53631" y="9465"/>
                  </a:lnTo>
                  <a:lnTo>
                    <a:pt x="51284" y="9465"/>
                  </a:lnTo>
                  <a:lnTo>
                    <a:pt x="49944" y="9465"/>
                  </a:lnTo>
                  <a:lnTo>
                    <a:pt x="49944" y="9465"/>
                  </a:lnTo>
                  <a:lnTo>
                    <a:pt x="48938" y="9465"/>
                  </a:lnTo>
                  <a:lnTo>
                    <a:pt x="48938" y="10076"/>
                  </a:lnTo>
                  <a:lnTo>
                    <a:pt x="48938" y="10076"/>
                  </a:lnTo>
                  <a:lnTo>
                    <a:pt x="48938" y="10076"/>
                  </a:lnTo>
                  <a:lnTo>
                    <a:pt x="48268" y="10076"/>
                  </a:lnTo>
                  <a:lnTo>
                    <a:pt x="46592" y="10076"/>
                  </a:lnTo>
                  <a:lnTo>
                    <a:pt x="43575" y="10992"/>
                  </a:lnTo>
                  <a:lnTo>
                    <a:pt x="43575" y="10992"/>
                  </a:lnTo>
                  <a:lnTo>
                    <a:pt x="42569" y="10992"/>
                  </a:lnTo>
                  <a:lnTo>
                    <a:pt x="42569" y="10992"/>
                  </a:lnTo>
                  <a:lnTo>
                    <a:pt x="41899" y="10992"/>
                  </a:lnTo>
                  <a:lnTo>
                    <a:pt x="41899" y="10992"/>
                  </a:lnTo>
                  <a:lnTo>
                    <a:pt x="41229" y="10992"/>
                  </a:lnTo>
                  <a:lnTo>
                    <a:pt x="41229" y="10992"/>
                  </a:lnTo>
                  <a:lnTo>
                    <a:pt x="41229" y="11603"/>
                  </a:lnTo>
                  <a:lnTo>
                    <a:pt x="41899" y="11603"/>
                  </a:lnTo>
                  <a:lnTo>
                    <a:pt x="41899" y="11603"/>
                  </a:lnTo>
                  <a:lnTo>
                    <a:pt x="42569" y="12213"/>
                  </a:lnTo>
                  <a:lnTo>
                    <a:pt x="42569" y="12213"/>
                  </a:lnTo>
                  <a:lnTo>
                    <a:pt x="44916" y="12213"/>
                  </a:lnTo>
                  <a:lnTo>
                    <a:pt x="45921" y="12213"/>
                  </a:lnTo>
                  <a:lnTo>
                    <a:pt x="47262" y="12213"/>
                  </a:lnTo>
                  <a:lnTo>
                    <a:pt x="48268" y="11603"/>
                  </a:lnTo>
                  <a:lnTo>
                    <a:pt x="48938" y="11603"/>
                  </a:lnTo>
                  <a:lnTo>
                    <a:pt x="49944" y="11603"/>
                  </a:lnTo>
                  <a:lnTo>
                    <a:pt x="50614" y="11603"/>
                  </a:lnTo>
                  <a:lnTo>
                    <a:pt x="52960" y="11603"/>
                  </a:lnTo>
                  <a:lnTo>
                    <a:pt x="53631" y="11603"/>
                  </a:lnTo>
                  <a:lnTo>
                    <a:pt x="54636" y="11603"/>
                  </a:lnTo>
                  <a:lnTo>
                    <a:pt x="54636" y="11603"/>
                  </a:lnTo>
                  <a:lnTo>
                    <a:pt x="54636" y="12213"/>
                  </a:lnTo>
                  <a:lnTo>
                    <a:pt x="52960" y="12213"/>
                  </a:lnTo>
                  <a:lnTo>
                    <a:pt x="51284" y="12213"/>
                  </a:lnTo>
                  <a:lnTo>
                    <a:pt x="46592" y="12213"/>
                  </a:lnTo>
                  <a:lnTo>
                    <a:pt x="45921" y="13129"/>
                  </a:lnTo>
                  <a:lnTo>
                    <a:pt x="44916" y="13129"/>
                  </a:lnTo>
                  <a:lnTo>
                    <a:pt x="44916" y="13129"/>
                  </a:lnTo>
                  <a:lnTo>
                    <a:pt x="44245" y="13129"/>
                  </a:lnTo>
                  <a:lnTo>
                    <a:pt x="42569" y="13129"/>
                  </a:lnTo>
                  <a:lnTo>
                    <a:pt x="42569" y="13129"/>
                  </a:lnTo>
                  <a:lnTo>
                    <a:pt x="42569" y="13129"/>
                  </a:lnTo>
                  <a:lnTo>
                    <a:pt x="42569" y="13740"/>
                  </a:lnTo>
                  <a:lnTo>
                    <a:pt x="42569" y="13740"/>
                  </a:lnTo>
                  <a:lnTo>
                    <a:pt x="43575" y="14351"/>
                  </a:lnTo>
                  <a:lnTo>
                    <a:pt x="43575" y="14351"/>
                  </a:lnTo>
                  <a:lnTo>
                    <a:pt x="44245" y="14351"/>
                  </a:lnTo>
                  <a:lnTo>
                    <a:pt x="44916" y="15267"/>
                  </a:lnTo>
                  <a:lnTo>
                    <a:pt x="45921" y="15267"/>
                  </a:lnTo>
                  <a:lnTo>
                    <a:pt x="47262" y="15267"/>
                  </a:lnTo>
                  <a:lnTo>
                    <a:pt x="48938" y="16793"/>
                  </a:lnTo>
                  <a:lnTo>
                    <a:pt x="51284" y="16793"/>
                  </a:lnTo>
                  <a:lnTo>
                    <a:pt x="51284" y="17404"/>
                  </a:lnTo>
                  <a:lnTo>
                    <a:pt x="52290" y="17404"/>
                  </a:lnTo>
                  <a:lnTo>
                    <a:pt x="52290" y="17404"/>
                  </a:lnTo>
                  <a:lnTo>
                    <a:pt x="52960" y="18015"/>
                  </a:lnTo>
                  <a:lnTo>
                    <a:pt x="53631" y="18015"/>
                  </a:lnTo>
                  <a:lnTo>
                    <a:pt x="54636" y="18015"/>
                  </a:lnTo>
                  <a:lnTo>
                    <a:pt x="55307" y="17404"/>
                  </a:lnTo>
                  <a:lnTo>
                    <a:pt x="55307" y="17404"/>
                  </a:lnTo>
                  <a:lnTo>
                    <a:pt x="55307" y="16793"/>
                  </a:lnTo>
                  <a:lnTo>
                    <a:pt x="55307" y="16793"/>
                  </a:lnTo>
                  <a:lnTo>
                    <a:pt x="55307" y="16793"/>
                  </a:lnTo>
                  <a:lnTo>
                    <a:pt x="55977" y="15877"/>
                  </a:lnTo>
                  <a:lnTo>
                    <a:pt x="55977" y="15877"/>
                  </a:lnTo>
                  <a:lnTo>
                    <a:pt x="55307" y="15877"/>
                  </a:lnTo>
                  <a:lnTo>
                    <a:pt x="55977" y="15267"/>
                  </a:lnTo>
                  <a:lnTo>
                    <a:pt x="56983" y="14351"/>
                  </a:lnTo>
                  <a:lnTo>
                    <a:pt x="57653" y="13740"/>
                  </a:lnTo>
                  <a:lnTo>
                    <a:pt x="58324" y="13740"/>
                  </a:lnTo>
                  <a:lnTo>
                    <a:pt x="59329" y="13740"/>
                  </a:lnTo>
                  <a:lnTo>
                    <a:pt x="60000" y="13129"/>
                  </a:lnTo>
                  <a:lnTo>
                    <a:pt x="60000" y="13129"/>
                  </a:lnTo>
                  <a:lnTo>
                    <a:pt x="60000" y="12213"/>
                  </a:lnTo>
                  <a:lnTo>
                    <a:pt x="60000" y="12213"/>
                  </a:lnTo>
                  <a:lnTo>
                    <a:pt x="60000" y="11603"/>
                  </a:lnTo>
                  <a:lnTo>
                    <a:pt x="60000" y="10992"/>
                  </a:lnTo>
                  <a:lnTo>
                    <a:pt x="60000" y="10992"/>
                  </a:lnTo>
                  <a:lnTo>
                    <a:pt x="61005" y="10992"/>
                  </a:lnTo>
                  <a:lnTo>
                    <a:pt x="61675" y="10992"/>
                  </a:lnTo>
                  <a:lnTo>
                    <a:pt x="61675" y="10992"/>
                  </a:lnTo>
                  <a:lnTo>
                    <a:pt x="62346" y="10992"/>
                  </a:lnTo>
                  <a:lnTo>
                    <a:pt x="62346" y="10076"/>
                  </a:lnTo>
                  <a:lnTo>
                    <a:pt x="62346" y="10076"/>
                  </a:lnTo>
                  <a:lnTo>
                    <a:pt x="62346" y="10076"/>
                  </a:lnTo>
                  <a:lnTo>
                    <a:pt x="62346" y="9465"/>
                  </a:lnTo>
                  <a:lnTo>
                    <a:pt x="63351" y="9465"/>
                  </a:lnTo>
                  <a:lnTo>
                    <a:pt x="64022" y="8854"/>
                  </a:lnTo>
                  <a:lnTo>
                    <a:pt x="64692" y="8854"/>
                  </a:lnTo>
                  <a:lnTo>
                    <a:pt x="64692" y="7938"/>
                  </a:lnTo>
                  <a:lnTo>
                    <a:pt x="64692" y="7938"/>
                  </a:lnTo>
                  <a:lnTo>
                    <a:pt x="65698" y="7938"/>
                  </a:lnTo>
                  <a:lnTo>
                    <a:pt x="68044" y="7938"/>
                  </a:lnTo>
                  <a:lnTo>
                    <a:pt x="68715" y="7938"/>
                  </a:lnTo>
                  <a:lnTo>
                    <a:pt x="70391" y="7938"/>
                  </a:lnTo>
                  <a:lnTo>
                    <a:pt x="71061" y="7938"/>
                  </a:lnTo>
                  <a:lnTo>
                    <a:pt x="72067" y="7328"/>
                  </a:lnTo>
                  <a:lnTo>
                    <a:pt x="72067" y="7328"/>
                  </a:lnTo>
                  <a:lnTo>
                    <a:pt x="71061" y="7328"/>
                  </a:lnTo>
                  <a:lnTo>
                    <a:pt x="70391" y="7328"/>
                  </a:lnTo>
                  <a:lnTo>
                    <a:pt x="68715" y="6412"/>
                  </a:lnTo>
                  <a:lnTo>
                    <a:pt x="68044" y="6412"/>
                  </a:lnTo>
                  <a:lnTo>
                    <a:pt x="68715" y="5801"/>
                  </a:lnTo>
                  <a:lnTo>
                    <a:pt x="68715" y="5801"/>
                  </a:lnTo>
                  <a:lnTo>
                    <a:pt x="68044" y="5801"/>
                  </a:lnTo>
                  <a:lnTo>
                    <a:pt x="66368" y="5801"/>
                  </a:lnTo>
                  <a:lnTo>
                    <a:pt x="66368" y="5801"/>
                  </a:lnTo>
                  <a:lnTo>
                    <a:pt x="66368" y="5801"/>
                  </a:lnTo>
                  <a:lnTo>
                    <a:pt x="65698" y="5801"/>
                  </a:lnTo>
                  <a:lnTo>
                    <a:pt x="64692" y="5801"/>
                  </a:lnTo>
                  <a:lnTo>
                    <a:pt x="64022" y="5801"/>
                  </a:lnTo>
                  <a:lnTo>
                    <a:pt x="62346" y="5801"/>
                  </a:lnTo>
                  <a:lnTo>
                    <a:pt x="61675" y="5801"/>
                  </a:lnTo>
                  <a:lnTo>
                    <a:pt x="61675" y="5190"/>
                  </a:lnTo>
                  <a:lnTo>
                    <a:pt x="61005" y="5190"/>
                  </a:lnTo>
                  <a:lnTo>
                    <a:pt x="61005" y="5190"/>
                  </a:lnTo>
                  <a:lnTo>
                    <a:pt x="61005" y="5190"/>
                  </a:lnTo>
                  <a:lnTo>
                    <a:pt x="61005" y="5190"/>
                  </a:lnTo>
                  <a:lnTo>
                    <a:pt x="61005" y="5190"/>
                  </a:lnTo>
                  <a:lnTo>
                    <a:pt x="61675" y="4274"/>
                  </a:lnTo>
                  <a:lnTo>
                    <a:pt x="61005" y="4274"/>
                  </a:lnTo>
                  <a:lnTo>
                    <a:pt x="61005" y="4274"/>
                  </a:lnTo>
                  <a:lnTo>
                    <a:pt x="61005" y="4274"/>
                  </a:lnTo>
                  <a:lnTo>
                    <a:pt x="60000" y="3664"/>
                  </a:lnTo>
                  <a:lnTo>
                    <a:pt x="59329" y="3664"/>
                  </a:lnTo>
                  <a:lnTo>
                    <a:pt x="59329" y="3664"/>
                  </a:lnTo>
                  <a:lnTo>
                    <a:pt x="59329" y="3664"/>
                  </a:lnTo>
                  <a:lnTo>
                    <a:pt x="57653" y="4274"/>
                  </a:lnTo>
                  <a:lnTo>
                    <a:pt x="56983" y="4274"/>
                  </a:lnTo>
                  <a:lnTo>
                    <a:pt x="56983" y="4274"/>
                  </a:lnTo>
                  <a:lnTo>
                    <a:pt x="56983" y="4274"/>
                  </a:lnTo>
                  <a:lnTo>
                    <a:pt x="56983" y="3664"/>
                  </a:lnTo>
                  <a:lnTo>
                    <a:pt x="56983" y="3664"/>
                  </a:lnTo>
                  <a:lnTo>
                    <a:pt x="57653" y="3664"/>
                  </a:lnTo>
                  <a:lnTo>
                    <a:pt x="57653" y="3053"/>
                  </a:lnTo>
                  <a:lnTo>
                    <a:pt x="56983" y="3053"/>
                  </a:lnTo>
                  <a:lnTo>
                    <a:pt x="56983" y="3053"/>
                  </a:lnTo>
                  <a:lnTo>
                    <a:pt x="55977" y="2137"/>
                  </a:lnTo>
                  <a:lnTo>
                    <a:pt x="54636" y="2137"/>
                  </a:lnTo>
                  <a:lnTo>
                    <a:pt x="53631" y="2137"/>
                  </a:lnTo>
                  <a:lnTo>
                    <a:pt x="53631" y="2137"/>
                  </a:lnTo>
                  <a:lnTo>
                    <a:pt x="53631" y="2137"/>
                  </a:lnTo>
                  <a:lnTo>
                    <a:pt x="52960" y="2137"/>
                  </a:lnTo>
                  <a:lnTo>
                    <a:pt x="52960" y="2137"/>
                  </a:lnTo>
                  <a:lnTo>
                    <a:pt x="52290" y="2137"/>
                  </a:lnTo>
                  <a:lnTo>
                    <a:pt x="51284" y="1526"/>
                  </a:lnTo>
                  <a:lnTo>
                    <a:pt x="50614" y="1526"/>
                  </a:lnTo>
                  <a:lnTo>
                    <a:pt x="50614" y="2137"/>
                  </a:lnTo>
                  <a:lnTo>
                    <a:pt x="50614" y="2137"/>
                  </a:lnTo>
                  <a:lnTo>
                    <a:pt x="50614" y="2137"/>
                  </a:lnTo>
                  <a:lnTo>
                    <a:pt x="49944" y="3053"/>
                  </a:lnTo>
                  <a:lnTo>
                    <a:pt x="49944" y="3053"/>
                  </a:lnTo>
                  <a:lnTo>
                    <a:pt x="48938" y="3053"/>
                  </a:lnTo>
                  <a:lnTo>
                    <a:pt x="48938" y="3664"/>
                  </a:lnTo>
                  <a:lnTo>
                    <a:pt x="49944" y="3664"/>
                  </a:lnTo>
                  <a:lnTo>
                    <a:pt x="49944" y="4274"/>
                  </a:lnTo>
                  <a:lnTo>
                    <a:pt x="50614" y="5190"/>
                  </a:lnTo>
                  <a:lnTo>
                    <a:pt x="51284" y="5801"/>
                  </a:lnTo>
                  <a:lnTo>
                    <a:pt x="51284" y="6412"/>
                  </a:lnTo>
                  <a:lnTo>
                    <a:pt x="51284" y="6412"/>
                  </a:lnTo>
                  <a:lnTo>
                    <a:pt x="49944" y="5801"/>
                  </a:lnTo>
                  <a:lnTo>
                    <a:pt x="48938" y="5801"/>
                  </a:lnTo>
                  <a:lnTo>
                    <a:pt x="48938" y="5190"/>
                  </a:lnTo>
                  <a:lnTo>
                    <a:pt x="48268" y="4274"/>
                  </a:lnTo>
                  <a:lnTo>
                    <a:pt x="47262" y="3664"/>
                  </a:lnTo>
                  <a:lnTo>
                    <a:pt x="46592" y="3664"/>
                  </a:lnTo>
                  <a:lnTo>
                    <a:pt x="45921" y="3053"/>
                  </a:lnTo>
                  <a:lnTo>
                    <a:pt x="44245" y="3053"/>
                  </a:lnTo>
                  <a:lnTo>
                    <a:pt x="43575" y="3053"/>
                  </a:lnTo>
                  <a:lnTo>
                    <a:pt x="42569" y="3664"/>
                  </a:lnTo>
                  <a:lnTo>
                    <a:pt x="42569" y="3664"/>
                  </a:lnTo>
                  <a:lnTo>
                    <a:pt x="42569" y="3664"/>
                  </a:lnTo>
                  <a:lnTo>
                    <a:pt x="42569" y="4274"/>
                  </a:lnTo>
                  <a:lnTo>
                    <a:pt x="42569" y="4274"/>
                  </a:lnTo>
                  <a:lnTo>
                    <a:pt x="42569" y="4274"/>
                  </a:lnTo>
                  <a:lnTo>
                    <a:pt x="42569" y="5190"/>
                  </a:lnTo>
                  <a:lnTo>
                    <a:pt x="41899" y="5190"/>
                  </a:lnTo>
                  <a:lnTo>
                    <a:pt x="41899" y="4274"/>
                  </a:lnTo>
                  <a:lnTo>
                    <a:pt x="41229" y="4274"/>
                  </a:lnTo>
                  <a:lnTo>
                    <a:pt x="41229" y="4274"/>
                  </a:lnTo>
                  <a:lnTo>
                    <a:pt x="40223" y="4274"/>
                  </a:lnTo>
                  <a:lnTo>
                    <a:pt x="40223" y="4274"/>
                  </a:lnTo>
                  <a:lnTo>
                    <a:pt x="39553" y="3664"/>
                  </a:lnTo>
                  <a:lnTo>
                    <a:pt x="39553" y="3664"/>
                  </a:lnTo>
                  <a:lnTo>
                    <a:pt x="36201" y="3664"/>
                  </a:lnTo>
                  <a:lnTo>
                    <a:pt x="38882" y="3664"/>
                  </a:lnTo>
                  <a:lnTo>
                    <a:pt x="41229" y="3053"/>
                  </a:lnTo>
                  <a:lnTo>
                    <a:pt x="41899" y="3053"/>
                  </a:lnTo>
                  <a:lnTo>
                    <a:pt x="41899" y="3053"/>
                  </a:lnTo>
                  <a:lnTo>
                    <a:pt x="41899" y="3053"/>
                  </a:lnTo>
                  <a:lnTo>
                    <a:pt x="41899" y="3053"/>
                  </a:lnTo>
                  <a:lnTo>
                    <a:pt x="41229" y="2137"/>
                  </a:lnTo>
                  <a:lnTo>
                    <a:pt x="38882" y="3053"/>
                  </a:lnTo>
                  <a:lnTo>
                    <a:pt x="37206" y="3053"/>
                  </a:lnTo>
                  <a:lnTo>
                    <a:pt x="37206" y="3053"/>
                  </a:lnTo>
                  <a:lnTo>
                    <a:pt x="35530" y="3053"/>
                  </a:lnTo>
                  <a:lnTo>
                    <a:pt x="35530" y="3053"/>
                  </a:lnTo>
                  <a:lnTo>
                    <a:pt x="35530" y="3053"/>
                  </a:lnTo>
                  <a:lnTo>
                    <a:pt x="35530" y="3053"/>
                  </a:lnTo>
                  <a:lnTo>
                    <a:pt x="35530" y="3053"/>
                  </a:lnTo>
                  <a:lnTo>
                    <a:pt x="34860" y="3053"/>
                  </a:lnTo>
                  <a:lnTo>
                    <a:pt x="33184" y="3053"/>
                  </a:lnTo>
                  <a:lnTo>
                    <a:pt x="31508" y="3053"/>
                  </a:lnTo>
                  <a:lnTo>
                    <a:pt x="31508" y="3053"/>
                  </a:lnTo>
                  <a:lnTo>
                    <a:pt x="31508" y="3053"/>
                  </a:lnTo>
                  <a:lnTo>
                    <a:pt x="30837" y="3053"/>
                  </a:lnTo>
                  <a:lnTo>
                    <a:pt x="30837" y="3053"/>
                  </a:lnTo>
                  <a:lnTo>
                    <a:pt x="30167" y="3053"/>
                  </a:lnTo>
                  <a:lnTo>
                    <a:pt x="30167" y="3053"/>
                  </a:lnTo>
                  <a:lnTo>
                    <a:pt x="29162" y="3053"/>
                  </a:lnTo>
                  <a:lnTo>
                    <a:pt x="29162" y="3053"/>
                  </a:lnTo>
                  <a:lnTo>
                    <a:pt x="29162" y="3053"/>
                  </a:lnTo>
                  <a:lnTo>
                    <a:pt x="30167" y="3664"/>
                  </a:lnTo>
                  <a:close/>
                  <a:moveTo>
                    <a:pt x="60000" y="916"/>
                  </a:moveTo>
                  <a:lnTo>
                    <a:pt x="59329" y="916"/>
                  </a:lnTo>
                  <a:lnTo>
                    <a:pt x="58324" y="0"/>
                  </a:lnTo>
                  <a:lnTo>
                    <a:pt x="58324" y="916"/>
                  </a:lnTo>
                  <a:lnTo>
                    <a:pt x="58324" y="916"/>
                  </a:lnTo>
                  <a:lnTo>
                    <a:pt x="59329" y="916"/>
                  </a:lnTo>
                  <a:lnTo>
                    <a:pt x="60000" y="916"/>
                  </a:lnTo>
                  <a:close/>
                  <a:moveTo>
                    <a:pt x="59329" y="1526"/>
                  </a:moveTo>
                  <a:lnTo>
                    <a:pt x="61005" y="1526"/>
                  </a:lnTo>
                  <a:lnTo>
                    <a:pt x="61005" y="2137"/>
                  </a:lnTo>
                  <a:lnTo>
                    <a:pt x="60000" y="2137"/>
                  </a:lnTo>
                  <a:lnTo>
                    <a:pt x="58324" y="2137"/>
                  </a:lnTo>
                  <a:lnTo>
                    <a:pt x="58324" y="2137"/>
                  </a:lnTo>
                  <a:lnTo>
                    <a:pt x="59329" y="2137"/>
                  </a:lnTo>
                  <a:lnTo>
                    <a:pt x="59329" y="3053"/>
                  </a:lnTo>
                  <a:lnTo>
                    <a:pt x="61005" y="3053"/>
                  </a:lnTo>
                  <a:lnTo>
                    <a:pt x="61675" y="3053"/>
                  </a:lnTo>
                  <a:lnTo>
                    <a:pt x="63351" y="3053"/>
                  </a:lnTo>
                  <a:lnTo>
                    <a:pt x="64022" y="3053"/>
                  </a:lnTo>
                  <a:lnTo>
                    <a:pt x="65698" y="3053"/>
                  </a:lnTo>
                  <a:lnTo>
                    <a:pt x="66368" y="3053"/>
                  </a:lnTo>
                  <a:lnTo>
                    <a:pt x="67039" y="3053"/>
                  </a:lnTo>
                  <a:lnTo>
                    <a:pt x="68715" y="3053"/>
                  </a:lnTo>
                  <a:lnTo>
                    <a:pt x="68044" y="3053"/>
                  </a:lnTo>
                  <a:lnTo>
                    <a:pt x="68044" y="3664"/>
                  </a:lnTo>
                  <a:lnTo>
                    <a:pt x="68044" y="3664"/>
                  </a:lnTo>
                  <a:lnTo>
                    <a:pt x="66368" y="3664"/>
                  </a:lnTo>
                  <a:lnTo>
                    <a:pt x="65698" y="3664"/>
                  </a:lnTo>
                  <a:lnTo>
                    <a:pt x="64692" y="3664"/>
                  </a:lnTo>
                  <a:lnTo>
                    <a:pt x="64692" y="3664"/>
                  </a:lnTo>
                  <a:lnTo>
                    <a:pt x="64692" y="3664"/>
                  </a:lnTo>
                  <a:lnTo>
                    <a:pt x="65698" y="3664"/>
                  </a:lnTo>
                  <a:lnTo>
                    <a:pt x="66368" y="4274"/>
                  </a:lnTo>
                  <a:lnTo>
                    <a:pt x="67039" y="4274"/>
                  </a:lnTo>
                  <a:lnTo>
                    <a:pt x="68715" y="4274"/>
                  </a:lnTo>
                  <a:lnTo>
                    <a:pt x="68715" y="4274"/>
                  </a:lnTo>
                  <a:lnTo>
                    <a:pt x="69385" y="4274"/>
                  </a:lnTo>
                  <a:lnTo>
                    <a:pt x="73407" y="4274"/>
                  </a:lnTo>
                  <a:lnTo>
                    <a:pt x="76759" y="4274"/>
                  </a:lnTo>
                  <a:lnTo>
                    <a:pt x="76759" y="5190"/>
                  </a:lnTo>
                  <a:lnTo>
                    <a:pt x="76759" y="5190"/>
                  </a:lnTo>
                  <a:lnTo>
                    <a:pt x="77430" y="5190"/>
                  </a:lnTo>
                  <a:lnTo>
                    <a:pt x="80446" y="5801"/>
                  </a:lnTo>
                  <a:lnTo>
                    <a:pt x="81452" y="5801"/>
                  </a:lnTo>
                  <a:lnTo>
                    <a:pt x="82122" y="5190"/>
                  </a:lnTo>
                  <a:lnTo>
                    <a:pt x="83128" y="5190"/>
                  </a:lnTo>
                  <a:lnTo>
                    <a:pt x="83128" y="5190"/>
                  </a:lnTo>
                  <a:lnTo>
                    <a:pt x="84469" y="5190"/>
                  </a:lnTo>
                  <a:lnTo>
                    <a:pt x="84469" y="5190"/>
                  </a:lnTo>
                  <a:lnTo>
                    <a:pt x="86145" y="5190"/>
                  </a:lnTo>
                  <a:lnTo>
                    <a:pt x="86145" y="5190"/>
                  </a:lnTo>
                  <a:lnTo>
                    <a:pt x="87821" y="4274"/>
                  </a:lnTo>
                  <a:lnTo>
                    <a:pt x="88491" y="4274"/>
                  </a:lnTo>
                  <a:lnTo>
                    <a:pt x="88491" y="3664"/>
                  </a:lnTo>
                  <a:lnTo>
                    <a:pt x="89162" y="3664"/>
                  </a:lnTo>
                  <a:lnTo>
                    <a:pt x="90167" y="3664"/>
                  </a:lnTo>
                  <a:lnTo>
                    <a:pt x="93184" y="2137"/>
                  </a:lnTo>
                  <a:lnTo>
                    <a:pt x="93184" y="2137"/>
                  </a:lnTo>
                  <a:lnTo>
                    <a:pt x="93184" y="1526"/>
                  </a:lnTo>
                  <a:lnTo>
                    <a:pt x="92513" y="1526"/>
                  </a:lnTo>
                  <a:lnTo>
                    <a:pt x="91508" y="1526"/>
                  </a:lnTo>
                  <a:lnTo>
                    <a:pt x="90167" y="1526"/>
                  </a:lnTo>
                  <a:lnTo>
                    <a:pt x="87821" y="1526"/>
                  </a:lnTo>
                  <a:lnTo>
                    <a:pt x="87821" y="1526"/>
                  </a:lnTo>
                  <a:lnTo>
                    <a:pt x="86815" y="916"/>
                  </a:lnTo>
                  <a:lnTo>
                    <a:pt x="86145" y="916"/>
                  </a:lnTo>
                  <a:lnTo>
                    <a:pt x="84469" y="916"/>
                  </a:lnTo>
                  <a:lnTo>
                    <a:pt x="83798" y="916"/>
                  </a:lnTo>
                  <a:lnTo>
                    <a:pt x="83798" y="916"/>
                  </a:lnTo>
                  <a:lnTo>
                    <a:pt x="83128" y="916"/>
                  </a:lnTo>
                  <a:lnTo>
                    <a:pt x="83128" y="916"/>
                  </a:lnTo>
                  <a:lnTo>
                    <a:pt x="82122" y="916"/>
                  </a:lnTo>
                  <a:lnTo>
                    <a:pt x="82122" y="0"/>
                  </a:lnTo>
                  <a:lnTo>
                    <a:pt x="81452" y="916"/>
                  </a:lnTo>
                  <a:lnTo>
                    <a:pt x="81452" y="916"/>
                  </a:lnTo>
                  <a:lnTo>
                    <a:pt x="81452" y="916"/>
                  </a:lnTo>
                  <a:lnTo>
                    <a:pt x="80446" y="916"/>
                  </a:lnTo>
                  <a:lnTo>
                    <a:pt x="79776" y="916"/>
                  </a:lnTo>
                  <a:lnTo>
                    <a:pt x="79776" y="916"/>
                  </a:lnTo>
                  <a:lnTo>
                    <a:pt x="78100" y="1526"/>
                  </a:lnTo>
                  <a:lnTo>
                    <a:pt x="77430" y="1526"/>
                  </a:lnTo>
                  <a:lnTo>
                    <a:pt x="77430" y="916"/>
                  </a:lnTo>
                  <a:lnTo>
                    <a:pt x="77430" y="0"/>
                  </a:lnTo>
                  <a:lnTo>
                    <a:pt x="78100" y="0"/>
                  </a:lnTo>
                  <a:lnTo>
                    <a:pt x="77430" y="0"/>
                  </a:lnTo>
                  <a:lnTo>
                    <a:pt x="76759" y="0"/>
                  </a:lnTo>
                  <a:lnTo>
                    <a:pt x="76759" y="0"/>
                  </a:lnTo>
                  <a:lnTo>
                    <a:pt x="75754" y="0"/>
                  </a:lnTo>
                  <a:lnTo>
                    <a:pt x="75754" y="0"/>
                  </a:lnTo>
                  <a:lnTo>
                    <a:pt x="75083" y="0"/>
                  </a:lnTo>
                  <a:lnTo>
                    <a:pt x="74413" y="0"/>
                  </a:lnTo>
                  <a:lnTo>
                    <a:pt x="74413" y="0"/>
                  </a:lnTo>
                  <a:lnTo>
                    <a:pt x="75083" y="916"/>
                  </a:lnTo>
                  <a:lnTo>
                    <a:pt x="75083" y="916"/>
                  </a:lnTo>
                  <a:lnTo>
                    <a:pt x="74413" y="1526"/>
                  </a:lnTo>
                  <a:lnTo>
                    <a:pt x="74413" y="1526"/>
                  </a:lnTo>
                  <a:lnTo>
                    <a:pt x="74413" y="1526"/>
                  </a:lnTo>
                  <a:lnTo>
                    <a:pt x="72737" y="1526"/>
                  </a:lnTo>
                  <a:lnTo>
                    <a:pt x="72067" y="1526"/>
                  </a:lnTo>
                  <a:lnTo>
                    <a:pt x="72067" y="1526"/>
                  </a:lnTo>
                  <a:lnTo>
                    <a:pt x="72067" y="916"/>
                  </a:lnTo>
                  <a:lnTo>
                    <a:pt x="71061" y="916"/>
                  </a:lnTo>
                  <a:lnTo>
                    <a:pt x="69385" y="916"/>
                  </a:lnTo>
                  <a:lnTo>
                    <a:pt x="68715" y="916"/>
                  </a:lnTo>
                  <a:lnTo>
                    <a:pt x="68044" y="916"/>
                  </a:lnTo>
                  <a:lnTo>
                    <a:pt x="67039" y="0"/>
                  </a:lnTo>
                  <a:lnTo>
                    <a:pt x="66368" y="0"/>
                  </a:lnTo>
                  <a:lnTo>
                    <a:pt x="65698" y="0"/>
                  </a:lnTo>
                  <a:lnTo>
                    <a:pt x="64692" y="0"/>
                  </a:lnTo>
                  <a:lnTo>
                    <a:pt x="64022" y="0"/>
                  </a:lnTo>
                  <a:lnTo>
                    <a:pt x="64022" y="0"/>
                  </a:lnTo>
                  <a:lnTo>
                    <a:pt x="64022" y="0"/>
                  </a:lnTo>
                  <a:lnTo>
                    <a:pt x="64022" y="916"/>
                  </a:lnTo>
                  <a:lnTo>
                    <a:pt x="64692" y="916"/>
                  </a:lnTo>
                  <a:lnTo>
                    <a:pt x="64692" y="916"/>
                  </a:lnTo>
                  <a:lnTo>
                    <a:pt x="64022" y="916"/>
                  </a:lnTo>
                  <a:lnTo>
                    <a:pt x="64022" y="916"/>
                  </a:lnTo>
                  <a:lnTo>
                    <a:pt x="62346" y="916"/>
                  </a:lnTo>
                  <a:lnTo>
                    <a:pt x="62346" y="916"/>
                  </a:lnTo>
                  <a:lnTo>
                    <a:pt x="62346" y="916"/>
                  </a:lnTo>
                  <a:lnTo>
                    <a:pt x="61675" y="916"/>
                  </a:lnTo>
                  <a:lnTo>
                    <a:pt x="62346" y="916"/>
                  </a:lnTo>
                  <a:lnTo>
                    <a:pt x="63351" y="1526"/>
                  </a:lnTo>
                  <a:lnTo>
                    <a:pt x="63351" y="1526"/>
                  </a:lnTo>
                  <a:lnTo>
                    <a:pt x="63351" y="1526"/>
                  </a:lnTo>
                  <a:lnTo>
                    <a:pt x="62346" y="1526"/>
                  </a:lnTo>
                  <a:lnTo>
                    <a:pt x="61675" y="1526"/>
                  </a:lnTo>
                  <a:lnTo>
                    <a:pt x="61005" y="916"/>
                  </a:lnTo>
                  <a:lnTo>
                    <a:pt x="57653" y="1526"/>
                  </a:lnTo>
                  <a:lnTo>
                    <a:pt x="57653" y="1526"/>
                  </a:lnTo>
                  <a:lnTo>
                    <a:pt x="58324" y="1526"/>
                  </a:lnTo>
                  <a:lnTo>
                    <a:pt x="59329" y="1526"/>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14" name="Shape 414"/>
            <p:cNvSpPr/>
            <p:nvPr/>
          </p:nvSpPr>
          <p:spPr>
            <a:xfrm>
              <a:off x="5800" y="1902"/>
              <a:ext cx="0" cy="0"/>
            </a:xfrm>
            <a:custGeom>
              <a:avLst/>
              <a:gdLst/>
              <a:ahLst/>
              <a:cxnLst/>
              <a:rect l="0" t="0" r="0" b="0"/>
              <a:pathLst>
                <a:path w="120000" h="120000" extrusionOk="0">
                  <a:moveTo>
                    <a:pt x="17560" y="75963"/>
                  </a:moveTo>
                  <a:lnTo>
                    <a:pt x="17560" y="75963"/>
                  </a:lnTo>
                  <a:lnTo>
                    <a:pt x="17560" y="78165"/>
                  </a:lnTo>
                  <a:lnTo>
                    <a:pt x="20487" y="75963"/>
                  </a:lnTo>
                  <a:lnTo>
                    <a:pt x="20487" y="75963"/>
                  </a:lnTo>
                  <a:lnTo>
                    <a:pt x="17560" y="75963"/>
                  </a:lnTo>
                  <a:close/>
                  <a:moveTo>
                    <a:pt x="117073" y="15412"/>
                  </a:moveTo>
                  <a:lnTo>
                    <a:pt x="117073" y="15412"/>
                  </a:lnTo>
                  <a:lnTo>
                    <a:pt x="120000" y="15412"/>
                  </a:lnTo>
                  <a:lnTo>
                    <a:pt x="120000" y="15412"/>
                  </a:lnTo>
                  <a:lnTo>
                    <a:pt x="120000" y="15412"/>
                  </a:lnTo>
                  <a:lnTo>
                    <a:pt x="120000" y="13211"/>
                  </a:lnTo>
                  <a:lnTo>
                    <a:pt x="117073" y="13211"/>
                  </a:lnTo>
                  <a:lnTo>
                    <a:pt x="114146" y="11009"/>
                  </a:lnTo>
                  <a:lnTo>
                    <a:pt x="114146" y="11009"/>
                  </a:lnTo>
                  <a:lnTo>
                    <a:pt x="114146" y="11009"/>
                  </a:lnTo>
                  <a:lnTo>
                    <a:pt x="109756" y="7706"/>
                  </a:lnTo>
                  <a:lnTo>
                    <a:pt x="106829" y="7706"/>
                  </a:lnTo>
                  <a:lnTo>
                    <a:pt x="106829" y="7706"/>
                  </a:lnTo>
                  <a:lnTo>
                    <a:pt x="103902" y="5504"/>
                  </a:lnTo>
                  <a:lnTo>
                    <a:pt x="99512" y="2201"/>
                  </a:lnTo>
                  <a:lnTo>
                    <a:pt x="99512" y="2201"/>
                  </a:lnTo>
                  <a:lnTo>
                    <a:pt x="96585" y="2201"/>
                  </a:lnTo>
                  <a:lnTo>
                    <a:pt x="96585" y="0"/>
                  </a:lnTo>
                  <a:lnTo>
                    <a:pt x="96585" y="0"/>
                  </a:lnTo>
                  <a:lnTo>
                    <a:pt x="93658" y="0"/>
                  </a:lnTo>
                  <a:lnTo>
                    <a:pt x="93658" y="0"/>
                  </a:lnTo>
                  <a:lnTo>
                    <a:pt x="93658" y="0"/>
                  </a:lnTo>
                  <a:lnTo>
                    <a:pt x="89268" y="0"/>
                  </a:lnTo>
                  <a:lnTo>
                    <a:pt x="89268" y="0"/>
                  </a:lnTo>
                  <a:lnTo>
                    <a:pt x="89268" y="2201"/>
                  </a:lnTo>
                  <a:lnTo>
                    <a:pt x="89268" y="5504"/>
                  </a:lnTo>
                  <a:lnTo>
                    <a:pt x="93658" y="5504"/>
                  </a:lnTo>
                  <a:lnTo>
                    <a:pt x="93658" y="7706"/>
                  </a:lnTo>
                  <a:lnTo>
                    <a:pt x="93658" y="11009"/>
                  </a:lnTo>
                  <a:lnTo>
                    <a:pt x="93658" y="13211"/>
                  </a:lnTo>
                  <a:lnTo>
                    <a:pt x="93658" y="13211"/>
                  </a:lnTo>
                  <a:lnTo>
                    <a:pt x="93658" y="13211"/>
                  </a:lnTo>
                  <a:lnTo>
                    <a:pt x="93658" y="13211"/>
                  </a:lnTo>
                  <a:lnTo>
                    <a:pt x="93658" y="13211"/>
                  </a:lnTo>
                  <a:lnTo>
                    <a:pt x="89268" y="13211"/>
                  </a:lnTo>
                  <a:lnTo>
                    <a:pt x="89268" y="13211"/>
                  </a:lnTo>
                  <a:lnTo>
                    <a:pt x="86341" y="13211"/>
                  </a:lnTo>
                  <a:lnTo>
                    <a:pt x="86341" y="13211"/>
                  </a:lnTo>
                  <a:lnTo>
                    <a:pt x="86341" y="13211"/>
                  </a:lnTo>
                  <a:lnTo>
                    <a:pt x="86341" y="15412"/>
                  </a:lnTo>
                  <a:lnTo>
                    <a:pt x="86341" y="15412"/>
                  </a:lnTo>
                  <a:lnTo>
                    <a:pt x="86341" y="18715"/>
                  </a:lnTo>
                  <a:lnTo>
                    <a:pt x="86341" y="18715"/>
                  </a:lnTo>
                  <a:lnTo>
                    <a:pt x="83414" y="18715"/>
                  </a:lnTo>
                  <a:lnTo>
                    <a:pt x="83414" y="20917"/>
                  </a:lnTo>
                  <a:lnTo>
                    <a:pt x="83414" y="20917"/>
                  </a:lnTo>
                  <a:lnTo>
                    <a:pt x="79024" y="20917"/>
                  </a:lnTo>
                  <a:lnTo>
                    <a:pt x="79024" y="20917"/>
                  </a:lnTo>
                  <a:lnTo>
                    <a:pt x="76097" y="20917"/>
                  </a:lnTo>
                  <a:lnTo>
                    <a:pt x="68780" y="20917"/>
                  </a:lnTo>
                  <a:lnTo>
                    <a:pt x="65853" y="20917"/>
                  </a:lnTo>
                  <a:lnTo>
                    <a:pt x="61463" y="20917"/>
                  </a:lnTo>
                  <a:lnTo>
                    <a:pt x="61463" y="23119"/>
                  </a:lnTo>
                  <a:lnTo>
                    <a:pt x="61463" y="23119"/>
                  </a:lnTo>
                  <a:lnTo>
                    <a:pt x="61463" y="23119"/>
                  </a:lnTo>
                  <a:lnTo>
                    <a:pt x="61463" y="26422"/>
                  </a:lnTo>
                  <a:lnTo>
                    <a:pt x="65853" y="26422"/>
                  </a:lnTo>
                  <a:lnTo>
                    <a:pt x="65853" y="28623"/>
                  </a:lnTo>
                  <a:lnTo>
                    <a:pt x="68780" y="28623"/>
                  </a:lnTo>
                  <a:lnTo>
                    <a:pt x="71707" y="30825"/>
                  </a:lnTo>
                  <a:lnTo>
                    <a:pt x="71707" y="30825"/>
                  </a:lnTo>
                  <a:lnTo>
                    <a:pt x="71707" y="30825"/>
                  </a:lnTo>
                  <a:lnTo>
                    <a:pt x="71707" y="34128"/>
                  </a:lnTo>
                  <a:lnTo>
                    <a:pt x="71707" y="34128"/>
                  </a:lnTo>
                  <a:lnTo>
                    <a:pt x="71707" y="36330"/>
                  </a:lnTo>
                  <a:lnTo>
                    <a:pt x="71707" y="36330"/>
                  </a:lnTo>
                  <a:lnTo>
                    <a:pt x="68780" y="36330"/>
                  </a:lnTo>
                  <a:lnTo>
                    <a:pt x="68780" y="34128"/>
                  </a:lnTo>
                  <a:lnTo>
                    <a:pt x="65853" y="34128"/>
                  </a:lnTo>
                  <a:lnTo>
                    <a:pt x="61463" y="34128"/>
                  </a:lnTo>
                  <a:lnTo>
                    <a:pt x="58536" y="34128"/>
                  </a:lnTo>
                  <a:lnTo>
                    <a:pt x="55609" y="34128"/>
                  </a:lnTo>
                  <a:lnTo>
                    <a:pt x="55609" y="34128"/>
                  </a:lnTo>
                  <a:lnTo>
                    <a:pt x="48292" y="34128"/>
                  </a:lnTo>
                  <a:lnTo>
                    <a:pt x="48292" y="34128"/>
                  </a:lnTo>
                  <a:lnTo>
                    <a:pt x="45365" y="30825"/>
                  </a:lnTo>
                  <a:lnTo>
                    <a:pt x="45365" y="30825"/>
                  </a:lnTo>
                  <a:lnTo>
                    <a:pt x="40975" y="30825"/>
                  </a:lnTo>
                  <a:lnTo>
                    <a:pt x="40975" y="28623"/>
                  </a:lnTo>
                  <a:lnTo>
                    <a:pt x="38048" y="28623"/>
                  </a:lnTo>
                  <a:lnTo>
                    <a:pt x="38048" y="28623"/>
                  </a:lnTo>
                  <a:lnTo>
                    <a:pt x="35121" y="26422"/>
                  </a:lnTo>
                  <a:lnTo>
                    <a:pt x="35121" y="28623"/>
                  </a:lnTo>
                  <a:lnTo>
                    <a:pt x="35121" y="28623"/>
                  </a:lnTo>
                  <a:lnTo>
                    <a:pt x="35121" y="28623"/>
                  </a:lnTo>
                  <a:lnTo>
                    <a:pt x="30731" y="28623"/>
                  </a:lnTo>
                  <a:lnTo>
                    <a:pt x="30731" y="28623"/>
                  </a:lnTo>
                  <a:lnTo>
                    <a:pt x="30731" y="30825"/>
                  </a:lnTo>
                  <a:lnTo>
                    <a:pt x="30731" y="30825"/>
                  </a:lnTo>
                  <a:lnTo>
                    <a:pt x="30731" y="34128"/>
                  </a:lnTo>
                  <a:lnTo>
                    <a:pt x="30731" y="36330"/>
                  </a:lnTo>
                  <a:lnTo>
                    <a:pt x="30731" y="36330"/>
                  </a:lnTo>
                  <a:lnTo>
                    <a:pt x="30731" y="36330"/>
                  </a:lnTo>
                  <a:lnTo>
                    <a:pt x="30731" y="36330"/>
                  </a:lnTo>
                  <a:lnTo>
                    <a:pt x="30731" y="39633"/>
                  </a:lnTo>
                  <a:lnTo>
                    <a:pt x="30731" y="41834"/>
                  </a:lnTo>
                  <a:lnTo>
                    <a:pt x="27804" y="44036"/>
                  </a:lnTo>
                  <a:lnTo>
                    <a:pt x="27804" y="44036"/>
                  </a:lnTo>
                  <a:lnTo>
                    <a:pt x="27804" y="44036"/>
                  </a:lnTo>
                  <a:lnTo>
                    <a:pt x="27804" y="47339"/>
                  </a:lnTo>
                  <a:lnTo>
                    <a:pt x="23414" y="47339"/>
                  </a:lnTo>
                  <a:lnTo>
                    <a:pt x="20487" y="47339"/>
                  </a:lnTo>
                  <a:lnTo>
                    <a:pt x="20487" y="47339"/>
                  </a:lnTo>
                  <a:lnTo>
                    <a:pt x="20487" y="49541"/>
                  </a:lnTo>
                  <a:lnTo>
                    <a:pt x="20487" y="49541"/>
                  </a:lnTo>
                  <a:lnTo>
                    <a:pt x="20487" y="49541"/>
                  </a:lnTo>
                  <a:lnTo>
                    <a:pt x="20487" y="49541"/>
                  </a:lnTo>
                  <a:lnTo>
                    <a:pt x="17560" y="49541"/>
                  </a:lnTo>
                  <a:lnTo>
                    <a:pt x="17560" y="51743"/>
                  </a:lnTo>
                  <a:lnTo>
                    <a:pt x="13170" y="51743"/>
                  </a:lnTo>
                  <a:lnTo>
                    <a:pt x="10243" y="55045"/>
                  </a:lnTo>
                  <a:lnTo>
                    <a:pt x="10243" y="55045"/>
                  </a:lnTo>
                  <a:lnTo>
                    <a:pt x="10243" y="55045"/>
                  </a:lnTo>
                  <a:lnTo>
                    <a:pt x="10243" y="57247"/>
                  </a:lnTo>
                  <a:lnTo>
                    <a:pt x="10243" y="57247"/>
                  </a:lnTo>
                  <a:lnTo>
                    <a:pt x="7317" y="57247"/>
                  </a:lnTo>
                  <a:lnTo>
                    <a:pt x="7317" y="57247"/>
                  </a:lnTo>
                  <a:lnTo>
                    <a:pt x="2926" y="59449"/>
                  </a:lnTo>
                  <a:lnTo>
                    <a:pt x="2926" y="59449"/>
                  </a:lnTo>
                  <a:lnTo>
                    <a:pt x="0" y="62752"/>
                  </a:lnTo>
                  <a:lnTo>
                    <a:pt x="0" y="64954"/>
                  </a:lnTo>
                  <a:lnTo>
                    <a:pt x="0" y="68256"/>
                  </a:lnTo>
                  <a:lnTo>
                    <a:pt x="0" y="64954"/>
                  </a:lnTo>
                  <a:lnTo>
                    <a:pt x="0" y="68256"/>
                  </a:lnTo>
                  <a:lnTo>
                    <a:pt x="2926" y="70458"/>
                  </a:lnTo>
                  <a:lnTo>
                    <a:pt x="7317" y="70458"/>
                  </a:lnTo>
                  <a:lnTo>
                    <a:pt x="10243" y="72660"/>
                  </a:lnTo>
                  <a:lnTo>
                    <a:pt x="13170" y="75963"/>
                  </a:lnTo>
                  <a:lnTo>
                    <a:pt x="13170" y="75963"/>
                  </a:lnTo>
                  <a:lnTo>
                    <a:pt x="13170" y="72660"/>
                  </a:lnTo>
                  <a:lnTo>
                    <a:pt x="13170" y="72660"/>
                  </a:lnTo>
                  <a:lnTo>
                    <a:pt x="13170" y="70458"/>
                  </a:lnTo>
                  <a:lnTo>
                    <a:pt x="17560" y="72660"/>
                  </a:lnTo>
                  <a:lnTo>
                    <a:pt x="23414" y="75963"/>
                  </a:lnTo>
                  <a:lnTo>
                    <a:pt x="27804" y="75963"/>
                  </a:lnTo>
                  <a:lnTo>
                    <a:pt x="30731" y="78165"/>
                  </a:lnTo>
                  <a:lnTo>
                    <a:pt x="35121" y="78165"/>
                  </a:lnTo>
                  <a:lnTo>
                    <a:pt x="35121" y="80366"/>
                  </a:lnTo>
                  <a:lnTo>
                    <a:pt x="35121" y="83669"/>
                  </a:lnTo>
                  <a:lnTo>
                    <a:pt x="35121" y="91376"/>
                  </a:lnTo>
                  <a:lnTo>
                    <a:pt x="38048" y="93577"/>
                  </a:lnTo>
                  <a:lnTo>
                    <a:pt x="40975" y="96880"/>
                  </a:lnTo>
                  <a:lnTo>
                    <a:pt x="45365" y="96880"/>
                  </a:lnTo>
                  <a:lnTo>
                    <a:pt x="45365" y="96880"/>
                  </a:lnTo>
                  <a:lnTo>
                    <a:pt x="48292" y="96880"/>
                  </a:lnTo>
                  <a:lnTo>
                    <a:pt x="48292" y="96880"/>
                  </a:lnTo>
                  <a:lnTo>
                    <a:pt x="45365" y="96880"/>
                  </a:lnTo>
                  <a:lnTo>
                    <a:pt x="40975" y="96880"/>
                  </a:lnTo>
                  <a:lnTo>
                    <a:pt x="38048" y="99082"/>
                  </a:lnTo>
                  <a:lnTo>
                    <a:pt x="38048" y="101284"/>
                  </a:lnTo>
                  <a:lnTo>
                    <a:pt x="35121" y="104587"/>
                  </a:lnTo>
                  <a:lnTo>
                    <a:pt x="38048" y="106788"/>
                  </a:lnTo>
                  <a:lnTo>
                    <a:pt x="38048" y="106788"/>
                  </a:lnTo>
                  <a:lnTo>
                    <a:pt x="35121" y="108990"/>
                  </a:lnTo>
                  <a:lnTo>
                    <a:pt x="38048" y="108990"/>
                  </a:lnTo>
                  <a:lnTo>
                    <a:pt x="38048" y="108990"/>
                  </a:lnTo>
                  <a:lnTo>
                    <a:pt x="40975" y="112293"/>
                  </a:lnTo>
                  <a:lnTo>
                    <a:pt x="45365" y="108990"/>
                  </a:lnTo>
                  <a:lnTo>
                    <a:pt x="48292" y="112293"/>
                  </a:lnTo>
                  <a:lnTo>
                    <a:pt x="48292" y="112293"/>
                  </a:lnTo>
                  <a:lnTo>
                    <a:pt x="48292" y="112293"/>
                  </a:lnTo>
                  <a:lnTo>
                    <a:pt x="45365" y="114495"/>
                  </a:lnTo>
                  <a:lnTo>
                    <a:pt x="45365" y="114495"/>
                  </a:lnTo>
                  <a:lnTo>
                    <a:pt x="48292" y="114495"/>
                  </a:lnTo>
                  <a:lnTo>
                    <a:pt x="51219" y="116697"/>
                  </a:lnTo>
                  <a:lnTo>
                    <a:pt x="55609" y="120000"/>
                  </a:lnTo>
                  <a:lnTo>
                    <a:pt x="55609" y="120000"/>
                  </a:lnTo>
                  <a:lnTo>
                    <a:pt x="58536" y="120000"/>
                  </a:lnTo>
                  <a:lnTo>
                    <a:pt x="58536" y="120000"/>
                  </a:lnTo>
                  <a:lnTo>
                    <a:pt x="61463" y="116697"/>
                  </a:lnTo>
                  <a:lnTo>
                    <a:pt x="61463" y="114495"/>
                  </a:lnTo>
                  <a:lnTo>
                    <a:pt x="61463" y="114495"/>
                  </a:lnTo>
                  <a:lnTo>
                    <a:pt x="61463" y="112293"/>
                  </a:lnTo>
                  <a:lnTo>
                    <a:pt x="68780" y="114495"/>
                  </a:lnTo>
                  <a:lnTo>
                    <a:pt x="71707" y="114495"/>
                  </a:lnTo>
                  <a:lnTo>
                    <a:pt x="76097" y="120000"/>
                  </a:lnTo>
                  <a:lnTo>
                    <a:pt x="76097" y="116697"/>
                  </a:lnTo>
                  <a:lnTo>
                    <a:pt x="76097" y="116697"/>
                  </a:lnTo>
                  <a:lnTo>
                    <a:pt x="79024" y="114495"/>
                  </a:lnTo>
                  <a:lnTo>
                    <a:pt x="86341" y="116697"/>
                  </a:lnTo>
                  <a:lnTo>
                    <a:pt x="86341" y="116697"/>
                  </a:lnTo>
                  <a:lnTo>
                    <a:pt x="86341" y="116697"/>
                  </a:lnTo>
                  <a:lnTo>
                    <a:pt x="89268" y="116697"/>
                  </a:lnTo>
                  <a:lnTo>
                    <a:pt x="89268" y="116697"/>
                  </a:lnTo>
                  <a:lnTo>
                    <a:pt x="86341" y="114495"/>
                  </a:lnTo>
                  <a:lnTo>
                    <a:pt x="89268" y="112293"/>
                  </a:lnTo>
                  <a:lnTo>
                    <a:pt x="89268" y="108990"/>
                  </a:lnTo>
                  <a:lnTo>
                    <a:pt x="89268" y="108990"/>
                  </a:lnTo>
                  <a:lnTo>
                    <a:pt x="89268" y="106788"/>
                  </a:lnTo>
                  <a:lnTo>
                    <a:pt x="93658" y="106788"/>
                  </a:lnTo>
                  <a:lnTo>
                    <a:pt x="93658" y="106788"/>
                  </a:lnTo>
                  <a:lnTo>
                    <a:pt x="96585" y="104587"/>
                  </a:lnTo>
                  <a:lnTo>
                    <a:pt x="103902" y="106788"/>
                  </a:lnTo>
                  <a:lnTo>
                    <a:pt x="103902" y="104587"/>
                  </a:lnTo>
                  <a:lnTo>
                    <a:pt x="106829" y="104587"/>
                  </a:lnTo>
                  <a:lnTo>
                    <a:pt x="109756" y="106788"/>
                  </a:lnTo>
                  <a:lnTo>
                    <a:pt x="114146" y="106788"/>
                  </a:lnTo>
                  <a:lnTo>
                    <a:pt x="117073" y="104587"/>
                  </a:lnTo>
                  <a:lnTo>
                    <a:pt x="117073" y="104587"/>
                  </a:lnTo>
                  <a:lnTo>
                    <a:pt x="117073" y="104587"/>
                  </a:lnTo>
                  <a:lnTo>
                    <a:pt x="120000" y="104587"/>
                  </a:lnTo>
                  <a:lnTo>
                    <a:pt x="120000" y="101284"/>
                  </a:lnTo>
                  <a:lnTo>
                    <a:pt x="120000" y="99082"/>
                  </a:lnTo>
                  <a:lnTo>
                    <a:pt x="120000" y="99082"/>
                  </a:lnTo>
                  <a:lnTo>
                    <a:pt x="117073" y="96880"/>
                  </a:lnTo>
                  <a:lnTo>
                    <a:pt x="114146" y="96880"/>
                  </a:lnTo>
                  <a:lnTo>
                    <a:pt x="114146" y="93577"/>
                  </a:lnTo>
                  <a:lnTo>
                    <a:pt x="109756" y="93577"/>
                  </a:lnTo>
                  <a:lnTo>
                    <a:pt x="106829" y="91376"/>
                  </a:lnTo>
                  <a:lnTo>
                    <a:pt x="99512" y="85871"/>
                  </a:lnTo>
                  <a:lnTo>
                    <a:pt x="96585" y="85871"/>
                  </a:lnTo>
                  <a:lnTo>
                    <a:pt x="93658" y="85871"/>
                  </a:lnTo>
                  <a:lnTo>
                    <a:pt x="89268" y="85871"/>
                  </a:lnTo>
                  <a:lnTo>
                    <a:pt x="86341" y="83669"/>
                  </a:lnTo>
                  <a:lnTo>
                    <a:pt x="86341" y="83669"/>
                  </a:lnTo>
                  <a:lnTo>
                    <a:pt x="86341" y="80366"/>
                  </a:lnTo>
                  <a:lnTo>
                    <a:pt x="86341" y="80366"/>
                  </a:lnTo>
                  <a:lnTo>
                    <a:pt x="89268" y="80366"/>
                  </a:lnTo>
                  <a:lnTo>
                    <a:pt x="86341" y="78165"/>
                  </a:lnTo>
                  <a:lnTo>
                    <a:pt x="86341" y="75963"/>
                  </a:lnTo>
                  <a:lnTo>
                    <a:pt x="83414" y="72660"/>
                  </a:lnTo>
                  <a:lnTo>
                    <a:pt x="83414" y="70458"/>
                  </a:lnTo>
                  <a:lnTo>
                    <a:pt x="89268" y="68256"/>
                  </a:lnTo>
                  <a:lnTo>
                    <a:pt x="89268" y="64954"/>
                  </a:lnTo>
                  <a:lnTo>
                    <a:pt x="93658" y="68256"/>
                  </a:lnTo>
                  <a:lnTo>
                    <a:pt x="96585" y="68256"/>
                  </a:lnTo>
                  <a:lnTo>
                    <a:pt x="99512" y="64954"/>
                  </a:lnTo>
                  <a:lnTo>
                    <a:pt x="103902" y="64954"/>
                  </a:lnTo>
                  <a:lnTo>
                    <a:pt x="103902" y="62752"/>
                  </a:lnTo>
                  <a:lnTo>
                    <a:pt x="103902" y="59449"/>
                  </a:lnTo>
                  <a:lnTo>
                    <a:pt x="106829" y="59449"/>
                  </a:lnTo>
                  <a:lnTo>
                    <a:pt x="106829" y="57247"/>
                  </a:lnTo>
                  <a:lnTo>
                    <a:pt x="109756" y="57247"/>
                  </a:lnTo>
                  <a:lnTo>
                    <a:pt x="109756" y="51743"/>
                  </a:lnTo>
                  <a:lnTo>
                    <a:pt x="114146" y="51743"/>
                  </a:lnTo>
                  <a:lnTo>
                    <a:pt x="120000" y="47339"/>
                  </a:lnTo>
                  <a:lnTo>
                    <a:pt x="120000" y="47339"/>
                  </a:lnTo>
                  <a:lnTo>
                    <a:pt x="117073" y="41834"/>
                  </a:lnTo>
                  <a:lnTo>
                    <a:pt x="114146" y="39633"/>
                  </a:lnTo>
                  <a:lnTo>
                    <a:pt x="114146" y="36330"/>
                  </a:lnTo>
                  <a:lnTo>
                    <a:pt x="109756" y="34128"/>
                  </a:lnTo>
                  <a:lnTo>
                    <a:pt x="106829" y="30825"/>
                  </a:lnTo>
                  <a:lnTo>
                    <a:pt x="106829" y="28623"/>
                  </a:lnTo>
                  <a:lnTo>
                    <a:pt x="109756" y="26422"/>
                  </a:lnTo>
                  <a:lnTo>
                    <a:pt x="109756" y="23119"/>
                  </a:lnTo>
                  <a:lnTo>
                    <a:pt x="109756" y="23119"/>
                  </a:lnTo>
                  <a:lnTo>
                    <a:pt x="109756" y="20917"/>
                  </a:lnTo>
                  <a:lnTo>
                    <a:pt x="114146" y="20917"/>
                  </a:lnTo>
                  <a:lnTo>
                    <a:pt x="114146" y="18715"/>
                  </a:lnTo>
                  <a:lnTo>
                    <a:pt x="114146" y="18715"/>
                  </a:lnTo>
                  <a:lnTo>
                    <a:pt x="117073" y="15412"/>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15" name="Shape 415"/>
            <p:cNvSpPr/>
            <p:nvPr/>
          </p:nvSpPr>
          <p:spPr>
            <a:xfrm>
              <a:off x="6667" y="3420"/>
              <a:ext cx="0" cy="0"/>
            </a:xfrm>
            <a:custGeom>
              <a:avLst/>
              <a:gdLst/>
              <a:ahLst/>
              <a:cxnLst/>
              <a:rect l="0" t="0" r="0" b="0"/>
              <a:pathLst>
                <a:path w="120000" h="120000" extrusionOk="0">
                  <a:moveTo>
                    <a:pt x="0" y="0"/>
                  </a:moveTo>
                  <a:lnTo>
                    <a:pt x="0" y="0"/>
                  </a:lnTo>
                  <a:lnTo>
                    <a:pt x="0" y="0"/>
                  </a:lnTo>
                  <a:lnTo>
                    <a:pt x="0" y="0"/>
                  </a:lnTo>
                  <a:lnTo>
                    <a:pt x="0" y="0"/>
                  </a:lnTo>
                  <a:lnTo>
                    <a:pt x="0" y="0"/>
                  </a:lnTo>
                  <a:lnTo>
                    <a:pt x="0" y="0"/>
                  </a:lnTo>
                  <a:lnTo>
                    <a:pt x="0" y="0"/>
                  </a:lnTo>
                  <a:lnTo>
                    <a:pt x="0" y="0"/>
                  </a:lnTo>
                  <a:lnTo>
                    <a:pt x="0" y="0"/>
                  </a:lnTo>
                  <a:lnTo>
                    <a:pt x="0" y="120000"/>
                  </a:lnTo>
                  <a:lnTo>
                    <a:pt x="0" y="120000"/>
                  </a:lnTo>
                  <a:lnTo>
                    <a:pt x="0" y="120000"/>
                  </a:lnTo>
                  <a:lnTo>
                    <a:pt x="0" y="120000"/>
                  </a:lnTo>
                  <a:lnTo>
                    <a:pt x="0" y="120000"/>
                  </a:lnTo>
                  <a:lnTo>
                    <a:pt x="0" y="120000"/>
                  </a:lnTo>
                  <a:lnTo>
                    <a:pt x="0" y="120000"/>
                  </a:lnTo>
                  <a:lnTo>
                    <a:pt x="0" y="120000"/>
                  </a:lnTo>
                  <a:lnTo>
                    <a:pt x="0" y="120000"/>
                  </a:lnTo>
                  <a:lnTo>
                    <a:pt x="0" y="120000"/>
                  </a:lnTo>
                  <a:lnTo>
                    <a:pt x="0" y="120000"/>
                  </a:lnTo>
                  <a:lnTo>
                    <a:pt x="0" y="120000"/>
                  </a:lnTo>
                  <a:lnTo>
                    <a:pt x="0" y="120000"/>
                  </a:lnTo>
                  <a:lnTo>
                    <a:pt x="0" y="0"/>
                  </a:lnTo>
                  <a:lnTo>
                    <a:pt x="0" y="0"/>
                  </a:lnTo>
                  <a:lnTo>
                    <a:pt x="0" y="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16" name="Shape 416"/>
            <p:cNvSpPr/>
            <p:nvPr/>
          </p:nvSpPr>
          <p:spPr>
            <a:xfrm>
              <a:off x="3702" y="2514"/>
              <a:ext cx="300" cy="300"/>
            </a:xfrm>
            <a:custGeom>
              <a:avLst/>
              <a:gdLst/>
              <a:ahLst/>
              <a:cxnLst/>
              <a:rect l="0" t="0" r="0" b="0"/>
              <a:pathLst>
                <a:path w="120000" h="120000" extrusionOk="0">
                  <a:moveTo>
                    <a:pt x="45945" y="117058"/>
                  </a:moveTo>
                  <a:lnTo>
                    <a:pt x="44864" y="118235"/>
                  </a:lnTo>
                  <a:lnTo>
                    <a:pt x="45945" y="118235"/>
                  </a:lnTo>
                  <a:lnTo>
                    <a:pt x="47567" y="118235"/>
                  </a:lnTo>
                  <a:lnTo>
                    <a:pt x="47567" y="117058"/>
                  </a:lnTo>
                  <a:lnTo>
                    <a:pt x="45945" y="117058"/>
                  </a:lnTo>
                  <a:lnTo>
                    <a:pt x="45945" y="117058"/>
                  </a:lnTo>
                  <a:close/>
                  <a:moveTo>
                    <a:pt x="120000" y="22352"/>
                  </a:moveTo>
                  <a:lnTo>
                    <a:pt x="120000" y="21176"/>
                  </a:lnTo>
                  <a:lnTo>
                    <a:pt x="120000" y="21176"/>
                  </a:lnTo>
                  <a:lnTo>
                    <a:pt x="118918" y="20000"/>
                  </a:lnTo>
                  <a:lnTo>
                    <a:pt x="117297" y="20000"/>
                  </a:lnTo>
                  <a:lnTo>
                    <a:pt x="116216" y="20000"/>
                  </a:lnTo>
                  <a:lnTo>
                    <a:pt x="116216" y="18235"/>
                  </a:lnTo>
                  <a:lnTo>
                    <a:pt x="116216" y="18235"/>
                  </a:lnTo>
                  <a:lnTo>
                    <a:pt x="116216" y="18235"/>
                  </a:lnTo>
                  <a:lnTo>
                    <a:pt x="116216" y="17058"/>
                  </a:lnTo>
                  <a:lnTo>
                    <a:pt x="115135" y="15294"/>
                  </a:lnTo>
                  <a:lnTo>
                    <a:pt x="115135" y="10000"/>
                  </a:lnTo>
                  <a:lnTo>
                    <a:pt x="113513" y="8823"/>
                  </a:lnTo>
                  <a:lnTo>
                    <a:pt x="110810" y="5882"/>
                  </a:lnTo>
                  <a:lnTo>
                    <a:pt x="109729" y="2941"/>
                  </a:lnTo>
                  <a:lnTo>
                    <a:pt x="108648" y="2941"/>
                  </a:lnTo>
                  <a:lnTo>
                    <a:pt x="107027" y="2941"/>
                  </a:lnTo>
                  <a:lnTo>
                    <a:pt x="105945" y="4705"/>
                  </a:lnTo>
                  <a:lnTo>
                    <a:pt x="104864" y="4705"/>
                  </a:lnTo>
                  <a:lnTo>
                    <a:pt x="102162" y="5882"/>
                  </a:lnTo>
                  <a:lnTo>
                    <a:pt x="101081" y="7058"/>
                  </a:lnTo>
                  <a:lnTo>
                    <a:pt x="101081" y="7058"/>
                  </a:lnTo>
                  <a:lnTo>
                    <a:pt x="99459" y="8823"/>
                  </a:lnTo>
                  <a:lnTo>
                    <a:pt x="98378" y="10000"/>
                  </a:lnTo>
                  <a:lnTo>
                    <a:pt x="97297" y="10000"/>
                  </a:lnTo>
                  <a:lnTo>
                    <a:pt x="94594" y="10000"/>
                  </a:lnTo>
                  <a:lnTo>
                    <a:pt x="92972" y="8823"/>
                  </a:lnTo>
                  <a:lnTo>
                    <a:pt x="90810" y="7058"/>
                  </a:lnTo>
                  <a:lnTo>
                    <a:pt x="89189" y="7058"/>
                  </a:lnTo>
                  <a:lnTo>
                    <a:pt x="88108" y="7058"/>
                  </a:lnTo>
                  <a:lnTo>
                    <a:pt x="83243" y="7058"/>
                  </a:lnTo>
                  <a:lnTo>
                    <a:pt x="79459" y="7058"/>
                  </a:lnTo>
                  <a:lnTo>
                    <a:pt x="76756" y="7058"/>
                  </a:lnTo>
                  <a:lnTo>
                    <a:pt x="75135" y="8823"/>
                  </a:lnTo>
                  <a:lnTo>
                    <a:pt x="74054" y="8823"/>
                  </a:lnTo>
                  <a:lnTo>
                    <a:pt x="72972" y="10000"/>
                  </a:lnTo>
                  <a:lnTo>
                    <a:pt x="70270" y="14117"/>
                  </a:lnTo>
                  <a:lnTo>
                    <a:pt x="66486" y="14117"/>
                  </a:lnTo>
                  <a:lnTo>
                    <a:pt x="63783" y="12941"/>
                  </a:lnTo>
                  <a:lnTo>
                    <a:pt x="61621" y="12941"/>
                  </a:lnTo>
                  <a:lnTo>
                    <a:pt x="58918" y="10000"/>
                  </a:lnTo>
                  <a:lnTo>
                    <a:pt x="55135" y="7058"/>
                  </a:lnTo>
                  <a:lnTo>
                    <a:pt x="53513" y="7058"/>
                  </a:lnTo>
                  <a:lnTo>
                    <a:pt x="52432" y="7058"/>
                  </a:lnTo>
                  <a:lnTo>
                    <a:pt x="52432" y="7058"/>
                  </a:lnTo>
                  <a:lnTo>
                    <a:pt x="47567" y="10000"/>
                  </a:lnTo>
                  <a:lnTo>
                    <a:pt x="47567" y="10000"/>
                  </a:lnTo>
                  <a:lnTo>
                    <a:pt x="45945" y="10000"/>
                  </a:lnTo>
                  <a:lnTo>
                    <a:pt x="44864" y="11176"/>
                  </a:lnTo>
                  <a:lnTo>
                    <a:pt x="44864" y="11176"/>
                  </a:lnTo>
                  <a:lnTo>
                    <a:pt x="43783" y="11176"/>
                  </a:lnTo>
                  <a:lnTo>
                    <a:pt x="43783" y="11176"/>
                  </a:lnTo>
                  <a:lnTo>
                    <a:pt x="42162" y="11176"/>
                  </a:lnTo>
                  <a:lnTo>
                    <a:pt x="42162" y="10000"/>
                  </a:lnTo>
                  <a:lnTo>
                    <a:pt x="39459" y="7058"/>
                  </a:lnTo>
                  <a:lnTo>
                    <a:pt x="39459" y="5882"/>
                  </a:lnTo>
                  <a:lnTo>
                    <a:pt x="39459" y="5882"/>
                  </a:lnTo>
                  <a:lnTo>
                    <a:pt x="38378" y="4705"/>
                  </a:lnTo>
                  <a:lnTo>
                    <a:pt x="37297" y="2941"/>
                  </a:lnTo>
                  <a:lnTo>
                    <a:pt x="37297" y="2941"/>
                  </a:lnTo>
                  <a:lnTo>
                    <a:pt x="35675" y="2941"/>
                  </a:lnTo>
                  <a:lnTo>
                    <a:pt x="31891" y="1764"/>
                  </a:lnTo>
                  <a:lnTo>
                    <a:pt x="29729" y="0"/>
                  </a:lnTo>
                  <a:lnTo>
                    <a:pt x="28108" y="0"/>
                  </a:lnTo>
                  <a:lnTo>
                    <a:pt x="28108" y="0"/>
                  </a:lnTo>
                  <a:lnTo>
                    <a:pt x="27027" y="1764"/>
                  </a:lnTo>
                  <a:lnTo>
                    <a:pt x="25945" y="1764"/>
                  </a:lnTo>
                  <a:lnTo>
                    <a:pt x="23243" y="1764"/>
                  </a:lnTo>
                  <a:lnTo>
                    <a:pt x="21621" y="1764"/>
                  </a:lnTo>
                  <a:lnTo>
                    <a:pt x="20540" y="1764"/>
                  </a:lnTo>
                  <a:lnTo>
                    <a:pt x="19459" y="2941"/>
                  </a:lnTo>
                  <a:lnTo>
                    <a:pt x="17837" y="2941"/>
                  </a:lnTo>
                  <a:lnTo>
                    <a:pt x="16756" y="4705"/>
                  </a:lnTo>
                  <a:lnTo>
                    <a:pt x="15675" y="5882"/>
                  </a:lnTo>
                  <a:lnTo>
                    <a:pt x="15675" y="5882"/>
                  </a:lnTo>
                  <a:lnTo>
                    <a:pt x="15675" y="10000"/>
                  </a:lnTo>
                  <a:lnTo>
                    <a:pt x="14054" y="12941"/>
                  </a:lnTo>
                  <a:lnTo>
                    <a:pt x="12972" y="14117"/>
                  </a:lnTo>
                  <a:lnTo>
                    <a:pt x="11891" y="15294"/>
                  </a:lnTo>
                  <a:lnTo>
                    <a:pt x="10270" y="17058"/>
                  </a:lnTo>
                  <a:lnTo>
                    <a:pt x="10270" y="18235"/>
                  </a:lnTo>
                  <a:lnTo>
                    <a:pt x="10270" y="21176"/>
                  </a:lnTo>
                  <a:lnTo>
                    <a:pt x="10270" y="22352"/>
                  </a:lnTo>
                  <a:lnTo>
                    <a:pt x="10270" y="24117"/>
                  </a:lnTo>
                  <a:lnTo>
                    <a:pt x="10270" y="25294"/>
                  </a:lnTo>
                  <a:lnTo>
                    <a:pt x="10270" y="25294"/>
                  </a:lnTo>
                  <a:lnTo>
                    <a:pt x="10270" y="25294"/>
                  </a:lnTo>
                  <a:lnTo>
                    <a:pt x="10270" y="26470"/>
                  </a:lnTo>
                  <a:lnTo>
                    <a:pt x="10270" y="26470"/>
                  </a:lnTo>
                  <a:lnTo>
                    <a:pt x="10270" y="26470"/>
                  </a:lnTo>
                  <a:lnTo>
                    <a:pt x="10270" y="28235"/>
                  </a:lnTo>
                  <a:lnTo>
                    <a:pt x="9189" y="28235"/>
                  </a:lnTo>
                  <a:lnTo>
                    <a:pt x="9189" y="29411"/>
                  </a:lnTo>
                  <a:lnTo>
                    <a:pt x="9189" y="30588"/>
                  </a:lnTo>
                  <a:lnTo>
                    <a:pt x="10270" y="33529"/>
                  </a:lnTo>
                  <a:lnTo>
                    <a:pt x="10270" y="33529"/>
                  </a:lnTo>
                  <a:lnTo>
                    <a:pt x="10270" y="35294"/>
                  </a:lnTo>
                  <a:lnTo>
                    <a:pt x="11891" y="35294"/>
                  </a:lnTo>
                  <a:lnTo>
                    <a:pt x="11891" y="36470"/>
                  </a:lnTo>
                  <a:lnTo>
                    <a:pt x="11891" y="37647"/>
                  </a:lnTo>
                  <a:lnTo>
                    <a:pt x="11891" y="39411"/>
                  </a:lnTo>
                  <a:lnTo>
                    <a:pt x="11891" y="40588"/>
                  </a:lnTo>
                  <a:lnTo>
                    <a:pt x="11891" y="40588"/>
                  </a:lnTo>
                  <a:lnTo>
                    <a:pt x="11891" y="43529"/>
                  </a:lnTo>
                  <a:lnTo>
                    <a:pt x="11891" y="43529"/>
                  </a:lnTo>
                  <a:lnTo>
                    <a:pt x="11891" y="43529"/>
                  </a:lnTo>
                  <a:lnTo>
                    <a:pt x="10270" y="43529"/>
                  </a:lnTo>
                  <a:lnTo>
                    <a:pt x="10270" y="43529"/>
                  </a:lnTo>
                  <a:lnTo>
                    <a:pt x="10270" y="44705"/>
                  </a:lnTo>
                  <a:lnTo>
                    <a:pt x="9189" y="44705"/>
                  </a:lnTo>
                  <a:lnTo>
                    <a:pt x="9189" y="44705"/>
                  </a:lnTo>
                  <a:lnTo>
                    <a:pt x="10270" y="46470"/>
                  </a:lnTo>
                  <a:lnTo>
                    <a:pt x="10270" y="48823"/>
                  </a:lnTo>
                  <a:lnTo>
                    <a:pt x="9189" y="50588"/>
                  </a:lnTo>
                  <a:lnTo>
                    <a:pt x="9189" y="50588"/>
                  </a:lnTo>
                  <a:lnTo>
                    <a:pt x="8108" y="50588"/>
                  </a:lnTo>
                  <a:lnTo>
                    <a:pt x="8108" y="50588"/>
                  </a:lnTo>
                  <a:lnTo>
                    <a:pt x="6486" y="51764"/>
                  </a:lnTo>
                  <a:lnTo>
                    <a:pt x="6486" y="52941"/>
                  </a:lnTo>
                  <a:lnTo>
                    <a:pt x="6486" y="54705"/>
                  </a:lnTo>
                  <a:lnTo>
                    <a:pt x="5405" y="54705"/>
                  </a:lnTo>
                  <a:lnTo>
                    <a:pt x="5405" y="55882"/>
                  </a:lnTo>
                  <a:lnTo>
                    <a:pt x="5405" y="57058"/>
                  </a:lnTo>
                  <a:lnTo>
                    <a:pt x="5405" y="58823"/>
                  </a:lnTo>
                  <a:lnTo>
                    <a:pt x="3783" y="60000"/>
                  </a:lnTo>
                  <a:lnTo>
                    <a:pt x="2702" y="60000"/>
                  </a:lnTo>
                  <a:lnTo>
                    <a:pt x="1621" y="60000"/>
                  </a:lnTo>
                  <a:lnTo>
                    <a:pt x="1621" y="64117"/>
                  </a:lnTo>
                  <a:lnTo>
                    <a:pt x="1621" y="65882"/>
                  </a:lnTo>
                  <a:lnTo>
                    <a:pt x="1621" y="68235"/>
                  </a:lnTo>
                  <a:lnTo>
                    <a:pt x="0" y="68235"/>
                  </a:lnTo>
                  <a:lnTo>
                    <a:pt x="1621" y="70000"/>
                  </a:lnTo>
                  <a:lnTo>
                    <a:pt x="0" y="72352"/>
                  </a:lnTo>
                  <a:lnTo>
                    <a:pt x="0" y="75294"/>
                  </a:lnTo>
                  <a:lnTo>
                    <a:pt x="0" y="75294"/>
                  </a:lnTo>
                  <a:lnTo>
                    <a:pt x="1621" y="77058"/>
                  </a:lnTo>
                  <a:lnTo>
                    <a:pt x="1621" y="78235"/>
                  </a:lnTo>
                  <a:lnTo>
                    <a:pt x="1621" y="79411"/>
                  </a:lnTo>
                  <a:lnTo>
                    <a:pt x="1621" y="79411"/>
                  </a:lnTo>
                  <a:lnTo>
                    <a:pt x="1621" y="81176"/>
                  </a:lnTo>
                  <a:lnTo>
                    <a:pt x="1621" y="81176"/>
                  </a:lnTo>
                  <a:lnTo>
                    <a:pt x="1621" y="81176"/>
                  </a:lnTo>
                  <a:lnTo>
                    <a:pt x="1621" y="83529"/>
                  </a:lnTo>
                  <a:lnTo>
                    <a:pt x="1621" y="85294"/>
                  </a:lnTo>
                  <a:lnTo>
                    <a:pt x="1621" y="85294"/>
                  </a:lnTo>
                  <a:lnTo>
                    <a:pt x="1621" y="86470"/>
                  </a:lnTo>
                  <a:lnTo>
                    <a:pt x="1621" y="87647"/>
                  </a:lnTo>
                  <a:lnTo>
                    <a:pt x="1621" y="89411"/>
                  </a:lnTo>
                  <a:lnTo>
                    <a:pt x="1621" y="89411"/>
                  </a:lnTo>
                  <a:lnTo>
                    <a:pt x="1621" y="90588"/>
                  </a:lnTo>
                  <a:lnTo>
                    <a:pt x="1621" y="90588"/>
                  </a:lnTo>
                  <a:lnTo>
                    <a:pt x="0" y="93529"/>
                  </a:lnTo>
                  <a:lnTo>
                    <a:pt x="0" y="93529"/>
                  </a:lnTo>
                  <a:lnTo>
                    <a:pt x="1621" y="93529"/>
                  </a:lnTo>
                  <a:lnTo>
                    <a:pt x="6486" y="93529"/>
                  </a:lnTo>
                  <a:lnTo>
                    <a:pt x="8108" y="92352"/>
                  </a:lnTo>
                  <a:lnTo>
                    <a:pt x="9189" y="92352"/>
                  </a:lnTo>
                  <a:lnTo>
                    <a:pt x="10270" y="90588"/>
                  </a:lnTo>
                  <a:lnTo>
                    <a:pt x="11891" y="90588"/>
                  </a:lnTo>
                  <a:lnTo>
                    <a:pt x="9189" y="92352"/>
                  </a:lnTo>
                  <a:lnTo>
                    <a:pt x="9189" y="92352"/>
                  </a:lnTo>
                  <a:lnTo>
                    <a:pt x="8108" y="93529"/>
                  </a:lnTo>
                  <a:lnTo>
                    <a:pt x="9189" y="93529"/>
                  </a:lnTo>
                  <a:lnTo>
                    <a:pt x="15675" y="93529"/>
                  </a:lnTo>
                  <a:lnTo>
                    <a:pt x="17837" y="93529"/>
                  </a:lnTo>
                  <a:lnTo>
                    <a:pt x="20540" y="96470"/>
                  </a:lnTo>
                  <a:lnTo>
                    <a:pt x="21621" y="97647"/>
                  </a:lnTo>
                  <a:lnTo>
                    <a:pt x="24324" y="100588"/>
                  </a:lnTo>
                  <a:lnTo>
                    <a:pt x="24324" y="101764"/>
                  </a:lnTo>
                  <a:lnTo>
                    <a:pt x="24324" y="101764"/>
                  </a:lnTo>
                  <a:lnTo>
                    <a:pt x="24324" y="102941"/>
                  </a:lnTo>
                  <a:lnTo>
                    <a:pt x="25945" y="102941"/>
                  </a:lnTo>
                  <a:lnTo>
                    <a:pt x="27027" y="102941"/>
                  </a:lnTo>
                  <a:lnTo>
                    <a:pt x="27027" y="101764"/>
                  </a:lnTo>
                  <a:lnTo>
                    <a:pt x="27027" y="101764"/>
                  </a:lnTo>
                  <a:lnTo>
                    <a:pt x="27027" y="102941"/>
                  </a:lnTo>
                  <a:lnTo>
                    <a:pt x="27027" y="102941"/>
                  </a:lnTo>
                  <a:lnTo>
                    <a:pt x="28108" y="102941"/>
                  </a:lnTo>
                  <a:lnTo>
                    <a:pt x="28108" y="102941"/>
                  </a:lnTo>
                  <a:lnTo>
                    <a:pt x="28108" y="102941"/>
                  </a:lnTo>
                  <a:lnTo>
                    <a:pt x="27027" y="102941"/>
                  </a:lnTo>
                  <a:lnTo>
                    <a:pt x="25945" y="102941"/>
                  </a:lnTo>
                  <a:lnTo>
                    <a:pt x="25945" y="104705"/>
                  </a:lnTo>
                  <a:lnTo>
                    <a:pt x="25945" y="104705"/>
                  </a:lnTo>
                  <a:lnTo>
                    <a:pt x="27027" y="105882"/>
                  </a:lnTo>
                  <a:lnTo>
                    <a:pt x="29729" y="104705"/>
                  </a:lnTo>
                  <a:lnTo>
                    <a:pt x="29729" y="105882"/>
                  </a:lnTo>
                  <a:lnTo>
                    <a:pt x="28108" y="105882"/>
                  </a:lnTo>
                  <a:lnTo>
                    <a:pt x="28108" y="105882"/>
                  </a:lnTo>
                  <a:lnTo>
                    <a:pt x="27027" y="105882"/>
                  </a:lnTo>
                  <a:lnTo>
                    <a:pt x="27027" y="107647"/>
                  </a:lnTo>
                  <a:lnTo>
                    <a:pt x="27027" y="108823"/>
                  </a:lnTo>
                  <a:lnTo>
                    <a:pt x="28108" y="108823"/>
                  </a:lnTo>
                  <a:lnTo>
                    <a:pt x="28108" y="108823"/>
                  </a:lnTo>
                  <a:lnTo>
                    <a:pt x="28108" y="108823"/>
                  </a:lnTo>
                  <a:lnTo>
                    <a:pt x="28108" y="108823"/>
                  </a:lnTo>
                  <a:lnTo>
                    <a:pt x="27027" y="108823"/>
                  </a:lnTo>
                  <a:lnTo>
                    <a:pt x="28108" y="111764"/>
                  </a:lnTo>
                  <a:lnTo>
                    <a:pt x="28108" y="112941"/>
                  </a:lnTo>
                  <a:lnTo>
                    <a:pt x="29729" y="114117"/>
                  </a:lnTo>
                  <a:lnTo>
                    <a:pt x="29729" y="115882"/>
                  </a:lnTo>
                  <a:lnTo>
                    <a:pt x="31891" y="117058"/>
                  </a:lnTo>
                  <a:lnTo>
                    <a:pt x="33513" y="118235"/>
                  </a:lnTo>
                  <a:lnTo>
                    <a:pt x="33513" y="118235"/>
                  </a:lnTo>
                  <a:lnTo>
                    <a:pt x="34594" y="120000"/>
                  </a:lnTo>
                  <a:lnTo>
                    <a:pt x="35675" y="120000"/>
                  </a:lnTo>
                  <a:lnTo>
                    <a:pt x="35675" y="120000"/>
                  </a:lnTo>
                  <a:lnTo>
                    <a:pt x="35675" y="118235"/>
                  </a:lnTo>
                  <a:lnTo>
                    <a:pt x="35675" y="117058"/>
                  </a:lnTo>
                  <a:lnTo>
                    <a:pt x="35675" y="118235"/>
                  </a:lnTo>
                  <a:lnTo>
                    <a:pt x="35675" y="118235"/>
                  </a:lnTo>
                  <a:lnTo>
                    <a:pt x="35675" y="120000"/>
                  </a:lnTo>
                  <a:lnTo>
                    <a:pt x="37297" y="120000"/>
                  </a:lnTo>
                  <a:lnTo>
                    <a:pt x="38378" y="118235"/>
                  </a:lnTo>
                  <a:lnTo>
                    <a:pt x="38378" y="118235"/>
                  </a:lnTo>
                  <a:lnTo>
                    <a:pt x="39459" y="118235"/>
                  </a:lnTo>
                  <a:lnTo>
                    <a:pt x="39459" y="117058"/>
                  </a:lnTo>
                  <a:lnTo>
                    <a:pt x="39459" y="117058"/>
                  </a:lnTo>
                  <a:lnTo>
                    <a:pt x="39459" y="118235"/>
                  </a:lnTo>
                  <a:lnTo>
                    <a:pt x="39459" y="118235"/>
                  </a:lnTo>
                  <a:lnTo>
                    <a:pt x="41081" y="118235"/>
                  </a:lnTo>
                  <a:lnTo>
                    <a:pt x="41081" y="118235"/>
                  </a:lnTo>
                  <a:lnTo>
                    <a:pt x="42162" y="118235"/>
                  </a:lnTo>
                  <a:lnTo>
                    <a:pt x="42162" y="117058"/>
                  </a:lnTo>
                  <a:lnTo>
                    <a:pt x="42162" y="115882"/>
                  </a:lnTo>
                  <a:lnTo>
                    <a:pt x="42162" y="114117"/>
                  </a:lnTo>
                  <a:lnTo>
                    <a:pt x="41081" y="114117"/>
                  </a:lnTo>
                  <a:lnTo>
                    <a:pt x="42162" y="114117"/>
                  </a:lnTo>
                  <a:lnTo>
                    <a:pt x="42162" y="115882"/>
                  </a:lnTo>
                  <a:lnTo>
                    <a:pt x="42162" y="117058"/>
                  </a:lnTo>
                  <a:lnTo>
                    <a:pt x="42162" y="117058"/>
                  </a:lnTo>
                  <a:lnTo>
                    <a:pt x="43783" y="118235"/>
                  </a:lnTo>
                  <a:lnTo>
                    <a:pt x="43783" y="118235"/>
                  </a:lnTo>
                  <a:lnTo>
                    <a:pt x="44864" y="117058"/>
                  </a:lnTo>
                  <a:lnTo>
                    <a:pt x="44864" y="115882"/>
                  </a:lnTo>
                  <a:lnTo>
                    <a:pt x="44864" y="114117"/>
                  </a:lnTo>
                  <a:lnTo>
                    <a:pt x="44864" y="114117"/>
                  </a:lnTo>
                  <a:lnTo>
                    <a:pt x="44864" y="114117"/>
                  </a:lnTo>
                  <a:lnTo>
                    <a:pt x="45945" y="115882"/>
                  </a:lnTo>
                  <a:lnTo>
                    <a:pt x="45945" y="115882"/>
                  </a:lnTo>
                  <a:lnTo>
                    <a:pt x="48648" y="115882"/>
                  </a:lnTo>
                  <a:lnTo>
                    <a:pt x="48648" y="115882"/>
                  </a:lnTo>
                  <a:lnTo>
                    <a:pt x="48648" y="115882"/>
                  </a:lnTo>
                  <a:lnTo>
                    <a:pt x="48648" y="114117"/>
                  </a:lnTo>
                  <a:lnTo>
                    <a:pt x="49729" y="115882"/>
                  </a:lnTo>
                  <a:lnTo>
                    <a:pt x="49729" y="117058"/>
                  </a:lnTo>
                  <a:lnTo>
                    <a:pt x="52432" y="117058"/>
                  </a:lnTo>
                  <a:lnTo>
                    <a:pt x="53513" y="115882"/>
                  </a:lnTo>
                  <a:lnTo>
                    <a:pt x="56216" y="115882"/>
                  </a:lnTo>
                  <a:lnTo>
                    <a:pt x="57297" y="114117"/>
                  </a:lnTo>
                  <a:lnTo>
                    <a:pt x="56216" y="111764"/>
                  </a:lnTo>
                  <a:lnTo>
                    <a:pt x="56216" y="111764"/>
                  </a:lnTo>
                  <a:lnTo>
                    <a:pt x="57297" y="112941"/>
                  </a:lnTo>
                  <a:lnTo>
                    <a:pt x="57297" y="112941"/>
                  </a:lnTo>
                  <a:lnTo>
                    <a:pt x="57297" y="114117"/>
                  </a:lnTo>
                  <a:lnTo>
                    <a:pt x="58918" y="114117"/>
                  </a:lnTo>
                  <a:lnTo>
                    <a:pt x="58918" y="114117"/>
                  </a:lnTo>
                  <a:lnTo>
                    <a:pt x="58918" y="114117"/>
                  </a:lnTo>
                  <a:lnTo>
                    <a:pt x="60000" y="112941"/>
                  </a:lnTo>
                  <a:lnTo>
                    <a:pt x="60000" y="111764"/>
                  </a:lnTo>
                  <a:lnTo>
                    <a:pt x="61621" y="110000"/>
                  </a:lnTo>
                  <a:lnTo>
                    <a:pt x="61621" y="108823"/>
                  </a:lnTo>
                  <a:lnTo>
                    <a:pt x="62702" y="104705"/>
                  </a:lnTo>
                  <a:lnTo>
                    <a:pt x="62702" y="102941"/>
                  </a:lnTo>
                  <a:lnTo>
                    <a:pt x="62702" y="100588"/>
                  </a:lnTo>
                  <a:lnTo>
                    <a:pt x="63783" y="98823"/>
                  </a:lnTo>
                  <a:lnTo>
                    <a:pt x="63783" y="97647"/>
                  </a:lnTo>
                  <a:lnTo>
                    <a:pt x="66486" y="96470"/>
                  </a:lnTo>
                  <a:lnTo>
                    <a:pt x="67567" y="94705"/>
                  </a:lnTo>
                  <a:lnTo>
                    <a:pt x="67567" y="93529"/>
                  </a:lnTo>
                  <a:lnTo>
                    <a:pt x="69189" y="93529"/>
                  </a:lnTo>
                  <a:lnTo>
                    <a:pt x="69189" y="92352"/>
                  </a:lnTo>
                  <a:lnTo>
                    <a:pt x="70270" y="92352"/>
                  </a:lnTo>
                  <a:lnTo>
                    <a:pt x="71351" y="90588"/>
                  </a:lnTo>
                  <a:lnTo>
                    <a:pt x="71351" y="89411"/>
                  </a:lnTo>
                  <a:lnTo>
                    <a:pt x="71351" y="87647"/>
                  </a:lnTo>
                  <a:lnTo>
                    <a:pt x="72972" y="87647"/>
                  </a:lnTo>
                  <a:lnTo>
                    <a:pt x="74054" y="86470"/>
                  </a:lnTo>
                  <a:lnTo>
                    <a:pt x="75135" y="86470"/>
                  </a:lnTo>
                  <a:lnTo>
                    <a:pt x="75135" y="86470"/>
                  </a:lnTo>
                  <a:lnTo>
                    <a:pt x="75135" y="86470"/>
                  </a:lnTo>
                  <a:lnTo>
                    <a:pt x="75135" y="86470"/>
                  </a:lnTo>
                  <a:lnTo>
                    <a:pt x="76756" y="87647"/>
                  </a:lnTo>
                  <a:lnTo>
                    <a:pt x="77837" y="87647"/>
                  </a:lnTo>
                  <a:lnTo>
                    <a:pt x="79459" y="87647"/>
                  </a:lnTo>
                  <a:lnTo>
                    <a:pt x="79459" y="86470"/>
                  </a:lnTo>
                  <a:lnTo>
                    <a:pt x="79459" y="85294"/>
                  </a:lnTo>
                  <a:lnTo>
                    <a:pt x="79459" y="85294"/>
                  </a:lnTo>
                  <a:lnTo>
                    <a:pt x="80540" y="85294"/>
                  </a:lnTo>
                  <a:lnTo>
                    <a:pt x="81621" y="86470"/>
                  </a:lnTo>
                  <a:lnTo>
                    <a:pt x="83243" y="87647"/>
                  </a:lnTo>
                  <a:lnTo>
                    <a:pt x="83243" y="89411"/>
                  </a:lnTo>
                  <a:lnTo>
                    <a:pt x="84324" y="89411"/>
                  </a:lnTo>
                  <a:lnTo>
                    <a:pt x="84324" y="89411"/>
                  </a:lnTo>
                  <a:lnTo>
                    <a:pt x="84324" y="92352"/>
                  </a:lnTo>
                  <a:lnTo>
                    <a:pt x="85405" y="92352"/>
                  </a:lnTo>
                  <a:lnTo>
                    <a:pt x="85405" y="93529"/>
                  </a:lnTo>
                  <a:lnTo>
                    <a:pt x="87027" y="92352"/>
                  </a:lnTo>
                  <a:lnTo>
                    <a:pt x="87027" y="92352"/>
                  </a:lnTo>
                  <a:lnTo>
                    <a:pt x="88108" y="92352"/>
                  </a:lnTo>
                  <a:lnTo>
                    <a:pt x="88108" y="90588"/>
                  </a:lnTo>
                  <a:lnTo>
                    <a:pt x="89189" y="90588"/>
                  </a:lnTo>
                  <a:lnTo>
                    <a:pt x="89189" y="89411"/>
                  </a:lnTo>
                  <a:lnTo>
                    <a:pt x="89189" y="87647"/>
                  </a:lnTo>
                  <a:lnTo>
                    <a:pt x="89189" y="87647"/>
                  </a:lnTo>
                  <a:lnTo>
                    <a:pt x="90810" y="86470"/>
                  </a:lnTo>
                  <a:lnTo>
                    <a:pt x="91891" y="85294"/>
                  </a:lnTo>
                  <a:lnTo>
                    <a:pt x="91891" y="83529"/>
                  </a:lnTo>
                  <a:lnTo>
                    <a:pt x="91891" y="83529"/>
                  </a:lnTo>
                  <a:lnTo>
                    <a:pt x="91891" y="83529"/>
                  </a:lnTo>
                  <a:lnTo>
                    <a:pt x="91891" y="82352"/>
                  </a:lnTo>
                  <a:lnTo>
                    <a:pt x="91891" y="81176"/>
                  </a:lnTo>
                  <a:lnTo>
                    <a:pt x="91891" y="81176"/>
                  </a:lnTo>
                  <a:lnTo>
                    <a:pt x="94594" y="78235"/>
                  </a:lnTo>
                  <a:lnTo>
                    <a:pt x="94594" y="78235"/>
                  </a:lnTo>
                  <a:lnTo>
                    <a:pt x="94594" y="77058"/>
                  </a:lnTo>
                  <a:lnTo>
                    <a:pt x="95675" y="74117"/>
                  </a:lnTo>
                  <a:lnTo>
                    <a:pt x="95675" y="71176"/>
                  </a:lnTo>
                  <a:lnTo>
                    <a:pt x="95675" y="70000"/>
                  </a:lnTo>
                  <a:lnTo>
                    <a:pt x="97297" y="68235"/>
                  </a:lnTo>
                  <a:lnTo>
                    <a:pt x="98378" y="65882"/>
                  </a:lnTo>
                  <a:lnTo>
                    <a:pt x="99459" y="65882"/>
                  </a:lnTo>
                  <a:lnTo>
                    <a:pt x="101081" y="65882"/>
                  </a:lnTo>
                  <a:lnTo>
                    <a:pt x="101081" y="64117"/>
                  </a:lnTo>
                  <a:lnTo>
                    <a:pt x="102162" y="62941"/>
                  </a:lnTo>
                  <a:lnTo>
                    <a:pt x="102162" y="62941"/>
                  </a:lnTo>
                  <a:lnTo>
                    <a:pt x="102162" y="61764"/>
                  </a:lnTo>
                  <a:lnTo>
                    <a:pt x="102162" y="58823"/>
                  </a:lnTo>
                  <a:lnTo>
                    <a:pt x="102162" y="57058"/>
                  </a:lnTo>
                  <a:lnTo>
                    <a:pt x="103243" y="55882"/>
                  </a:lnTo>
                  <a:lnTo>
                    <a:pt x="104864" y="54705"/>
                  </a:lnTo>
                  <a:lnTo>
                    <a:pt x="105945" y="54705"/>
                  </a:lnTo>
                  <a:lnTo>
                    <a:pt x="105945" y="54705"/>
                  </a:lnTo>
                  <a:lnTo>
                    <a:pt x="105945" y="52941"/>
                  </a:lnTo>
                  <a:lnTo>
                    <a:pt x="105945" y="50588"/>
                  </a:lnTo>
                  <a:lnTo>
                    <a:pt x="105945" y="48823"/>
                  </a:lnTo>
                  <a:lnTo>
                    <a:pt x="105945" y="48823"/>
                  </a:lnTo>
                  <a:lnTo>
                    <a:pt x="107027" y="47647"/>
                  </a:lnTo>
                  <a:lnTo>
                    <a:pt x="108648" y="46470"/>
                  </a:lnTo>
                  <a:lnTo>
                    <a:pt x="108648" y="43529"/>
                  </a:lnTo>
                  <a:lnTo>
                    <a:pt x="109729" y="40588"/>
                  </a:lnTo>
                  <a:lnTo>
                    <a:pt x="110810" y="37647"/>
                  </a:lnTo>
                  <a:lnTo>
                    <a:pt x="112432" y="35294"/>
                  </a:lnTo>
                  <a:lnTo>
                    <a:pt x="113513" y="33529"/>
                  </a:lnTo>
                  <a:lnTo>
                    <a:pt x="115135" y="33529"/>
                  </a:lnTo>
                  <a:lnTo>
                    <a:pt x="115135" y="33529"/>
                  </a:lnTo>
                  <a:lnTo>
                    <a:pt x="116216" y="32352"/>
                  </a:lnTo>
                  <a:lnTo>
                    <a:pt x="117297" y="30588"/>
                  </a:lnTo>
                  <a:lnTo>
                    <a:pt x="118918" y="30588"/>
                  </a:lnTo>
                  <a:lnTo>
                    <a:pt x="120000" y="29411"/>
                  </a:lnTo>
                  <a:lnTo>
                    <a:pt x="120000" y="29411"/>
                  </a:lnTo>
                  <a:lnTo>
                    <a:pt x="120000" y="29411"/>
                  </a:lnTo>
                  <a:lnTo>
                    <a:pt x="120000" y="26470"/>
                  </a:lnTo>
                  <a:lnTo>
                    <a:pt x="120000" y="25294"/>
                  </a:lnTo>
                  <a:lnTo>
                    <a:pt x="120000" y="24117"/>
                  </a:lnTo>
                  <a:lnTo>
                    <a:pt x="120000" y="22352"/>
                  </a:lnTo>
                  <a:lnTo>
                    <a:pt x="120000" y="22352"/>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17" name="Shape 417"/>
            <p:cNvSpPr/>
            <p:nvPr/>
          </p:nvSpPr>
          <p:spPr>
            <a:xfrm>
              <a:off x="3658" y="2311"/>
              <a:ext cx="300" cy="300"/>
            </a:xfrm>
            <a:custGeom>
              <a:avLst/>
              <a:gdLst/>
              <a:ahLst/>
              <a:cxnLst/>
              <a:rect l="0" t="0" r="0" b="0"/>
              <a:pathLst>
                <a:path w="120000" h="120000" extrusionOk="0">
                  <a:moveTo>
                    <a:pt x="120000" y="31553"/>
                  </a:moveTo>
                  <a:lnTo>
                    <a:pt x="117931" y="28207"/>
                  </a:lnTo>
                  <a:lnTo>
                    <a:pt x="116689" y="28207"/>
                  </a:lnTo>
                  <a:lnTo>
                    <a:pt x="116689" y="27250"/>
                  </a:lnTo>
                  <a:lnTo>
                    <a:pt x="116689" y="26294"/>
                  </a:lnTo>
                  <a:lnTo>
                    <a:pt x="115034" y="21513"/>
                  </a:lnTo>
                  <a:lnTo>
                    <a:pt x="113793" y="20557"/>
                  </a:lnTo>
                  <a:lnTo>
                    <a:pt x="113793" y="20557"/>
                  </a:lnTo>
                  <a:lnTo>
                    <a:pt x="113793" y="19123"/>
                  </a:lnTo>
                  <a:lnTo>
                    <a:pt x="113793" y="15776"/>
                  </a:lnTo>
                  <a:lnTo>
                    <a:pt x="112965" y="11474"/>
                  </a:lnTo>
                  <a:lnTo>
                    <a:pt x="112137" y="5737"/>
                  </a:lnTo>
                  <a:lnTo>
                    <a:pt x="112137" y="5737"/>
                  </a:lnTo>
                  <a:lnTo>
                    <a:pt x="109241" y="8127"/>
                  </a:lnTo>
                  <a:lnTo>
                    <a:pt x="107172" y="9083"/>
                  </a:lnTo>
                  <a:lnTo>
                    <a:pt x="107172" y="9083"/>
                  </a:lnTo>
                  <a:lnTo>
                    <a:pt x="106344" y="9083"/>
                  </a:lnTo>
                  <a:lnTo>
                    <a:pt x="104275" y="6693"/>
                  </a:lnTo>
                  <a:lnTo>
                    <a:pt x="102206" y="4780"/>
                  </a:lnTo>
                  <a:lnTo>
                    <a:pt x="101379" y="3346"/>
                  </a:lnTo>
                  <a:lnTo>
                    <a:pt x="97241" y="2390"/>
                  </a:lnTo>
                  <a:lnTo>
                    <a:pt x="93517" y="956"/>
                  </a:lnTo>
                  <a:lnTo>
                    <a:pt x="89379" y="0"/>
                  </a:lnTo>
                  <a:lnTo>
                    <a:pt x="85655" y="3346"/>
                  </a:lnTo>
                  <a:lnTo>
                    <a:pt x="81931" y="6693"/>
                  </a:lnTo>
                  <a:lnTo>
                    <a:pt x="77793" y="9083"/>
                  </a:lnTo>
                  <a:lnTo>
                    <a:pt x="74068" y="12430"/>
                  </a:lnTo>
                  <a:lnTo>
                    <a:pt x="69931" y="15776"/>
                  </a:lnTo>
                  <a:lnTo>
                    <a:pt x="66206" y="18167"/>
                  </a:lnTo>
                  <a:lnTo>
                    <a:pt x="62068" y="21513"/>
                  </a:lnTo>
                  <a:lnTo>
                    <a:pt x="58344" y="24860"/>
                  </a:lnTo>
                  <a:lnTo>
                    <a:pt x="55448" y="27250"/>
                  </a:lnTo>
                  <a:lnTo>
                    <a:pt x="54620" y="28207"/>
                  </a:lnTo>
                  <a:lnTo>
                    <a:pt x="52551" y="30597"/>
                  </a:lnTo>
                  <a:lnTo>
                    <a:pt x="50482" y="32988"/>
                  </a:lnTo>
                  <a:lnTo>
                    <a:pt x="48413" y="34900"/>
                  </a:lnTo>
                  <a:lnTo>
                    <a:pt x="46758" y="37290"/>
                  </a:lnTo>
                  <a:lnTo>
                    <a:pt x="45517" y="38725"/>
                  </a:lnTo>
                  <a:lnTo>
                    <a:pt x="43862" y="40637"/>
                  </a:lnTo>
                  <a:lnTo>
                    <a:pt x="42620" y="42071"/>
                  </a:lnTo>
                  <a:lnTo>
                    <a:pt x="39724" y="42071"/>
                  </a:lnTo>
                  <a:lnTo>
                    <a:pt x="36827" y="43027"/>
                  </a:lnTo>
                  <a:lnTo>
                    <a:pt x="34758" y="43027"/>
                  </a:lnTo>
                  <a:lnTo>
                    <a:pt x="33103" y="43984"/>
                  </a:lnTo>
                  <a:lnTo>
                    <a:pt x="31034" y="43984"/>
                  </a:lnTo>
                  <a:lnTo>
                    <a:pt x="31034" y="46374"/>
                  </a:lnTo>
                  <a:lnTo>
                    <a:pt x="31034" y="48764"/>
                  </a:lnTo>
                  <a:lnTo>
                    <a:pt x="31034" y="52111"/>
                  </a:lnTo>
                  <a:lnTo>
                    <a:pt x="31034" y="54501"/>
                  </a:lnTo>
                  <a:lnTo>
                    <a:pt x="31034" y="57848"/>
                  </a:lnTo>
                  <a:lnTo>
                    <a:pt x="31034" y="59760"/>
                  </a:lnTo>
                  <a:lnTo>
                    <a:pt x="31034" y="63585"/>
                  </a:lnTo>
                  <a:lnTo>
                    <a:pt x="31034" y="65498"/>
                  </a:lnTo>
                  <a:lnTo>
                    <a:pt x="31034" y="66932"/>
                  </a:lnTo>
                  <a:lnTo>
                    <a:pt x="31034" y="67888"/>
                  </a:lnTo>
                  <a:lnTo>
                    <a:pt x="31034" y="70278"/>
                  </a:lnTo>
                  <a:lnTo>
                    <a:pt x="30206" y="72191"/>
                  </a:lnTo>
                  <a:lnTo>
                    <a:pt x="28965" y="73625"/>
                  </a:lnTo>
                  <a:lnTo>
                    <a:pt x="28965" y="76015"/>
                  </a:lnTo>
                  <a:lnTo>
                    <a:pt x="28965" y="76972"/>
                  </a:lnTo>
                  <a:lnTo>
                    <a:pt x="28137" y="76972"/>
                  </a:lnTo>
                  <a:lnTo>
                    <a:pt x="28137" y="77928"/>
                  </a:lnTo>
                  <a:lnTo>
                    <a:pt x="28137" y="77928"/>
                  </a:lnTo>
                  <a:lnTo>
                    <a:pt x="28137" y="79362"/>
                  </a:lnTo>
                  <a:lnTo>
                    <a:pt x="28137" y="79362"/>
                  </a:lnTo>
                  <a:lnTo>
                    <a:pt x="27310" y="79362"/>
                  </a:lnTo>
                  <a:lnTo>
                    <a:pt x="25241" y="81274"/>
                  </a:lnTo>
                  <a:lnTo>
                    <a:pt x="25241" y="82709"/>
                  </a:lnTo>
                  <a:lnTo>
                    <a:pt x="24413" y="82709"/>
                  </a:lnTo>
                  <a:lnTo>
                    <a:pt x="22344" y="81274"/>
                  </a:lnTo>
                  <a:lnTo>
                    <a:pt x="22344" y="81274"/>
                  </a:lnTo>
                  <a:lnTo>
                    <a:pt x="21103" y="81274"/>
                  </a:lnTo>
                  <a:lnTo>
                    <a:pt x="21103" y="82709"/>
                  </a:lnTo>
                  <a:lnTo>
                    <a:pt x="19448" y="82709"/>
                  </a:lnTo>
                  <a:lnTo>
                    <a:pt x="17379" y="82709"/>
                  </a:lnTo>
                  <a:lnTo>
                    <a:pt x="14482" y="82709"/>
                  </a:lnTo>
                  <a:lnTo>
                    <a:pt x="12413" y="82709"/>
                  </a:lnTo>
                  <a:lnTo>
                    <a:pt x="10758" y="83665"/>
                  </a:lnTo>
                  <a:lnTo>
                    <a:pt x="8689" y="83665"/>
                  </a:lnTo>
                  <a:lnTo>
                    <a:pt x="7448" y="84621"/>
                  </a:lnTo>
                  <a:lnTo>
                    <a:pt x="5793" y="86055"/>
                  </a:lnTo>
                  <a:lnTo>
                    <a:pt x="5793" y="86055"/>
                  </a:lnTo>
                  <a:lnTo>
                    <a:pt x="3724" y="87011"/>
                  </a:lnTo>
                  <a:lnTo>
                    <a:pt x="1655" y="86055"/>
                  </a:lnTo>
                  <a:lnTo>
                    <a:pt x="827" y="86055"/>
                  </a:lnTo>
                  <a:lnTo>
                    <a:pt x="827" y="86055"/>
                  </a:lnTo>
                  <a:lnTo>
                    <a:pt x="0" y="87011"/>
                  </a:lnTo>
                  <a:lnTo>
                    <a:pt x="0" y="87011"/>
                  </a:lnTo>
                  <a:lnTo>
                    <a:pt x="0" y="88446"/>
                  </a:lnTo>
                  <a:lnTo>
                    <a:pt x="0" y="89402"/>
                  </a:lnTo>
                  <a:lnTo>
                    <a:pt x="0" y="91792"/>
                  </a:lnTo>
                  <a:lnTo>
                    <a:pt x="827" y="91792"/>
                  </a:lnTo>
                  <a:lnTo>
                    <a:pt x="827" y="92749"/>
                  </a:lnTo>
                  <a:lnTo>
                    <a:pt x="1655" y="93705"/>
                  </a:lnTo>
                  <a:lnTo>
                    <a:pt x="827" y="95139"/>
                  </a:lnTo>
                  <a:lnTo>
                    <a:pt x="1655" y="95139"/>
                  </a:lnTo>
                  <a:lnTo>
                    <a:pt x="1655" y="96095"/>
                  </a:lnTo>
                  <a:lnTo>
                    <a:pt x="2896" y="97051"/>
                  </a:lnTo>
                  <a:lnTo>
                    <a:pt x="2896" y="99442"/>
                  </a:lnTo>
                  <a:lnTo>
                    <a:pt x="3724" y="99442"/>
                  </a:lnTo>
                  <a:lnTo>
                    <a:pt x="4551" y="99442"/>
                  </a:lnTo>
                  <a:lnTo>
                    <a:pt x="4551" y="99442"/>
                  </a:lnTo>
                  <a:lnTo>
                    <a:pt x="4551" y="99442"/>
                  </a:lnTo>
                  <a:lnTo>
                    <a:pt x="5793" y="100876"/>
                  </a:lnTo>
                  <a:lnTo>
                    <a:pt x="5793" y="100876"/>
                  </a:lnTo>
                  <a:lnTo>
                    <a:pt x="5793" y="100876"/>
                  </a:lnTo>
                  <a:lnTo>
                    <a:pt x="6620" y="101832"/>
                  </a:lnTo>
                  <a:lnTo>
                    <a:pt x="6620" y="101832"/>
                  </a:lnTo>
                  <a:lnTo>
                    <a:pt x="7448" y="102788"/>
                  </a:lnTo>
                  <a:lnTo>
                    <a:pt x="7448" y="102788"/>
                  </a:lnTo>
                  <a:lnTo>
                    <a:pt x="6620" y="102788"/>
                  </a:lnTo>
                  <a:lnTo>
                    <a:pt x="5793" y="102788"/>
                  </a:lnTo>
                  <a:lnTo>
                    <a:pt x="5793" y="102788"/>
                  </a:lnTo>
                  <a:lnTo>
                    <a:pt x="5793" y="104223"/>
                  </a:lnTo>
                  <a:lnTo>
                    <a:pt x="5793" y="106135"/>
                  </a:lnTo>
                  <a:lnTo>
                    <a:pt x="5793" y="106135"/>
                  </a:lnTo>
                  <a:lnTo>
                    <a:pt x="6620" y="106135"/>
                  </a:lnTo>
                  <a:lnTo>
                    <a:pt x="8689" y="107569"/>
                  </a:lnTo>
                  <a:lnTo>
                    <a:pt x="9517" y="109482"/>
                  </a:lnTo>
                  <a:lnTo>
                    <a:pt x="10758" y="109482"/>
                  </a:lnTo>
                  <a:lnTo>
                    <a:pt x="11586" y="109482"/>
                  </a:lnTo>
                  <a:lnTo>
                    <a:pt x="12413" y="109482"/>
                  </a:lnTo>
                  <a:lnTo>
                    <a:pt x="12413" y="109482"/>
                  </a:lnTo>
                  <a:lnTo>
                    <a:pt x="13655" y="109482"/>
                  </a:lnTo>
                  <a:lnTo>
                    <a:pt x="13655" y="108525"/>
                  </a:lnTo>
                  <a:lnTo>
                    <a:pt x="14482" y="109482"/>
                  </a:lnTo>
                  <a:lnTo>
                    <a:pt x="14482" y="109482"/>
                  </a:lnTo>
                  <a:lnTo>
                    <a:pt x="14482" y="109482"/>
                  </a:lnTo>
                  <a:lnTo>
                    <a:pt x="15310" y="110916"/>
                  </a:lnTo>
                  <a:lnTo>
                    <a:pt x="15310" y="111872"/>
                  </a:lnTo>
                  <a:lnTo>
                    <a:pt x="15310" y="111872"/>
                  </a:lnTo>
                  <a:lnTo>
                    <a:pt x="15310" y="111872"/>
                  </a:lnTo>
                  <a:lnTo>
                    <a:pt x="14482" y="111872"/>
                  </a:lnTo>
                  <a:lnTo>
                    <a:pt x="14482" y="113306"/>
                  </a:lnTo>
                  <a:lnTo>
                    <a:pt x="14482" y="113306"/>
                  </a:lnTo>
                  <a:lnTo>
                    <a:pt x="14482" y="113306"/>
                  </a:lnTo>
                  <a:lnTo>
                    <a:pt x="14482" y="113306"/>
                  </a:lnTo>
                  <a:lnTo>
                    <a:pt x="15310" y="115219"/>
                  </a:lnTo>
                  <a:lnTo>
                    <a:pt x="16551" y="116653"/>
                  </a:lnTo>
                  <a:lnTo>
                    <a:pt x="16551" y="117609"/>
                  </a:lnTo>
                  <a:lnTo>
                    <a:pt x="16551" y="116653"/>
                  </a:lnTo>
                  <a:lnTo>
                    <a:pt x="16551" y="114262"/>
                  </a:lnTo>
                  <a:lnTo>
                    <a:pt x="16551" y="114262"/>
                  </a:lnTo>
                  <a:lnTo>
                    <a:pt x="17379" y="114262"/>
                  </a:lnTo>
                  <a:lnTo>
                    <a:pt x="18206" y="113306"/>
                  </a:lnTo>
                  <a:lnTo>
                    <a:pt x="18206" y="113306"/>
                  </a:lnTo>
                  <a:lnTo>
                    <a:pt x="19448" y="113306"/>
                  </a:lnTo>
                  <a:lnTo>
                    <a:pt x="19448" y="113306"/>
                  </a:lnTo>
                  <a:lnTo>
                    <a:pt x="20275" y="111872"/>
                  </a:lnTo>
                  <a:lnTo>
                    <a:pt x="20275" y="113306"/>
                  </a:lnTo>
                  <a:lnTo>
                    <a:pt x="20275" y="113306"/>
                  </a:lnTo>
                  <a:lnTo>
                    <a:pt x="22344" y="115219"/>
                  </a:lnTo>
                  <a:lnTo>
                    <a:pt x="23172" y="116653"/>
                  </a:lnTo>
                  <a:lnTo>
                    <a:pt x="23172" y="117609"/>
                  </a:lnTo>
                  <a:lnTo>
                    <a:pt x="24413" y="117609"/>
                  </a:lnTo>
                  <a:lnTo>
                    <a:pt x="25241" y="117609"/>
                  </a:lnTo>
                  <a:lnTo>
                    <a:pt x="25241" y="118565"/>
                  </a:lnTo>
                  <a:lnTo>
                    <a:pt x="26068" y="120000"/>
                  </a:lnTo>
                  <a:lnTo>
                    <a:pt x="26068" y="118565"/>
                  </a:lnTo>
                  <a:lnTo>
                    <a:pt x="26068" y="118565"/>
                  </a:lnTo>
                  <a:lnTo>
                    <a:pt x="26068" y="118565"/>
                  </a:lnTo>
                  <a:lnTo>
                    <a:pt x="26068" y="117609"/>
                  </a:lnTo>
                  <a:lnTo>
                    <a:pt x="26068" y="117609"/>
                  </a:lnTo>
                  <a:lnTo>
                    <a:pt x="26068" y="117609"/>
                  </a:lnTo>
                  <a:lnTo>
                    <a:pt x="26068" y="116653"/>
                  </a:lnTo>
                  <a:lnTo>
                    <a:pt x="26068" y="115219"/>
                  </a:lnTo>
                  <a:lnTo>
                    <a:pt x="26068" y="114262"/>
                  </a:lnTo>
                  <a:lnTo>
                    <a:pt x="26068" y="111872"/>
                  </a:lnTo>
                  <a:lnTo>
                    <a:pt x="26068" y="110916"/>
                  </a:lnTo>
                  <a:lnTo>
                    <a:pt x="27310" y="109482"/>
                  </a:lnTo>
                  <a:lnTo>
                    <a:pt x="28137" y="108525"/>
                  </a:lnTo>
                  <a:lnTo>
                    <a:pt x="28965" y="107569"/>
                  </a:lnTo>
                  <a:lnTo>
                    <a:pt x="30206" y="105179"/>
                  </a:lnTo>
                  <a:lnTo>
                    <a:pt x="30206" y="101832"/>
                  </a:lnTo>
                  <a:lnTo>
                    <a:pt x="30206" y="101832"/>
                  </a:lnTo>
                  <a:lnTo>
                    <a:pt x="31034" y="100876"/>
                  </a:lnTo>
                  <a:lnTo>
                    <a:pt x="31862" y="99442"/>
                  </a:lnTo>
                  <a:lnTo>
                    <a:pt x="33103" y="99442"/>
                  </a:lnTo>
                  <a:lnTo>
                    <a:pt x="33931" y="98486"/>
                  </a:lnTo>
                  <a:lnTo>
                    <a:pt x="34758" y="98486"/>
                  </a:lnTo>
                  <a:lnTo>
                    <a:pt x="36000" y="98486"/>
                  </a:lnTo>
                  <a:lnTo>
                    <a:pt x="38068" y="98486"/>
                  </a:lnTo>
                  <a:lnTo>
                    <a:pt x="38896" y="98486"/>
                  </a:lnTo>
                  <a:lnTo>
                    <a:pt x="39724" y="97051"/>
                  </a:lnTo>
                  <a:lnTo>
                    <a:pt x="39724" y="97051"/>
                  </a:lnTo>
                  <a:lnTo>
                    <a:pt x="40965" y="97051"/>
                  </a:lnTo>
                  <a:lnTo>
                    <a:pt x="42620" y="98486"/>
                  </a:lnTo>
                  <a:lnTo>
                    <a:pt x="45517" y="99442"/>
                  </a:lnTo>
                  <a:lnTo>
                    <a:pt x="46758" y="99442"/>
                  </a:lnTo>
                  <a:lnTo>
                    <a:pt x="46758" y="99442"/>
                  </a:lnTo>
                  <a:lnTo>
                    <a:pt x="47586" y="100876"/>
                  </a:lnTo>
                  <a:lnTo>
                    <a:pt x="48413" y="101832"/>
                  </a:lnTo>
                  <a:lnTo>
                    <a:pt x="48413" y="101832"/>
                  </a:lnTo>
                  <a:lnTo>
                    <a:pt x="48413" y="102788"/>
                  </a:lnTo>
                  <a:lnTo>
                    <a:pt x="50482" y="105179"/>
                  </a:lnTo>
                  <a:lnTo>
                    <a:pt x="50482" y="106135"/>
                  </a:lnTo>
                  <a:lnTo>
                    <a:pt x="51724" y="106135"/>
                  </a:lnTo>
                  <a:lnTo>
                    <a:pt x="51724" y="106135"/>
                  </a:lnTo>
                  <a:lnTo>
                    <a:pt x="52551" y="106135"/>
                  </a:lnTo>
                  <a:lnTo>
                    <a:pt x="52551" y="106135"/>
                  </a:lnTo>
                  <a:lnTo>
                    <a:pt x="53379" y="105179"/>
                  </a:lnTo>
                  <a:lnTo>
                    <a:pt x="54620" y="105179"/>
                  </a:lnTo>
                  <a:lnTo>
                    <a:pt x="54620" y="105179"/>
                  </a:lnTo>
                  <a:lnTo>
                    <a:pt x="58344" y="102788"/>
                  </a:lnTo>
                  <a:lnTo>
                    <a:pt x="58344" y="102788"/>
                  </a:lnTo>
                  <a:lnTo>
                    <a:pt x="59172" y="102788"/>
                  </a:lnTo>
                  <a:lnTo>
                    <a:pt x="60413" y="102788"/>
                  </a:lnTo>
                  <a:lnTo>
                    <a:pt x="63310" y="105179"/>
                  </a:lnTo>
                  <a:lnTo>
                    <a:pt x="65379" y="107569"/>
                  </a:lnTo>
                  <a:lnTo>
                    <a:pt x="67034" y="107569"/>
                  </a:lnTo>
                  <a:lnTo>
                    <a:pt x="69103" y="108525"/>
                  </a:lnTo>
                  <a:lnTo>
                    <a:pt x="72000" y="108525"/>
                  </a:lnTo>
                  <a:lnTo>
                    <a:pt x="74068" y="105179"/>
                  </a:lnTo>
                  <a:lnTo>
                    <a:pt x="74896" y="104223"/>
                  </a:lnTo>
                  <a:lnTo>
                    <a:pt x="75724" y="104223"/>
                  </a:lnTo>
                  <a:lnTo>
                    <a:pt x="76965" y="102788"/>
                  </a:lnTo>
                  <a:lnTo>
                    <a:pt x="79034" y="102788"/>
                  </a:lnTo>
                  <a:lnTo>
                    <a:pt x="81931" y="102788"/>
                  </a:lnTo>
                  <a:lnTo>
                    <a:pt x="85655" y="102788"/>
                  </a:lnTo>
                  <a:lnTo>
                    <a:pt x="86482" y="102788"/>
                  </a:lnTo>
                  <a:lnTo>
                    <a:pt x="87724" y="102788"/>
                  </a:lnTo>
                  <a:lnTo>
                    <a:pt x="89379" y="104223"/>
                  </a:lnTo>
                  <a:lnTo>
                    <a:pt x="90620" y="105179"/>
                  </a:lnTo>
                  <a:lnTo>
                    <a:pt x="92689" y="105179"/>
                  </a:lnTo>
                  <a:lnTo>
                    <a:pt x="93517" y="105179"/>
                  </a:lnTo>
                  <a:lnTo>
                    <a:pt x="94344" y="104223"/>
                  </a:lnTo>
                  <a:lnTo>
                    <a:pt x="95586" y="102788"/>
                  </a:lnTo>
                  <a:lnTo>
                    <a:pt x="95586" y="102788"/>
                  </a:lnTo>
                  <a:lnTo>
                    <a:pt x="96413" y="101832"/>
                  </a:lnTo>
                  <a:lnTo>
                    <a:pt x="98482" y="100876"/>
                  </a:lnTo>
                  <a:lnTo>
                    <a:pt x="99310" y="100876"/>
                  </a:lnTo>
                  <a:lnTo>
                    <a:pt x="100137" y="99442"/>
                  </a:lnTo>
                  <a:lnTo>
                    <a:pt x="101379" y="99442"/>
                  </a:lnTo>
                  <a:lnTo>
                    <a:pt x="102206" y="99442"/>
                  </a:lnTo>
                  <a:lnTo>
                    <a:pt x="101379" y="95139"/>
                  </a:lnTo>
                  <a:lnTo>
                    <a:pt x="101379" y="92749"/>
                  </a:lnTo>
                  <a:lnTo>
                    <a:pt x="101379" y="91792"/>
                  </a:lnTo>
                  <a:lnTo>
                    <a:pt x="102206" y="89402"/>
                  </a:lnTo>
                  <a:lnTo>
                    <a:pt x="104275" y="86055"/>
                  </a:lnTo>
                  <a:lnTo>
                    <a:pt x="107172" y="81274"/>
                  </a:lnTo>
                  <a:lnTo>
                    <a:pt x="108000" y="77928"/>
                  </a:lnTo>
                  <a:lnTo>
                    <a:pt x="110896" y="74581"/>
                  </a:lnTo>
                  <a:lnTo>
                    <a:pt x="115034" y="70278"/>
                  </a:lnTo>
                  <a:lnTo>
                    <a:pt x="116689" y="66932"/>
                  </a:lnTo>
                  <a:lnTo>
                    <a:pt x="116689" y="62151"/>
                  </a:lnTo>
                  <a:lnTo>
                    <a:pt x="116689" y="56414"/>
                  </a:lnTo>
                  <a:lnTo>
                    <a:pt x="116689" y="52111"/>
                  </a:lnTo>
                  <a:lnTo>
                    <a:pt x="117931" y="47330"/>
                  </a:lnTo>
                  <a:lnTo>
                    <a:pt x="117931" y="43984"/>
                  </a:lnTo>
                  <a:lnTo>
                    <a:pt x="117931" y="40637"/>
                  </a:lnTo>
                  <a:lnTo>
                    <a:pt x="117931" y="36334"/>
                  </a:lnTo>
                  <a:lnTo>
                    <a:pt x="118758" y="36334"/>
                  </a:lnTo>
                  <a:lnTo>
                    <a:pt x="120000" y="32988"/>
                  </a:lnTo>
                  <a:lnTo>
                    <a:pt x="120000" y="31553"/>
                  </a:lnTo>
                  <a:lnTo>
                    <a:pt x="120000" y="31553"/>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18" name="Shape 418"/>
            <p:cNvSpPr/>
            <p:nvPr/>
          </p:nvSpPr>
          <p:spPr>
            <a:xfrm>
              <a:off x="2036" y="2491"/>
              <a:ext cx="0" cy="0"/>
            </a:xfrm>
            <a:custGeom>
              <a:avLst/>
              <a:gdLst/>
              <a:ahLst/>
              <a:cxnLst/>
              <a:rect l="0" t="0" r="0" b="0"/>
              <a:pathLst>
                <a:path w="120000" h="120000" extrusionOk="0">
                  <a:moveTo>
                    <a:pt x="114482" y="0"/>
                  </a:moveTo>
                  <a:lnTo>
                    <a:pt x="110344" y="0"/>
                  </a:lnTo>
                  <a:lnTo>
                    <a:pt x="110344" y="2666"/>
                  </a:lnTo>
                  <a:lnTo>
                    <a:pt x="107586" y="2666"/>
                  </a:lnTo>
                  <a:lnTo>
                    <a:pt x="107586" y="2666"/>
                  </a:lnTo>
                  <a:lnTo>
                    <a:pt x="107586" y="2666"/>
                  </a:lnTo>
                  <a:lnTo>
                    <a:pt x="104827" y="6666"/>
                  </a:lnTo>
                  <a:lnTo>
                    <a:pt x="100689" y="6666"/>
                  </a:lnTo>
                  <a:lnTo>
                    <a:pt x="97931" y="6666"/>
                  </a:lnTo>
                  <a:lnTo>
                    <a:pt x="97931" y="6666"/>
                  </a:lnTo>
                  <a:lnTo>
                    <a:pt x="97931" y="6666"/>
                  </a:lnTo>
                  <a:lnTo>
                    <a:pt x="97931" y="9333"/>
                  </a:lnTo>
                  <a:lnTo>
                    <a:pt x="95172" y="9333"/>
                  </a:lnTo>
                  <a:lnTo>
                    <a:pt x="95172" y="9333"/>
                  </a:lnTo>
                  <a:lnTo>
                    <a:pt x="95172" y="6666"/>
                  </a:lnTo>
                  <a:lnTo>
                    <a:pt x="91034" y="6666"/>
                  </a:lnTo>
                  <a:lnTo>
                    <a:pt x="91034" y="9333"/>
                  </a:lnTo>
                  <a:lnTo>
                    <a:pt x="91034" y="9333"/>
                  </a:lnTo>
                  <a:lnTo>
                    <a:pt x="91034" y="9333"/>
                  </a:lnTo>
                  <a:lnTo>
                    <a:pt x="88275" y="9333"/>
                  </a:lnTo>
                  <a:lnTo>
                    <a:pt x="88275" y="9333"/>
                  </a:lnTo>
                  <a:lnTo>
                    <a:pt x="84137" y="9333"/>
                  </a:lnTo>
                  <a:lnTo>
                    <a:pt x="81379" y="9333"/>
                  </a:lnTo>
                  <a:lnTo>
                    <a:pt x="81379" y="9333"/>
                  </a:lnTo>
                  <a:lnTo>
                    <a:pt x="78620" y="6666"/>
                  </a:lnTo>
                  <a:lnTo>
                    <a:pt x="78620" y="6666"/>
                  </a:lnTo>
                  <a:lnTo>
                    <a:pt x="74482" y="6666"/>
                  </a:lnTo>
                  <a:lnTo>
                    <a:pt x="71724" y="9333"/>
                  </a:lnTo>
                  <a:lnTo>
                    <a:pt x="71724" y="9333"/>
                  </a:lnTo>
                  <a:lnTo>
                    <a:pt x="71724" y="12000"/>
                  </a:lnTo>
                  <a:lnTo>
                    <a:pt x="71724" y="12000"/>
                  </a:lnTo>
                  <a:lnTo>
                    <a:pt x="71724" y="12000"/>
                  </a:lnTo>
                  <a:lnTo>
                    <a:pt x="68965" y="12000"/>
                  </a:lnTo>
                  <a:lnTo>
                    <a:pt x="68965" y="16000"/>
                  </a:lnTo>
                  <a:lnTo>
                    <a:pt x="68965" y="18666"/>
                  </a:lnTo>
                  <a:lnTo>
                    <a:pt x="68965" y="18666"/>
                  </a:lnTo>
                  <a:lnTo>
                    <a:pt x="68965" y="18666"/>
                  </a:lnTo>
                  <a:lnTo>
                    <a:pt x="64827" y="18666"/>
                  </a:lnTo>
                  <a:lnTo>
                    <a:pt x="62068" y="21333"/>
                  </a:lnTo>
                  <a:lnTo>
                    <a:pt x="59310" y="25333"/>
                  </a:lnTo>
                  <a:lnTo>
                    <a:pt x="55172" y="28000"/>
                  </a:lnTo>
                  <a:lnTo>
                    <a:pt x="55172" y="28000"/>
                  </a:lnTo>
                  <a:lnTo>
                    <a:pt x="52413" y="30666"/>
                  </a:lnTo>
                  <a:lnTo>
                    <a:pt x="52413" y="30666"/>
                  </a:lnTo>
                  <a:lnTo>
                    <a:pt x="52413" y="30666"/>
                  </a:lnTo>
                  <a:lnTo>
                    <a:pt x="52413" y="30666"/>
                  </a:lnTo>
                  <a:lnTo>
                    <a:pt x="52413" y="30666"/>
                  </a:lnTo>
                  <a:lnTo>
                    <a:pt x="45517" y="28000"/>
                  </a:lnTo>
                  <a:lnTo>
                    <a:pt x="45517" y="28000"/>
                  </a:lnTo>
                  <a:lnTo>
                    <a:pt x="42758" y="28000"/>
                  </a:lnTo>
                  <a:lnTo>
                    <a:pt x="42758" y="28000"/>
                  </a:lnTo>
                  <a:lnTo>
                    <a:pt x="38620" y="30666"/>
                  </a:lnTo>
                  <a:lnTo>
                    <a:pt x="35862" y="34666"/>
                  </a:lnTo>
                  <a:lnTo>
                    <a:pt x="35862" y="34666"/>
                  </a:lnTo>
                  <a:lnTo>
                    <a:pt x="28965" y="34666"/>
                  </a:lnTo>
                  <a:lnTo>
                    <a:pt x="26206" y="34666"/>
                  </a:lnTo>
                  <a:lnTo>
                    <a:pt x="26206" y="34666"/>
                  </a:lnTo>
                  <a:lnTo>
                    <a:pt x="26206" y="37333"/>
                  </a:lnTo>
                  <a:lnTo>
                    <a:pt x="26206" y="37333"/>
                  </a:lnTo>
                  <a:lnTo>
                    <a:pt x="26206" y="44000"/>
                  </a:lnTo>
                  <a:lnTo>
                    <a:pt x="26206" y="46666"/>
                  </a:lnTo>
                  <a:lnTo>
                    <a:pt x="26206" y="46666"/>
                  </a:lnTo>
                  <a:lnTo>
                    <a:pt x="23448" y="46666"/>
                  </a:lnTo>
                  <a:lnTo>
                    <a:pt x="23448" y="50666"/>
                  </a:lnTo>
                  <a:lnTo>
                    <a:pt x="19310" y="50666"/>
                  </a:lnTo>
                  <a:lnTo>
                    <a:pt x="19310" y="50666"/>
                  </a:lnTo>
                  <a:lnTo>
                    <a:pt x="19310" y="53333"/>
                  </a:lnTo>
                  <a:lnTo>
                    <a:pt x="19310" y="53333"/>
                  </a:lnTo>
                  <a:lnTo>
                    <a:pt x="16551" y="56000"/>
                  </a:lnTo>
                  <a:lnTo>
                    <a:pt x="16551" y="56000"/>
                  </a:lnTo>
                  <a:lnTo>
                    <a:pt x="9655" y="56000"/>
                  </a:lnTo>
                  <a:lnTo>
                    <a:pt x="9655" y="56000"/>
                  </a:lnTo>
                  <a:lnTo>
                    <a:pt x="6896" y="60000"/>
                  </a:lnTo>
                  <a:lnTo>
                    <a:pt x="6896" y="60000"/>
                  </a:lnTo>
                  <a:lnTo>
                    <a:pt x="6896" y="56000"/>
                  </a:lnTo>
                  <a:lnTo>
                    <a:pt x="4137" y="56000"/>
                  </a:lnTo>
                  <a:lnTo>
                    <a:pt x="4137" y="56000"/>
                  </a:lnTo>
                  <a:lnTo>
                    <a:pt x="0" y="56000"/>
                  </a:lnTo>
                  <a:lnTo>
                    <a:pt x="0" y="60000"/>
                  </a:lnTo>
                  <a:lnTo>
                    <a:pt x="6896" y="62666"/>
                  </a:lnTo>
                  <a:lnTo>
                    <a:pt x="13793" y="69333"/>
                  </a:lnTo>
                  <a:lnTo>
                    <a:pt x="13793" y="72000"/>
                  </a:lnTo>
                  <a:lnTo>
                    <a:pt x="19310" y="78666"/>
                  </a:lnTo>
                  <a:lnTo>
                    <a:pt x="23448" y="78666"/>
                  </a:lnTo>
                  <a:lnTo>
                    <a:pt x="23448" y="85333"/>
                  </a:lnTo>
                  <a:lnTo>
                    <a:pt x="28965" y="90666"/>
                  </a:lnTo>
                  <a:lnTo>
                    <a:pt x="38620" y="104000"/>
                  </a:lnTo>
                  <a:lnTo>
                    <a:pt x="42758" y="106666"/>
                  </a:lnTo>
                  <a:lnTo>
                    <a:pt x="45517" y="110666"/>
                  </a:lnTo>
                  <a:lnTo>
                    <a:pt x="45517" y="110666"/>
                  </a:lnTo>
                  <a:lnTo>
                    <a:pt x="45517" y="110666"/>
                  </a:lnTo>
                  <a:lnTo>
                    <a:pt x="45517" y="110666"/>
                  </a:lnTo>
                  <a:lnTo>
                    <a:pt x="45517" y="110666"/>
                  </a:lnTo>
                  <a:lnTo>
                    <a:pt x="49655" y="106666"/>
                  </a:lnTo>
                  <a:lnTo>
                    <a:pt x="49655" y="106666"/>
                  </a:lnTo>
                  <a:lnTo>
                    <a:pt x="49655" y="106666"/>
                  </a:lnTo>
                  <a:lnTo>
                    <a:pt x="49655" y="106666"/>
                  </a:lnTo>
                  <a:lnTo>
                    <a:pt x="55172" y="110666"/>
                  </a:lnTo>
                  <a:lnTo>
                    <a:pt x="59310" y="110666"/>
                  </a:lnTo>
                  <a:lnTo>
                    <a:pt x="64827" y="113333"/>
                  </a:lnTo>
                  <a:lnTo>
                    <a:pt x="68965" y="113333"/>
                  </a:lnTo>
                  <a:lnTo>
                    <a:pt x="71724" y="110666"/>
                  </a:lnTo>
                  <a:lnTo>
                    <a:pt x="71724" y="110666"/>
                  </a:lnTo>
                  <a:lnTo>
                    <a:pt x="78620" y="113333"/>
                  </a:lnTo>
                  <a:lnTo>
                    <a:pt x="78620" y="113333"/>
                  </a:lnTo>
                  <a:lnTo>
                    <a:pt x="81379" y="113333"/>
                  </a:lnTo>
                  <a:lnTo>
                    <a:pt x="81379" y="116000"/>
                  </a:lnTo>
                  <a:lnTo>
                    <a:pt x="84137" y="116000"/>
                  </a:lnTo>
                  <a:lnTo>
                    <a:pt x="84137" y="120000"/>
                  </a:lnTo>
                  <a:lnTo>
                    <a:pt x="84137" y="120000"/>
                  </a:lnTo>
                  <a:lnTo>
                    <a:pt x="84137" y="120000"/>
                  </a:lnTo>
                  <a:lnTo>
                    <a:pt x="91034" y="120000"/>
                  </a:lnTo>
                  <a:lnTo>
                    <a:pt x="95172" y="120000"/>
                  </a:lnTo>
                  <a:lnTo>
                    <a:pt x="95172" y="120000"/>
                  </a:lnTo>
                  <a:lnTo>
                    <a:pt x="97931" y="116000"/>
                  </a:lnTo>
                  <a:lnTo>
                    <a:pt x="97931" y="116000"/>
                  </a:lnTo>
                  <a:lnTo>
                    <a:pt x="97931" y="113333"/>
                  </a:lnTo>
                  <a:lnTo>
                    <a:pt x="95172" y="113333"/>
                  </a:lnTo>
                  <a:lnTo>
                    <a:pt x="95172" y="110666"/>
                  </a:lnTo>
                  <a:lnTo>
                    <a:pt x="95172" y="104000"/>
                  </a:lnTo>
                  <a:lnTo>
                    <a:pt x="95172" y="104000"/>
                  </a:lnTo>
                  <a:lnTo>
                    <a:pt x="95172" y="100000"/>
                  </a:lnTo>
                  <a:lnTo>
                    <a:pt x="95172" y="97333"/>
                  </a:lnTo>
                  <a:lnTo>
                    <a:pt x="97931" y="97333"/>
                  </a:lnTo>
                  <a:lnTo>
                    <a:pt x="100689" y="94666"/>
                  </a:lnTo>
                  <a:lnTo>
                    <a:pt x="100689" y="90666"/>
                  </a:lnTo>
                  <a:lnTo>
                    <a:pt x="97931" y="88000"/>
                  </a:lnTo>
                  <a:lnTo>
                    <a:pt x="97931" y="88000"/>
                  </a:lnTo>
                  <a:lnTo>
                    <a:pt x="97931" y="88000"/>
                  </a:lnTo>
                  <a:lnTo>
                    <a:pt x="95172" y="88000"/>
                  </a:lnTo>
                  <a:lnTo>
                    <a:pt x="95172" y="88000"/>
                  </a:lnTo>
                  <a:lnTo>
                    <a:pt x="97931" y="88000"/>
                  </a:lnTo>
                  <a:lnTo>
                    <a:pt x="97931" y="85333"/>
                  </a:lnTo>
                  <a:lnTo>
                    <a:pt x="97931" y="81333"/>
                  </a:lnTo>
                  <a:lnTo>
                    <a:pt x="97931" y="81333"/>
                  </a:lnTo>
                  <a:lnTo>
                    <a:pt x="97931" y="85333"/>
                  </a:lnTo>
                  <a:lnTo>
                    <a:pt x="100689" y="85333"/>
                  </a:lnTo>
                  <a:lnTo>
                    <a:pt x="100689" y="78666"/>
                  </a:lnTo>
                  <a:lnTo>
                    <a:pt x="100689" y="76000"/>
                  </a:lnTo>
                  <a:lnTo>
                    <a:pt x="100689" y="76000"/>
                  </a:lnTo>
                  <a:lnTo>
                    <a:pt x="100689" y="72000"/>
                  </a:lnTo>
                  <a:lnTo>
                    <a:pt x="97931" y="69333"/>
                  </a:lnTo>
                  <a:lnTo>
                    <a:pt x="100689" y="69333"/>
                  </a:lnTo>
                  <a:lnTo>
                    <a:pt x="100689" y="69333"/>
                  </a:lnTo>
                  <a:lnTo>
                    <a:pt x="104827" y="65333"/>
                  </a:lnTo>
                  <a:lnTo>
                    <a:pt x="104827" y="65333"/>
                  </a:lnTo>
                  <a:lnTo>
                    <a:pt x="104827" y="65333"/>
                  </a:lnTo>
                  <a:lnTo>
                    <a:pt x="104827" y="69333"/>
                  </a:lnTo>
                  <a:lnTo>
                    <a:pt x="100689" y="69333"/>
                  </a:lnTo>
                  <a:lnTo>
                    <a:pt x="100689" y="72000"/>
                  </a:lnTo>
                  <a:lnTo>
                    <a:pt x="104827" y="72000"/>
                  </a:lnTo>
                  <a:lnTo>
                    <a:pt x="104827" y="72000"/>
                  </a:lnTo>
                  <a:lnTo>
                    <a:pt x="104827" y="72000"/>
                  </a:lnTo>
                  <a:lnTo>
                    <a:pt x="104827" y="69333"/>
                  </a:lnTo>
                  <a:lnTo>
                    <a:pt x="104827" y="69333"/>
                  </a:lnTo>
                  <a:lnTo>
                    <a:pt x="107586" y="56000"/>
                  </a:lnTo>
                  <a:lnTo>
                    <a:pt x="107586" y="46666"/>
                  </a:lnTo>
                  <a:lnTo>
                    <a:pt x="110344" y="34666"/>
                  </a:lnTo>
                  <a:lnTo>
                    <a:pt x="110344" y="28000"/>
                  </a:lnTo>
                  <a:lnTo>
                    <a:pt x="114482" y="28000"/>
                  </a:lnTo>
                  <a:lnTo>
                    <a:pt x="117241" y="25333"/>
                  </a:lnTo>
                  <a:lnTo>
                    <a:pt x="117241" y="21333"/>
                  </a:lnTo>
                  <a:lnTo>
                    <a:pt x="117241" y="18666"/>
                  </a:lnTo>
                  <a:lnTo>
                    <a:pt x="117241" y="6666"/>
                  </a:lnTo>
                  <a:lnTo>
                    <a:pt x="117241" y="6666"/>
                  </a:lnTo>
                  <a:lnTo>
                    <a:pt x="114482" y="6666"/>
                  </a:lnTo>
                  <a:lnTo>
                    <a:pt x="114482" y="6666"/>
                  </a:lnTo>
                  <a:lnTo>
                    <a:pt x="114482" y="2666"/>
                  </a:lnTo>
                  <a:lnTo>
                    <a:pt x="117241" y="2666"/>
                  </a:lnTo>
                  <a:lnTo>
                    <a:pt x="117241" y="2666"/>
                  </a:lnTo>
                  <a:lnTo>
                    <a:pt x="117241" y="6666"/>
                  </a:lnTo>
                  <a:lnTo>
                    <a:pt x="117241" y="6666"/>
                  </a:lnTo>
                  <a:lnTo>
                    <a:pt x="120000" y="2666"/>
                  </a:lnTo>
                  <a:lnTo>
                    <a:pt x="120000" y="0"/>
                  </a:lnTo>
                  <a:lnTo>
                    <a:pt x="120000" y="0"/>
                  </a:lnTo>
                  <a:lnTo>
                    <a:pt x="114482" y="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19" name="Shape 419"/>
            <p:cNvSpPr/>
            <p:nvPr/>
          </p:nvSpPr>
          <p:spPr>
            <a:xfrm>
              <a:off x="6429" y="3534"/>
              <a:ext cx="300" cy="300"/>
            </a:xfrm>
            <a:custGeom>
              <a:avLst/>
              <a:gdLst/>
              <a:ahLst/>
              <a:cxnLst/>
              <a:rect l="0" t="0" r="0" b="0"/>
              <a:pathLst>
                <a:path w="120000" h="120000" extrusionOk="0">
                  <a:moveTo>
                    <a:pt x="6181" y="116877"/>
                  </a:moveTo>
                  <a:lnTo>
                    <a:pt x="6181" y="115985"/>
                  </a:lnTo>
                  <a:lnTo>
                    <a:pt x="6181" y="114646"/>
                  </a:lnTo>
                  <a:lnTo>
                    <a:pt x="5090" y="114646"/>
                  </a:lnTo>
                  <a:lnTo>
                    <a:pt x="4363" y="115985"/>
                  </a:lnTo>
                  <a:lnTo>
                    <a:pt x="3636" y="116877"/>
                  </a:lnTo>
                  <a:lnTo>
                    <a:pt x="3636" y="116877"/>
                  </a:lnTo>
                  <a:lnTo>
                    <a:pt x="2545" y="117769"/>
                  </a:lnTo>
                  <a:lnTo>
                    <a:pt x="2545" y="117769"/>
                  </a:lnTo>
                  <a:lnTo>
                    <a:pt x="1818" y="117769"/>
                  </a:lnTo>
                  <a:lnTo>
                    <a:pt x="1818" y="119107"/>
                  </a:lnTo>
                  <a:lnTo>
                    <a:pt x="1090" y="119107"/>
                  </a:lnTo>
                  <a:lnTo>
                    <a:pt x="0" y="120000"/>
                  </a:lnTo>
                  <a:lnTo>
                    <a:pt x="0" y="120000"/>
                  </a:lnTo>
                  <a:lnTo>
                    <a:pt x="1090" y="120000"/>
                  </a:lnTo>
                  <a:lnTo>
                    <a:pt x="2545" y="119107"/>
                  </a:lnTo>
                  <a:lnTo>
                    <a:pt x="2545" y="119107"/>
                  </a:lnTo>
                  <a:lnTo>
                    <a:pt x="2545" y="119107"/>
                  </a:lnTo>
                  <a:lnTo>
                    <a:pt x="4363" y="119107"/>
                  </a:lnTo>
                  <a:lnTo>
                    <a:pt x="5090" y="117769"/>
                  </a:lnTo>
                  <a:lnTo>
                    <a:pt x="5090" y="117769"/>
                  </a:lnTo>
                  <a:lnTo>
                    <a:pt x="6181" y="117769"/>
                  </a:lnTo>
                  <a:lnTo>
                    <a:pt x="6181" y="116877"/>
                  </a:lnTo>
                  <a:lnTo>
                    <a:pt x="5090" y="116877"/>
                  </a:lnTo>
                  <a:lnTo>
                    <a:pt x="5090" y="116877"/>
                  </a:lnTo>
                  <a:lnTo>
                    <a:pt x="5090" y="116877"/>
                  </a:lnTo>
                  <a:lnTo>
                    <a:pt x="5090" y="116877"/>
                  </a:lnTo>
                  <a:lnTo>
                    <a:pt x="6181" y="116877"/>
                  </a:lnTo>
                  <a:close/>
                  <a:moveTo>
                    <a:pt x="3636" y="105278"/>
                  </a:moveTo>
                  <a:lnTo>
                    <a:pt x="3636" y="105278"/>
                  </a:lnTo>
                  <a:lnTo>
                    <a:pt x="4363" y="105278"/>
                  </a:lnTo>
                  <a:lnTo>
                    <a:pt x="4363" y="105278"/>
                  </a:lnTo>
                  <a:lnTo>
                    <a:pt x="4363" y="105278"/>
                  </a:lnTo>
                  <a:lnTo>
                    <a:pt x="5090" y="105278"/>
                  </a:lnTo>
                  <a:lnTo>
                    <a:pt x="5090" y="105278"/>
                  </a:lnTo>
                  <a:lnTo>
                    <a:pt x="4363" y="104386"/>
                  </a:lnTo>
                  <a:lnTo>
                    <a:pt x="3636" y="105278"/>
                  </a:lnTo>
                  <a:lnTo>
                    <a:pt x="3636" y="105278"/>
                  </a:lnTo>
                  <a:lnTo>
                    <a:pt x="3636" y="105278"/>
                  </a:lnTo>
                  <a:lnTo>
                    <a:pt x="3636" y="105278"/>
                  </a:lnTo>
                  <a:close/>
                  <a:moveTo>
                    <a:pt x="8727" y="102156"/>
                  </a:moveTo>
                  <a:lnTo>
                    <a:pt x="8727" y="101263"/>
                  </a:lnTo>
                  <a:lnTo>
                    <a:pt x="8727" y="101263"/>
                  </a:lnTo>
                  <a:lnTo>
                    <a:pt x="7636" y="101263"/>
                  </a:lnTo>
                  <a:lnTo>
                    <a:pt x="7636" y="102156"/>
                  </a:lnTo>
                  <a:lnTo>
                    <a:pt x="8727" y="102156"/>
                  </a:lnTo>
                  <a:close/>
                  <a:moveTo>
                    <a:pt x="116727" y="91449"/>
                  </a:moveTo>
                  <a:lnTo>
                    <a:pt x="115636" y="92788"/>
                  </a:lnTo>
                  <a:lnTo>
                    <a:pt x="116727" y="92788"/>
                  </a:lnTo>
                  <a:lnTo>
                    <a:pt x="116727" y="91449"/>
                  </a:lnTo>
                  <a:lnTo>
                    <a:pt x="116727" y="91449"/>
                  </a:lnTo>
                  <a:lnTo>
                    <a:pt x="116727" y="91449"/>
                  </a:lnTo>
                  <a:lnTo>
                    <a:pt x="116727" y="91449"/>
                  </a:lnTo>
                  <a:close/>
                  <a:moveTo>
                    <a:pt x="116727" y="87434"/>
                  </a:moveTo>
                  <a:lnTo>
                    <a:pt x="115636" y="87434"/>
                  </a:lnTo>
                  <a:lnTo>
                    <a:pt x="114909" y="87434"/>
                  </a:lnTo>
                  <a:lnTo>
                    <a:pt x="115636" y="87434"/>
                  </a:lnTo>
                  <a:lnTo>
                    <a:pt x="116727" y="87434"/>
                  </a:lnTo>
                  <a:lnTo>
                    <a:pt x="116727" y="88327"/>
                  </a:lnTo>
                  <a:lnTo>
                    <a:pt x="116727" y="88327"/>
                  </a:lnTo>
                  <a:lnTo>
                    <a:pt x="115636" y="88327"/>
                  </a:lnTo>
                  <a:lnTo>
                    <a:pt x="115636" y="89665"/>
                  </a:lnTo>
                  <a:lnTo>
                    <a:pt x="114909" y="89665"/>
                  </a:lnTo>
                  <a:lnTo>
                    <a:pt x="114909" y="90557"/>
                  </a:lnTo>
                  <a:lnTo>
                    <a:pt x="114909" y="90557"/>
                  </a:lnTo>
                  <a:lnTo>
                    <a:pt x="115636" y="90557"/>
                  </a:lnTo>
                  <a:lnTo>
                    <a:pt x="115636" y="89665"/>
                  </a:lnTo>
                  <a:lnTo>
                    <a:pt x="116727" y="89665"/>
                  </a:lnTo>
                  <a:lnTo>
                    <a:pt x="117454" y="89665"/>
                  </a:lnTo>
                  <a:lnTo>
                    <a:pt x="117454" y="88327"/>
                  </a:lnTo>
                  <a:lnTo>
                    <a:pt x="116727" y="88327"/>
                  </a:lnTo>
                  <a:lnTo>
                    <a:pt x="117454" y="88327"/>
                  </a:lnTo>
                  <a:lnTo>
                    <a:pt x="117454" y="87434"/>
                  </a:lnTo>
                  <a:lnTo>
                    <a:pt x="117454" y="87434"/>
                  </a:lnTo>
                  <a:lnTo>
                    <a:pt x="117454" y="87434"/>
                  </a:lnTo>
                  <a:lnTo>
                    <a:pt x="117454" y="87434"/>
                  </a:lnTo>
                  <a:lnTo>
                    <a:pt x="118181" y="87434"/>
                  </a:lnTo>
                  <a:lnTo>
                    <a:pt x="118181" y="87434"/>
                  </a:lnTo>
                  <a:lnTo>
                    <a:pt x="117454" y="88327"/>
                  </a:lnTo>
                  <a:lnTo>
                    <a:pt x="119272" y="87434"/>
                  </a:lnTo>
                  <a:lnTo>
                    <a:pt x="119272" y="87434"/>
                  </a:lnTo>
                  <a:lnTo>
                    <a:pt x="120000" y="87434"/>
                  </a:lnTo>
                  <a:lnTo>
                    <a:pt x="117454" y="86096"/>
                  </a:lnTo>
                  <a:lnTo>
                    <a:pt x="116727" y="87434"/>
                  </a:lnTo>
                  <a:close/>
                  <a:moveTo>
                    <a:pt x="76363" y="59776"/>
                  </a:moveTo>
                  <a:lnTo>
                    <a:pt x="76363" y="58884"/>
                  </a:lnTo>
                  <a:lnTo>
                    <a:pt x="76363" y="59776"/>
                  </a:lnTo>
                  <a:lnTo>
                    <a:pt x="75636" y="59776"/>
                  </a:lnTo>
                  <a:lnTo>
                    <a:pt x="75636" y="59776"/>
                  </a:lnTo>
                  <a:lnTo>
                    <a:pt x="74545" y="61115"/>
                  </a:lnTo>
                  <a:lnTo>
                    <a:pt x="74545" y="61115"/>
                  </a:lnTo>
                  <a:lnTo>
                    <a:pt x="75636" y="61115"/>
                  </a:lnTo>
                  <a:lnTo>
                    <a:pt x="76363" y="59776"/>
                  </a:lnTo>
                  <a:close/>
                  <a:moveTo>
                    <a:pt x="75636" y="62899"/>
                  </a:moveTo>
                  <a:lnTo>
                    <a:pt x="75636" y="62899"/>
                  </a:lnTo>
                  <a:lnTo>
                    <a:pt x="76363" y="62007"/>
                  </a:lnTo>
                  <a:lnTo>
                    <a:pt x="77090" y="62007"/>
                  </a:lnTo>
                  <a:lnTo>
                    <a:pt x="76363" y="62007"/>
                  </a:lnTo>
                  <a:lnTo>
                    <a:pt x="76363" y="62007"/>
                  </a:lnTo>
                  <a:lnTo>
                    <a:pt x="76363" y="62007"/>
                  </a:lnTo>
                  <a:lnTo>
                    <a:pt x="76363" y="62007"/>
                  </a:lnTo>
                  <a:lnTo>
                    <a:pt x="75636" y="62007"/>
                  </a:lnTo>
                  <a:lnTo>
                    <a:pt x="75636" y="62007"/>
                  </a:lnTo>
                  <a:lnTo>
                    <a:pt x="74545" y="62007"/>
                  </a:lnTo>
                  <a:lnTo>
                    <a:pt x="74545" y="62007"/>
                  </a:lnTo>
                  <a:lnTo>
                    <a:pt x="74545" y="62899"/>
                  </a:lnTo>
                  <a:lnTo>
                    <a:pt x="73818" y="62899"/>
                  </a:lnTo>
                  <a:lnTo>
                    <a:pt x="73818" y="62899"/>
                  </a:lnTo>
                  <a:lnTo>
                    <a:pt x="73090" y="64237"/>
                  </a:lnTo>
                  <a:lnTo>
                    <a:pt x="72000" y="64237"/>
                  </a:lnTo>
                  <a:lnTo>
                    <a:pt x="73090" y="64237"/>
                  </a:lnTo>
                  <a:lnTo>
                    <a:pt x="73818" y="62899"/>
                  </a:lnTo>
                  <a:lnTo>
                    <a:pt x="74545" y="62007"/>
                  </a:lnTo>
                  <a:lnTo>
                    <a:pt x="74545" y="62007"/>
                  </a:lnTo>
                  <a:lnTo>
                    <a:pt x="74545" y="62007"/>
                  </a:lnTo>
                  <a:lnTo>
                    <a:pt x="74545" y="62007"/>
                  </a:lnTo>
                  <a:lnTo>
                    <a:pt x="75636" y="61115"/>
                  </a:lnTo>
                  <a:lnTo>
                    <a:pt x="75636" y="61115"/>
                  </a:lnTo>
                  <a:lnTo>
                    <a:pt x="74545" y="61115"/>
                  </a:lnTo>
                  <a:lnTo>
                    <a:pt x="73818" y="62007"/>
                  </a:lnTo>
                  <a:lnTo>
                    <a:pt x="73818" y="62007"/>
                  </a:lnTo>
                  <a:lnTo>
                    <a:pt x="72000" y="62899"/>
                  </a:lnTo>
                  <a:lnTo>
                    <a:pt x="71272" y="62899"/>
                  </a:lnTo>
                  <a:lnTo>
                    <a:pt x="70545" y="64237"/>
                  </a:lnTo>
                  <a:lnTo>
                    <a:pt x="68727" y="64237"/>
                  </a:lnTo>
                  <a:lnTo>
                    <a:pt x="68727" y="64237"/>
                  </a:lnTo>
                  <a:lnTo>
                    <a:pt x="68727" y="62899"/>
                  </a:lnTo>
                  <a:lnTo>
                    <a:pt x="68727" y="62899"/>
                  </a:lnTo>
                  <a:lnTo>
                    <a:pt x="69454" y="61115"/>
                  </a:lnTo>
                  <a:lnTo>
                    <a:pt x="69454" y="59776"/>
                  </a:lnTo>
                  <a:lnTo>
                    <a:pt x="69454" y="59776"/>
                  </a:lnTo>
                  <a:lnTo>
                    <a:pt x="68727" y="59776"/>
                  </a:lnTo>
                  <a:lnTo>
                    <a:pt x="68727" y="58884"/>
                  </a:lnTo>
                  <a:lnTo>
                    <a:pt x="68727" y="58884"/>
                  </a:lnTo>
                  <a:lnTo>
                    <a:pt x="69454" y="57992"/>
                  </a:lnTo>
                  <a:lnTo>
                    <a:pt x="69454" y="57992"/>
                  </a:lnTo>
                  <a:lnTo>
                    <a:pt x="71272" y="57992"/>
                  </a:lnTo>
                  <a:lnTo>
                    <a:pt x="70545" y="56654"/>
                  </a:lnTo>
                  <a:lnTo>
                    <a:pt x="69454" y="56654"/>
                  </a:lnTo>
                  <a:lnTo>
                    <a:pt x="69454" y="57992"/>
                  </a:lnTo>
                  <a:lnTo>
                    <a:pt x="67636" y="58884"/>
                  </a:lnTo>
                  <a:lnTo>
                    <a:pt x="66181" y="59776"/>
                  </a:lnTo>
                  <a:lnTo>
                    <a:pt x="64363" y="61115"/>
                  </a:lnTo>
                  <a:lnTo>
                    <a:pt x="62545" y="64237"/>
                  </a:lnTo>
                  <a:lnTo>
                    <a:pt x="60000" y="66468"/>
                  </a:lnTo>
                  <a:lnTo>
                    <a:pt x="59272" y="67360"/>
                  </a:lnTo>
                  <a:lnTo>
                    <a:pt x="58545" y="68252"/>
                  </a:lnTo>
                  <a:lnTo>
                    <a:pt x="57454" y="68252"/>
                  </a:lnTo>
                  <a:lnTo>
                    <a:pt x="56727" y="68252"/>
                  </a:lnTo>
                  <a:lnTo>
                    <a:pt x="55636" y="68252"/>
                  </a:lnTo>
                  <a:lnTo>
                    <a:pt x="55636" y="69591"/>
                  </a:lnTo>
                  <a:lnTo>
                    <a:pt x="54181" y="70483"/>
                  </a:lnTo>
                  <a:lnTo>
                    <a:pt x="53090" y="71375"/>
                  </a:lnTo>
                  <a:lnTo>
                    <a:pt x="52363" y="72713"/>
                  </a:lnTo>
                  <a:lnTo>
                    <a:pt x="51636" y="73605"/>
                  </a:lnTo>
                  <a:lnTo>
                    <a:pt x="50545" y="74498"/>
                  </a:lnTo>
                  <a:lnTo>
                    <a:pt x="50545" y="74498"/>
                  </a:lnTo>
                  <a:lnTo>
                    <a:pt x="50545" y="75836"/>
                  </a:lnTo>
                  <a:lnTo>
                    <a:pt x="50545" y="75836"/>
                  </a:lnTo>
                  <a:lnTo>
                    <a:pt x="49818" y="75836"/>
                  </a:lnTo>
                  <a:lnTo>
                    <a:pt x="49818" y="75836"/>
                  </a:lnTo>
                  <a:lnTo>
                    <a:pt x="47272" y="78066"/>
                  </a:lnTo>
                  <a:lnTo>
                    <a:pt x="47272" y="78066"/>
                  </a:lnTo>
                  <a:lnTo>
                    <a:pt x="46545" y="78959"/>
                  </a:lnTo>
                  <a:lnTo>
                    <a:pt x="46545" y="78959"/>
                  </a:lnTo>
                  <a:lnTo>
                    <a:pt x="47272" y="78959"/>
                  </a:lnTo>
                  <a:lnTo>
                    <a:pt x="47272" y="78066"/>
                  </a:lnTo>
                  <a:lnTo>
                    <a:pt x="47272" y="78066"/>
                  </a:lnTo>
                  <a:lnTo>
                    <a:pt x="45454" y="78959"/>
                  </a:lnTo>
                  <a:lnTo>
                    <a:pt x="44727" y="79851"/>
                  </a:lnTo>
                  <a:lnTo>
                    <a:pt x="43636" y="79851"/>
                  </a:lnTo>
                  <a:lnTo>
                    <a:pt x="43636" y="79851"/>
                  </a:lnTo>
                  <a:lnTo>
                    <a:pt x="43636" y="79851"/>
                  </a:lnTo>
                  <a:lnTo>
                    <a:pt x="43636" y="79851"/>
                  </a:lnTo>
                  <a:lnTo>
                    <a:pt x="42909" y="79851"/>
                  </a:lnTo>
                  <a:lnTo>
                    <a:pt x="42909" y="81189"/>
                  </a:lnTo>
                  <a:lnTo>
                    <a:pt x="42909" y="81189"/>
                  </a:lnTo>
                  <a:lnTo>
                    <a:pt x="42909" y="81189"/>
                  </a:lnTo>
                  <a:lnTo>
                    <a:pt x="42181" y="79851"/>
                  </a:lnTo>
                  <a:lnTo>
                    <a:pt x="41090" y="81189"/>
                  </a:lnTo>
                  <a:lnTo>
                    <a:pt x="41090" y="81189"/>
                  </a:lnTo>
                  <a:lnTo>
                    <a:pt x="41090" y="81189"/>
                  </a:lnTo>
                  <a:lnTo>
                    <a:pt x="41090" y="82081"/>
                  </a:lnTo>
                  <a:lnTo>
                    <a:pt x="41090" y="81189"/>
                  </a:lnTo>
                  <a:lnTo>
                    <a:pt x="40363" y="81189"/>
                  </a:lnTo>
                  <a:lnTo>
                    <a:pt x="40363" y="82081"/>
                  </a:lnTo>
                  <a:lnTo>
                    <a:pt x="39636" y="82081"/>
                  </a:lnTo>
                  <a:lnTo>
                    <a:pt x="39636" y="82081"/>
                  </a:lnTo>
                  <a:lnTo>
                    <a:pt x="38545" y="82081"/>
                  </a:lnTo>
                  <a:lnTo>
                    <a:pt x="37818" y="82973"/>
                  </a:lnTo>
                  <a:lnTo>
                    <a:pt x="36000" y="84312"/>
                  </a:lnTo>
                  <a:lnTo>
                    <a:pt x="37090" y="84312"/>
                  </a:lnTo>
                  <a:lnTo>
                    <a:pt x="36000" y="84312"/>
                  </a:lnTo>
                  <a:lnTo>
                    <a:pt x="36000" y="84312"/>
                  </a:lnTo>
                  <a:lnTo>
                    <a:pt x="36000" y="84312"/>
                  </a:lnTo>
                  <a:lnTo>
                    <a:pt x="35272" y="85204"/>
                  </a:lnTo>
                  <a:lnTo>
                    <a:pt x="35272" y="85204"/>
                  </a:lnTo>
                  <a:lnTo>
                    <a:pt x="34545" y="85204"/>
                  </a:lnTo>
                  <a:lnTo>
                    <a:pt x="33454" y="86096"/>
                  </a:lnTo>
                  <a:lnTo>
                    <a:pt x="31636" y="86096"/>
                  </a:lnTo>
                  <a:lnTo>
                    <a:pt x="30181" y="87434"/>
                  </a:lnTo>
                  <a:lnTo>
                    <a:pt x="30181" y="87434"/>
                  </a:lnTo>
                  <a:lnTo>
                    <a:pt x="29090" y="88327"/>
                  </a:lnTo>
                  <a:lnTo>
                    <a:pt x="29090" y="88327"/>
                  </a:lnTo>
                  <a:lnTo>
                    <a:pt x="29090" y="88327"/>
                  </a:lnTo>
                  <a:lnTo>
                    <a:pt x="28363" y="88327"/>
                  </a:lnTo>
                  <a:lnTo>
                    <a:pt x="26545" y="89665"/>
                  </a:lnTo>
                  <a:lnTo>
                    <a:pt x="26545" y="89665"/>
                  </a:lnTo>
                  <a:lnTo>
                    <a:pt x="25818" y="89665"/>
                  </a:lnTo>
                  <a:lnTo>
                    <a:pt x="24000" y="89665"/>
                  </a:lnTo>
                  <a:lnTo>
                    <a:pt x="23272" y="90557"/>
                  </a:lnTo>
                  <a:lnTo>
                    <a:pt x="21454" y="91449"/>
                  </a:lnTo>
                  <a:lnTo>
                    <a:pt x="19636" y="92788"/>
                  </a:lnTo>
                  <a:lnTo>
                    <a:pt x="18181" y="93680"/>
                  </a:lnTo>
                  <a:lnTo>
                    <a:pt x="17090" y="94572"/>
                  </a:lnTo>
                  <a:lnTo>
                    <a:pt x="18181" y="94572"/>
                  </a:lnTo>
                  <a:lnTo>
                    <a:pt x="17090" y="95910"/>
                  </a:lnTo>
                  <a:lnTo>
                    <a:pt x="17090" y="94572"/>
                  </a:lnTo>
                  <a:lnTo>
                    <a:pt x="17090" y="94572"/>
                  </a:lnTo>
                  <a:lnTo>
                    <a:pt x="16363" y="94572"/>
                  </a:lnTo>
                  <a:lnTo>
                    <a:pt x="14545" y="95910"/>
                  </a:lnTo>
                  <a:lnTo>
                    <a:pt x="14545" y="95910"/>
                  </a:lnTo>
                  <a:lnTo>
                    <a:pt x="13818" y="96802"/>
                  </a:lnTo>
                  <a:lnTo>
                    <a:pt x="13818" y="96802"/>
                  </a:lnTo>
                  <a:lnTo>
                    <a:pt x="13818" y="96802"/>
                  </a:lnTo>
                  <a:lnTo>
                    <a:pt x="13818" y="97695"/>
                  </a:lnTo>
                  <a:lnTo>
                    <a:pt x="13090" y="97695"/>
                  </a:lnTo>
                  <a:lnTo>
                    <a:pt x="13818" y="96802"/>
                  </a:lnTo>
                  <a:lnTo>
                    <a:pt x="11272" y="97695"/>
                  </a:lnTo>
                  <a:lnTo>
                    <a:pt x="11272" y="97695"/>
                  </a:lnTo>
                  <a:lnTo>
                    <a:pt x="11272" y="99925"/>
                  </a:lnTo>
                  <a:lnTo>
                    <a:pt x="11272" y="99925"/>
                  </a:lnTo>
                  <a:lnTo>
                    <a:pt x="10545" y="99925"/>
                  </a:lnTo>
                  <a:lnTo>
                    <a:pt x="10545" y="99925"/>
                  </a:lnTo>
                  <a:lnTo>
                    <a:pt x="9454" y="99925"/>
                  </a:lnTo>
                  <a:lnTo>
                    <a:pt x="9454" y="101263"/>
                  </a:lnTo>
                  <a:lnTo>
                    <a:pt x="8727" y="101263"/>
                  </a:lnTo>
                  <a:lnTo>
                    <a:pt x="9454" y="101263"/>
                  </a:lnTo>
                  <a:lnTo>
                    <a:pt x="9454" y="102156"/>
                  </a:lnTo>
                  <a:lnTo>
                    <a:pt x="9454" y="102156"/>
                  </a:lnTo>
                  <a:lnTo>
                    <a:pt x="9454" y="102156"/>
                  </a:lnTo>
                  <a:lnTo>
                    <a:pt x="8727" y="102156"/>
                  </a:lnTo>
                  <a:lnTo>
                    <a:pt x="8727" y="102156"/>
                  </a:lnTo>
                  <a:lnTo>
                    <a:pt x="8727" y="103048"/>
                  </a:lnTo>
                  <a:lnTo>
                    <a:pt x="7636" y="102156"/>
                  </a:lnTo>
                  <a:lnTo>
                    <a:pt x="7636" y="102156"/>
                  </a:lnTo>
                  <a:lnTo>
                    <a:pt x="7636" y="102156"/>
                  </a:lnTo>
                  <a:lnTo>
                    <a:pt x="6909" y="102156"/>
                  </a:lnTo>
                  <a:lnTo>
                    <a:pt x="6909" y="103048"/>
                  </a:lnTo>
                  <a:lnTo>
                    <a:pt x="6181" y="103048"/>
                  </a:lnTo>
                  <a:lnTo>
                    <a:pt x="6181" y="103048"/>
                  </a:lnTo>
                  <a:lnTo>
                    <a:pt x="5090" y="104386"/>
                  </a:lnTo>
                  <a:lnTo>
                    <a:pt x="6181" y="104386"/>
                  </a:lnTo>
                  <a:lnTo>
                    <a:pt x="6909" y="104386"/>
                  </a:lnTo>
                  <a:lnTo>
                    <a:pt x="5090" y="104386"/>
                  </a:lnTo>
                  <a:lnTo>
                    <a:pt x="5090" y="105278"/>
                  </a:lnTo>
                  <a:lnTo>
                    <a:pt x="5090" y="105278"/>
                  </a:lnTo>
                  <a:lnTo>
                    <a:pt x="6181" y="105278"/>
                  </a:lnTo>
                  <a:lnTo>
                    <a:pt x="5090" y="106171"/>
                  </a:lnTo>
                  <a:lnTo>
                    <a:pt x="4363" y="106171"/>
                  </a:lnTo>
                  <a:lnTo>
                    <a:pt x="2545" y="106171"/>
                  </a:lnTo>
                  <a:lnTo>
                    <a:pt x="2545" y="106171"/>
                  </a:lnTo>
                  <a:lnTo>
                    <a:pt x="1818" y="107509"/>
                  </a:lnTo>
                  <a:lnTo>
                    <a:pt x="1818" y="108401"/>
                  </a:lnTo>
                  <a:lnTo>
                    <a:pt x="2545" y="107509"/>
                  </a:lnTo>
                  <a:lnTo>
                    <a:pt x="3636" y="107509"/>
                  </a:lnTo>
                  <a:lnTo>
                    <a:pt x="3636" y="107509"/>
                  </a:lnTo>
                  <a:lnTo>
                    <a:pt x="2545" y="108401"/>
                  </a:lnTo>
                  <a:lnTo>
                    <a:pt x="1818" y="108401"/>
                  </a:lnTo>
                  <a:lnTo>
                    <a:pt x="2545" y="108401"/>
                  </a:lnTo>
                  <a:lnTo>
                    <a:pt x="3636" y="108401"/>
                  </a:lnTo>
                  <a:lnTo>
                    <a:pt x="4363" y="107509"/>
                  </a:lnTo>
                  <a:lnTo>
                    <a:pt x="1818" y="109293"/>
                  </a:lnTo>
                  <a:lnTo>
                    <a:pt x="1818" y="110631"/>
                  </a:lnTo>
                  <a:lnTo>
                    <a:pt x="1818" y="110631"/>
                  </a:lnTo>
                  <a:lnTo>
                    <a:pt x="3636" y="110631"/>
                  </a:lnTo>
                  <a:lnTo>
                    <a:pt x="5090" y="110631"/>
                  </a:lnTo>
                  <a:lnTo>
                    <a:pt x="5090" y="110631"/>
                  </a:lnTo>
                  <a:lnTo>
                    <a:pt x="6181" y="109293"/>
                  </a:lnTo>
                  <a:lnTo>
                    <a:pt x="6909" y="109293"/>
                  </a:lnTo>
                  <a:lnTo>
                    <a:pt x="6909" y="110631"/>
                  </a:lnTo>
                  <a:lnTo>
                    <a:pt x="7636" y="110631"/>
                  </a:lnTo>
                  <a:lnTo>
                    <a:pt x="6909" y="111524"/>
                  </a:lnTo>
                  <a:lnTo>
                    <a:pt x="7636" y="111524"/>
                  </a:lnTo>
                  <a:lnTo>
                    <a:pt x="8727" y="111524"/>
                  </a:lnTo>
                  <a:lnTo>
                    <a:pt x="9454" y="111524"/>
                  </a:lnTo>
                  <a:lnTo>
                    <a:pt x="9454" y="111524"/>
                  </a:lnTo>
                  <a:lnTo>
                    <a:pt x="9454" y="111524"/>
                  </a:lnTo>
                  <a:lnTo>
                    <a:pt x="9454" y="112862"/>
                  </a:lnTo>
                  <a:lnTo>
                    <a:pt x="9454" y="112862"/>
                  </a:lnTo>
                  <a:lnTo>
                    <a:pt x="9454" y="113754"/>
                  </a:lnTo>
                  <a:lnTo>
                    <a:pt x="9454" y="113754"/>
                  </a:lnTo>
                  <a:lnTo>
                    <a:pt x="9454" y="113754"/>
                  </a:lnTo>
                  <a:lnTo>
                    <a:pt x="9454" y="113754"/>
                  </a:lnTo>
                  <a:lnTo>
                    <a:pt x="10545" y="113754"/>
                  </a:lnTo>
                  <a:lnTo>
                    <a:pt x="10545" y="113754"/>
                  </a:lnTo>
                  <a:lnTo>
                    <a:pt x="12000" y="113754"/>
                  </a:lnTo>
                  <a:lnTo>
                    <a:pt x="12000" y="113754"/>
                  </a:lnTo>
                  <a:lnTo>
                    <a:pt x="13090" y="113754"/>
                  </a:lnTo>
                  <a:lnTo>
                    <a:pt x="13090" y="113754"/>
                  </a:lnTo>
                  <a:lnTo>
                    <a:pt x="14545" y="113754"/>
                  </a:lnTo>
                  <a:lnTo>
                    <a:pt x="17090" y="113754"/>
                  </a:lnTo>
                  <a:lnTo>
                    <a:pt x="18181" y="112862"/>
                  </a:lnTo>
                  <a:lnTo>
                    <a:pt x="18181" y="112862"/>
                  </a:lnTo>
                  <a:lnTo>
                    <a:pt x="19636" y="111524"/>
                  </a:lnTo>
                  <a:lnTo>
                    <a:pt x="22545" y="109293"/>
                  </a:lnTo>
                  <a:lnTo>
                    <a:pt x="23272" y="109293"/>
                  </a:lnTo>
                  <a:lnTo>
                    <a:pt x="25090" y="108401"/>
                  </a:lnTo>
                  <a:lnTo>
                    <a:pt x="25090" y="107509"/>
                  </a:lnTo>
                  <a:lnTo>
                    <a:pt x="27636" y="107509"/>
                  </a:lnTo>
                  <a:lnTo>
                    <a:pt x="27636" y="107509"/>
                  </a:lnTo>
                  <a:lnTo>
                    <a:pt x="27636" y="107509"/>
                  </a:lnTo>
                  <a:lnTo>
                    <a:pt x="28363" y="106171"/>
                  </a:lnTo>
                  <a:lnTo>
                    <a:pt x="28363" y="106171"/>
                  </a:lnTo>
                  <a:lnTo>
                    <a:pt x="28363" y="106171"/>
                  </a:lnTo>
                  <a:lnTo>
                    <a:pt x="28363" y="105278"/>
                  </a:lnTo>
                  <a:lnTo>
                    <a:pt x="28363" y="105278"/>
                  </a:lnTo>
                  <a:lnTo>
                    <a:pt x="30181" y="104386"/>
                  </a:lnTo>
                  <a:lnTo>
                    <a:pt x="31636" y="102156"/>
                  </a:lnTo>
                  <a:lnTo>
                    <a:pt x="32727" y="101263"/>
                  </a:lnTo>
                  <a:lnTo>
                    <a:pt x="33454" y="99925"/>
                  </a:lnTo>
                  <a:lnTo>
                    <a:pt x="34545" y="99033"/>
                  </a:lnTo>
                  <a:lnTo>
                    <a:pt x="35272" y="97695"/>
                  </a:lnTo>
                  <a:lnTo>
                    <a:pt x="35272" y="97695"/>
                  </a:lnTo>
                  <a:lnTo>
                    <a:pt x="35272" y="97695"/>
                  </a:lnTo>
                  <a:lnTo>
                    <a:pt x="36000" y="97695"/>
                  </a:lnTo>
                  <a:lnTo>
                    <a:pt x="37090" y="95910"/>
                  </a:lnTo>
                  <a:lnTo>
                    <a:pt x="37818" y="94572"/>
                  </a:lnTo>
                  <a:lnTo>
                    <a:pt x="38545" y="93680"/>
                  </a:lnTo>
                  <a:lnTo>
                    <a:pt x="40363" y="91449"/>
                  </a:lnTo>
                  <a:lnTo>
                    <a:pt x="40363" y="91449"/>
                  </a:lnTo>
                  <a:lnTo>
                    <a:pt x="40363" y="91449"/>
                  </a:lnTo>
                  <a:lnTo>
                    <a:pt x="41090" y="91449"/>
                  </a:lnTo>
                  <a:lnTo>
                    <a:pt x="41090" y="91449"/>
                  </a:lnTo>
                  <a:lnTo>
                    <a:pt x="42181" y="90557"/>
                  </a:lnTo>
                  <a:lnTo>
                    <a:pt x="42909" y="90557"/>
                  </a:lnTo>
                  <a:lnTo>
                    <a:pt x="43636" y="90557"/>
                  </a:lnTo>
                  <a:lnTo>
                    <a:pt x="43636" y="90557"/>
                  </a:lnTo>
                  <a:lnTo>
                    <a:pt x="44727" y="89665"/>
                  </a:lnTo>
                  <a:lnTo>
                    <a:pt x="45454" y="89665"/>
                  </a:lnTo>
                  <a:lnTo>
                    <a:pt x="46545" y="89665"/>
                  </a:lnTo>
                  <a:lnTo>
                    <a:pt x="47272" y="88327"/>
                  </a:lnTo>
                  <a:lnTo>
                    <a:pt x="48000" y="88327"/>
                  </a:lnTo>
                  <a:lnTo>
                    <a:pt x="48000" y="87434"/>
                  </a:lnTo>
                  <a:lnTo>
                    <a:pt x="48000" y="87434"/>
                  </a:lnTo>
                  <a:lnTo>
                    <a:pt x="48000" y="86096"/>
                  </a:lnTo>
                  <a:lnTo>
                    <a:pt x="48000" y="87434"/>
                  </a:lnTo>
                  <a:lnTo>
                    <a:pt x="49090" y="87434"/>
                  </a:lnTo>
                  <a:lnTo>
                    <a:pt x="49090" y="88327"/>
                  </a:lnTo>
                  <a:lnTo>
                    <a:pt x="49090" y="88327"/>
                  </a:lnTo>
                  <a:lnTo>
                    <a:pt x="49818" y="87434"/>
                  </a:lnTo>
                  <a:lnTo>
                    <a:pt x="49818" y="87434"/>
                  </a:lnTo>
                  <a:lnTo>
                    <a:pt x="50545" y="87434"/>
                  </a:lnTo>
                  <a:lnTo>
                    <a:pt x="50545" y="86096"/>
                  </a:lnTo>
                  <a:lnTo>
                    <a:pt x="50545" y="87434"/>
                  </a:lnTo>
                  <a:lnTo>
                    <a:pt x="50545" y="87434"/>
                  </a:lnTo>
                  <a:lnTo>
                    <a:pt x="49818" y="87434"/>
                  </a:lnTo>
                  <a:lnTo>
                    <a:pt x="49818" y="87434"/>
                  </a:lnTo>
                  <a:lnTo>
                    <a:pt x="50545" y="87434"/>
                  </a:lnTo>
                  <a:lnTo>
                    <a:pt x="51636" y="87434"/>
                  </a:lnTo>
                  <a:lnTo>
                    <a:pt x="51636" y="88327"/>
                  </a:lnTo>
                  <a:lnTo>
                    <a:pt x="52363" y="88327"/>
                  </a:lnTo>
                  <a:lnTo>
                    <a:pt x="53090" y="88327"/>
                  </a:lnTo>
                  <a:lnTo>
                    <a:pt x="53090" y="88327"/>
                  </a:lnTo>
                  <a:lnTo>
                    <a:pt x="54181" y="87434"/>
                  </a:lnTo>
                  <a:lnTo>
                    <a:pt x="54181" y="87434"/>
                  </a:lnTo>
                  <a:lnTo>
                    <a:pt x="54909" y="86096"/>
                  </a:lnTo>
                  <a:lnTo>
                    <a:pt x="54909" y="86096"/>
                  </a:lnTo>
                  <a:lnTo>
                    <a:pt x="54181" y="86096"/>
                  </a:lnTo>
                  <a:lnTo>
                    <a:pt x="53090" y="86096"/>
                  </a:lnTo>
                  <a:lnTo>
                    <a:pt x="53090" y="85204"/>
                  </a:lnTo>
                  <a:lnTo>
                    <a:pt x="53090" y="85204"/>
                  </a:lnTo>
                  <a:lnTo>
                    <a:pt x="54181" y="84312"/>
                  </a:lnTo>
                  <a:lnTo>
                    <a:pt x="53090" y="84312"/>
                  </a:lnTo>
                  <a:lnTo>
                    <a:pt x="52363" y="84312"/>
                  </a:lnTo>
                  <a:lnTo>
                    <a:pt x="53090" y="84312"/>
                  </a:lnTo>
                  <a:lnTo>
                    <a:pt x="53090" y="84312"/>
                  </a:lnTo>
                  <a:lnTo>
                    <a:pt x="54181" y="84312"/>
                  </a:lnTo>
                  <a:lnTo>
                    <a:pt x="54181" y="82973"/>
                  </a:lnTo>
                  <a:lnTo>
                    <a:pt x="54181" y="82973"/>
                  </a:lnTo>
                  <a:lnTo>
                    <a:pt x="54181" y="82973"/>
                  </a:lnTo>
                  <a:lnTo>
                    <a:pt x="54181" y="82973"/>
                  </a:lnTo>
                  <a:lnTo>
                    <a:pt x="54909" y="82081"/>
                  </a:lnTo>
                  <a:lnTo>
                    <a:pt x="55636" y="82081"/>
                  </a:lnTo>
                  <a:lnTo>
                    <a:pt x="56727" y="81189"/>
                  </a:lnTo>
                  <a:lnTo>
                    <a:pt x="58545" y="81189"/>
                  </a:lnTo>
                  <a:lnTo>
                    <a:pt x="58545" y="79851"/>
                  </a:lnTo>
                  <a:lnTo>
                    <a:pt x="59272" y="79851"/>
                  </a:lnTo>
                  <a:lnTo>
                    <a:pt x="61090" y="78959"/>
                  </a:lnTo>
                  <a:lnTo>
                    <a:pt x="64363" y="75836"/>
                  </a:lnTo>
                  <a:lnTo>
                    <a:pt x="64363" y="75836"/>
                  </a:lnTo>
                  <a:lnTo>
                    <a:pt x="66909" y="73605"/>
                  </a:lnTo>
                  <a:lnTo>
                    <a:pt x="67636" y="72713"/>
                  </a:lnTo>
                  <a:lnTo>
                    <a:pt x="68727" y="72713"/>
                  </a:lnTo>
                  <a:lnTo>
                    <a:pt x="69454" y="71375"/>
                  </a:lnTo>
                  <a:lnTo>
                    <a:pt x="70545" y="71375"/>
                  </a:lnTo>
                  <a:lnTo>
                    <a:pt x="72000" y="69591"/>
                  </a:lnTo>
                  <a:lnTo>
                    <a:pt x="72000" y="69591"/>
                  </a:lnTo>
                  <a:lnTo>
                    <a:pt x="73090" y="68252"/>
                  </a:lnTo>
                  <a:lnTo>
                    <a:pt x="73090" y="68252"/>
                  </a:lnTo>
                  <a:lnTo>
                    <a:pt x="73090" y="68252"/>
                  </a:lnTo>
                  <a:lnTo>
                    <a:pt x="72000" y="68252"/>
                  </a:lnTo>
                  <a:lnTo>
                    <a:pt x="73090" y="67360"/>
                  </a:lnTo>
                  <a:lnTo>
                    <a:pt x="73090" y="66468"/>
                  </a:lnTo>
                  <a:lnTo>
                    <a:pt x="73090" y="66468"/>
                  </a:lnTo>
                  <a:lnTo>
                    <a:pt x="73090" y="66468"/>
                  </a:lnTo>
                  <a:lnTo>
                    <a:pt x="73818" y="65130"/>
                  </a:lnTo>
                  <a:lnTo>
                    <a:pt x="74545" y="65130"/>
                  </a:lnTo>
                  <a:lnTo>
                    <a:pt x="74545" y="65130"/>
                  </a:lnTo>
                  <a:lnTo>
                    <a:pt x="75636" y="64237"/>
                  </a:lnTo>
                  <a:lnTo>
                    <a:pt x="76363" y="62899"/>
                  </a:lnTo>
                  <a:lnTo>
                    <a:pt x="77090" y="62899"/>
                  </a:lnTo>
                  <a:lnTo>
                    <a:pt x="76363" y="62899"/>
                  </a:lnTo>
                  <a:lnTo>
                    <a:pt x="74545" y="64237"/>
                  </a:lnTo>
                  <a:lnTo>
                    <a:pt x="73818" y="64237"/>
                  </a:lnTo>
                  <a:lnTo>
                    <a:pt x="74545" y="64237"/>
                  </a:lnTo>
                  <a:lnTo>
                    <a:pt x="75636" y="62899"/>
                  </a:lnTo>
                  <a:close/>
                  <a:moveTo>
                    <a:pt x="107272" y="17843"/>
                  </a:moveTo>
                  <a:lnTo>
                    <a:pt x="107272" y="17843"/>
                  </a:lnTo>
                  <a:lnTo>
                    <a:pt x="108000" y="18736"/>
                  </a:lnTo>
                  <a:lnTo>
                    <a:pt x="108000" y="17843"/>
                  </a:lnTo>
                  <a:lnTo>
                    <a:pt x="108000" y="16505"/>
                  </a:lnTo>
                  <a:lnTo>
                    <a:pt x="108000" y="16505"/>
                  </a:lnTo>
                  <a:lnTo>
                    <a:pt x="108000" y="15613"/>
                  </a:lnTo>
                  <a:lnTo>
                    <a:pt x="108000" y="15613"/>
                  </a:lnTo>
                  <a:lnTo>
                    <a:pt x="108000" y="15613"/>
                  </a:lnTo>
                  <a:lnTo>
                    <a:pt x="107272" y="16505"/>
                  </a:lnTo>
                  <a:lnTo>
                    <a:pt x="107272" y="17843"/>
                  </a:lnTo>
                  <a:lnTo>
                    <a:pt x="107272" y="17843"/>
                  </a:lnTo>
                  <a:lnTo>
                    <a:pt x="107272" y="17843"/>
                  </a:lnTo>
                  <a:close/>
                  <a:moveTo>
                    <a:pt x="119272" y="30334"/>
                  </a:moveTo>
                  <a:lnTo>
                    <a:pt x="119272" y="30334"/>
                  </a:lnTo>
                  <a:lnTo>
                    <a:pt x="117454" y="30334"/>
                  </a:lnTo>
                  <a:lnTo>
                    <a:pt x="117454" y="30334"/>
                  </a:lnTo>
                  <a:lnTo>
                    <a:pt x="116727" y="30334"/>
                  </a:lnTo>
                  <a:lnTo>
                    <a:pt x="115636" y="31672"/>
                  </a:lnTo>
                  <a:lnTo>
                    <a:pt x="114909" y="31672"/>
                  </a:lnTo>
                  <a:lnTo>
                    <a:pt x="114181" y="32565"/>
                  </a:lnTo>
                  <a:lnTo>
                    <a:pt x="113090" y="33457"/>
                  </a:lnTo>
                  <a:lnTo>
                    <a:pt x="112363" y="33457"/>
                  </a:lnTo>
                  <a:lnTo>
                    <a:pt x="111636" y="34795"/>
                  </a:lnTo>
                  <a:lnTo>
                    <a:pt x="110545" y="34795"/>
                  </a:lnTo>
                  <a:lnTo>
                    <a:pt x="110545" y="34795"/>
                  </a:lnTo>
                  <a:lnTo>
                    <a:pt x="108000" y="33457"/>
                  </a:lnTo>
                  <a:lnTo>
                    <a:pt x="107272" y="32565"/>
                  </a:lnTo>
                  <a:lnTo>
                    <a:pt x="106181" y="31672"/>
                  </a:lnTo>
                  <a:lnTo>
                    <a:pt x="106181" y="31672"/>
                  </a:lnTo>
                  <a:lnTo>
                    <a:pt x="105454" y="31672"/>
                  </a:lnTo>
                  <a:lnTo>
                    <a:pt x="105454" y="31672"/>
                  </a:lnTo>
                  <a:lnTo>
                    <a:pt x="104727" y="30334"/>
                  </a:lnTo>
                  <a:lnTo>
                    <a:pt x="105454" y="30334"/>
                  </a:lnTo>
                  <a:lnTo>
                    <a:pt x="105454" y="30334"/>
                  </a:lnTo>
                  <a:lnTo>
                    <a:pt x="105454" y="30334"/>
                  </a:lnTo>
                  <a:lnTo>
                    <a:pt x="105454" y="30334"/>
                  </a:lnTo>
                  <a:lnTo>
                    <a:pt x="105454" y="29442"/>
                  </a:lnTo>
                  <a:lnTo>
                    <a:pt x="106181" y="27211"/>
                  </a:lnTo>
                  <a:lnTo>
                    <a:pt x="107272" y="24089"/>
                  </a:lnTo>
                  <a:lnTo>
                    <a:pt x="107272" y="24089"/>
                  </a:lnTo>
                  <a:lnTo>
                    <a:pt x="107272" y="23197"/>
                  </a:lnTo>
                  <a:lnTo>
                    <a:pt x="107272" y="21858"/>
                  </a:lnTo>
                  <a:lnTo>
                    <a:pt x="106181" y="21858"/>
                  </a:lnTo>
                  <a:lnTo>
                    <a:pt x="106181" y="20966"/>
                  </a:lnTo>
                  <a:lnTo>
                    <a:pt x="106181" y="19628"/>
                  </a:lnTo>
                  <a:lnTo>
                    <a:pt x="106181" y="19628"/>
                  </a:lnTo>
                  <a:lnTo>
                    <a:pt x="106181" y="19628"/>
                  </a:lnTo>
                  <a:lnTo>
                    <a:pt x="105454" y="20966"/>
                  </a:lnTo>
                  <a:lnTo>
                    <a:pt x="105454" y="20966"/>
                  </a:lnTo>
                  <a:lnTo>
                    <a:pt x="105454" y="20966"/>
                  </a:lnTo>
                  <a:lnTo>
                    <a:pt x="105454" y="21858"/>
                  </a:lnTo>
                  <a:lnTo>
                    <a:pt x="105454" y="21858"/>
                  </a:lnTo>
                  <a:lnTo>
                    <a:pt x="105454" y="23197"/>
                  </a:lnTo>
                  <a:lnTo>
                    <a:pt x="104727" y="23197"/>
                  </a:lnTo>
                  <a:lnTo>
                    <a:pt x="104727" y="24981"/>
                  </a:lnTo>
                  <a:lnTo>
                    <a:pt x="103636" y="26319"/>
                  </a:lnTo>
                  <a:lnTo>
                    <a:pt x="103636" y="27211"/>
                  </a:lnTo>
                  <a:lnTo>
                    <a:pt x="102909" y="27211"/>
                  </a:lnTo>
                  <a:lnTo>
                    <a:pt x="102909" y="27211"/>
                  </a:lnTo>
                  <a:lnTo>
                    <a:pt x="102909" y="26319"/>
                  </a:lnTo>
                  <a:lnTo>
                    <a:pt x="102909" y="24981"/>
                  </a:lnTo>
                  <a:lnTo>
                    <a:pt x="102909" y="24981"/>
                  </a:lnTo>
                  <a:lnTo>
                    <a:pt x="102909" y="24089"/>
                  </a:lnTo>
                  <a:lnTo>
                    <a:pt x="102181" y="24089"/>
                  </a:lnTo>
                  <a:lnTo>
                    <a:pt x="102181" y="23197"/>
                  </a:lnTo>
                  <a:lnTo>
                    <a:pt x="101090" y="23197"/>
                  </a:lnTo>
                  <a:lnTo>
                    <a:pt x="101090" y="24089"/>
                  </a:lnTo>
                  <a:lnTo>
                    <a:pt x="101090" y="24089"/>
                  </a:lnTo>
                  <a:lnTo>
                    <a:pt x="100363" y="23197"/>
                  </a:lnTo>
                  <a:lnTo>
                    <a:pt x="100363" y="23197"/>
                  </a:lnTo>
                  <a:lnTo>
                    <a:pt x="100363" y="23197"/>
                  </a:lnTo>
                  <a:lnTo>
                    <a:pt x="100363" y="23197"/>
                  </a:lnTo>
                  <a:lnTo>
                    <a:pt x="101090" y="20966"/>
                  </a:lnTo>
                  <a:lnTo>
                    <a:pt x="102181" y="20966"/>
                  </a:lnTo>
                  <a:lnTo>
                    <a:pt x="102181" y="19628"/>
                  </a:lnTo>
                  <a:lnTo>
                    <a:pt x="102181" y="19628"/>
                  </a:lnTo>
                  <a:lnTo>
                    <a:pt x="102909" y="18736"/>
                  </a:lnTo>
                  <a:lnTo>
                    <a:pt x="102909" y="17843"/>
                  </a:lnTo>
                  <a:lnTo>
                    <a:pt x="102909" y="15613"/>
                  </a:lnTo>
                  <a:lnTo>
                    <a:pt x="102909" y="15613"/>
                  </a:lnTo>
                  <a:lnTo>
                    <a:pt x="102909" y="14721"/>
                  </a:lnTo>
                  <a:lnTo>
                    <a:pt x="102909" y="13382"/>
                  </a:lnTo>
                  <a:lnTo>
                    <a:pt x="102909" y="13382"/>
                  </a:lnTo>
                  <a:lnTo>
                    <a:pt x="103636" y="13382"/>
                  </a:lnTo>
                  <a:lnTo>
                    <a:pt x="103636" y="13382"/>
                  </a:lnTo>
                  <a:lnTo>
                    <a:pt x="103636" y="12490"/>
                  </a:lnTo>
                  <a:lnTo>
                    <a:pt x="104727" y="11598"/>
                  </a:lnTo>
                  <a:lnTo>
                    <a:pt x="104727" y="11598"/>
                  </a:lnTo>
                  <a:lnTo>
                    <a:pt x="104727" y="10260"/>
                  </a:lnTo>
                  <a:lnTo>
                    <a:pt x="104727" y="9368"/>
                  </a:lnTo>
                  <a:lnTo>
                    <a:pt x="104727" y="9368"/>
                  </a:lnTo>
                  <a:lnTo>
                    <a:pt x="104727" y="9368"/>
                  </a:lnTo>
                  <a:lnTo>
                    <a:pt x="104727" y="8029"/>
                  </a:lnTo>
                  <a:lnTo>
                    <a:pt x="104727" y="8029"/>
                  </a:lnTo>
                  <a:lnTo>
                    <a:pt x="104727" y="8029"/>
                  </a:lnTo>
                  <a:lnTo>
                    <a:pt x="103636" y="8029"/>
                  </a:lnTo>
                  <a:lnTo>
                    <a:pt x="103636" y="8029"/>
                  </a:lnTo>
                  <a:lnTo>
                    <a:pt x="103636" y="8029"/>
                  </a:lnTo>
                  <a:lnTo>
                    <a:pt x="103636" y="7137"/>
                  </a:lnTo>
                  <a:lnTo>
                    <a:pt x="103636" y="7137"/>
                  </a:lnTo>
                  <a:lnTo>
                    <a:pt x="103636" y="7137"/>
                  </a:lnTo>
                  <a:lnTo>
                    <a:pt x="102909" y="6245"/>
                  </a:lnTo>
                  <a:lnTo>
                    <a:pt x="102909" y="6245"/>
                  </a:lnTo>
                  <a:lnTo>
                    <a:pt x="102181" y="6245"/>
                  </a:lnTo>
                  <a:lnTo>
                    <a:pt x="102181" y="6245"/>
                  </a:lnTo>
                  <a:lnTo>
                    <a:pt x="102181" y="6245"/>
                  </a:lnTo>
                  <a:lnTo>
                    <a:pt x="102181" y="6245"/>
                  </a:lnTo>
                  <a:lnTo>
                    <a:pt x="100363" y="4907"/>
                  </a:lnTo>
                  <a:lnTo>
                    <a:pt x="100363" y="4907"/>
                  </a:lnTo>
                  <a:lnTo>
                    <a:pt x="101090" y="4014"/>
                  </a:lnTo>
                  <a:lnTo>
                    <a:pt x="100363" y="4907"/>
                  </a:lnTo>
                  <a:lnTo>
                    <a:pt x="99636" y="4907"/>
                  </a:lnTo>
                  <a:lnTo>
                    <a:pt x="99636" y="4907"/>
                  </a:lnTo>
                  <a:lnTo>
                    <a:pt x="99636" y="4907"/>
                  </a:lnTo>
                  <a:lnTo>
                    <a:pt x="99636" y="4907"/>
                  </a:lnTo>
                  <a:lnTo>
                    <a:pt x="99636" y="4014"/>
                  </a:lnTo>
                  <a:lnTo>
                    <a:pt x="99636" y="4014"/>
                  </a:lnTo>
                  <a:lnTo>
                    <a:pt x="99636" y="1784"/>
                  </a:lnTo>
                  <a:lnTo>
                    <a:pt x="98545" y="1784"/>
                  </a:lnTo>
                  <a:lnTo>
                    <a:pt x="98545" y="892"/>
                  </a:lnTo>
                  <a:lnTo>
                    <a:pt x="100363" y="0"/>
                  </a:lnTo>
                  <a:lnTo>
                    <a:pt x="98545" y="0"/>
                  </a:lnTo>
                  <a:lnTo>
                    <a:pt x="97818" y="892"/>
                  </a:lnTo>
                  <a:lnTo>
                    <a:pt x="97818" y="1784"/>
                  </a:lnTo>
                  <a:lnTo>
                    <a:pt x="98545" y="4014"/>
                  </a:lnTo>
                  <a:lnTo>
                    <a:pt x="98545" y="4907"/>
                  </a:lnTo>
                  <a:lnTo>
                    <a:pt x="98545" y="6245"/>
                  </a:lnTo>
                  <a:lnTo>
                    <a:pt x="97818" y="7137"/>
                  </a:lnTo>
                  <a:lnTo>
                    <a:pt x="97090" y="7137"/>
                  </a:lnTo>
                  <a:lnTo>
                    <a:pt x="97090" y="8029"/>
                  </a:lnTo>
                  <a:lnTo>
                    <a:pt x="97818" y="9368"/>
                  </a:lnTo>
                  <a:lnTo>
                    <a:pt x="97818" y="9368"/>
                  </a:lnTo>
                  <a:lnTo>
                    <a:pt x="97818" y="9368"/>
                  </a:lnTo>
                  <a:lnTo>
                    <a:pt x="97818" y="9368"/>
                  </a:lnTo>
                  <a:lnTo>
                    <a:pt x="97818" y="10260"/>
                  </a:lnTo>
                  <a:lnTo>
                    <a:pt x="97818" y="10260"/>
                  </a:lnTo>
                  <a:lnTo>
                    <a:pt x="97818" y="10260"/>
                  </a:lnTo>
                  <a:lnTo>
                    <a:pt x="98545" y="9368"/>
                  </a:lnTo>
                  <a:lnTo>
                    <a:pt x="98545" y="9368"/>
                  </a:lnTo>
                  <a:lnTo>
                    <a:pt x="99636" y="9368"/>
                  </a:lnTo>
                  <a:lnTo>
                    <a:pt x="99636" y="8029"/>
                  </a:lnTo>
                  <a:lnTo>
                    <a:pt x="100363" y="8029"/>
                  </a:lnTo>
                  <a:lnTo>
                    <a:pt x="99636" y="9368"/>
                  </a:lnTo>
                  <a:lnTo>
                    <a:pt x="99636" y="9368"/>
                  </a:lnTo>
                  <a:lnTo>
                    <a:pt x="98545" y="10260"/>
                  </a:lnTo>
                  <a:lnTo>
                    <a:pt x="97818" y="10260"/>
                  </a:lnTo>
                  <a:lnTo>
                    <a:pt x="98545" y="16505"/>
                  </a:lnTo>
                  <a:lnTo>
                    <a:pt x="98545" y="17843"/>
                  </a:lnTo>
                  <a:lnTo>
                    <a:pt x="97818" y="18736"/>
                  </a:lnTo>
                  <a:lnTo>
                    <a:pt x="98545" y="18736"/>
                  </a:lnTo>
                  <a:lnTo>
                    <a:pt x="98545" y="18736"/>
                  </a:lnTo>
                  <a:lnTo>
                    <a:pt x="98545" y="18736"/>
                  </a:lnTo>
                  <a:lnTo>
                    <a:pt x="98545" y="17843"/>
                  </a:lnTo>
                  <a:lnTo>
                    <a:pt x="98545" y="16505"/>
                  </a:lnTo>
                  <a:lnTo>
                    <a:pt x="98545" y="15613"/>
                  </a:lnTo>
                  <a:lnTo>
                    <a:pt x="98545" y="14721"/>
                  </a:lnTo>
                  <a:lnTo>
                    <a:pt x="99636" y="14721"/>
                  </a:lnTo>
                  <a:lnTo>
                    <a:pt x="99636" y="15613"/>
                  </a:lnTo>
                  <a:lnTo>
                    <a:pt x="99636" y="16505"/>
                  </a:lnTo>
                  <a:lnTo>
                    <a:pt x="100363" y="17843"/>
                  </a:lnTo>
                  <a:lnTo>
                    <a:pt x="100363" y="17843"/>
                  </a:lnTo>
                  <a:lnTo>
                    <a:pt x="100363" y="16505"/>
                  </a:lnTo>
                  <a:lnTo>
                    <a:pt x="100363" y="16505"/>
                  </a:lnTo>
                  <a:lnTo>
                    <a:pt x="100363" y="16505"/>
                  </a:lnTo>
                  <a:lnTo>
                    <a:pt x="101090" y="17843"/>
                  </a:lnTo>
                  <a:lnTo>
                    <a:pt x="100363" y="17843"/>
                  </a:lnTo>
                  <a:lnTo>
                    <a:pt x="100363" y="18736"/>
                  </a:lnTo>
                  <a:lnTo>
                    <a:pt x="100363" y="18736"/>
                  </a:lnTo>
                  <a:lnTo>
                    <a:pt x="100363" y="18736"/>
                  </a:lnTo>
                  <a:lnTo>
                    <a:pt x="100363" y="19628"/>
                  </a:lnTo>
                  <a:lnTo>
                    <a:pt x="100363" y="19628"/>
                  </a:lnTo>
                  <a:lnTo>
                    <a:pt x="99636" y="20966"/>
                  </a:lnTo>
                  <a:lnTo>
                    <a:pt x="99636" y="20966"/>
                  </a:lnTo>
                  <a:lnTo>
                    <a:pt x="98545" y="19628"/>
                  </a:lnTo>
                  <a:lnTo>
                    <a:pt x="98545" y="19628"/>
                  </a:lnTo>
                  <a:lnTo>
                    <a:pt x="98545" y="21858"/>
                  </a:lnTo>
                  <a:lnTo>
                    <a:pt x="98545" y="23197"/>
                  </a:lnTo>
                  <a:lnTo>
                    <a:pt x="98545" y="24089"/>
                  </a:lnTo>
                  <a:lnTo>
                    <a:pt x="98545" y="24089"/>
                  </a:lnTo>
                  <a:lnTo>
                    <a:pt x="98545" y="24089"/>
                  </a:lnTo>
                  <a:lnTo>
                    <a:pt x="98545" y="24981"/>
                  </a:lnTo>
                  <a:lnTo>
                    <a:pt x="99636" y="24089"/>
                  </a:lnTo>
                  <a:lnTo>
                    <a:pt x="99636" y="24089"/>
                  </a:lnTo>
                  <a:lnTo>
                    <a:pt x="100363" y="24089"/>
                  </a:lnTo>
                  <a:lnTo>
                    <a:pt x="100363" y="24981"/>
                  </a:lnTo>
                  <a:lnTo>
                    <a:pt x="100363" y="24981"/>
                  </a:lnTo>
                  <a:lnTo>
                    <a:pt x="99636" y="26319"/>
                  </a:lnTo>
                  <a:lnTo>
                    <a:pt x="98545" y="26319"/>
                  </a:lnTo>
                  <a:lnTo>
                    <a:pt x="98545" y="27211"/>
                  </a:lnTo>
                  <a:lnTo>
                    <a:pt x="98545" y="24981"/>
                  </a:lnTo>
                  <a:lnTo>
                    <a:pt x="98545" y="24981"/>
                  </a:lnTo>
                  <a:lnTo>
                    <a:pt x="98545" y="26319"/>
                  </a:lnTo>
                  <a:lnTo>
                    <a:pt x="97818" y="27211"/>
                  </a:lnTo>
                  <a:lnTo>
                    <a:pt x="97818" y="28104"/>
                  </a:lnTo>
                  <a:lnTo>
                    <a:pt x="98545" y="28104"/>
                  </a:lnTo>
                  <a:lnTo>
                    <a:pt x="97818" y="28104"/>
                  </a:lnTo>
                  <a:lnTo>
                    <a:pt x="97818" y="29442"/>
                  </a:lnTo>
                  <a:lnTo>
                    <a:pt x="97818" y="29442"/>
                  </a:lnTo>
                  <a:lnTo>
                    <a:pt x="97090" y="31672"/>
                  </a:lnTo>
                  <a:lnTo>
                    <a:pt x="97090" y="32565"/>
                  </a:lnTo>
                  <a:lnTo>
                    <a:pt x="97090" y="32565"/>
                  </a:lnTo>
                  <a:lnTo>
                    <a:pt x="96000" y="32565"/>
                  </a:lnTo>
                  <a:lnTo>
                    <a:pt x="96000" y="33457"/>
                  </a:lnTo>
                  <a:lnTo>
                    <a:pt x="95272" y="34795"/>
                  </a:lnTo>
                  <a:lnTo>
                    <a:pt x="95272" y="35687"/>
                  </a:lnTo>
                  <a:lnTo>
                    <a:pt x="93454" y="36579"/>
                  </a:lnTo>
                  <a:lnTo>
                    <a:pt x="92727" y="38810"/>
                  </a:lnTo>
                  <a:lnTo>
                    <a:pt x="90909" y="39702"/>
                  </a:lnTo>
                  <a:lnTo>
                    <a:pt x="90181" y="41933"/>
                  </a:lnTo>
                  <a:lnTo>
                    <a:pt x="90181" y="41933"/>
                  </a:lnTo>
                  <a:lnTo>
                    <a:pt x="88363" y="43271"/>
                  </a:lnTo>
                  <a:lnTo>
                    <a:pt x="88363" y="43271"/>
                  </a:lnTo>
                  <a:lnTo>
                    <a:pt x="87636" y="44163"/>
                  </a:lnTo>
                  <a:lnTo>
                    <a:pt x="87636" y="44163"/>
                  </a:lnTo>
                  <a:lnTo>
                    <a:pt x="85818" y="44163"/>
                  </a:lnTo>
                  <a:lnTo>
                    <a:pt x="84000" y="45055"/>
                  </a:lnTo>
                  <a:lnTo>
                    <a:pt x="83272" y="45055"/>
                  </a:lnTo>
                  <a:lnTo>
                    <a:pt x="83272" y="46394"/>
                  </a:lnTo>
                  <a:lnTo>
                    <a:pt x="82545" y="46394"/>
                  </a:lnTo>
                  <a:lnTo>
                    <a:pt x="82545" y="47286"/>
                  </a:lnTo>
                  <a:lnTo>
                    <a:pt x="82545" y="47286"/>
                  </a:lnTo>
                  <a:lnTo>
                    <a:pt x="82545" y="48178"/>
                  </a:lnTo>
                  <a:lnTo>
                    <a:pt x="82545" y="48178"/>
                  </a:lnTo>
                  <a:lnTo>
                    <a:pt x="83272" y="49516"/>
                  </a:lnTo>
                  <a:lnTo>
                    <a:pt x="84000" y="50408"/>
                  </a:lnTo>
                  <a:lnTo>
                    <a:pt x="85090" y="50408"/>
                  </a:lnTo>
                  <a:lnTo>
                    <a:pt x="85090" y="51301"/>
                  </a:lnTo>
                  <a:lnTo>
                    <a:pt x="85818" y="51301"/>
                  </a:lnTo>
                  <a:lnTo>
                    <a:pt x="86545" y="51301"/>
                  </a:lnTo>
                  <a:lnTo>
                    <a:pt x="86545" y="52639"/>
                  </a:lnTo>
                  <a:lnTo>
                    <a:pt x="87636" y="53531"/>
                  </a:lnTo>
                  <a:lnTo>
                    <a:pt x="86545" y="54869"/>
                  </a:lnTo>
                  <a:lnTo>
                    <a:pt x="86545" y="55762"/>
                  </a:lnTo>
                  <a:lnTo>
                    <a:pt x="85090" y="56654"/>
                  </a:lnTo>
                  <a:lnTo>
                    <a:pt x="84000" y="58884"/>
                  </a:lnTo>
                  <a:lnTo>
                    <a:pt x="82545" y="59776"/>
                  </a:lnTo>
                  <a:lnTo>
                    <a:pt x="79636" y="62007"/>
                  </a:lnTo>
                  <a:lnTo>
                    <a:pt x="78181" y="64237"/>
                  </a:lnTo>
                  <a:lnTo>
                    <a:pt x="78181" y="64237"/>
                  </a:lnTo>
                  <a:lnTo>
                    <a:pt x="77090" y="64237"/>
                  </a:lnTo>
                  <a:lnTo>
                    <a:pt x="77090" y="65130"/>
                  </a:lnTo>
                  <a:lnTo>
                    <a:pt x="77090" y="65130"/>
                  </a:lnTo>
                  <a:lnTo>
                    <a:pt x="78181" y="65130"/>
                  </a:lnTo>
                  <a:lnTo>
                    <a:pt x="78909" y="64237"/>
                  </a:lnTo>
                  <a:lnTo>
                    <a:pt x="78909" y="64237"/>
                  </a:lnTo>
                  <a:lnTo>
                    <a:pt x="78909" y="64237"/>
                  </a:lnTo>
                  <a:lnTo>
                    <a:pt x="79636" y="64237"/>
                  </a:lnTo>
                  <a:lnTo>
                    <a:pt x="79636" y="64237"/>
                  </a:lnTo>
                  <a:lnTo>
                    <a:pt x="78909" y="64237"/>
                  </a:lnTo>
                  <a:lnTo>
                    <a:pt x="78181" y="65130"/>
                  </a:lnTo>
                  <a:lnTo>
                    <a:pt x="78181" y="66468"/>
                  </a:lnTo>
                  <a:lnTo>
                    <a:pt x="78181" y="66468"/>
                  </a:lnTo>
                  <a:lnTo>
                    <a:pt x="79636" y="65130"/>
                  </a:lnTo>
                  <a:lnTo>
                    <a:pt x="79636" y="65130"/>
                  </a:lnTo>
                  <a:lnTo>
                    <a:pt x="79636" y="66468"/>
                  </a:lnTo>
                  <a:lnTo>
                    <a:pt x="79636" y="66468"/>
                  </a:lnTo>
                  <a:lnTo>
                    <a:pt x="79636" y="67360"/>
                  </a:lnTo>
                  <a:lnTo>
                    <a:pt x="79636" y="67360"/>
                  </a:lnTo>
                  <a:lnTo>
                    <a:pt x="80727" y="67360"/>
                  </a:lnTo>
                  <a:lnTo>
                    <a:pt x="81454" y="67360"/>
                  </a:lnTo>
                  <a:lnTo>
                    <a:pt x="83272" y="65130"/>
                  </a:lnTo>
                  <a:lnTo>
                    <a:pt x="85090" y="65130"/>
                  </a:lnTo>
                  <a:lnTo>
                    <a:pt x="86545" y="64237"/>
                  </a:lnTo>
                  <a:lnTo>
                    <a:pt x="87636" y="62899"/>
                  </a:lnTo>
                  <a:lnTo>
                    <a:pt x="88363" y="62007"/>
                  </a:lnTo>
                  <a:lnTo>
                    <a:pt x="90181" y="61115"/>
                  </a:lnTo>
                  <a:lnTo>
                    <a:pt x="90909" y="59776"/>
                  </a:lnTo>
                  <a:lnTo>
                    <a:pt x="91636" y="58884"/>
                  </a:lnTo>
                  <a:lnTo>
                    <a:pt x="92727" y="57992"/>
                  </a:lnTo>
                  <a:lnTo>
                    <a:pt x="94181" y="56654"/>
                  </a:lnTo>
                  <a:lnTo>
                    <a:pt x="96000" y="55762"/>
                  </a:lnTo>
                  <a:lnTo>
                    <a:pt x="97090" y="54869"/>
                  </a:lnTo>
                  <a:lnTo>
                    <a:pt x="97090" y="53531"/>
                  </a:lnTo>
                  <a:lnTo>
                    <a:pt x="99636" y="52639"/>
                  </a:lnTo>
                  <a:lnTo>
                    <a:pt x="101090" y="50408"/>
                  </a:lnTo>
                  <a:lnTo>
                    <a:pt x="101090" y="49516"/>
                  </a:lnTo>
                  <a:lnTo>
                    <a:pt x="101090" y="49516"/>
                  </a:lnTo>
                  <a:lnTo>
                    <a:pt x="101090" y="48178"/>
                  </a:lnTo>
                  <a:lnTo>
                    <a:pt x="102181" y="47286"/>
                  </a:lnTo>
                  <a:lnTo>
                    <a:pt x="102909" y="46394"/>
                  </a:lnTo>
                  <a:lnTo>
                    <a:pt x="103636" y="46394"/>
                  </a:lnTo>
                  <a:lnTo>
                    <a:pt x="103636" y="45055"/>
                  </a:lnTo>
                  <a:lnTo>
                    <a:pt x="105454" y="45055"/>
                  </a:lnTo>
                  <a:lnTo>
                    <a:pt x="106181" y="45055"/>
                  </a:lnTo>
                  <a:lnTo>
                    <a:pt x="107272" y="44163"/>
                  </a:lnTo>
                  <a:lnTo>
                    <a:pt x="108000" y="45055"/>
                  </a:lnTo>
                  <a:lnTo>
                    <a:pt x="109090" y="45055"/>
                  </a:lnTo>
                  <a:lnTo>
                    <a:pt x="109090" y="45055"/>
                  </a:lnTo>
                  <a:lnTo>
                    <a:pt x="109090" y="46394"/>
                  </a:lnTo>
                  <a:lnTo>
                    <a:pt x="109090" y="46394"/>
                  </a:lnTo>
                  <a:lnTo>
                    <a:pt x="109818" y="45055"/>
                  </a:lnTo>
                  <a:lnTo>
                    <a:pt x="109818" y="45055"/>
                  </a:lnTo>
                  <a:lnTo>
                    <a:pt x="109818" y="44163"/>
                  </a:lnTo>
                  <a:lnTo>
                    <a:pt x="109818" y="44163"/>
                  </a:lnTo>
                  <a:lnTo>
                    <a:pt x="110545" y="43271"/>
                  </a:lnTo>
                  <a:lnTo>
                    <a:pt x="111636" y="41040"/>
                  </a:lnTo>
                  <a:lnTo>
                    <a:pt x="112363" y="41040"/>
                  </a:lnTo>
                  <a:lnTo>
                    <a:pt x="113090" y="41040"/>
                  </a:lnTo>
                  <a:lnTo>
                    <a:pt x="114181" y="39702"/>
                  </a:lnTo>
                  <a:lnTo>
                    <a:pt x="114909" y="38810"/>
                  </a:lnTo>
                  <a:lnTo>
                    <a:pt x="116727" y="36579"/>
                  </a:lnTo>
                  <a:lnTo>
                    <a:pt x="118181" y="33457"/>
                  </a:lnTo>
                  <a:lnTo>
                    <a:pt x="119272" y="32565"/>
                  </a:lnTo>
                  <a:lnTo>
                    <a:pt x="120000" y="32565"/>
                  </a:lnTo>
                  <a:lnTo>
                    <a:pt x="120000" y="31672"/>
                  </a:lnTo>
                  <a:lnTo>
                    <a:pt x="120000" y="31672"/>
                  </a:lnTo>
                  <a:lnTo>
                    <a:pt x="119272" y="30334"/>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20" name="Shape 420"/>
            <p:cNvSpPr/>
            <p:nvPr/>
          </p:nvSpPr>
          <p:spPr>
            <a:xfrm>
              <a:off x="3735" y="1682"/>
              <a:ext cx="0" cy="0"/>
            </a:xfrm>
            <a:custGeom>
              <a:avLst/>
              <a:gdLst/>
              <a:ahLst/>
              <a:cxnLst/>
              <a:rect l="0" t="0" r="0" b="0"/>
              <a:pathLst>
                <a:path w="120000" h="120000" extrusionOk="0">
                  <a:moveTo>
                    <a:pt x="63870" y="10169"/>
                  </a:moveTo>
                  <a:lnTo>
                    <a:pt x="73548" y="10169"/>
                  </a:lnTo>
                  <a:lnTo>
                    <a:pt x="69677" y="10169"/>
                  </a:lnTo>
                  <a:lnTo>
                    <a:pt x="63870" y="10169"/>
                  </a:lnTo>
                  <a:lnTo>
                    <a:pt x="60000" y="10169"/>
                  </a:lnTo>
                  <a:lnTo>
                    <a:pt x="60000" y="10169"/>
                  </a:lnTo>
                  <a:lnTo>
                    <a:pt x="63870" y="10169"/>
                  </a:lnTo>
                  <a:close/>
                  <a:moveTo>
                    <a:pt x="77419" y="10169"/>
                  </a:moveTo>
                  <a:lnTo>
                    <a:pt x="83225" y="10169"/>
                  </a:lnTo>
                  <a:lnTo>
                    <a:pt x="83225" y="10169"/>
                  </a:lnTo>
                  <a:lnTo>
                    <a:pt x="83225" y="10169"/>
                  </a:lnTo>
                  <a:lnTo>
                    <a:pt x="73548" y="10169"/>
                  </a:lnTo>
                  <a:lnTo>
                    <a:pt x="73548" y="10169"/>
                  </a:lnTo>
                  <a:lnTo>
                    <a:pt x="73548" y="10169"/>
                  </a:lnTo>
                  <a:lnTo>
                    <a:pt x="77419" y="10169"/>
                  </a:lnTo>
                  <a:close/>
                  <a:moveTo>
                    <a:pt x="96774" y="6101"/>
                  </a:moveTo>
                  <a:lnTo>
                    <a:pt x="92903" y="6101"/>
                  </a:lnTo>
                  <a:lnTo>
                    <a:pt x="87096" y="6101"/>
                  </a:lnTo>
                  <a:lnTo>
                    <a:pt x="87096" y="6101"/>
                  </a:lnTo>
                  <a:lnTo>
                    <a:pt x="92903" y="10169"/>
                  </a:lnTo>
                  <a:lnTo>
                    <a:pt x="96774" y="6101"/>
                  </a:lnTo>
                  <a:close/>
                  <a:moveTo>
                    <a:pt x="110322" y="0"/>
                  </a:moveTo>
                  <a:lnTo>
                    <a:pt x="106451" y="0"/>
                  </a:lnTo>
                  <a:lnTo>
                    <a:pt x="106451" y="0"/>
                  </a:lnTo>
                  <a:lnTo>
                    <a:pt x="106451" y="6101"/>
                  </a:lnTo>
                  <a:lnTo>
                    <a:pt x="106451" y="6101"/>
                  </a:lnTo>
                  <a:lnTo>
                    <a:pt x="110322" y="0"/>
                  </a:lnTo>
                  <a:close/>
                  <a:moveTo>
                    <a:pt x="19354" y="91525"/>
                  </a:moveTo>
                  <a:lnTo>
                    <a:pt x="13548" y="95593"/>
                  </a:lnTo>
                  <a:lnTo>
                    <a:pt x="9677" y="95593"/>
                  </a:lnTo>
                  <a:lnTo>
                    <a:pt x="5806" y="91525"/>
                  </a:lnTo>
                  <a:lnTo>
                    <a:pt x="0" y="91525"/>
                  </a:lnTo>
                  <a:lnTo>
                    <a:pt x="0" y="91525"/>
                  </a:lnTo>
                  <a:lnTo>
                    <a:pt x="0" y="95593"/>
                  </a:lnTo>
                  <a:lnTo>
                    <a:pt x="0" y="95593"/>
                  </a:lnTo>
                  <a:lnTo>
                    <a:pt x="0" y="101694"/>
                  </a:lnTo>
                  <a:lnTo>
                    <a:pt x="5806" y="101694"/>
                  </a:lnTo>
                  <a:lnTo>
                    <a:pt x="5806" y="95593"/>
                  </a:lnTo>
                  <a:lnTo>
                    <a:pt x="5806" y="95593"/>
                  </a:lnTo>
                  <a:lnTo>
                    <a:pt x="9677" y="95593"/>
                  </a:lnTo>
                  <a:lnTo>
                    <a:pt x="13548" y="101694"/>
                  </a:lnTo>
                  <a:lnTo>
                    <a:pt x="13548" y="101694"/>
                  </a:lnTo>
                  <a:lnTo>
                    <a:pt x="13548" y="101694"/>
                  </a:lnTo>
                  <a:lnTo>
                    <a:pt x="19354" y="101694"/>
                  </a:lnTo>
                  <a:lnTo>
                    <a:pt x="19354" y="101694"/>
                  </a:lnTo>
                  <a:lnTo>
                    <a:pt x="23225" y="95593"/>
                  </a:lnTo>
                  <a:lnTo>
                    <a:pt x="29032" y="95593"/>
                  </a:lnTo>
                  <a:lnTo>
                    <a:pt x="29032" y="91525"/>
                  </a:lnTo>
                  <a:lnTo>
                    <a:pt x="23225" y="95593"/>
                  </a:lnTo>
                  <a:lnTo>
                    <a:pt x="19354" y="91525"/>
                  </a:lnTo>
                  <a:close/>
                  <a:moveTo>
                    <a:pt x="56129" y="14237"/>
                  </a:moveTo>
                  <a:lnTo>
                    <a:pt x="56129" y="14237"/>
                  </a:lnTo>
                  <a:lnTo>
                    <a:pt x="50322" y="14237"/>
                  </a:lnTo>
                  <a:lnTo>
                    <a:pt x="50322" y="20338"/>
                  </a:lnTo>
                  <a:lnTo>
                    <a:pt x="56129" y="14237"/>
                  </a:lnTo>
                  <a:close/>
                  <a:moveTo>
                    <a:pt x="114193" y="14237"/>
                  </a:moveTo>
                  <a:lnTo>
                    <a:pt x="114193" y="14237"/>
                  </a:lnTo>
                  <a:lnTo>
                    <a:pt x="110322" y="10169"/>
                  </a:lnTo>
                  <a:lnTo>
                    <a:pt x="110322" y="10169"/>
                  </a:lnTo>
                  <a:lnTo>
                    <a:pt x="100645" y="10169"/>
                  </a:lnTo>
                  <a:lnTo>
                    <a:pt x="96774" y="10169"/>
                  </a:lnTo>
                  <a:lnTo>
                    <a:pt x="87096" y="10169"/>
                  </a:lnTo>
                  <a:lnTo>
                    <a:pt x="77419" y="10169"/>
                  </a:lnTo>
                  <a:lnTo>
                    <a:pt x="69677" y="14237"/>
                  </a:lnTo>
                  <a:lnTo>
                    <a:pt x="69677" y="20338"/>
                  </a:lnTo>
                  <a:lnTo>
                    <a:pt x="63870" y="24406"/>
                  </a:lnTo>
                  <a:lnTo>
                    <a:pt x="56129" y="28474"/>
                  </a:lnTo>
                  <a:lnTo>
                    <a:pt x="50322" y="28474"/>
                  </a:lnTo>
                  <a:lnTo>
                    <a:pt x="46451" y="28474"/>
                  </a:lnTo>
                  <a:lnTo>
                    <a:pt x="46451" y="28474"/>
                  </a:lnTo>
                  <a:lnTo>
                    <a:pt x="46451" y="34576"/>
                  </a:lnTo>
                  <a:lnTo>
                    <a:pt x="42580" y="34576"/>
                  </a:lnTo>
                  <a:lnTo>
                    <a:pt x="36774" y="48813"/>
                  </a:lnTo>
                  <a:lnTo>
                    <a:pt x="36774" y="52881"/>
                  </a:lnTo>
                  <a:lnTo>
                    <a:pt x="32903" y="58983"/>
                  </a:lnTo>
                  <a:lnTo>
                    <a:pt x="29032" y="67118"/>
                  </a:lnTo>
                  <a:lnTo>
                    <a:pt x="23225" y="67118"/>
                  </a:lnTo>
                  <a:lnTo>
                    <a:pt x="23225" y="67118"/>
                  </a:lnTo>
                  <a:lnTo>
                    <a:pt x="23225" y="73220"/>
                  </a:lnTo>
                  <a:lnTo>
                    <a:pt x="19354" y="73220"/>
                  </a:lnTo>
                  <a:lnTo>
                    <a:pt x="19354" y="77288"/>
                  </a:lnTo>
                  <a:lnTo>
                    <a:pt x="23225" y="81355"/>
                  </a:lnTo>
                  <a:lnTo>
                    <a:pt x="23225" y="81355"/>
                  </a:lnTo>
                  <a:lnTo>
                    <a:pt x="29032" y="81355"/>
                  </a:lnTo>
                  <a:lnTo>
                    <a:pt x="19354" y="87457"/>
                  </a:lnTo>
                  <a:lnTo>
                    <a:pt x="23225" y="87457"/>
                  </a:lnTo>
                  <a:lnTo>
                    <a:pt x="29032" y="87457"/>
                  </a:lnTo>
                  <a:lnTo>
                    <a:pt x="29032" y="87457"/>
                  </a:lnTo>
                  <a:lnTo>
                    <a:pt x="29032" y="91525"/>
                  </a:lnTo>
                  <a:lnTo>
                    <a:pt x="29032" y="91525"/>
                  </a:lnTo>
                  <a:lnTo>
                    <a:pt x="23225" y="91525"/>
                  </a:lnTo>
                  <a:lnTo>
                    <a:pt x="19354" y="87457"/>
                  </a:lnTo>
                  <a:lnTo>
                    <a:pt x="13548" y="87457"/>
                  </a:lnTo>
                  <a:lnTo>
                    <a:pt x="5806" y="87457"/>
                  </a:lnTo>
                  <a:lnTo>
                    <a:pt x="5806" y="87457"/>
                  </a:lnTo>
                  <a:lnTo>
                    <a:pt x="5806" y="87457"/>
                  </a:lnTo>
                  <a:lnTo>
                    <a:pt x="5806" y="91525"/>
                  </a:lnTo>
                  <a:lnTo>
                    <a:pt x="5806" y="91525"/>
                  </a:lnTo>
                  <a:lnTo>
                    <a:pt x="9677" y="91525"/>
                  </a:lnTo>
                  <a:lnTo>
                    <a:pt x="13548" y="91525"/>
                  </a:lnTo>
                  <a:lnTo>
                    <a:pt x="19354" y="91525"/>
                  </a:lnTo>
                  <a:lnTo>
                    <a:pt x="23225" y="91525"/>
                  </a:lnTo>
                  <a:lnTo>
                    <a:pt x="29032" y="91525"/>
                  </a:lnTo>
                  <a:lnTo>
                    <a:pt x="29032" y="95593"/>
                  </a:lnTo>
                  <a:lnTo>
                    <a:pt x="32903" y="95593"/>
                  </a:lnTo>
                  <a:lnTo>
                    <a:pt x="32903" y="95593"/>
                  </a:lnTo>
                  <a:lnTo>
                    <a:pt x="32903" y="91525"/>
                  </a:lnTo>
                  <a:lnTo>
                    <a:pt x="32903" y="91525"/>
                  </a:lnTo>
                  <a:lnTo>
                    <a:pt x="36774" y="91525"/>
                  </a:lnTo>
                  <a:lnTo>
                    <a:pt x="36774" y="91525"/>
                  </a:lnTo>
                  <a:lnTo>
                    <a:pt x="36774" y="91525"/>
                  </a:lnTo>
                  <a:lnTo>
                    <a:pt x="42580" y="91525"/>
                  </a:lnTo>
                  <a:lnTo>
                    <a:pt x="42580" y="87457"/>
                  </a:lnTo>
                  <a:lnTo>
                    <a:pt x="46451" y="91525"/>
                  </a:lnTo>
                  <a:lnTo>
                    <a:pt x="46451" y="91525"/>
                  </a:lnTo>
                  <a:lnTo>
                    <a:pt x="46451" y="91525"/>
                  </a:lnTo>
                  <a:lnTo>
                    <a:pt x="46451" y="91525"/>
                  </a:lnTo>
                  <a:lnTo>
                    <a:pt x="46451" y="91525"/>
                  </a:lnTo>
                  <a:lnTo>
                    <a:pt x="50322" y="91525"/>
                  </a:lnTo>
                  <a:lnTo>
                    <a:pt x="50322" y="91525"/>
                  </a:lnTo>
                  <a:lnTo>
                    <a:pt x="50322" y="91525"/>
                  </a:lnTo>
                  <a:lnTo>
                    <a:pt x="50322" y="91525"/>
                  </a:lnTo>
                  <a:lnTo>
                    <a:pt x="56129" y="91525"/>
                  </a:lnTo>
                  <a:lnTo>
                    <a:pt x="56129" y="95593"/>
                  </a:lnTo>
                  <a:lnTo>
                    <a:pt x="56129" y="95593"/>
                  </a:lnTo>
                  <a:lnTo>
                    <a:pt x="60000" y="95593"/>
                  </a:lnTo>
                  <a:lnTo>
                    <a:pt x="63870" y="95593"/>
                  </a:lnTo>
                  <a:lnTo>
                    <a:pt x="63870" y="95593"/>
                  </a:lnTo>
                  <a:lnTo>
                    <a:pt x="63870" y="95593"/>
                  </a:lnTo>
                  <a:lnTo>
                    <a:pt x="69677" y="101694"/>
                  </a:lnTo>
                  <a:lnTo>
                    <a:pt x="69677" y="101694"/>
                  </a:lnTo>
                  <a:lnTo>
                    <a:pt x="73548" y="101694"/>
                  </a:lnTo>
                  <a:lnTo>
                    <a:pt x="73548" y="101694"/>
                  </a:lnTo>
                  <a:lnTo>
                    <a:pt x="77419" y="105762"/>
                  </a:lnTo>
                  <a:lnTo>
                    <a:pt x="77419" y="105762"/>
                  </a:lnTo>
                  <a:lnTo>
                    <a:pt x="73548" y="111864"/>
                  </a:lnTo>
                  <a:lnTo>
                    <a:pt x="73548" y="111864"/>
                  </a:lnTo>
                  <a:lnTo>
                    <a:pt x="73548" y="111864"/>
                  </a:lnTo>
                  <a:lnTo>
                    <a:pt x="73548" y="111864"/>
                  </a:lnTo>
                  <a:lnTo>
                    <a:pt x="69677" y="115932"/>
                  </a:lnTo>
                  <a:lnTo>
                    <a:pt x="69677" y="115932"/>
                  </a:lnTo>
                  <a:lnTo>
                    <a:pt x="69677" y="115932"/>
                  </a:lnTo>
                  <a:lnTo>
                    <a:pt x="73548" y="120000"/>
                  </a:lnTo>
                  <a:lnTo>
                    <a:pt x="73548" y="120000"/>
                  </a:lnTo>
                  <a:lnTo>
                    <a:pt x="73548" y="120000"/>
                  </a:lnTo>
                  <a:lnTo>
                    <a:pt x="73548" y="120000"/>
                  </a:lnTo>
                  <a:lnTo>
                    <a:pt x="83225" y="120000"/>
                  </a:lnTo>
                  <a:lnTo>
                    <a:pt x="83225" y="115932"/>
                  </a:lnTo>
                  <a:lnTo>
                    <a:pt x="83225" y="111864"/>
                  </a:lnTo>
                  <a:lnTo>
                    <a:pt x="77419" y="111864"/>
                  </a:lnTo>
                  <a:lnTo>
                    <a:pt x="77419" y="111864"/>
                  </a:lnTo>
                  <a:lnTo>
                    <a:pt x="77419" y="111864"/>
                  </a:lnTo>
                  <a:lnTo>
                    <a:pt x="77419" y="105762"/>
                  </a:lnTo>
                  <a:lnTo>
                    <a:pt x="77419" y="105762"/>
                  </a:lnTo>
                  <a:lnTo>
                    <a:pt x="77419" y="105762"/>
                  </a:lnTo>
                  <a:lnTo>
                    <a:pt x="77419" y="105762"/>
                  </a:lnTo>
                  <a:lnTo>
                    <a:pt x="87096" y="101694"/>
                  </a:lnTo>
                  <a:lnTo>
                    <a:pt x="87096" y="101694"/>
                  </a:lnTo>
                  <a:lnTo>
                    <a:pt x="87096" y="101694"/>
                  </a:lnTo>
                  <a:lnTo>
                    <a:pt x="83225" y="101694"/>
                  </a:lnTo>
                  <a:lnTo>
                    <a:pt x="83225" y="101694"/>
                  </a:lnTo>
                  <a:lnTo>
                    <a:pt x="83225" y="101694"/>
                  </a:lnTo>
                  <a:lnTo>
                    <a:pt x="87096" y="95593"/>
                  </a:lnTo>
                  <a:lnTo>
                    <a:pt x="87096" y="91525"/>
                  </a:lnTo>
                  <a:lnTo>
                    <a:pt x="87096" y="91525"/>
                  </a:lnTo>
                  <a:lnTo>
                    <a:pt x="87096" y="87457"/>
                  </a:lnTo>
                  <a:lnTo>
                    <a:pt x="87096" y="87457"/>
                  </a:lnTo>
                  <a:lnTo>
                    <a:pt x="83225" y="87457"/>
                  </a:lnTo>
                  <a:lnTo>
                    <a:pt x="83225" y="81355"/>
                  </a:lnTo>
                  <a:lnTo>
                    <a:pt x="83225" y="81355"/>
                  </a:lnTo>
                  <a:lnTo>
                    <a:pt x="83225" y="77288"/>
                  </a:lnTo>
                  <a:lnTo>
                    <a:pt x="83225" y="77288"/>
                  </a:lnTo>
                  <a:lnTo>
                    <a:pt x="83225" y="77288"/>
                  </a:lnTo>
                  <a:lnTo>
                    <a:pt x="87096" y="73220"/>
                  </a:lnTo>
                  <a:lnTo>
                    <a:pt x="87096" y="73220"/>
                  </a:lnTo>
                  <a:lnTo>
                    <a:pt x="87096" y="73220"/>
                  </a:lnTo>
                  <a:lnTo>
                    <a:pt x="92903" y="73220"/>
                  </a:lnTo>
                  <a:lnTo>
                    <a:pt x="92903" y="77288"/>
                  </a:lnTo>
                  <a:lnTo>
                    <a:pt x="92903" y="77288"/>
                  </a:lnTo>
                  <a:lnTo>
                    <a:pt x="96774" y="73220"/>
                  </a:lnTo>
                  <a:lnTo>
                    <a:pt x="96774" y="73220"/>
                  </a:lnTo>
                  <a:lnTo>
                    <a:pt x="106451" y="73220"/>
                  </a:lnTo>
                  <a:lnTo>
                    <a:pt x="106451" y="73220"/>
                  </a:lnTo>
                  <a:lnTo>
                    <a:pt x="106451" y="67118"/>
                  </a:lnTo>
                  <a:lnTo>
                    <a:pt x="106451" y="67118"/>
                  </a:lnTo>
                  <a:lnTo>
                    <a:pt x="106451" y="67118"/>
                  </a:lnTo>
                  <a:lnTo>
                    <a:pt x="106451" y="67118"/>
                  </a:lnTo>
                  <a:lnTo>
                    <a:pt x="106451" y="63050"/>
                  </a:lnTo>
                  <a:lnTo>
                    <a:pt x="106451" y="63050"/>
                  </a:lnTo>
                  <a:lnTo>
                    <a:pt x="106451" y="63050"/>
                  </a:lnTo>
                  <a:lnTo>
                    <a:pt x="110322" y="63050"/>
                  </a:lnTo>
                  <a:lnTo>
                    <a:pt x="114193" y="58983"/>
                  </a:lnTo>
                  <a:lnTo>
                    <a:pt x="114193" y="58983"/>
                  </a:lnTo>
                  <a:lnTo>
                    <a:pt x="114193" y="52881"/>
                  </a:lnTo>
                  <a:lnTo>
                    <a:pt x="114193" y="52881"/>
                  </a:lnTo>
                  <a:lnTo>
                    <a:pt x="114193" y="52881"/>
                  </a:lnTo>
                  <a:lnTo>
                    <a:pt x="114193" y="48813"/>
                  </a:lnTo>
                  <a:lnTo>
                    <a:pt x="110322" y="48813"/>
                  </a:lnTo>
                  <a:lnTo>
                    <a:pt x="110322" y="48813"/>
                  </a:lnTo>
                  <a:lnTo>
                    <a:pt x="106451" y="48813"/>
                  </a:lnTo>
                  <a:lnTo>
                    <a:pt x="106451" y="48813"/>
                  </a:lnTo>
                  <a:lnTo>
                    <a:pt x="106451" y="48813"/>
                  </a:lnTo>
                  <a:lnTo>
                    <a:pt x="106451" y="42711"/>
                  </a:lnTo>
                  <a:lnTo>
                    <a:pt x="106451" y="42711"/>
                  </a:lnTo>
                  <a:lnTo>
                    <a:pt x="106451" y="42711"/>
                  </a:lnTo>
                  <a:lnTo>
                    <a:pt x="106451" y="42711"/>
                  </a:lnTo>
                  <a:lnTo>
                    <a:pt x="106451" y="42711"/>
                  </a:lnTo>
                  <a:lnTo>
                    <a:pt x="114193" y="42711"/>
                  </a:lnTo>
                  <a:lnTo>
                    <a:pt x="114193" y="42711"/>
                  </a:lnTo>
                  <a:lnTo>
                    <a:pt x="114193" y="38644"/>
                  </a:lnTo>
                  <a:lnTo>
                    <a:pt x="120000" y="34576"/>
                  </a:lnTo>
                  <a:lnTo>
                    <a:pt x="120000" y="28474"/>
                  </a:lnTo>
                  <a:lnTo>
                    <a:pt x="120000" y="28474"/>
                  </a:lnTo>
                  <a:lnTo>
                    <a:pt x="120000" y="20338"/>
                  </a:lnTo>
                  <a:lnTo>
                    <a:pt x="120000" y="14237"/>
                  </a:lnTo>
                  <a:lnTo>
                    <a:pt x="114193" y="14237"/>
                  </a:lnTo>
                  <a:close/>
                  <a:moveTo>
                    <a:pt x="13548" y="81355"/>
                  </a:moveTo>
                  <a:lnTo>
                    <a:pt x="19354" y="81355"/>
                  </a:lnTo>
                  <a:lnTo>
                    <a:pt x="23225" y="81355"/>
                  </a:lnTo>
                  <a:lnTo>
                    <a:pt x="23225" y="81355"/>
                  </a:lnTo>
                  <a:lnTo>
                    <a:pt x="23225" y="81355"/>
                  </a:lnTo>
                  <a:lnTo>
                    <a:pt x="19354" y="77288"/>
                  </a:lnTo>
                  <a:lnTo>
                    <a:pt x="13548" y="77288"/>
                  </a:lnTo>
                  <a:lnTo>
                    <a:pt x="9677" y="77288"/>
                  </a:lnTo>
                  <a:lnTo>
                    <a:pt x="9677" y="81355"/>
                  </a:lnTo>
                  <a:lnTo>
                    <a:pt x="13548" y="81355"/>
                  </a:lnTo>
                  <a:lnTo>
                    <a:pt x="13548" y="81355"/>
                  </a:lnTo>
                  <a:close/>
                  <a:moveTo>
                    <a:pt x="46451" y="28474"/>
                  </a:moveTo>
                  <a:lnTo>
                    <a:pt x="50322" y="24406"/>
                  </a:lnTo>
                  <a:lnTo>
                    <a:pt x="50322" y="20338"/>
                  </a:lnTo>
                  <a:lnTo>
                    <a:pt x="46451" y="24406"/>
                  </a:lnTo>
                  <a:lnTo>
                    <a:pt x="46451" y="24406"/>
                  </a:lnTo>
                  <a:lnTo>
                    <a:pt x="46451" y="24406"/>
                  </a:lnTo>
                  <a:lnTo>
                    <a:pt x="46451" y="28474"/>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21" name="Shape 421"/>
            <p:cNvSpPr/>
            <p:nvPr/>
          </p:nvSpPr>
          <p:spPr>
            <a:xfrm>
              <a:off x="5093" y="2167"/>
              <a:ext cx="300" cy="0"/>
            </a:xfrm>
            <a:custGeom>
              <a:avLst/>
              <a:gdLst/>
              <a:ahLst/>
              <a:cxnLst/>
              <a:rect l="0" t="0" r="0" b="0"/>
              <a:pathLst>
                <a:path w="120000" h="120000" extrusionOk="0">
                  <a:moveTo>
                    <a:pt x="118451" y="107294"/>
                  </a:moveTo>
                  <a:lnTo>
                    <a:pt x="118451" y="103058"/>
                  </a:lnTo>
                  <a:lnTo>
                    <a:pt x="116903" y="96000"/>
                  </a:lnTo>
                  <a:lnTo>
                    <a:pt x="116903" y="96000"/>
                  </a:lnTo>
                  <a:lnTo>
                    <a:pt x="114580" y="86117"/>
                  </a:lnTo>
                  <a:lnTo>
                    <a:pt x="116903" y="83294"/>
                  </a:lnTo>
                  <a:lnTo>
                    <a:pt x="116903" y="80470"/>
                  </a:lnTo>
                  <a:lnTo>
                    <a:pt x="116903" y="76235"/>
                  </a:lnTo>
                  <a:lnTo>
                    <a:pt x="116903" y="76235"/>
                  </a:lnTo>
                  <a:lnTo>
                    <a:pt x="116903" y="73411"/>
                  </a:lnTo>
                  <a:lnTo>
                    <a:pt x="114580" y="73411"/>
                  </a:lnTo>
                  <a:lnTo>
                    <a:pt x="114580" y="73411"/>
                  </a:lnTo>
                  <a:lnTo>
                    <a:pt x="113032" y="73411"/>
                  </a:lnTo>
                  <a:lnTo>
                    <a:pt x="111483" y="73411"/>
                  </a:lnTo>
                  <a:lnTo>
                    <a:pt x="109161" y="76235"/>
                  </a:lnTo>
                  <a:lnTo>
                    <a:pt x="109161" y="76235"/>
                  </a:lnTo>
                  <a:lnTo>
                    <a:pt x="107612" y="76235"/>
                  </a:lnTo>
                  <a:lnTo>
                    <a:pt x="107612" y="76235"/>
                  </a:lnTo>
                  <a:lnTo>
                    <a:pt x="103741" y="76235"/>
                  </a:lnTo>
                  <a:lnTo>
                    <a:pt x="102193" y="73411"/>
                  </a:lnTo>
                  <a:lnTo>
                    <a:pt x="100645" y="73411"/>
                  </a:lnTo>
                  <a:lnTo>
                    <a:pt x="98322" y="70588"/>
                  </a:lnTo>
                  <a:lnTo>
                    <a:pt x="98322" y="70588"/>
                  </a:lnTo>
                  <a:lnTo>
                    <a:pt x="96774" y="70588"/>
                  </a:lnTo>
                  <a:lnTo>
                    <a:pt x="94451" y="66352"/>
                  </a:lnTo>
                  <a:lnTo>
                    <a:pt x="94451" y="66352"/>
                  </a:lnTo>
                  <a:lnTo>
                    <a:pt x="94451" y="66352"/>
                  </a:lnTo>
                  <a:lnTo>
                    <a:pt x="92903" y="66352"/>
                  </a:lnTo>
                  <a:lnTo>
                    <a:pt x="92903" y="70588"/>
                  </a:lnTo>
                  <a:lnTo>
                    <a:pt x="92903" y="73411"/>
                  </a:lnTo>
                  <a:lnTo>
                    <a:pt x="91354" y="73411"/>
                  </a:lnTo>
                  <a:lnTo>
                    <a:pt x="91354" y="70588"/>
                  </a:lnTo>
                  <a:lnTo>
                    <a:pt x="89032" y="70588"/>
                  </a:lnTo>
                  <a:lnTo>
                    <a:pt x="87483" y="66352"/>
                  </a:lnTo>
                  <a:lnTo>
                    <a:pt x="87483" y="66352"/>
                  </a:lnTo>
                  <a:lnTo>
                    <a:pt x="87483" y="66352"/>
                  </a:lnTo>
                  <a:lnTo>
                    <a:pt x="87483" y="70588"/>
                  </a:lnTo>
                  <a:lnTo>
                    <a:pt x="87483" y="73411"/>
                  </a:lnTo>
                  <a:lnTo>
                    <a:pt x="85935" y="73411"/>
                  </a:lnTo>
                  <a:lnTo>
                    <a:pt x="85935" y="73411"/>
                  </a:lnTo>
                  <a:lnTo>
                    <a:pt x="85935" y="70588"/>
                  </a:lnTo>
                  <a:lnTo>
                    <a:pt x="83612" y="66352"/>
                  </a:lnTo>
                  <a:lnTo>
                    <a:pt x="82064" y="63529"/>
                  </a:lnTo>
                  <a:lnTo>
                    <a:pt x="80516" y="63529"/>
                  </a:lnTo>
                  <a:lnTo>
                    <a:pt x="76645" y="63529"/>
                  </a:lnTo>
                  <a:lnTo>
                    <a:pt x="75096" y="59294"/>
                  </a:lnTo>
                  <a:lnTo>
                    <a:pt x="72774" y="59294"/>
                  </a:lnTo>
                  <a:lnTo>
                    <a:pt x="72774" y="59294"/>
                  </a:lnTo>
                  <a:lnTo>
                    <a:pt x="72774" y="56470"/>
                  </a:lnTo>
                  <a:lnTo>
                    <a:pt x="72774" y="53647"/>
                  </a:lnTo>
                  <a:lnTo>
                    <a:pt x="72774" y="53647"/>
                  </a:lnTo>
                  <a:lnTo>
                    <a:pt x="71225" y="53647"/>
                  </a:lnTo>
                  <a:lnTo>
                    <a:pt x="71225" y="53647"/>
                  </a:lnTo>
                  <a:lnTo>
                    <a:pt x="68903" y="53647"/>
                  </a:lnTo>
                  <a:lnTo>
                    <a:pt x="67354" y="53647"/>
                  </a:lnTo>
                  <a:lnTo>
                    <a:pt x="67354" y="53647"/>
                  </a:lnTo>
                  <a:lnTo>
                    <a:pt x="65806" y="53647"/>
                  </a:lnTo>
                  <a:lnTo>
                    <a:pt x="65806" y="49411"/>
                  </a:lnTo>
                  <a:lnTo>
                    <a:pt x="65806" y="49411"/>
                  </a:lnTo>
                  <a:lnTo>
                    <a:pt x="61935" y="46588"/>
                  </a:lnTo>
                  <a:lnTo>
                    <a:pt x="61935" y="46588"/>
                  </a:lnTo>
                  <a:lnTo>
                    <a:pt x="60387" y="43764"/>
                  </a:lnTo>
                  <a:lnTo>
                    <a:pt x="58064" y="43764"/>
                  </a:lnTo>
                  <a:lnTo>
                    <a:pt x="58064" y="39529"/>
                  </a:lnTo>
                  <a:lnTo>
                    <a:pt x="56516" y="36705"/>
                  </a:lnTo>
                  <a:lnTo>
                    <a:pt x="56516" y="33882"/>
                  </a:lnTo>
                  <a:lnTo>
                    <a:pt x="54967" y="33882"/>
                  </a:lnTo>
                  <a:lnTo>
                    <a:pt x="52645" y="33882"/>
                  </a:lnTo>
                  <a:lnTo>
                    <a:pt x="51096" y="33882"/>
                  </a:lnTo>
                  <a:lnTo>
                    <a:pt x="49548" y="33882"/>
                  </a:lnTo>
                  <a:lnTo>
                    <a:pt x="49548" y="33882"/>
                  </a:lnTo>
                  <a:lnTo>
                    <a:pt x="47225" y="29647"/>
                  </a:lnTo>
                  <a:lnTo>
                    <a:pt x="45677" y="26823"/>
                  </a:lnTo>
                  <a:lnTo>
                    <a:pt x="43354" y="22588"/>
                  </a:lnTo>
                  <a:lnTo>
                    <a:pt x="41806" y="22588"/>
                  </a:lnTo>
                  <a:lnTo>
                    <a:pt x="40258" y="22588"/>
                  </a:lnTo>
                  <a:lnTo>
                    <a:pt x="36387" y="19764"/>
                  </a:lnTo>
                  <a:lnTo>
                    <a:pt x="34838" y="16941"/>
                  </a:lnTo>
                  <a:lnTo>
                    <a:pt x="30967" y="12705"/>
                  </a:lnTo>
                  <a:lnTo>
                    <a:pt x="27096" y="9882"/>
                  </a:lnTo>
                  <a:lnTo>
                    <a:pt x="25548" y="7058"/>
                  </a:lnTo>
                  <a:lnTo>
                    <a:pt x="25548" y="7058"/>
                  </a:lnTo>
                  <a:lnTo>
                    <a:pt x="25548" y="2823"/>
                  </a:lnTo>
                  <a:lnTo>
                    <a:pt x="24000" y="0"/>
                  </a:lnTo>
                  <a:lnTo>
                    <a:pt x="21677" y="0"/>
                  </a:lnTo>
                  <a:lnTo>
                    <a:pt x="18580" y="0"/>
                  </a:lnTo>
                  <a:lnTo>
                    <a:pt x="14709" y="0"/>
                  </a:lnTo>
                  <a:lnTo>
                    <a:pt x="14709" y="7058"/>
                  </a:lnTo>
                  <a:lnTo>
                    <a:pt x="12387" y="9882"/>
                  </a:lnTo>
                  <a:lnTo>
                    <a:pt x="12387" y="9882"/>
                  </a:lnTo>
                  <a:lnTo>
                    <a:pt x="10838" y="7058"/>
                  </a:lnTo>
                  <a:lnTo>
                    <a:pt x="10838" y="7058"/>
                  </a:lnTo>
                  <a:lnTo>
                    <a:pt x="9290" y="7058"/>
                  </a:lnTo>
                  <a:lnTo>
                    <a:pt x="9290" y="7058"/>
                  </a:lnTo>
                  <a:lnTo>
                    <a:pt x="6967" y="7058"/>
                  </a:lnTo>
                  <a:lnTo>
                    <a:pt x="6967" y="7058"/>
                  </a:lnTo>
                  <a:lnTo>
                    <a:pt x="5419" y="9882"/>
                  </a:lnTo>
                  <a:lnTo>
                    <a:pt x="5419" y="12705"/>
                  </a:lnTo>
                  <a:lnTo>
                    <a:pt x="5419" y="12705"/>
                  </a:lnTo>
                  <a:lnTo>
                    <a:pt x="3870" y="19764"/>
                  </a:lnTo>
                  <a:lnTo>
                    <a:pt x="1548" y="22588"/>
                  </a:lnTo>
                  <a:lnTo>
                    <a:pt x="1548" y="26823"/>
                  </a:lnTo>
                  <a:lnTo>
                    <a:pt x="1548" y="29647"/>
                  </a:lnTo>
                  <a:lnTo>
                    <a:pt x="1548" y="33882"/>
                  </a:lnTo>
                  <a:lnTo>
                    <a:pt x="1548" y="36705"/>
                  </a:lnTo>
                  <a:lnTo>
                    <a:pt x="1548" y="36705"/>
                  </a:lnTo>
                  <a:lnTo>
                    <a:pt x="1548" y="39529"/>
                  </a:lnTo>
                  <a:lnTo>
                    <a:pt x="0" y="43764"/>
                  </a:lnTo>
                  <a:lnTo>
                    <a:pt x="1548" y="46588"/>
                  </a:lnTo>
                  <a:lnTo>
                    <a:pt x="1548" y="46588"/>
                  </a:lnTo>
                  <a:lnTo>
                    <a:pt x="3870" y="49411"/>
                  </a:lnTo>
                  <a:lnTo>
                    <a:pt x="5419" y="49411"/>
                  </a:lnTo>
                  <a:lnTo>
                    <a:pt x="6967" y="53647"/>
                  </a:lnTo>
                  <a:lnTo>
                    <a:pt x="6967" y="53647"/>
                  </a:lnTo>
                  <a:lnTo>
                    <a:pt x="6967" y="49411"/>
                  </a:lnTo>
                  <a:lnTo>
                    <a:pt x="6967" y="49411"/>
                  </a:lnTo>
                  <a:lnTo>
                    <a:pt x="9290" y="49411"/>
                  </a:lnTo>
                  <a:lnTo>
                    <a:pt x="10838" y="53647"/>
                  </a:lnTo>
                  <a:lnTo>
                    <a:pt x="10838" y="53647"/>
                  </a:lnTo>
                  <a:lnTo>
                    <a:pt x="10838" y="53647"/>
                  </a:lnTo>
                  <a:lnTo>
                    <a:pt x="14709" y="56470"/>
                  </a:lnTo>
                  <a:lnTo>
                    <a:pt x="16258" y="56470"/>
                  </a:lnTo>
                  <a:lnTo>
                    <a:pt x="18580" y="59294"/>
                  </a:lnTo>
                  <a:lnTo>
                    <a:pt x="18580" y="59294"/>
                  </a:lnTo>
                  <a:lnTo>
                    <a:pt x="18580" y="63529"/>
                  </a:lnTo>
                  <a:lnTo>
                    <a:pt x="20129" y="63529"/>
                  </a:lnTo>
                  <a:lnTo>
                    <a:pt x="24000" y="66352"/>
                  </a:lnTo>
                  <a:lnTo>
                    <a:pt x="25548" y="70588"/>
                  </a:lnTo>
                  <a:lnTo>
                    <a:pt x="27096" y="73411"/>
                  </a:lnTo>
                  <a:lnTo>
                    <a:pt x="29419" y="73411"/>
                  </a:lnTo>
                  <a:lnTo>
                    <a:pt x="29419" y="73411"/>
                  </a:lnTo>
                  <a:lnTo>
                    <a:pt x="29419" y="73411"/>
                  </a:lnTo>
                  <a:lnTo>
                    <a:pt x="30967" y="73411"/>
                  </a:lnTo>
                  <a:lnTo>
                    <a:pt x="30967" y="73411"/>
                  </a:lnTo>
                  <a:lnTo>
                    <a:pt x="32516" y="73411"/>
                  </a:lnTo>
                  <a:lnTo>
                    <a:pt x="34838" y="76235"/>
                  </a:lnTo>
                  <a:lnTo>
                    <a:pt x="37935" y="80470"/>
                  </a:lnTo>
                  <a:lnTo>
                    <a:pt x="40258" y="80470"/>
                  </a:lnTo>
                  <a:lnTo>
                    <a:pt x="40258" y="80470"/>
                  </a:lnTo>
                  <a:lnTo>
                    <a:pt x="41806" y="83294"/>
                  </a:lnTo>
                  <a:lnTo>
                    <a:pt x="41806" y="83294"/>
                  </a:lnTo>
                  <a:lnTo>
                    <a:pt x="45677" y="86117"/>
                  </a:lnTo>
                  <a:lnTo>
                    <a:pt x="47225" y="86117"/>
                  </a:lnTo>
                  <a:lnTo>
                    <a:pt x="49548" y="86117"/>
                  </a:lnTo>
                  <a:lnTo>
                    <a:pt x="49548" y="90352"/>
                  </a:lnTo>
                  <a:lnTo>
                    <a:pt x="51096" y="86117"/>
                  </a:lnTo>
                  <a:lnTo>
                    <a:pt x="51096" y="86117"/>
                  </a:lnTo>
                  <a:lnTo>
                    <a:pt x="51096" y="86117"/>
                  </a:lnTo>
                  <a:lnTo>
                    <a:pt x="52645" y="86117"/>
                  </a:lnTo>
                  <a:lnTo>
                    <a:pt x="56516" y="86117"/>
                  </a:lnTo>
                  <a:lnTo>
                    <a:pt x="58064" y="90352"/>
                  </a:lnTo>
                  <a:lnTo>
                    <a:pt x="58064" y="86117"/>
                  </a:lnTo>
                  <a:lnTo>
                    <a:pt x="60387" y="86117"/>
                  </a:lnTo>
                  <a:lnTo>
                    <a:pt x="60387" y="86117"/>
                  </a:lnTo>
                  <a:lnTo>
                    <a:pt x="63483" y="86117"/>
                  </a:lnTo>
                  <a:lnTo>
                    <a:pt x="67354" y="90352"/>
                  </a:lnTo>
                  <a:lnTo>
                    <a:pt x="68903" y="90352"/>
                  </a:lnTo>
                  <a:lnTo>
                    <a:pt x="68903" y="93176"/>
                  </a:lnTo>
                  <a:lnTo>
                    <a:pt x="68903" y="93176"/>
                  </a:lnTo>
                  <a:lnTo>
                    <a:pt x="68903" y="96000"/>
                  </a:lnTo>
                  <a:lnTo>
                    <a:pt x="71225" y="100235"/>
                  </a:lnTo>
                  <a:lnTo>
                    <a:pt x="75096" y="103058"/>
                  </a:lnTo>
                  <a:lnTo>
                    <a:pt x="75096" y="103058"/>
                  </a:lnTo>
                  <a:lnTo>
                    <a:pt x="76645" y="103058"/>
                  </a:lnTo>
                  <a:lnTo>
                    <a:pt x="76645" y="103058"/>
                  </a:lnTo>
                  <a:lnTo>
                    <a:pt x="76645" y="103058"/>
                  </a:lnTo>
                  <a:lnTo>
                    <a:pt x="78193" y="107294"/>
                  </a:lnTo>
                  <a:lnTo>
                    <a:pt x="78193" y="107294"/>
                  </a:lnTo>
                  <a:lnTo>
                    <a:pt x="78193" y="107294"/>
                  </a:lnTo>
                  <a:lnTo>
                    <a:pt x="80516" y="107294"/>
                  </a:lnTo>
                  <a:lnTo>
                    <a:pt x="82064" y="107294"/>
                  </a:lnTo>
                  <a:lnTo>
                    <a:pt x="83612" y="103058"/>
                  </a:lnTo>
                  <a:lnTo>
                    <a:pt x="83612" y="103058"/>
                  </a:lnTo>
                  <a:lnTo>
                    <a:pt x="85935" y="107294"/>
                  </a:lnTo>
                  <a:lnTo>
                    <a:pt x="85935" y="110117"/>
                  </a:lnTo>
                  <a:lnTo>
                    <a:pt x="85935" y="110117"/>
                  </a:lnTo>
                  <a:lnTo>
                    <a:pt x="87483" y="110117"/>
                  </a:lnTo>
                  <a:lnTo>
                    <a:pt x="87483" y="112941"/>
                  </a:lnTo>
                  <a:lnTo>
                    <a:pt x="89032" y="110117"/>
                  </a:lnTo>
                  <a:lnTo>
                    <a:pt x="91354" y="110117"/>
                  </a:lnTo>
                  <a:lnTo>
                    <a:pt x="92903" y="112941"/>
                  </a:lnTo>
                  <a:lnTo>
                    <a:pt x="94451" y="112941"/>
                  </a:lnTo>
                  <a:lnTo>
                    <a:pt x="94451" y="112941"/>
                  </a:lnTo>
                  <a:lnTo>
                    <a:pt x="98322" y="112941"/>
                  </a:lnTo>
                  <a:lnTo>
                    <a:pt x="100645" y="117176"/>
                  </a:lnTo>
                  <a:lnTo>
                    <a:pt x="100645" y="117176"/>
                  </a:lnTo>
                  <a:lnTo>
                    <a:pt x="103741" y="112941"/>
                  </a:lnTo>
                  <a:lnTo>
                    <a:pt x="103741" y="112941"/>
                  </a:lnTo>
                  <a:lnTo>
                    <a:pt x="106064" y="117176"/>
                  </a:lnTo>
                  <a:lnTo>
                    <a:pt x="106064" y="117176"/>
                  </a:lnTo>
                  <a:lnTo>
                    <a:pt x="107612" y="120000"/>
                  </a:lnTo>
                  <a:lnTo>
                    <a:pt x="109161" y="117176"/>
                  </a:lnTo>
                  <a:lnTo>
                    <a:pt x="111483" y="117176"/>
                  </a:lnTo>
                  <a:lnTo>
                    <a:pt x="113032" y="117176"/>
                  </a:lnTo>
                  <a:lnTo>
                    <a:pt x="114580" y="117176"/>
                  </a:lnTo>
                  <a:lnTo>
                    <a:pt x="116903" y="117176"/>
                  </a:lnTo>
                  <a:lnTo>
                    <a:pt x="118451" y="117176"/>
                  </a:lnTo>
                  <a:lnTo>
                    <a:pt x="118451" y="117176"/>
                  </a:lnTo>
                  <a:lnTo>
                    <a:pt x="118451" y="117176"/>
                  </a:lnTo>
                  <a:lnTo>
                    <a:pt x="118451" y="112941"/>
                  </a:lnTo>
                  <a:lnTo>
                    <a:pt x="120000" y="107294"/>
                  </a:lnTo>
                  <a:lnTo>
                    <a:pt x="118451" y="107294"/>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22" name="Shape 422"/>
            <p:cNvSpPr/>
            <p:nvPr/>
          </p:nvSpPr>
          <p:spPr>
            <a:xfrm>
              <a:off x="3870" y="3167"/>
              <a:ext cx="300" cy="300"/>
            </a:xfrm>
            <a:custGeom>
              <a:avLst/>
              <a:gdLst/>
              <a:ahLst/>
              <a:cxnLst/>
              <a:rect l="0" t="0" r="0" b="0"/>
              <a:pathLst>
                <a:path w="120000" h="120000" extrusionOk="0">
                  <a:moveTo>
                    <a:pt x="117600" y="5737"/>
                  </a:moveTo>
                  <a:lnTo>
                    <a:pt x="117600" y="5737"/>
                  </a:lnTo>
                  <a:lnTo>
                    <a:pt x="116640" y="5737"/>
                  </a:lnTo>
                  <a:lnTo>
                    <a:pt x="115200" y="4780"/>
                  </a:lnTo>
                  <a:lnTo>
                    <a:pt x="110880" y="4780"/>
                  </a:lnTo>
                  <a:lnTo>
                    <a:pt x="110880" y="4780"/>
                  </a:lnTo>
                  <a:lnTo>
                    <a:pt x="108480" y="4780"/>
                  </a:lnTo>
                  <a:lnTo>
                    <a:pt x="106080" y="5737"/>
                  </a:lnTo>
                  <a:lnTo>
                    <a:pt x="105120" y="5737"/>
                  </a:lnTo>
                  <a:lnTo>
                    <a:pt x="102720" y="6693"/>
                  </a:lnTo>
                  <a:lnTo>
                    <a:pt x="100800" y="6693"/>
                  </a:lnTo>
                  <a:lnTo>
                    <a:pt x="96000" y="8127"/>
                  </a:lnTo>
                  <a:lnTo>
                    <a:pt x="93600" y="8127"/>
                  </a:lnTo>
                  <a:lnTo>
                    <a:pt x="90240" y="9083"/>
                  </a:lnTo>
                  <a:lnTo>
                    <a:pt x="88320" y="9083"/>
                  </a:lnTo>
                  <a:lnTo>
                    <a:pt x="85920" y="10039"/>
                  </a:lnTo>
                  <a:lnTo>
                    <a:pt x="84960" y="10039"/>
                  </a:lnTo>
                  <a:lnTo>
                    <a:pt x="84960" y="9083"/>
                  </a:lnTo>
                  <a:lnTo>
                    <a:pt x="82560" y="9083"/>
                  </a:lnTo>
                  <a:lnTo>
                    <a:pt x="81120" y="10039"/>
                  </a:lnTo>
                  <a:lnTo>
                    <a:pt x="79200" y="10039"/>
                  </a:lnTo>
                  <a:lnTo>
                    <a:pt x="79200" y="10039"/>
                  </a:lnTo>
                  <a:lnTo>
                    <a:pt x="77760" y="9083"/>
                  </a:lnTo>
                  <a:lnTo>
                    <a:pt x="76800" y="9083"/>
                  </a:lnTo>
                  <a:lnTo>
                    <a:pt x="74400" y="9083"/>
                  </a:lnTo>
                  <a:lnTo>
                    <a:pt x="72480" y="9083"/>
                  </a:lnTo>
                  <a:lnTo>
                    <a:pt x="70080" y="9083"/>
                  </a:lnTo>
                  <a:lnTo>
                    <a:pt x="67680" y="8127"/>
                  </a:lnTo>
                  <a:lnTo>
                    <a:pt x="65280" y="8127"/>
                  </a:lnTo>
                  <a:lnTo>
                    <a:pt x="65280" y="8127"/>
                  </a:lnTo>
                  <a:lnTo>
                    <a:pt x="64320" y="8127"/>
                  </a:lnTo>
                  <a:lnTo>
                    <a:pt x="63360" y="8127"/>
                  </a:lnTo>
                  <a:lnTo>
                    <a:pt x="61920" y="6693"/>
                  </a:lnTo>
                  <a:lnTo>
                    <a:pt x="60960" y="5737"/>
                  </a:lnTo>
                  <a:lnTo>
                    <a:pt x="60000" y="4780"/>
                  </a:lnTo>
                  <a:lnTo>
                    <a:pt x="60000" y="4780"/>
                  </a:lnTo>
                  <a:lnTo>
                    <a:pt x="60000" y="3346"/>
                  </a:lnTo>
                  <a:lnTo>
                    <a:pt x="58560" y="3346"/>
                  </a:lnTo>
                  <a:lnTo>
                    <a:pt x="56640" y="3346"/>
                  </a:lnTo>
                  <a:lnTo>
                    <a:pt x="54240" y="3346"/>
                  </a:lnTo>
                  <a:lnTo>
                    <a:pt x="53280" y="3346"/>
                  </a:lnTo>
                  <a:lnTo>
                    <a:pt x="49440" y="3346"/>
                  </a:lnTo>
                  <a:lnTo>
                    <a:pt x="46080" y="3346"/>
                  </a:lnTo>
                  <a:lnTo>
                    <a:pt x="39360" y="3346"/>
                  </a:lnTo>
                  <a:lnTo>
                    <a:pt x="36000" y="3346"/>
                  </a:lnTo>
                  <a:lnTo>
                    <a:pt x="32640" y="3346"/>
                  </a:lnTo>
                  <a:lnTo>
                    <a:pt x="25920" y="3346"/>
                  </a:lnTo>
                  <a:lnTo>
                    <a:pt x="23520" y="3346"/>
                  </a:lnTo>
                  <a:lnTo>
                    <a:pt x="22560" y="3346"/>
                  </a:lnTo>
                  <a:lnTo>
                    <a:pt x="20160" y="3346"/>
                  </a:lnTo>
                  <a:lnTo>
                    <a:pt x="20160" y="3346"/>
                  </a:lnTo>
                  <a:lnTo>
                    <a:pt x="20160" y="3346"/>
                  </a:lnTo>
                  <a:lnTo>
                    <a:pt x="19200" y="3346"/>
                  </a:lnTo>
                  <a:lnTo>
                    <a:pt x="17760" y="2390"/>
                  </a:lnTo>
                  <a:lnTo>
                    <a:pt x="17760" y="2390"/>
                  </a:lnTo>
                  <a:lnTo>
                    <a:pt x="16800" y="956"/>
                  </a:lnTo>
                  <a:lnTo>
                    <a:pt x="15840" y="0"/>
                  </a:lnTo>
                  <a:lnTo>
                    <a:pt x="14400" y="0"/>
                  </a:lnTo>
                  <a:lnTo>
                    <a:pt x="13440" y="0"/>
                  </a:lnTo>
                  <a:lnTo>
                    <a:pt x="13440" y="0"/>
                  </a:lnTo>
                  <a:lnTo>
                    <a:pt x="12480" y="0"/>
                  </a:lnTo>
                  <a:lnTo>
                    <a:pt x="11040" y="0"/>
                  </a:lnTo>
                  <a:lnTo>
                    <a:pt x="10080" y="0"/>
                  </a:lnTo>
                  <a:lnTo>
                    <a:pt x="10080" y="956"/>
                  </a:lnTo>
                  <a:lnTo>
                    <a:pt x="9120" y="956"/>
                  </a:lnTo>
                  <a:lnTo>
                    <a:pt x="7680" y="2390"/>
                  </a:lnTo>
                  <a:lnTo>
                    <a:pt x="5760" y="2390"/>
                  </a:lnTo>
                  <a:lnTo>
                    <a:pt x="5760" y="2390"/>
                  </a:lnTo>
                  <a:lnTo>
                    <a:pt x="4320" y="2390"/>
                  </a:lnTo>
                  <a:lnTo>
                    <a:pt x="3360" y="956"/>
                  </a:lnTo>
                  <a:lnTo>
                    <a:pt x="3360" y="956"/>
                  </a:lnTo>
                  <a:lnTo>
                    <a:pt x="1920" y="2390"/>
                  </a:lnTo>
                  <a:lnTo>
                    <a:pt x="960" y="2390"/>
                  </a:lnTo>
                  <a:lnTo>
                    <a:pt x="0" y="4780"/>
                  </a:lnTo>
                  <a:lnTo>
                    <a:pt x="0" y="8127"/>
                  </a:lnTo>
                  <a:lnTo>
                    <a:pt x="960" y="10039"/>
                  </a:lnTo>
                  <a:lnTo>
                    <a:pt x="1920" y="12430"/>
                  </a:lnTo>
                  <a:lnTo>
                    <a:pt x="3360" y="14820"/>
                  </a:lnTo>
                  <a:lnTo>
                    <a:pt x="3360" y="15776"/>
                  </a:lnTo>
                  <a:lnTo>
                    <a:pt x="5760" y="17211"/>
                  </a:lnTo>
                  <a:lnTo>
                    <a:pt x="6720" y="19123"/>
                  </a:lnTo>
                  <a:lnTo>
                    <a:pt x="12480" y="30597"/>
                  </a:lnTo>
                  <a:lnTo>
                    <a:pt x="13440" y="31553"/>
                  </a:lnTo>
                  <a:lnTo>
                    <a:pt x="13440" y="34900"/>
                  </a:lnTo>
                  <a:lnTo>
                    <a:pt x="15840" y="39681"/>
                  </a:lnTo>
                  <a:lnTo>
                    <a:pt x="19200" y="45418"/>
                  </a:lnTo>
                  <a:lnTo>
                    <a:pt x="19200" y="46374"/>
                  </a:lnTo>
                  <a:lnTo>
                    <a:pt x="20160" y="47330"/>
                  </a:lnTo>
                  <a:lnTo>
                    <a:pt x="22560" y="52111"/>
                  </a:lnTo>
                  <a:lnTo>
                    <a:pt x="23520" y="54501"/>
                  </a:lnTo>
                  <a:lnTo>
                    <a:pt x="24960" y="57848"/>
                  </a:lnTo>
                  <a:lnTo>
                    <a:pt x="24960" y="58804"/>
                  </a:lnTo>
                  <a:lnTo>
                    <a:pt x="24960" y="59760"/>
                  </a:lnTo>
                  <a:lnTo>
                    <a:pt x="23520" y="59760"/>
                  </a:lnTo>
                  <a:lnTo>
                    <a:pt x="23520" y="58804"/>
                  </a:lnTo>
                  <a:lnTo>
                    <a:pt x="23520" y="59760"/>
                  </a:lnTo>
                  <a:lnTo>
                    <a:pt x="23520" y="61195"/>
                  </a:lnTo>
                  <a:lnTo>
                    <a:pt x="23520" y="63107"/>
                  </a:lnTo>
                  <a:lnTo>
                    <a:pt x="23520" y="65498"/>
                  </a:lnTo>
                  <a:lnTo>
                    <a:pt x="24960" y="66932"/>
                  </a:lnTo>
                  <a:lnTo>
                    <a:pt x="24960" y="71235"/>
                  </a:lnTo>
                  <a:lnTo>
                    <a:pt x="24960" y="72191"/>
                  </a:lnTo>
                  <a:lnTo>
                    <a:pt x="25920" y="75537"/>
                  </a:lnTo>
                  <a:lnTo>
                    <a:pt x="26880" y="77928"/>
                  </a:lnTo>
                  <a:lnTo>
                    <a:pt x="26880" y="81274"/>
                  </a:lnTo>
                  <a:lnTo>
                    <a:pt x="26880" y="82709"/>
                  </a:lnTo>
                  <a:lnTo>
                    <a:pt x="26880" y="83665"/>
                  </a:lnTo>
                  <a:lnTo>
                    <a:pt x="26880" y="86055"/>
                  </a:lnTo>
                  <a:lnTo>
                    <a:pt x="26880" y="88446"/>
                  </a:lnTo>
                  <a:lnTo>
                    <a:pt x="28320" y="90358"/>
                  </a:lnTo>
                  <a:lnTo>
                    <a:pt x="28320" y="93705"/>
                  </a:lnTo>
                  <a:lnTo>
                    <a:pt x="29280" y="95139"/>
                  </a:lnTo>
                  <a:lnTo>
                    <a:pt x="29280" y="96095"/>
                  </a:lnTo>
                  <a:lnTo>
                    <a:pt x="30240" y="97051"/>
                  </a:lnTo>
                  <a:lnTo>
                    <a:pt x="29280" y="97051"/>
                  </a:lnTo>
                  <a:lnTo>
                    <a:pt x="29280" y="98486"/>
                  </a:lnTo>
                  <a:lnTo>
                    <a:pt x="30240" y="100876"/>
                  </a:lnTo>
                  <a:lnTo>
                    <a:pt x="30240" y="104223"/>
                  </a:lnTo>
                  <a:lnTo>
                    <a:pt x="31680" y="105179"/>
                  </a:lnTo>
                  <a:lnTo>
                    <a:pt x="35040" y="110916"/>
                  </a:lnTo>
                  <a:lnTo>
                    <a:pt x="36000" y="111872"/>
                  </a:lnTo>
                  <a:lnTo>
                    <a:pt x="37440" y="113306"/>
                  </a:lnTo>
                  <a:lnTo>
                    <a:pt x="39360" y="116653"/>
                  </a:lnTo>
                  <a:lnTo>
                    <a:pt x="40800" y="117609"/>
                  </a:lnTo>
                  <a:lnTo>
                    <a:pt x="40800" y="116653"/>
                  </a:lnTo>
                  <a:lnTo>
                    <a:pt x="42720" y="115219"/>
                  </a:lnTo>
                  <a:lnTo>
                    <a:pt x="42720" y="115219"/>
                  </a:lnTo>
                  <a:lnTo>
                    <a:pt x="42720" y="115219"/>
                  </a:lnTo>
                  <a:lnTo>
                    <a:pt x="44160" y="115219"/>
                  </a:lnTo>
                  <a:lnTo>
                    <a:pt x="44160" y="115219"/>
                  </a:lnTo>
                  <a:lnTo>
                    <a:pt x="44160" y="114262"/>
                  </a:lnTo>
                  <a:lnTo>
                    <a:pt x="44160" y="113306"/>
                  </a:lnTo>
                  <a:lnTo>
                    <a:pt x="44160" y="113306"/>
                  </a:lnTo>
                  <a:lnTo>
                    <a:pt x="44160" y="111872"/>
                  </a:lnTo>
                  <a:lnTo>
                    <a:pt x="45120" y="111872"/>
                  </a:lnTo>
                  <a:lnTo>
                    <a:pt x="46080" y="110916"/>
                  </a:lnTo>
                  <a:lnTo>
                    <a:pt x="47520" y="111872"/>
                  </a:lnTo>
                  <a:lnTo>
                    <a:pt x="47520" y="111872"/>
                  </a:lnTo>
                  <a:lnTo>
                    <a:pt x="47520" y="113306"/>
                  </a:lnTo>
                  <a:lnTo>
                    <a:pt x="47520" y="113306"/>
                  </a:lnTo>
                  <a:lnTo>
                    <a:pt x="48480" y="113306"/>
                  </a:lnTo>
                  <a:lnTo>
                    <a:pt x="48480" y="113306"/>
                  </a:lnTo>
                  <a:lnTo>
                    <a:pt x="48480" y="114262"/>
                  </a:lnTo>
                  <a:lnTo>
                    <a:pt x="48480" y="115219"/>
                  </a:lnTo>
                  <a:lnTo>
                    <a:pt x="48480" y="115219"/>
                  </a:lnTo>
                  <a:lnTo>
                    <a:pt x="48480" y="116653"/>
                  </a:lnTo>
                  <a:lnTo>
                    <a:pt x="48480" y="116653"/>
                  </a:lnTo>
                  <a:lnTo>
                    <a:pt x="49440" y="117609"/>
                  </a:lnTo>
                  <a:lnTo>
                    <a:pt x="49440" y="117609"/>
                  </a:lnTo>
                  <a:lnTo>
                    <a:pt x="50880" y="118565"/>
                  </a:lnTo>
                  <a:lnTo>
                    <a:pt x="51840" y="118565"/>
                  </a:lnTo>
                  <a:lnTo>
                    <a:pt x="53280" y="118565"/>
                  </a:lnTo>
                  <a:lnTo>
                    <a:pt x="54240" y="118565"/>
                  </a:lnTo>
                  <a:lnTo>
                    <a:pt x="55200" y="120000"/>
                  </a:lnTo>
                  <a:lnTo>
                    <a:pt x="56640" y="120000"/>
                  </a:lnTo>
                  <a:lnTo>
                    <a:pt x="58560" y="120000"/>
                  </a:lnTo>
                  <a:lnTo>
                    <a:pt x="60960" y="120000"/>
                  </a:lnTo>
                  <a:lnTo>
                    <a:pt x="63360" y="120000"/>
                  </a:lnTo>
                  <a:lnTo>
                    <a:pt x="64320" y="120000"/>
                  </a:lnTo>
                  <a:lnTo>
                    <a:pt x="64320" y="120000"/>
                  </a:lnTo>
                  <a:lnTo>
                    <a:pt x="65280" y="120000"/>
                  </a:lnTo>
                  <a:lnTo>
                    <a:pt x="65280" y="118565"/>
                  </a:lnTo>
                  <a:lnTo>
                    <a:pt x="65280" y="118565"/>
                  </a:lnTo>
                  <a:lnTo>
                    <a:pt x="66720" y="117609"/>
                  </a:lnTo>
                  <a:lnTo>
                    <a:pt x="66720" y="117609"/>
                  </a:lnTo>
                  <a:lnTo>
                    <a:pt x="67680" y="116653"/>
                  </a:lnTo>
                  <a:lnTo>
                    <a:pt x="69120" y="116653"/>
                  </a:lnTo>
                  <a:lnTo>
                    <a:pt x="70080" y="115219"/>
                  </a:lnTo>
                  <a:lnTo>
                    <a:pt x="71040" y="115219"/>
                  </a:lnTo>
                  <a:lnTo>
                    <a:pt x="71040" y="114262"/>
                  </a:lnTo>
                  <a:lnTo>
                    <a:pt x="71040" y="109482"/>
                  </a:lnTo>
                  <a:lnTo>
                    <a:pt x="71040" y="105179"/>
                  </a:lnTo>
                  <a:lnTo>
                    <a:pt x="71040" y="100876"/>
                  </a:lnTo>
                  <a:lnTo>
                    <a:pt x="71040" y="96095"/>
                  </a:lnTo>
                  <a:lnTo>
                    <a:pt x="71040" y="91792"/>
                  </a:lnTo>
                  <a:lnTo>
                    <a:pt x="72480" y="87011"/>
                  </a:lnTo>
                  <a:lnTo>
                    <a:pt x="72480" y="82709"/>
                  </a:lnTo>
                  <a:lnTo>
                    <a:pt x="72480" y="77928"/>
                  </a:lnTo>
                  <a:lnTo>
                    <a:pt x="72480" y="77928"/>
                  </a:lnTo>
                  <a:lnTo>
                    <a:pt x="72480" y="75537"/>
                  </a:lnTo>
                  <a:lnTo>
                    <a:pt x="72480" y="73625"/>
                  </a:lnTo>
                  <a:lnTo>
                    <a:pt x="72480" y="70278"/>
                  </a:lnTo>
                  <a:lnTo>
                    <a:pt x="72480" y="66932"/>
                  </a:lnTo>
                  <a:lnTo>
                    <a:pt x="72480" y="64541"/>
                  </a:lnTo>
                  <a:lnTo>
                    <a:pt x="72480" y="61195"/>
                  </a:lnTo>
                  <a:lnTo>
                    <a:pt x="72480" y="58804"/>
                  </a:lnTo>
                  <a:lnTo>
                    <a:pt x="72480" y="55458"/>
                  </a:lnTo>
                  <a:lnTo>
                    <a:pt x="72480" y="53067"/>
                  </a:lnTo>
                  <a:lnTo>
                    <a:pt x="72480" y="49721"/>
                  </a:lnTo>
                  <a:lnTo>
                    <a:pt x="81120" y="49721"/>
                  </a:lnTo>
                  <a:lnTo>
                    <a:pt x="81120" y="49721"/>
                  </a:lnTo>
                  <a:lnTo>
                    <a:pt x="81120" y="48764"/>
                  </a:lnTo>
                  <a:lnTo>
                    <a:pt x="81120" y="43984"/>
                  </a:lnTo>
                  <a:lnTo>
                    <a:pt x="81120" y="39681"/>
                  </a:lnTo>
                  <a:lnTo>
                    <a:pt x="81120" y="36334"/>
                  </a:lnTo>
                  <a:lnTo>
                    <a:pt x="81120" y="31553"/>
                  </a:lnTo>
                  <a:lnTo>
                    <a:pt x="81120" y="27250"/>
                  </a:lnTo>
                  <a:lnTo>
                    <a:pt x="81120" y="23904"/>
                  </a:lnTo>
                  <a:lnTo>
                    <a:pt x="81120" y="19123"/>
                  </a:lnTo>
                  <a:lnTo>
                    <a:pt x="81120" y="14820"/>
                  </a:lnTo>
                  <a:lnTo>
                    <a:pt x="81120" y="13386"/>
                  </a:lnTo>
                  <a:lnTo>
                    <a:pt x="83520" y="12430"/>
                  </a:lnTo>
                  <a:lnTo>
                    <a:pt x="86880" y="12430"/>
                  </a:lnTo>
                  <a:lnTo>
                    <a:pt x="90240" y="12430"/>
                  </a:lnTo>
                  <a:lnTo>
                    <a:pt x="95040" y="11474"/>
                  </a:lnTo>
                  <a:lnTo>
                    <a:pt x="96960" y="10039"/>
                  </a:lnTo>
                  <a:lnTo>
                    <a:pt x="100800" y="10039"/>
                  </a:lnTo>
                  <a:lnTo>
                    <a:pt x="101760" y="10039"/>
                  </a:lnTo>
                  <a:lnTo>
                    <a:pt x="101760" y="10039"/>
                  </a:lnTo>
                  <a:lnTo>
                    <a:pt x="101760" y="10039"/>
                  </a:lnTo>
                  <a:lnTo>
                    <a:pt x="104160" y="12430"/>
                  </a:lnTo>
                  <a:lnTo>
                    <a:pt x="104160" y="13386"/>
                  </a:lnTo>
                  <a:lnTo>
                    <a:pt x="104160" y="14820"/>
                  </a:lnTo>
                  <a:lnTo>
                    <a:pt x="105120" y="14820"/>
                  </a:lnTo>
                  <a:lnTo>
                    <a:pt x="105120" y="14820"/>
                  </a:lnTo>
                  <a:lnTo>
                    <a:pt x="105120" y="14820"/>
                  </a:lnTo>
                  <a:lnTo>
                    <a:pt x="107520" y="12430"/>
                  </a:lnTo>
                  <a:lnTo>
                    <a:pt x="107520" y="12430"/>
                  </a:lnTo>
                  <a:lnTo>
                    <a:pt x="108480" y="11474"/>
                  </a:lnTo>
                  <a:lnTo>
                    <a:pt x="109440" y="10039"/>
                  </a:lnTo>
                  <a:lnTo>
                    <a:pt x="110880" y="10039"/>
                  </a:lnTo>
                  <a:lnTo>
                    <a:pt x="111840" y="10039"/>
                  </a:lnTo>
                  <a:lnTo>
                    <a:pt x="111840" y="10039"/>
                  </a:lnTo>
                  <a:lnTo>
                    <a:pt x="111840" y="10039"/>
                  </a:lnTo>
                  <a:lnTo>
                    <a:pt x="112800" y="10039"/>
                  </a:lnTo>
                  <a:lnTo>
                    <a:pt x="115200" y="9083"/>
                  </a:lnTo>
                  <a:lnTo>
                    <a:pt x="116640" y="8127"/>
                  </a:lnTo>
                  <a:lnTo>
                    <a:pt x="118560" y="8127"/>
                  </a:lnTo>
                  <a:lnTo>
                    <a:pt x="120000" y="8127"/>
                  </a:lnTo>
                  <a:lnTo>
                    <a:pt x="117600" y="5737"/>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23" name="Shape 423"/>
            <p:cNvSpPr/>
            <p:nvPr/>
          </p:nvSpPr>
          <p:spPr>
            <a:xfrm>
              <a:off x="5336" y="2205"/>
              <a:ext cx="300" cy="300"/>
            </a:xfrm>
            <a:custGeom>
              <a:avLst/>
              <a:gdLst/>
              <a:ahLst/>
              <a:cxnLst/>
              <a:rect l="0" t="0" r="0" b="0"/>
              <a:pathLst>
                <a:path w="120000" h="120000" extrusionOk="0">
                  <a:moveTo>
                    <a:pt x="41481" y="80615"/>
                  </a:moveTo>
                  <a:lnTo>
                    <a:pt x="41481" y="81538"/>
                  </a:lnTo>
                  <a:lnTo>
                    <a:pt x="40000" y="81538"/>
                  </a:lnTo>
                  <a:lnTo>
                    <a:pt x="40000" y="82769"/>
                  </a:lnTo>
                  <a:lnTo>
                    <a:pt x="41481" y="82153"/>
                  </a:lnTo>
                  <a:lnTo>
                    <a:pt x="41481" y="81538"/>
                  </a:lnTo>
                  <a:lnTo>
                    <a:pt x="43703" y="80615"/>
                  </a:lnTo>
                  <a:lnTo>
                    <a:pt x="43703" y="80000"/>
                  </a:lnTo>
                  <a:lnTo>
                    <a:pt x="41481" y="80615"/>
                  </a:lnTo>
                  <a:close/>
                  <a:moveTo>
                    <a:pt x="24444" y="62461"/>
                  </a:moveTo>
                  <a:lnTo>
                    <a:pt x="22222" y="63076"/>
                  </a:lnTo>
                  <a:lnTo>
                    <a:pt x="24444" y="64000"/>
                  </a:lnTo>
                  <a:lnTo>
                    <a:pt x="25925" y="64000"/>
                  </a:lnTo>
                  <a:lnTo>
                    <a:pt x="25925" y="64000"/>
                  </a:lnTo>
                  <a:lnTo>
                    <a:pt x="25925" y="64000"/>
                  </a:lnTo>
                  <a:lnTo>
                    <a:pt x="25925" y="63076"/>
                  </a:lnTo>
                  <a:lnTo>
                    <a:pt x="25925" y="63076"/>
                  </a:lnTo>
                  <a:lnTo>
                    <a:pt x="24444" y="62461"/>
                  </a:lnTo>
                  <a:close/>
                  <a:moveTo>
                    <a:pt x="25925" y="59692"/>
                  </a:moveTo>
                  <a:lnTo>
                    <a:pt x="25925" y="60307"/>
                  </a:lnTo>
                  <a:lnTo>
                    <a:pt x="27407" y="59692"/>
                  </a:lnTo>
                  <a:lnTo>
                    <a:pt x="27407" y="59692"/>
                  </a:lnTo>
                  <a:lnTo>
                    <a:pt x="27407" y="59692"/>
                  </a:lnTo>
                  <a:lnTo>
                    <a:pt x="27407" y="59692"/>
                  </a:lnTo>
                  <a:lnTo>
                    <a:pt x="25925" y="58769"/>
                  </a:lnTo>
                  <a:lnTo>
                    <a:pt x="25925" y="58769"/>
                  </a:lnTo>
                  <a:lnTo>
                    <a:pt x="24444" y="58153"/>
                  </a:lnTo>
                  <a:lnTo>
                    <a:pt x="24444" y="58769"/>
                  </a:lnTo>
                  <a:lnTo>
                    <a:pt x="24444" y="58769"/>
                  </a:lnTo>
                  <a:lnTo>
                    <a:pt x="24444" y="58769"/>
                  </a:lnTo>
                  <a:lnTo>
                    <a:pt x="24444" y="59692"/>
                  </a:lnTo>
                  <a:lnTo>
                    <a:pt x="25925" y="59692"/>
                  </a:lnTo>
                  <a:close/>
                  <a:moveTo>
                    <a:pt x="120000" y="44307"/>
                  </a:moveTo>
                  <a:lnTo>
                    <a:pt x="120000" y="44307"/>
                  </a:lnTo>
                  <a:lnTo>
                    <a:pt x="120000" y="44307"/>
                  </a:lnTo>
                  <a:lnTo>
                    <a:pt x="120000" y="44307"/>
                  </a:lnTo>
                  <a:lnTo>
                    <a:pt x="118518" y="44307"/>
                  </a:lnTo>
                  <a:lnTo>
                    <a:pt x="117037" y="44923"/>
                  </a:lnTo>
                  <a:lnTo>
                    <a:pt x="114814" y="45846"/>
                  </a:lnTo>
                  <a:lnTo>
                    <a:pt x="113333" y="45846"/>
                  </a:lnTo>
                  <a:lnTo>
                    <a:pt x="113333" y="45846"/>
                  </a:lnTo>
                  <a:lnTo>
                    <a:pt x="111851" y="45846"/>
                  </a:lnTo>
                  <a:lnTo>
                    <a:pt x="109629" y="45846"/>
                  </a:lnTo>
                  <a:lnTo>
                    <a:pt x="108148" y="45846"/>
                  </a:lnTo>
                  <a:lnTo>
                    <a:pt x="108148" y="45846"/>
                  </a:lnTo>
                  <a:lnTo>
                    <a:pt x="105925" y="45846"/>
                  </a:lnTo>
                  <a:lnTo>
                    <a:pt x="105925" y="45846"/>
                  </a:lnTo>
                  <a:lnTo>
                    <a:pt x="105925" y="44923"/>
                  </a:lnTo>
                  <a:lnTo>
                    <a:pt x="105925" y="44923"/>
                  </a:lnTo>
                  <a:lnTo>
                    <a:pt x="105925" y="44307"/>
                  </a:lnTo>
                  <a:lnTo>
                    <a:pt x="104444" y="44307"/>
                  </a:lnTo>
                  <a:lnTo>
                    <a:pt x="104444" y="44307"/>
                  </a:lnTo>
                  <a:lnTo>
                    <a:pt x="104444" y="43692"/>
                  </a:lnTo>
                  <a:lnTo>
                    <a:pt x="104444" y="42769"/>
                  </a:lnTo>
                  <a:lnTo>
                    <a:pt x="104444" y="42769"/>
                  </a:lnTo>
                  <a:lnTo>
                    <a:pt x="102962" y="42153"/>
                  </a:lnTo>
                  <a:lnTo>
                    <a:pt x="102962" y="42153"/>
                  </a:lnTo>
                  <a:lnTo>
                    <a:pt x="99259" y="42153"/>
                  </a:lnTo>
                  <a:lnTo>
                    <a:pt x="95555" y="42153"/>
                  </a:lnTo>
                  <a:lnTo>
                    <a:pt x="94074" y="42153"/>
                  </a:lnTo>
                  <a:lnTo>
                    <a:pt x="94074" y="42153"/>
                  </a:lnTo>
                  <a:lnTo>
                    <a:pt x="94074" y="41538"/>
                  </a:lnTo>
                  <a:lnTo>
                    <a:pt x="92592" y="41538"/>
                  </a:lnTo>
                  <a:lnTo>
                    <a:pt x="92592" y="41538"/>
                  </a:lnTo>
                  <a:lnTo>
                    <a:pt x="92592" y="40615"/>
                  </a:lnTo>
                  <a:lnTo>
                    <a:pt x="94074" y="40000"/>
                  </a:lnTo>
                  <a:lnTo>
                    <a:pt x="94074" y="39076"/>
                  </a:lnTo>
                  <a:lnTo>
                    <a:pt x="94074" y="38461"/>
                  </a:lnTo>
                  <a:lnTo>
                    <a:pt x="94074" y="37846"/>
                  </a:lnTo>
                  <a:lnTo>
                    <a:pt x="94074" y="36923"/>
                  </a:lnTo>
                  <a:lnTo>
                    <a:pt x="95555" y="36307"/>
                  </a:lnTo>
                  <a:lnTo>
                    <a:pt x="95555" y="36307"/>
                  </a:lnTo>
                  <a:lnTo>
                    <a:pt x="95555" y="36307"/>
                  </a:lnTo>
                  <a:lnTo>
                    <a:pt x="94074" y="35692"/>
                  </a:lnTo>
                  <a:lnTo>
                    <a:pt x="94074" y="35692"/>
                  </a:lnTo>
                  <a:lnTo>
                    <a:pt x="92592" y="35692"/>
                  </a:lnTo>
                  <a:lnTo>
                    <a:pt x="92592" y="35692"/>
                  </a:lnTo>
                  <a:lnTo>
                    <a:pt x="88888" y="35692"/>
                  </a:lnTo>
                  <a:lnTo>
                    <a:pt x="87407" y="34769"/>
                  </a:lnTo>
                  <a:lnTo>
                    <a:pt x="87407" y="34153"/>
                  </a:lnTo>
                  <a:lnTo>
                    <a:pt x="87407" y="33230"/>
                  </a:lnTo>
                  <a:lnTo>
                    <a:pt x="85185" y="33230"/>
                  </a:lnTo>
                  <a:lnTo>
                    <a:pt x="85185" y="32615"/>
                  </a:lnTo>
                  <a:lnTo>
                    <a:pt x="85185" y="32615"/>
                  </a:lnTo>
                  <a:lnTo>
                    <a:pt x="85185" y="32000"/>
                  </a:lnTo>
                  <a:lnTo>
                    <a:pt x="83703" y="31076"/>
                  </a:lnTo>
                  <a:lnTo>
                    <a:pt x="83703" y="31076"/>
                  </a:lnTo>
                  <a:lnTo>
                    <a:pt x="81481" y="30461"/>
                  </a:lnTo>
                  <a:lnTo>
                    <a:pt x="81481" y="30461"/>
                  </a:lnTo>
                  <a:lnTo>
                    <a:pt x="81481" y="29846"/>
                  </a:lnTo>
                  <a:lnTo>
                    <a:pt x="83703" y="28923"/>
                  </a:lnTo>
                  <a:lnTo>
                    <a:pt x="83703" y="28923"/>
                  </a:lnTo>
                  <a:lnTo>
                    <a:pt x="83703" y="28923"/>
                  </a:lnTo>
                  <a:lnTo>
                    <a:pt x="83703" y="28923"/>
                  </a:lnTo>
                  <a:lnTo>
                    <a:pt x="80000" y="28923"/>
                  </a:lnTo>
                  <a:lnTo>
                    <a:pt x="80000" y="28923"/>
                  </a:lnTo>
                  <a:lnTo>
                    <a:pt x="80000" y="28923"/>
                  </a:lnTo>
                  <a:lnTo>
                    <a:pt x="78518" y="28923"/>
                  </a:lnTo>
                  <a:lnTo>
                    <a:pt x="74814" y="28923"/>
                  </a:lnTo>
                  <a:lnTo>
                    <a:pt x="73333" y="28923"/>
                  </a:lnTo>
                  <a:lnTo>
                    <a:pt x="71111" y="29846"/>
                  </a:lnTo>
                  <a:lnTo>
                    <a:pt x="69629" y="29846"/>
                  </a:lnTo>
                  <a:lnTo>
                    <a:pt x="69629" y="30461"/>
                  </a:lnTo>
                  <a:lnTo>
                    <a:pt x="68148" y="30461"/>
                  </a:lnTo>
                  <a:lnTo>
                    <a:pt x="68148" y="30461"/>
                  </a:lnTo>
                  <a:lnTo>
                    <a:pt x="68148" y="29846"/>
                  </a:lnTo>
                  <a:lnTo>
                    <a:pt x="68148" y="28923"/>
                  </a:lnTo>
                  <a:lnTo>
                    <a:pt x="68148" y="28307"/>
                  </a:lnTo>
                  <a:lnTo>
                    <a:pt x="68148" y="27692"/>
                  </a:lnTo>
                  <a:lnTo>
                    <a:pt x="68148" y="26769"/>
                  </a:lnTo>
                  <a:lnTo>
                    <a:pt x="65925" y="26769"/>
                  </a:lnTo>
                  <a:lnTo>
                    <a:pt x="65925" y="26769"/>
                  </a:lnTo>
                  <a:lnTo>
                    <a:pt x="65925" y="26153"/>
                  </a:lnTo>
                  <a:lnTo>
                    <a:pt x="64444" y="25230"/>
                  </a:lnTo>
                  <a:lnTo>
                    <a:pt x="65925" y="24615"/>
                  </a:lnTo>
                  <a:lnTo>
                    <a:pt x="65925" y="24000"/>
                  </a:lnTo>
                  <a:lnTo>
                    <a:pt x="68148" y="24000"/>
                  </a:lnTo>
                  <a:lnTo>
                    <a:pt x="68148" y="24000"/>
                  </a:lnTo>
                  <a:lnTo>
                    <a:pt x="65925" y="23076"/>
                  </a:lnTo>
                  <a:lnTo>
                    <a:pt x="65925" y="23076"/>
                  </a:lnTo>
                  <a:lnTo>
                    <a:pt x="68148" y="21846"/>
                  </a:lnTo>
                  <a:lnTo>
                    <a:pt x="68148" y="21846"/>
                  </a:lnTo>
                  <a:lnTo>
                    <a:pt x="69629" y="21846"/>
                  </a:lnTo>
                  <a:lnTo>
                    <a:pt x="69629" y="21846"/>
                  </a:lnTo>
                  <a:lnTo>
                    <a:pt x="69629" y="20923"/>
                  </a:lnTo>
                  <a:lnTo>
                    <a:pt x="69629" y="20923"/>
                  </a:lnTo>
                  <a:lnTo>
                    <a:pt x="71111" y="20307"/>
                  </a:lnTo>
                  <a:lnTo>
                    <a:pt x="71111" y="19692"/>
                  </a:lnTo>
                  <a:lnTo>
                    <a:pt x="71111" y="19692"/>
                  </a:lnTo>
                  <a:lnTo>
                    <a:pt x="73333" y="19692"/>
                  </a:lnTo>
                  <a:lnTo>
                    <a:pt x="73333" y="19692"/>
                  </a:lnTo>
                  <a:lnTo>
                    <a:pt x="74814" y="18769"/>
                  </a:lnTo>
                  <a:lnTo>
                    <a:pt x="74814" y="18153"/>
                  </a:lnTo>
                  <a:lnTo>
                    <a:pt x="76296" y="17230"/>
                  </a:lnTo>
                  <a:lnTo>
                    <a:pt x="76296" y="17230"/>
                  </a:lnTo>
                  <a:lnTo>
                    <a:pt x="76296" y="17230"/>
                  </a:lnTo>
                  <a:lnTo>
                    <a:pt x="76296" y="17230"/>
                  </a:lnTo>
                  <a:lnTo>
                    <a:pt x="76296" y="16615"/>
                  </a:lnTo>
                  <a:lnTo>
                    <a:pt x="74814" y="16000"/>
                  </a:lnTo>
                  <a:lnTo>
                    <a:pt x="74814" y="16000"/>
                  </a:lnTo>
                  <a:lnTo>
                    <a:pt x="76296" y="16000"/>
                  </a:lnTo>
                  <a:lnTo>
                    <a:pt x="76296" y="15076"/>
                  </a:lnTo>
                  <a:lnTo>
                    <a:pt x="76296" y="14461"/>
                  </a:lnTo>
                  <a:lnTo>
                    <a:pt x="76296" y="13846"/>
                  </a:lnTo>
                  <a:lnTo>
                    <a:pt x="76296" y="12923"/>
                  </a:lnTo>
                  <a:lnTo>
                    <a:pt x="74814" y="12307"/>
                  </a:lnTo>
                  <a:lnTo>
                    <a:pt x="74814" y="11692"/>
                  </a:lnTo>
                  <a:lnTo>
                    <a:pt x="74814" y="10769"/>
                  </a:lnTo>
                  <a:lnTo>
                    <a:pt x="74814" y="10153"/>
                  </a:lnTo>
                  <a:lnTo>
                    <a:pt x="73333" y="8615"/>
                  </a:lnTo>
                  <a:lnTo>
                    <a:pt x="73333" y="8615"/>
                  </a:lnTo>
                  <a:lnTo>
                    <a:pt x="73333" y="7076"/>
                  </a:lnTo>
                  <a:lnTo>
                    <a:pt x="71111" y="6461"/>
                  </a:lnTo>
                  <a:lnTo>
                    <a:pt x="71111" y="6461"/>
                  </a:lnTo>
                  <a:lnTo>
                    <a:pt x="69629" y="5846"/>
                  </a:lnTo>
                  <a:lnTo>
                    <a:pt x="69629" y="5846"/>
                  </a:lnTo>
                  <a:lnTo>
                    <a:pt x="68148" y="5846"/>
                  </a:lnTo>
                  <a:lnTo>
                    <a:pt x="68148" y="6461"/>
                  </a:lnTo>
                  <a:lnTo>
                    <a:pt x="68148" y="6461"/>
                  </a:lnTo>
                  <a:lnTo>
                    <a:pt x="68148" y="6461"/>
                  </a:lnTo>
                  <a:lnTo>
                    <a:pt x="65925" y="6461"/>
                  </a:lnTo>
                  <a:lnTo>
                    <a:pt x="65925" y="5846"/>
                  </a:lnTo>
                  <a:lnTo>
                    <a:pt x="64444" y="3692"/>
                  </a:lnTo>
                  <a:lnTo>
                    <a:pt x="62962" y="3692"/>
                  </a:lnTo>
                  <a:lnTo>
                    <a:pt x="62962" y="2769"/>
                  </a:lnTo>
                  <a:lnTo>
                    <a:pt x="62962" y="2153"/>
                  </a:lnTo>
                  <a:lnTo>
                    <a:pt x="60740" y="2153"/>
                  </a:lnTo>
                  <a:lnTo>
                    <a:pt x="59259" y="1230"/>
                  </a:lnTo>
                  <a:lnTo>
                    <a:pt x="59259" y="1230"/>
                  </a:lnTo>
                  <a:lnTo>
                    <a:pt x="59259" y="1230"/>
                  </a:lnTo>
                  <a:lnTo>
                    <a:pt x="57037" y="1230"/>
                  </a:lnTo>
                  <a:lnTo>
                    <a:pt x="57037" y="1230"/>
                  </a:lnTo>
                  <a:lnTo>
                    <a:pt x="57037" y="615"/>
                  </a:lnTo>
                  <a:lnTo>
                    <a:pt x="55555" y="615"/>
                  </a:lnTo>
                  <a:lnTo>
                    <a:pt x="55555" y="615"/>
                  </a:lnTo>
                  <a:lnTo>
                    <a:pt x="55555" y="0"/>
                  </a:lnTo>
                  <a:lnTo>
                    <a:pt x="54074" y="0"/>
                  </a:lnTo>
                  <a:lnTo>
                    <a:pt x="54074" y="615"/>
                  </a:lnTo>
                  <a:lnTo>
                    <a:pt x="54074" y="615"/>
                  </a:lnTo>
                  <a:lnTo>
                    <a:pt x="54074" y="1230"/>
                  </a:lnTo>
                  <a:lnTo>
                    <a:pt x="51851" y="2153"/>
                  </a:lnTo>
                  <a:lnTo>
                    <a:pt x="51851" y="2153"/>
                  </a:lnTo>
                  <a:lnTo>
                    <a:pt x="51851" y="2769"/>
                  </a:lnTo>
                  <a:lnTo>
                    <a:pt x="51851" y="2769"/>
                  </a:lnTo>
                  <a:lnTo>
                    <a:pt x="51851" y="3692"/>
                  </a:lnTo>
                  <a:lnTo>
                    <a:pt x="54074" y="3692"/>
                  </a:lnTo>
                  <a:lnTo>
                    <a:pt x="54074" y="4307"/>
                  </a:lnTo>
                  <a:lnTo>
                    <a:pt x="51851" y="4307"/>
                  </a:lnTo>
                  <a:lnTo>
                    <a:pt x="51851" y="4307"/>
                  </a:lnTo>
                  <a:lnTo>
                    <a:pt x="50370" y="4307"/>
                  </a:lnTo>
                  <a:lnTo>
                    <a:pt x="50370" y="4923"/>
                  </a:lnTo>
                  <a:lnTo>
                    <a:pt x="48888" y="5846"/>
                  </a:lnTo>
                  <a:lnTo>
                    <a:pt x="48888" y="5846"/>
                  </a:lnTo>
                  <a:lnTo>
                    <a:pt x="48888" y="6461"/>
                  </a:lnTo>
                  <a:lnTo>
                    <a:pt x="48888" y="6461"/>
                  </a:lnTo>
                  <a:lnTo>
                    <a:pt x="48888" y="7076"/>
                  </a:lnTo>
                  <a:lnTo>
                    <a:pt x="51851" y="8615"/>
                  </a:lnTo>
                  <a:lnTo>
                    <a:pt x="51851" y="9230"/>
                  </a:lnTo>
                  <a:lnTo>
                    <a:pt x="51851" y="9230"/>
                  </a:lnTo>
                  <a:lnTo>
                    <a:pt x="50370" y="9230"/>
                  </a:lnTo>
                  <a:lnTo>
                    <a:pt x="48888" y="8615"/>
                  </a:lnTo>
                  <a:lnTo>
                    <a:pt x="48888" y="8000"/>
                  </a:lnTo>
                  <a:lnTo>
                    <a:pt x="46666" y="8000"/>
                  </a:lnTo>
                  <a:lnTo>
                    <a:pt x="46666" y="8000"/>
                  </a:lnTo>
                  <a:lnTo>
                    <a:pt x="41481" y="8000"/>
                  </a:lnTo>
                  <a:lnTo>
                    <a:pt x="40000" y="8615"/>
                  </a:lnTo>
                  <a:lnTo>
                    <a:pt x="38518" y="8615"/>
                  </a:lnTo>
                  <a:lnTo>
                    <a:pt x="38518" y="9230"/>
                  </a:lnTo>
                  <a:lnTo>
                    <a:pt x="36296" y="10153"/>
                  </a:lnTo>
                  <a:lnTo>
                    <a:pt x="36296" y="10153"/>
                  </a:lnTo>
                  <a:lnTo>
                    <a:pt x="34814" y="10153"/>
                  </a:lnTo>
                  <a:lnTo>
                    <a:pt x="31111" y="11692"/>
                  </a:lnTo>
                  <a:lnTo>
                    <a:pt x="29629" y="12307"/>
                  </a:lnTo>
                  <a:lnTo>
                    <a:pt x="29629" y="12307"/>
                  </a:lnTo>
                  <a:lnTo>
                    <a:pt x="27407" y="12923"/>
                  </a:lnTo>
                  <a:lnTo>
                    <a:pt x="27407" y="12923"/>
                  </a:lnTo>
                  <a:lnTo>
                    <a:pt x="27407" y="13846"/>
                  </a:lnTo>
                  <a:lnTo>
                    <a:pt x="27407" y="14461"/>
                  </a:lnTo>
                  <a:lnTo>
                    <a:pt x="27407" y="15076"/>
                  </a:lnTo>
                  <a:lnTo>
                    <a:pt x="29629" y="16000"/>
                  </a:lnTo>
                  <a:lnTo>
                    <a:pt x="29629" y="16000"/>
                  </a:lnTo>
                  <a:lnTo>
                    <a:pt x="29629" y="16615"/>
                  </a:lnTo>
                  <a:lnTo>
                    <a:pt x="29629" y="16615"/>
                  </a:lnTo>
                  <a:lnTo>
                    <a:pt x="27407" y="16615"/>
                  </a:lnTo>
                  <a:lnTo>
                    <a:pt x="27407" y="17230"/>
                  </a:lnTo>
                  <a:lnTo>
                    <a:pt x="27407" y="18153"/>
                  </a:lnTo>
                  <a:lnTo>
                    <a:pt x="27407" y="18769"/>
                  </a:lnTo>
                  <a:lnTo>
                    <a:pt x="27407" y="18769"/>
                  </a:lnTo>
                  <a:lnTo>
                    <a:pt x="25925" y="19692"/>
                  </a:lnTo>
                  <a:lnTo>
                    <a:pt x="24444" y="20307"/>
                  </a:lnTo>
                  <a:lnTo>
                    <a:pt x="24444" y="20307"/>
                  </a:lnTo>
                  <a:lnTo>
                    <a:pt x="24444" y="20923"/>
                  </a:lnTo>
                  <a:lnTo>
                    <a:pt x="24444" y="21846"/>
                  </a:lnTo>
                  <a:lnTo>
                    <a:pt x="24444" y="21846"/>
                  </a:lnTo>
                  <a:lnTo>
                    <a:pt x="24444" y="21846"/>
                  </a:lnTo>
                  <a:lnTo>
                    <a:pt x="24444" y="21846"/>
                  </a:lnTo>
                  <a:lnTo>
                    <a:pt x="25925" y="22461"/>
                  </a:lnTo>
                  <a:lnTo>
                    <a:pt x="25925" y="22461"/>
                  </a:lnTo>
                  <a:lnTo>
                    <a:pt x="25925" y="22461"/>
                  </a:lnTo>
                  <a:lnTo>
                    <a:pt x="25925" y="23076"/>
                  </a:lnTo>
                  <a:lnTo>
                    <a:pt x="25925" y="24615"/>
                  </a:lnTo>
                  <a:lnTo>
                    <a:pt x="24444" y="25230"/>
                  </a:lnTo>
                  <a:lnTo>
                    <a:pt x="24444" y="26153"/>
                  </a:lnTo>
                  <a:lnTo>
                    <a:pt x="22222" y="26769"/>
                  </a:lnTo>
                  <a:lnTo>
                    <a:pt x="22222" y="27692"/>
                  </a:lnTo>
                  <a:lnTo>
                    <a:pt x="22222" y="28923"/>
                  </a:lnTo>
                  <a:lnTo>
                    <a:pt x="22222" y="29846"/>
                  </a:lnTo>
                  <a:lnTo>
                    <a:pt x="20740" y="30461"/>
                  </a:lnTo>
                  <a:lnTo>
                    <a:pt x="20740" y="30461"/>
                  </a:lnTo>
                  <a:lnTo>
                    <a:pt x="19259" y="30461"/>
                  </a:lnTo>
                  <a:lnTo>
                    <a:pt x="17037" y="29846"/>
                  </a:lnTo>
                  <a:lnTo>
                    <a:pt x="15555" y="29846"/>
                  </a:lnTo>
                  <a:lnTo>
                    <a:pt x="15555" y="29846"/>
                  </a:lnTo>
                  <a:lnTo>
                    <a:pt x="14074" y="29846"/>
                  </a:lnTo>
                  <a:lnTo>
                    <a:pt x="14074" y="29846"/>
                  </a:lnTo>
                  <a:lnTo>
                    <a:pt x="11851" y="29846"/>
                  </a:lnTo>
                  <a:lnTo>
                    <a:pt x="11851" y="29846"/>
                  </a:lnTo>
                  <a:lnTo>
                    <a:pt x="10370" y="28923"/>
                  </a:lnTo>
                  <a:lnTo>
                    <a:pt x="10370" y="28923"/>
                  </a:lnTo>
                  <a:lnTo>
                    <a:pt x="10370" y="29846"/>
                  </a:lnTo>
                  <a:lnTo>
                    <a:pt x="11851" y="31076"/>
                  </a:lnTo>
                  <a:lnTo>
                    <a:pt x="11851" y="32000"/>
                  </a:lnTo>
                  <a:lnTo>
                    <a:pt x="11851" y="32615"/>
                  </a:lnTo>
                  <a:lnTo>
                    <a:pt x="11851" y="34153"/>
                  </a:lnTo>
                  <a:lnTo>
                    <a:pt x="11851" y="35692"/>
                  </a:lnTo>
                  <a:lnTo>
                    <a:pt x="11851" y="35692"/>
                  </a:lnTo>
                  <a:lnTo>
                    <a:pt x="11851" y="35692"/>
                  </a:lnTo>
                  <a:lnTo>
                    <a:pt x="11851" y="36307"/>
                  </a:lnTo>
                  <a:lnTo>
                    <a:pt x="10370" y="35692"/>
                  </a:lnTo>
                  <a:lnTo>
                    <a:pt x="10370" y="35692"/>
                  </a:lnTo>
                  <a:lnTo>
                    <a:pt x="10370" y="36307"/>
                  </a:lnTo>
                  <a:lnTo>
                    <a:pt x="10370" y="36923"/>
                  </a:lnTo>
                  <a:lnTo>
                    <a:pt x="10370" y="36923"/>
                  </a:lnTo>
                  <a:lnTo>
                    <a:pt x="10370" y="37846"/>
                  </a:lnTo>
                  <a:lnTo>
                    <a:pt x="10370" y="38461"/>
                  </a:lnTo>
                  <a:lnTo>
                    <a:pt x="10370" y="39076"/>
                  </a:lnTo>
                  <a:lnTo>
                    <a:pt x="11851" y="40000"/>
                  </a:lnTo>
                  <a:lnTo>
                    <a:pt x="11851" y="40615"/>
                  </a:lnTo>
                  <a:lnTo>
                    <a:pt x="11851" y="41538"/>
                  </a:lnTo>
                  <a:lnTo>
                    <a:pt x="11851" y="41538"/>
                  </a:lnTo>
                  <a:lnTo>
                    <a:pt x="10370" y="41538"/>
                  </a:lnTo>
                  <a:lnTo>
                    <a:pt x="10370" y="41538"/>
                  </a:lnTo>
                  <a:lnTo>
                    <a:pt x="10370" y="41538"/>
                  </a:lnTo>
                  <a:lnTo>
                    <a:pt x="10370" y="42769"/>
                  </a:lnTo>
                  <a:lnTo>
                    <a:pt x="8148" y="42769"/>
                  </a:lnTo>
                  <a:lnTo>
                    <a:pt x="8148" y="42769"/>
                  </a:lnTo>
                  <a:lnTo>
                    <a:pt x="6666" y="42153"/>
                  </a:lnTo>
                  <a:lnTo>
                    <a:pt x="6666" y="41538"/>
                  </a:lnTo>
                  <a:lnTo>
                    <a:pt x="5185" y="41538"/>
                  </a:lnTo>
                  <a:lnTo>
                    <a:pt x="5185" y="42153"/>
                  </a:lnTo>
                  <a:lnTo>
                    <a:pt x="5185" y="42153"/>
                  </a:lnTo>
                  <a:lnTo>
                    <a:pt x="5185" y="42769"/>
                  </a:lnTo>
                  <a:lnTo>
                    <a:pt x="5185" y="42769"/>
                  </a:lnTo>
                  <a:lnTo>
                    <a:pt x="5185" y="42769"/>
                  </a:lnTo>
                  <a:lnTo>
                    <a:pt x="5185" y="44923"/>
                  </a:lnTo>
                  <a:lnTo>
                    <a:pt x="5185" y="45846"/>
                  </a:lnTo>
                  <a:lnTo>
                    <a:pt x="6666" y="46461"/>
                  </a:lnTo>
                  <a:lnTo>
                    <a:pt x="6666" y="47076"/>
                  </a:lnTo>
                  <a:lnTo>
                    <a:pt x="6666" y="47076"/>
                  </a:lnTo>
                  <a:lnTo>
                    <a:pt x="5185" y="47076"/>
                  </a:lnTo>
                  <a:lnTo>
                    <a:pt x="5185" y="47076"/>
                  </a:lnTo>
                  <a:lnTo>
                    <a:pt x="5185" y="46461"/>
                  </a:lnTo>
                  <a:lnTo>
                    <a:pt x="2962" y="46461"/>
                  </a:lnTo>
                  <a:lnTo>
                    <a:pt x="1481" y="46461"/>
                  </a:lnTo>
                  <a:lnTo>
                    <a:pt x="1481" y="46461"/>
                  </a:lnTo>
                  <a:lnTo>
                    <a:pt x="0" y="46461"/>
                  </a:lnTo>
                  <a:lnTo>
                    <a:pt x="0" y="47076"/>
                  </a:lnTo>
                  <a:lnTo>
                    <a:pt x="1481" y="48000"/>
                  </a:lnTo>
                  <a:lnTo>
                    <a:pt x="1481" y="48615"/>
                  </a:lnTo>
                  <a:lnTo>
                    <a:pt x="1481" y="48615"/>
                  </a:lnTo>
                  <a:lnTo>
                    <a:pt x="1481" y="48615"/>
                  </a:lnTo>
                  <a:lnTo>
                    <a:pt x="2962" y="49538"/>
                  </a:lnTo>
                  <a:lnTo>
                    <a:pt x="2962" y="50153"/>
                  </a:lnTo>
                  <a:lnTo>
                    <a:pt x="2962" y="50153"/>
                  </a:lnTo>
                  <a:lnTo>
                    <a:pt x="5185" y="50769"/>
                  </a:lnTo>
                  <a:lnTo>
                    <a:pt x="8148" y="52307"/>
                  </a:lnTo>
                  <a:lnTo>
                    <a:pt x="10370" y="53846"/>
                  </a:lnTo>
                  <a:lnTo>
                    <a:pt x="10370" y="52307"/>
                  </a:lnTo>
                  <a:lnTo>
                    <a:pt x="8148" y="51692"/>
                  </a:lnTo>
                  <a:lnTo>
                    <a:pt x="8148" y="51692"/>
                  </a:lnTo>
                  <a:lnTo>
                    <a:pt x="10370" y="52307"/>
                  </a:lnTo>
                  <a:lnTo>
                    <a:pt x="10370" y="52923"/>
                  </a:lnTo>
                  <a:lnTo>
                    <a:pt x="11851" y="52923"/>
                  </a:lnTo>
                  <a:lnTo>
                    <a:pt x="11851" y="53846"/>
                  </a:lnTo>
                  <a:lnTo>
                    <a:pt x="11851" y="53846"/>
                  </a:lnTo>
                  <a:lnTo>
                    <a:pt x="10370" y="54461"/>
                  </a:lnTo>
                  <a:lnTo>
                    <a:pt x="11851" y="54461"/>
                  </a:lnTo>
                  <a:lnTo>
                    <a:pt x="11851" y="54461"/>
                  </a:lnTo>
                  <a:lnTo>
                    <a:pt x="14074" y="53846"/>
                  </a:lnTo>
                  <a:lnTo>
                    <a:pt x="14074" y="52923"/>
                  </a:lnTo>
                  <a:lnTo>
                    <a:pt x="14074" y="52923"/>
                  </a:lnTo>
                  <a:lnTo>
                    <a:pt x="14074" y="52923"/>
                  </a:lnTo>
                  <a:lnTo>
                    <a:pt x="14074" y="54461"/>
                  </a:lnTo>
                  <a:lnTo>
                    <a:pt x="14074" y="54461"/>
                  </a:lnTo>
                  <a:lnTo>
                    <a:pt x="15555" y="54461"/>
                  </a:lnTo>
                  <a:lnTo>
                    <a:pt x="14074" y="54461"/>
                  </a:lnTo>
                  <a:lnTo>
                    <a:pt x="14074" y="55076"/>
                  </a:lnTo>
                  <a:lnTo>
                    <a:pt x="15555" y="56615"/>
                  </a:lnTo>
                  <a:lnTo>
                    <a:pt x="17037" y="56615"/>
                  </a:lnTo>
                  <a:lnTo>
                    <a:pt x="17037" y="56000"/>
                  </a:lnTo>
                  <a:lnTo>
                    <a:pt x="15555" y="55076"/>
                  </a:lnTo>
                  <a:lnTo>
                    <a:pt x="17037" y="55076"/>
                  </a:lnTo>
                  <a:lnTo>
                    <a:pt x="19259" y="55076"/>
                  </a:lnTo>
                  <a:lnTo>
                    <a:pt x="19259" y="55076"/>
                  </a:lnTo>
                  <a:lnTo>
                    <a:pt x="19259" y="55076"/>
                  </a:lnTo>
                  <a:lnTo>
                    <a:pt x="22222" y="56000"/>
                  </a:lnTo>
                  <a:lnTo>
                    <a:pt x="24444" y="56000"/>
                  </a:lnTo>
                  <a:lnTo>
                    <a:pt x="22222" y="56615"/>
                  </a:lnTo>
                  <a:lnTo>
                    <a:pt x="22222" y="56615"/>
                  </a:lnTo>
                  <a:lnTo>
                    <a:pt x="24444" y="57538"/>
                  </a:lnTo>
                  <a:lnTo>
                    <a:pt x="24444" y="57538"/>
                  </a:lnTo>
                  <a:lnTo>
                    <a:pt x="24444" y="58153"/>
                  </a:lnTo>
                  <a:lnTo>
                    <a:pt x="24444" y="58153"/>
                  </a:lnTo>
                  <a:lnTo>
                    <a:pt x="25925" y="58769"/>
                  </a:lnTo>
                  <a:lnTo>
                    <a:pt x="27407" y="58769"/>
                  </a:lnTo>
                  <a:lnTo>
                    <a:pt x="27407" y="58769"/>
                  </a:lnTo>
                  <a:lnTo>
                    <a:pt x="27407" y="58769"/>
                  </a:lnTo>
                  <a:lnTo>
                    <a:pt x="27407" y="59692"/>
                  </a:lnTo>
                  <a:lnTo>
                    <a:pt x="27407" y="60307"/>
                  </a:lnTo>
                  <a:lnTo>
                    <a:pt x="25925" y="60307"/>
                  </a:lnTo>
                  <a:lnTo>
                    <a:pt x="25925" y="60307"/>
                  </a:lnTo>
                  <a:lnTo>
                    <a:pt x="22222" y="59692"/>
                  </a:lnTo>
                  <a:lnTo>
                    <a:pt x="22222" y="59692"/>
                  </a:lnTo>
                  <a:lnTo>
                    <a:pt x="22222" y="59692"/>
                  </a:lnTo>
                  <a:lnTo>
                    <a:pt x="24444" y="60923"/>
                  </a:lnTo>
                  <a:lnTo>
                    <a:pt x="25925" y="61846"/>
                  </a:lnTo>
                  <a:lnTo>
                    <a:pt x="25925" y="62461"/>
                  </a:lnTo>
                  <a:lnTo>
                    <a:pt x="27407" y="62461"/>
                  </a:lnTo>
                  <a:lnTo>
                    <a:pt x="29629" y="62461"/>
                  </a:lnTo>
                  <a:lnTo>
                    <a:pt x="29629" y="61846"/>
                  </a:lnTo>
                  <a:lnTo>
                    <a:pt x="27407" y="60923"/>
                  </a:lnTo>
                  <a:lnTo>
                    <a:pt x="29629" y="60923"/>
                  </a:lnTo>
                  <a:lnTo>
                    <a:pt x="29629" y="60307"/>
                  </a:lnTo>
                  <a:lnTo>
                    <a:pt x="29629" y="60307"/>
                  </a:lnTo>
                  <a:lnTo>
                    <a:pt x="29629" y="60923"/>
                  </a:lnTo>
                  <a:lnTo>
                    <a:pt x="31111" y="62461"/>
                  </a:lnTo>
                  <a:lnTo>
                    <a:pt x="31111" y="63076"/>
                  </a:lnTo>
                  <a:lnTo>
                    <a:pt x="32592" y="64000"/>
                  </a:lnTo>
                  <a:lnTo>
                    <a:pt x="32592" y="64000"/>
                  </a:lnTo>
                  <a:lnTo>
                    <a:pt x="32592" y="64615"/>
                  </a:lnTo>
                  <a:lnTo>
                    <a:pt x="34814" y="65538"/>
                  </a:lnTo>
                  <a:lnTo>
                    <a:pt x="36296" y="67692"/>
                  </a:lnTo>
                  <a:lnTo>
                    <a:pt x="38518" y="69846"/>
                  </a:lnTo>
                  <a:lnTo>
                    <a:pt x="40000" y="70461"/>
                  </a:lnTo>
                  <a:lnTo>
                    <a:pt x="40000" y="71076"/>
                  </a:lnTo>
                  <a:lnTo>
                    <a:pt x="40000" y="72615"/>
                  </a:lnTo>
                  <a:lnTo>
                    <a:pt x="40000" y="74153"/>
                  </a:lnTo>
                  <a:lnTo>
                    <a:pt x="40000" y="74153"/>
                  </a:lnTo>
                  <a:lnTo>
                    <a:pt x="40000" y="75692"/>
                  </a:lnTo>
                  <a:lnTo>
                    <a:pt x="38518" y="75692"/>
                  </a:lnTo>
                  <a:lnTo>
                    <a:pt x="38518" y="76923"/>
                  </a:lnTo>
                  <a:lnTo>
                    <a:pt x="38518" y="77846"/>
                  </a:lnTo>
                  <a:lnTo>
                    <a:pt x="38518" y="78461"/>
                  </a:lnTo>
                  <a:lnTo>
                    <a:pt x="38518" y="80615"/>
                  </a:lnTo>
                  <a:lnTo>
                    <a:pt x="38518" y="81538"/>
                  </a:lnTo>
                  <a:lnTo>
                    <a:pt x="38518" y="81538"/>
                  </a:lnTo>
                  <a:lnTo>
                    <a:pt x="40000" y="80615"/>
                  </a:lnTo>
                  <a:lnTo>
                    <a:pt x="41481" y="80615"/>
                  </a:lnTo>
                  <a:lnTo>
                    <a:pt x="41481" y="80000"/>
                  </a:lnTo>
                  <a:lnTo>
                    <a:pt x="43703" y="79076"/>
                  </a:lnTo>
                  <a:lnTo>
                    <a:pt x="43703" y="79076"/>
                  </a:lnTo>
                  <a:lnTo>
                    <a:pt x="43703" y="78461"/>
                  </a:lnTo>
                  <a:lnTo>
                    <a:pt x="43703" y="78461"/>
                  </a:lnTo>
                  <a:lnTo>
                    <a:pt x="43703" y="78461"/>
                  </a:lnTo>
                  <a:lnTo>
                    <a:pt x="43703" y="79076"/>
                  </a:lnTo>
                  <a:lnTo>
                    <a:pt x="43703" y="80000"/>
                  </a:lnTo>
                  <a:lnTo>
                    <a:pt x="43703" y="80615"/>
                  </a:lnTo>
                  <a:lnTo>
                    <a:pt x="43703" y="81538"/>
                  </a:lnTo>
                  <a:lnTo>
                    <a:pt x="43703" y="81538"/>
                  </a:lnTo>
                  <a:lnTo>
                    <a:pt x="43703" y="82153"/>
                  </a:lnTo>
                  <a:lnTo>
                    <a:pt x="45185" y="81538"/>
                  </a:lnTo>
                  <a:lnTo>
                    <a:pt x="46666" y="81538"/>
                  </a:lnTo>
                  <a:lnTo>
                    <a:pt x="46666" y="80615"/>
                  </a:lnTo>
                  <a:lnTo>
                    <a:pt x="46666" y="80615"/>
                  </a:lnTo>
                  <a:lnTo>
                    <a:pt x="46666" y="80615"/>
                  </a:lnTo>
                  <a:lnTo>
                    <a:pt x="46666" y="80615"/>
                  </a:lnTo>
                  <a:lnTo>
                    <a:pt x="46666" y="81538"/>
                  </a:lnTo>
                  <a:lnTo>
                    <a:pt x="46666" y="81538"/>
                  </a:lnTo>
                  <a:lnTo>
                    <a:pt x="48888" y="82769"/>
                  </a:lnTo>
                  <a:lnTo>
                    <a:pt x="50370" y="82769"/>
                  </a:lnTo>
                  <a:lnTo>
                    <a:pt x="50370" y="82769"/>
                  </a:lnTo>
                  <a:lnTo>
                    <a:pt x="51851" y="82153"/>
                  </a:lnTo>
                  <a:lnTo>
                    <a:pt x="51851" y="81538"/>
                  </a:lnTo>
                  <a:lnTo>
                    <a:pt x="51851" y="80615"/>
                  </a:lnTo>
                  <a:lnTo>
                    <a:pt x="54074" y="81538"/>
                  </a:lnTo>
                  <a:lnTo>
                    <a:pt x="51851" y="82153"/>
                  </a:lnTo>
                  <a:lnTo>
                    <a:pt x="51851" y="82769"/>
                  </a:lnTo>
                  <a:lnTo>
                    <a:pt x="54074" y="83692"/>
                  </a:lnTo>
                  <a:lnTo>
                    <a:pt x="54074" y="83692"/>
                  </a:lnTo>
                  <a:lnTo>
                    <a:pt x="55555" y="82769"/>
                  </a:lnTo>
                  <a:lnTo>
                    <a:pt x="57037" y="81538"/>
                  </a:lnTo>
                  <a:lnTo>
                    <a:pt x="57037" y="81538"/>
                  </a:lnTo>
                  <a:lnTo>
                    <a:pt x="59259" y="80615"/>
                  </a:lnTo>
                  <a:lnTo>
                    <a:pt x="60740" y="80000"/>
                  </a:lnTo>
                  <a:lnTo>
                    <a:pt x="62962" y="80000"/>
                  </a:lnTo>
                  <a:lnTo>
                    <a:pt x="62962" y="79076"/>
                  </a:lnTo>
                  <a:lnTo>
                    <a:pt x="62962" y="79076"/>
                  </a:lnTo>
                  <a:lnTo>
                    <a:pt x="62962" y="79076"/>
                  </a:lnTo>
                  <a:lnTo>
                    <a:pt x="65925" y="79076"/>
                  </a:lnTo>
                  <a:lnTo>
                    <a:pt x="65925" y="78461"/>
                  </a:lnTo>
                  <a:lnTo>
                    <a:pt x="64444" y="77846"/>
                  </a:lnTo>
                  <a:lnTo>
                    <a:pt x="64444" y="77846"/>
                  </a:lnTo>
                  <a:lnTo>
                    <a:pt x="62962" y="76307"/>
                  </a:lnTo>
                  <a:lnTo>
                    <a:pt x="64444" y="76307"/>
                  </a:lnTo>
                  <a:lnTo>
                    <a:pt x="64444" y="76307"/>
                  </a:lnTo>
                  <a:lnTo>
                    <a:pt x="64444" y="76923"/>
                  </a:lnTo>
                  <a:lnTo>
                    <a:pt x="64444" y="77846"/>
                  </a:lnTo>
                  <a:lnTo>
                    <a:pt x="65925" y="78461"/>
                  </a:lnTo>
                  <a:lnTo>
                    <a:pt x="65925" y="78461"/>
                  </a:lnTo>
                  <a:lnTo>
                    <a:pt x="68148" y="78461"/>
                  </a:lnTo>
                  <a:lnTo>
                    <a:pt x="69629" y="77846"/>
                  </a:lnTo>
                  <a:lnTo>
                    <a:pt x="71111" y="76923"/>
                  </a:lnTo>
                  <a:lnTo>
                    <a:pt x="71111" y="76307"/>
                  </a:lnTo>
                  <a:lnTo>
                    <a:pt x="71111" y="75692"/>
                  </a:lnTo>
                  <a:lnTo>
                    <a:pt x="73333" y="74769"/>
                  </a:lnTo>
                  <a:lnTo>
                    <a:pt x="71111" y="73538"/>
                  </a:lnTo>
                  <a:lnTo>
                    <a:pt x="71111" y="73538"/>
                  </a:lnTo>
                  <a:lnTo>
                    <a:pt x="71111" y="72615"/>
                  </a:lnTo>
                  <a:lnTo>
                    <a:pt x="71111" y="72615"/>
                  </a:lnTo>
                  <a:lnTo>
                    <a:pt x="73333" y="72615"/>
                  </a:lnTo>
                  <a:lnTo>
                    <a:pt x="74814" y="73538"/>
                  </a:lnTo>
                  <a:lnTo>
                    <a:pt x="74814" y="74153"/>
                  </a:lnTo>
                  <a:lnTo>
                    <a:pt x="76296" y="74153"/>
                  </a:lnTo>
                  <a:lnTo>
                    <a:pt x="76296" y="74769"/>
                  </a:lnTo>
                  <a:lnTo>
                    <a:pt x="76296" y="75692"/>
                  </a:lnTo>
                  <a:lnTo>
                    <a:pt x="78518" y="76923"/>
                  </a:lnTo>
                  <a:lnTo>
                    <a:pt x="78518" y="76923"/>
                  </a:lnTo>
                  <a:lnTo>
                    <a:pt x="80000" y="78461"/>
                  </a:lnTo>
                  <a:lnTo>
                    <a:pt x="81481" y="77846"/>
                  </a:lnTo>
                  <a:lnTo>
                    <a:pt x="83703" y="77846"/>
                  </a:lnTo>
                  <a:lnTo>
                    <a:pt x="83703" y="77846"/>
                  </a:lnTo>
                  <a:lnTo>
                    <a:pt x="85185" y="77846"/>
                  </a:lnTo>
                  <a:lnTo>
                    <a:pt x="83703" y="78461"/>
                  </a:lnTo>
                  <a:lnTo>
                    <a:pt x="83703" y="78461"/>
                  </a:lnTo>
                  <a:lnTo>
                    <a:pt x="83703" y="80000"/>
                  </a:lnTo>
                  <a:lnTo>
                    <a:pt x="83703" y="80615"/>
                  </a:lnTo>
                  <a:lnTo>
                    <a:pt x="83703" y="81538"/>
                  </a:lnTo>
                  <a:lnTo>
                    <a:pt x="85185" y="82153"/>
                  </a:lnTo>
                  <a:lnTo>
                    <a:pt x="87407" y="84923"/>
                  </a:lnTo>
                  <a:lnTo>
                    <a:pt x="87407" y="85846"/>
                  </a:lnTo>
                  <a:lnTo>
                    <a:pt x="87407" y="86461"/>
                  </a:lnTo>
                  <a:lnTo>
                    <a:pt x="88888" y="88615"/>
                  </a:lnTo>
                  <a:lnTo>
                    <a:pt x="88888" y="89538"/>
                  </a:lnTo>
                  <a:lnTo>
                    <a:pt x="90370" y="89538"/>
                  </a:lnTo>
                  <a:lnTo>
                    <a:pt x="92592" y="90153"/>
                  </a:lnTo>
                  <a:lnTo>
                    <a:pt x="90370" y="90153"/>
                  </a:lnTo>
                  <a:lnTo>
                    <a:pt x="90370" y="90153"/>
                  </a:lnTo>
                  <a:lnTo>
                    <a:pt x="90370" y="91692"/>
                  </a:lnTo>
                  <a:lnTo>
                    <a:pt x="92592" y="92307"/>
                  </a:lnTo>
                  <a:lnTo>
                    <a:pt x="94074" y="93846"/>
                  </a:lnTo>
                  <a:lnTo>
                    <a:pt x="94074" y="94461"/>
                  </a:lnTo>
                  <a:lnTo>
                    <a:pt x="94074" y="95076"/>
                  </a:lnTo>
                  <a:lnTo>
                    <a:pt x="94074" y="96615"/>
                  </a:lnTo>
                  <a:lnTo>
                    <a:pt x="95555" y="96615"/>
                  </a:lnTo>
                  <a:lnTo>
                    <a:pt x="95555" y="94461"/>
                  </a:lnTo>
                  <a:lnTo>
                    <a:pt x="95555" y="95076"/>
                  </a:lnTo>
                  <a:lnTo>
                    <a:pt x="95555" y="95076"/>
                  </a:lnTo>
                  <a:lnTo>
                    <a:pt x="95555" y="96000"/>
                  </a:lnTo>
                  <a:lnTo>
                    <a:pt x="99259" y="98153"/>
                  </a:lnTo>
                  <a:lnTo>
                    <a:pt x="99259" y="98769"/>
                  </a:lnTo>
                  <a:lnTo>
                    <a:pt x="100740" y="100307"/>
                  </a:lnTo>
                  <a:lnTo>
                    <a:pt x="102962" y="100923"/>
                  </a:lnTo>
                  <a:lnTo>
                    <a:pt x="102962" y="101846"/>
                  </a:lnTo>
                  <a:lnTo>
                    <a:pt x="102962" y="102461"/>
                  </a:lnTo>
                  <a:lnTo>
                    <a:pt x="102962" y="103076"/>
                  </a:lnTo>
                  <a:lnTo>
                    <a:pt x="102962" y="104000"/>
                  </a:lnTo>
                  <a:lnTo>
                    <a:pt x="102962" y="104615"/>
                  </a:lnTo>
                  <a:lnTo>
                    <a:pt x="104444" y="105538"/>
                  </a:lnTo>
                  <a:lnTo>
                    <a:pt x="102962" y="105538"/>
                  </a:lnTo>
                  <a:lnTo>
                    <a:pt x="102962" y="106153"/>
                  </a:lnTo>
                  <a:lnTo>
                    <a:pt x="102962" y="106153"/>
                  </a:lnTo>
                  <a:lnTo>
                    <a:pt x="104444" y="106153"/>
                  </a:lnTo>
                  <a:lnTo>
                    <a:pt x="104444" y="106769"/>
                  </a:lnTo>
                  <a:lnTo>
                    <a:pt x="104444" y="106769"/>
                  </a:lnTo>
                  <a:lnTo>
                    <a:pt x="104444" y="107692"/>
                  </a:lnTo>
                  <a:lnTo>
                    <a:pt x="104444" y="108307"/>
                  </a:lnTo>
                  <a:lnTo>
                    <a:pt x="104444" y="108307"/>
                  </a:lnTo>
                  <a:lnTo>
                    <a:pt x="104444" y="108923"/>
                  </a:lnTo>
                  <a:lnTo>
                    <a:pt x="104444" y="108923"/>
                  </a:lnTo>
                  <a:lnTo>
                    <a:pt x="104444" y="108923"/>
                  </a:lnTo>
                  <a:lnTo>
                    <a:pt x="105925" y="108923"/>
                  </a:lnTo>
                  <a:lnTo>
                    <a:pt x="105925" y="108923"/>
                  </a:lnTo>
                  <a:lnTo>
                    <a:pt x="108148" y="108923"/>
                  </a:lnTo>
                  <a:lnTo>
                    <a:pt x="105925" y="109846"/>
                  </a:lnTo>
                  <a:lnTo>
                    <a:pt x="105925" y="110461"/>
                  </a:lnTo>
                  <a:lnTo>
                    <a:pt x="105925" y="110461"/>
                  </a:lnTo>
                  <a:lnTo>
                    <a:pt x="105925" y="111076"/>
                  </a:lnTo>
                  <a:lnTo>
                    <a:pt x="105925" y="112000"/>
                  </a:lnTo>
                  <a:lnTo>
                    <a:pt x="105925" y="112615"/>
                  </a:lnTo>
                  <a:lnTo>
                    <a:pt x="105925" y="113538"/>
                  </a:lnTo>
                  <a:lnTo>
                    <a:pt x="105925" y="114153"/>
                  </a:lnTo>
                  <a:lnTo>
                    <a:pt x="104444" y="114769"/>
                  </a:lnTo>
                  <a:lnTo>
                    <a:pt x="104444" y="115692"/>
                  </a:lnTo>
                  <a:lnTo>
                    <a:pt x="102962" y="115692"/>
                  </a:lnTo>
                  <a:lnTo>
                    <a:pt x="102962" y="116307"/>
                  </a:lnTo>
                  <a:lnTo>
                    <a:pt x="104444" y="118461"/>
                  </a:lnTo>
                  <a:lnTo>
                    <a:pt x="104444" y="119384"/>
                  </a:lnTo>
                  <a:lnTo>
                    <a:pt x="104444" y="120000"/>
                  </a:lnTo>
                  <a:lnTo>
                    <a:pt x="104444" y="120000"/>
                  </a:lnTo>
                  <a:lnTo>
                    <a:pt x="105925" y="119384"/>
                  </a:lnTo>
                  <a:lnTo>
                    <a:pt x="105925" y="119384"/>
                  </a:lnTo>
                  <a:lnTo>
                    <a:pt x="105925" y="118461"/>
                  </a:lnTo>
                  <a:lnTo>
                    <a:pt x="108148" y="118461"/>
                  </a:lnTo>
                  <a:lnTo>
                    <a:pt x="108148" y="117846"/>
                  </a:lnTo>
                  <a:lnTo>
                    <a:pt x="108148" y="116923"/>
                  </a:lnTo>
                  <a:lnTo>
                    <a:pt x="105925" y="116307"/>
                  </a:lnTo>
                  <a:lnTo>
                    <a:pt x="105925" y="116307"/>
                  </a:lnTo>
                  <a:lnTo>
                    <a:pt x="108148" y="115692"/>
                  </a:lnTo>
                  <a:lnTo>
                    <a:pt x="108148" y="115692"/>
                  </a:lnTo>
                  <a:lnTo>
                    <a:pt x="109629" y="114769"/>
                  </a:lnTo>
                  <a:lnTo>
                    <a:pt x="113333" y="113538"/>
                  </a:lnTo>
                  <a:lnTo>
                    <a:pt x="114814" y="111076"/>
                  </a:lnTo>
                  <a:lnTo>
                    <a:pt x="114814" y="110461"/>
                  </a:lnTo>
                  <a:lnTo>
                    <a:pt x="114814" y="109846"/>
                  </a:lnTo>
                  <a:lnTo>
                    <a:pt x="117037" y="109846"/>
                  </a:lnTo>
                  <a:lnTo>
                    <a:pt x="117037" y="109846"/>
                  </a:lnTo>
                  <a:lnTo>
                    <a:pt x="117037" y="108923"/>
                  </a:lnTo>
                  <a:lnTo>
                    <a:pt x="117037" y="108923"/>
                  </a:lnTo>
                  <a:lnTo>
                    <a:pt x="117037" y="106769"/>
                  </a:lnTo>
                  <a:lnTo>
                    <a:pt x="114814" y="106153"/>
                  </a:lnTo>
                  <a:lnTo>
                    <a:pt x="114814" y="105538"/>
                  </a:lnTo>
                  <a:lnTo>
                    <a:pt x="113333" y="104615"/>
                  </a:lnTo>
                  <a:lnTo>
                    <a:pt x="113333" y="104615"/>
                  </a:lnTo>
                  <a:lnTo>
                    <a:pt x="113333" y="104000"/>
                  </a:lnTo>
                  <a:lnTo>
                    <a:pt x="113333" y="104000"/>
                  </a:lnTo>
                  <a:lnTo>
                    <a:pt x="111851" y="103076"/>
                  </a:lnTo>
                  <a:lnTo>
                    <a:pt x="111851" y="102461"/>
                  </a:lnTo>
                  <a:lnTo>
                    <a:pt x="109629" y="101846"/>
                  </a:lnTo>
                  <a:lnTo>
                    <a:pt x="109629" y="100923"/>
                  </a:lnTo>
                  <a:lnTo>
                    <a:pt x="109629" y="100923"/>
                  </a:lnTo>
                  <a:lnTo>
                    <a:pt x="108148" y="100307"/>
                  </a:lnTo>
                  <a:lnTo>
                    <a:pt x="109629" y="99692"/>
                  </a:lnTo>
                  <a:lnTo>
                    <a:pt x="109629" y="99692"/>
                  </a:lnTo>
                  <a:lnTo>
                    <a:pt x="109629" y="98153"/>
                  </a:lnTo>
                  <a:lnTo>
                    <a:pt x="108148" y="97538"/>
                  </a:lnTo>
                  <a:lnTo>
                    <a:pt x="108148" y="96615"/>
                  </a:lnTo>
                  <a:lnTo>
                    <a:pt x="108148" y="96000"/>
                  </a:lnTo>
                  <a:lnTo>
                    <a:pt x="105925" y="95076"/>
                  </a:lnTo>
                  <a:lnTo>
                    <a:pt x="104444" y="94461"/>
                  </a:lnTo>
                  <a:lnTo>
                    <a:pt x="102962" y="92923"/>
                  </a:lnTo>
                  <a:lnTo>
                    <a:pt x="99259" y="92307"/>
                  </a:lnTo>
                  <a:lnTo>
                    <a:pt x="99259" y="91692"/>
                  </a:lnTo>
                  <a:lnTo>
                    <a:pt x="97777" y="90769"/>
                  </a:lnTo>
                  <a:lnTo>
                    <a:pt x="95555" y="90153"/>
                  </a:lnTo>
                  <a:lnTo>
                    <a:pt x="94074" y="89538"/>
                  </a:lnTo>
                  <a:lnTo>
                    <a:pt x="94074" y="88000"/>
                  </a:lnTo>
                  <a:lnTo>
                    <a:pt x="92592" y="87076"/>
                  </a:lnTo>
                  <a:lnTo>
                    <a:pt x="92592" y="86461"/>
                  </a:lnTo>
                  <a:lnTo>
                    <a:pt x="94074" y="86461"/>
                  </a:lnTo>
                  <a:lnTo>
                    <a:pt x="94074" y="86461"/>
                  </a:lnTo>
                  <a:lnTo>
                    <a:pt x="95555" y="86461"/>
                  </a:lnTo>
                  <a:lnTo>
                    <a:pt x="95555" y="85846"/>
                  </a:lnTo>
                  <a:lnTo>
                    <a:pt x="97777" y="85846"/>
                  </a:lnTo>
                  <a:lnTo>
                    <a:pt x="97777" y="85846"/>
                  </a:lnTo>
                  <a:lnTo>
                    <a:pt x="97777" y="85846"/>
                  </a:lnTo>
                  <a:lnTo>
                    <a:pt x="97777" y="84307"/>
                  </a:lnTo>
                  <a:lnTo>
                    <a:pt x="97777" y="82769"/>
                  </a:lnTo>
                  <a:lnTo>
                    <a:pt x="97777" y="82153"/>
                  </a:lnTo>
                  <a:lnTo>
                    <a:pt x="97777" y="81538"/>
                  </a:lnTo>
                  <a:lnTo>
                    <a:pt x="99259" y="80615"/>
                  </a:lnTo>
                  <a:lnTo>
                    <a:pt x="100740" y="80000"/>
                  </a:lnTo>
                  <a:lnTo>
                    <a:pt x="100740" y="80000"/>
                  </a:lnTo>
                  <a:lnTo>
                    <a:pt x="100740" y="79076"/>
                  </a:lnTo>
                  <a:lnTo>
                    <a:pt x="100740" y="79076"/>
                  </a:lnTo>
                  <a:lnTo>
                    <a:pt x="99259" y="78461"/>
                  </a:lnTo>
                  <a:lnTo>
                    <a:pt x="97777" y="79076"/>
                  </a:lnTo>
                  <a:lnTo>
                    <a:pt x="97777" y="79076"/>
                  </a:lnTo>
                  <a:lnTo>
                    <a:pt x="95555" y="78461"/>
                  </a:lnTo>
                  <a:lnTo>
                    <a:pt x="95555" y="77846"/>
                  </a:lnTo>
                  <a:lnTo>
                    <a:pt x="95555" y="76923"/>
                  </a:lnTo>
                  <a:lnTo>
                    <a:pt x="94074" y="76923"/>
                  </a:lnTo>
                  <a:lnTo>
                    <a:pt x="94074" y="75692"/>
                  </a:lnTo>
                  <a:lnTo>
                    <a:pt x="94074" y="74769"/>
                  </a:lnTo>
                  <a:lnTo>
                    <a:pt x="90370" y="74153"/>
                  </a:lnTo>
                  <a:lnTo>
                    <a:pt x="88888" y="73538"/>
                  </a:lnTo>
                  <a:lnTo>
                    <a:pt x="87407" y="72615"/>
                  </a:lnTo>
                  <a:lnTo>
                    <a:pt x="85185" y="71076"/>
                  </a:lnTo>
                  <a:lnTo>
                    <a:pt x="83703" y="70461"/>
                  </a:lnTo>
                  <a:lnTo>
                    <a:pt x="81481" y="69846"/>
                  </a:lnTo>
                  <a:lnTo>
                    <a:pt x="81481" y="69846"/>
                  </a:lnTo>
                  <a:lnTo>
                    <a:pt x="81481" y="69846"/>
                  </a:lnTo>
                  <a:lnTo>
                    <a:pt x="81481" y="68923"/>
                  </a:lnTo>
                  <a:lnTo>
                    <a:pt x="81481" y="68307"/>
                  </a:lnTo>
                  <a:lnTo>
                    <a:pt x="80000" y="67692"/>
                  </a:lnTo>
                  <a:lnTo>
                    <a:pt x="80000" y="66769"/>
                  </a:lnTo>
                  <a:lnTo>
                    <a:pt x="80000" y="66769"/>
                  </a:lnTo>
                  <a:lnTo>
                    <a:pt x="80000" y="66769"/>
                  </a:lnTo>
                  <a:lnTo>
                    <a:pt x="78518" y="66769"/>
                  </a:lnTo>
                  <a:lnTo>
                    <a:pt x="76296" y="66153"/>
                  </a:lnTo>
                  <a:lnTo>
                    <a:pt x="76296" y="65538"/>
                  </a:lnTo>
                  <a:lnTo>
                    <a:pt x="76296" y="65538"/>
                  </a:lnTo>
                  <a:lnTo>
                    <a:pt x="76296" y="65538"/>
                  </a:lnTo>
                  <a:lnTo>
                    <a:pt x="78518" y="65538"/>
                  </a:lnTo>
                  <a:lnTo>
                    <a:pt x="78518" y="65538"/>
                  </a:lnTo>
                  <a:lnTo>
                    <a:pt x="78518" y="65538"/>
                  </a:lnTo>
                  <a:lnTo>
                    <a:pt x="80000" y="64615"/>
                  </a:lnTo>
                  <a:lnTo>
                    <a:pt x="80000" y="64615"/>
                  </a:lnTo>
                  <a:lnTo>
                    <a:pt x="80000" y="64615"/>
                  </a:lnTo>
                  <a:lnTo>
                    <a:pt x="81481" y="64615"/>
                  </a:lnTo>
                  <a:lnTo>
                    <a:pt x="80000" y="62461"/>
                  </a:lnTo>
                  <a:lnTo>
                    <a:pt x="80000" y="61846"/>
                  </a:lnTo>
                  <a:lnTo>
                    <a:pt x="80000" y="60923"/>
                  </a:lnTo>
                  <a:lnTo>
                    <a:pt x="80000" y="60307"/>
                  </a:lnTo>
                  <a:lnTo>
                    <a:pt x="80000" y="58769"/>
                  </a:lnTo>
                  <a:lnTo>
                    <a:pt x="81481" y="58153"/>
                  </a:lnTo>
                  <a:lnTo>
                    <a:pt x="81481" y="58153"/>
                  </a:lnTo>
                  <a:lnTo>
                    <a:pt x="81481" y="57538"/>
                  </a:lnTo>
                  <a:lnTo>
                    <a:pt x="81481" y="57538"/>
                  </a:lnTo>
                  <a:lnTo>
                    <a:pt x="83703" y="57538"/>
                  </a:lnTo>
                  <a:lnTo>
                    <a:pt x="85185" y="57538"/>
                  </a:lnTo>
                  <a:lnTo>
                    <a:pt x="85185" y="57538"/>
                  </a:lnTo>
                  <a:lnTo>
                    <a:pt x="87407" y="57538"/>
                  </a:lnTo>
                  <a:lnTo>
                    <a:pt x="88888" y="57538"/>
                  </a:lnTo>
                  <a:lnTo>
                    <a:pt x="88888" y="57538"/>
                  </a:lnTo>
                  <a:lnTo>
                    <a:pt x="92592" y="57538"/>
                  </a:lnTo>
                  <a:lnTo>
                    <a:pt x="92592" y="56615"/>
                  </a:lnTo>
                  <a:lnTo>
                    <a:pt x="94074" y="57538"/>
                  </a:lnTo>
                  <a:lnTo>
                    <a:pt x="94074" y="56615"/>
                  </a:lnTo>
                  <a:lnTo>
                    <a:pt x="94074" y="56615"/>
                  </a:lnTo>
                  <a:lnTo>
                    <a:pt x="95555" y="56615"/>
                  </a:lnTo>
                  <a:lnTo>
                    <a:pt x="95555" y="55076"/>
                  </a:lnTo>
                  <a:lnTo>
                    <a:pt x="95555" y="55076"/>
                  </a:lnTo>
                  <a:lnTo>
                    <a:pt x="95555" y="55076"/>
                  </a:lnTo>
                  <a:lnTo>
                    <a:pt x="95555" y="54461"/>
                  </a:lnTo>
                  <a:lnTo>
                    <a:pt x="97777" y="54461"/>
                  </a:lnTo>
                  <a:lnTo>
                    <a:pt x="99259" y="55076"/>
                  </a:lnTo>
                  <a:lnTo>
                    <a:pt x="99259" y="55076"/>
                  </a:lnTo>
                  <a:lnTo>
                    <a:pt x="100740" y="55076"/>
                  </a:lnTo>
                  <a:lnTo>
                    <a:pt x="100740" y="54461"/>
                  </a:lnTo>
                  <a:lnTo>
                    <a:pt x="100740" y="54461"/>
                  </a:lnTo>
                  <a:lnTo>
                    <a:pt x="100740" y="54461"/>
                  </a:lnTo>
                  <a:lnTo>
                    <a:pt x="100740" y="53846"/>
                  </a:lnTo>
                  <a:lnTo>
                    <a:pt x="100740" y="52923"/>
                  </a:lnTo>
                  <a:lnTo>
                    <a:pt x="100740" y="52923"/>
                  </a:lnTo>
                  <a:lnTo>
                    <a:pt x="100740" y="52923"/>
                  </a:lnTo>
                  <a:lnTo>
                    <a:pt x="102962" y="53846"/>
                  </a:lnTo>
                  <a:lnTo>
                    <a:pt x="104444" y="53846"/>
                  </a:lnTo>
                  <a:lnTo>
                    <a:pt x="104444" y="52923"/>
                  </a:lnTo>
                  <a:lnTo>
                    <a:pt x="105925" y="52923"/>
                  </a:lnTo>
                  <a:lnTo>
                    <a:pt x="105925" y="52923"/>
                  </a:lnTo>
                  <a:lnTo>
                    <a:pt x="105925" y="52923"/>
                  </a:lnTo>
                  <a:lnTo>
                    <a:pt x="108148" y="52923"/>
                  </a:lnTo>
                  <a:lnTo>
                    <a:pt x="109629" y="53846"/>
                  </a:lnTo>
                  <a:lnTo>
                    <a:pt x="109629" y="52923"/>
                  </a:lnTo>
                  <a:lnTo>
                    <a:pt x="109629" y="51692"/>
                  </a:lnTo>
                  <a:lnTo>
                    <a:pt x="109629" y="50769"/>
                  </a:lnTo>
                  <a:lnTo>
                    <a:pt x="111851" y="50153"/>
                  </a:lnTo>
                  <a:lnTo>
                    <a:pt x="113333" y="50153"/>
                  </a:lnTo>
                  <a:lnTo>
                    <a:pt x="113333" y="50153"/>
                  </a:lnTo>
                  <a:lnTo>
                    <a:pt x="114814" y="50153"/>
                  </a:lnTo>
                  <a:lnTo>
                    <a:pt x="114814" y="50153"/>
                  </a:lnTo>
                  <a:lnTo>
                    <a:pt x="114814" y="50153"/>
                  </a:lnTo>
                  <a:lnTo>
                    <a:pt x="114814" y="50153"/>
                  </a:lnTo>
                  <a:lnTo>
                    <a:pt x="113333" y="49538"/>
                  </a:lnTo>
                  <a:lnTo>
                    <a:pt x="113333" y="49538"/>
                  </a:lnTo>
                  <a:lnTo>
                    <a:pt x="113333" y="48615"/>
                  </a:lnTo>
                  <a:lnTo>
                    <a:pt x="114814" y="48615"/>
                  </a:lnTo>
                  <a:lnTo>
                    <a:pt x="114814" y="48000"/>
                  </a:lnTo>
                  <a:lnTo>
                    <a:pt x="114814" y="47076"/>
                  </a:lnTo>
                  <a:lnTo>
                    <a:pt x="117037" y="47076"/>
                  </a:lnTo>
                  <a:lnTo>
                    <a:pt x="117037" y="47076"/>
                  </a:lnTo>
                  <a:lnTo>
                    <a:pt x="118518" y="46461"/>
                  </a:lnTo>
                  <a:lnTo>
                    <a:pt x="120000" y="45846"/>
                  </a:lnTo>
                  <a:lnTo>
                    <a:pt x="120000" y="44923"/>
                  </a:lnTo>
                  <a:lnTo>
                    <a:pt x="120000" y="44923"/>
                  </a:lnTo>
                  <a:lnTo>
                    <a:pt x="120000" y="44307"/>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24" name="Shape 424"/>
            <p:cNvSpPr/>
            <p:nvPr/>
          </p:nvSpPr>
          <p:spPr>
            <a:xfrm>
              <a:off x="4211" y="3028"/>
              <a:ext cx="300" cy="300"/>
            </a:xfrm>
            <a:custGeom>
              <a:avLst/>
              <a:gdLst/>
              <a:ahLst/>
              <a:cxnLst/>
              <a:rect l="0" t="0" r="0" b="0"/>
              <a:pathLst>
                <a:path w="120000" h="120000" extrusionOk="0">
                  <a:moveTo>
                    <a:pt x="119999" y="30778"/>
                  </a:moveTo>
                  <a:lnTo>
                    <a:pt x="119999" y="30086"/>
                  </a:lnTo>
                  <a:lnTo>
                    <a:pt x="119999" y="30086"/>
                  </a:lnTo>
                  <a:lnTo>
                    <a:pt x="119999" y="29394"/>
                  </a:lnTo>
                  <a:lnTo>
                    <a:pt x="118775" y="29394"/>
                  </a:lnTo>
                  <a:lnTo>
                    <a:pt x="118775" y="29394"/>
                  </a:lnTo>
                  <a:lnTo>
                    <a:pt x="116938" y="30086"/>
                  </a:lnTo>
                  <a:lnTo>
                    <a:pt x="116938" y="29394"/>
                  </a:lnTo>
                  <a:lnTo>
                    <a:pt x="116938" y="29394"/>
                  </a:lnTo>
                  <a:lnTo>
                    <a:pt x="118775" y="28357"/>
                  </a:lnTo>
                  <a:lnTo>
                    <a:pt x="118775" y="27665"/>
                  </a:lnTo>
                  <a:lnTo>
                    <a:pt x="118775" y="27665"/>
                  </a:lnTo>
                  <a:lnTo>
                    <a:pt x="116938" y="27665"/>
                  </a:lnTo>
                  <a:lnTo>
                    <a:pt x="116938" y="26974"/>
                  </a:lnTo>
                  <a:lnTo>
                    <a:pt x="116938" y="25244"/>
                  </a:lnTo>
                  <a:lnTo>
                    <a:pt x="116938" y="23515"/>
                  </a:lnTo>
                  <a:lnTo>
                    <a:pt x="116938" y="22824"/>
                  </a:lnTo>
                  <a:lnTo>
                    <a:pt x="116938" y="21786"/>
                  </a:lnTo>
                  <a:lnTo>
                    <a:pt x="116938" y="21095"/>
                  </a:lnTo>
                  <a:lnTo>
                    <a:pt x="116938" y="21095"/>
                  </a:lnTo>
                  <a:lnTo>
                    <a:pt x="116938" y="20403"/>
                  </a:lnTo>
                  <a:lnTo>
                    <a:pt x="116938" y="19365"/>
                  </a:lnTo>
                  <a:lnTo>
                    <a:pt x="116938" y="19365"/>
                  </a:lnTo>
                  <a:lnTo>
                    <a:pt x="116938" y="18674"/>
                  </a:lnTo>
                  <a:lnTo>
                    <a:pt x="115714" y="18674"/>
                  </a:lnTo>
                  <a:lnTo>
                    <a:pt x="115714" y="18674"/>
                  </a:lnTo>
                  <a:lnTo>
                    <a:pt x="115714" y="17982"/>
                  </a:lnTo>
                  <a:lnTo>
                    <a:pt x="116938" y="17982"/>
                  </a:lnTo>
                  <a:lnTo>
                    <a:pt x="116938" y="16945"/>
                  </a:lnTo>
                  <a:lnTo>
                    <a:pt x="116938" y="16253"/>
                  </a:lnTo>
                  <a:lnTo>
                    <a:pt x="116938" y="15216"/>
                  </a:lnTo>
                  <a:lnTo>
                    <a:pt x="116938" y="15216"/>
                  </a:lnTo>
                  <a:lnTo>
                    <a:pt x="116938" y="14524"/>
                  </a:lnTo>
                  <a:lnTo>
                    <a:pt x="116938" y="13832"/>
                  </a:lnTo>
                  <a:lnTo>
                    <a:pt x="116938" y="12103"/>
                  </a:lnTo>
                  <a:lnTo>
                    <a:pt x="116938" y="11412"/>
                  </a:lnTo>
                  <a:lnTo>
                    <a:pt x="116938" y="11412"/>
                  </a:lnTo>
                  <a:lnTo>
                    <a:pt x="116938" y="10374"/>
                  </a:lnTo>
                  <a:lnTo>
                    <a:pt x="115714" y="8991"/>
                  </a:lnTo>
                  <a:lnTo>
                    <a:pt x="116938" y="7262"/>
                  </a:lnTo>
                  <a:lnTo>
                    <a:pt x="115714" y="6224"/>
                  </a:lnTo>
                  <a:lnTo>
                    <a:pt x="115714" y="6224"/>
                  </a:lnTo>
                  <a:lnTo>
                    <a:pt x="116938" y="5533"/>
                  </a:lnTo>
                  <a:lnTo>
                    <a:pt x="118775" y="4841"/>
                  </a:lnTo>
                  <a:lnTo>
                    <a:pt x="116938" y="3804"/>
                  </a:lnTo>
                  <a:lnTo>
                    <a:pt x="116938" y="3804"/>
                  </a:lnTo>
                  <a:lnTo>
                    <a:pt x="116938" y="3804"/>
                  </a:lnTo>
                  <a:lnTo>
                    <a:pt x="118775" y="3112"/>
                  </a:lnTo>
                  <a:lnTo>
                    <a:pt x="116938" y="2420"/>
                  </a:lnTo>
                  <a:lnTo>
                    <a:pt x="118775" y="2420"/>
                  </a:lnTo>
                  <a:lnTo>
                    <a:pt x="118775" y="1383"/>
                  </a:lnTo>
                  <a:lnTo>
                    <a:pt x="116938" y="691"/>
                  </a:lnTo>
                  <a:lnTo>
                    <a:pt x="116938" y="0"/>
                  </a:lnTo>
                  <a:lnTo>
                    <a:pt x="115714" y="691"/>
                  </a:lnTo>
                  <a:lnTo>
                    <a:pt x="114489" y="1383"/>
                  </a:lnTo>
                  <a:lnTo>
                    <a:pt x="111428" y="3112"/>
                  </a:lnTo>
                  <a:lnTo>
                    <a:pt x="110204" y="3112"/>
                  </a:lnTo>
                  <a:lnTo>
                    <a:pt x="108367" y="3804"/>
                  </a:lnTo>
                  <a:lnTo>
                    <a:pt x="107142" y="3804"/>
                  </a:lnTo>
                  <a:lnTo>
                    <a:pt x="105918" y="4841"/>
                  </a:lnTo>
                  <a:lnTo>
                    <a:pt x="104081" y="4841"/>
                  </a:lnTo>
                  <a:lnTo>
                    <a:pt x="102857" y="5533"/>
                  </a:lnTo>
                  <a:lnTo>
                    <a:pt x="99795" y="5533"/>
                  </a:lnTo>
                  <a:lnTo>
                    <a:pt x="98571" y="5533"/>
                  </a:lnTo>
                  <a:lnTo>
                    <a:pt x="95510" y="6224"/>
                  </a:lnTo>
                  <a:lnTo>
                    <a:pt x="94285" y="7262"/>
                  </a:lnTo>
                  <a:lnTo>
                    <a:pt x="92448" y="6224"/>
                  </a:lnTo>
                  <a:lnTo>
                    <a:pt x="91224" y="6224"/>
                  </a:lnTo>
                  <a:lnTo>
                    <a:pt x="89999" y="6224"/>
                  </a:lnTo>
                  <a:lnTo>
                    <a:pt x="88163" y="6224"/>
                  </a:lnTo>
                  <a:lnTo>
                    <a:pt x="88163" y="6224"/>
                  </a:lnTo>
                  <a:lnTo>
                    <a:pt x="86938" y="7262"/>
                  </a:lnTo>
                  <a:lnTo>
                    <a:pt x="86938" y="7953"/>
                  </a:lnTo>
                  <a:lnTo>
                    <a:pt x="85714" y="7953"/>
                  </a:lnTo>
                  <a:lnTo>
                    <a:pt x="83877" y="8991"/>
                  </a:lnTo>
                  <a:lnTo>
                    <a:pt x="80816" y="9682"/>
                  </a:lnTo>
                  <a:lnTo>
                    <a:pt x="79591" y="8991"/>
                  </a:lnTo>
                  <a:lnTo>
                    <a:pt x="78367" y="8991"/>
                  </a:lnTo>
                  <a:lnTo>
                    <a:pt x="78367" y="8991"/>
                  </a:lnTo>
                  <a:lnTo>
                    <a:pt x="76530" y="7953"/>
                  </a:lnTo>
                  <a:lnTo>
                    <a:pt x="76530" y="7953"/>
                  </a:lnTo>
                  <a:lnTo>
                    <a:pt x="75306" y="8991"/>
                  </a:lnTo>
                  <a:lnTo>
                    <a:pt x="74081" y="8991"/>
                  </a:lnTo>
                  <a:lnTo>
                    <a:pt x="72244" y="9682"/>
                  </a:lnTo>
                  <a:lnTo>
                    <a:pt x="69795" y="9682"/>
                  </a:lnTo>
                  <a:lnTo>
                    <a:pt x="67959" y="8991"/>
                  </a:lnTo>
                  <a:lnTo>
                    <a:pt x="67959" y="8991"/>
                  </a:lnTo>
                  <a:lnTo>
                    <a:pt x="66734" y="7953"/>
                  </a:lnTo>
                  <a:lnTo>
                    <a:pt x="65510" y="7262"/>
                  </a:lnTo>
                  <a:lnTo>
                    <a:pt x="63673" y="7262"/>
                  </a:lnTo>
                  <a:lnTo>
                    <a:pt x="62448" y="7953"/>
                  </a:lnTo>
                  <a:lnTo>
                    <a:pt x="62448" y="7953"/>
                  </a:lnTo>
                  <a:lnTo>
                    <a:pt x="60612" y="8991"/>
                  </a:lnTo>
                  <a:lnTo>
                    <a:pt x="60612" y="8991"/>
                  </a:lnTo>
                  <a:lnTo>
                    <a:pt x="59387" y="8991"/>
                  </a:lnTo>
                  <a:lnTo>
                    <a:pt x="59387" y="7953"/>
                  </a:lnTo>
                  <a:lnTo>
                    <a:pt x="56326" y="7953"/>
                  </a:lnTo>
                  <a:lnTo>
                    <a:pt x="55102" y="7953"/>
                  </a:lnTo>
                  <a:lnTo>
                    <a:pt x="53877" y="7953"/>
                  </a:lnTo>
                  <a:lnTo>
                    <a:pt x="50816" y="7953"/>
                  </a:lnTo>
                  <a:lnTo>
                    <a:pt x="50816" y="8991"/>
                  </a:lnTo>
                  <a:lnTo>
                    <a:pt x="50816" y="8991"/>
                  </a:lnTo>
                  <a:lnTo>
                    <a:pt x="49591" y="10374"/>
                  </a:lnTo>
                  <a:lnTo>
                    <a:pt x="49591" y="10374"/>
                  </a:lnTo>
                  <a:lnTo>
                    <a:pt x="49591" y="11412"/>
                  </a:lnTo>
                  <a:lnTo>
                    <a:pt x="47755" y="12103"/>
                  </a:lnTo>
                  <a:lnTo>
                    <a:pt x="47755" y="12795"/>
                  </a:lnTo>
                  <a:lnTo>
                    <a:pt x="47755" y="12795"/>
                  </a:lnTo>
                  <a:lnTo>
                    <a:pt x="47755" y="14524"/>
                  </a:lnTo>
                  <a:lnTo>
                    <a:pt x="49591" y="15216"/>
                  </a:lnTo>
                  <a:lnTo>
                    <a:pt x="49591" y="16253"/>
                  </a:lnTo>
                  <a:lnTo>
                    <a:pt x="49591" y="17982"/>
                  </a:lnTo>
                  <a:lnTo>
                    <a:pt x="49591" y="19365"/>
                  </a:lnTo>
                  <a:lnTo>
                    <a:pt x="49591" y="20403"/>
                  </a:lnTo>
                  <a:lnTo>
                    <a:pt x="49591" y="21095"/>
                  </a:lnTo>
                  <a:lnTo>
                    <a:pt x="49591" y="21786"/>
                  </a:lnTo>
                  <a:lnTo>
                    <a:pt x="50816" y="21786"/>
                  </a:lnTo>
                  <a:lnTo>
                    <a:pt x="52040" y="22824"/>
                  </a:lnTo>
                  <a:lnTo>
                    <a:pt x="53877" y="22824"/>
                  </a:lnTo>
                  <a:lnTo>
                    <a:pt x="55102" y="23515"/>
                  </a:lnTo>
                  <a:lnTo>
                    <a:pt x="56326" y="25244"/>
                  </a:lnTo>
                  <a:lnTo>
                    <a:pt x="58163" y="26974"/>
                  </a:lnTo>
                  <a:lnTo>
                    <a:pt x="59387" y="27665"/>
                  </a:lnTo>
                  <a:lnTo>
                    <a:pt x="62448" y="29394"/>
                  </a:lnTo>
                  <a:lnTo>
                    <a:pt x="63673" y="30778"/>
                  </a:lnTo>
                  <a:lnTo>
                    <a:pt x="63673" y="32507"/>
                  </a:lnTo>
                  <a:lnTo>
                    <a:pt x="63673" y="32507"/>
                  </a:lnTo>
                  <a:lnTo>
                    <a:pt x="63673" y="33544"/>
                  </a:lnTo>
                  <a:lnTo>
                    <a:pt x="62448" y="34927"/>
                  </a:lnTo>
                  <a:lnTo>
                    <a:pt x="63673" y="36657"/>
                  </a:lnTo>
                  <a:lnTo>
                    <a:pt x="62448" y="38386"/>
                  </a:lnTo>
                  <a:lnTo>
                    <a:pt x="62448" y="40806"/>
                  </a:lnTo>
                  <a:lnTo>
                    <a:pt x="62448" y="40806"/>
                  </a:lnTo>
                  <a:lnTo>
                    <a:pt x="60612" y="41498"/>
                  </a:lnTo>
                  <a:lnTo>
                    <a:pt x="60612" y="41498"/>
                  </a:lnTo>
                  <a:lnTo>
                    <a:pt x="58163" y="41498"/>
                  </a:lnTo>
                  <a:lnTo>
                    <a:pt x="56326" y="42536"/>
                  </a:lnTo>
                  <a:lnTo>
                    <a:pt x="56326" y="42536"/>
                  </a:lnTo>
                  <a:lnTo>
                    <a:pt x="56326" y="43227"/>
                  </a:lnTo>
                  <a:lnTo>
                    <a:pt x="55102" y="43919"/>
                  </a:lnTo>
                  <a:lnTo>
                    <a:pt x="55102" y="44956"/>
                  </a:lnTo>
                  <a:lnTo>
                    <a:pt x="55102" y="44956"/>
                  </a:lnTo>
                  <a:lnTo>
                    <a:pt x="56326" y="45648"/>
                  </a:lnTo>
                  <a:lnTo>
                    <a:pt x="56326" y="46340"/>
                  </a:lnTo>
                  <a:lnTo>
                    <a:pt x="56326" y="48760"/>
                  </a:lnTo>
                  <a:lnTo>
                    <a:pt x="56326" y="48760"/>
                  </a:lnTo>
                  <a:lnTo>
                    <a:pt x="55102" y="48760"/>
                  </a:lnTo>
                  <a:lnTo>
                    <a:pt x="55102" y="48760"/>
                  </a:lnTo>
                  <a:lnTo>
                    <a:pt x="53877" y="48760"/>
                  </a:lnTo>
                  <a:lnTo>
                    <a:pt x="53877" y="48760"/>
                  </a:lnTo>
                  <a:lnTo>
                    <a:pt x="53877" y="48069"/>
                  </a:lnTo>
                  <a:lnTo>
                    <a:pt x="53877" y="48069"/>
                  </a:lnTo>
                  <a:lnTo>
                    <a:pt x="55102" y="47377"/>
                  </a:lnTo>
                  <a:lnTo>
                    <a:pt x="53877" y="46340"/>
                  </a:lnTo>
                  <a:lnTo>
                    <a:pt x="53877" y="46340"/>
                  </a:lnTo>
                  <a:lnTo>
                    <a:pt x="52040" y="46340"/>
                  </a:lnTo>
                  <a:lnTo>
                    <a:pt x="50816" y="44956"/>
                  </a:lnTo>
                  <a:lnTo>
                    <a:pt x="49591" y="43919"/>
                  </a:lnTo>
                  <a:lnTo>
                    <a:pt x="47755" y="43227"/>
                  </a:lnTo>
                  <a:lnTo>
                    <a:pt x="46530" y="42536"/>
                  </a:lnTo>
                  <a:lnTo>
                    <a:pt x="46530" y="42536"/>
                  </a:lnTo>
                  <a:lnTo>
                    <a:pt x="46530" y="42536"/>
                  </a:lnTo>
                  <a:lnTo>
                    <a:pt x="46530" y="41498"/>
                  </a:lnTo>
                  <a:lnTo>
                    <a:pt x="46530" y="41498"/>
                  </a:lnTo>
                  <a:lnTo>
                    <a:pt x="46530" y="40806"/>
                  </a:lnTo>
                  <a:lnTo>
                    <a:pt x="45306" y="39769"/>
                  </a:lnTo>
                  <a:lnTo>
                    <a:pt x="45306" y="39769"/>
                  </a:lnTo>
                  <a:lnTo>
                    <a:pt x="45306" y="39077"/>
                  </a:lnTo>
                  <a:lnTo>
                    <a:pt x="45306" y="39077"/>
                  </a:lnTo>
                  <a:lnTo>
                    <a:pt x="46530" y="38386"/>
                  </a:lnTo>
                  <a:lnTo>
                    <a:pt x="46530" y="37348"/>
                  </a:lnTo>
                  <a:lnTo>
                    <a:pt x="47755" y="36657"/>
                  </a:lnTo>
                  <a:lnTo>
                    <a:pt x="47755" y="35965"/>
                  </a:lnTo>
                  <a:lnTo>
                    <a:pt x="49591" y="34236"/>
                  </a:lnTo>
                  <a:lnTo>
                    <a:pt x="49591" y="33544"/>
                  </a:lnTo>
                  <a:lnTo>
                    <a:pt x="49591" y="32507"/>
                  </a:lnTo>
                  <a:lnTo>
                    <a:pt x="49591" y="31815"/>
                  </a:lnTo>
                  <a:lnTo>
                    <a:pt x="47755" y="30086"/>
                  </a:lnTo>
                  <a:lnTo>
                    <a:pt x="46530" y="29394"/>
                  </a:lnTo>
                  <a:lnTo>
                    <a:pt x="46530" y="29394"/>
                  </a:lnTo>
                  <a:lnTo>
                    <a:pt x="45306" y="29394"/>
                  </a:lnTo>
                  <a:lnTo>
                    <a:pt x="43469" y="29394"/>
                  </a:lnTo>
                  <a:lnTo>
                    <a:pt x="43469" y="29394"/>
                  </a:lnTo>
                  <a:lnTo>
                    <a:pt x="42244" y="29394"/>
                  </a:lnTo>
                  <a:lnTo>
                    <a:pt x="40408" y="30086"/>
                  </a:lnTo>
                  <a:lnTo>
                    <a:pt x="39183" y="30086"/>
                  </a:lnTo>
                  <a:lnTo>
                    <a:pt x="39183" y="30086"/>
                  </a:lnTo>
                  <a:lnTo>
                    <a:pt x="39183" y="30086"/>
                  </a:lnTo>
                  <a:lnTo>
                    <a:pt x="37959" y="29394"/>
                  </a:lnTo>
                  <a:lnTo>
                    <a:pt x="36122" y="28357"/>
                  </a:lnTo>
                  <a:lnTo>
                    <a:pt x="34897" y="25936"/>
                  </a:lnTo>
                  <a:lnTo>
                    <a:pt x="33673" y="25936"/>
                  </a:lnTo>
                  <a:lnTo>
                    <a:pt x="31836" y="26974"/>
                  </a:lnTo>
                  <a:lnTo>
                    <a:pt x="30612" y="26974"/>
                  </a:lnTo>
                  <a:lnTo>
                    <a:pt x="26326" y="27665"/>
                  </a:lnTo>
                  <a:lnTo>
                    <a:pt x="23265" y="28357"/>
                  </a:lnTo>
                  <a:lnTo>
                    <a:pt x="22040" y="28357"/>
                  </a:lnTo>
                  <a:lnTo>
                    <a:pt x="20204" y="28357"/>
                  </a:lnTo>
                  <a:lnTo>
                    <a:pt x="20204" y="29394"/>
                  </a:lnTo>
                  <a:lnTo>
                    <a:pt x="17755" y="29394"/>
                  </a:lnTo>
                  <a:lnTo>
                    <a:pt x="15918" y="30086"/>
                  </a:lnTo>
                  <a:lnTo>
                    <a:pt x="14693" y="30086"/>
                  </a:lnTo>
                  <a:lnTo>
                    <a:pt x="13469" y="30778"/>
                  </a:lnTo>
                  <a:lnTo>
                    <a:pt x="10408" y="30778"/>
                  </a:lnTo>
                  <a:lnTo>
                    <a:pt x="7346" y="31815"/>
                  </a:lnTo>
                  <a:lnTo>
                    <a:pt x="4897" y="31815"/>
                  </a:lnTo>
                  <a:lnTo>
                    <a:pt x="3061" y="32507"/>
                  </a:lnTo>
                  <a:lnTo>
                    <a:pt x="3061" y="32507"/>
                  </a:lnTo>
                  <a:lnTo>
                    <a:pt x="0" y="33544"/>
                  </a:lnTo>
                  <a:lnTo>
                    <a:pt x="0" y="33544"/>
                  </a:lnTo>
                  <a:lnTo>
                    <a:pt x="0" y="34236"/>
                  </a:lnTo>
                  <a:lnTo>
                    <a:pt x="0" y="34927"/>
                  </a:lnTo>
                  <a:lnTo>
                    <a:pt x="0" y="35965"/>
                  </a:lnTo>
                  <a:lnTo>
                    <a:pt x="1836" y="35965"/>
                  </a:lnTo>
                  <a:lnTo>
                    <a:pt x="1836" y="36657"/>
                  </a:lnTo>
                  <a:lnTo>
                    <a:pt x="1836" y="38386"/>
                  </a:lnTo>
                  <a:lnTo>
                    <a:pt x="1836" y="39077"/>
                  </a:lnTo>
                  <a:lnTo>
                    <a:pt x="1836" y="40806"/>
                  </a:lnTo>
                  <a:lnTo>
                    <a:pt x="1836" y="40806"/>
                  </a:lnTo>
                  <a:lnTo>
                    <a:pt x="4897" y="40806"/>
                  </a:lnTo>
                  <a:lnTo>
                    <a:pt x="7346" y="40806"/>
                  </a:lnTo>
                  <a:lnTo>
                    <a:pt x="11632" y="40806"/>
                  </a:lnTo>
                  <a:lnTo>
                    <a:pt x="13469" y="41498"/>
                  </a:lnTo>
                  <a:lnTo>
                    <a:pt x="13469" y="41498"/>
                  </a:lnTo>
                  <a:lnTo>
                    <a:pt x="15918" y="42536"/>
                  </a:lnTo>
                  <a:lnTo>
                    <a:pt x="18979" y="43919"/>
                  </a:lnTo>
                  <a:lnTo>
                    <a:pt x="22040" y="43919"/>
                  </a:lnTo>
                  <a:lnTo>
                    <a:pt x="25102" y="43919"/>
                  </a:lnTo>
                  <a:lnTo>
                    <a:pt x="26326" y="44956"/>
                  </a:lnTo>
                  <a:lnTo>
                    <a:pt x="27551" y="45648"/>
                  </a:lnTo>
                  <a:lnTo>
                    <a:pt x="29387" y="45648"/>
                  </a:lnTo>
                  <a:lnTo>
                    <a:pt x="29387" y="45648"/>
                  </a:lnTo>
                  <a:lnTo>
                    <a:pt x="30612" y="45648"/>
                  </a:lnTo>
                  <a:lnTo>
                    <a:pt x="30612" y="46340"/>
                  </a:lnTo>
                  <a:lnTo>
                    <a:pt x="29387" y="47377"/>
                  </a:lnTo>
                  <a:lnTo>
                    <a:pt x="29387" y="48069"/>
                  </a:lnTo>
                  <a:lnTo>
                    <a:pt x="30612" y="49798"/>
                  </a:lnTo>
                  <a:lnTo>
                    <a:pt x="30612" y="51527"/>
                  </a:lnTo>
                  <a:lnTo>
                    <a:pt x="29387" y="53948"/>
                  </a:lnTo>
                  <a:lnTo>
                    <a:pt x="29387" y="55331"/>
                  </a:lnTo>
                  <a:lnTo>
                    <a:pt x="29387" y="56368"/>
                  </a:lnTo>
                  <a:lnTo>
                    <a:pt x="30612" y="57060"/>
                  </a:lnTo>
                  <a:lnTo>
                    <a:pt x="30612" y="57752"/>
                  </a:lnTo>
                  <a:lnTo>
                    <a:pt x="30612" y="57752"/>
                  </a:lnTo>
                  <a:lnTo>
                    <a:pt x="29387" y="58789"/>
                  </a:lnTo>
                  <a:lnTo>
                    <a:pt x="29387" y="59481"/>
                  </a:lnTo>
                  <a:lnTo>
                    <a:pt x="29387" y="60518"/>
                  </a:lnTo>
                  <a:lnTo>
                    <a:pt x="29387" y="60518"/>
                  </a:lnTo>
                  <a:lnTo>
                    <a:pt x="27551" y="61210"/>
                  </a:lnTo>
                  <a:lnTo>
                    <a:pt x="26326" y="61210"/>
                  </a:lnTo>
                  <a:lnTo>
                    <a:pt x="26326" y="61210"/>
                  </a:lnTo>
                  <a:lnTo>
                    <a:pt x="26326" y="61902"/>
                  </a:lnTo>
                  <a:lnTo>
                    <a:pt x="26326" y="62939"/>
                  </a:lnTo>
                  <a:lnTo>
                    <a:pt x="27551" y="62939"/>
                  </a:lnTo>
                  <a:lnTo>
                    <a:pt x="27551" y="62939"/>
                  </a:lnTo>
                  <a:lnTo>
                    <a:pt x="27551" y="63631"/>
                  </a:lnTo>
                  <a:lnTo>
                    <a:pt x="27551" y="63631"/>
                  </a:lnTo>
                  <a:lnTo>
                    <a:pt x="27551" y="64322"/>
                  </a:lnTo>
                  <a:lnTo>
                    <a:pt x="27551" y="65360"/>
                  </a:lnTo>
                  <a:lnTo>
                    <a:pt x="27551" y="66743"/>
                  </a:lnTo>
                  <a:lnTo>
                    <a:pt x="27551" y="67780"/>
                  </a:lnTo>
                  <a:lnTo>
                    <a:pt x="29387" y="68472"/>
                  </a:lnTo>
                  <a:lnTo>
                    <a:pt x="29387" y="68472"/>
                  </a:lnTo>
                  <a:lnTo>
                    <a:pt x="29387" y="69510"/>
                  </a:lnTo>
                  <a:lnTo>
                    <a:pt x="29387" y="69510"/>
                  </a:lnTo>
                  <a:lnTo>
                    <a:pt x="27551" y="71930"/>
                  </a:lnTo>
                  <a:lnTo>
                    <a:pt x="26326" y="72622"/>
                  </a:lnTo>
                  <a:lnTo>
                    <a:pt x="26326" y="73314"/>
                  </a:lnTo>
                  <a:lnTo>
                    <a:pt x="23265" y="74351"/>
                  </a:lnTo>
                  <a:lnTo>
                    <a:pt x="23265" y="74351"/>
                  </a:lnTo>
                  <a:lnTo>
                    <a:pt x="23265" y="75043"/>
                  </a:lnTo>
                  <a:lnTo>
                    <a:pt x="23265" y="75734"/>
                  </a:lnTo>
                  <a:lnTo>
                    <a:pt x="23265" y="76772"/>
                  </a:lnTo>
                  <a:lnTo>
                    <a:pt x="22040" y="78501"/>
                  </a:lnTo>
                  <a:lnTo>
                    <a:pt x="22040" y="79193"/>
                  </a:lnTo>
                  <a:lnTo>
                    <a:pt x="22040" y="79193"/>
                  </a:lnTo>
                  <a:lnTo>
                    <a:pt x="22040" y="79884"/>
                  </a:lnTo>
                  <a:lnTo>
                    <a:pt x="20204" y="80922"/>
                  </a:lnTo>
                  <a:lnTo>
                    <a:pt x="17755" y="82305"/>
                  </a:lnTo>
                  <a:lnTo>
                    <a:pt x="15918" y="83342"/>
                  </a:lnTo>
                  <a:lnTo>
                    <a:pt x="14693" y="84034"/>
                  </a:lnTo>
                  <a:lnTo>
                    <a:pt x="13469" y="85763"/>
                  </a:lnTo>
                  <a:lnTo>
                    <a:pt x="10408" y="86455"/>
                  </a:lnTo>
                  <a:lnTo>
                    <a:pt x="9183" y="87492"/>
                  </a:lnTo>
                  <a:lnTo>
                    <a:pt x="9183" y="88184"/>
                  </a:lnTo>
                  <a:lnTo>
                    <a:pt x="9183" y="88184"/>
                  </a:lnTo>
                  <a:lnTo>
                    <a:pt x="10408" y="88876"/>
                  </a:lnTo>
                  <a:lnTo>
                    <a:pt x="10408" y="90605"/>
                  </a:lnTo>
                  <a:lnTo>
                    <a:pt x="10408" y="92334"/>
                  </a:lnTo>
                  <a:lnTo>
                    <a:pt x="11632" y="93717"/>
                  </a:lnTo>
                  <a:lnTo>
                    <a:pt x="11632" y="94755"/>
                  </a:lnTo>
                  <a:lnTo>
                    <a:pt x="11632" y="95446"/>
                  </a:lnTo>
                  <a:lnTo>
                    <a:pt x="11632" y="95446"/>
                  </a:lnTo>
                  <a:lnTo>
                    <a:pt x="13469" y="96484"/>
                  </a:lnTo>
                  <a:lnTo>
                    <a:pt x="13469" y="97175"/>
                  </a:lnTo>
                  <a:lnTo>
                    <a:pt x="13469" y="97175"/>
                  </a:lnTo>
                  <a:lnTo>
                    <a:pt x="14693" y="97867"/>
                  </a:lnTo>
                  <a:lnTo>
                    <a:pt x="14693" y="99596"/>
                  </a:lnTo>
                  <a:lnTo>
                    <a:pt x="14693" y="100288"/>
                  </a:lnTo>
                  <a:lnTo>
                    <a:pt x="15918" y="101325"/>
                  </a:lnTo>
                  <a:lnTo>
                    <a:pt x="15918" y="102017"/>
                  </a:lnTo>
                  <a:lnTo>
                    <a:pt x="15918" y="102017"/>
                  </a:lnTo>
                  <a:lnTo>
                    <a:pt x="15918" y="103746"/>
                  </a:lnTo>
                  <a:lnTo>
                    <a:pt x="15918" y="105475"/>
                  </a:lnTo>
                  <a:lnTo>
                    <a:pt x="15918" y="106858"/>
                  </a:lnTo>
                  <a:lnTo>
                    <a:pt x="15918" y="108587"/>
                  </a:lnTo>
                  <a:lnTo>
                    <a:pt x="15918" y="108587"/>
                  </a:lnTo>
                  <a:lnTo>
                    <a:pt x="15918" y="111008"/>
                  </a:lnTo>
                  <a:lnTo>
                    <a:pt x="14693" y="112046"/>
                  </a:lnTo>
                  <a:lnTo>
                    <a:pt x="14693" y="112737"/>
                  </a:lnTo>
                  <a:lnTo>
                    <a:pt x="14693" y="113429"/>
                  </a:lnTo>
                  <a:lnTo>
                    <a:pt x="14693" y="113429"/>
                  </a:lnTo>
                  <a:lnTo>
                    <a:pt x="15918" y="113429"/>
                  </a:lnTo>
                  <a:lnTo>
                    <a:pt x="15918" y="114466"/>
                  </a:lnTo>
                  <a:lnTo>
                    <a:pt x="15918" y="115158"/>
                  </a:lnTo>
                  <a:lnTo>
                    <a:pt x="15918" y="115850"/>
                  </a:lnTo>
                  <a:lnTo>
                    <a:pt x="15918" y="115850"/>
                  </a:lnTo>
                  <a:lnTo>
                    <a:pt x="15918" y="116887"/>
                  </a:lnTo>
                  <a:lnTo>
                    <a:pt x="15918" y="117579"/>
                  </a:lnTo>
                  <a:lnTo>
                    <a:pt x="15918" y="120000"/>
                  </a:lnTo>
                  <a:lnTo>
                    <a:pt x="17755" y="120000"/>
                  </a:lnTo>
                  <a:lnTo>
                    <a:pt x="18979" y="120000"/>
                  </a:lnTo>
                  <a:lnTo>
                    <a:pt x="20204" y="120000"/>
                  </a:lnTo>
                  <a:lnTo>
                    <a:pt x="22040" y="120000"/>
                  </a:lnTo>
                  <a:lnTo>
                    <a:pt x="23265" y="120000"/>
                  </a:lnTo>
                  <a:lnTo>
                    <a:pt x="25102" y="120000"/>
                  </a:lnTo>
                  <a:lnTo>
                    <a:pt x="25102" y="120000"/>
                  </a:lnTo>
                  <a:lnTo>
                    <a:pt x="26326" y="115158"/>
                  </a:lnTo>
                  <a:lnTo>
                    <a:pt x="26326" y="114466"/>
                  </a:lnTo>
                  <a:lnTo>
                    <a:pt x="26326" y="114466"/>
                  </a:lnTo>
                  <a:lnTo>
                    <a:pt x="25102" y="114466"/>
                  </a:lnTo>
                  <a:lnTo>
                    <a:pt x="25102" y="115850"/>
                  </a:lnTo>
                  <a:lnTo>
                    <a:pt x="25102" y="115158"/>
                  </a:lnTo>
                  <a:lnTo>
                    <a:pt x="23265" y="115158"/>
                  </a:lnTo>
                  <a:lnTo>
                    <a:pt x="23265" y="115158"/>
                  </a:lnTo>
                  <a:lnTo>
                    <a:pt x="22040" y="114466"/>
                  </a:lnTo>
                  <a:lnTo>
                    <a:pt x="22040" y="113429"/>
                  </a:lnTo>
                  <a:lnTo>
                    <a:pt x="23265" y="112737"/>
                  </a:lnTo>
                  <a:lnTo>
                    <a:pt x="23265" y="112737"/>
                  </a:lnTo>
                  <a:lnTo>
                    <a:pt x="25102" y="111008"/>
                  </a:lnTo>
                  <a:lnTo>
                    <a:pt x="26326" y="110317"/>
                  </a:lnTo>
                  <a:lnTo>
                    <a:pt x="30612" y="108587"/>
                  </a:lnTo>
                  <a:lnTo>
                    <a:pt x="33673" y="107896"/>
                  </a:lnTo>
                  <a:lnTo>
                    <a:pt x="36122" y="106858"/>
                  </a:lnTo>
                  <a:lnTo>
                    <a:pt x="45306" y="105475"/>
                  </a:lnTo>
                  <a:lnTo>
                    <a:pt x="49591" y="103746"/>
                  </a:lnTo>
                  <a:lnTo>
                    <a:pt x="50816" y="102708"/>
                  </a:lnTo>
                  <a:lnTo>
                    <a:pt x="52040" y="102017"/>
                  </a:lnTo>
                  <a:lnTo>
                    <a:pt x="55102" y="100288"/>
                  </a:lnTo>
                  <a:lnTo>
                    <a:pt x="55102" y="99596"/>
                  </a:lnTo>
                  <a:lnTo>
                    <a:pt x="56326" y="97867"/>
                  </a:lnTo>
                  <a:lnTo>
                    <a:pt x="55102" y="97175"/>
                  </a:lnTo>
                  <a:lnTo>
                    <a:pt x="55102" y="97175"/>
                  </a:lnTo>
                  <a:lnTo>
                    <a:pt x="55102" y="97867"/>
                  </a:lnTo>
                  <a:lnTo>
                    <a:pt x="53877" y="97867"/>
                  </a:lnTo>
                  <a:lnTo>
                    <a:pt x="53877" y="97867"/>
                  </a:lnTo>
                  <a:lnTo>
                    <a:pt x="53877" y="97175"/>
                  </a:lnTo>
                  <a:lnTo>
                    <a:pt x="55102" y="93025"/>
                  </a:lnTo>
                  <a:lnTo>
                    <a:pt x="56326" y="91296"/>
                  </a:lnTo>
                  <a:lnTo>
                    <a:pt x="56326" y="89913"/>
                  </a:lnTo>
                  <a:lnTo>
                    <a:pt x="56326" y="88876"/>
                  </a:lnTo>
                  <a:lnTo>
                    <a:pt x="56326" y="87492"/>
                  </a:lnTo>
                  <a:lnTo>
                    <a:pt x="56326" y="86455"/>
                  </a:lnTo>
                  <a:lnTo>
                    <a:pt x="56326" y="86455"/>
                  </a:lnTo>
                  <a:lnTo>
                    <a:pt x="56326" y="85763"/>
                  </a:lnTo>
                  <a:lnTo>
                    <a:pt x="56326" y="85763"/>
                  </a:lnTo>
                  <a:lnTo>
                    <a:pt x="56326" y="84726"/>
                  </a:lnTo>
                  <a:lnTo>
                    <a:pt x="55102" y="85763"/>
                  </a:lnTo>
                  <a:lnTo>
                    <a:pt x="55102" y="86455"/>
                  </a:lnTo>
                  <a:lnTo>
                    <a:pt x="55102" y="87492"/>
                  </a:lnTo>
                  <a:lnTo>
                    <a:pt x="55102" y="88184"/>
                  </a:lnTo>
                  <a:lnTo>
                    <a:pt x="53877" y="87492"/>
                  </a:lnTo>
                  <a:lnTo>
                    <a:pt x="53877" y="86455"/>
                  </a:lnTo>
                  <a:lnTo>
                    <a:pt x="55102" y="84726"/>
                  </a:lnTo>
                  <a:lnTo>
                    <a:pt x="53877" y="82305"/>
                  </a:lnTo>
                  <a:lnTo>
                    <a:pt x="53877" y="81613"/>
                  </a:lnTo>
                  <a:lnTo>
                    <a:pt x="52040" y="79884"/>
                  </a:lnTo>
                  <a:lnTo>
                    <a:pt x="52040" y="78501"/>
                  </a:lnTo>
                  <a:lnTo>
                    <a:pt x="50816" y="75734"/>
                  </a:lnTo>
                  <a:lnTo>
                    <a:pt x="50816" y="75043"/>
                  </a:lnTo>
                  <a:lnTo>
                    <a:pt x="49591" y="74351"/>
                  </a:lnTo>
                  <a:lnTo>
                    <a:pt x="47755" y="73314"/>
                  </a:lnTo>
                  <a:lnTo>
                    <a:pt x="47755" y="72622"/>
                  </a:lnTo>
                  <a:lnTo>
                    <a:pt x="49591" y="70201"/>
                  </a:lnTo>
                  <a:lnTo>
                    <a:pt x="49591" y="69510"/>
                  </a:lnTo>
                  <a:lnTo>
                    <a:pt x="49591" y="68472"/>
                  </a:lnTo>
                  <a:lnTo>
                    <a:pt x="49591" y="68472"/>
                  </a:lnTo>
                  <a:lnTo>
                    <a:pt x="47755" y="67780"/>
                  </a:lnTo>
                  <a:lnTo>
                    <a:pt x="49591" y="67780"/>
                  </a:lnTo>
                  <a:lnTo>
                    <a:pt x="50816" y="68472"/>
                  </a:lnTo>
                  <a:lnTo>
                    <a:pt x="50816" y="68472"/>
                  </a:lnTo>
                  <a:lnTo>
                    <a:pt x="50816" y="68472"/>
                  </a:lnTo>
                  <a:lnTo>
                    <a:pt x="56326" y="66051"/>
                  </a:lnTo>
                  <a:lnTo>
                    <a:pt x="59387" y="63631"/>
                  </a:lnTo>
                  <a:lnTo>
                    <a:pt x="62448" y="62939"/>
                  </a:lnTo>
                  <a:lnTo>
                    <a:pt x="63673" y="61902"/>
                  </a:lnTo>
                  <a:lnTo>
                    <a:pt x="65510" y="61210"/>
                  </a:lnTo>
                  <a:lnTo>
                    <a:pt x="65510" y="61902"/>
                  </a:lnTo>
                  <a:lnTo>
                    <a:pt x="66734" y="61210"/>
                  </a:lnTo>
                  <a:lnTo>
                    <a:pt x="66734" y="60518"/>
                  </a:lnTo>
                  <a:lnTo>
                    <a:pt x="66734" y="61210"/>
                  </a:lnTo>
                  <a:lnTo>
                    <a:pt x="67959" y="61210"/>
                  </a:lnTo>
                  <a:lnTo>
                    <a:pt x="67959" y="60518"/>
                  </a:lnTo>
                  <a:lnTo>
                    <a:pt x="69795" y="59481"/>
                  </a:lnTo>
                  <a:lnTo>
                    <a:pt x="69795" y="58789"/>
                  </a:lnTo>
                  <a:lnTo>
                    <a:pt x="72244" y="57060"/>
                  </a:lnTo>
                  <a:lnTo>
                    <a:pt x="74081" y="56368"/>
                  </a:lnTo>
                  <a:lnTo>
                    <a:pt x="74081" y="55331"/>
                  </a:lnTo>
                  <a:lnTo>
                    <a:pt x="74081" y="55331"/>
                  </a:lnTo>
                  <a:lnTo>
                    <a:pt x="75306" y="54639"/>
                  </a:lnTo>
                  <a:lnTo>
                    <a:pt x="75306" y="54639"/>
                  </a:lnTo>
                  <a:lnTo>
                    <a:pt x="78367" y="52910"/>
                  </a:lnTo>
                  <a:lnTo>
                    <a:pt x="80816" y="52219"/>
                  </a:lnTo>
                  <a:lnTo>
                    <a:pt x="85714" y="50489"/>
                  </a:lnTo>
                  <a:lnTo>
                    <a:pt x="86938" y="50489"/>
                  </a:lnTo>
                  <a:lnTo>
                    <a:pt x="88163" y="49798"/>
                  </a:lnTo>
                  <a:lnTo>
                    <a:pt x="88163" y="49798"/>
                  </a:lnTo>
                  <a:lnTo>
                    <a:pt x="91224" y="48760"/>
                  </a:lnTo>
                  <a:lnTo>
                    <a:pt x="94285" y="48760"/>
                  </a:lnTo>
                  <a:lnTo>
                    <a:pt x="94285" y="48069"/>
                  </a:lnTo>
                  <a:lnTo>
                    <a:pt x="95510" y="48069"/>
                  </a:lnTo>
                  <a:lnTo>
                    <a:pt x="95510" y="48069"/>
                  </a:lnTo>
                  <a:lnTo>
                    <a:pt x="96734" y="48069"/>
                  </a:lnTo>
                  <a:lnTo>
                    <a:pt x="96734" y="48069"/>
                  </a:lnTo>
                  <a:lnTo>
                    <a:pt x="98571" y="48069"/>
                  </a:lnTo>
                  <a:lnTo>
                    <a:pt x="99795" y="46340"/>
                  </a:lnTo>
                  <a:lnTo>
                    <a:pt x="101020" y="46340"/>
                  </a:lnTo>
                  <a:lnTo>
                    <a:pt x="105918" y="44956"/>
                  </a:lnTo>
                  <a:lnTo>
                    <a:pt x="107142" y="43919"/>
                  </a:lnTo>
                  <a:lnTo>
                    <a:pt x="108367" y="43919"/>
                  </a:lnTo>
                  <a:lnTo>
                    <a:pt x="107142" y="43227"/>
                  </a:lnTo>
                  <a:lnTo>
                    <a:pt x="108367" y="42536"/>
                  </a:lnTo>
                  <a:lnTo>
                    <a:pt x="110204" y="42536"/>
                  </a:lnTo>
                  <a:lnTo>
                    <a:pt x="111428" y="40806"/>
                  </a:lnTo>
                  <a:lnTo>
                    <a:pt x="111428" y="40806"/>
                  </a:lnTo>
                  <a:lnTo>
                    <a:pt x="111428" y="40806"/>
                  </a:lnTo>
                  <a:lnTo>
                    <a:pt x="112653" y="39769"/>
                  </a:lnTo>
                  <a:lnTo>
                    <a:pt x="112653" y="39077"/>
                  </a:lnTo>
                  <a:lnTo>
                    <a:pt x="115714" y="36657"/>
                  </a:lnTo>
                  <a:lnTo>
                    <a:pt x="116938" y="34927"/>
                  </a:lnTo>
                  <a:lnTo>
                    <a:pt x="116938" y="34927"/>
                  </a:lnTo>
                  <a:lnTo>
                    <a:pt x="116938" y="34236"/>
                  </a:lnTo>
                  <a:lnTo>
                    <a:pt x="116938" y="34236"/>
                  </a:lnTo>
                  <a:lnTo>
                    <a:pt x="118775" y="34236"/>
                  </a:lnTo>
                  <a:lnTo>
                    <a:pt x="118775" y="33544"/>
                  </a:lnTo>
                  <a:lnTo>
                    <a:pt x="118775" y="32507"/>
                  </a:lnTo>
                  <a:lnTo>
                    <a:pt x="118775" y="32507"/>
                  </a:lnTo>
                  <a:lnTo>
                    <a:pt x="119999" y="31815"/>
                  </a:lnTo>
                  <a:lnTo>
                    <a:pt x="119999" y="30778"/>
                  </a:lnTo>
                  <a:lnTo>
                    <a:pt x="119999" y="30778"/>
                  </a:lnTo>
                  <a:close/>
                  <a:moveTo>
                    <a:pt x="50816" y="12103"/>
                  </a:moveTo>
                  <a:lnTo>
                    <a:pt x="50816" y="12103"/>
                  </a:lnTo>
                  <a:lnTo>
                    <a:pt x="49591" y="11412"/>
                  </a:lnTo>
                  <a:lnTo>
                    <a:pt x="49591" y="11412"/>
                  </a:lnTo>
                  <a:lnTo>
                    <a:pt x="50816" y="11412"/>
                  </a:lnTo>
                  <a:lnTo>
                    <a:pt x="50816" y="11412"/>
                  </a:lnTo>
                  <a:lnTo>
                    <a:pt x="50816" y="11412"/>
                  </a:lnTo>
                  <a:lnTo>
                    <a:pt x="50816" y="12103"/>
                  </a:lnTo>
                  <a:close/>
                  <a:moveTo>
                    <a:pt x="52040" y="12103"/>
                  </a:moveTo>
                  <a:lnTo>
                    <a:pt x="52040" y="12103"/>
                  </a:lnTo>
                  <a:lnTo>
                    <a:pt x="52040" y="12103"/>
                  </a:lnTo>
                  <a:lnTo>
                    <a:pt x="50816" y="12103"/>
                  </a:lnTo>
                  <a:lnTo>
                    <a:pt x="50816" y="12103"/>
                  </a:lnTo>
                  <a:lnTo>
                    <a:pt x="50816" y="12103"/>
                  </a:lnTo>
                  <a:lnTo>
                    <a:pt x="50816" y="11412"/>
                  </a:lnTo>
                  <a:lnTo>
                    <a:pt x="52040" y="11412"/>
                  </a:lnTo>
                  <a:lnTo>
                    <a:pt x="52040" y="11412"/>
                  </a:lnTo>
                  <a:lnTo>
                    <a:pt x="52040" y="11412"/>
                  </a:lnTo>
                  <a:lnTo>
                    <a:pt x="52040" y="12103"/>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25" name="Shape 425"/>
            <p:cNvSpPr/>
            <p:nvPr/>
          </p:nvSpPr>
          <p:spPr>
            <a:xfrm>
              <a:off x="3347" y="2049"/>
              <a:ext cx="300" cy="300"/>
            </a:xfrm>
            <a:custGeom>
              <a:avLst/>
              <a:gdLst/>
              <a:ahLst/>
              <a:cxnLst/>
              <a:rect l="0" t="0" r="0" b="0"/>
              <a:pathLst>
                <a:path w="120000" h="120000" extrusionOk="0">
                  <a:moveTo>
                    <a:pt x="119189" y="29315"/>
                  </a:moveTo>
                  <a:lnTo>
                    <a:pt x="120000" y="28534"/>
                  </a:lnTo>
                  <a:lnTo>
                    <a:pt x="120000" y="27752"/>
                  </a:lnTo>
                  <a:lnTo>
                    <a:pt x="119189" y="27752"/>
                  </a:lnTo>
                  <a:lnTo>
                    <a:pt x="118378" y="26579"/>
                  </a:lnTo>
                  <a:lnTo>
                    <a:pt x="118378" y="26579"/>
                  </a:lnTo>
                  <a:lnTo>
                    <a:pt x="117162" y="25798"/>
                  </a:lnTo>
                  <a:lnTo>
                    <a:pt x="117162" y="25798"/>
                  </a:lnTo>
                  <a:lnTo>
                    <a:pt x="117162" y="23843"/>
                  </a:lnTo>
                  <a:lnTo>
                    <a:pt x="116351" y="23061"/>
                  </a:lnTo>
                  <a:lnTo>
                    <a:pt x="116351" y="21889"/>
                  </a:lnTo>
                  <a:lnTo>
                    <a:pt x="116351" y="19153"/>
                  </a:lnTo>
                  <a:lnTo>
                    <a:pt x="116351" y="18371"/>
                  </a:lnTo>
                  <a:lnTo>
                    <a:pt x="116351" y="17589"/>
                  </a:lnTo>
                  <a:lnTo>
                    <a:pt x="116351" y="17589"/>
                  </a:lnTo>
                  <a:lnTo>
                    <a:pt x="116351" y="16416"/>
                  </a:lnTo>
                  <a:lnTo>
                    <a:pt x="116351" y="14853"/>
                  </a:lnTo>
                  <a:lnTo>
                    <a:pt x="115540" y="12899"/>
                  </a:lnTo>
                  <a:lnTo>
                    <a:pt x="116351" y="12899"/>
                  </a:lnTo>
                  <a:lnTo>
                    <a:pt x="116351" y="11726"/>
                  </a:lnTo>
                  <a:lnTo>
                    <a:pt x="116351" y="11726"/>
                  </a:lnTo>
                  <a:lnTo>
                    <a:pt x="115540" y="11726"/>
                  </a:lnTo>
                  <a:lnTo>
                    <a:pt x="115540" y="10944"/>
                  </a:lnTo>
                  <a:lnTo>
                    <a:pt x="115540" y="10944"/>
                  </a:lnTo>
                  <a:lnTo>
                    <a:pt x="115540" y="10162"/>
                  </a:lnTo>
                  <a:lnTo>
                    <a:pt x="115540" y="10162"/>
                  </a:lnTo>
                  <a:lnTo>
                    <a:pt x="115540" y="8990"/>
                  </a:lnTo>
                  <a:lnTo>
                    <a:pt x="113513" y="8208"/>
                  </a:lnTo>
                  <a:lnTo>
                    <a:pt x="113513" y="7426"/>
                  </a:lnTo>
                  <a:lnTo>
                    <a:pt x="112702" y="7426"/>
                  </a:lnTo>
                  <a:lnTo>
                    <a:pt x="111486" y="6254"/>
                  </a:lnTo>
                  <a:lnTo>
                    <a:pt x="109864" y="7426"/>
                  </a:lnTo>
                  <a:lnTo>
                    <a:pt x="109864" y="6254"/>
                  </a:lnTo>
                  <a:lnTo>
                    <a:pt x="108648" y="6254"/>
                  </a:lnTo>
                  <a:lnTo>
                    <a:pt x="108648" y="6254"/>
                  </a:lnTo>
                  <a:lnTo>
                    <a:pt x="107837" y="5472"/>
                  </a:lnTo>
                  <a:lnTo>
                    <a:pt x="107837" y="5472"/>
                  </a:lnTo>
                  <a:lnTo>
                    <a:pt x="107837" y="4299"/>
                  </a:lnTo>
                  <a:lnTo>
                    <a:pt x="107837" y="4299"/>
                  </a:lnTo>
                  <a:lnTo>
                    <a:pt x="107027" y="5472"/>
                  </a:lnTo>
                  <a:lnTo>
                    <a:pt x="105810" y="5472"/>
                  </a:lnTo>
                  <a:lnTo>
                    <a:pt x="105000" y="6254"/>
                  </a:lnTo>
                  <a:lnTo>
                    <a:pt x="102972" y="5472"/>
                  </a:lnTo>
                  <a:lnTo>
                    <a:pt x="102972" y="5472"/>
                  </a:lnTo>
                  <a:lnTo>
                    <a:pt x="102162" y="5472"/>
                  </a:lnTo>
                  <a:lnTo>
                    <a:pt x="100135" y="5472"/>
                  </a:lnTo>
                  <a:lnTo>
                    <a:pt x="98108" y="6254"/>
                  </a:lnTo>
                  <a:lnTo>
                    <a:pt x="96486" y="6254"/>
                  </a:lnTo>
                  <a:lnTo>
                    <a:pt x="94459" y="5472"/>
                  </a:lnTo>
                  <a:lnTo>
                    <a:pt x="92432" y="3517"/>
                  </a:lnTo>
                  <a:lnTo>
                    <a:pt x="91621" y="2736"/>
                  </a:lnTo>
                  <a:lnTo>
                    <a:pt x="91621" y="1563"/>
                  </a:lnTo>
                  <a:lnTo>
                    <a:pt x="91621" y="781"/>
                  </a:lnTo>
                  <a:lnTo>
                    <a:pt x="91621" y="0"/>
                  </a:lnTo>
                  <a:lnTo>
                    <a:pt x="90405" y="0"/>
                  </a:lnTo>
                  <a:lnTo>
                    <a:pt x="89594" y="781"/>
                  </a:lnTo>
                  <a:lnTo>
                    <a:pt x="89594" y="781"/>
                  </a:lnTo>
                  <a:lnTo>
                    <a:pt x="88783" y="781"/>
                  </a:lnTo>
                  <a:lnTo>
                    <a:pt x="86756" y="781"/>
                  </a:lnTo>
                  <a:lnTo>
                    <a:pt x="86756" y="1563"/>
                  </a:lnTo>
                  <a:lnTo>
                    <a:pt x="83918" y="10162"/>
                  </a:lnTo>
                  <a:lnTo>
                    <a:pt x="80270" y="14853"/>
                  </a:lnTo>
                  <a:lnTo>
                    <a:pt x="79054" y="16416"/>
                  </a:lnTo>
                  <a:lnTo>
                    <a:pt x="77027" y="17589"/>
                  </a:lnTo>
                  <a:lnTo>
                    <a:pt x="74189" y="19153"/>
                  </a:lnTo>
                  <a:lnTo>
                    <a:pt x="68513" y="21107"/>
                  </a:lnTo>
                  <a:lnTo>
                    <a:pt x="67702" y="21889"/>
                  </a:lnTo>
                  <a:lnTo>
                    <a:pt x="66891" y="23061"/>
                  </a:lnTo>
                  <a:lnTo>
                    <a:pt x="64864" y="25016"/>
                  </a:lnTo>
                  <a:lnTo>
                    <a:pt x="62027" y="27752"/>
                  </a:lnTo>
                  <a:lnTo>
                    <a:pt x="62027" y="28534"/>
                  </a:lnTo>
                  <a:lnTo>
                    <a:pt x="60810" y="30488"/>
                  </a:lnTo>
                  <a:lnTo>
                    <a:pt x="60810" y="32052"/>
                  </a:lnTo>
                  <a:lnTo>
                    <a:pt x="57972" y="35179"/>
                  </a:lnTo>
                  <a:lnTo>
                    <a:pt x="57162" y="37915"/>
                  </a:lnTo>
                  <a:lnTo>
                    <a:pt x="56351" y="40651"/>
                  </a:lnTo>
                  <a:lnTo>
                    <a:pt x="56351" y="42214"/>
                  </a:lnTo>
                  <a:lnTo>
                    <a:pt x="56351" y="43387"/>
                  </a:lnTo>
                  <a:lnTo>
                    <a:pt x="56351" y="43387"/>
                  </a:lnTo>
                  <a:lnTo>
                    <a:pt x="57162" y="44169"/>
                  </a:lnTo>
                  <a:lnTo>
                    <a:pt x="57972" y="45342"/>
                  </a:lnTo>
                  <a:lnTo>
                    <a:pt x="57972" y="46123"/>
                  </a:lnTo>
                  <a:lnTo>
                    <a:pt x="57162" y="48078"/>
                  </a:lnTo>
                  <a:lnTo>
                    <a:pt x="57162" y="49641"/>
                  </a:lnTo>
                  <a:lnTo>
                    <a:pt x="56351" y="50814"/>
                  </a:lnTo>
                  <a:lnTo>
                    <a:pt x="54324" y="51596"/>
                  </a:lnTo>
                  <a:lnTo>
                    <a:pt x="53513" y="54332"/>
                  </a:lnTo>
                  <a:lnTo>
                    <a:pt x="51486" y="57068"/>
                  </a:lnTo>
                  <a:lnTo>
                    <a:pt x="49459" y="58241"/>
                  </a:lnTo>
                  <a:lnTo>
                    <a:pt x="46621" y="59804"/>
                  </a:lnTo>
                  <a:lnTo>
                    <a:pt x="44594" y="60977"/>
                  </a:lnTo>
                  <a:lnTo>
                    <a:pt x="43783" y="62540"/>
                  </a:lnTo>
                  <a:lnTo>
                    <a:pt x="42972" y="62540"/>
                  </a:lnTo>
                  <a:lnTo>
                    <a:pt x="40135" y="64495"/>
                  </a:lnTo>
                  <a:lnTo>
                    <a:pt x="36081" y="65667"/>
                  </a:lnTo>
                  <a:lnTo>
                    <a:pt x="33243" y="65667"/>
                  </a:lnTo>
                  <a:lnTo>
                    <a:pt x="32432" y="66449"/>
                  </a:lnTo>
                  <a:lnTo>
                    <a:pt x="31216" y="67231"/>
                  </a:lnTo>
                  <a:lnTo>
                    <a:pt x="30405" y="68403"/>
                  </a:lnTo>
                  <a:lnTo>
                    <a:pt x="30405" y="68403"/>
                  </a:lnTo>
                  <a:lnTo>
                    <a:pt x="30405" y="69967"/>
                  </a:lnTo>
                  <a:lnTo>
                    <a:pt x="28378" y="72703"/>
                  </a:lnTo>
                  <a:lnTo>
                    <a:pt x="28378" y="74657"/>
                  </a:lnTo>
                  <a:lnTo>
                    <a:pt x="27567" y="75830"/>
                  </a:lnTo>
                  <a:lnTo>
                    <a:pt x="26756" y="76612"/>
                  </a:lnTo>
                  <a:lnTo>
                    <a:pt x="24729" y="78566"/>
                  </a:lnTo>
                  <a:lnTo>
                    <a:pt x="22702" y="78566"/>
                  </a:lnTo>
                  <a:lnTo>
                    <a:pt x="21891" y="79348"/>
                  </a:lnTo>
                  <a:lnTo>
                    <a:pt x="20675" y="80130"/>
                  </a:lnTo>
                  <a:lnTo>
                    <a:pt x="20675" y="80130"/>
                  </a:lnTo>
                  <a:lnTo>
                    <a:pt x="19864" y="82866"/>
                  </a:lnTo>
                  <a:lnTo>
                    <a:pt x="19864" y="84039"/>
                  </a:lnTo>
                  <a:lnTo>
                    <a:pt x="19054" y="85993"/>
                  </a:lnTo>
                  <a:lnTo>
                    <a:pt x="17837" y="86775"/>
                  </a:lnTo>
                  <a:lnTo>
                    <a:pt x="17027" y="88729"/>
                  </a:lnTo>
                  <a:lnTo>
                    <a:pt x="17027" y="91465"/>
                  </a:lnTo>
                  <a:lnTo>
                    <a:pt x="17027" y="92247"/>
                  </a:lnTo>
                  <a:lnTo>
                    <a:pt x="16216" y="94201"/>
                  </a:lnTo>
                  <a:lnTo>
                    <a:pt x="14189" y="94201"/>
                  </a:lnTo>
                  <a:lnTo>
                    <a:pt x="11351" y="97719"/>
                  </a:lnTo>
                  <a:lnTo>
                    <a:pt x="10135" y="98892"/>
                  </a:lnTo>
                  <a:lnTo>
                    <a:pt x="9324" y="99674"/>
                  </a:lnTo>
                  <a:lnTo>
                    <a:pt x="8513" y="100456"/>
                  </a:lnTo>
                  <a:lnTo>
                    <a:pt x="8513" y="101628"/>
                  </a:lnTo>
                  <a:lnTo>
                    <a:pt x="9324" y="100456"/>
                  </a:lnTo>
                  <a:lnTo>
                    <a:pt x="9324" y="100456"/>
                  </a:lnTo>
                  <a:lnTo>
                    <a:pt x="9324" y="99674"/>
                  </a:lnTo>
                  <a:lnTo>
                    <a:pt x="10135" y="100456"/>
                  </a:lnTo>
                  <a:lnTo>
                    <a:pt x="9324" y="100456"/>
                  </a:lnTo>
                  <a:lnTo>
                    <a:pt x="8513" y="102410"/>
                  </a:lnTo>
                  <a:lnTo>
                    <a:pt x="8513" y="103192"/>
                  </a:lnTo>
                  <a:lnTo>
                    <a:pt x="7297" y="105146"/>
                  </a:lnTo>
                  <a:lnTo>
                    <a:pt x="6486" y="106319"/>
                  </a:lnTo>
                  <a:lnTo>
                    <a:pt x="6486" y="106319"/>
                  </a:lnTo>
                  <a:lnTo>
                    <a:pt x="6486" y="107100"/>
                  </a:lnTo>
                  <a:lnTo>
                    <a:pt x="5675" y="107882"/>
                  </a:lnTo>
                  <a:lnTo>
                    <a:pt x="5675" y="109837"/>
                  </a:lnTo>
                  <a:lnTo>
                    <a:pt x="3648" y="112573"/>
                  </a:lnTo>
                  <a:lnTo>
                    <a:pt x="2837" y="112573"/>
                  </a:lnTo>
                  <a:lnTo>
                    <a:pt x="1621" y="113745"/>
                  </a:lnTo>
                  <a:lnTo>
                    <a:pt x="810" y="116482"/>
                  </a:lnTo>
                  <a:lnTo>
                    <a:pt x="0" y="119999"/>
                  </a:lnTo>
                  <a:lnTo>
                    <a:pt x="0" y="119999"/>
                  </a:lnTo>
                  <a:lnTo>
                    <a:pt x="810" y="119999"/>
                  </a:lnTo>
                  <a:lnTo>
                    <a:pt x="1621" y="119218"/>
                  </a:lnTo>
                  <a:lnTo>
                    <a:pt x="3648" y="119218"/>
                  </a:lnTo>
                  <a:lnTo>
                    <a:pt x="6486" y="119218"/>
                  </a:lnTo>
                  <a:lnTo>
                    <a:pt x="7297" y="119218"/>
                  </a:lnTo>
                  <a:lnTo>
                    <a:pt x="8513" y="119218"/>
                  </a:lnTo>
                  <a:lnTo>
                    <a:pt x="9324" y="119218"/>
                  </a:lnTo>
                  <a:lnTo>
                    <a:pt x="10135" y="119218"/>
                  </a:lnTo>
                  <a:lnTo>
                    <a:pt x="11351" y="119999"/>
                  </a:lnTo>
                  <a:lnTo>
                    <a:pt x="13378" y="119999"/>
                  </a:lnTo>
                  <a:lnTo>
                    <a:pt x="14189" y="119999"/>
                  </a:lnTo>
                  <a:lnTo>
                    <a:pt x="15000" y="119999"/>
                  </a:lnTo>
                  <a:lnTo>
                    <a:pt x="16216" y="119999"/>
                  </a:lnTo>
                  <a:lnTo>
                    <a:pt x="17027" y="119218"/>
                  </a:lnTo>
                  <a:lnTo>
                    <a:pt x="17027" y="118045"/>
                  </a:lnTo>
                  <a:lnTo>
                    <a:pt x="17837" y="117263"/>
                  </a:lnTo>
                  <a:lnTo>
                    <a:pt x="17837" y="117263"/>
                  </a:lnTo>
                  <a:lnTo>
                    <a:pt x="17837" y="116482"/>
                  </a:lnTo>
                  <a:lnTo>
                    <a:pt x="17837" y="116482"/>
                  </a:lnTo>
                  <a:lnTo>
                    <a:pt x="17837" y="115309"/>
                  </a:lnTo>
                  <a:lnTo>
                    <a:pt x="19054" y="115309"/>
                  </a:lnTo>
                  <a:lnTo>
                    <a:pt x="19054" y="114527"/>
                  </a:lnTo>
                  <a:lnTo>
                    <a:pt x="19054" y="114527"/>
                  </a:lnTo>
                  <a:lnTo>
                    <a:pt x="19864" y="114527"/>
                  </a:lnTo>
                  <a:lnTo>
                    <a:pt x="19864" y="113745"/>
                  </a:lnTo>
                  <a:lnTo>
                    <a:pt x="20675" y="112573"/>
                  </a:lnTo>
                  <a:lnTo>
                    <a:pt x="20675" y="112573"/>
                  </a:lnTo>
                  <a:lnTo>
                    <a:pt x="20675" y="111791"/>
                  </a:lnTo>
                  <a:lnTo>
                    <a:pt x="20675" y="111791"/>
                  </a:lnTo>
                  <a:lnTo>
                    <a:pt x="20675" y="109837"/>
                  </a:lnTo>
                  <a:lnTo>
                    <a:pt x="21891" y="109055"/>
                  </a:lnTo>
                  <a:lnTo>
                    <a:pt x="21891" y="107882"/>
                  </a:lnTo>
                  <a:lnTo>
                    <a:pt x="21891" y="107100"/>
                  </a:lnTo>
                  <a:lnTo>
                    <a:pt x="21891" y="106319"/>
                  </a:lnTo>
                  <a:lnTo>
                    <a:pt x="22702" y="104364"/>
                  </a:lnTo>
                  <a:lnTo>
                    <a:pt x="22702" y="103192"/>
                  </a:lnTo>
                  <a:lnTo>
                    <a:pt x="22702" y="102410"/>
                  </a:lnTo>
                  <a:lnTo>
                    <a:pt x="23513" y="101628"/>
                  </a:lnTo>
                  <a:lnTo>
                    <a:pt x="23513" y="101628"/>
                  </a:lnTo>
                  <a:lnTo>
                    <a:pt x="24729" y="100456"/>
                  </a:lnTo>
                  <a:lnTo>
                    <a:pt x="24729" y="100456"/>
                  </a:lnTo>
                  <a:lnTo>
                    <a:pt x="25540" y="99674"/>
                  </a:lnTo>
                  <a:lnTo>
                    <a:pt x="26756" y="99674"/>
                  </a:lnTo>
                  <a:lnTo>
                    <a:pt x="26756" y="99674"/>
                  </a:lnTo>
                  <a:lnTo>
                    <a:pt x="27567" y="98892"/>
                  </a:lnTo>
                  <a:lnTo>
                    <a:pt x="28378" y="98892"/>
                  </a:lnTo>
                  <a:lnTo>
                    <a:pt x="28378" y="98892"/>
                  </a:lnTo>
                  <a:lnTo>
                    <a:pt x="28378" y="97719"/>
                  </a:lnTo>
                  <a:lnTo>
                    <a:pt x="29594" y="96938"/>
                  </a:lnTo>
                  <a:lnTo>
                    <a:pt x="29594" y="96156"/>
                  </a:lnTo>
                  <a:lnTo>
                    <a:pt x="30405" y="94983"/>
                  </a:lnTo>
                  <a:lnTo>
                    <a:pt x="30405" y="94983"/>
                  </a:lnTo>
                  <a:lnTo>
                    <a:pt x="31216" y="94201"/>
                  </a:lnTo>
                  <a:lnTo>
                    <a:pt x="31216" y="94201"/>
                  </a:lnTo>
                  <a:lnTo>
                    <a:pt x="32432" y="94201"/>
                  </a:lnTo>
                  <a:lnTo>
                    <a:pt x="33243" y="93029"/>
                  </a:lnTo>
                  <a:lnTo>
                    <a:pt x="33243" y="93029"/>
                  </a:lnTo>
                  <a:lnTo>
                    <a:pt x="34054" y="92247"/>
                  </a:lnTo>
                  <a:lnTo>
                    <a:pt x="34054" y="92247"/>
                  </a:lnTo>
                  <a:lnTo>
                    <a:pt x="35270" y="91465"/>
                  </a:lnTo>
                  <a:lnTo>
                    <a:pt x="35270" y="91465"/>
                  </a:lnTo>
                  <a:lnTo>
                    <a:pt x="35270" y="90293"/>
                  </a:lnTo>
                  <a:lnTo>
                    <a:pt x="36081" y="89511"/>
                  </a:lnTo>
                  <a:lnTo>
                    <a:pt x="36081" y="87557"/>
                  </a:lnTo>
                  <a:lnTo>
                    <a:pt x="36891" y="86775"/>
                  </a:lnTo>
                  <a:lnTo>
                    <a:pt x="36891" y="85993"/>
                  </a:lnTo>
                  <a:lnTo>
                    <a:pt x="36891" y="84820"/>
                  </a:lnTo>
                  <a:lnTo>
                    <a:pt x="36891" y="84039"/>
                  </a:lnTo>
                  <a:lnTo>
                    <a:pt x="38108" y="82866"/>
                  </a:lnTo>
                  <a:lnTo>
                    <a:pt x="38108" y="82866"/>
                  </a:lnTo>
                  <a:lnTo>
                    <a:pt x="38108" y="82866"/>
                  </a:lnTo>
                  <a:lnTo>
                    <a:pt x="38108" y="82084"/>
                  </a:lnTo>
                  <a:lnTo>
                    <a:pt x="38108" y="82084"/>
                  </a:lnTo>
                  <a:lnTo>
                    <a:pt x="38108" y="82084"/>
                  </a:lnTo>
                  <a:lnTo>
                    <a:pt x="38918" y="81302"/>
                  </a:lnTo>
                  <a:lnTo>
                    <a:pt x="40135" y="81302"/>
                  </a:lnTo>
                  <a:lnTo>
                    <a:pt x="40135" y="81302"/>
                  </a:lnTo>
                  <a:lnTo>
                    <a:pt x="40945" y="81302"/>
                  </a:lnTo>
                  <a:lnTo>
                    <a:pt x="40945" y="80130"/>
                  </a:lnTo>
                  <a:lnTo>
                    <a:pt x="40945" y="80130"/>
                  </a:lnTo>
                  <a:lnTo>
                    <a:pt x="40945" y="79348"/>
                  </a:lnTo>
                  <a:lnTo>
                    <a:pt x="41756" y="79348"/>
                  </a:lnTo>
                  <a:lnTo>
                    <a:pt x="41756" y="78566"/>
                  </a:lnTo>
                  <a:lnTo>
                    <a:pt x="42972" y="78566"/>
                  </a:lnTo>
                  <a:lnTo>
                    <a:pt x="42972" y="77394"/>
                  </a:lnTo>
                  <a:lnTo>
                    <a:pt x="42972" y="77394"/>
                  </a:lnTo>
                  <a:lnTo>
                    <a:pt x="43783" y="76612"/>
                  </a:lnTo>
                  <a:lnTo>
                    <a:pt x="43783" y="76612"/>
                  </a:lnTo>
                  <a:lnTo>
                    <a:pt x="43783" y="75830"/>
                  </a:lnTo>
                  <a:lnTo>
                    <a:pt x="43783" y="75830"/>
                  </a:lnTo>
                  <a:lnTo>
                    <a:pt x="43783" y="74657"/>
                  </a:lnTo>
                  <a:lnTo>
                    <a:pt x="44594" y="74657"/>
                  </a:lnTo>
                  <a:lnTo>
                    <a:pt x="44594" y="73876"/>
                  </a:lnTo>
                  <a:lnTo>
                    <a:pt x="45810" y="73876"/>
                  </a:lnTo>
                  <a:lnTo>
                    <a:pt x="46621" y="73876"/>
                  </a:lnTo>
                  <a:lnTo>
                    <a:pt x="47432" y="73876"/>
                  </a:lnTo>
                  <a:lnTo>
                    <a:pt x="48648" y="73876"/>
                  </a:lnTo>
                  <a:lnTo>
                    <a:pt x="48648" y="73876"/>
                  </a:lnTo>
                  <a:lnTo>
                    <a:pt x="49459" y="73876"/>
                  </a:lnTo>
                  <a:lnTo>
                    <a:pt x="50270" y="73876"/>
                  </a:lnTo>
                  <a:lnTo>
                    <a:pt x="51486" y="74657"/>
                  </a:lnTo>
                  <a:lnTo>
                    <a:pt x="51486" y="74657"/>
                  </a:lnTo>
                  <a:lnTo>
                    <a:pt x="52297" y="74657"/>
                  </a:lnTo>
                  <a:lnTo>
                    <a:pt x="52297" y="74657"/>
                  </a:lnTo>
                  <a:lnTo>
                    <a:pt x="53513" y="74657"/>
                  </a:lnTo>
                  <a:lnTo>
                    <a:pt x="53513" y="74657"/>
                  </a:lnTo>
                  <a:lnTo>
                    <a:pt x="53513" y="74657"/>
                  </a:lnTo>
                  <a:lnTo>
                    <a:pt x="54324" y="74657"/>
                  </a:lnTo>
                  <a:lnTo>
                    <a:pt x="55135" y="74657"/>
                  </a:lnTo>
                  <a:lnTo>
                    <a:pt x="55135" y="74657"/>
                  </a:lnTo>
                  <a:lnTo>
                    <a:pt x="56351" y="74657"/>
                  </a:lnTo>
                  <a:lnTo>
                    <a:pt x="57162" y="73876"/>
                  </a:lnTo>
                  <a:lnTo>
                    <a:pt x="57162" y="72703"/>
                  </a:lnTo>
                  <a:lnTo>
                    <a:pt x="57972" y="72703"/>
                  </a:lnTo>
                  <a:lnTo>
                    <a:pt x="57972" y="72703"/>
                  </a:lnTo>
                  <a:lnTo>
                    <a:pt x="59189" y="72703"/>
                  </a:lnTo>
                  <a:lnTo>
                    <a:pt x="59189" y="72703"/>
                  </a:lnTo>
                  <a:lnTo>
                    <a:pt x="60000" y="72703"/>
                  </a:lnTo>
                  <a:lnTo>
                    <a:pt x="60810" y="72703"/>
                  </a:lnTo>
                  <a:lnTo>
                    <a:pt x="62027" y="72703"/>
                  </a:lnTo>
                  <a:lnTo>
                    <a:pt x="62837" y="72703"/>
                  </a:lnTo>
                  <a:lnTo>
                    <a:pt x="62837" y="72703"/>
                  </a:lnTo>
                  <a:lnTo>
                    <a:pt x="62837" y="71921"/>
                  </a:lnTo>
                  <a:lnTo>
                    <a:pt x="62837" y="71921"/>
                  </a:lnTo>
                  <a:lnTo>
                    <a:pt x="62837" y="71140"/>
                  </a:lnTo>
                  <a:lnTo>
                    <a:pt x="62837" y="71140"/>
                  </a:lnTo>
                  <a:lnTo>
                    <a:pt x="62837" y="69967"/>
                  </a:lnTo>
                  <a:lnTo>
                    <a:pt x="62837" y="69967"/>
                  </a:lnTo>
                  <a:lnTo>
                    <a:pt x="62837" y="69185"/>
                  </a:lnTo>
                  <a:lnTo>
                    <a:pt x="62837" y="68403"/>
                  </a:lnTo>
                  <a:lnTo>
                    <a:pt x="62837" y="68403"/>
                  </a:lnTo>
                  <a:lnTo>
                    <a:pt x="62837" y="68403"/>
                  </a:lnTo>
                  <a:lnTo>
                    <a:pt x="63648" y="68403"/>
                  </a:lnTo>
                  <a:lnTo>
                    <a:pt x="63648" y="66449"/>
                  </a:lnTo>
                  <a:lnTo>
                    <a:pt x="63648" y="64495"/>
                  </a:lnTo>
                  <a:lnTo>
                    <a:pt x="63648" y="62540"/>
                  </a:lnTo>
                  <a:lnTo>
                    <a:pt x="63648" y="61758"/>
                  </a:lnTo>
                  <a:lnTo>
                    <a:pt x="63648" y="59804"/>
                  </a:lnTo>
                  <a:lnTo>
                    <a:pt x="63648" y="59804"/>
                  </a:lnTo>
                  <a:lnTo>
                    <a:pt x="63648" y="59804"/>
                  </a:lnTo>
                  <a:lnTo>
                    <a:pt x="64864" y="59022"/>
                  </a:lnTo>
                  <a:lnTo>
                    <a:pt x="65675" y="58241"/>
                  </a:lnTo>
                  <a:lnTo>
                    <a:pt x="66891" y="58241"/>
                  </a:lnTo>
                  <a:lnTo>
                    <a:pt x="66891" y="57068"/>
                  </a:lnTo>
                  <a:lnTo>
                    <a:pt x="68513" y="56286"/>
                  </a:lnTo>
                  <a:lnTo>
                    <a:pt x="69729" y="56286"/>
                  </a:lnTo>
                  <a:lnTo>
                    <a:pt x="71351" y="54332"/>
                  </a:lnTo>
                  <a:lnTo>
                    <a:pt x="71351" y="54332"/>
                  </a:lnTo>
                  <a:lnTo>
                    <a:pt x="72567" y="54332"/>
                  </a:lnTo>
                  <a:lnTo>
                    <a:pt x="73378" y="53550"/>
                  </a:lnTo>
                  <a:lnTo>
                    <a:pt x="74189" y="53550"/>
                  </a:lnTo>
                  <a:lnTo>
                    <a:pt x="74189" y="52377"/>
                  </a:lnTo>
                  <a:lnTo>
                    <a:pt x="75405" y="52377"/>
                  </a:lnTo>
                  <a:lnTo>
                    <a:pt x="75405" y="52377"/>
                  </a:lnTo>
                  <a:lnTo>
                    <a:pt x="76216" y="52377"/>
                  </a:lnTo>
                  <a:lnTo>
                    <a:pt x="77027" y="52377"/>
                  </a:lnTo>
                  <a:lnTo>
                    <a:pt x="78243" y="52377"/>
                  </a:lnTo>
                  <a:lnTo>
                    <a:pt x="79054" y="52377"/>
                  </a:lnTo>
                  <a:lnTo>
                    <a:pt x="79054" y="52377"/>
                  </a:lnTo>
                  <a:lnTo>
                    <a:pt x="80270" y="52377"/>
                  </a:lnTo>
                  <a:lnTo>
                    <a:pt x="80270" y="51596"/>
                  </a:lnTo>
                  <a:lnTo>
                    <a:pt x="80270" y="51596"/>
                  </a:lnTo>
                  <a:lnTo>
                    <a:pt x="80270" y="50814"/>
                  </a:lnTo>
                  <a:lnTo>
                    <a:pt x="80270" y="50814"/>
                  </a:lnTo>
                  <a:lnTo>
                    <a:pt x="80270" y="50814"/>
                  </a:lnTo>
                  <a:lnTo>
                    <a:pt x="81081" y="50814"/>
                  </a:lnTo>
                  <a:lnTo>
                    <a:pt x="81081" y="50814"/>
                  </a:lnTo>
                  <a:lnTo>
                    <a:pt x="81891" y="50814"/>
                  </a:lnTo>
                  <a:lnTo>
                    <a:pt x="83108" y="50814"/>
                  </a:lnTo>
                  <a:lnTo>
                    <a:pt x="83918" y="50814"/>
                  </a:lnTo>
                  <a:lnTo>
                    <a:pt x="85945" y="49641"/>
                  </a:lnTo>
                  <a:lnTo>
                    <a:pt x="86756" y="49641"/>
                  </a:lnTo>
                  <a:lnTo>
                    <a:pt x="87567" y="49641"/>
                  </a:lnTo>
                  <a:lnTo>
                    <a:pt x="88783" y="48859"/>
                  </a:lnTo>
                  <a:lnTo>
                    <a:pt x="89594" y="48078"/>
                  </a:lnTo>
                  <a:lnTo>
                    <a:pt x="90405" y="46123"/>
                  </a:lnTo>
                  <a:lnTo>
                    <a:pt x="91621" y="45342"/>
                  </a:lnTo>
                  <a:lnTo>
                    <a:pt x="92432" y="44169"/>
                  </a:lnTo>
                  <a:lnTo>
                    <a:pt x="94459" y="44169"/>
                  </a:lnTo>
                  <a:lnTo>
                    <a:pt x="94459" y="44169"/>
                  </a:lnTo>
                  <a:lnTo>
                    <a:pt x="96486" y="43387"/>
                  </a:lnTo>
                  <a:lnTo>
                    <a:pt x="97297" y="42214"/>
                  </a:lnTo>
                  <a:lnTo>
                    <a:pt x="99324" y="41433"/>
                  </a:lnTo>
                  <a:lnTo>
                    <a:pt x="100135" y="41433"/>
                  </a:lnTo>
                  <a:lnTo>
                    <a:pt x="100945" y="41433"/>
                  </a:lnTo>
                  <a:lnTo>
                    <a:pt x="100945" y="41433"/>
                  </a:lnTo>
                  <a:lnTo>
                    <a:pt x="100945" y="40651"/>
                  </a:lnTo>
                  <a:lnTo>
                    <a:pt x="100945" y="40651"/>
                  </a:lnTo>
                  <a:lnTo>
                    <a:pt x="100945" y="39478"/>
                  </a:lnTo>
                  <a:lnTo>
                    <a:pt x="100945" y="39478"/>
                  </a:lnTo>
                  <a:lnTo>
                    <a:pt x="100135" y="39478"/>
                  </a:lnTo>
                  <a:lnTo>
                    <a:pt x="100135" y="39478"/>
                  </a:lnTo>
                  <a:lnTo>
                    <a:pt x="100135" y="39478"/>
                  </a:lnTo>
                  <a:lnTo>
                    <a:pt x="100135" y="38697"/>
                  </a:lnTo>
                  <a:lnTo>
                    <a:pt x="100135" y="38697"/>
                  </a:lnTo>
                  <a:lnTo>
                    <a:pt x="100135" y="37915"/>
                  </a:lnTo>
                  <a:lnTo>
                    <a:pt x="100135" y="36742"/>
                  </a:lnTo>
                  <a:lnTo>
                    <a:pt x="100135" y="36742"/>
                  </a:lnTo>
                  <a:lnTo>
                    <a:pt x="100135" y="35960"/>
                  </a:lnTo>
                  <a:lnTo>
                    <a:pt x="100135" y="35960"/>
                  </a:lnTo>
                  <a:lnTo>
                    <a:pt x="100135" y="35179"/>
                  </a:lnTo>
                  <a:lnTo>
                    <a:pt x="100945" y="35179"/>
                  </a:lnTo>
                  <a:lnTo>
                    <a:pt x="100945" y="35179"/>
                  </a:lnTo>
                  <a:lnTo>
                    <a:pt x="102162" y="35179"/>
                  </a:lnTo>
                  <a:lnTo>
                    <a:pt x="102972" y="35179"/>
                  </a:lnTo>
                  <a:lnTo>
                    <a:pt x="105810" y="34006"/>
                  </a:lnTo>
                  <a:lnTo>
                    <a:pt x="105810" y="34006"/>
                  </a:lnTo>
                  <a:lnTo>
                    <a:pt x="107027" y="33224"/>
                  </a:lnTo>
                  <a:lnTo>
                    <a:pt x="107027" y="32052"/>
                  </a:lnTo>
                  <a:lnTo>
                    <a:pt x="107027" y="32052"/>
                  </a:lnTo>
                  <a:lnTo>
                    <a:pt x="107027" y="32052"/>
                  </a:lnTo>
                  <a:lnTo>
                    <a:pt x="108648" y="32052"/>
                  </a:lnTo>
                  <a:lnTo>
                    <a:pt x="109864" y="31270"/>
                  </a:lnTo>
                  <a:lnTo>
                    <a:pt x="110675" y="31270"/>
                  </a:lnTo>
                  <a:lnTo>
                    <a:pt x="111486" y="31270"/>
                  </a:lnTo>
                  <a:lnTo>
                    <a:pt x="112702" y="31270"/>
                  </a:lnTo>
                  <a:lnTo>
                    <a:pt x="114324" y="31270"/>
                  </a:lnTo>
                  <a:lnTo>
                    <a:pt x="116351" y="32052"/>
                  </a:lnTo>
                  <a:lnTo>
                    <a:pt x="117162" y="32052"/>
                  </a:lnTo>
                  <a:lnTo>
                    <a:pt x="118378" y="32052"/>
                  </a:lnTo>
                  <a:lnTo>
                    <a:pt x="119189" y="31270"/>
                  </a:lnTo>
                  <a:lnTo>
                    <a:pt x="119189" y="31270"/>
                  </a:lnTo>
                  <a:lnTo>
                    <a:pt x="119189" y="30488"/>
                  </a:lnTo>
                  <a:lnTo>
                    <a:pt x="119189" y="29315"/>
                  </a:lnTo>
                  <a:lnTo>
                    <a:pt x="119189" y="29315"/>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26" name="Shape 426"/>
            <p:cNvSpPr/>
            <p:nvPr/>
          </p:nvSpPr>
          <p:spPr>
            <a:xfrm>
              <a:off x="3983" y="1890"/>
              <a:ext cx="0" cy="0"/>
            </a:xfrm>
            <a:custGeom>
              <a:avLst/>
              <a:gdLst/>
              <a:ahLst/>
              <a:cxnLst/>
              <a:rect l="0" t="0" r="0" b="0"/>
              <a:pathLst>
                <a:path w="120000" h="120000" extrusionOk="0">
                  <a:moveTo>
                    <a:pt x="120000" y="46666"/>
                  </a:moveTo>
                  <a:lnTo>
                    <a:pt x="112727" y="40000"/>
                  </a:lnTo>
                  <a:lnTo>
                    <a:pt x="101818" y="40000"/>
                  </a:lnTo>
                  <a:lnTo>
                    <a:pt x="94545" y="33333"/>
                  </a:lnTo>
                  <a:lnTo>
                    <a:pt x="83636" y="33333"/>
                  </a:lnTo>
                  <a:lnTo>
                    <a:pt x="76363" y="33333"/>
                  </a:lnTo>
                  <a:lnTo>
                    <a:pt x="76363" y="23333"/>
                  </a:lnTo>
                  <a:lnTo>
                    <a:pt x="69090" y="23333"/>
                  </a:lnTo>
                  <a:lnTo>
                    <a:pt x="69090" y="23333"/>
                  </a:lnTo>
                  <a:lnTo>
                    <a:pt x="58181" y="16666"/>
                  </a:lnTo>
                  <a:lnTo>
                    <a:pt x="50909" y="10000"/>
                  </a:lnTo>
                  <a:lnTo>
                    <a:pt x="43636" y="10000"/>
                  </a:lnTo>
                  <a:lnTo>
                    <a:pt x="43636" y="10000"/>
                  </a:lnTo>
                  <a:lnTo>
                    <a:pt x="43636" y="0"/>
                  </a:lnTo>
                  <a:lnTo>
                    <a:pt x="43636" y="0"/>
                  </a:lnTo>
                  <a:lnTo>
                    <a:pt x="43636" y="0"/>
                  </a:lnTo>
                  <a:lnTo>
                    <a:pt x="43636" y="0"/>
                  </a:lnTo>
                  <a:lnTo>
                    <a:pt x="32727" y="0"/>
                  </a:lnTo>
                  <a:lnTo>
                    <a:pt x="32727" y="0"/>
                  </a:lnTo>
                  <a:lnTo>
                    <a:pt x="32727" y="0"/>
                  </a:lnTo>
                  <a:lnTo>
                    <a:pt x="25454" y="0"/>
                  </a:lnTo>
                  <a:lnTo>
                    <a:pt x="25454" y="10000"/>
                  </a:lnTo>
                  <a:lnTo>
                    <a:pt x="32727" y="10000"/>
                  </a:lnTo>
                  <a:lnTo>
                    <a:pt x="32727" y="16666"/>
                  </a:lnTo>
                  <a:lnTo>
                    <a:pt x="32727" y="16666"/>
                  </a:lnTo>
                  <a:lnTo>
                    <a:pt x="32727" y="16666"/>
                  </a:lnTo>
                  <a:lnTo>
                    <a:pt x="25454" y="16666"/>
                  </a:lnTo>
                  <a:lnTo>
                    <a:pt x="25454" y="16666"/>
                  </a:lnTo>
                  <a:lnTo>
                    <a:pt x="25454" y="16666"/>
                  </a:lnTo>
                  <a:lnTo>
                    <a:pt x="18181" y="16666"/>
                  </a:lnTo>
                  <a:lnTo>
                    <a:pt x="18181" y="23333"/>
                  </a:lnTo>
                  <a:lnTo>
                    <a:pt x="7272" y="23333"/>
                  </a:lnTo>
                  <a:lnTo>
                    <a:pt x="7272" y="33333"/>
                  </a:lnTo>
                  <a:lnTo>
                    <a:pt x="7272" y="33333"/>
                  </a:lnTo>
                  <a:lnTo>
                    <a:pt x="7272" y="40000"/>
                  </a:lnTo>
                  <a:lnTo>
                    <a:pt x="0" y="40000"/>
                  </a:lnTo>
                  <a:lnTo>
                    <a:pt x="0" y="40000"/>
                  </a:lnTo>
                  <a:lnTo>
                    <a:pt x="0" y="40000"/>
                  </a:lnTo>
                  <a:lnTo>
                    <a:pt x="0" y="46666"/>
                  </a:lnTo>
                  <a:lnTo>
                    <a:pt x="0" y="56666"/>
                  </a:lnTo>
                  <a:lnTo>
                    <a:pt x="7272" y="63333"/>
                  </a:lnTo>
                  <a:lnTo>
                    <a:pt x="7272" y="63333"/>
                  </a:lnTo>
                  <a:lnTo>
                    <a:pt x="7272" y="63333"/>
                  </a:lnTo>
                  <a:lnTo>
                    <a:pt x="0" y="73333"/>
                  </a:lnTo>
                  <a:lnTo>
                    <a:pt x="0" y="73333"/>
                  </a:lnTo>
                  <a:lnTo>
                    <a:pt x="0" y="73333"/>
                  </a:lnTo>
                  <a:lnTo>
                    <a:pt x="0" y="73333"/>
                  </a:lnTo>
                  <a:lnTo>
                    <a:pt x="0" y="73333"/>
                  </a:lnTo>
                  <a:lnTo>
                    <a:pt x="7272" y="80000"/>
                  </a:lnTo>
                  <a:lnTo>
                    <a:pt x="7272" y="80000"/>
                  </a:lnTo>
                  <a:lnTo>
                    <a:pt x="7272" y="80000"/>
                  </a:lnTo>
                  <a:lnTo>
                    <a:pt x="18181" y="80000"/>
                  </a:lnTo>
                  <a:lnTo>
                    <a:pt x="18181" y="80000"/>
                  </a:lnTo>
                  <a:lnTo>
                    <a:pt x="7272" y="80000"/>
                  </a:lnTo>
                  <a:lnTo>
                    <a:pt x="18181" y="80000"/>
                  </a:lnTo>
                  <a:lnTo>
                    <a:pt x="25454" y="86666"/>
                  </a:lnTo>
                  <a:lnTo>
                    <a:pt x="43636" y="103333"/>
                  </a:lnTo>
                  <a:lnTo>
                    <a:pt x="50909" y="110000"/>
                  </a:lnTo>
                  <a:lnTo>
                    <a:pt x="58181" y="120000"/>
                  </a:lnTo>
                  <a:lnTo>
                    <a:pt x="58181" y="110000"/>
                  </a:lnTo>
                  <a:lnTo>
                    <a:pt x="58181" y="110000"/>
                  </a:lnTo>
                  <a:lnTo>
                    <a:pt x="58181" y="103333"/>
                  </a:lnTo>
                  <a:lnTo>
                    <a:pt x="58181" y="103333"/>
                  </a:lnTo>
                  <a:lnTo>
                    <a:pt x="58181" y="96666"/>
                  </a:lnTo>
                  <a:lnTo>
                    <a:pt x="50909" y="96666"/>
                  </a:lnTo>
                  <a:lnTo>
                    <a:pt x="58181" y="86666"/>
                  </a:lnTo>
                  <a:lnTo>
                    <a:pt x="58181" y="86666"/>
                  </a:lnTo>
                  <a:lnTo>
                    <a:pt x="58181" y="80000"/>
                  </a:lnTo>
                  <a:lnTo>
                    <a:pt x="69090" y="73333"/>
                  </a:lnTo>
                  <a:lnTo>
                    <a:pt x="69090" y="73333"/>
                  </a:lnTo>
                  <a:lnTo>
                    <a:pt x="76363" y="63333"/>
                  </a:lnTo>
                  <a:lnTo>
                    <a:pt x="76363" y="63333"/>
                  </a:lnTo>
                  <a:lnTo>
                    <a:pt x="76363" y="63333"/>
                  </a:lnTo>
                  <a:lnTo>
                    <a:pt x="76363" y="63333"/>
                  </a:lnTo>
                  <a:lnTo>
                    <a:pt x="76363" y="73333"/>
                  </a:lnTo>
                  <a:lnTo>
                    <a:pt x="83636" y="73333"/>
                  </a:lnTo>
                  <a:lnTo>
                    <a:pt x="83636" y="73333"/>
                  </a:lnTo>
                  <a:lnTo>
                    <a:pt x="83636" y="73333"/>
                  </a:lnTo>
                  <a:lnTo>
                    <a:pt x="94545" y="73333"/>
                  </a:lnTo>
                  <a:lnTo>
                    <a:pt x="101818" y="73333"/>
                  </a:lnTo>
                  <a:lnTo>
                    <a:pt x="101818" y="73333"/>
                  </a:lnTo>
                  <a:lnTo>
                    <a:pt x="101818" y="73333"/>
                  </a:lnTo>
                  <a:lnTo>
                    <a:pt x="101818" y="63333"/>
                  </a:lnTo>
                  <a:lnTo>
                    <a:pt x="101818" y="63333"/>
                  </a:lnTo>
                  <a:lnTo>
                    <a:pt x="94545" y="56666"/>
                  </a:lnTo>
                  <a:lnTo>
                    <a:pt x="101818" y="56666"/>
                  </a:lnTo>
                  <a:lnTo>
                    <a:pt x="101818" y="56666"/>
                  </a:lnTo>
                  <a:lnTo>
                    <a:pt x="112727" y="56666"/>
                  </a:lnTo>
                  <a:lnTo>
                    <a:pt x="112727" y="56666"/>
                  </a:lnTo>
                  <a:lnTo>
                    <a:pt x="120000" y="46666"/>
                  </a:lnTo>
                  <a:lnTo>
                    <a:pt x="120000" y="46666"/>
                  </a:lnTo>
                  <a:lnTo>
                    <a:pt x="120000" y="46666"/>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27" name="Shape 427"/>
            <p:cNvSpPr/>
            <p:nvPr/>
          </p:nvSpPr>
          <p:spPr>
            <a:xfrm>
              <a:off x="5105" y="1713"/>
              <a:ext cx="600" cy="300"/>
            </a:xfrm>
            <a:custGeom>
              <a:avLst/>
              <a:gdLst/>
              <a:ahLst/>
              <a:cxnLst/>
              <a:rect l="0" t="0" r="0" b="0"/>
              <a:pathLst>
                <a:path w="120000" h="120000" extrusionOk="0">
                  <a:moveTo>
                    <a:pt x="120000" y="61382"/>
                  </a:moveTo>
                  <a:lnTo>
                    <a:pt x="119562" y="60276"/>
                  </a:lnTo>
                  <a:lnTo>
                    <a:pt x="119562" y="60276"/>
                  </a:lnTo>
                  <a:lnTo>
                    <a:pt x="118907" y="58617"/>
                  </a:lnTo>
                  <a:lnTo>
                    <a:pt x="118907" y="58617"/>
                  </a:lnTo>
                  <a:lnTo>
                    <a:pt x="118469" y="57511"/>
                  </a:lnTo>
                  <a:lnTo>
                    <a:pt x="118469" y="57511"/>
                  </a:lnTo>
                  <a:lnTo>
                    <a:pt x="117814" y="56405"/>
                  </a:lnTo>
                  <a:lnTo>
                    <a:pt x="117377" y="56405"/>
                  </a:lnTo>
                  <a:lnTo>
                    <a:pt x="116939" y="54746"/>
                  </a:lnTo>
                  <a:lnTo>
                    <a:pt x="116284" y="53640"/>
                  </a:lnTo>
                  <a:lnTo>
                    <a:pt x="115846" y="53640"/>
                  </a:lnTo>
                  <a:lnTo>
                    <a:pt x="115846" y="53640"/>
                  </a:lnTo>
                  <a:lnTo>
                    <a:pt x="115846" y="52534"/>
                  </a:lnTo>
                  <a:lnTo>
                    <a:pt x="115409" y="52534"/>
                  </a:lnTo>
                  <a:lnTo>
                    <a:pt x="115409" y="52534"/>
                  </a:lnTo>
                  <a:lnTo>
                    <a:pt x="114754" y="52534"/>
                  </a:lnTo>
                  <a:lnTo>
                    <a:pt x="114754" y="50875"/>
                  </a:lnTo>
                  <a:lnTo>
                    <a:pt x="114316" y="50875"/>
                  </a:lnTo>
                  <a:lnTo>
                    <a:pt x="114316" y="50875"/>
                  </a:lnTo>
                  <a:lnTo>
                    <a:pt x="113879" y="49769"/>
                  </a:lnTo>
                  <a:lnTo>
                    <a:pt x="113879" y="49769"/>
                  </a:lnTo>
                  <a:lnTo>
                    <a:pt x="113224" y="49769"/>
                  </a:lnTo>
                  <a:lnTo>
                    <a:pt x="112786" y="48110"/>
                  </a:lnTo>
                  <a:lnTo>
                    <a:pt x="111693" y="47004"/>
                  </a:lnTo>
                  <a:lnTo>
                    <a:pt x="111693" y="47004"/>
                  </a:lnTo>
                  <a:lnTo>
                    <a:pt x="110601" y="47004"/>
                  </a:lnTo>
                  <a:lnTo>
                    <a:pt x="110163" y="47004"/>
                  </a:lnTo>
                  <a:lnTo>
                    <a:pt x="109726" y="47004"/>
                  </a:lnTo>
                  <a:lnTo>
                    <a:pt x="109726" y="47004"/>
                  </a:lnTo>
                  <a:lnTo>
                    <a:pt x="109071" y="47004"/>
                  </a:lnTo>
                  <a:lnTo>
                    <a:pt x="109071" y="47004"/>
                  </a:lnTo>
                  <a:lnTo>
                    <a:pt x="108633" y="48110"/>
                  </a:lnTo>
                  <a:lnTo>
                    <a:pt x="108633" y="48110"/>
                  </a:lnTo>
                  <a:lnTo>
                    <a:pt x="108633" y="49769"/>
                  </a:lnTo>
                  <a:lnTo>
                    <a:pt x="108633" y="50875"/>
                  </a:lnTo>
                  <a:lnTo>
                    <a:pt x="108196" y="50875"/>
                  </a:lnTo>
                  <a:lnTo>
                    <a:pt x="108196" y="50875"/>
                  </a:lnTo>
                  <a:lnTo>
                    <a:pt x="107540" y="49769"/>
                  </a:lnTo>
                  <a:lnTo>
                    <a:pt x="107103" y="48110"/>
                  </a:lnTo>
                  <a:lnTo>
                    <a:pt x="106666" y="48110"/>
                  </a:lnTo>
                  <a:lnTo>
                    <a:pt x="106010" y="48110"/>
                  </a:lnTo>
                  <a:lnTo>
                    <a:pt x="105573" y="48110"/>
                  </a:lnTo>
                  <a:lnTo>
                    <a:pt x="105573" y="48110"/>
                  </a:lnTo>
                  <a:lnTo>
                    <a:pt x="105136" y="48110"/>
                  </a:lnTo>
                  <a:lnTo>
                    <a:pt x="104480" y="48110"/>
                  </a:lnTo>
                  <a:lnTo>
                    <a:pt x="104043" y="48110"/>
                  </a:lnTo>
                  <a:lnTo>
                    <a:pt x="104043" y="48110"/>
                  </a:lnTo>
                  <a:lnTo>
                    <a:pt x="103387" y="49769"/>
                  </a:lnTo>
                  <a:lnTo>
                    <a:pt x="103387" y="49769"/>
                  </a:lnTo>
                  <a:lnTo>
                    <a:pt x="102950" y="49769"/>
                  </a:lnTo>
                  <a:lnTo>
                    <a:pt x="102513" y="49769"/>
                  </a:lnTo>
                  <a:lnTo>
                    <a:pt x="101857" y="49769"/>
                  </a:lnTo>
                  <a:lnTo>
                    <a:pt x="101420" y="48110"/>
                  </a:lnTo>
                  <a:lnTo>
                    <a:pt x="101420" y="47004"/>
                  </a:lnTo>
                  <a:lnTo>
                    <a:pt x="100327" y="45898"/>
                  </a:lnTo>
                  <a:lnTo>
                    <a:pt x="100983" y="44239"/>
                  </a:lnTo>
                  <a:lnTo>
                    <a:pt x="101420" y="44239"/>
                  </a:lnTo>
                  <a:lnTo>
                    <a:pt x="100983" y="43133"/>
                  </a:lnTo>
                  <a:lnTo>
                    <a:pt x="100983" y="42027"/>
                  </a:lnTo>
                  <a:lnTo>
                    <a:pt x="100327" y="40368"/>
                  </a:lnTo>
                  <a:lnTo>
                    <a:pt x="100983" y="39262"/>
                  </a:lnTo>
                  <a:lnTo>
                    <a:pt x="100983" y="37603"/>
                  </a:lnTo>
                  <a:lnTo>
                    <a:pt x="100983" y="36497"/>
                  </a:lnTo>
                  <a:lnTo>
                    <a:pt x="100983" y="36497"/>
                  </a:lnTo>
                  <a:lnTo>
                    <a:pt x="100983" y="35391"/>
                  </a:lnTo>
                  <a:lnTo>
                    <a:pt x="100327" y="33732"/>
                  </a:lnTo>
                  <a:lnTo>
                    <a:pt x="100327" y="29861"/>
                  </a:lnTo>
                  <a:lnTo>
                    <a:pt x="100327" y="27649"/>
                  </a:lnTo>
                  <a:lnTo>
                    <a:pt x="100327" y="25990"/>
                  </a:lnTo>
                  <a:lnTo>
                    <a:pt x="100327" y="24884"/>
                  </a:lnTo>
                  <a:lnTo>
                    <a:pt x="99890" y="24884"/>
                  </a:lnTo>
                  <a:lnTo>
                    <a:pt x="98797" y="24884"/>
                  </a:lnTo>
                  <a:lnTo>
                    <a:pt x="98360" y="23225"/>
                  </a:lnTo>
                  <a:lnTo>
                    <a:pt x="98360" y="23225"/>
                  </a:lnTo>
                  <a:lnTo>
                    <a:pt x="97267" y="24884"/>
                  </a:lnTo>
                  <a:lnTo>
                    <a:pt x="97267" y="24884"/>
                  </a:lnTo>
                  <a:lnTo>
                    <a:pt x="96830" y="24884"/>
                  </a:lnTo>
                  <a:lnTo>
                    <a:pt x="96174" y="24884"/>
                  </a:lnTo>
                  <a:lnTo>
                    <a:pt x="95737" y="24884"/>
                  </a:lnTo>
                  <a:lnTo>
                    <a:pt x="95737" y="24884"/>
                  </a:lnTo>
                  <a:lnTo>
                    <a:pt x="95300" y="24884"/>
                  </a:lnTo>
                  <a:lnTo>
                    <a:pt x="94207" y="23225"/>
                  </a:lnTo>
                  <a:lnTo>
                    <a:pt x="93770" y="22119"/>
                  </a:lnTo>
                  <a:lnTo>
                    <a:pt x="93114" y="22119"/>
                  </a:lnTo>
                  <a:lnTo>
                    <a:pt x="92677" y="21013"/>
                  </a:lnTo>
                  <a:lnTo>
                    <a:pt x="92240" y="21013"/>
                  </a:lnTo>
                  <a:lnTo>
                    <a:pt x="92240" y="21013"/>
                  </a:lnTo>
                  <a:lnTo>
                    <a:pt x="91147" y="21013"/>
                  </a:lnTo>
                  <a:lnTo>
                    <a:pt x="91147" y="21013"/>
                  </a:lnTo>
                  <a:lnTo>
                    <a:pt x="90710" y="21013"/>
                  </a:lnTo>
                  <a:lnTo>
                    <a:pt x="90054" y="22119"/>
                  </a:lnTo>
                  <a:lnTo>
                    <a:pt x="90054" y="22119"/>
                  </a:lnTo>
                  <a:lnTo>
                    <a:pt x="89617" y="23225"/>
                  </a:lnTo>
                  <a:lnTo>
                    <a:pt x="88961" y="23225"/>
                  </a:lnTo>
                  <a:lnTo>
                    <a:pt x="88524" y="24884"/>
                  </a:lnTo>
                  <a:lnTo>
                    <a:pt x="88524" y="24884"/>
                  </a:lnTo>
                  <a:lnTo>
                    <a:pt x="88087" y="25990"/>
                  </a:lnTo>
                  <a:lnTo>
                    <a:pt x="88087" y="27649"/>
                  </a:lnTo>
                  <a:lnTo>
                    <a:pt x="88087" y="28755"/>
                  </a:lnTo>
                  <a:lnTo>
                    <a:pt x="88087" y="28755"/>
                  </a:lnTo>
                  <a:lnTo>
                    <a:pt x="87431" y="28755"/>
                  </a:lnTo>
                  <a:lnTo>
                    <a:pt x="86994" y="29861"/>
                  </a:lnTo>
                  <a:lnTo>
                    <a:pt x="86557" y="28755"/>
                  </a:lnTo>
                  <a:lnTo>
                    <a:pt x="85901" y="29861"/>
                  </a:lnTo>
                  <a:lnTo>
                    <a:pt x="85464" y="29861"/>
                  </a:lnTo>
                  <a:lnTo>
                    <a:pt x="85027" y="29861"/>
                  </a:lnTo>
                  <a:lnTo>
                    <a:pt x="84371" y="31520"/>
                  </a:lnTo>
                  <a:lnTo>
                    <a:pt x="83934" y="31520"/>
                  </a:lnTo>
                  <a:lnTo>
                    <a:pt x="83497" y="31520"/>
                  </a:lnTo>
                  <a:lnTo>
                    <a:pt x="83497" y="31520"/>
                  </a:lnTo>
                  <a:lnTo>
                    <a:pt x="82841" y="31520"/>
                  </a:lnTo>
                  <a:lnTo>
                    <a:pt x="82841" y="31520"/>
                  </a:lnTo>
                  <a:lnTo>
                    <a:pt x="82404" y="31520"/>
                  </a:lnTo>
                  <a:lnTo>
                    <a:pt x="81311" y="33732"/>
                  </a:lnTo>
                  <a:lnTo>
                    <a:pt x="80874" y="33732"/>
                  </a:lnTo>
                  <a:lnTo>
                    <a:pt x="80874" y="33732"/>
                  </a:lnTo>
                  <a:lnTo>
                    <a:pt x="80218" y="32626"/>
                  </a:lnTo>
                  <a:lnTo>
                    <a:pt x="79781" y="32626"/>
                  </a:lnTo>
                  <a:lnTo>
                    <a:pt x="79344" y="32626"/>
                  </a:lnTo>
                  <a:lnTo>
                    <a:pt x="79344" y="33732"/>
                  </a:lnTo>
                  <a:lnTo>
                    <a:pt x="78251" y="32626"/>
                  </a:lnTo>
                  <a:lnTo>
                    <a:pt x="77158" y="32626"/>
                  </a:lnTo>
                  <a:lnTo>
                    <a:pt x="76721" y="32626"/>
                  </a:lnTo>
                  <a:lnTo>
                    <a:pt x="76284" y="31520"/>
                  </a:lnTo>
                  <a:lnTo>
                    <a:pt x="75191" y="31520"/>
                  </a:lnTo>
                  <a:lnTo>
                    <a:pt x="74098" y="31520"/>
                  </a:lnTo>
                  <a:lnTo>
                    <a:pt x="73661" y="31520"/>
                  </a:lnTo>
                  <a:lnTo>
                    <a:pt x="73005" y="31520"/>
                  </a:lnTo>
                  <a:lnTo>
                    <a:pt x="72568" y="31520"/>
                  </a:lnTo>
                  <a:lnTo>
                    <a:pt x="72131" y="31520"/>
                  </a:lnTo>
                  <a:lnTo>
                    <a:pt x="71475" y="28755"/>
                  </a:lnTo>
                  <a:lnTo>
                    <a:pt x="71038" y="28755"/>
                  </a:lnTo>
                  <a:lnTo>
                    <a:pt x="70601" y="28755"/>
                  </a:lnTo>
                  <a:lnTo>
                    <a:pt x="70601" y="27649"/>
                  </a:lnTo>
                  <a:lnTo>
                    <a:pt x="69945" y="27649"/>
                  </a:lnTo>
                  <a:lnTo>
                    <a:pt x="69945" y="27649"/>
                  </a:lnTo>
                  <a:lnTo>
                    <a:pt x="69945" y="27649"/>
                  </a:lnTo>
                  <a:lnTo>
                    <a:pt x="69508" y="25990"/>
                  </a:lnTo>
                  <a:lnTo>
                    <a:pt x="69508" y="24884"/>
                  </a:lnTo>
                  <a:lnTo>
                    <a:pt x="69508" y="24884"/>
                  </a:lnTo>
                  <a:lnTo>
                    <a:pt x="69071" y="24884"/>
                  </a:lnTo>
                  <a:lnTo>
                    <a:pt x="67978" y="23225"/>
                  </a:lnTo>
                  <a:lnTo>
                    <a:pt x="66885" y="23225"/>
                  </a:lnTo>
                  <a:lnTo>
                    <a:pt x="66885" y="23225"/>
                  </a:lnTo>
                  <a:lnTo>
                    <a:pt x="66448" y="23225"/>
                  </a:lnTo>
                  <a:lnTo>
                    <a:pt x="65792" y="23225"/>
                  </a:lnTo>
                  <a:lnTo>
                    <a:pt x="65355" y="22119"/>
                  </a:lnTo>
                  <a:lnTo>
                    <a:pt x="64918" y="21013"/>
                  </a:lnTo>
                  <a:lnTo>
                    <a:pt x="64262" y="21013"/>
                  </a:lnTo>
                  <a:lnTo>
                    <a:pt x="63825" y="19354"/>
                  </a:lnTo>
                  <a:lnTo>
                    <a:pt x="62732" y="21013"/>
                  </a:lnTo>
                  <a:lnTo>
                    <a:pt x="62295" y="21013"/>
                  </a:lnTo>
                  <a:lnTo>
                    <a:pt x="61857" y="19354"/>
                  </a:lnTo>
                  <a:lnTo>
                    <a:pt x="61202" y="19354"/>
                  </a:lnTo>
                  <a:lnTo>
                    <a:pt x="60765" y="19354"/>
                  </a:lnTo>
                  <a:lnTo>
                    <a:pt x="60109" y="19354"/>
                  </a:lnTo>
                  <a:lnTo>
                    <a:pt x="59672" y="19354"/>
                  </a:lnTo>
                  <a:lnTo>
                    <a:pt x="59234" y="18248"/>
                  </a:lnTo>
                  <a:lnTo>
                    <a:pt x="58579" y="18248"/>
                  </a:lnTo>
                  <a:lnTo>
                    <a:pt x="58579" y="19354"/>
                  </a:lnTo>
                  <a:lnTo>
                    <a:pt x="58142" y="19354"/>
                  </a:lnTo>
                  <a:lnTo>
                    <a:pt x="57704" y="19354"/>
                  </a:lnTo>
                  <a:lnTo>
                    <a:pt x="57049" y="19354"/>
                  </a:lnTo>
                  <a:lnTo>
                    <a:pt x="56612" y="21013"/>
                  </a:lnTo>
                  <a:lnTo>
                    <a:pt x="56174" y="21013"/>
                  </a:lnTo>
                  <a:lnTo>
                    <a:pt x="56174" y="21013"/>
                  </a:lnTo>
                  <a:lnTo>
                    <a:pt x="55519" y="21013"/>
                  </a:lnTo>
                  <a:lnTo>
                    <a:pt x="55519" y="22119"/>
                  </a:lnTo>
                  <a:lnTo>
                    <a:pt x="55081" y="22119"/>
                  </a:lnTo>
                  <a:lnTo>
                    <a:pt x="54644" y="22119"/>
                  </a:lnTo>
                  <a:lnTo>
                    <a:pt x="54644" y="22119"/>
                  </a:lnTo>
                  <a:lnTo>
                    <a:pt x="53989" y="22119"/>
                  </a:lnTo>
                  <a:lnTo>
                    <a:pt x="53989" y="22119"/>
                  </a:lnTo>
                  <a:lnTo>
                    <a:pt x="53551" y="22119"/>
                  </a:lnTo>
                  <a:lnTo>
                    <a:pt x="52896" y="22119"/>
                  </a:lnTo>
                  <a:lnTo>
                    <a:pt x="52896" y="22119"/>
                  </a:lnTo>
                  <a:lnTo>
                    <a:pt x="52459" y="22119"/>
                  </a:lnTo>
                  <a:lnTo>
                    <a:pt x="52021" y="21013"/>
                  </a:lnTo>
                  <a:lnTo>
                    <a:pt x="51366" y="21013"/>
                  </a:lnTo>
                  <a:lnTo>
                    <a:pt x="51366" y="21013"/>
                  </a:lnTo>
                  <a:lnTo>
                    <a:pt x="50491" y="19354"/>
                  </a:lnTo>
                  <a:lnTo>
                    <a:pt x="49836" y="19354"/>
                  </a:lnTo>
                  <a:lnTo>
                    <a:pt x="49836" y="19354"/>
                  </a:lnTo>
                  <a:lnTo>
                    <a:pt x="48961" y="18248"/>
                  </a:lnTo>
                  <a:lnTo>
                    <a:pt x="48961" y="18248"/>
                  </a:lnTo>
                  <a:lnTo>
                    <a:pt x="48306" y="18248"/>
                  </a:lnTo>
                  <a:lnTo>
                    <a:pt x="48306" y="18248"/>
                  </a:lnTo>
                  <a:lnTo>
                    <a:pt x="47868" y="17142"/>
                  </a:lnTo>
                  <a:lnTo>
                    <a:pt x="47868" y="17142"/>
                  </a:lnTo>
                  <a:lnTo>
                    <a:pt x="47868" y="17142"/>
                  </a:lnTo>
                  <a:lnTo>
                    <a:pt x="47868" y="15483"/>
                  </a:lnTo>
                  <a:lnTo>
                    <a:pt x="47431" y="15483"/>
                  </a:lnTo>
                  <a:lnTo>
                    <a:pt x="47431" y="15483"/>
                  </a:lnTo>
                  <a:lnTo>
                    <a:pt x="47431" y="14377"/>
                  </a:lnTo>
                  <a:lnTo>
                    <a:pt x="46775" y="14377"/>
                  </a:lnTo>
                  <a:lnTo>
                    <a:pt x="46775" y="13271"/>
                  </a:lnTo>
                  <a:lnTo>
                    <a:pt x="46338" y="11612"/>
                  </a:lnTo>
                  <a:lnTo>
                    <a:pt x="46338" y="11612"/>
                  </a:lnTo>
                  <a:lnTo>
                    <a:pt x="45683" y="10506"/>
                  </a:lnTo>
                  <a:lnTo>
                    <a:pt x="45683" y="8847"/>
                  </a:lnTo>
                  <a:lnTo>
                    <a:pt x="45683" y="8847"/>
                  </a:lnTo>
                  <a:lnTo>
                    <a:pt x="45245" y="8847"/>
                  </a:lnTo>
                  <a:lnTo>
                    <a:pt x="44808" y="7741"/>
                  </a:lnTo>
                  <a:lnTo>
                    <a:pt x="44153" y="7741"/>
                  </a:lnTo>
                  <a:lnTo>
                    <a:pt x="43278" y="7741"/>
                  </a:lnTo>
                  <a:lnTo>
                    <a:pt x="43278" y="7741"/>
                  </a:lnTo>
                  <a:lnTo>
                    <a:pt x="42622" y="7741"/>
                  </a:lnTo>
                  <a:lnTo>
                    <a:pt x="42185" y="7741"/>
                  </a:lnTo>
                  <a:lnTo>
                    <a:pt x="42185" y="6635"/>
                  </a:lnTo>
                  <a:lnTo>
                    <a:pt x="41748" y="6635"/>
                  </a:lnTo>
                  <a:lnTo>
                    <a:pt x="40655" y="6635"/>
                  </a:lnTo>
                  <a:lnTo>
                    <a:pt x="40218" y="4976"/>
                  </a:lnTo>
                  <a:lnTo>
                    <a:pt x="39125" y="4976"/>
                  </a:lnTo>
                  <a:lnTo>
                    <a:pt x="39125" y="3870"/>
                  </a:lnTo>
                  <a:lnTo>
                    <a:pt x="38032" y="3870"/>
                  </a:lnTo>
                  <a:lnTo>
                    <a:pt x="37595" y="3870"/>
                  </a:lnTo>
                  <a:lnTo>
                    <a:pt x="36939" y="3870"/>
                  </a:lnTo>
                  <a:lnTo>
                    <a:pt x="36502" y="3870"/>
                  </a:lnTo>
                  <a:lnTo>
                    <a:pt x="36065" y="2764"/>
                  </a:lnTo>
                  <a:lnTo>
                    <a:pt x="35409" y="2764"/>
                  </a:lnTo>
                  <a:lnTo>
                    <a:pt x="35409" y="2764"/>
                  </a:lnTo>
                  <a:lnTo>
                    <a:pt x="34972" y="2764"/>
                  </a:lnTo>
                  <a:lnTo>
                    <a:pt x="33879" y="1105"/>
                  </a:lnTo>
                  <a:lnTo>
                    <a:pt x="33442" y="1105"/>
                  </a:lnTo>
                  <a:lnTo>
                    <a:pt x="33442" y="1105"/>
                  </a:lnTo>
                  <a:lnTo>
                    <a:pt x="33005" y="0"/>
                  </a:lnTo>
                  <a:lnTo>
                    <a:pt x="32349" y="0"/>
                  </a:lnTo>
                  <a:lnTo>
                    <a:pt x="32349" y="1105"/>
                  </a:lnTo>
                  <a:lnTo>
                    <a:pt x="32349" y="1105"/>
                  </a:lnTo>
                  <a:lnTo>
                    <a:pt x="32349" y="2764"/>
                  </a:lnTo>
                  <a:lnTo>
                    <a:pt x="32349" y="3870"/>
                  </a:lnTo>
                  <a:lnTo>
                    <a:pt x="31256" y="4976"/>
                  </a:lnTo>
                  <a:lnTo>
                    <a:pt x="31256" y="4976"/>
                  </a:lnTo>
                  <a:lnTo>
                    <a:pt x="31256" y="4976"/>
                  </a:lnTo>
                  <a:lnTo>
                    <a:pt x="31256" y="6635"/>
                  </a:lnTo>
                  <a:lnTo>
                    <a:pt x="31256" y="6635"/>
                  </a:lnTo>
                  <a:lnTo>
                    <a:pt x="31256" y="7741"/>
                  </a:lnTo>
                  <a:lnTo>
                    <a:pt x="31256" y="7741"/>
                  </a:lnTo>
                  <a:lnTo>
                    <a:pt x="30819" y="7741"/>
                  </a:lnTo>
                  <a:lnTo>
                    <a:pt x="30819" y="7741"/>
                  </a:lnTo>
                  <a:lnTo>
                    <a:pt x="30819" y="8847"/>
                  </a:lnTo>
                  <a:lnTo>
                    <a:pt x="30819" y="8847"/>
                  </a:lnTo>
                  <a:lnTo>
                    <a:pt x="31256" y="10506"/>
                  </a:lnTo>
                  <a:lnTo>
                    <a:pt x="31256" y="10506"/>
                  </a:lnTo>
                  <a:lnTo>
                    <a:pt x="31256" y="10506"/>
                  </a:lnTo>
                  <a:lnTo>
                    <a:pt x="31256" y="11612"/>
                  </a:lnTo>
                  <a:lnTo>
                    <a:pt x="31256" y="13271"/>
                  </a:lnTo>
                  <a:lnTo>
                    <a:pt x="31256" y="13271"/>
                  </a:lnTo>
                  <a:lnTo>
                    <a:pt x="31912" y="14377"/>
                  </a:lnTo>
                  <a:lnTo>
                    <a:pt x="31912" y="14377"/>
                  </a:lnTo>
                  <a:lnTo>
                    <a:pt x="32349" y="14377"/>
                  </a:lnTo>
                  <a:lnTo>
                    <a:pt x="32349" y="15483"/>
                  </a:lnTo>
                  <a:lnTo>
                    <a:pt x="32349" y="15483"/>
                  </a:lnTo>
                  <a:lnTo>
                    <a:pt x="33005" y="17142"/>
                  </a:lnTo>
                  <a:lnTo>
                    <a:pt x="33005" y="17142"/>
                  </a:lnTo>
                  <a:lnTo>
                    <a:pt x="33442" y="17142"/>
                  </a:lnTo>
                  <a:lnTo>
                    <a:pt x="33879" y="18248"/>
                  </a:lnTo>
                  <a:lnTo>
                    <a:pt x="33879" y="18248"/>
                  </a:lnTo>
                  <a:lnTo>
                    <a:pt x="33879" y="18248"/>
                  </a:lnTo>
                  <a:lnTo>
                    <a:pt x="34535" y="19354"/>
                  </a:lnTo>
                  <a:lnTo>
                    <a:pt x="34535" y="21013"/>
                  </a:lnTo>
                  <a:lnTo>
                    <a:pt x="34535" y="21013"/>
                  </a:lnTo>
                  <a:lnTo>
                    <a:pt x="34535" y="22119"/>
                  </a:lnTo>
                  <a:lnTo>
                    <a:pt x="34535" y="22119"/>
                  </a:lnTo>
                  <a:lnTo>
                    <a:pt x="34535" y="23225"/>
                  </a:lnTo>
                  <a:lnTo>
                    <a:pt x="33879" y="23225"/>
                  </a:lnTo>
                  <a:lnTo>
                    <a:pt x="33879" y="23225"/>
                  </a:lnTo>
                  <a:lnTo>
                    <a:pt x="33879" y="24884"/>
                  </a:lnTo>
                  <a:lnTo>
                    <a:pt x="33442" y="24884"/>
                  </a:lnTo>
                  <a:lnTo>
                    <a:pt x="33442" y="24884"/>
                  </a:lnTo>
                  <a:lnTo>
                    <a:pt x="33005" y="24884"/>
                  </a:lnTo>
                  <a:lnTo>
                    <a:pt x="33005" y="24884"/>
                  </a:lnTo>
                  <a:lnTo>
                    <a:pt x="33005" y="25990"/>
                  </a:lnTo>
                  <a:lnTo>
                    <a:pt x="32349" y="25990"/>
                  </a:lnTo>
                  <a:lnTo>
                    <a:pt x="32349" y="27649"/>
                  </a:lnTo>
                  <a:lnTo>
                    <a:pt x="31912" y="27649"/>
                  </a:lnTo>
                  <a:lnTo>
                    <a:pt x="31256" y="25990"/>
                  </a:lnTo>
                  <a:lnTo>
                    <a:pt x="31256" y="25990"/>
                  </a:lnTo>
                  <a:lnTo>
                    <a:pt x="31256" y="25990"/>
                  </a:lnTo>
                  <a:lnTo>
                    <a:pt x="30819" y="24884"/>
                  </a:lnTo>
                  <a:lnTo>
                    <a:pt x="29726" y="24884"/>
                  </a:lnTo>
                  <a:lnTo>
                    <a:pt x="29726" y="24884"/>
                  </a:lnTo>
                  <a:lnTo>
                    <a:pt x="29289" y="24884"/>
                  </a:lnTo>
                  <a:lnTo>
                    <a:pt x="29289" y="24884"/>
                  </a:lnTo>
                  <a:lnTo>
                    <a:pt x="28852" y="24884"/>
                  </a:lnTo>
                  <a:lnTo>
                    <a:pt x="28852" y="24884"/>
                  </a:lnTo>
                  <a:lnTo>
                    <a:pt x="28852" y="24884"/>
                  </a:lnTo>
                  <a:lnTo>
                    <a:pt x="28196" y="24884"/>
                  </a:lnTo>
                  <a:lnTo>
                    <a:pt x="27759" y="24884"/>
                  </a:lnTo>
                  <a:lnTo>
                    <a:pt x="27759" y="23225"/>
                  </a:lnTo>
                  <a:lnTo>
                    <a:pt x="27322" y="23225"/>
                  </a:lnTo>
                  <a:lnTo>
                    <a:pt x="27322" y="23225"/>
                  </a:lnTo>
                  <a:lnTo>
                    <a:pt x="27322" y="24884"/>
                  </a:lnTo>
                  <a:lnTo>
                    <a:pt x="26666" y="24884"/>
                  </a:lnTo>
                  <a:lnTo>
                    <a:pt x="26666" y="23225"/>
                  </a:lnTo>
                  <a:lnTo>
                    <a:pt x="26666" y="23225"/>
                  </a:lnTo>
                  <a:lnTo>
                    <a:pt x="26229" y="23225"/>
                  </a:lnTo>
                  <a:lnTo>
                    <a:pt x="26229" y="24884"/>
                  </a:lnTo>
                  <a:lnTo>
                    <a:pt x="25792" y="24884"/>
                  </a:lnTo>
                  <a:lnTo>
                    <a:pt x="25792" y="24884"/>
                  </a:lnTo>
                  <a:lnTo>
                    <a:pt x="25136" y="24884"/>
                  </a:lnTo>
                  <a:lnTo>
                    <a:pt x="25136" y="24884"/>
                  </a:lnTo>
                  <a:lnTo>
                    <a:pt x="24699" y="24884"/>
                  </a:lnTo>
                  <a:lnTo>
                    <a:pt x="24043" y="24884"/>
                  </a:lnTo>
                  <a:lnTo>
                    <a:pt x="24043" y="24884"/>
                  </a:lnTo>
                  <a:lnTo>
                    <a:pt x="23606" y="24884"/>
                  </a:lnTo>
                  <a:lnTo>
                    <a:pt x="23606" y="23225"/>
                  </a:lnTo>
                  <a:lnTo>
                    <a:pt x="23169" y="23225"/>
                  </a:lnTo>
                  <a:lnTo>
                    <a:pt x="22513" y="23225"/>
                  </a:lnTo>
                  <a:lnTo>
                    <a:pt x="22513" y="23225"/>
                  </a:lnTo>
                  <a:lnTo>
                    <a:pt x="22513" y="23225"/>
                  </a:lnTo>
                  <a:lnTo>
                    <a:pt x="22076" y="23225"/>
                  </a:lnTo>
                  <a:lnTo>
                    <a:pt x="22076" y="23225"/>
                  </a:lnTo>
                  <a:lnTo>
                    <a:pt x="21639" y="22119"/>
                  </a:lnTo>
                  <a:lnTo>
                    <a:pt x="20983" y="22119"/>
                  </a:lnTo>
                  <a:lnTo>
                    <a:pt x="20983" y="22119"/>
                  </a:lnTo>
                  <a:lnTo>
                    <a:pt x="20983" y="21013"/>
                  </a:lnTo>
                  <a:lnTo>
                    <a:pt x="20546" y="21013"/>
                  </a:lnTo>
                  <a:lnTo>
                    <a:pt x="20546" y="19354"/>
                  </a:lnTo>
                  <a:lnTo>
                    <a:pt x="20109" y="18248"/>
                  </a:lnTo>
                  <a:lnTo>
                    <a:pt x="19453" y="18248"/>
                  </a:lnTo>
                  <a:lnTo>
                    <a:pt x="19016" y="17142"/>
                  </a:lnTo>
                  <a:lnTo>
                    <a:pt x="19016" y="17142"/>
                  </a:lnTo>
                  <a:lnTo>
                    <a:pt x="17923" y="17142"/>
                  </a:lnTo>
                  <a:lnTo>
                    <a:pt x="17486" y="17142"/>
                  </a:lnTo>
                  <a:lnTo>
                    <a:pt x="17486" y="17142"/>
                  </a:lnTo>
                  <a:lnTo>
                    <a:pt x="16830" y="17142"/>
                  </a:lnTo>
                  <a:lnTo>
                    <a:pt x="16393" y="17142"/>
                  </a:lnTo>
                  <a:lnTo>
                    <a:pt x="16393" y="17142"/>
                  </a:lnTo>
                  <a:lnTo>
                    <a:pt x="15956" y="17142"/>
                  </a:lnTo>
                  <a:lnTo>
                    <a:pt x="15300" y="17142"/>
                  </a:lnTo>
                  <a:lnTo>
                    <a:pt x="15300" y="17142"/>
                  </a:lnTo>
                  <a:lnTo>
                    <a:pt x="14863" y="15483"/>
                  </a:lnTo>
                  <a:lnTo>
                    <a:pt x="14863" y="15483"/>
                  </a:lnTo>
                  <a:lnTo>
                    <a:pt x="14863" y="15483"/>
                  </a:lnTo>
                  <a:lnTo>
                    <a:pt x="14426" y="15483"/>
                  </a:lnTo>
                  <a:lnTo>
                    <a:pt x="14426" y="15483"/>
                  </a:lnTo>
                  <a:lnTo>
                    <a:pt x="14426" y="15483"/>
                  </a:lnTo>
                  <a:lnTo>
                    <a:pt x="13770" y="15483"/>
                  </a:lnTo>
                  <a:lnTo>
                    <a:pt x="13770" y="15483"/>
                  </a:lnTo>
                  <a:lnTo>
                    <a:pt x="13333" y="15483"/>
                  </a:lnTo>
                  <a:lnTo>
                    <a:pt x="13333" y="15483"/>
                  </a:lnTo>
                  <a:lnTo>
                    <a:pt x="12896" y="14377"/>
                  </a:lnTo>
                  <a:lnTo>
                    <a:pt x="12240" y="14377"/>
                  </a:lnTo>
                  <a:lnTo>
                    <a:pt x="12240" y="14377"/>
                  </a:lnTo>
                  <a:lnTo>
                    <a:pt x="12240" y="14377"/>
                  </a:lnTo>
                  <a:lnTo>
                    <a:pt x="12240" y="15483"/>
                  </a:lnTo>
                  <a:lnTo>
                    <a:pt x="12240" y="15483"/>
                  </a:lnTo>
                  <a:lnTo>
                    <a:pt x="11803" y="15483"/>
                  </a:lnTo>
                  <a:lnTo>
                    <a:pt x="11366" y="15483"/>
                  </a:lnTo>
                  <a:lnTo>
                    <a:pt x="10710" y="15483"/>
                  </a:lnTo>
                  <a:lnTo>
                    <a:pt x="10710" y="17142"/>
                  </a:lnTo>
                  <a:lnTo>
                    <a:pt x="10273" y="17142"/>
                  </a:lnTo>
                  <a:lnTo>
                    <a:pt x="10273" y="17142"/>
                  </a:lnTo>
                  <a:lnTo>
                    <a:pt x="10273" y="17142"/>
                  </a:lnTo>
                  <a:lnTo>
                    <a:pt x="9617" y="18248"/>
                  </a:lnTo>
                  <a:lnTo>
                    <a:pt x="9617" y="18248"/>
                  </a:lnTo>
                  <a:lnTo>
                    <a:pt x="9617" y="18248"/>
                  </a:lnTo>
                  <a:lnTo>
                    <a:pt x="9617" y="18248"/>
                  </a:lnTo>
                  <a:lnTo>
                    <a:pt x="9180" y="18248"/>
                  </a:lnTo>
                  <a:lnTo>
                    <a:pt x="8743" y="19354"/>
                  </a:lnTo>
                  <a:lnTo>
                    <a:pt x="8743" y="19354"/>
                  </a:lnTo>
                  <a:lnTo>
                    <a:pt x="8087" y="19354"/>
                  </a:lnTo>
                  <a:lnTo>
                    <a:pt x="8087" y="21013"/>
                  </a:lnTo>
                  <a:lnTo>
                    <a:pt x="8087" y="21013"/>
                  </a:lnTo>
                  <a:lnTo>
                    <a:pt x="8087" y="21013"/>
                  </a:lnTo>
                  <a:lnTo>
                    <a:pt x="7650" y="21013"/>
                  </a:lnTo>
                  <a:lnTo>
                    <a:pt x="7213" y="21013"/>
                  </a:lnTo>
                  <a:lnTo>
                    <a:pt x="6557" y="22119"/>
                  </a:lnTo>
                  <a:lnTo>
                    <a:pt x="6557" y="22119"/>
                  </a:lnTo>
                  <a:lnTo>
                    <a:pt x="6557" y="22119"/>
                  </a:lnTo>
                  <a:lnTo>
                    <a:pt x="6120" y="22119"/>
                  </a:lnTo>
                  <a:lnTo>
                    <a:pt x="6120" y="23225"/>
                  </a:lnTo>
                  <a:lnTo>
                    <a:pt x="5683" y="23225"/>
                  </a:lnTo>
                  <a:lnTo>
                    <a:pt x="6120" y="23225"/>
                  </a:lnTo>
                  <a:lnTo>
                    <a:pt x="5683" y="24884"/>
                  </a:lnTo>
                  <a:lnTo>
                    <a:pt x="5027" y="24884"/>
                  </a:lnTo>
                  <a:lnTo>
                    <a:pt x="5027" y="24884"/>
                  </a:lnTo>
                  <a:lnTo>
                    <a:pt x="5027" y="25990"/>
                  </a:lnTo>
                  <a:lnTo>
                    <a:pt x="5027" y="27649"/>
                  </a:lnTo>
                  <a:lnTo>
                    <a:pt x="5027" y="27649"/>
                  </a:lnTo>
                  <a:lnTo>
                    <a:pt x="5027" y="27649"/>
                  </a:lnTo>
                  <a:lnTo>
                    <a:pt x="4590" y="27649"/>
                  </a:lnTo>
                  <a:lnTo>
                    <a:pt x="4590" y="28755"/>
                  </a:lnTo>
                  <a:lnTo>
                    <a:pt x="4153" y="28755"/>
                  </a:lnTo>
                  <a:lnTo>
                    <a:pt x="4153" y="28755"/>
                  </a:lnTo>
                  <a:lnTo>
                    <a:pt x="4153" y="28755"/>
                  </a:lnTo>
                  <a:lnTo>
                    <a:pt x="4153" y="28755"/>
                  </a:lnTo>
                  <a:lnTo>
                    <a:pt x="3497" y="29861"/>
                  </a:lnTo>
                  <a:lnTo>
                    <a:pt x="3497" y="29861"/>
                  </a:lnTo>
                  <a:lnTo>
                    <a:pt x="3060" y="29861"/>
                  </a:lnTo>
                  <a:lnTo>
                    <a:pt x="3060" y="29861"/>
                  </a:lnTo>
                  <a:lnTo>
                    <a:pt x="3060" y="28755"/>
                  </a:lnTo>
                  <a:lnTo>
                    <a:pt x="3060" y="28755"/>
                  </a:lnTo>
                  <a:lnTo>
                    <a:pt x="3060" y="29861"/>
                  </a:lnTo>
                  <a:lnTo>
                    <a:pt x="3060" y="29861"/>
                  </a:lnTo>
                  <a:lnTo>
                    <a:pt x="2622" y="29861"/>
                  </a:lnTo>
                  <a:lnTo>
                    <a:pt x="2622" y="29861"/>
                  </a:lnTo>
                  <a:lnTo>
                    <a:pt x="1967" y="29861"/>
                  </a:lnTo>
                  <a:lnTo>
                    <a:pt x="1967" y="29861"/>
                  </a:lnTo>
                  <a:lnTo>
                    <a:pt x="1530" y="29861"/>
                  </a:lnTo>
                  <a:lnTo>
                    <a:pt x="1530" y="29861"/>
                  </a:lnTo>
                  <a:lnTo>
                    <a:pt x="874" y="29861"/>
                  </a:lnTo>
                  <a:lnTo>
                    <a:pt x="437" y="29861"/>
                  </a:lnTo>
                  <a:lnTo>
                    <a:pt x="437" y="31520"/>
                  </a:lnTo>
                  <a:lnTo>
                    <a:pt x="437" y="31520"/>
                  </a:lnTo>
                  <a:lnTo>
                    <a:pt x="437" y="32626"/>
                  </a:lnTo>
                  <a:lnTo>
                    <a:pt x="437" y="32626"/>
                  </a:lnTo>
                  <a:lnTo>
                    <a:pt x="437" y="32626"/>
                  </a:lnTo>
                  <a:lnTo>
                    <a:pt x="437" y="33732"/>
                  </a:lnTo>
                  <a:lnTo>
                    <a:pt x="0" y="33732"/>
                  </a:lnTo>
                  <a:lnTo>
                    <a:pt x="0" y="33732"/>
                  </a:lnTo>
                  <a:lnTo>
                    <a:pt x="0" y="33732"/>
                  </a:lnTo>
                  <a:lnTo>
                    <a:pt x="0" y="33732"/>
                  </a:lnTo>
                  <a:lnTo>
                    <a:pt x="0" y="35391"/>
                  </a:lnTo>
                  <a:lnTo>
                    <a:pt x="437" y="35391"/>
                  </a:lnTo>
                  <a:lnTo>
                    <a:pt x="437" y="35391"/>
                  </a:lnTo>
                  <a:lnTo>
                    <a:pt x="0" y="36497"/>
                  </a:lnTo>
                  <a:lnTo>
                    <a:pt x="0" y="36497"/>
                  </a:lnTo>
                  <a:lnTo>
                    <a:pt x="0" y="36497"/>
                  </a:lnTo>
                  <a:lnTo>
                    <a:pt x="437" y="36497"/>
                  </a:lnTo>
                  <a:lnTo>
                    <a:pt x="437" y="37603"/>
                  </a:lnTo>
                  <a:lnTo>
                    <a:pt x="874" y="37603"/>
                  </a:lnTo>
                  <a:lnTo>
                    <a:pt x="1530" y="37603"/>
                  </a:lnTo>
                  <a:lnTo>
                    <a:pt x="1530" y="39262"/>
                  </a:lnTo>
                  <a:lnTo>
                    <a:pt x="1530" y="39262"/>
                  </a:lnTo>
                  <a:lnTo>
                    <a:pt x="1530" y="39262"/>
                  </a:lnTo>
                  <a:lnTo>
                    <a:pt x="1530" y="39262"/>
                  </a:lnTo>
                  <a:lnTo>
                    <a:pt x="1530" y="40368"/>
                  </a:lnTo>
                  <a:lnTo>
                    <a:pt x="1530" y="40368"/>
                  </a:lnTo>
                  <a:lnTo>
                    <a:pt x="1967" y="40368"/>
                  </a:lnTo>
                  <a:lnTo>
                    <a:pt x="1967" y="40368"/>
                  </a:lnTo>
                  <a:lnTo>
                    <a:pt x="3060" y="42027"/>
                  </a:lnTo>
                  <a:lnTo>
                    <a:pt x="3497" y="42027"/>
                  </a:lnTo>
                  <a:lnTo>
                    <a:pt x="3497" y="42027"/>
                  </a:lnTo>
                  <a:lnTo>
                    <a:pt x="4153" y="43133"/>
                  </a:lnTo>
                  <a:lnTo>
                    <a:pt x="4153" y="44239"/>
                  </a:lnTo>
                  <a:lnTo>
                    <a:pt x="4590" y="44239"/>
                  </a:lnTo>
                  <a:lnTo>
                    <a:pt x="5683" y="45898"/>
                  </a:lnTo>
                  <a:lnTo>
                    <a:pt x="5683" y="45898"/>
                  </a:lnTo>
                  <a:lnTo>
                    <a:pt x="6120" y="45898"/>
                  </a:lnTo>
                  <a:lnTo>
                    <a:pt x="6120" y="47004"/>
                  </a:lnTo>
                  <a:lnTo>
                    <a:pt x="6557" y="47004"/>
                  </a:lnTo>
                  <a:lnTo>
                    <a:pt x="6557" y="47004"/>
                  </a:lnTo>
                  <a:lnTo>
                    <a:pt x="7213" y="47004"/>
                  </a:lnTo>
                  <a:lnTo>
                    <a:pt x="7650" y="47004"/>
                  </a:lnTo>
                  <a:lnTo>
                    <a:pt x="8087" y="47004"/>
                  </a:lnTo>
                  <a:lnTo>
                    <a:pt x="8743" y="48110"/>
                  </a:lnTo>
                  <a:lnTo>
                    <a:pt x="8743" y="48110"/>
                  </a:lnTo>
                  <a:lnTo>
                    <a:pt x="9180" y="48110"/>
                  </a:lnTo>
                  <a:lnTo>
                    <a:pt x="9180" y="48110"/>
                  </a:lnTo>
                  <a:lnTo>
                    <a:pt x="9180" y="48110"/>
                  </a:lnTo>
                  <a:lnTo>
                    <a:pt x="9617" y="48110"/>
                  </a:lnTo>
                  <a:lnTo>
                    <a:pt x="9617" y="48110"/>
                  </a:lnTo>
                  <a:lnTo>
                    <a:pt x="10273" y="48110"/>
                  </a:lnTo>
                  <a:lnTo>
                    <a:pt x="10273" y="48110"/>
                  </a:lnTo>
                  <a:lnTo>
                    <a:pt x="10273" y="48110"/>
                  </a:lnTo>
                  <a:lnTo>
                    <a:pt x="10710" y="49769"/>
                  </a:lnTo>
                  <a:lnTo>
                    <a:pt x="10710" y="49769"/>
                  </a:lnTo>
                  <a:lnTo>
                    <a:pt x="11366" y="50875"/>
                  </a:lnTo>
                  <a:lnTo>
                    <a:pt x="11366" y="50875"/>
                  </a:lnTo>
                  <a:lnTo>
                    <a:pt x="11803" y="50875"/>
                  </a:lnTo>
                  <a:lnTo>
                    <a:pt x="11803" y="52534"/>
                  </a:lnTo>
                  <a:lnTo>
                    <a:pt x="12240" y="52534"/>
                  </a:lnTo>
                  <a:lnTo>
                    <a:pt x="12240" y="53640"/>
                  </a:lnTo>
                  <a:lnTo>
                    <a:pt x="12896" y="54746"/>
                  </a:lnTo>
                  <a:lnTo>
                    <a:pt x="12896" y="54746"/>
                  </a:lnTo>
                  <a:lnTo>
                    <a:pt x="13333" y="56405"/>
                  </a:lnTo>
                  <a:lnTo>
                    <a:pt x="13770" y="57511"/>
                  </a:lnTo>
                  <a:lnTo>
                    <a:pt x="13770" y="57511"/>
                  </a:lnTo>
                  <a:lnTo>
                    <a:pt x="14426" y="58617"/>
                  </a:lnTo>
                  <a:lnTo>
                    <a:pt x="14863" y="58617"/>
                  </a:lnTo>
                  <a:lnTo>
                    <a:pt x="14863" y="60276"/>
                  </a:lnTo>
                  <a:lnTo>
                    <a:pt x="15300" y="61382"/>
                  </a:lnTo>
                  <a:lnTo>
                    <a:pt x="15956" y="61382"/>
                  </a:lnTo>
                  <a:lnTo>
                    <a:pt x="15956" y="62488"/>
                  </a:lnTo>
                  <a:lnTo>
                    <a:pt x="15956" y="62488"/>
                  </a:lnTo>
                  <a:lnTo>
                    <a:pt x="15956" y="64147"/>
                  </a:lnTo>
                  <a:lnTo>
                    <a:pt x="15956" y="65253"/>
                  </a:lnTo>
                  <a:lnTo>
                    <a:pt x="15956" y="65253"/>
                  </a:lnTo>
                  <a:lnTo>
                    <a:pt x="15956" y="66912"/>
                  </a:lnTo>
                  <a:lnTo>
                    <a:pt x="16393" y="68018"/>
                  </a:lnTo>
                  <a:lnTo>
                    <a:pt x="16830" y="68018"/>
                  </a:lnTo>
                  <a:lnTo>
                    <a:pt x="16830" y="69124"/>
                  </a:lnTo>
                  <a:lnTo>
                    <a:pt x="16830" y="69124"/>
                  </a:lnTo>
                  <a:lnTo>
                    <a:pt x="16393" y="70783"/>
                  </a:lnTo>
                  <a:lnTo>
                    <a:pt x="16393" y="70783"/>
                  </a:lnTo>
                  <a:lnTo>
                    <a:pt x="16393" y="70783"/>
                  </a:lnTo>
                  <a:lnTo>
                    <a:pt x="16393" y="72995"/>
                  </a:lnTo>
                  <a:lnTo>
                    <a:pt x="16393" y="74654"/>
                  </a:lnTo>
                  <a:lnTo>
                    <a:pt x="16393" y="74654"/>
                  </a:lnTo>
                  <a:lnTo>
                    <a:pt x="16830" y="75760"/>
                  </a:lnTo>
                  <a:lnTo>
                    <a:pt x="16830" y="75760"/>
                  </a:lnTo>
                  <a:lnTo>
                    <a:pt x="16830" y="76866"/>
                  </a:lnTo>
                  <a:lnTo>
                    <a:pt x="17486" y="78525"/>
                  </a:lnTo>
                  <a:lnTo>
                    <a:pt x="17923" y="78525"/>
                  </a:lnTo>
                  <a:lnTo>
                    <a:pt x="17923" y="78525"/>
                  </a:lnTo>
                  <a:lnTo>
                    <a:pt x="17923" y="78525"/>
                  </a:lnTo>
                  <a:lnTo>
                    <a:pt x="18579" y="78525"/>
                  </a:lnTo>
                  <a:lnTo>
                    <a:pt x="19016" y="78525"/>
                  </a:lnTo>
                  <a:lnTo>
                    <a:pt x="19016" y="79631"/>
                  </a:lnTo>
                  <a:lnTo>
                    <a:pt x="19453" y="79631"/>
                  </a:lnTo>
                  <a:lnTo>
                    <a:pt x="20109" y="79631"/>
                  </a:lnTo>
                  <a:lnTo>
                    <a:pt x="20546" y="79631"/>
                  </a:lnTo>
                  <a:lnTo>
                    <a:pt x="20546" y="79631"/>
                  </a:lnTo>
                  <a:lnTo>
                    <a:pt x="20983" y="79631"/>
                  </a:lnTo>
                  <a:lnTo>
                    <a:pt x="21639" y="79631"/>
                  </a:lnTo>
                  <a:lnTo>
                    <a:pt x="22076" y="79631"/>
                  </a:lnTo>
                  <a:lnTo>
                    <a:pt x="22513" y="81290"/>
                  </a:lnTo>
                  <a:lnTo>
                    <a:pt x="23606" y="81290"/>
                  </a:lnTo>
                  <a:lnTo>
                    <a:pt x="24043" y="81290"/>
                  </a:lnTo>
                  <a:lnTo>
                    <a:pt x="25136" y="81290"/>
                  </a:lnTo>
                  <a:lnTo>
                    <a:pt x="25792" y="81290"/>
                  </a:lnTo>
                  <a:lnTo>
                    <a:pt x="27322" y="82396"/>
                  </a:lnTo>
                  <a:lnTo>
                    <a:pt x="27759" y="82396"/>
                  </a:lnTo>
                  <a:lnTo>
                    <a:pt x="28196" y="82396"/>
                  </a:lnTo>
                  <a:lnTo>
                    <a:pt x="28852" y="83502"/>
                  </a:lnTo>
                  <a:lnTo>
                    <a:pt x="29726" y="85161"/>
                  </a:lnTo>
                  <a:lnTo>
                    <a:pt x="29726" y="85161"/>
                  </a:lnTo>
                  <a:lnTo>
                    <a:pt x="30819" y="86267"/>
                  </a:lnTo>
                  <a:lnTo>
                    <a:pt x="31912" y="87373"/>
                  </a:lnTo>
                  <a:lnTo>
                    <a:pt x="32349" y="87373"/>
                  </a:lnTo>
                  <a:lnTo>
                    <a:pt x="33442" y="89032"/>
                  </a:lnTo>
                  <a:lnTo>
                    <a:pt x="33879" y="90138"/>
                  </a:lnTo>
                  <a:lnTo>
                    <a:pt x="34972" y="90138"/>
                  </a:lnTo>
                  <a:lnTo>
                    <a:pt x="36065" y="90138"/>
                  </a:lnTo>
                  <a:lnTo>
                    <a:pt x="36065" y="90138"/>
                  </a:lnTo>
                  <a:lnTo>
                    <a:pt x="36065" y="91244"/>
                  </a:lnTo>
                  <a:lnTo>
                    <a:pt x="36065" y="91244"/>
                  </a:lnTo>
                  <a:lnTo>
                    <a:pt x="36065" y="92903"/>
                  </a:lnTo>
                  <a:lnTo>
                    <a:pt x="36502" y="92903"/>
                  </a:lnTo>
                  <a:lnTo>
                    <a:pt x="36939" y="92903"/>
                  </a:lnTo>
                  <a:lnTo>
                    <a:pt x="36939" y="94009"/>
                  </a:lnTo>
                  <a:lnTo>
                    <a:pt x="37595" y="94009"/>
                  </a:lnTo>
                  <a:lnTo>
                    <a:pt x="37595" y="95668"/>
                  </a:lnTo>
                  <a:lnTo>
                    <a:pt x="38032" y="96774"/>
                  </a:lnTo>
                  <a:lnTo>
                    <a:pt x="39125" y="100645"/>
                  </a:lnTo>
                  <a:lnTo>
                    <a:pt x="39562" y="101751"/>
                  </a:lnTo>
                  <a:lnTo>
                    <a:pt x="39562" y="101751"/>
                  </a:lnTo>
                  <a:lnTo>
                    <a:pt x="40655" y="103410"/>
                  </a:lnTo>
                  <a:lnTo>
                    <a:pt x="41092" y="104516"/>
                  </a:lnTo>
                  <a:lnTo>
                    <a:pt x="41748" y="105622"/>
                  </a:lnTo>
                  <a:lnTo>
                    <a:pt x="42185" y="105622"/>
                  </a:lnTo>
                  <a:lnTo>
                    <a:pt x="42185" y="107281"/>
                  </a:lnTo>
                  <a:lnTo>
                    <a:pt x="42185" y="107281"/>
                  </a:lnTo>
                  <a:lnTo>
                    <a:pt x="43278" y="107281"/>
                  </a:lnTo>
                  <a:lnTo>
                    <a:pt x="44153" y="107281"/>
                  </a:lnTo>
                  <a:lnTo>
                    <a:pt x="45245" y="107281"/>
                  </a:lnTo>
                  <a:lnTo>
                    <a:pt x="47431" y="107281"/>
                  </a:lnTo>
                  <a:lnTo>
                    <a:pt x="49398" y="108387"/>
                  </a:lnTo>
                  <a:lnTo>
                    <a:pt x="50928" y="108387"/>
                  </a:lnTo>
                  <a:lnTo>
                    <a:pt x="52021" y="108387"/>
                  </a:lnTo>
                  <a:lnTo>
                    <a:pt x="53989" y="110046"/>
                  </a:lnTo>
                  <a:lnTo>
                    <a:pt x="55081" y="108387"/>
                  </a:lnTo>
                  <a:lnTo>
                    <a:pt x="55519" y="108387"/>
                  </a:lnTo>
                  <a:lnTo>
                    <a:pt x="56174" y="108387"/>
                  </a:lnTo>
                  <a:lnTo>
                    <a:pt x="57704" y="108387"/>
                  </a:lnTo>
                  <a:lnTo>
                    <a:pt x="58579" y="108387"/>
                  </a:lnTo>
                  <a:lnTo>
                    <a:pt x="60109" y="110046"/>
                  </a:lnTo>
                  <a:lnTo>
                    <a:pt x="60765" y="110046"/>
                  </a:lnTo>
                  <a:lnTo>
                    <a:pt x="61857" y="110046"/>
                  </a:lnTo>
                  <a:lnTo>
                    <a:pt x="61857" y="110046"/>
                  </a:lnTo>
                  <a:lnTo>
                    <a:pt x="62295" y="110046"/>
                  </a:lnTo>
                  <a:lnTo>
                    <a:pt x="62732" y="110046"/>
                  </a:lnTo>
                  <a:lnTo>
                    <a:pt x="63387" y="112258"/>
                  </a:lnTo>
                  <a:lnTo>
                    <a:pt x="63825" y="113917"/>
                  </a:lnTo>
                  <a:lnTo>
                    <a:pt x="64918" y="113917"/>
                  </a:lnTo>
                  <a:lnTo>
                    <a:pt x="66448" y="115023"/>
                  </a:lnTo>
                  <a:lnTo>
                    <a:pt x="67322" y="115023"/>
                  </a:lnTo>
                  <a:lnTo>
                    <a:pt x="68415" y="115023"/>
                  </a:lnTo>
                  <a:lnTo>
                    <a:pt x="69508" y="116129"/>
                  </a:lnTo>
                  <a:lnTo>
                    <a:pt x="69945" y="117788"/>
                  </a:lnTo>
                  <a:lnTo>
                    <a:pt x="71475" y="118894"/>
                  </a:lnTo>
                  <a:lnTo>
                    <a:pt x="72131" y="117788"/>
                  </a:lnTo>
                  <a:lnTo>
                    <a:pt x="73005" y="117788"/>
                  </a:lnTo>
                  <a:lnTo>
                    <a:pt x="74098" y="117788"/>
                  </a:lnTo>
                  <a:lnTo>
                    <a:pt x="74535" y="118894"/>
                  </a:lnTo>
                  <a:lnTo>
                    <a:pt x="75628" y="120000"/>
                  </a:lnTo>
                  <a:lnTo>
                    <a:pt x="75628" y="120000"/>
                  </a:lnTo>
                  <a:lnTo>
                    <a:pt x="76284" y="120000"/>
                  </a:lnTo>
                  <a:lnTo>
                    <a:pt x="76721" y="120000"/>
                  </a:lnTo>
                  <a:lnTo>
                    <a:pt x="76721" y="118894"/>
                  </a:lnTo>
                  <a:lnTo>
                    <a:pt x="76721" y="118894"/>
                  </a:lnTo>
                  <a:lnTo>
                    <a:pt x="77158" y="118894"/>
                  </a:lnTo>
                  <a:lnTo>
                    <a:pt x="77814" y="117788"/>
                  </a:lnTo>
                  <a:lnTo>
                    <a:pt x="77814" y="117788"/>
                  </a:lnTo>
                  <a:lnTo>
                    <a:pt x="78688" y="116129"/>
                  </a:lnTo>
                  <a:lnTo>
                    <a:pt x="80218" y="113917"/>
                  </a:lnTo>
                  <a:lnTo>
                    <a:pt x="80874" y="113917"/>
                  </a:lnTo>
                  <a:lnTo>
                    <a:pt x="80874" y="113917"/>
                  </a:lnTo>
                  <a:lnTo>
                    <a:pt x="81311" y="112258"/>
                  </a:lnTo>
                  <a:lnTo>
                    <a:pt x="81748" y="112258"/>
                  </a:lnTo>
                  <a:lnTo>
                    <a:pt x="81748" y="112258"/>
                  </a:lnTo>
                  <a:lnTo>
                    <a:pt x="82841" y="112258"/>
                  </a:lnTo>
                  <a:lnTo>
                    <a:pt x="83497" y="112258"/>
                  </a:lnTo>
                  <a:lnTo>
                    <a:pt x="85027" y="111152"/>
                  </a:lnTo>
                  <a:lnTo>
                    <a:pt x="85464" y="111152"/>
                  </a:lnTo>
                  <a:lnTo>
                    <a:pt x="85901" y="111152"/>
                  </a:lnTo>
                  <a:lnTo>
                    <a:pt x="86557" y="111152"/>
                  </a:lnTo>
                  <a:lnTo>
                    <a:pt x="86994" y="111152"/>
                  </a:lnTo>
                  <a:lnTo>
                    <a:pt x="88087" y="111152"/>
                  </a:lnTo>
                  <a:lnTo>
                    <a:pt x="88524" y="111152"/>
                  </a:lnTo>
                  <a:lnTo>
                    <a:pt x="88961" y="111152"/>
                  </a:lnTo>
                  <a:lnTo>
                    <a:pt x="90054" y="111152"/>
                  </a:lnTo>
                  <a:lnTo>
                    <a:pt x="90710" y="111152"/>
                  </a:lnTo>
                  <a:lnTo>
                    <a:pt x="91147" y="111152"/>
                  </a:lnTo>
                  <a:lnTo>
                    <a:pt x="91584" y="110046"/>
                  </a:lnTo>
                  <a:lnTo>
                    <a:pt x="92240" y="110046"/>
                  </a:lnTo>
                  <a:lnTo>
                    <a:pt x="92240" y="108387"/>
                  </a:lnTo>
                  <a:lnTo>
                    <a:pt x="93114" y="108387"/>
                  </a:lnTo>
                  <a:lnTo>
                    <a:pt x="93114" y="107281"/>
                  </a:lnTo>
                  <a:lnTo>
                    <a:pt x="93770" y="107281"/>
                  </a:lnTo>
                  <a:lnTo>
                    <a:pt x="94207" y="107281"/>
                  </a:lnTo>
                  <a:lnTo>
                    <a:pt x="94207" y="105622"/>
                  </a:lnTo>
                  <a:lnTo>
                    <a:pt x="94207" y="105622"/>
                  </a:lnTo>
                  <a:lnTo>
                    <a:pt x="94207" y="105622"/>
                  </a:lnTo>
                  <a:lnTo>
                    <a:pt x="94207" y="104516"/>
                  </a:lnTo>
                  <a:lnTo>
                    <a:pt x="94644" y="103410"/>
                  </a:lnTo>
                  <a:lnTo>
                    <a:pt x="94644" y="103410"/>
                  </a:lnTo>
                  <a:lnTo>
                    <a:pt x="94644" y="101751"/>
                  </a:lnTo>
                  <a:lnTo>
                    <a:pt x="94644" y="101751"/>
                  </a:lnTo>
                  <a:lnTo>
                    <a:pt x="95300" y="100645"/>
                  </a:lnTo>
                  <a:lnTo>
                    <a:pt x="95300" y="100645"/>
                  </a:lnTo>
                  <a:lnTo>
                    <a:pt x="95737" y="100645"/>
                  </a:lnTo>
                  <a:lnTo>
                    <a:pt x="96174" y="99539"/>
                  </a:lnTo>
                  <a:lnTo>
                    <a:pt x="96830" y="99539"/>
                  </a:lnTo>
                  <a:lnTo>
                    <a:pt x="96830" y="99539"/>
                  </a:lnTo>
                  <a:lnTo>
                    <a:pt x="96830" y="97880"/>
                  </a:lnTo>
                  <a:lnTo>
                    <a:pt x="97267" y="97880"/>
                  </a:lnTo>
                  <a:lnTo>
                    <a:pt x="97267" y="96774"/>
                  </a:lnTo>
                  <a:lnTo>
                    <a:pt x="97923" y="96774"/>
                  </a:lnTo>
                  <a:lnTo>
                    <a:pt x="97923" y="96774"/>
                  </a:lnTo>
                  <a:lnTo>
                    <a:pt x="97923" y="95668"/>
                  </a:lnTo>
                  <a:lnTo>
                    <a:pt x="97267" y="95668"/>
                  </a:lnTo>
                  <a:lnTo>
                    <a:pt x="97267" y="94009"/>
                  </a:lnTo>
                  <a:lnTo>
                    <a:pt x="96830" y="94009"/>
                  </a:lnTo>
                  <a:lnTo>
                    <a:pt x="96174" y="92903"/>
                  </a:lnTo>
                  <a:lnTo>
                    <a:pt x="95737" y="91244"/>
                  </a:lnTo>
                  <a:lnTo>
                    <a:pt x="95300" y="91244"/>
                  </a:lnTo>
                  <a:lnTo>
                    <a:pt x="94644" y="90138"/>
                  </a:lnTo>
                  <a:lnTo>
                    <a:pt x="94644" y="89032"/>
                  </a:lnTo>
                  <a:lnTo>
                    <a:pt x="94207" y="89032"/>
                  </a:lnTo>
                  <a:lnTo>
                    <a:pt x="94207" y="89032"/>
                  </a:lnTo>
                  <a:lnTo>
                    <a:pt x="94207" y="87373"/>
                  </a:lnTo>
                  <a:lnTo>
                    <a:pt x="94207" y="86267"/>
                  </a:lnTo>
                  <a:lnTo>
                    <a:pt x="94207" y="85161"/>
                  </a:lnTo>
                  <a:lnTo>
                    <a:pt x="94207" y="83502"/>
                  </a:lnTo>
                  <a:lnTo>
                    <a:pt x="94207" y="82396"/>
                  </a:lnTo>
                  <a:lnTo>
                    <a:pt x="94207" y="82396"/>
                  </a:lnTo>
                  <a:lnTo>
                    <a:pt x="94644" y="79631"/>
                  </a:lnTo>
                  <a:lnTo>
                    <a:pt x="95300" y="79631"/>
                  </a:lnTo>
                  <a:lnTo>
                    <a:pt x="95300" y="79631"/>
                  </a:lnTo>
                  <a:lnTo>
                    <a:pt x="96174" y="79631"/>
                  </a:lnTo>
                  <a:lnTo>
                    <a:pt x="96174" y="79631"/>
                  </a:lnTo>
                  <a:lnTo>
                    <a:pt x="96830" y="81290"/>
                  </a:lnTo>
                  <a:lnTo>
                    <a:pt x="97267" y="82396"/>
                  </a:lnTo>
                  <a:lnTo>
                    <a:pt x="97923" y="83502"/>
                  </a:lnTo>
                  <a:lnTo>
                    <a:pt x="99453" y="83502"/>
                  </a:lnTo>
                  <a:lnTo>
                    <a:pt x="99890" y="83502"/>
                  </a:lnTo>
                  <a:lnTo>
                    <a:pt x="100327" y="83502"/>
                  </a:lnTo>
                  <a:lnTo>
                    <a:pt x="100983" y="85161"/>
                  </a:lnTo>
                  <a:lnTo>
                    <a:pt x="100983" y="85161"/>
                  </a:lnTo>
                  <a:lnTo>
                    <a:pt x="101420" y="85161"/>
                  </a:lnTo>
                  <a:lnTo>
                    <a:pt x="101857" y="85161"/>
                  </a:lnTo>
                  <a:lnTo>
                    <a:pt x="101857" y="83502"/>
                  </a:lnTo>
                  <a:lnTo>
                    <a:pt x="102513" y="83502"/>
                  </a:lnTo>
                  <a:lnTo>
                    <a:pt x="102513" y="82396"/>
                  </a:lnTo>
                  <a:lnTo>
                    <a:pt x="102513" y="82396"/>
                  </a:lnTo>
                  <a:lnTo>
                    <a:pt x="102950" y="82396"/>
                  </a:lnTo>
                  <a:lnTo>
                    <a:pt x="102950" y="79631"/>
                  </a:lnTo>
                  <a:lnTo>
                    <a:pt x="102950" y="79631"/>
                  </a:lnTo>
                  <a:lnTo>
                    <a:pt x="103387" y="78525"/>
                  </a:lnTo>
                  <a:lnTo>
                    <a:pt x="103387" y="78525"/>
                  </a:lnTo>
                  <a:lnTo>
                    <a:pt x="103387" y="76866"/>
                  </a:lnTo>
                  <a:lnTo>
                    <a:pt x="103387" y="76866"/>
                  </a:lnTo>
                  <a:lnTo>
                    <a:pt x="103387" y="76866"/>
                  </a:lnTo>
                  <a:lnTo>
                    <a:pt x="104043" y="75760"/>
                  </a:lnTo>
                  <a:lnTo>
                    <a:pt x="104043" y="75760"/>
                  </a:lnTo>
                  <a:lnTo>
                    <a:pt x="105136" y="76866"/>
                  </a:lnTo>
                  <a:lnTo>
                    <a:pt x="105573" y="76866"/>
                  </a:lnTo>
                  <a:lnTo>
                    <a:pt x="106010" y="75760"/>
                  </a:lnTo>
                  <a:lnTo>
                    <a:pt x="106666" y="75760"/>
                  </a:lnTo>
                  <a:lnTo>
                    <a:pt x="107103" y="75760"/>
                  </a:lnTo>
                  <a:lnTo>
                    <a:pt x="107540" y="75760"/>
                  </a:lnTo>
                  <a:lnTo>
                    <a:pt x="107540" y="74654"/>
                  </a:lnTo>
                  <a:lnTo>
                    <a:pt x="108196" y="72995"/>
                  </a:lnTo>
                  <a:lnTo>
                    <a:pt x="108196" y="72995"/>
                  </a:lnTo>
                  <a:lnTo>
                    <a:pt x="108633" y="72995"/>
                  </a:lnTo>
                  <a:lnTo>
                    <a:pt x="108633" y="71889"/>
                  </a:lnTo>
                  <a:lnTo>
                    <a:pt x="108633" y="71889"/>
                  </a:lnTo>
                  <a:lnTo>
                    <a:pt x="108633" y="71889"/>
                  </a:lnTo>
                  <a:lnTo>
                    <a:pt x="108633" y="70783"/>
                  </a:lnTo>
                  <a:lnTo>
                    <a:pt x="108633" y="70783"/>
                  </a:lnTo>
                  <a:lnTo>
                    <a:pt x="108633" y="68018"/>
                  </a:lnTo>
                  <a:lnTo>
                    <a:pt x="108633" y="68018"/>
                  </a:lnTo>
                  <a:lnTo>
                    <a:pt x="108633" y="66912"/>
                  </a:lnTo>
                  <a:lnTo>
                    <a:pt x="108633" y="66912"/>
                  </a:lnTo>
                  <a:lnTo>
                    <a:pt x="109071" y="65253"/>
                  </a:lnTo>
                  <a:lnTo>
                    <a:pt x="109071" y="65253"/>
                  </a:lnTo>
                  <a:lnTo>
                    <a:pt x="109071" y="65253"/>
                  </a:lnTo>
                  <a:lnTo>
                    <a:pt x="109726" y="65253"/>
                  </a:lnTo>
                  <a:lnTo>
                    <a:pt x="110163" y="65253"/>
                  </a:lnTo>
                  <a:lnTo>
                    <a:pt x="110601" y="65253"/>
                  </a:lnTo>
                  <a:lnTo>
                    <a:pt x="111256" y="65253"/>
                  </a:lnTo>
                  <a:lnTo>
                    <a:pt x="111256" y="65253"/>
                  </a:lnTo>
                  <a:lnTo>
                    <a:pt x="111256" y="65253"/>
                  </a:lnTo>
                  <a:lnTo>
                    <a:pt x="111256" y="64147"/>
                  </a:lnTo>
                  <a:lnTo>
                    <a:pt x="111256" y="64147"/>
                  </a:lnTo>
                  <a:lnTo>
                    <a:pt x="111256" y="62488"/>
                  </a:lnTo>
                  <a:lnTo>
                    <a:pt x="111256" y="62488"/>
                  </a:lnTo>
                  <a:lnTo>
                    <a:pt x="111693" y="62488"/>
                  </a:lnTo>
                  <a:lnTo>
                    <a:pt x="111693" y="62488"/>
                  </a:lnTo>
                  <a:lnTo>
                    <a:pt x="112349" y="64147"/>
                  </a:lnTo>
                  <a:lnTo>
                    <a:pt x="112349" y="64147"/>
                  </a:lnTo>
                  <a:lnTo>
                    <a:pt x="112786" y="64147"/>
                  </a:lnTo>
                  <a:lnTo>
                    <a:pt x="112786" y="62488"/>
                  </a:lnTo>
                  <a:lnTo>
                    <a:pt x="113224" y="61382"/>
                  </a:lnTo>
                  <a:lnTo>
                    <a:pt x="113879" y="61382"/>
                  </a:lnTo>
                  <a:lnTo>
                    <a:pt x="114316" y="61382"/>
                  </a:lnTo>
                  <a:lnTo>
                    <a:pt x="114316" y="61382"/>
                  </a:lnTo>
                  <a:lnTo>
                    <a:pt x="115409" y="61382"/>
                  </a:lnTo>
                  <a:lnTo>
                    <a:pt x="115409" y="61382"/>
                  </a:lnTo>
                  <a:lnTo>
                    <a:pt x="115846" y="61382"/>
                  </a:lnTo>
                  <a:lnTo>
                    <a:pt x="115846" y="61382"/>
                  </a:lnTo>
                  <a:lnTo>
                    <a:pt x="115846" y="61382"/>
                  </a:lnTo>
                  <a:lnTo>
                    <a:pt x="116284" y="61382"/>
                  </a:lnTo>
                  <a:lnTo>
                    <a:pt x="116939" y="61382"/>
                  </a:lnTo>
                  <a:lnTo>
                    <a:pt x="117377" y="62488"/>
                  </a:lnTo>
                  <a:lnTo>
                    <a:pt x="117814" y="62488"/>
                  </a:lnTo>
                  <a:lnTo>
                    <a:pt x="118469" y="62488"/>
                  </a:lnTo>
                  <a:lnTo>
                    <a:pt x="118907" y="62488"/>
                  </a:lnTo>
                  <a:lnTo>
                    <a:pt x="119562" y="62488"/>
                  </a:lnTo>
                  <a:lnTo>
                    <a:pt x="119562" y="62488"/>
                  </a:lnTo>
                  <a:lnTo>
                    <a:pt x="120000" y="61382"/>
                  </a:lnTo>
                  <a:lnTo>
                    <a:pt x="120000" y="61382"/>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28" name="Shape 428"/>
            <p:cNvSpPr/>
            <p:nvPr/>
          </p:nvSpPr>
          <p:spPr>
            <a:xfrm>
              <a:off x="3797" y="1886"/>
              <a:ext cx="0" cy="0"/>
            </a:xfrm>
            <a:custGeom>
              <a:avLst/>
              <a:gdLst/>
              <a:ahLst/>
              <a:cxnLst/>
              <a:rect l="0" t="0" r="0" b="0"/>
              <a:pathLst>
                <a:path w="120000" h="120000" extrusionOk="0">
                  <a:moveTo>
                    <a:pt x="0" y="0"/>
                  </a:moveTo>
                  <a:lnTo>
                    <a:pt x="0" y="0"/>
                  </a:lnTo>
                  <a:lnTo>
                    <a:pt x="0" y="0"/>
                  </a:lnTo>
                  <a:lnTo>
                    <a:pt x="0" y="0"/>
                  </a:lnTo>
                  <a:lnTo>
                    <a:pt x="0" y="120000"/>
                  </a:lnTo>
                  <a:lnTo>
                    <a:pt x="0" y="0"/>
                  </a:lnTo>
                  <a:lnTo>
                    <a:pt x="0" y="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29" name="Shape 429"/>
            <p:cNvSpPr/>
            <p:nvPr/>
          </p:nvSpPr>
          <p:spPr>
            <a:xfrm>
              <a:off x="4113" y="1789"/>
              <a:ext cx="0" cy="0"/>
            </a:xfrm>
            <a:custGeom>
              <a:avLst/>
              <a:gdLst/>
              <a:ahLst/>
              <a:cxnLst/>
              <a:rect l="0" t="0" r="0" b="0"/>
              <a:pathLst>
                <a:path w="120000" h="120000" extrusionOk="0">
                  <a:moveTo>
                    <a:pt x="110163" y="78688"/>
                  </a:moveTo>
                  <a:lnTo>
                    <a:pt x="110163" y="72786"/>
                  </a:lnTo>
                  <a:lnTo>
                    <a:pt x="110163" y="68852"/>
                  </a:lnTo>
                  <a:lnTo>
                    <a:pt x="110163" y="64918"/>
                  </a:lnTo>
                  <a:lnTo>
                    <a:pt x="110163" y="64918"/>
                  </a:lnTo>
                  <a:lnTo>
                    <a:pt x="106229" y="64918"/>
                  </a:lnTo>
                  <a:lnTo>
                    <a:pt x="100327" y="59016"/>
                  </a:lnTo>
                  <a:lnTo>
                    <a:pt x="96393" y="59016"/>
                  </a:lnTo>
                  <a:lnTo>
                    <a:pt x="96393" y="59016"/>
                  </a:lnTo>
                  <a:lnTo>
                    <a:pt x="96393" y="55081"/>
                  </a:lnTo>
                  <a:lnTo>
                    <a:pt x="96393" y="55081"/>
                  </a:lnTo>
                  <a:lnTo>
                    <a:pt x="96393" y="51147"/>
                  </a:lnTo>
                  <a:lnTo>
                    <a:pt x="96393" y="51147"/>
                  </a:lnTo>
                  <a:lnTo>
                    <a:pt x="96393" y="45245"/>
                  </a:lnTo>
                  <a:lnTo>
                    <a:pt x="96393" y="45245"/>
                  </a:lnTo>
                  <a:lnTo>
                    <a:pt x="96393" y="45245"/>
                  </a:lnTo>
                  <a:lnTo>
                    <a:pt x="92459" y="45245"/>
                  </a:lnTo>
                  <a:lnTo>
                    <a:pt x="92459" y="45245"/>
                  </a:lnTo>
                  <a:lnTo>
                    <a:pt x="86557" y="41311"/>
                  </a:lnTo>
                  <a:lnTo>
                    <a:pt x="82622" y="41311"/>
                  </a:lnTo>
                  <a:lnTo>
                    <a:pt x="82622" y="41311"/>
                  </a:lnTo>
                  <a:lnTo>
                    <a:pt x="82622" y="37377"/>
                  </a:lnTo>
                  <a:lnTo>
                    <a:pt x="82622" y="37377"/>
                  </a:lnTo>
                  <a:lnTo>
                    <a:pt x="82622" y="31475"/>
                  </a:lnTo>
                  <a:lnTo>
                    <a:pt x="82622" y="31475"/>
                  </a:lnTo>
                  <a:lnTo>
                    <a:pt x="82622" y="27540"/>
                  </a:lnTo>
                  <a:lnTo>
                    <a:pt x="82622" y="27540"/>
                  </a:lnTo>
                  <a:lnTo>
                    <a:pt x="82622" y="21639"/>
                  </a:lnTo>
                  <a:lnTo>
                    <a:pt x="82622" y="17704"/>
                  </a:lnTo>
                  <a:lnTo>
                    <a:pt x="78688" y="17704"/>
                  </a:lnTo>
                  <a:lnTo>
                    <a:pt x="78688" y="17704"/>
                  </a:lnTo>
                  <a:lnTo>
                    <a:pt x="78688" y="17704"/>
                  </a:lnTo>
                  <a:lnTo>
                    <a:pt x="72786" y="17704"/>
                  </a:lnTo>
                  <a:lnTo>
                    <a:pt x="72786" y="17704"/>
                  </a:lnTo>
                  <a:lnTo>
                    <a:pt x="68852" y="13770"/>
                  </a:lnTo>
                  <a:lnTo>
                    <a:pt x="62950" y="7868"/>
                  </a:lnTo>
                  <a:lnTo>
                    <a:pt x="59016" y="7868"/>
                  </a:lnTo>
                  <a:lnTo>
                    <a:pt x="59016" y="13770"/>
                  </a:lnTo>
                  <a:lnTo>
                    <a:pt x="59016" y="13770"/>
                  </a:lnTo>
                  <a:lnTo>
                    <a:pt x="59016" y="7868"/>
                  </a:lnTo>
                  <a:lnTo>
                    <a:pt x="55081" y="7868"/>
                  </a:lnTo>
                  <a:lnTo>
                    <a:pt x="55081" y="7868"/>
                  </a:lnTo>
                  <a:lnTo>
                    <a:pt x="55081" y="7868"/>
                  </a:lnTo>
                  <a:lnTo>
                    <a:pt x="55081" y="7868"/>
                  </a:lnTo>
                  <a:lnTo>
                    <a:pt x="55081" y="7868"/>
                  </a:lnTo>
                  <a:lnTo>
                    <a:pt x="49180" y="7868"/>
                  </a:lnTo>
                  <a:lnTo>
                    <a:pt x="45245" y="7868"/>
                  </a:lnTo>
                  <a:lnTo>
                    <a:pt x="45245" y="3934"/>
                  </a:lnTo>
                  <a:lnTo>
                    <a:pt x="45245" y="3934"/>
                  </a:lnTo>
                  <a:lnTo>
                    <a:pt x="41311" y="3934"/>
                  </a:lnTo>
                  <a:lnTo>
                    <a:pt x="41311" y="3934"/>
                  </a:lnTo>
                  <a:lnTo>
                    <a:pt x="35409" y="0"/>
                  </a:lnTo>
                  <a:lnTo>
                    <a:pt x="31475" y="0"/>
                  </a:lnTo>
                  <a:lnTo>
                    <a:pt x="27540" y="0"/>
                  </a:lnTo>
                  <a:lnTo>
                    <a:pt x="27540" y="0"/>
                  </a:lnTo>
                  <a:lnTo>
                    <a:pt x="27540" y="0"/>
                  </a:lnTo>
                  <a:lnTo>
                    <a:pt x="27540" y="0"/>
                  </a:lnTo>
                  <a:lnTo>
                    <a:pt x="21639" y="0"/>
                  </a:lnTo>
                  <a:lnTo>
                    <a:pt x="21639" y="0"/>
                  </a:lnTo>
                  <a:lnTo>
                    <a:pt x="17704" y="3934"/>
                  </a:lnTo>
                  <a:lnTo>
                    <a:pt x="13770" y="3934"/>
                  </a:lnTo>
                  <a:lnTo>
                    <a:pt x="7868" y="3934"/>
                  </a:lnTo>
                  <a:lnTo>
                    <a:pt x="3934" y="0"/>
                  </a:lnTo>
                  <a:lnTo>
                    <a:pt x="0" y="3934"/>
                  </a:lnTo>
                  <a:lnTo>
                    <a:pt x="0" y="3934"/>
                  </a:lnTo>
                  <a:lnTo>
                    <a:pt x="3934" y="3934"/>
                  </a:lnTo>
                  <a:lnTo>
                    <a:pt x="3934" y="7868"/>
                  </a:lnTo>
                  <a:lnTo>
                    <a:pt x="7868" y="7868"/>
                  </a:lnTo>
                  <a:lnTo>
                    <a:pt x="13770" y="7868"/>
                  </a:lnTo>
                  <a:lnTo>
                    <a:pt x="13770" y="13770"/>
                  </a:lnTo>
                  <a:lnTo>
                    <a:pt x="13770" y="13770"/>
                  </a:lnTo>
                  <a:lnTo>
                    <a:pt x="17704" y="17704"/>
                  </a:lnTo>
                  <a:lnTo>
                    <a:pt x="17704" y="21639"/>
                  </a:lnTo>
                  <a:lnTo>
                    <a:pt x="21639" y="27540"/>
                  </a:lnTo>
                  <a:lnTo>
                    <a:pt x="21639" y="27540"/>
                  </a:lnTo>
                  <a:lnTo>
                    <a:pt x="21639" y="31475"/>
                  </a:lnTo>
                  <a:lnTo>
                    <a:pt x="27540" y="37377"/>
                  </a:lnTo>
                  <a:lnTo>
                    <a:pt x="27540" y="37377"/>
                  </a:lnTo>
                  <a:lnTo>
                    <a:pt x="31475" y="37377"/>
                  </a:lnTo>
                  <a:lnTo>
                    <a:pt x="35409" y="45245"/>
                  </a:lnTo>
                  <a:lnTo>
                    <a:pt x="35409" y="45245"/>
                  </a:lnTo>
                  <a:lnTo>
                    <a:pt x="41311" y="51147"/>
                  </a:lnTo>
                  <a:lnTo>
                    <a:pt x="41311" y="51147"/>
                  </a:lnTo>
                  <a:lnTo>
                    <a:pt x="41311" y="51147"/>
                  </a:lnTo>
                  <a:lnTo>
                    <a:pt x="45245" y="55081"/>
                  </a:lnTo>
                  <a:lnTo>
                    <a:pt x="49180" y="59016"/>
                  </a:lnTo>
                  <a:lnTo>
                    <a:pt x="55081" y="64918"/>
                  </a:lnTo>
                  <a:lnTo>
                    <a:pt x="55081" y="68852"/>
                  </a:lnTo>
                  <a:lnTo>
                    <a:pt x="55081" y="72786"/>
                  </a:lnTo>
                  <a:lnTo>
                    <a:pt x="55081" y="78688"/>
                  </a:lnTo>
                  <a:lnTo>
                    <a:pt x="59016" y="78688"/>
                  </a:lnTo>
                  <a:lnTo>
                    <a:pt x="55081" y="82622"/>
                  </a:lnTo>
                  <a:lnTo>
                    <a:pt x="55081" y="92459"/>
                  </a:lnTo>
                  <a:lnTo>
                    <a:pt x="55081" y="96393"/>
                  </a:lnTo>
                  <a:lnTo>
                    <a:pt x="55081" y="102295"/>
                  </a:lnTo>
                  <a:lnTo>
                    <a:pt x="55081" y="106229"/>
                  </a:lnTo>
                  <a:lnTo>
                    <a:pt x="55081" y="106229"/>
                  </a:lnTo>
                  <a:lnTo>
                    <a:pt x="55081" y="110163"/>
                  </a:lnTo>
                  <a:lnTo>
                    <a:pt x="59016" y="110163"/>
                  </a:lnTo>
                  <a:lnTo>
                    <a:pt x="55081" y="110163"/>
                  </a:lnTo>
                  <a:lnTo>
                    <a:pt x="55081" y="116065"/>
                  </a:lnTo>
                  <a:lnTo>
                    <a:pt x="55081" y="116065"/>
                  </a:lnTo>
                  <a:lnTo>
                    <a:pt x="55081" y="116065"/>
                  </a:lnTo>
                  <a:lnTo>
                    <a:pt x="59016" y="116065"/>
                  </a:lnTo>
                  <a:lnTo>
                    <a:pt x="59016" y="120000"/>
                  </a:lnTo>
                  <a:lnTo>
                    <a:pt x="59016" y="120000"/>
                  </a:lnTo>
                  <a:lnTo>
                    <a:pt x="62950" y="120000"/>
                  </a:lnTo>
                  <a:lnTo>
                    <a:pt x="68852" y="120000"/>
                  </a:lnTo>
                  <a:lnTo>
                    <a:pt x="68852" y="116065"/>
                  </a:lnTo>
                  <a:lnTo>
                    <a:pt x="68852" y="116065"/>
                  </a:lnTo>
                  <a:lnTo>
                    <a:pt x="68852" y="116065"/>
                  </a:lnTo>
                  <a:lnTo>
                    <a:pt x="68852" y="116065"/>
                  </a:lnTo>
                  <a:lnTo>
                    <a:pt x="68852" y="110163"/>
                  </a:lnTo>
                  <a:lnTo>
                    <a:pt x="68852" y="110163"/>
                  </a:lnTo>
                  <a:lnTo>
                    <a:pt x="72786" y="106229"/>
                  </a:lnTo>
                  <a:lnTo>
                    <a:pt x="72786" y="106229"/>
                  </a:lnTo>
                  <a:lnTo>
                    <a:pt x="72786" y="102295"/>
                  </a:lnTo>
                  <a:lnTo>
                    <a:pt x="78688" y="96393"/>
                  </a:lnTo>
                  <a:lnTo>
                    <a:pt x="82622" y="96393"/>
                  </a:lnTo>
                  <a:lnTo>
                    <a:pt x="82622" y="92459"/>
                  </a:lnTo>
                  <a:lnTo>
                    <a:pt x="82622" y="92459"/>
                  </a:lnTo>
                  <a:lnTo>
                    <a:pt x="82622" y="88524"/>
                  </a:lnTo>
                  <a:lnTo>
                    <a:pt x="78688" y="82622"/>
                  </a:lnTo>
                  <a:lnTo>
                    <a:pt x="78688" y="82622"/>
                  </a:lnTo>
                  <a:lnTo>
                    <a:pt x="82622" y="78688"/>
                  </a:lnTo>
                  <a:lnTo>
                    <a:pt x="82622" y="78688"/>
                  </a:lnTo>
                  <a:lnTo>
                    <a:pt x="86557" y="78688"/>
                  </a:lnTo>
                  <a:lnTo>
                    <a:pt x="86557" y="78688"/>
                  </a:lnTo>
                  <a:lnTo>
                    <a:pt x="86557" y="78688"/>
                  </a:lnTo>
                  <a:lnTo>
                    <a:pt x="86557" y="82622"/>
                  </a:lnTo>
                  <a:lnTo>
                    <a:pt x="86557" y="82622"/>
                  </a:lnTo>
                  <a:lnTo>
                    <a:pt x="92459" y="82622"/>
                  </a:lnTo>
                  <a:lnTo>
                    <a:pt x="92459" y="78688"/>
                  </a:lnTo>
                  <a:lnTo>
                    <a:pt x="92459" y="78688"/>
                  </a:lnTo>
                  <a:lnTo>
                    <a:pt x="96393" y="78688"/>
                  </a:lnTo>
                  <a:lnTo>
                    <a:pt x="96393" y="78688"/>
                  </a:lnTo>
                  <a:lnTo>
                    <a:pt x="96393" y="78688"/>
                  </a:lnTo>
                  <a:lnTo>
                    <a:pt x="96393" y="78688"/>
                  </a:lnTo>
                  <a:lnTo>
                    <a:pt x="100327" y="82622"/>
                  </a:lnTo>
                  <a:lnTo>
                    <a:pt x="100327" y="82622"/>
                  </a:lnTo>
                  <a:lnTo>
                    <a:pt x="106229" y="82622"/>
                  </a:lnTo>
                  <a:lnTo>
                    <a:pt x="106229" y="78688"/>
                  </a:lnTo>
                  <a:lnTo>
                    <a:pt x="106229" y="78688"/>
                  </a:lnTo>
                  <a:lnTo>
                    <a:pt x="110163" y="82622"/>
                  </a:lnTo>
                  <a:lnTo>
                    <a:pt x="110163" y="82622"/>
                  </a:lnTo>
                  <a:lnTo>
                    <a:pt x="114098" y="82622"/>
                  </a:lnTo>
                  <a:lnTo>
                    <a:pt x="120000" y="82622"/>
                  </a:lnTo>
                  <a:lnTo>
                    <a:pt x="120000" y="82622"/>
                  </a:lnTo>
                  <a:lnTo>
                    <a:pt x="110163" y="78688"/>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30" name="Shape 430"/>
            <p:cNvSpPr/>
            <p:nvPr/>
          </p:nvSpPr>
          <p:spPr>
            <a:xfrm>
              <a:off x="1591" y="2117"/>
              <a:ext cx="600" cy="300"/>
            </a:xfrm>
            <a:custGeom>
              <a:avLst/>
              <a:gdLst/>
              <a:ahLst/>
              <a:cxnLst/>
              <a:rect l="0" t="0" r="0" b="0"/>
              <a:pathLst>
                <a:path w="120000" h="120000" extrusionOk="0">
                  <a:moveTo>
                    <a:pt x="95505" y="92741"/>
                  </a:moveTo>
                  <a:lnTo>
                    <a:pt x="96247" y="92741"/>
                  </a:lnTo>
                  <a:lnTo>
                    <a:pt x="96742" y="92741"/>
                  </a:lnTo>
                  <a:lnTo>
                    <a:pt x="96247" y="91801"/>
                  </a:lnTo>
                  <a:lnTo>
                    <a:pt x="96247" y="91801"/>
                  </a:lnTo>
                  <a:lnTo>
                    <a:pt x="95010" y="92741"/>
                  </a:lnTo>
                  <a:lnTo>
                    <a:pt x="95010" y="92741"/>
                  </a:lnTo>
                  <a:lnTo>
                    <a:pt x="95505" y="92741"/>
                  </a:lnTo>
                  <a:close/>
                  <a:moveTo>
                    <a:pt x="120000" y="75509"/>
                  </a:moveTo>
                  <a:lnTo>
                    <a:pt x="120000" y="75509"/>
                  </a:lnTo>
                  <a:lnTo>
                    <a:pt x="120000" y="75509"/>
                  </a:lnTo>
                  <a:lnTo>
                    <a:pt x="120000" y="75509"/>
                  </a:lnTo>
                  <a:lnTo>
                    <a:pt x="120000" y="75509"/>
                  </a:lnTo>
                  <a:lnTo>
                    <a:pt x="120000" y="76449"/>
                  </a:lnTo>
                  <a:lnTo>
                    <a:pt x="120000" y="76449"/>
                  </a:lnTo>
                  <a:lnTo>
                    <a:pt x="120000" y="75509"/>
                  </a:lnTo>
                  <a:close/>
                  <a:moveTo>
                    <a:pt x="8659" y="5953"/>
                  </a:moveTo>
                  <a:lnTo>
                    <a:pt x="8659" y="6892"/>
                  </a:lnTo>
                  <a:lnTo>
                    <a:pt x="8659" y="6892"/>
                  </a:lnTo>
                  <a:lnTo>
                    <a:pt x="8659" y="6892"/>
                  </a:lnTo>
                  <a:lnTo>
                    <a:pt x="8659" y="6892"/>
                  </a:lnTo>
                  <a:lnTo>
                    <a:pt x="8659" y="6892"/>
                  </a:lnTo>
                  <a:lnTo>
                    <a:pt x="8659" y="5953"/>
                  </a:lnTo>
                  <a:lnTo>
                    <a:pt x="8659" y="5953"/>
                  </a:lnTo>
                  <a:close/>
                  <a:moveTo>
                    <a:pt x="119505" y="75509"/>
                  </a:moveTo>
                  <a:lnTo>
                    <a:pt x="120000" y="74882"/>
                  </a:lnTo>
                  <a:lnTo>
                    <a:pt x="119505" y="74255"/>
                  </a:lnTo>
                  <a:lnTo>
                    <a:pt x="119010" y="73315"/>
                  </a:lnTo>
                  <a:lnTo>
                    <a:pt x="118268" y="73315"/>
                  </a:lnTo>
                  <a:lnTo>
                    <a:pt x="118268" y="73315"/>
                  </a:lnTo>
                  <a:lnTo>
                    <a:pt x="117773" y="73315"/>
                  </a:lnTo>
                  <a:lnTo>
                    <a:pt x="117773" y="73315"/>
                  </a:lnTo>
                  <a:lnTo>
                    <a:pt x="117030" y="74255"/>
                  </a:lnTo>
                  <a:lnTo>
                    <a:pt x="117773" y="74255"/>
                  </a:lnTo>
                  <a:lnTo>
                    <a:pt x="117773" y="74255"/>
                  </a:lnTo>
                  <a:lnTo>
                    <a:pt x="118268" y="74255"/>
                  </a:lnTo>
                  <a:lnTo>
                    <a:pt x="118268" y="74255"/>
                  </a:lnTo>
                  <a:lnTo>
                    <a:pt x="118268" y="74255"/>
                  </a:lnTo>
                  <a:lnTo>
                    <a:pt x="118268" y="74255"/>
                  </a:lnTo>
                  <a:lnTo>
                    <a:pt x="118268" y="74255"/>
                  </a:lnTo>
                  <a:lnTo>
                    <a:pt x="117773" y="74882"/>
                  </a:lnTo>
                  <a:lnTo>
                    <a:pt x="117030" y="74255"/>
                  </a:lnTo>
                  <a:lnTo>
                    <a:pt x="116041" y="74255"/>
                  </a:lnTo>
                  <a:lnTo>
                    <a:pt x="115298" y="74255"/>
                  </a:lnTo>
                  <a:lnTo>
                    <a:pt x="114804" y="73315"/>
                  </a:lnTo>
                  <a:lnTo>
                    <a:pt x="114309" y="73315"/>
                  </a:lnTo>
                  <a:lnTo>
                    <a:pt x="113567" y="73315"/>
                  </a:lnTo>
                  <a:lnTo>
                    <a:pt x="113567" y="73315"/>
                  </a:lnTo>
                  <a:lnTo>
                    <a:pt x="113567" y="73315"/>
                  </a:lnTo>
                  <a:lnTo>
                    <a:pt x="113567" y="73315"/>
                  </a:lnTo>
                  <a:lnTo>
                    <a:pt x="112577" y="73315"/>
                  </a:lnTo>
                  <a:lnTo>
                    <a:pt x="111835" y="74255"/>
                  </a:lnTo>
                  <a:lnTo>
                    <a:pt x="111340" y="74882"/>
                  </a:lnTo>
                  <a:lnTo>
                    <a:pt x="110845" y="74882"/>
                  </a:lnTo>
                  <a:lnTo>
                    <a:pt x="106144" y="75509"/>
                  </a:lnTo>
                  <a:lnTo>
                    <a:pt x="106144" y="75509"/>
                  </a:lnTo>
                  <a:lnTo>
                    <a:pt x="104412" y="76449"/>
                  </a:lnTo>
                  <a:lnTo>
                    <a:pt x="103670" y="77075"/>
                  </a:lnTo>
                  <a:lnTo>
                    <a:pt x="103175" y="79268"/>
                  </a:lnTo>
                  <a:lnTo>
                    <a:pt x="103175" y="79268"/>
                  </a:lnTo>
                  <a:lnTo>
                    <a:pt x="102680" y="80208"/>
                  </a:lnTo>
                  <a:lnTo>
                    <a:pt x="102680" y="81462"/>
                  </a:lnTo>
                  <a:lnTo>
                    <a:pt x="102680" y="82402"/>
                  </a:lnTo>
                  <a:lnTo>
                    <a:pt x="101938" y="83655"/>
                  </a:lnTo>
                  <a:lnTo>
                    <a:pt x="101938" y="84595"/>
                  </a:lnTo>
                  <a:lnTo>
                    <a:pt x="101938" y="84595"/>
                  </a:lnTo>
                  <a:lnTo>
                    <a:pt x="101443" y="85221"/>
                  </a:lnTo>
                  <a:lnTo>
                    <a:pt x="100701" y="86161"/>
                  </a:lnTo>
                  <a:lnTo>
                    <a:pt x="100701" y="88355"/>
                  </a:lnTo>
                  <a:lnTo>
                    <a:pt x="99711" y="89608"/>
                  </a:lnTo>
                  <a:lnTo>
                    <a:pt x="98969" y="90548"/>
                  </a:lnTo>
                  <a:lnTo>
                    <a:pt x="98474" y="90548"/>
                  </a:lnTo>
                  <a:lnTo>
                    <a:pt x="96742" y="91174"/>
                  </a:lnTo>
                  <a:lnTo>
                    <a:pt x="96742" y="91801"/>
                  </a:lnTo>
                  <a:lnTo>
                    <a:pt x="96742" y="91801"/>
                  </a:lnTo>
                  <a:lnTo>
                    <a:pt x="96742" y="91801"/>
                  </a:lnTo>
                  <a:lnTo>
                    <a:pt x="97237" y="91174"/>
                  </a:lnTo>
                  <a:lnTo>
                    <a:pt x="97237" y="91174"/>
                  </a:lnTo>
                  <a:lnTo>
                    <a:pt x="97237" y="91801"/>
                  </a:lnTo>
                  <a:lnTo>
                    <a:pt x="97237" y="91801"/>
                  </a:lnTo>
                  <a:lnTo>
                    <a:pt x="97237" y="91801"/>
                  </a:lnTo>
                  <a:lnTo>
                    <a:pt x="97237" y="92741"/>
                  </a:lnTo>
                  <a:lnTo>
                    <a:pt x="97237" y="93368"/>
                  </a:lnTo>
                  <a:lnTo>
                    <a:pt x="96742" y="93368"/>
                  </a:lnTo>
                  <a:lnTo>
                    <a:pt x="96247" y="94308"/>
                  </a:lnTo>
                  <a:lnTo>
                    <a:pt x="96247" y="94308"/>
                  </a:lnTo>
                  <a:lnTo>
                    <a:pt x="95010" y="94308"/>
                  </a:lnTo>
                  <a:lnTo>
                    <a:pt x="94515" y="94308"/>
                  </a:lnTo>
                  <a:lnTo>
                    <a:pt x="94515" y="93368"/>
                  </a:lnTo>
                  <a:lnTo>
                    <a:pt x="95010" y="93368"/>
                  </a:lnTo>
                  <a:lnTo>
                    <a:pt x="95010" y="93368"/>
                  </a:lnTo>
                  <a:lnTo>
                    <a:pt x="94515" y="92741"/>
                  </a:lnTo>
                  <a:lnTo>
                    <a:pt x="93773" y="92741"/>
                  </a:lnTo>
                  <a:lnTo>
                    <a:pt x="93278" y="92741"/>
                  </a:lnTo>
                  <a:lnTo>
                    <a:pt x="92041" y="92741"/>
                  </a:lnTo>
                  <a:lnTo>
                    <a:pt x="92041" y="92741"/>
                  </a:lnTo>
                  <a:lnTo>
                    <a:pt x="90804" y="93368"/>
                  </a:lnTo>
                  <a:lnTo>
                    <a:pt x="90804" y="93368"/>
                  </a:lnTo>
                  <a:lnTo>
                    <a:pt x="90804" y="94308"/>
                  </a:lnTo>
                  <a:lnTo>
                    <a:pt x="90309" y="94308"/>
                  </a:lnTo>
                  <a:lnTo>
                    <a:pt x="89072" y="94934"/>
                  </a:lnTo>
                  <a:lnTo>
                    <a:pt x="88577" y="94308"/>
                  </a:lnTo>
                  <a:lnTo>
                    <a:pt x="86845" y="94308"/>
                  </a:lnTo>
                  <a:lnTo>
                    <a:pt x="86350" y="94934"/>
                  </a:lnTo>
                  <a:lnTo>
                    <a:pt x="85608" y="95561"/>
                  </a:lnTo>
                  <a:lnTo>
                    <a:pt x="83876" y="96501"/>
                  </a:lnTo>
                  <a:lnTo>
                    <a:pt x="83381" y="96501"/>
                  </a:lnTo>
                  <a:lnTo>
                    <a:pt x="82639" y="96501"/>
                  </a:lnTo>
                  <a:lnTo>
                    <a:pt x="82144" y="96501"/>
                  </a:lnTo>
                  <a:lnTo>
                    <a:pt x="82144" y="94934"/>
                  </a:lnTo>
                  <a:lnTo>
                    <a:pt x="81649" y="94308"/>
                  </a:lnTo>
                  <a:lnTo>
                    <a:pt x="80412" y="93368"/>
                  </a:lnTo>
                  <a:lnTo>
                    <a:pt x="79917" y="92741"/>
                  </a:lnTo>
                  <a:lnTo>
                    <a:pt x="78185" y="92741"/>
                  </a:lnTo>
                  <a:lnTo>
                    <a:pt x="77443" y="91801"/>
                  </a:lnTo>
                  <a:lnTo>
                    <a:pt x="77443" y="91801"/>
                  </a:lnTo>
                  <a:lnTo>
                    <a:pt x="78185" y="92741"/>
                  </a:lnTo>
                  <a:lnTo>
                    <a:pt x="78185" y="92741"/>
                  </a:lnTo>
                  <a:lnTo>
                    <a:pt x="78185" y="92741"/>
                  </a:lnTo>
                  <a:lnTo>
                    <a:pt x="76948" y="92741"/>
                  </a:lnTo>
                  <a:lnTo>
                    <a:pt x="76948" y="91801"/>
                  </a:lnTo>
                  <a:lnTo>
                    <a:pt x="76948" y="91801"/>
                  </a:lnTo>
                  <a:lnTo>
                    <a:pt x="76948" y="91801"/>
                  </a:lnTo>
                  <a:lnTo>
                    <a:pt x="77443" y="91801"/>
                  </a:lnTo>
                  <a:lnTo>
                    <a:pt x="76948" y="91174"/>
                  </a:lnTo>
                  <a:lnTo>
                    <a:pt x="76206" y="90548"/>
                  </a:lnTo>
                  <a:lnTo>
                    <a:pt x="76206" y="89608"/>
                  </a:lnTo>
                  <a:lnTo>
                    <a:pt x="76206" y="89608"/>
                  </a:lnTo>
                  <a:lnTo>
                    <a:pt x="75216" y="88355"/>
                  </a:lnTo>
                  <a:lnTo>
                    <a:pt x="75216" y="87415"/>
                  </a:lnTo>
                  <a:lnTo>
                    <a:pt x="75216" y="86788"/>
                  </a:lnTo>
                  <a:lnTo>
                    <a:pt x="75216" y="85221"/>
                  </a:lnTo>
                  <a:lnTo>
                    <a:pt x="73979" y="83028"/>
                  </a:lnTo>
                  <a:lnTo>
                    <a:pt x="72742" y="80208"/>
                  </a:lnTo>
                  <a:lnTo>
                    <a:pt x="72247" y="79268"/>
                  </a:lnTo>
                  <a:lnTo>
                    <a:pt x="72742" y="78642"/>
                  </a:lnTo>
                  <a:lnTo>
                    <a:pt x="72247" y="77075"/>
                  </a:lnTo>
                  <a:lnTo>
                    <a:pt x="71752" y="74882"/>
                  </a:lnTo>
                  <a:lnTo>
                    <a:pt x="71752" y="74882"/>
                  </a:lnTo>
                  <a:lnTo>
                    <a:pt x="71752" y="74255"/>
                  </a:lnTo>
                  <a:lnTo>
                    <a:pt x="71752" y="74255"/>
                  </a:lnTo>
                  <a:lnTo>
                    <a:pt x="71010" y="74255"/>
                  </a:lnTo>
                  <a:lnTo>
                    <a:pt x="71010" y="73315"/>
                  </a:lnTo>
                  <a:lnTo>
                    <a:pt x="71010" y="70496"/>
                  </a:lnTo>
                  <a:lnTo>
                    <a:pt x="71752" y="72689"/>
                  </a:lnTo>
                  <a:lnTo>
                    <a:pt x="72247" y="73315"/>
                  </a:lnTo>
                  <a:lnTo>
                    <a:pt x="72247" y="73315"/>
                  </a:lnTo>
                  <a:lnTo>
                    <a:pt x="72247" y="74255"/>
                  </a:lnTo>
                  <a:lnTo>
                    <a:pt x="72247" y="74255"/>
                  </a:lnTo>
                  <a:lnTo>
                    <a:pt x="71752" y="74882"/>
                  </a:lnTo>
                  <a:lnTo>
                    <a:pt x="72247" y="75509"/>
                  </a:lnTo>
                  <a:lnTo>
                    <a:pt x="72247" y="74882"/>
                  </a:lnTo>
                  <a:lnTo>
                    <a:pt x="72247" y="74882"/>
                  </a:lnTo>
                  <a:lnTo>
                    <a:pt x="72742" y="74255"/>
                  </a:lnTo>
                  <a:lnTo>
                    <a:pt x="72247" y="73315"/>
                  </a:lnTo>
                  <a:lnTo>
                    <a:pt x="72247" y="72689"/>
                  </a:lnTo>
                  <a:lnTo>
                    <a:pt x="71752" y="72062"/>
                  </a:lnTo>
                  <a:lnTo>
                    <a:pt x="71010" y="70496"/>
                  </a:lnTo>
                  <a:lnTo>
                    <a:pt x="71010" y="68929"/>
                  </a:lnTo>
                  <a:lnTo>
                    <a:pt x="71010" y="67362"/>
                  </a:lnTo>
                  <a:lnTo>
                    <a:pt x="71010" y="67362"/>
                  </a:lnTo>
                  <a:lnTo>
                    <a:pt x="71010" y="66736"/>
                  </a:lnTo>
                  <a:lnTo>
                    <a:pt x="71752" y="66109"/>
                  </a:lnTo>
                  <a:lnTo>
                    <a:pt x="71752" y="65169"/>
                  </a:lnTo>
                  <a:lnTo>
                    <a:pt x="71752" y="64543"/>
                  </a:lnTo>
                  <a:lnTo>
                    <a:pt x="72247" y="62349"/>
                  </a:lnTo>
                  <a:lnTo>
                    <a:pt x="72742" y="59216"/>
                  </a:lnTo>
                  <a:lnTo>
                    <a:pt x="72742" y="59216"/>
                  </a:lnTo>
                  <a:lnTo>
                    <a:pt x="72742" y="59216"/>
                  </a:lnTo>
                  <a:lnTo>
                    <a:pt x="72742" y="57963"/>
                  </a:lnTo>
                  <a:lnTo>
                    <a:pt x="73484" y="54830"/>
                  </a:lnTo>
                  <a:lnTo>
                    <a:pt x="75216" y="51070"/>
                  </a:lnTo>
                  <a:lnTo>
                    <a:pt x="75711" y="49817"/>
                  </a:lnTo>
                  <a:lnTo>
                    <a:pt x="76948" y="47624"/>
                  </a:lnTo>
                  <a:lnTo>
                    <a:pt x="77443" y="46057"/>
                  </a:lnTo>
                  <a:lnTo>
                    <a:pt x="77443" y="44490"/>
                  </a:lnTo>
                  <a:lnTo>
                    <a:pt x="76948" y="44490"/>
                  </a:lnTo>
                  <a:lnTo>
                    <a:pt x="76948" y="45117"/>
                  </a:lnTo>
                  <a:lnTo>
                    <a:pt x="76948" y="45117"/>
                  </a:lnTo>
                  <a:lnTo>
                    <a:pt x="76948" y="45117"/>
                  </a:lnTo>
                  <a:lnTo>
                    <a:pt x="76206" y="45117"/>
                  </a:lnTo>
                  <a:lnTo>
                    <a:pt x="76206" y="45117"/>
                  </a:lnTo>
                  <a:lnTo>
                    <a:pt x="75711" y="44490"/>
                  </a:lnTo>
                  <a:lnTo>
                    <a:pt x="75216" y="44490"/>
                  </a:lnTo>
                  <a:lnTo>
                    <a:pt x="73484" y="43864"/>
                  </a:lnTo>
                  <a:lnTo>
                    <a:pt x="72742" y="43864"/>
                  </a:lnTo>
                  <a:lnTo>
                    <a:pt x="72247" y="42924"/>
                  </a:lnTo>
                  <a:lnTo>
                    <a:pt x="72247" y="42924"/>
                  </a:lnTo>
                  <a:lnTo>
                    <a:pt x="71752" y="42924"/>
                  </a:lnTo>
                  <a:lnTo>
                    <a:pt x="71010" y="42297"/>
                  </a:lnTo>
                  <a:lnTo>
                    <a:pt x="71010" y="42297"/>
                  </a:lnTo>
                  <a:lnTo>
                    <a:pt x="70515" y="41671"/>
                  </a:lnTo>
                  <a:lnTo>
                    <a:pt x="70020" y="41671"/>
                  </a:lnTo>
                  <a:lnTo>
                    <a:pt x="69278" y="41671"/>
                  </a:lnTo>
                  <a:lnTo>
                    <a:pt x="69278" y="40731"/>
                  </a:lnTo>
                  <a:lnTo>
                    <a:pt x="69278" y="40731"/>
                  </a:lnTo>
                  <a:lnTo>
                    <a:pt x="69278" y="39477"/>
                  </a:lnTo>
                  <a:lnTo>
                    <a:pt x="69278" y="38537"/>
                  </a:lnTo>
                  <a:lnTo>
                    <a:pt x="68783" y="37911"/>
                  </a:lnTo>
                  <a:lnTo>
                    <a:pt x="68783" y="36971"/>
                  </a:lnTo>
                  <a:lnTo>
                    <a:pt x="68783" y="36971"/>
                  </a:lnTo>
                  <a:lnTo>
                    <a:pt x="68783" y="36971"/>
                  </a:lnTo>
                  <a:lnTo>
                    <a:pt x="68783" y="36344"/>
                  </a:lnTo>
                  <a:lnTo>
                    <a:pt x="68783" y="36344"/>
                  </a:lnTo>
                  <a:lnTo>
                    <a:pt x="68783" y="35718"/>
                  </a:lnTo>
                  <a:lnTo>
                    <a:pt x="68783" y="35718"/>
                  </a:lnTo>
                  <a:lnTo>
                    <a:pt x="69278" y="34778"/>
                  </a:lnTo>
                  <a:lnTo>
                    <a:pt x="69278" y="34778"/>
                  </a:lnTo>
                  <a:lnTo>
                    <a:pt x="69278" y="34151"/>
                  </a:lnTo>
                  <a:lnTo>
                    <a:pt x="68783" y="33524"/>
                  </a:lnTo>
                  <a:lnTo>
                    <a:pt x="68041" y="32584"/>
                  </a:lnTo>
                  <a:lnTo>
                    <a:pt x="68041" y="31958"/>
                  </a:lnTo>
                  <a:lnTo>
                    <a:pt x="67546" y="31331"/>
                  </a:lnTo>
                  <a:lnTo>
                    <a:pt x="67546" y="29765"/>
                  </a:lnTo>
                  <a:lnTo>
                    <a:pt x="67051" y="29765"/>
                  </a:lnTo>
                  <a:lnTo>
                    <a:pt x="67051" y="28825"/>
                  </a:lnTo>
                  <a:lnTo>
                    <a:pt x="67051" y="28198"/>
                  </a:lnTo>
                  <a:lnTo>
                    <a:pt x="67051" y="28198"/>
                  </a:lnTo>
                  <a:lnTo>
                    <a:pt x="67051" y="28198"/>
                  </a:lnTo>
                  <a:lnTo>
                    <a:pt x="66309" y="27571"/>
                  </a:lnTo>
                  <a:lnTo>
                    <a:pt x="66309" y="26005"/>
                  </a:lnTo>
                  <a:lnTo>
                    <a:pt x="66309" y="24438"/>
                  </a:lnTo>
                  <a:lnTo>
                    <a:pt x="66309" y="23812"/>
                  </a:lnTo>
                  <a:lnTo>
                    <a:pt x="65814" y="23185"/>
                  </a:lnTo>
                  <a:lnTo>
                    <a:pt x="65319" y="22245"/>
                  </a:lnTo>
                  <a:lnTo>
                    <a:pt x="65319" y="22245"/>
                  </a:lnTo>
                  <a:lnTo>
                    <a:pt x="65319" y="21618"/>
                  </a:lnTo>
                  <a:lnTo>
                    <a:pt x="65319" y="21618"/>
                  </a:lnTo>
                  <a:lnTo>
                    <a:pt x="64082" y="20052"/>
                  </a:lnTo>
                  <a:lnTo>
                    <a:pt x="64082" y="19425"/>
                  </a:lnTo>
                  <a:lnTo>
                    <a:pt x="64082" y="19425"/>
                  </a:lnTo>
                  <a:lnTo>
                    <a:pt x="63587" y="19425"/>
                  </a:lnTo>
                  <a:lnTo>
                    <a:pt x="63587" y="19425"/>
                  </a:lnTo>
                  <a:lnTo>
                    <a:pt x="63587" y="19425"/>
                  </a:lnTo>
                  <a:lnTo>
                    <a:pt x="63587" y="19425"/>
                  </a:lnTo>
                  <a:lnTo>
                    <a:pt x="62845" y="19425"/>
                  </a:lnTo>
                  <a:lnTo>
                    <a:pt x="62350" y="19425"/>
                  </a:lnTo>
                  <a:lnTo>
                    <a:pt x="61113" y="19425"/>
                  </a:lnTo>
                  <a:lnTo>
                    <a:pt x="60618" y="19425"/>
                  </a:lnTo>
                  <a:lnTo>
                    <a:pt x="60618" y="18485"/>
                  </a:lnTo>
                  <a:lnTo>
                    <a:pt x="59876" y="18485"/>
                  </a:lnTo>
                  <a:lnTo>
                    <a:pt x="59381" y="19425"/>
                  </a:lnTo>
                  <a:lnTo>
                    <a:pt x="59381" y="19425"/>
                  </a:lnTo>
                  <a:lnTo>
                    <a:pt x="58886" y="19425"/>
                  </a:lnTo>
                  <a:lnTo>
                    <a:pt x="57649" y="20052"/>
                  </a:lnTo>
                  <a:lnTo>
                    <a:pt x="57154" y="21618"/>
                  </a:lnTo>
                  <a:lnTo>
                    <a:pt x="56412" y="22245"/>
                  </a:lnTo>
                  <a:lnTo>
                    <a:pt x="56412" y="23185"/>
                  </a:lnTo>
                  <a:lnTo>
                    <a:pt x="56412" y="23185"/>
                  </a:lnTo>
                  <a:lnTo>
                    <a:pt x="56412" y="23185"/>
                  </a:lnTo>
                  <a:lnTo>
                    <a:pt x="55917" y="23812"/>
                  </a:lnTo>
                  <a:lnTo>
                    <a:pt x="55422" y="24438"/>
                  </a:lnTo>
                  <a:lnTo>
                    <a:pt x="54680" y="24438"/>
                  </a:lnTo>
                  <a:lnTo>
                    <a:pt x="54680" y="24438"/>
                  </a:lnTo>
                  <a:lnTo>
                    <a:pt x="54185" y="23812"/>
                  </a:lnTo>
                  <a:lnTo>
                    <a:pt x="52948" y="23185"/>
                  </a:lnTo>
                  <a:lnTo>
                    <a:pt x="52453" y="22245"/>
                  </a:lnTo>
                  <a:lnTo>
                    <a:pt x="51711" y="22245"/>
                  </a:lnTo>
                  <a:lnTo>
                    <a:pt x="51216" y="22245"/>
                  </a:lnTo>
                  <a:lnTo>
                    <a:pt x="51216" y="21618"/>
                  </a:lnTo>
                  <a:lnTo>
                    <a:pt x="50721" y="20678"/>
                  </a:lnTo>
                  <a:lnTo>
                    <a:pt x="50721" y="20678"/>
                  </a:lnTo>
                  <a:lnTo>
                    <a:pt x="49979" y="20052"/>
                  </a:lnTo>
                  <a:lnTo>
                    <a:pt x="49979" y="18485"/>
                  </a:lnTo>
                  <a:lnTo>
                    <a:pt x="49979" y="17859"/>
                  </a:lnTo>
                  <a:lnTo>
                    <a:pt x="49979" y="17232"/>
                  </a:lnTo>
                  <a:lnTo>
                    <a:pt x="49979" y="15039"/>
                  </a:lnTo>
                  <a:lnTo>
                    <a:pt x="49484" y="14099"/>
                  </a:lnTo>
                  <a:lnTo>
                    <a:pt x="49484" y="13472"/>
                  </a:lnTo>
                  <a:lnTo>
                    <a:pt x="49484" y="13472"/>
                  </a:lnTo>
                  <a:lnTo>
                    <a:pt x="48247" y="12532"/>
                  </a:lnTo>
                  <a:lnTo>
                    <a:pt x="47752" y="11279"/>
                  </a:lnTo>
                  <a:lnTo>
                    <a:pt x="47257" y="9712"/>
                  </a:lnTo>
                  <a:lnTo>
                    <a:pt x="46515" y="9086"/>
                  </a:lnTo>
                  <a:lnTo>
                    <a:pt x="46020" y="8146"/>
                  </a:lnTo>
                  <a:lnTo>
                    <a:pt x="45525" y="7519"/>
                  </a:lnTo>
                  <a:lnTo>
                    <a:pt x="45525" y="6892"/>
                  </a:lnTo>
                  <a:lnTo>
                    <a:pt x="45525" y="5953"/>
                  </a:lnTo>
                  <a:lnTo>
                    <a:pt x="45525" y="5953"/>
                  </a:lnTo>
                  <a:lnTo>
                    <a:pt x="44783" y="5953"/>
                  </a:lnTo>
                  <a:lnTo>
                    <a:pt x="44288" y="5953"/>
                  </a:lnTo>
                  <a:lnTo>
                    <a:pt x="43051" y="5953"/>
                  </a:lnTo>
                  <a:lnTo>
                    <a:pt x="42556" y="5953"/>
                  </a:lnTo>
                  <a:lnTo>
                    <a:pt x="41319" y="5953"/>
                  </a:lnTo>
                  <a:lnTo>
                    <a:pt x="40082" y="5953"/>
                  </a:lnTo>
                  <a:lnTo>
                    <a:pt x="39587" y="5953"/>
                  </a:lnTo>
                  <a:lnTo>
                    <a:pt x="38350" y="5953"/>
                  </a:lnTo>
                  <a:lnTo>
                    <a:pt x="37360" y="5953"/>
                  </a:lnTo>
                  <a:lnTo>
                    <a:pt x="37360" y="6892"/>
                  </a:lnTo>
                  <a:lnTo>
                    <a:pt x="37360" y="7519"/>
                  </a:lnTo>
                  <a:lnTo>
                    <a:pt x="36618" y="8146"/>
                  </a:lnTo>
                  <a:lnTo>
                    <a:pt x="36618" y="9086"/>
                  </a:lnTo>
                  <a:lnTo>
                    <a:pt x="34886" y="9086"/>
                  </a:lnTo>
                  <a:lnTo>
                    <a:pt x="33154" y="9086"/>
                  </a:lnTo>
                  <a:lnTo>
                    <a:pt x="31917" y="9086"/>
                  </a:lnTo>
                  <a:lnTo>
                    <a:pt x="30185" y="9086"/>
                  </a:lnTo>
                  <a:lnTo>
                    <a:pt x="28453" y="9086"/>
                  </a:lnTo>
                  <a:lnTo>
                    <a:pt x="27216" y="9086"/>
                  </a:lnTo>
                  <a:lnTo>
                    <a:pt x="25484" y="9086"/>
                  </a:lnTo>
                  <a:lnTo>
                    <a:pt x="23752" y="9086"/>
                  </a:lnTo>
                  <a:lnTo>
                    <a:pt x="22020" y="8146"/>
                  </a:lnTo>
                  <a:lnTo>
                    <a:pt x="20288" y="7519"/>
                  </a:lnTo>
                  <a:lnTo>
                    <a:pt x="18556" y="5953"/>
                  </a:lnTo>
                  <a:lnTo>
                    <a:pt x="16824" y="5326"/>
                  </a:lnTo>
                  <a:lnTo>
                    <a:pt x="15092" y="4386"/>
                  </a:lnTo>
                  <a:lnTo>
                    <a:pt x="13360" y="3759"/>
                  </a:lnTo>
                  <a:lnTo>
                    <a:pt x="11628" y="2193"/>
                  </a:lnTo>
                  <a:lnTo>
                    <a:pt x="9896" y="1566"/>
                  </a:lnTo>
                  <a:lnTo>
                    <a:pt x="9896" y="939"/>
                  </a:lnTo>
                  <a:lnTo>
                    <a:pt x="10391" y="0"/>
                  </a:lnTo>
                  <a:lnTo>
                    <a:pt x="10391" y="0"/>
                  </a:lnTo>
                  <a:lnTo>
                    <a:pt x="8659" y="0"/>
                  </a:lnTo>
                  <a:lnTo>
                    <a:pt x="7422" y="939"/>
                  </a:lnTo>
                  <a:lnTo>
                    <a:pt x="6432" y="939"/>
                  </a:lnTo>
                  <a:lnTo>
                    <a:pt x="5195" y="939"/>
                  </a:lnTo>
                  <a:lnTo>
                    <a:pt x="3463" y="939"/>
                  </a:lnTo>
                  <a:lnTo>
                    <a:pt x="2226" y="939"/>
                  </a:lnTo>
                  <a:lnTo>
                    <a:pt x="989" y="939"/>
                  </a:lnTo>
                  <a:lnTo>
                    <a:pt x="0" y="1566"/>
                  </a:lnTo>
                  <a:lnTo>
                    <a:pt x="0" y="2193"/>
                  </a:lnTo>
                  <a:lnTo>
                    <a:pt x="0" y="3133"/>
                  </a:lnTo>
                  <a:lnTo>
                    <a:pt x="0" y="3759"/>
                  </a:lnTo>
                  <a:lnTo>
                    <a:pt x="0" y="4386"/>
                  </a:lnTo>
                  <a:lnTo>
                    <a:pt x="494" y="5953"/>
                  </a:lnTo>
                  <a:lnTo>
                    <a:pt x="494" y="6892"/>
                  </a:lnTo>
                  <a:lnTo>
                    <a:pt x="494" y="6892"/>
                  </a:lnTo>
                  <a:lnTo>
                    <a:pt x="0" y="6892"/>
                  </a:lnTo>
                  <a:lnTo>
                    <a:pt x="0" y="6892"/>
                  </a:lnTo>
                  <a:lnTo>
                    <a:pt x="0" y="6892"/>
                  </a:lnTo>
                  <a:lnTo>
                    <a:pt x="0" y="7519"/>
                  </a:lnTo>
                  <a:lnTo>
                    <a:pt x="0" y="8146"/>
                  </a:lnTo>
                  <a:lnTo>
                    <a:pt x="494" y="9086"/>
                  </a:lnTo>
                  <a:lnTo>
                    <a:pt x="494" y="9712"/>
                  </a:lnTo>
                  <a:lnTo>
                    <a:pt x="494" y="10339"/>
                  </a:lnTo>
                  <a:lnTo>
                    <a:pt x="494" y="11279"/>
                  </a:lnTo>
                  <a:lnTo>
                    <a:pt x="494" y="11906"/>
                  </a:lnTo>
                  <a:lnTo>
                    <a:pt x="989" y="12532"/>
                  </a:lnTo>
                  <a:lnTo>
                    <a:pt x="989" y="13472"/>
                  </a:lnTo>
                  <a:lnTo>
                    <a:pt x="494" y="14099"/>
                  </a:lnTo>
                  <a:lnTo>
                    <a:pt x="494" y="15039"/>
                  </a:lnTo>
                  <a:lnTo>
                    <a:pt x="989" y="15665"/>
                  </a:lnTo>
                  <a:lnTo>
                    <a:pt x="989" y="15665"/>
                  </a:lnTo>
                  <a:lnTo>
                    <a:pt x="989" y="17232"/>
                  </a:lnTo>
                  <a:lnTo>
                    <a:pt x="494" y="18485"/>
                  </a:lnTo>
                  <a:lnTo>
                    <a:pt x="989" y="18485"/>
                  </a:lnTo>
                  <a:lnTo>
                    <a:pt x="989" y="19425"/>
                  </a:lnTo>
                  <a:lnTo>
                    <a:pt x="989" y="20052"/>
                  </a:lnTo>
                  <a:lnTo>
                    <a:pt x="2226" y="20678"/>
                  </a:lnTo>
                  <a:lnTo>
                    <a:pt x="2226" y="21618"/>
                  </a:lnTo>
                  <a:lnTo>
                    <a:pt x="3463" y="22245"/>
                  </a:lnTo>
                  <a:lnTo>
                    <a:pt x="3463" y="22245"/>
                  </a:lnTo>
                  <a:lnTo>
                    <a:pt x="3463" y="23185"/>
                  </a:lnTo>
                  <a:lnTo>
                    <a:pt x="3958" y="23812"/>
                  </a:lnTo>
                  <a:lnTo>
                    <a:pt x="5195" y="26005"/>
                  </a:lnTo>
                  <a:lnTo>
                    <a:pt x="5690" y="27571"/>
                  </a:lnTo>
                  <a:lnTo>
                    <a:pt x="5690" y="28198"/>
                  </a:lnTo>
                  <a:lnTo>
                    <a:pt x="5195" y="29765"/>
                  </a:lnTo>
                  <a:lnTo>
                    <a:pt x="4701" y="31331"/>
                  </a:lnTo>
                  <a:lnTo>
                    <a:pt x="3958" y="31958"/>
                  </a:lnTo>
                  <a:lnTo>
                    <a:pt x="3958" y="31958"/>
                  </a:lnTo>
                  <a:lnTo>
                    <a:pt x="4701" y="31958"/>
                  </a:lnTo>
                  <a:lnTo>
                    <a:pt x="4701" y="31958"/>
                  </a:lnTo>
                  <a:lnTo>
                    <a:pt x="4701" y="32584"/>
                  </a:lnTo>
                  <a:lnTo>
                    <a:pt x="4701" y="32584"/>
                  </a:lnTo>
                  <a:lnTo>
                    <a:pt x="4701" y="33524"/>
                  </a:lnTo>
                  <a:lnTo>
                    <a:pt x="3958" y="33524"/>
                  </a:lnTo>
                  <a:lnTo>
                    <a:pt x="3958" y="33524"/>
                  </a:lnTo>
                  <a:lnTo>
                    <a:pt x="3463" y="32584"/>
                  </a:lnTo>
                  <a:lnTo>
                    <a:pt x="3958" y="31958"/>
                  </a:lnTo>
                  <a:lnTo>
                    <a:pt x="3958" y="31958"/>
                  </a:lnTo>
                  <a:lnTo>
                    <a:pt x="3463" y="31958"/>
                  </a:lnTo>
                  <a:lnTo>
                    <a:pt x="2969" y="32584"/>
                  </a:lnTo>
                  <a:lnTo>
                    <a:pt x="2226" y="32584"/>
                  </a:lnTo>
                  <a:lnTo>
                    <a:pt x="1731" y="32584"/>
                  </a:lnTo>
                  <a:lnTo>
                    <a:pt x="494" y="31958"/>
                  </a:lnTo>
                  <a:lnTo>
                    <a:pt x="494" y="32584"/>
                  </a:lnTo>
                  <a:lnTo>
                    <a:pt x="494" y="32584"/>
                  </a:lnTo>
                  <a:lnTo>
                    <a:pt x="989" y="33524"/>
                  </a:lnTo>
                  <a:lnTo>
                    <a:pt x="1731" y="34151"/>
                  </a:lnTo>
                  <a:lnTo>
                    <a:pt x="2226" y="34778"/>
                  </a:lnTo>
                  <a:lnTo>
                    <a:pt x="2226" y="35718"/>
                  </a:lnTo>
                  <a:lnTo>
                    <a:pt x="2226" y="35718"/>
                  </a:lnTo>
                  <a:lnTo>
                    <a:pt x="2226" y="36344"/>
                  </a:lnTo>
                  <a:lnTo>
                    <a:pt x="2969" y="36971"/>
                  </a:lnTo>
                  <a:lnTo>
                    <a:pt x="3463" y="36971"/>
                  </a:lnTo>
                  <a:lnTo>
                    <a:pt x="3463" y="36971"/>
                  </a:lnTo>
                  <a:lnTo>
                    <a:pt x="3958" y="37911"/>
                  </a:lnTo>
                  <a:lnTo>
                    <a:pt x="3958" y="37911"/>
                  </a:lnTo>
                  <a:lnTo>
                    <a:pt x="4701" y="37911"/>
                  </a:lnTo>
                  <a:lnTo>
                    <a:pt x="4701" y="38537"/>
                  </a:lnTo>
                  <a:lnTo>
                    <a:pt x="5195" y="39477"/>
                  </a:lnTo>
                  <a:lnTo>
                    <a:pt x="5195" y="39477"/>
                  </a:lnTo>
                  <a:lnTo>
                    <a:pt x="6432" y="39477"/>
                  </a:lnTo>
                  <a:lnTo>
                    <a:pt x="6927" y="39477"/>
                  </a:lnTo>
                  <a:lnTo>
                    <a:pt x="7422" y="38537"/>
                  </a:lnTo>
                  <a:lnTo>
                    <a:pt x="7422" y="37911"/>
                  </a:lnTo>
                  <a:lnTo>
                    <a:pt x="7422" y="39477"/>
                  </a:lnTo>
                  <a:lnTo>
                    <a:pt x="7422" y="39477"/>
                  </a:lnTo>
                  <a:lnTo>
                    <a:pt x="7422" y="40731"/>
                  </a:lnTo>
                  <a:lnTo>
                    <a:pt x="8659" y="42297"/>
                  </a:lnTo>
                  <a:lnTo>
                    <a:pt x="9154" y="42297"/>
                  </a:lnTo>
                  <a:lnTo>
                    <a:pt x="9896" y="42924"/>
                  </a:lnTo>
                  <a:lnTo>
                    <a:pt x="10391" y="45117"/>
                  </a:lnTo>
                  <a:lnTo>
                    <a:pt x="10391" y="46057"/>
                  </a:lnTo>
                  <a:lnTo>
                    <a:pt x="10391" y="46684"/>
                  </a:lnTo>
                  <a:lnTo>
                    <a:pt x="10391" y="47624"/>
                  </a:lnTo>
                  <a:lnTo>
                    <a:pt x="10391" y="47624"/>
                  </a:lnTo>
                  <a:lnTo>
                    <a:pt x="10391" y="47624"/>
                  </a:lnTo>
                  <a:lnTo>
                    <a:pt x="10391" y="48877"/>
                  </a:lnTo>
                  <a:lnTo>
                    <a:pt x="9896" y="50443"/>
                  </a:lnTo>
                  <a:lnTo>
                    <a:pt x="9896" y="51070"/>
                  </a:lnTo>
                  <a:lnTo>
                    <a:pt x="9896" y="52010"/>
                  </a:lnTo>
                  <a:lnTo>
                    <a:pt x="10391" y="53263"/>
                  </a:lnTo>
                  <a:lnTo>
                    <a:pt x="10391" y="53263"/>
                  </a:lnTo>
                  <a:lnTo>
                    <a:pt x="10391" y="54203"/>
                  </a:lnTo>
                  <a:lnTo>
                    <a:pt x="10391" y="54203"/>
                  </a:lnTo>
                  <a:lnTo>
                    <a:pt x="10886" y="54203"/>
                  </a:lnTo>
                  <a:lnTo>
                    <a:pt x="10886" y="54203"/>
                  </a:lnTo>
                  <a:lnTo>
                    <a:pt x="11628" y="54830"/>
                  </a:lnTo>
                  <a:lnTo>
                    <a:pt x="12123" y="55770"/>
                  </a:lnTo>
                  <a:lnTo>
                    <a:pt x="13360" y="57023"/>
                  </a:lnTo>
                  <a:lnTo>
                    <a:pt x="13855" y="57963"/>
                  </a:lnTo>
                  <a:lnTo>
                    <a:pt x="14597" y="58590"/>
                  </a:lnTo>
                  <a:lnTo>
                    <a:pt x="15092" y="59216"/>
                  </a:lnTo>
                  <a:lnTo>
                    <a:pt x="15587" y="60156"/>
                  </a:lnTo>
                  <a:lnTo>
                    <a:pt x="16329" y="60783"/>
                  </a:lnTo>
                  <a:lnTo>
                    <a:pt x="16329" y="61409"/>
                  </a:lnTo>
                  <a:lnTo>
                    <a:pt x="16329" y="62349"/>
                  </a:lnTo>
                  <a:lnTo>
                    <a:pt x="16329" y="64543"/>
                  </a:lnTo>
                  <a:lnTo>
                    <a:pt x="16824" y="65169"/>
                  </a:lnTo>
                  <a:lnTo>
                    <a:pt x="17319" y="65169"/>
                  </a:lnTo>
                  <a:lnTo>
                    <a:pt x="17319" y="64543"/>
                  </a:lnTo>
                  <a:lnTo>
                    <a:pt x="18061" y="64543"/>
                  </a:lnTo>
                  <a:lnTo>
                    <a:pt x="18556" y="63916"/>
                  </a:lnTo>
                  <a:lnTo>
                    <a:pt x="19051" y="62976"/>
                  </a:lnTo>
                  <a:lnTo>
                    <a:pt x="19793" y="62976"/>
                  </a:lnTo>
                  <a:lnTo>
                    <a:pt x="19793" y="61409"/>
                  </a:lnTo>
                  <a:lnTo>
                    <a:pt x="19793" y="60783"/>
                  </a:lnTo>
                  <a:lnTo>
                    <a:pt x="19793" y="60156"/>
                  </a:lnTo>
                  <a:lnTo>
                    <a:pt x="19051" y="60156"/>
                  </a:lnTo>
                  <a:lnTo>
                    <a:pt x="19051" y="59216"/>
                  </a:lnTo>
                  <a:lnTo>
                    <a:pt x="18556" y="58590"/>
                  </a:lnTo>
                  <a:lnTo>
                    <a:pt x="18556" y="57963"/>
                  </a:lnTo>
                  <a:lnTo>
                    <a:pt x="18556" y="57023"/>
                  </a:lnTo>
                  <a:lnTo>
                    <a:pt x="18061" y="57023"/>
                  </a:lnTo>
                  <a:lnTo>
                    <a:pt x="18061" y="56396"/>
                  </a:lnTo>
                  <a:lnTo>
                    <a:pt x="17319" y="55770"/>
                  </a:lnTo>
                  <a:lnTo>
                    <a:pt x="16824" y="55770"/>
                  </a:lnTo>
                  <a:lnTo>
                    <a:pt x="16824" y="55770"/>
                  </a:lnTo>
                  <a:lnTo>
                    <a:pt x="16824" y="55770"/>
                  </a:lnTo>
                  <a:lnTo>
                    <a:pt x="16824" y="56396"/>
                  </a:lnTo>
                  <a:lnTo>
                    <a:pt x="16824" y="57023"/>
                  </a:lnTo>
                  <a:lnTo>
                    <a:pt x="16329" y="57023"/>
                  </a:lnTo>
                  <a:lnTo>
                    <a:pt x="16329" y="57023"/>
                  </a:lnTo>
                  <a:lnTo>
                    <a:pt x="16329" y="56396"/>
                  </a:lnTo>
                  <a:lnTo>
                    <a:pt x="16329" y="56396"/>
                  </a:lnTo>
                  <a:lnTo>
                    <a:pt x="15587" y="56396"/>
                  </a:lnTo>
                  <a:lnTo>
                    <a:pt x="15587" y="55770"/>
                  </a:lnTo>
                  <a:lnTo>
                    <a:pt x="15092" y="53263"/>
                  </a:lnTo>
                  <a:lnTo>
                    <a:pt x="15587" y="53263"/>
                  </a:lnTo>
                  <a:lnTo>
                    <a:pt x="15587" y="52637"/>
                  </a:lnTo>
                  <a:lnTo>
                    <a:pt x="15587" y="52010"/>
                  </a:lnTo>
                  <a:lnTo>
                    <a:pt x="15587" y="51070"/>
                  </a:lnTo>
                  <a:lnTo>
                    <a:pt x="15092" y="50443"/>
                  </a:lnTo>
                  <a:lnTo>
                    <a:pt x="15092" y="48250"/>
                  </a:lnTo>
                  <a:lnTo>
                    <a:pt x="15092" y="47624"/>
                  </a:lnTo>
                  <a:lnTo>
                    <a:pt x="14597" y="47624"/>
                  </a:lnTo>
                  <a:lnTo>
                    <a:pt x="14597" y="46057"/>
                  </a:lnTo>
                  <a:lnTo>
                    <a:pt x="14597" y="44490"/>
                  </a:lnTo>
                  <a:lnTo>
                    <a:pt x="14597" y="43864"/>
                  </a:lnTo>
                  <a:lnTo>
                    <a:pt x="14597" y="42924"/>
                  </a:lnTo>
                  <a:lnTo>
                    <a:pt x="14597" y="42297"/>
                  </a:lnTo>
                  <a:lnTo>
                    <a:pt x="14597" y="41671"/>
                  </a:lnTo>
                  <a:lnTo>
                    <a:pt x="14597" y="40731"/>
                  </a:lnTo>
                  <a:lnTo>
                    <a:pt x="14597" y="40731"/>
                  </a:lnTo>
                  <a:lnTo>
                    <a:pt x="14597" y="40104"/>
                  </a:lnTo>
                  <a:lnTo>
                    <a:pt x="13360" y="38537"/>
                  </a:lnTo>
                  <a:lnTo>
                    <a:pt x="13360" y="38537"/>
                  </a:lnTo>
                  <a:lnTo>
                    <a:pt x="13360" y="39477"/>
                  </a:lnTo>
                  <a:lnTo>
                    <a:pt x="13360" y="40104"/>
                  </a:lnTo>
                  <a:lnTo>
                    <a:pt x="13360" y="40731"/>
                  </a:lnTo>
                  <a:lnTo>
                    <a:pt x="13360" y="40731"/>
                  </a:lnTo>
                  <a:lnTo>
                    <a:pt x="13360" y="40731"/>
                  </a:lnTo>
                  <a:lnTo>
                    <a:pt x="12865" y="40104"/>
                  </a:lnTo>
                  <a:lnTo>
                    <a:pt x="13360" y="38537"/>
                  </a:lnTo>
                  <a:lnTo>
                    <a:pt x="12865" y="37911"/>
                  </a:lnTo>
                  <a:lnTo>
                    <a:pt x="12865" y="37911"/>
                  </a:lnTo>
                  <a:lnTo>
                    <a:pt x="12865" y="36971"/>
                  </a:lnTo>
                  <a:lnTo>
                    <a:pt x="12865" y="36971"/>
                  </a:lnTo>
                  <a:lnTo>
                    <a:pt x="12123" y="36344"/>
                  </a:lnTo>
                  <a:lnTo>
                    <a:pt x="12123" y="35718"/>
                  </a:lnTo>
                  <a:lnTo>
                    <a:pt x="12123" y="34151"/>
                  </a:lnTo>
                  <a:lnTo>
                    <a:pt x="11628" y="33524"/>
                  </a:lnTo>
                  <a:lnTo>
                    <a:pt x="10886" y="32584"/>
                  </a:lnTo>
                  <a:lnTo>
                    <a:pt x="10886" y="31958"/>
                  </a:lnTo>
                  <a:lnTo>
                    <a:pt x="10886" y="31331"/>
                  </a:lnTo>
                  <a:lnTo>
                    <a:pt x="10886" y="30391"/>
                  </a:lnTo>
                  <a:lnTo>
                    <a:pt x="10886" y="29765"/>
                  </a:lnTo>
                  <a:lnTo>
                    <a:pt x="10886" y="28825"/>
                  </a:lnTo>
                  <a:lnTo>
                    <a:pt x="10886" y="28825"/>
                  </a:lnTo>
                  <a:lnTo>
                    <a:pt x="10886" y="28198"/>
                  </a:lnTo>
                  <a:lnTo>
                    <a:pt x="10886" y="28198"/>
                  </a:lnTo>
                  <a:lnTo>
                    <a:pt x="10391" y="28198"/>
                  </a:lnTo>
                  <a:lnTo>
                    <a:pt x="10391" y="27571"/>
                  </a:lnTo>
                  <a:lnTo>
                    <a:pt x="10391" y="26005"/>
                  </a:lnTo>
                  <a:lnTo>
                    <a:pt x="9896" y="26005"/>
                  </a:lnTo>
                  <a:lnTo>
                    <a:pt x="9896" y="26005"/>
                  </a:lnTo>
                  <a:lnTo>
                    <a:pt x="9896" y="26005"/>
                  </a:lnTo>
                  <a:lnTo>
                    <a:pt x="9896" y="25378"/>
                  </a:lnTo>
                  <a:lnTo>
                    <a:pt x="9896" y="25378"/>
                  </a:lnTo>
                  <a:lnTo>
                    <a:pt x="9154" y="25378"/>
                  </a:lnTo>
                  <a:lnTo>
                    <a:pt x="9154" y="24438"/>
                  </a:lnTo>
                  <a:lnTo>
                    <a:pt x="9154" y="23812"/>
                  </a:lnTo>
                  <a:lnTo>
                    <a:pt x="8659" y="22245"/>
                  </a:lnTo>
                  <a:lnTo>
                    <a:pt x="8659" y="21618"/>
                  </a:lnTo>
                  <a:lnTo>
                    <a:pt x="7422" y="20678"/>
                  </a:lnTo>
                  <a:lnTo>
                    <a:pt x="7422" y="20052"/>
                  </a:lnTo>
                  <a:lnTo>
                    <a:pt x="6927" y="19425"/>
                  </a:lnTo>
                  <a:lnTo>
                    <a:pt x="6927" y="18485"/>
                  </a:lnTo>
                  <a:lnTo>
                    <a:pt x="6432" y="17859"/>
                  </a:lnTo>
                  <a:lnTo>
                    <a:pt x="6432" y="17232"/>
                  </a:lnTo>
                  <a:lnTo>
                    <a:pt x="6432" y="16292"/>
                  </a:lnTo>
                  <a:lnTo>
                    <a:pt x="6927" y="15039"/>
                  </a:lnTo>
                  <a:lnTo>
                    <a:pt x="6927" y="14099"/>
                  </a:lnTo>
                  <a:lnTo>
                    <a:pt x="6927" y="12532"/>
                  </a:lnTo>
                  <a:lnTo>
                    <a:pt x="6927" y="11906"/>
                  </a:lnTo>
                  <a:lnTo>
                    <a:pt x="6927" y="11279"/>
                  </a:lnTo>
                  <a:lnTo>
                    <a:pt x="6927" y="10339"/>
                  </a:lnTo>
                  <a:lnTo>
                    <a:pt x="7422" y="8146"/>
                  </a:lnTo>
                  <a:lnTo>
                    <a:pt x="8164" y="7519"/>
                  </a:lnTo>
                  <a:lnTo>
                    <a:pt x="8164" y="5953"/>
                  </a:lnTo>
                  <a:lnTo>
                    <a:pt x="8164" y="5953"/>
                  </a:lnTo>
                  <a:lnTo>
                    <a:pt x="8164" y="5326"/>
                  </a:lnTo>
                  <a:lnTo>
                    <a:pt x="8659" y="5953"/>
                  </a:lnTo>
                  <a:lnTo>
                    <a:pt x="8659" y="5953"/>
                  </a:lnTo>
                  <a:lnTo>
                    <a:pt x="9154" y="6892"/>
                  </a:lnTo>
                  <a:lnTo>
                    <a:pt x="9154" y="6892"/>
                  </a:lnTo>
                  <a:lnTo>
                    <a:pt x="10391" y="7519"/>
                  </a:lnTo>
                  <a:lnTo>
                    <a:pt x="10886" y="8146"/>
                  </a:lnTo>
                  <a:lnTo>
                    <a:pt x="10886" y="8146"/>
                  </a:lnTo>
                  <a:lnTo>
                    <a:pt x="11628" y="8146"/>
                  </a:lnTo>
                  <a:lnTo>
                    <a:pt x="11628" y="7519"/>
                  </a:lnTo>
                  <a:lnTo>
                    <a:pt x="12123" y="7519"/>
                  </a:lnTo>
                  <a:lnTo>
                    <a:pt x="12865" y="7519"/>
                  </a:lnTo>
                  <a:lnTo>
                    <a:pt x="12865" y="8146"/>
                  </a:lnTo>
                  <a:lnTo>
                    <a:pt x="12865" y="8146"/>
                  </a:lnTo>
                  <a:lnTo>
                    <a:pt x="12865" y="9086"/>
                  </a:lnTo>
                  <a:lnTo>
                    <a:pt x="13360" y="9712"/>
                  </a:lnTo>
                  <a:lnTo>
                    <a:pt x="14597" y="9712"/>
                  </a:lnTo>
                  <a:lnTo>
                    <a:pt x="14597" y="9712"/>
                  </a:lnTo>
                  <a:lnTo>
                    <a:pt x="15092" y="9712"/>
                  </a:lnTo>
                  <a:lnTo>
                    <a:pt x="15092" y="10339"/>
                  </a:lnTo>
                  <a:lnTo>
                    <a:pt x="15092" y="11279"/>
                  </a:lnTo>
                  <a:lnTo>
                    <a:pt x="14597" y="11279"/>
                  </a:lnTo>
                  <a:lnTo>
                    <a:pt x="14597" y="11279"/>
                  </a:lnTo>
                  <a:lnTo>
                    <a:pt x="14597" y="11279"/>
                  </a:lnTo>
                  <a:lnTo>
                    <a:pt x="14597" y="11279"/>
                  </a:lnTo>
                  <a:lnTo>
                    <a:pt x="14597" y="11906"/>
                  </a:lnTo>
                  <a:lnTo>
                    <a:pt x="13855" y="12532"/>
                  </a:lnTo>
                  <a:lnTo>
                    <a:pt x="13855" y="13472"/>
                  </a:lnTo>
                  <a:lnTo>
                    <a:pt x="14597" y="15039"/>
                  </a:lnTo>
                  <a:lnTo>
                    <a:pt x="14597" y="16292"/>
                  </a:lnTo>
                  <a:lnTo>
                    <a:pt x="14597" y="17232"/>
                  </a:lnTo>
                  <a:lnTo>
                    <a:pt x="14597" y="17859"/>
                  </a:lnTo>
                  <a:lnTo>
                    <a:pt x="14597" y="18485"/>
                  </a:lnTo>
                  <a:lnTo>
                    <a:pt x="14597" y="18485"/>
                  </a:lnTo>
                  <a:lnTo>
                    <a:pt x="14597" y="20052"/>
                  </a:lnTo>
                  <a:lnTo>
                    <a:pt x="15092" y="20678"/>
                  </a:lnTo>
                  <a:lnTo>
                    <a:pt x="15092" y="21618"/>
                  </a:lnTo>
                  <a:lnTo>
                    <a:pt x="15092" y="21618"/>
                  </a:lnTo>
                  <a:lnTo>
                    <a:pt x="14597" y="22245"/>
                  </a:lnTo>
                  <a:lnTo>
                    <a:pt x="15092" y="22245"/>
                  </a:lnTo>
                  <a:lnTo>
                    <a:pt x="15092" y="23185"/>
                  </a:lnTo>
                  <a:lnTo>
                    <a:pt x="15092" y="23812"/>
                  </a:lnTo>
                  <a:lnTo>
                    <a:pt x="15092" y="24438"/>
                  </a:lnTo>
                  <a:lnTo>
                    <a:pt x="15587" y="25378"/>
                  </a:lnTo>
                  <a:lnTo>
                    <a:pt x="15587" y="26005"/>
                  </a:lnTo>
                  <a:lnTo>
                    <a:pt x="15587" y="26005"/>
                  </a:lnTo>
                  <a:lnTo>
                    <a:pt x="15587" y="26005"/>
                  </a:lnTo>
                  <a:lnTo>
                    <a:pt x="16329" y="26631"/>
                  </a:lnTo>
                  <a:lnTo>
                    <a:pt x="16329" y="27571"/>
                  </a:lnTo>
                  <a:lnTo>
                    <a:pt x="16329" y="28198"/>
                  </a:lnTo>
                  <a:lnTo>
                    <a:pt x="17319" y="28825"/>
                  </a:lnTo>
                  <a:lnTo>
                    <a:pt x="17319" y="30391"/>
                  </a:lnTo>
                  <a:lnTo>
                    <a:pt x="18061" y="31331"/>
                  </a:lnTo>
                  <a:lnTo>
                    <a:pt x="18556" y="31958"/>
                  </a:lnTo>
                  <a:lnTo>
                    <a:pt x="19051" y="31958"/>
                  </a:lnTo>
                  <a:lnTo>
                    <a:pt x="19051" y="31958"/>
                  </a:lnTo>
                  <a:lnTo>
                    <a:pt x="19793" y="31958"/>
                  </a:lnTo>
                  <a:lnTo>
                    <a:pt x="20288" y="31958"/>
                  </a:lnTo>
                  <a:lnTo>
                    <a:pt x="20288" y="32584"/>
                  </a:lnTo>
                  <a:lnTo>
                    <a:pt x="19793" y="33524"/>
                  </a:lnTo>
                  <a:lnTo>
                    <a:pt x="19793" y="34151"/>
                  </a:lnTo>
                  <a:lnTo>
                    <a:pt x="19793" y="34778"/>
                  </a:lnTo>
                  <a:lnTo>
                    <a:pt x="19793" y="34778"/>
                  </a:lnTo>
                  <a:lnTo>
                    <a:pt x="20288" y="35718"/>
                  </a:lnTo>
                  <a:lnTo>
                    <a:pt x="20288" y="36344"/>
                  </a:lnTo>
                  <a:lnTo>
                    <a:pt x="21030" y="36344"/>
                  </a:lnTo>
                  <a:lnTo>
                    <a:pt x="22020" y="36971"/>
                  </a:lnTo>
                  <a:lnTo>
                    <a:pt x="22020" y="37911"/>
                  </a:lnTo>
                  <a:lnTo>
                    <a:pt x="22020" y="37911"/>
                  </a:lnTo>
                  <a:lnTo>
                    <a:pt x="22020" y="38537"/>
                  </a:lnTo>
                  <a:lnTo>
                    <a:pt x="22020" y="39477"/>
                  </a:lnTo>
                  <a:lnTo>
                    <a:pt x="22762" y="40104"/>
                  </a:lnTo>
                  <a:lnTo>
                    <a:pt x="22762" y="40104"/>
                  </a:lnTo>
                  <a:lnTo>
                    <a:pt x="23752" y="40104"/>
                  </a:lnTo>
                  <a:lnTo>
                    <a:pt x="24494" y="40731"/>
                  </a:lnTo>
                  <a:lnTo>
                    <a:pt x="24494" y="41671"/>
                  </a:lnTo>
                  <a:lnTo>
                    <a:pt x="24494" y="41671"/>
                  </a:lnTo>
                  <a:lnTo>
                    <a:pt x="24494" y="42297"/>
                  </a:lnTo>
                  <a:lnTo>
                    <a:pt x="24494" y="42297"/>
                  </a:lnTo>
                  <a:lnTo>
                    <a:pt x="24494" y="42924"/>
                  </a:lnTo>
                  <a:lnTo>
                    <a:pt x="24494" y="42924"/>
                  </a:lnTo>
                  <a:lnTo>
                    <a:pt x="24494" y="42297"/>
                  </a:lnTo>
                  <a:lnTo>
                    <a:pt x="23752" y="42924"/>
                  </a:lnTo>
                  <a:lnTo>
                    <a:pt x="23257" y="43864"/>
                  </a:lnTo>
                  <a:lnTo>
                    <a:pt x="23257" y="44490"/>
                  </a:lnTo>
                  <a:lnTo>
                    <a:pt x="22762" y="46057"/>
                  </a:lnTo>
                  <a:lnTo>
                    <a:pt x="23257" y="46684"/>
                  </a:lnTo>
                  <a:lnTo>
                    <a:pt x="23257" y="46684"/>
                  </a:lnTo>
                  <a:lnTo>
                    <a:pt x="23257" y="47624"/>
                  </a:lnTo>
                  <a:lnTo>
                    <a:pt x="23752" y="46684"/>
                  </a:lnTo>
                  <a:lnTo>
                    <a:pt x="24494" y="46684"/>
                  </a:lnTo>
                  <a:lnTo>
                    <a:pt x="24989" y="46684"/>
                  </a:lnTo>
                  <a:lnTo>
                    <a:pt x="24989" y="46057"/>
                  </a:lnTo>
                  <a:lnTo>
                    <a:pt x="24989" y="46684"/>
                  </a:lnTo>
                  <a:lnTo>
                    <a:pt x="24494" y="47624"/>
                  </a:lnTo>
                  <a:lnTo>
                    <a:pt x="23752" y="47624"/>
                  </a:lnTo>
                  <a:lnTo>
                    <a:pt x="23752" y="47624"/>
                  </a:lnTo>
                  <a:lnTo>
                    <a:pt x="23752" y="48250"/>
                  </a:lnTo>
                  <a:lnTo>
                    <a:pt x="24494" y="47624"/>
                  </a:lnTo>
                  <a:lnTo>
                    <a:pt x="24989" y="47624"/>
                  </a:lnTo>
                  <a:lnTo>
                    <a:pt x="24989" y="47624"/>
                  </a:lnTo>
                  <a:lnTo>
                    <a:pt x="24989" y="48250"/>
                  </a:lnTo>
                  <a:lnTo>
                    <a:pt x="25484" y="48250"/>
                  </a:lnTo>
                  <a:lnTo>
                    <a:pt x="26226" y="48877"/>
                  </a:lnTo>
                  <a:lnTo>
                    <a:pt x="26721" y="49817"/>
                  </a:lnTo>
                  <a:lnTo>
                    <a:pt x="27958" y="50443"/>
                  </a:lnTo>
                  <a:lnTo>
                    <a:pt x="27958" y="50443"/>
                  </a:lnTo>
                  <a:lnTo>
                    <a:pt x="27958" y="51070"/>
                  </a:lnTo>
                  <a:lnTo>
                    <a:pt x="27958" y="51070"/>
                  </a:lnTo>
                  <a:lnTo>
                    <a:pt x="27216" y="51070"/>
                  </a:lnTo>
                  <a:lnTo>
                    <a:pt x="27216" y="51070"/>
                  </a:lnTo>
                  <a:lnTo>
                    <a:pt x="27216" y="50443"/>
                  </a:lnTo>
                  <a:lnTo>
                    <a:pt x="26721" y="50443"/>
                  </a:lnTo>
                  <a:lnTo>
                    <a:pt x="27216" y="51070"/>
                  </a:lnTo>
                  <a:lnTo>
                    <a:pt x="27958" y="52637"/>
                  </a:lnTo>
                  <a:lnTo>
                    <a:pt x="27958" y="53263"/>
                  </a:lnTo>
                  <a:lnTo>
                    <a:pt x="27958" y="53263"/>
                  </a:lnTo>
                  <a:lnTo>
                    <a:pt x="28453" y="54203"/>
                  </a:lnTo>
                  <a:lnTo>
                    <a:pt x="29195" y="54203"/>
                  </a:lnTo>
                  <a:lnTo>
                    <a:pt x="29195" y="54203"/>
                  </a:lnTo>
                  <a:lnTo>
                    <a:pt x="29195" y="54203"/>
                  </a:lnTo>
                  <a:lnTo>
                    <a:pt x="29690" y="54203"/>
                  </a:lnTo>
                  <a:lnTo>
                    <a:pt x="29690" y="54203"/>
                  </a:lnTo>
                  <a:lnTo>
                    <a:pt x="29690" y="54830"/>
                  </a:lnTo>
                  <a:lnTo>
                    <a:pt x="29690" y="54830"/>
                  </a:lnTo>
                  <a:lnTo>
                    <a:pt x="29690" y="55770"/>
                  </a:lnTo>
                  <a:lnTo>
                    <a:pt x="28453" y="54830"/>
                  </a:lnTo>
                  <a:lnTo>
                    <a:pt x="28453" y="54830"/>
                  </a:lnTo>
                  <a:lnTo>
                    <a:pt x="30927" y="57963"/>
                  </a:lnTo>
                  <a:lnTo>
                    <a:pt x="31422" y="58590"/>
                  </a:lnTo>
                  <a:lnTo>
                    <a:pt x="31917" y="60156"/>
                  </a:lnTo>
                  <a:lnTo>
                    <a:pt x="32659" y="61409"/>
                  </a:lnTo>
                  <a:lnTo>
                    <a:pt x="33154" y="62976"/>
                  </a:lnTo>
                  <a:lnTo>
                    <a:pt x="33649" y="63916"/>
                  </a:lnTo>
                  <a:lnTo>
                    <a:pt x="34391" y="65169"/>
                  </a:lnTo>
                  <a:lnTo>
                    <a:pt x="34886" y="66109"/>
                  </a:lnTo>
                  <a:lnTo>
                    <a:pt x="35381" y="66736"/>
                  </a:lnTo>
                  <a:lnTo>
                    <a:pt x="36123" y="68929"/>
                  </a:lnTo>
                  <a:lnTo>
                    <a:pt x="35381" y="71122"/>
                  </a:lnTo>
                  <a:lnTo>
                    <a:pt x="36123" y="72062"/>
                  </a:lnTo>
                  <a:lnTo>
                    <a:pt x="36123" y="73315"/>
                  </a:lnTo>
                  <a:lnTo>
                    <a:pt x="36123" y="73315"/>
                  </a:lnTo>
                  <a:lnTo>
                    <a:pt x="37360" y="74255"/>
                  </a:lnTo>
                  <a:lnTo>
                    <a:pt x="36618" y="74882"/>
                  </a:lnTo>
                  <a:lnTo>
                    <a:pt x="36618" y="75509"/>
                  </a:lnTo>
                  <a:lnTo>
                    <a:pt x="36618" y="76449"/>
                  </a:lnTo>
                  <a:lnTo>
                    <a:pt x="36123" y="77075"/>
                  </a:lnTo>
                  <a:lnTo>
                    <a:pt x="35381" y="78015"/>
                  </a:lnTo>
                  <a:lnTo>
                    <a:pt x="35381" y="78642"/>
                  </a:lnTo>
                  <a:lnTo>
                    <a:pt x="34886" y="78642"/>
                  </a:lnTo>
                  <a:lnTo>
                    <a:pt x="34886" y="79268"/>
                  </a:lnTo>
                  <a:lnTo>
                    <a:pt x="35381" y="79268"/>
                  </a:lnTo>
                  <a:lnTo>
                    <a:pt x="36123" y="79268"/>
                  </a:lnTo>
                  <a:lnTo>
                    <a:pt x="36123" y="79268"/>
                  </a:lnTo>
                  <a:lnTo>
                    <a:pt x="36123" y="80208"/>
                  </a:lnTo>
                  <a:lnTo>
                    <a:pt x="36123" y="80208"/>
                  </a:lnTo>
                  <a:lnTo>
                    <a:pt x="35381" y="80835"/>
                  </a:lnTo>
                  <a:lnTo>
                    <a:pt x="34391" y="80835"/>
                  </a:lnTo>
                  <a:lnTo>
                    <a:pt x="34391" y="81462"/>
                  </a:lnTo>
                  <a:lnTo>
                    <a:pt x="33649" y="81462"/>
                  </a:lnTo>
                  <a:lnTo>
                    <a:pt x="34391" y="82402"/>
                  </a:lnTo>
                  <a:lnTo>
                    <a:pt x="34391" y="82402"/>
                  </a:lnTo>
                  <a:lnTo>
                    <a:pt x="34391" y="83655"/>
                  </a:lnTo>
                  <a:lnTo>
                    <a:pt x="34391" y="84595"/>
                  </a:lnTo>
                  <a:lnTo>
                    <a:pt x="34886" y="86161"/>
                  </a:lnTo>
                  <a:lnTo>
                    <a:pt x="35381" y="86788"/>
                  </a:lnTo>
                  <a:lnTo>
                    <a:pt x="36123" y="87415"/>
                  </a:lnTo>
                  <a:lnTo>
                    <a:pt x="36123" y="88981"/>
                  </a:lnTo>
                  <a:lnTo>
                    <a:pt x="37855" y="89608"/>
                  </a:lnTo>
                  <a:lnTo>
                    <a:pt x="38350" y="90548"/>
                  </a:lnTo>
                  <a:lnTo>
                    <a:pt x="39092" y="90548"/>
                  </a:lnTo>
                  <a:lnTo>
                    <a:pt x="40082" y="91174"/>
                  </a:lnTo>
                  <a:lnTo>
                    <a:pt x="40824" y="91801"/>
                  </a:lnTo>
                  <a:lnTo>
                    <a:pt x="41319" y="93368"/>
                  </a:lnTo>
                  <a:lnTo>
                    <a:pt x="41814" y="94308"/>
                  </a:lnTo>
                  <a:lnTo>
                    <a:pt x="41814" y="94934"/>
                  </a:lnTo>
                  <a:lnTo>
                    <a:pt x="44288" y="96501"/>
                  </a:lnTo>
                  <a:lnTo>
                    <a:pt x="45525" y="97127"/>
                  </a:lnTo>
                  <a:lnTo>
                    <a:pt x="46020" y="97127"/>
                  </a:lnTo>
                  <a:lnTo>
                    <a:pt x="47257" y="97754"/>
                  </a:lnTo>
                  <a:lnTo>
                    <a:pt x="48247" y="97754"/>
                  </a:lnTo>
                  <a:lnTo>
                    <a:pt x="48989" y="97754"/>
                  </a:lnTo>
                  <a:lnTo>
                    <a:pt x="48989" y="97754"/>
                  </a:lnTo>
                  <a:lnTo>
                    <a:pt x="49484" y="98694"/>
                  </a:lnTo>
                  <a:lnTo>
                    <a:pt x="49979" y="99321"/>
                  </a:lnTo>
                  <a:lnTo>
                    <a:pt x="50721" y="99947"/>
                  </a:lnTo>
                  <a:lnTo>
                    <a:pt x="50721" y="100887"/>
                  </a:lnTo>
                  <a:lnTo>
                    <a:pt x="51711" y="101514"/>
                  </a:lnTo>
                  <a:lnTo>
                    <a:pt x="52453" y="102454"/>
                  </a:lnTo>
                  <a:lnTo>
                    <a:pt x="52948" y="102454"/>
                  </a:lnTo>
                  <a:lnTo>
                    <a:pt x="54680" y="103707"/>
                  </a:lnTo>
                  <a:lnTo>
                    <a:pt x="55422" y="103707"/>
                  </a:lnTo>
                  <a:lnTo>
                    <a:pt x="56412" y="104647"/>
                  </a:lnTo>
                  <a:lnTo>
                    <a:pt x="57649" y="105900"/>
                  </a:lnTo>
                  <a:lnTo>
                    <a:pt x="59381" y="105900"/>
                  </a:lnTo>
                  <a:lnTo>
                    <a:pt x="61113" y="106840"/>
                  </a:lnTo>
                  <a:lnTo>
                    <a:pt x="61113" y="106840"/>
                  </a:lnTo>
                  <a:lnTo>
                    <a:pt x="61855" y="106840"/>
                  </a:lnTo>
                  <a:lnTo>
                    <a:pt x="62845" y="108093"/>
                  </a:lnTo>
                  <a:lnTo>
                    <a:pt x="64577" y="109033"/>
                  </a:lnTo>
                  <a:lnTo>
                    <a:pt x="66309" y="110600"/>
                  </a:lnTo>
                  <a:lnTo>
                    <a:pt x="68783" y="111227"/>
                  </a:lnTo>
                  <a:lnTo>
                    <a:pt x="70515" y="112793"/>
                  </a:lnTo>
                  <a:lnTo>
                    <a:pt x="71752" y="112793"/>
                  </a:lnTo>
                  <a:lnTo>
                    <a:pt x="72247" y="112793"/>
                  </a:lnTo>
                  <a:lnTo>
                    <a:pt x="72742" y="112793"/>
                  </a:lnTo>
                  <a:lnTo>
                    <a:pt x="75216" y="111227"/>
                  </a:lnTo>
                  <a:lnTo>
                    <a:pt x="76206" y="110600"/>
                  </a:lnTo>
                  <a:lnTo>
                    <a:pt x="78185" y="109660"/>
                  </a:lnTo>
                  <a:lnTo>
                    <a:pt x="79175" y="109033"/>
                  </a:lnTo>
                  <a:lnTo>
                    <a:pt x="79917" y="109033"/>
                  </a:lnTo>
                  <a:lnTo>
                    <a:pt x="79917" y="109033"/>
                  </a:lnTo>
                  <a:lnTo>
                    <a:pt x="79917" y="109033"/>
                  </a:lnTo>
                  <a:lnTo>
                    <a:pt x="78680" y="109033"/>
                  </a:lnTo>
                  <a:lnTo>
                    <a:pt x="78680" y="108093"/>
                  </a:lnTo>
                  <a:lnTo>
                    <a:pt x="79175" y="108093"/>
                  </a:lnTo>
                  <a:lnTo>
                    <a:pt x="79175" y="107467"/>
                  </a:lnTo>
                  <a:lnTo>
                    <a:pt x="79917" y="107467"/>
                  </a:lnTo>
                  <a:lnTo>
                    <a:pt x="79917" y="108093"/>
                  </a:lnTo>
                  <a:lnTo>
                    <a:pt x="79917" y="108093"/>
                  </a:lnTo>
                  <a:lnTo>
                    <a:pt x="79917" y="109033"/>
                  </a:lnTo>
                  <a:lnTo>
                    <a:pt x="79917" y="109033"/>
                  </a:lnTo>
                  <a:lnTo>
                    <a:pt x="80412" y="108093"/>
                  </a:lnTo>
                  <a:lnTo>
                    <a:pt x="80412" y="108093"/>
                  </a:lnTo>
                  <a:lnTo>
                    <a:pt x="80907" y="108093"/>
                  </a:lnTo>
                  <a:lnTo>
                    <a:pt x="80412" y="109033"/>
                  </a:lnTo>
                  <a:lnTo>
                    <a:pt x="80412" y="109033"/>
                  </a:lnTo>
                  <a:lnTo>
                    <a:pt x="80907" y="109660"/>
                  </a:lnTo>
                  <a:lnTo>
                    <a:pt x="83381" y="110600"/>
                  </a:lnTo>
                  <a:lnTo>
                    <a:pt x="83381" y="110600"/>
                  </a:lnTo>
                  <a:lnTo>
                    <a:pt x="82144" y="109660"/>
                  </a:lnTo>
                  <a:lnTo>
                    <a:pt x="82144" y="109660"/>
                  </a:lnTo>
                  <a:lnTo>
                    <a:pt x="82144" y="109660"/>
                  </a:lnTo>
                  <a:lnTo>
                    <a:pt x="81649" y="109033"/>
                  </a:lnTo>
                  <a:lnTo>
                    <a:pt x="81649" y="109033"/>
                  </a:lnTo>
                  <a:lnTo>
                    <a:pt x="81649" y="109033"/>
                  </a:lnTo>
                  <a:lnTo>
                    <a:pt x="81649" y="109033"/>
                  </a:lnTo>
                  <a:lnTo>
                    <a:pt x="82144" y="109033"/>
                  </a:lnTo>
                  <a:lnTo>
                    <a:pt x="82144" y="109033"/>
                  </a:lnTo>
                  <a:lnTo>
                    <a:pt x="82639" y="109660"/>
                  </a:lnTo>
                  <a:lnTo>
                    <a:pt x="83876" y="110600"/>
                  </a:lnTo>
                  <a:lnTo>
                    <a:pt x="84371" y="111227"/>
                  </a:lnTo>
                  <a:lnTo>
                    <a:pt x="85113" y="111853"/>
                  </a:lnTo>
                  <a:lnTo>
                    <a:pt x="86845" y="114046"/>
                  </a:lnTo>
                  <a:lnTo>
                    <a:pt x="87340" y="114986"/>
                  </a:lnTo>
                  <a:lnTo>
                    <a:pt x="87340" y="115613"/>
                  </a:lnTo>
                  <a:lnTo>
                    <a:pt x="88082" y="116240"/>
                  </a:lnTo>
                  <a:lnTo>
                    <a:pt x="89072" y="118746"/>
                  </a:lnTo>
                  <a:lnTo>
                    <a:pt x="90309" y="120000"/>
                  </a:lnTo>
                  <a:lnTo>
                    <a:pt x="90309" y="120000"/>
                  </a:lnTo>
                  <a:lnTo>
                    <a:pt x="90309" y="120000"/>
                  </a:lnTo>
                  <a:lnTo>
                    <a:pt x="90309" y="119373"/>
                  </a:lnTo>
                  <a:lnTo>
                    <a:pt x="90804" y="119373"/>
                  </a:lnTo>
                  <a:lnTo>
                    <a:pt x="90804" y="118746"/>
                  </a:lnTo>
                  <a:lnTo>
                    <a:pt x="90804" y="118746"/>
                  </a:lnTo>
                  <a:lnTo>
                    <a:pt x="90804" y="117806"/>
                  </a:lnTo>
                  <a:lnTo>
                    <a:pt x="90804" y="117180"/>
                  </a:lnTo>
                  <a:lnTo>
                    <a:pt x="90804" y="117180"/>
                  </a:lnTo>
                  <a:lnTo>
                    <a:pt x="91546" y="117180"/>
                  </a:lnTo>
                  <a:lnTo>
                    <a:pt x="91546" y="116240"/>
                  </a:lnTo>
                  <a:lnTo>
                    <a:pt x="90804" y="115613"/>
                  </a:lnTo>
                  <a:lnTo>
                    <a:pt x="90804" y="115613"/>
                  </a:lnTo>
                  <a:lnTo>
                    <a:pt x="90804" y="114986"/>
                  </a:lnTo>
                  <a:lnTo>
                    <a:pt x="91546" y="114046"/>
                  </a:lnTo>
                  <a:lnTo>
                    <a:pt x="92041" y="112793"/>
                  </a:lnTo>
                  <a:lnTo>
                    <a:pt x="93278" y="111227"/>
                  </a:lnTo>
                  <a:lnTo>
                    <a:pt x="93773" y="110600"/>
                  </a:lnTo>
                  <a:lnTo>
                    <a:pt x="95010" y="110600"/>
                  </a:lnTo>
                  <a:lnTo>
                    <a:pt x="95505" y="110600"/>
                  </a:lnTo>
                  <a:lnTo>
                    <a:pt x="96742" y="110600"/>
                  </a:lnTo>
                  <a:lnTo>
                    <a:pt x="98474" y="110600"/>
                  </a:lnTo>
                  <a:lnTo>
                    <a:pt x="98969" y="110600"/>
                  </a:lnTo>
                  <a:lnTo>
                    <a:pt x="99711" y="110600"/>
                  </a:lnTo>
                  <a:lnTo>
                    <a:pt x="99711" y="109660"/>
                  </a:lnTo>
                  <a:lnTo>
                    <a:pt x="99711" y="109033"/>
                  </a:lnTo>
                  <a:lnTo>
                    <a:pt x="99711" y="108093"/>
                  </a:lnTo>
                  <a:lnTo>
                    <a:pt x="99711" y="108093"/>
                  </a:lnTo>
                  <a:lnTo>
                    <a:pt x="99711" y="107467"/>
                  </a:lnTo>
                  <a:lnTo>
                    <a:pt x="98969" y="107467"/>
                  </a:lnTo>
                  <a:lnTo>
                    <a:pt x="98969" y="107467"/>
                  </a:lnTo>
                  <a:lnTo>
                    <a:pt x="98969" y="106840"/>
                  </a:lnTo>
                  <a:lnTo>
                    <a:pt x="98969" y="106840"/>
                  </a:lnTo>
                  <a:lnTo>
                    <a:pt x="98474" y="105900"/>
                  </a:lnTo>
                  <a:lnTo>
                    <a:pt x="98474" y="105274"/>
                  </a:lnTo>
                  <a:lnTo>
                    <a:pt x="97237" y="104647"/>
                  </a:lnTo>
                  <a:lnTo>
                    <a:pt x="97237" y="103707"/>
                  </a:lnTo>
                  <a:lnTo>
                    <a:pt x="96742" y="103080"/>
                  </a:lnTo>
                  <a:lnTo>
                    <a:pt x="96247" y="102454"/>
                  </a:lnTo>
                  <a:lnTo>
                    <a:pt x="96247" y="102454"/>
                  </a:lnTo>
                  <a:lnTo>
                    <a:pt x="96247" y="102454"/>
                  </a:lnTo>
                  <a:lnTo>
                    <a:pt x="96742" y="102454"/>
                  </a:lnTo>
                  <a:lnTo>
                    <a:pt x="97979" y="102454"/>
                  </a:lnTo>
                  <a:lnTo>
                    <a:pt x="97979" y="100887"/>
                  </a:lnTo>
                  <a:lnTo>
                    <a:pt x="97979" y="99947"/>
                  </a:lnTo>
                  <a:lnTo>
                    <a:pt x="98474" y="98694"/>
                  </a:lnTo>
                  <a:lnTo>
                    <a:pt x="99711" y="98694"/>
                  </a:lnTo>
                  <a:lnTo>
                    <a:pt x="101938" y="98694"/>
                  </a:lnTo>
                  <a:lnTo>
                    <a:pt x="103670" y="98694"/>
                  </a:lnTo>
                  <a:lnTo>
                    <a:pt x="105402" y="98694"/>
                  </a:lnTo>
                  <a:lnTo>
                    <a:pt x="106639" y="98694"/>
                  </a:lnTo>
                  <a:lnTo>
                    <a:pt x="106639" y="97754"/>
                  </a:lnTo>
                  <a:lnTo>
                    <a:pt x="106639" y="97754"/>
                  </a:lnTo>
                  <a:lnTo>
                    <a:pt x="107134" y="97127"/>
                  </a:lnTo>
                  <a:lnTo>
                    <a:pt x="107876" y="97754"/>
                  </a:lnTo>
                  <a:lnTo>
                    <a:pt x="107876" y="97754"/>
                  </a:lnTo>
                  <a:lnTo>
                    <a:pt x="107876" y="97754"/>
                  </a:lnTo>
                  <a:lnTo>
                    <a:pt x="108371" y="97754"/>
                  </a:lnTo>
                  <a:lnTo>
                    <a:pt x="108371" y="97127"/>
                  </a:lnTo>
                  <a:lnTo>
                    <a:pt x="109608" y="95561"/>
                  </a:lnTo>
                  <a:lnTo>
                    <a:pt x="110103" y="94308"/>
                  </a:lnTo>
                  <a:lnTo>
                    <a:pt x="110103" y="94308"/>
                  </a:lnTo>
                  <a:lnTo>
                    <a:pt x="110845" y="94308"/>
                  </a:lnTo>
                  <a:lnTo>
                    <a:pt x="110845" y="94308"/>
                  </a:lnTo>
                  <a:lnTo>
                    <a:pt x="111340" y="94308"/>
                  </a:lnTo>
                  <a:lnTo>
                    <a:pt x="111340" y="93368"/>
                  </a:lnTo>
                  <a:lnTo>
                    <a:pt x="111340" y="92741"/>
                  </a:lnTo>
                  <a:lnTo>
                    <a:pt x="111835" y="91801"/>
                  </a:lnTo>
                  <a:lnTo>
                    <a:pt x="112577" y="91801"/>
                  </a:lnTo>
                  <a:lnTo>
                    <a:pt x="112577" y="91801"/>
                  </a:lnTo>
                  <a:lnTo>
                    <a:pt x="112577" y="92741"/>
                  </a:lnTo>
                  <a:lnTo>
                    <a:pt x="111835" y="94308"/>
                  </a:lnTo>
                  <a:lnTo>
                    <a:pt x="111835" y="94308"/>
                  </a:lnTo>
                  <a:lnTo>
                    <a:pt x="112577" y="94308"/>
                  </a:lnTo>
                  <a:lnTo>
                    <a:pt x="112577" y="95561"/>
                  </a:lnTo>
                  <a:lnTo>
                    <a:pt x="113072" y="95561"/>
                  </a:lnTo>
                  <a:lnTo>
                    <a:pt x="113072" y="94934"/>
                  </a:lnTo>
                  <a:lnTo>
                    <a:pt x="113072" y="94308"/>
                  </a:lnTo>
                  <a:lnTo>
                    <a:pt x="113567" y="92741"/>
                  </a:lnTo>
                  <a:lnTo>
                    <a:pt x="114309" y="91801"/>
                  </a:lnTo>
                  <a:lnTo>
                    <a:pt x="114804" y="90548"/>
                  </a:lnTo>
                  <a:lnTo>
                    <a:pt x="115298" y="88981"/>
                  </a:lnTo>
                  <a:lnTo>
                    <a:pt x="115298" y="88981"/>
                  </a:lnTo>
                  <a:lnTo>
                    <a:pt x="114804" y="88981"/>
                  </a:lnTo>
                  <a:lnTo>
                    <a:pt x="114804" y="88981"/>
                  </a:lnTo>
                  <a:lnTo>
                    <a:pt x="114309" y="88981"/>
                  </a:lnTo>
                  <a:lnTo>
                    <a:pt x="114309" y="88355"/>
                  </a:lnTo>
                  <a:lnTo>
                    <a:pt x="114804" y="88355"/>
                  </a:lnTo>
                  <a:lnTo>
                    <a:pt x="114804" y="88355"/>
                  </a:lnTo>
                  <a:lnTo>
                    <a:pt x="115298" y="88355"/>
                  </a:lnTo>
                  <a:lnTo>
                    <a:pt x="115298" y="87415"/>
                  </a:lnTo>
                  <a:lnTo>
                    <a:pt x="115298" y="87415"/>
                  </a:lnTo>
                  <a:lnTo>
                    <a:pt x="116041" y="86788"/>
                  </a:lnTo>
                  <a:lnTo>
                    <a:pt x="115298" y="86788"/>
                  </a:lnTo>
                  <a:lnTo>
                    <a:pt x="115298" y="86788"/>
                  </a:lnTo>
                  <a:lnTo>
                    <a:pt x="114804" y="86788"/>
                  </a:lnTo>
                  <a:lnTo>
                    <a:pt x="114804" y="86788"/>
                  </a:lnTo>
                  <a:lnTo>
                    <a:pt x="114309" y="86788"/>
                  </a:lnTo>
                  <a:lnTo>
                    <a:pt x="114804" y="86788"/>
                  </a:lnTo>
                  <a:lnTo>
                    <a:pt x="115298" y="85221"/>
                  </a:lnTo>
                  <a:lnTo>
                    <a:pt x="115298" y="85221"/>
                  </a:lnTo>
                  <a:lnTo>
                    <a:pt x="116041" y="85221"/>
                  </a:lnTo>
                  <a:lnTo>
                    <a:pt x="116041" y="85221"/>
                  </a:lnTo>
                  <a:lnTo>
                    <a:pt x="116041" y="84595"/>
                  </a:lnTo>
                  <a:lnTo>
                    <a:pt x="116041" y="83655"/>
                  </a:lnTo>
                  <a:lnTo>
                    <a:pt x="116041" y="83655"/>
                  </a:lnTo>
                  <a:lnTo>
                    <a:pt x="116041" y="82402"/>
                  </a:lnTo>
                  <a:lnTo>
                    <a:pt x="117030" y="80835"/>
                  </a:lnTo>
                  <a:lnTo>
                    <a:pt x="118268" y="80208"/>
                  </a:lnTo>
                  <a:lnTo>
                    <a:pt x="119010" y="78642"/>
                  </a:lnTo>
                  <a:lnTo>
                    <a:pt x="119505" y="78642"/>
                  </a:lnTo>
                  <a:lnTo>
                    <a:pt x="119505" y="77075"/>
                  </a:lnTo>
                  <a:lnTo>
                    <a:pt x="120000" y="76449"/>
                  </a:lnTo>
                  <a:lnTo>
                    <a:pt x="119505" y="76449"/>
                  </a:lnTo>
                  <a:lnTo>
                    <a:pt x="119505" y="75509"/>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31" name="Shape 431"/>
            <p:cNvSpPr/>
            <p:nvPr/>
          </p:nvSpPr>
          <p:spPr>
            <a:xfrm>
              <a:off x="3347" y="2231"/>
              <a:ext cx="300" cy="300"/>
            </a:xfrm>
            <a:custGeom>
              <a:avLst/>
              <a:gdLst/>
              <a:ahLst/>
              <a:cxnLst/>
              <a:rect l="0" t="0" r="0" b="0"/>
              <a:pathLst>
                <a:path w="120000" h="120000" extrusionOk="0">
                  <a:moveTo>
                    <a:pt x="5919" y="72905"/>
                  </a:moveTo>
                  <a:lnTo>
                    <a:pt x="5919" y="71547"/>
                  </a:lnTo>
                  <a:lnTo>
                    <a:pt x="4843" y="71547"/>
                  </a:lnTo>
                  <a:lnTo>
                    <a:pt x="4843" y="71547"/>
                  </a:lnTo>
                  <a:lnTo>
                    <a:pt x="4843" y="72905"/>
                  </a:lnTo>
                  <a:lnTo>
                    <a:pt x="4843" y="73811"/>
                  </a:lnTo>
                  <a:lnTo>
                    <a:pt x="4843" y="73811"/>
                  </a:lnTo>
                  <a:lnTo>
                    <a:pt x="5919" y="72905"/>
                  </a:lnTo>
                  <a:close/>
                  <a:moveTo>
                    <a:pt x="110313" y="22188"/>
                  </a:moveTo>
                  <a:lnTo>
                    <a:pt x="112466" y="22188"/>
                  </a:lnTo>
                  <a:lnTo>
                    <a:pt x="117847" y="22188"/>
                  </a:lnTo>
                  <a:lnTo>
                    <a:pt x="119999" y="22188"/>
                  </a:lnTo>
                  <a:lnTo>
                    <a:pt x="118923" y="21283"/>
                  </a:lnTo>
                  <a:lnTo>
                    <a:pt x="116233" y="19018"/>
                  </a:lnTo>
                  <a:lnTo>
                    <a:pt x="114080" y="18113"/>
                  </a:lnTo>
                  <a:lnTo>
                    <a:pt x="112466" y="17207"/>
                  </a:lnTo>
                  <a:lnTo>
                    <a:pt x="110313" y="15849"/>
                  </a:lnTo>
                  <a:lnTo>
                    <a:pt x="108699" y="14943"/>
                  </a:lnTo>
                  <a:lnTo>
                    <a:pt x="107623" y="13584"/>
                  </a:lnTo>
                  <a:lnTo>
                    <a:pt x="104932" y="12679"/>
                  </a:lnTo>
                  <a:lnTo>
                    <a:pt x="103856" y="11773"/>
                  </a:lnTo>
                  <a:lnTo>
                    <a:pt x="101165" y="10415"/>
                  </a:lnTo>
                  <a:lnTo>
                    <a:pt x="100089" y="9509"/>
                  </a:lnTo>
                  <a:lnTo>
                    <a:pt x="98475" y="8603"/>
                  </a:lnTo>
                  <a:lnTo>
                    <a:pt x="96322" y="7245"/>
                  </a:lnTo>
                  <a:lnTo>
                    <a:pt x="94708" y="6339"/>
                  </a:lnTo>
                  <a:lnTo>
                    <a:pt x="92556" y="5433"/>
                  </a:lnTo>
                  <a:lnTo>
                    <a:pt x="90941" y="4075"/>
                  </a:lnTo>
                  <a:lnTo>
                    <a:pt x="89865" y="3169"/>
                  </a:lnTo>
                  <a:lnTo>
                    <a:pt x="87174" y="1811"/>
                  </a:lnTo>
                  <a:lnTo>
                    <a:pt x="86098" y="905"/>
                  </a:lnTo>
                  <a:lnTo>
                    <a:pt x="83408" y="0"/>
                  </a:lnTo>
                  <a:lnTo>
                    <a:pt x="83408" y="1811"/>
                  </a:lnTo>
                  <a:lnTo>
                    <a:pt x="83408" y="4075"/>
                  </a:lnTo>
                  <a:lnTo>
                    <a:pt x="83408" y="5433"/>
                  </a:lnTo>
                  <a:lnTo>
                    <a:pt x="83408" y="7245"/>
                  </a:lnTo>
                  <a:lnTo>
                    <a:pt x="83408" y="9509"/>
                  </a:lnTo>
                  <a:lnTo>
                    <a:pt x="83408" y="11773"/>
                  </a:lnTo>
                  <a:lnTo>
                    <a:pt x="83408" y="12679"/>
                  </a:lnTo>
                  <a:lnTo>
                    <a:pt x="74798" y="12679"/>
                  </a:lnTo>
                  <a:lnTo>
                    <a:pt x="72107" y="12679"/>
                  </a:lnTo>
                  <a:lnTo>
                    <a:pt x="59192" y="12679"/>
                  </a:lnTo>
                  <a:lnTo>
                    <a:pt x="58116" y="12679"/>
                  </a:lnTo>
                  <a:lnTo>
                    <a:pt x="50582" y="12679"/>
                  </a:lnTo>
                  <a:lnTo>
                    <a:pt x="50582" y="13584"/>
                  </a:lnTo>
                  <a:lnTo>
                    <a:pt x="50582" y="14943"/>
                  </a:lnTo>
                  <a:lnTo>
                    <a:pt x="50582" y="15849"/>
                  </a:lnTo>
                  <a:lnTo>
                    <a:pt x="50582" y="18113"/>
                  </a:lnTo>
                  <a:lnTo>
                    <a:pt x="50582" y="19018"/>
                  </a:lnTo>
                  <a:lnTo>
                    <a:pt x="50582" y="20377"/>
                  </a:lnTo>
                  <a:lnTo>
                    <a:pt x="50582" y="21283"/>
                  </a:lnTo>
                  <a:lnTo>
                    <a:pt x="50582" y="23547"/>
                  </a:lnTo>
                  <a:lnTo>
                    <a:pt x="50582" y="24452"/>
                  </a:lnTo>
                  <a:lnTo>
                    <a:pt x="50582" y="25358"/>
                  </a:lnTo>
                  <a:lnTo>
                    <a:pt x="50582" y="26716"/>
                  </a:lnTo>
                  <a:lnTo>
                    <a:pt x="50582" y="27622"/>
                  </a:lnTo>
                  <a:lnTo>
                    <a:pt x="50582" y="29886"/>
                  </a:lnTo>
                  <a:lnTo>
                    <a:pt x="50582" y="30792"/>
                  </a:lnTo>
                  <a:lnTo>
                    <a:pt x="50582" y="32150"/>
                  </a:lnTo>
                  <a:lnTo>
                    <a:pt x="50582" y="33056"/>
                  </a:lnTo>
                  <a:lnTo>
                    <a:pt x="50582" y="33962"/>
                  </a:lnTo>
                  <a:lnTo>
                    <a:pt x="50582" y="36226"/>
                  </a:lnTo>
                  <a:lnTo>
                    <a:pt x="48968" y="37132"/>
                  </a:lnTo>
                  <a:lnTo>
                    <a:pt x="48968" y="37132"/>
                  </a:lnTo>
                  <a:lnTo>
                    <a:pt x="47892" y="37132"/>
                  </a:lnTo>
                  <a:lnTo>
                    <a:pt x="46816" y="38490"/>
                  </a:lnTo>
                  <a:lnTo>
                    <a:pt x="44125" y="38490"/>
                  </a:lnTo>
                  <a:lnTo>
                    <a:pt x="44125" y="38490"/>
                  </a:lnTo>
                  <a:lnTo>
                    <a:pt x="43049" y="39396"/>
                  </a:lnTo>
                  <a:lnTo>
                    <a:pt x="41434" y="40754"/>
                  </a:lnTo>
                  <a:lnTo>
                    <a:pt x="39282" y="41660"/>
                  </a:lnTo>
                  <a:lnTo>
                    <a:pt x="39282" y="42566"/>
                  </a:lnTo>
                  <a:lnTo>
                    <a:pt x="37668" y="42566"/>
                  </a:lnTo>
                  <a:lnTo>
                    <a:pt x="37668" y="43924"/>
                  </a:lnTo>
                  <a:lnTo>
                    <a:pt x="37668" y="43924"/>
                  </a:lnTo>
                  <a:lnTo>
                    <a:pt x="39282" y="45735"/>
                  </a:lnTo>
                  <a:lnTo>
                    <a:pt x="39282" y="45735"/>
                  </a:lnTo>
                  <a:lnTo>
                    <a:pt x="39282" y="47094"/>
                  </a:lnTo>
                  <a:lnTo>
                    <a:pt x="39282" y="48000"/>
                  </a:lnTo>
                  <a:lnTo>
                    <a:pt x="39282" y="49358"/>
                  </a:lnTo>
                  <a:lnTo>
                    <a:pt x="39282" y="51169"/>
                  </a:lnTo>
                  <a:lnTo>
                    <a:pt x="39282" y="52528"/>
                  </a:lnTo>
                  <a:lnTo>
                    <a:pt x="39282" y="53433"/>
                  </a:lnTo>
                  <a:lnTo>
                    <a:pt x="39282" y="54339"/>
                  </a:lnTo>
                  <a:lnTo>
                    <a:pt x="39282" y="55698"/>
                  </a:lnTo>
                  <a:lnTo>
                    <a:pt x="39282" y="57509"/>
                  </a:lnTo>
                  <a:lnTo>
                    <a:pt x="37668" y="57509"/>
                  </a:lnTo>
                  <a:lnTo>
                    <a:pt x="35515" y="57509"/>
                  </a:lnTo>
                  <a:lnTo>
                    <a:pt x="32825" y="57509"/>
                  </a:lnTo>
                  <a:lnTo>
                    <a:pt x="31210" y="57509"/>
                  </a:lnTo>
                  <a:lnTo>
                    <a:pt x="29058" y="57509"/>
                  </a:lnTo>
                  <a:lnTo>
                    <a:pt x="26367" y="57509"/>
                  </a:lnTo>
                  <a:lnTo>
                    <a:pt x="23677" y="57509"/>
                  </a:lnTo>
                  <a:lnTo>
                    <a:pt x="21524" y="57509"/>
                  </a:lnTo>
                  <a:lnTo>
                    <a:pt x="19910" y="57509"/>
                  </a:lnTo>
                  <a:lnTo>
                    <a:pt x="17757" y="57509"/>
                  </a:lnTo>
                  <a:lnTo>
                    <a:pt x="15067" y="57509"/>
                  </a:lnTo>
                  <a:lnTo>
                    <a:pt x="12376" y="57509"/>
                  </a:lnTo>
                  <a:lnTo>
                    <a:pt x="11300" y="57509"/>
                  </a:lnTo>
                  <a:lnTo>
                    <a:pt x="8609" y="57509"/>
                  </a:lnTo>
                  <a:lnTo>
                    <a:pt x="5919" y="57509"/>
                  </a:lnTo>
                  <a:lnTo>
                    <a:pt x="3766" y="57509"/>
                  </a:lnTo>
                  <a:lnTo>
                    <a:pt x="2152" y="57509"/>
                  </a:lnTo>
                  <a:lnTo>
                    <a:pt x="1076" y="57509"/>
                  </a:lnTo>
                  <a:lnTo>
                    <a:pt x="0" y="58867"/>
                  </a:lnTo>
                  <a:lnTo>
                    <a:pt x="0" y="59773"/>
                  </a:lnTo>
                  <a:lnTo>
                    <a:pt x="0" y="61132"/>
                  </a:lnTo>
                  <a:lnTo>
                    <a:pt x="0" y="62037"/>
                  </a:lnTo>
                  <a:lnTo>
                    <a:pt x="0" y="59773"/>
                  </a:lnTo>
                  <a:lnTo>
                    <a:pt x="0" y="59773"/>
                  </a:lnTo>
                  <a:lnTo>
                    <a:pt x="1076" y="59773"/>
                  </a:lnTo>
                  <a:lnTo>
                    <a:pt x="1076" y="59773"/>
                  </a:lnTo>
                  <a:lnTo>
                    <a:pt x="2152" y="62037"/>
                  </a:lnTo>
                  <a:lnTo>
                    <a:pt x="3766" y="64301"/>
                  </a:lnTo>
                  <a:lnTo>
                    <a:pt x="3766" y="64301"/>
                  </a:lnTo>
                  <a:lnTo>
                    <a:pt x="4843" y="64301"/>
                  </a:lnTo>
                  <a:lnTo>
                    <a:pt x="4843" y="62943"/>
                  </a:lnTo>
                  <a:lnTo>
                    <a:pt x="4843" y="62943"/>
                  </a:lnTo>
                  <a:lnTo>
                    <a:pt x="4843" y="64301"/>
                  </a:lnTo>
                  <a:lnTo>
                    <a:pt x="5919" y="66113"/>
                  </a:lnTo>
                  <a:lnTo>
                    <a:pt x="7533" y="67471"/>
                  </a:lnTo>
                  <a:lnTo>
                    <a:pt x="7533" y="68377"/>
                  </a:lnTo>
                  <a:lnTo>
                    <a:pt x="7533" y="69283"/>
                  </a:lnTo>
                  <a:lnTo>
                    <a:pt x="5919" y="71547"/>
                  </a:lnTo>
                  <a:lnTo>
                    <a:pt x="4843" y="74716"/>
                  </a:lnTo>
                  <a:lnTo>
                    <a:pt x="5919" y="74716"/>
                  </a:lnTo>
                  <a:lnTo>
                    <a:pt x="4843" y="76075"/>
                  </a:lnTo>
                  <a:lnTo>
                    <a:pt x="4843" y="76075"/>
                  </a:lnTo>
                  <a:lnTo>
                    <a:pt x="3766" y="76075"/>
                  </a:lnTo>
                  <a:lnTo>
                    <a:pt x="4843" y="76981"/>
                  </a:lnTo>
                  <a:lnTo>
                    <a:pt x="5919" y="77886"/>
                  </a:lnTo>
                  <a:lnTo>
                    <a:pt x="7533" y="79245"/>
                  </a:lnTo>
                  <a:lnTo>
                    <a:pt x="7533" y="82415"/>
                  </a:lnTo>
                  <a:lnTo>
                    <a:pt x="7533" y="84679"/>
                  </a:lnTo>
                  <a:lnTo>
                    <a:pt x="8609" y="86490"/>
                  </a:lnTo>
                  <a:lnTo>
                    <a:pt x="8609" y="89660"/>
                  </a:lnTo>
                  <a:lnTo>
                    <a:pt x="7533" y="92830"/>
                  </a:lnTo>
                  <a:lnTo>
                    <a:pt x="5919" y="97358"/>
                  </a:lnTo>
                  <a:lnTo>
                    <a:pt x="4843" y="99622"/>
                  </a:lnTo>
                  <a:lnTo>
                    <a:pt x="3766" y="102792"/>
                  </a:lnTo>
                  <a:lnTo>
                    <a:pt x="3766" y="103698"/>
                  </a:lnTo>
                  <a:lnTo>
                    <a:pt x="2152" y="105962"/>
                  </a:lnTo>
                  <a:lnTo>
                    <a:pt x="2152" y="110037"/>
                  </a:lnTo>
                  <a:lnTo>
                    <a:pt x="2152" y="109132"/>
                  </a:lnTo>
                  <a:lnTo>
                    <a:pt x="2152" y="106867"/>
                  </a:lnTo>
                  <a:lnTo>
                    <a:pt x="3766" y="105962"/>
                  </a:lnTo>
                  <a:lnTo>
                    <a:pt x="3766" y="105962"/>
                  </a:lnTo>
                  <a:lnTo>
                    <a:pt x="3766" y="104603"/>
                  </a:lnTo>
                  <a:lnTo>
                    <a:pt x="4843" y="103698"/>
                  </a:lnTo>
                  <a:lnTo>
                    <a:pt x="4843" y="102792"/>
                  </a:lnTo>
                  <a:lnTo>
                    <a:pt x="5919" y="102792"/>
                  </a:lnTo>
                  <a:lnTo>
                    <a:pt x="5919" y="102792"/>
                  </a:lnTo>
                  <a:lnTo>
                    <a:pt x="7533" y="103698"/>
                  </a:lnTo>
                  <a:lnTo>
                    <a:pt x="8609" y="103698"/>
                  </a:lnTo>
                  <a:lnTo>
                    <a:pt x="9686" y="103698"/>
                  </a:lnTo>
                  <a:lnTo>
                    <a:pt x="11300" y="103698"/>
                  </a:lnTo>
                  <a:lnTo>
                    <a:pt x="12376" y="102792"/>
                  </a:lnTo>
                  <a:lnTo>
                    <a:pt x="13452" y="102792"/>
                  </a:lnTo>
                  <a:lnTo>
                    <a:pt x="15067" y="102792"/>
                  </a:lnTo>
                  <a:lnTo>
                    <a:pt x="16143" y="102792"/>
                  </a:lnTo>
                  <a:lnTo>
                    <a:pt x="16143" y="101433"/>
                  </a:lnTo>
                  <a:lnTo>
                    <a:pt x="16143" y="101433"/>
                  </a:lnTo>
                  <a:lnTo>
                    <a:pt x="17757" y="101433"/>
                  </a:lnTo>
                  <a:lnTo>
                    <a:pt x="17757" y="101433"/>
                  </a:lnTo>
                  <a:lnTo>
                    <a:pt x="17757" y="101433"/>
                  </a:lnTo>
                  <a:lnTo>
                    <a:pt x="17757" y="101433"/>
                  </a:lnTo>
                  <a:lnTo>
                    <a:pt x="18834" y="101433"/>
                  </a:lnTo>
                  <a:lnTo>
                    <a:pt x="19910" y="101433"/>
                  </a:lnTo>
                  <a:lnTo>
                    <a:pt x="22600" y="101433"/>
                  </a:lnTo>
                  <a:lnTo>
                    <a:pt x="25291" y="102792"/>
                  </a:lnTo>
                  <a:lnTo>
                    <a:pt x="26367" y="103698"/>
                  </a:lnTo>
                  <a:lnTo>
                    <a:pt x="27443" y="104603"/>
                  </a:lnTo>
                  <a:lnTo>
                    <a:pt x="27443" y="105962"/>
                  </a:lnTo>
                  <a:lnTo>
                    <a:pt x="27443" y="105962"/>
                  </a:lnTo>
                  <a:lnTo>
                    <a:pt x="29058" y="106867"/>
                  </a:lnTo>
                  <a:lnTo>
                    <a:pt x="29058" y="106867"/>
                  </a:lnTo>
                  <a:lnTo>
                    <a:pt x="30134" y="106867"/>
                  </a:lnTo>
                  <a:lnTo>
                    <a:pt x="30134" y="106867"/>
                  </a:lnTo>
                  <a:lnTo>
                    <a:pt x="30134" y="106867"/>
                  </a:lnTo>
                  <a:lnTo>
                    <a:pt x="31210" y="106867"/>
                  </a:lnTo>
                  <a:lnTo>
                    <a:pt x="31210" y="106867"/>
                  </a:lnTo>
                  <a:lnTo>
                    <a:pt x="32825" y="106867"/>
                  </a:lnTo>
                  <a:lnTo>
                    <a:pt x="32825" y="106867"/>
                  </a:lnTo>
                  <a:lnTo>
                    <a:pt x="32825" y="106867"/>
                  </a:lnTo>
                  <a:lnTo>
                    <a:pt x="32825" y="106867"/>
                  </a:lnTo>
                  <a:lnTo>
                    <a:pt x="32825" y="108226"/>
                  </a:lnTo>
                  <a:lnTo>
                    <a:pt x="33901" y="108226"/>
                  </a:lnTo>
                  <a:lnTo>
                    <a:pt x="33901" y="109132"/>
                  </a:lnTo>
                  <a:lnTo>
                    <a:pt x="33901" y="111396"/>
                  </a:lnTo>
                  <a:lnTo>
                    <a:pt x="35515" y="112301"/>
                  </a:lnTo>
                  <a:lnTo>
                    <a:pt x="35515" y="112301"/>
                  </a:lnTo>
                  <a:lnTo>
                    <a:pt x="36591" y="112301"/>
                  </a:lnTo>
                  <a:lnTo>
                    <a:pt x="36591" y="112301"/>
                  </a:lnTo>
                  <a:lnTo>
                    <a:pt x="36591" y="113207"/>
                  </a:lnTo>
                  <a:lnTo>
                    <a:pt x="36591" y="113207"/>
                  </a:lnTo>
                  <a:lnTo>
                    <a:pt x="36591" y="113207"/>
                  </a:lnTo>
                  <a:lnTo>
                    <a:pt x="37668" y="113207"/>
                  </a:lnTo>
                  <a:lnTo>
                    <a:pt x="37668" y="114566"/>
                  </a:lnTo>
                  <a:lnTo>
                    <a:pt x="39282" y="115471"/>
                  </a:lnTo>
                  <a:lnTo>
                    <a:pt x="37668" y="115471"/>
                  </a:lnTo>
                  <a:lnTo>
                    <a:pt x="37668" y="115471"/>
                  </a:lnTo>
                  <a:lnTo>
                    <a:pt x="39282" y="115471"/>
                  </a:lnTo>
                  <a:lnTo>
                    <a:pt x="39282" y="115471"/>
                  </a:lnTo>
                  <a:lnTo>
                    <a:pt x="39282" y="116377"/>
                  </a:lnTo>
                  <a:lnTo>
                    <a:pt x="40358" y="116377"/>
                  </a:lnTo>
                  <a:lnTo>
                    <a:pt x="41434" y="117735"/>
                  </a:lnTo>
                  <a:lnTo>
                    <a:pt x="41434" y="117735"/>
                  </a:lnTo>
                  <a:lnTo>
                    <a:pt x="43049" y="118641"/>
                  </a:lnTo>
                  <a:lnTo>
                    <a:pt x="44125" y="120000"/>
                  </a:lnTo>
                  <a:lnTo>
                    <a:pt x="44125" y="120000"/>
                  </a:lnTo>
                  <a:lnTo>
                    <a:pt x="45201" y="120000"/>
                  </a:lnTo>
                  <a:lnTo>
                    <a:pt x="45201" y="120000"/>
                  </a:lnTo>
                  <a:lnTo>
                    <a:pt x="46816" y="120000"/>
                  </a:lnTo>
                  <a:lnTo>
                    <a:pt x="47892" y="118641"/>
                  </a:lnTo>
                  <a:lnTo>
                    <a:pt x="47892" y="117735"/>
                  </a:lnTo>
                  <a:lnTo>
                    <a:pt x="47892" y="116377"/>
                  </a:lnTo>
                  <a:lnTo>
                    <a:pt x="47892" y="115471"/>
                  </a:lnTo>
                  <a:lnTo>
                    <a:pt x="48968" y="114566"/>
                  </a:lnTo>
                  <a:lnTo>
                    <a:pt x="48968" y="113207"/>
                  </a:lnTo>
                  <a:lnTo>
                    <a:pt x="50582" y="113207"/>
                  </a:lnTo>
                  <a:lnTo>
                    <a:pt x="50582" y="112301"/>
                  </a:lnTo>
                  <a:lnTo>
                    <a:pt x="51659" y="111396"/>
                  </a:lnTo>
                  <a:lnTo>
                    <a:pt x="51659" y="112301"/>
                  </a:lnTo>
                  <a:lnTo>
                    <a:pt x="53273" y="112301"/>
                  </a:lnTo>
                  <a:lnTo>
                    <a:pt x="55426" y="114566"/>
                  </a:lnTo>
                  <a:lnTo>
                    <a:pt x="57040" y="115471"/>
                  </a:lnTo>
                  <a:lnTo>
                    <a:pt x="57040" y="116377"/>
                  </a:lnTo>
                  <a:lnTo>
                    <a:pt x="58116" y="116377"/>
                  </a:lnTo>
                  <a:lnTo>
                    <a:pt x="58116" y="115471"/>
                  </a:lnTo>
                  <a:lnTo>
                    <a:pt x="59192" y="114566"/>
                  </a:lnTo>
                  <a:lnTo>
                    <a:pt x="59192" y="113207"/>
                  </a:lnTo>
                  <a:lnTo>
                    <a:pt x="60807" y="113207"/>
                  </a:lnTo>
                  <a:lnTo>
                    <a:pt x="61883" y="113207"/>
                  </a:lnTo>
                  <a:lnTo>
                    <a:pt x="62959" y="113207"/>
                  </a:lnTo>
                  <a:lnTo>
                    <a:pt x="64573" y="113207"/>
                  </a:lnTo>
                  <a:lnTo>
                    <a:pt x="64573" y="114566"/>
                  </a:lnTo>
                  <a:lnTo>
                    <a:pt x="65650" y="114566"/>
                  </a:lnTo>
                  <a:lnTo>
                    <a:pt x="66726" y="114566"/>
                  </a:lnTo>
                  <a:lnTo>
                    <a:pt x="69417" y="114566"/>
                  </a:lnTo>
                  <a:lnTo>
                    <a:pt x="71031" y="113207"/>
                  </a:lnTo>
                  <a:lnTo>
                    <a:pt x="72107" y="113207"/>
                  </a:lnTo>
                  <a:lnTo>
                    <a:pt x="72107" y="113207"/>
                  </a:lnTo>
                  <a:lnTo>
                    <a:pt x="72107" y="112301"/>
                  </a:lnTo>
                  <a:lnTo>
                    <a:pt x="72107" y="112301"/>
                  </a:lnTo>
                  <a:lnTo>
                    <a:pt x="73183" y="111396"/>
                  </a:lnTo>
                  <a:lnTo>
                    <a:pt x="73183" y="111396"/>
                  </a:lnTo>
                  <a:lnTo>
                    <a:pt x="73183" y="112301"/>
                  </a:lnTo>
                  <a:lnTo>
                    <a:pt x="73183" y="113207"/>
                  </a:lnTo>
                  <a:lnTo>
                    <a:pt x="74798" y="113207"/>
                  </a:lnTo>
                  <a:lnTo>
                    <a:pt x="78565" y="113207"/>
                  </a:lnTo>
                  <a:lnTo>
                    <a:pt x="80717" y="113207"/>
                  </a:lnTo>
                  <a:lnTo>
                    <a:pt x="90941" y="113207"/>
                  </a:lnTo>
                  <a:lnTo>
                    <a:pt x="92556" y="113207"/>
                  </a:lnTo>
                  <a:lnTo>
                    <a:pt x="102242" y="113207"/>
                  </a:lnTo>
                  <a:lnTo>
                    <a:pt x="107623" y="113207"/>
                  </a:lnTo>
                  <a:lnTo>
                    <a:pt x="111390" y="113207"/>
                  </a:lnTo>
                  <a:lnTo>
                    <a:pt x="111390" y="110037"/>
                  </a:lnTo>
                  <a:lnTo>
                    <a:pt x="112466" y="108226"/>
                  </a:lnTo>
                  <a:lnTo>
                    <a:pt x="112466" y="105962"/>
                  </a:lnTo>
                  <a:lnTo>
                    <a:pt x="111390" y="103698"/>
                  </a:lnTo>
                  <a:lnTo>
                    <a:pt x="110313" y="102792"/>
                  </a:lnTo>
                  <a:lnTo>
                    <a:pt x="110313" y="100528"/>
                  </a:lnTo>
                  <a:lnTo>
                    <a:pt x="110313" y="98264"/>
                  </a:lnTo>
                  <a:lnTo>
                    <a:pt x="110313" y="96452"/>
                  </a:lnTo>
                  <a:lnTo>
                    <a:pt x="108699" y="92830"/>
                  </a:lnTo>
                  <a:lnTo>
                    <a:pt x="108699" y="91018"/>
                  </a:lnTo>
                  <a:lnTo>
                    <a:pt x="108699" y="88754"/>
                  </a:lnTo>
                  <a:lnTo>
                    <a:pt x="108699" y="86490"/>
                  </a:lnTo>
                  <a:lnTo>
                    <a:pt x="108699" y="83320"/>
                  </a:lnTo>
                  <a:lnTo>
                    <a:pt x="108699" y="81056"/>
                  </a:lnTo>
                  <a:lnTo>
                    <a:pt x="107623" y="79245"/>
                  </a:lnTo>
                  <a:lnTo>
                    <a:pt x="107623" y="76981"/>
                  </a:lnTo>
                  <a:lnTo>
                    <a:pt x="107623" y="74716"/>
                  </a:lnTo>
                  <a:lnTo>
                    <a:pt x="107623" y="71547"/>
                  </a:lnTo>
                  <a:lnTo>
                    <a:pt x="107623" y="69283"/>
                  </a:lnTo>
                  <a:lnTo>
                    <a:pt x="107623" y="67471"/>
                  </a:lnTo>
                  <a:lnTo>
                    <a:pt x="106547" y="65207"/>
                  </a:lnTo>
                  <a:lnTo>
                    <a:pt x="106547" y="62037"/>
                  </a:lnTo>
                  <a:lnTo>
                    <a:pt x="106547" y="59773"/>
                  </a:lnTo>
                  <a:lnTo>
                    <a:pt x="106547" y="57509"/>
                  </a:lnTo>
                  <a:lnTo>
                    <a:pt x="106547" y="55698"/>
                  </a:lnTo>
                  <a:lnTo>
                    <a:pt x="106547" y="53433"/>
                  </a:lnTo>
                  <a:lnTo>
                    <a:pt x="104932" y="50264"/>
                  </a:lnTo>
                  <a:lnTo>
                    <a:pt x="104932" y="48000"/>
                  </a:lnTo>
                  <a:lnTo>
                    <a:pt x="104932" y="45735"/>
                  </a:lnTo>
                  <a:lnTo>
                    <a:pt x="104932" y="43924"/>
                  </a:lnTo>
                  <a:lnTo>
                    <a:pt x="104932" y="40754"/>
                  </a:lnTo>
                  <a:lnTo>
                    <a:pt x="104932" y="38490"/>
                  </a:lnTo>
                  <a:lnTo>
                    <a:pt x="104932" y="36226"/>
                  </a:lnTo>
                  <a:lnTo>
                    <a:pt x="103856" y="33962"/>
                  </a:lnTo>
                  <a:lnTo>
                    <a:pt x="103856" y="32150"/>
                  </a:lnTo>
                  <a:lnTo>
                    <a:pt x="103856" y="28981"/>
                  </a:lnTo>
                  <a:lnTo>
                    <a:pt x="103856" y="26716"/>
                  </a:lnTo>
                  <a:lnTo>
                    <a:pt x="103856" y="24452"/>
                  </a:lnTo>
                  <a:lnTo>
                    <a:pt x="103856" y="22188"/>
                  </a:lnTo>
                  <a:lnTo>
                    <a:pt x="106547" y="22188"/>
                  </a:lnTo>
                  <a:lnTo>
                    <a:pt x="110313" y="22188"/>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32" name="Shape 432"/>
            <p:cNvSpPr/>
            <p:nvPr/>
          </p:nvSpPr>
          <p:spPr>
            <a:xfrm>
              <a:off x="2529" y="2493"/>
              <a:ext cx="0" cy="0"/>
            </a:xfrm>
            <a:custGeom>
              <a:avLst/>
              <a:gdLst/>
              <a:ahLst/>
              <a:cxnLst/>
              <a:rect l="0" t="0" r="0" b="0"/>
              <a:pathLst>
                <a:path w="120000" h="120000" extrusionOk="0">
                  <a:moveTo>
                    <a:pt x="120000" y="84000"/>
                  </a:moveTo>
                  <a:lnTo>
                    <a:pt x="120000" y="60000"/>
                  </a:lnTo>
                  <a:lnTo>
                    <a:pt x="120000" y="60000"/>
                  </a:lnTo>
                  <a:lnTo>
                    <a:pt x="120000" y="36000"/>
                  </a:lnTo>
                  <a:lnTo>
                    <a:pt x="120000" y="36000"/>
                  </a:lnTo>
                  <a:lnTo>
                    <a:pt x="120000" y="36000"/>
                  </a:lnTo>
                  <a:lnTo>
                    <a:pt x="60000" y="36000"/>
                  </a:lnTo>
                  <a:lnTo>
                    <a:pt x="0" y="0"/>
                  </a:lnTo>
                  <a:lnTo>
                    <a:pt x="0" y="0"/>
                  </a:lnTo>
                  <a:lnTo>
                    <a:pt x="0" y="0"/>
                  </a:lnTo>
                  <a:lnTo>
                    <a:pt x="0" y="36000"/>
                  </a:lnTo>
                  <a:lnTo>
                    <a:pt x="0" y="60000"/>
                  </a:lnTo>
                  <a:lnTo>
                    <a:pt x="0" y="60000"/>
                  </a:lnTo>
                  <a:lnTo>
                    <a:pt x="60000" y="84000"/>
                  </a:lnTo>
                  <a:lnTo>
                    <a:pt x="0" y="84000"/>
                  </a:lnTo>
                  <a:lnTo>
                    <a:pt x="0" y="84000"/>
                  </a:lnTo>
                  <a:lnTo>
                    <a:pt x="0" y="120000"/>
                  </a:lnTo>
                  <a:lnTo>
                    <a:pt x="120000" y="120000"/>
                  </a:lnTo>
                  <a:lnTo>
                    <a:pt x="120000" y="120000"/>
                  </a:lnTo>
                  <a:lnTo>
                    <a:pt x="120000" y="120000"/>
                  </a:lnTo>
                  <a:lnTo>
                    <a:pt x="120000" y="120000"/>
                  </a:lnTo>
                  <a:lnTo>
                    <a:pt x="120000" y="84000"/>
                  </a:lnTo>
                  <a:close/>
                </a:path>
              </a:pathLst>
            </a:custGeom>
            <a:solidFill>
              <a:schemeClr val="lt2"/>
            </a:solidFill>
            <a:ln>
              <a:noFill/>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33" name="Shape 433"/>
            <p:cNvSpPr/>
            <p:nvPr/>
          </p:nvSpPr>
          <p:spPr>
            <a:xfrm>
              <a:off x="2529" y="2493"/>
              <a:ext cx="0" cy="0"/>
            </a:xfrm>
            <a:custGeom>
              <a:avLst/>
              <a:gdLst/>
              <a:ahLst/>
              <a:cxnLst/>
              <a:rect l="0" t="0" r="0" b="0"/>
              <a:pathLst>
                <a:path w="120000" h="120000" extrusionOk="0">
                  <a:moveTo>
                    <a:pt x="120000" y="84000"/>
                  </a:moveTo>
                  <a:lnTo>
                    <a:pt x="120000" y="60000"/>
                  </a:lnTo>
                  <a:lnTo>
                    <a:pt x="120000" y="60000"/>
                  </a:lnTo>
                  <a:lnTo>
                    <a:pt x="120000" y="36000"/>
                  </a:lnTo>
                  <a:lnTo>
                    <a:pt x="120000" y="36000"/>
                  </a:lnTo>
                  <a:lnTo>
                    <a:pt x="120000" y="36000"/>
                  </a:lnTo>
                  <a:lnTo>
                    <a:pt x="60000" y="36000"/>
                  </a:lnTo>
                  <a:lnTo>
                    <a:pt x="0" y="0"/>
                  </a:lnTo>
                  <a:lnTo>
                    <a:pt x="0" y="0"/>
                  </a:lnTo>
                  <a:lnTo>
                    <a:pt x="0" y="0"/>
                  </a:lnTo>
                  <a:lnTo>
                    <a:pt x="0" y="36000"/>
                  </a:lnTo>
                  <a:lnTo>
                    <a:pt x="0" y="60000"/>
                  </a:lnTo>
                  <a:lnTo>
                    <a:pt x="0" y="60000"/>
                  </a:lnTo>
                  <a:lnTo>
                    <a:pt x="60000" y="84000"/>
                  </a:lnTo>
                  <a:lnTo>
                    <a:pt x="0" y="84000"/>
                  </a:lnTo>
                  <a:lnTo>
                    <a:pt x="0" y="84000"/>
                  </a:lnTo>
                  <a:lnTo>
                    <a:pt x="0" y="120000"/>
                  </a:lnTo>
                  <a:lnTo>
                    <a:pt x="120000" y="120000"/>
                  </a:lnTo>
                  <a:lnTo>
                    <a:pt x="120000" y="120000"/>
                  </a:lnTo>
                  <a:lnTo>
                    <a:pt x="120000" y="120000"/>
                  </a:lnTo>
                  <a:lnTo>
                    <a:pt x="120000" y="120000"/>
                  </a:lnTo>
                  <a:lnTo>
                    <a:pt x="120000" y="8400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34" name="Shape 434"/>
            <p:cNvSpPr/>
            <p:nvPr/>
          </p:nvSpPr>
          <p:spPr>
            <a:xfrm>
              <a:off x="2529" y="2493"/>
              <a:ext cx="0" cy="0"/>
            </a:xfrm>
            <a:custGeom>
              <a:avLst/>
              <a:gdLst/>
              <a:ahLst/>
              <a:cxnLst/>
              <a:rect l="0" t="0" r="0" b="0"/>
              <a:pathLst>
                <a:path w="120000" h="120000" extrusionOk="0">
                  <a:moveTo>
                    <a:pt x="120000" y="84000"/>
                  </a:moveTo>
                  <a:lnTo>
                    <a:pt x="120000" y="60000"/>
                  </a:lnTo>
                  <a:lnTo>
                    <a:pt x="120000" y="60000"/>
                  </a:lnTo>
                  <a:lnTo>
                    <a:pt x="120000" y="36000"/>
                  </a:lnTo>
                  <a:lnTo>
                    <a:pt x="120000" y="36000"/>
                  </a:lnTo>
                  <a:lnTo>
                    <a:pt x="120000" y="36000"/>
                  </a:lnTo>
                  <a:lnTo>
                    <a:pt x="60000" y="36000"/>
                  </a:lnTo>
                  <a:lnTo>
                    <a:pt x="0" y="0"/>
                  </a:lnTo>
                  <a:lnTo>
                    <a:pt x="0" y="0"/>
                  </a:lnTo>
                  <a:lnTo>
                    <a:pt x="0" y="0"/>
                  </a:lnTo>
                  <a:lnTo>
                    <a:pt x="0" y="36000"/>
                  </a:lnTo>
                  <a:lnTo>
                    <a:pt x="0" y="60000"/>
                  </a:lnTo>
                  <a:lnTo>
                    <a:pt x="0" y="60000"/>
                  </a:lnTo>
                  <a:lnTo>
                    <a:pt x="60000" y="84000"/>
                  </a:lnTo>
                  <a:lnTo>
                    <a:pt x="0" y="84000"/>
                  </a:lnTo>
                  <a:lnTo>
                    <a:pt x="0" y="84000"/>
                  </a:lnTo>
                  <a:lnTo>
                    <a:pt x="0" y="120000"/>
                  </a:lnTo>
                  <a:lnTo>
                    <a:pt x="120000" y="120000"/>
                  </a:lnTo>
                  <a:lnTo>
                    <a:pt x="120000" y="120000"/>
                  </a:lnTo>
                  <a:lnTo>
                    <a:pt x="120000" y="120000"/>
                  </a:lnTo>
                  <a:lnTo>
                    <a:pt x="120000" y="120000"/>
                  </a:lnTo>
                  <a:lnTo>
                    <a:pt x="120000" y="84000"/>
                  </a:lnTo>
                  <a:close/>
                </a:path>
              </a:pathLst>
            </a:custGeom>
            <a:solidFill>
              <a:schemeClr val="lt2"/>
            </a:solidFill>
            <a:ln>
              <a:noFill/>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35" name="Shape 435"/>
            <p:cNvSpPr/>
            <p:nvPr/>
          </p:nvSpPr>
          <p:spPr>
            <a:xfrm>
              <a:off x="2529" y="2493"/>
              <a:ext cx="0" cy="0"/>
            </a:xfrm>
            <a:custGeom>
              <a:avLst/>
              <a:gdLst/>
              <a:ahLst/>
              <a:cxnLst/>
              <a:rect l="0" t="0" r="0" b="0"/>
              <a:pathLst>
                <a:path w="120000" h="120000" extrusionOk="0">
                  <a:moveTo>
                    <a:pt x="120000" y="84000"/>
                  </a:moveTo>
                  <a:lnTo>
                    <a:pt x="120000" y="60000"/>
                  </a:lnTo>
                  <a:lnTo>
                    <a:pt x="120000" y="60000"/>
                  </a:lnTo>
                  <a:lnTo>
                    <a:pt x="120000" y="36000"/>
                  </a:lnTo>
                  <a:lnTo>
                    <a:pt x="120000" y="36000"/>
                  </a:lnTo>
                  <a:lnTo>
                    <a:pt x="120000" y="36000"/>
                  </a:lnTo>
                  <a:lnTo>
                    <a:pt x="60000" y="36000"/>
                  </a:lnTo>
                  <a:lnTo>
                    <a:pt x="0" y="0"/>
                  </a:lnTo>
                  <a:lnTo>
                    <a:pt x="0" y="0"/>
                  </a:lnTo>
                  <a:lnTo>
                    <a:pt x="0" y="0"/>
                  </a:lnTo>
                  <a:lnTo>
                    <a:pt x="0" y="36000"/>
                  </a:lnTo>
                  <a:lnTo>
                    <a:pt x="0" y="60000"/>
                  </a:lnTo>
                  <a:lnTo>
                    <a:pt x="0" y="60000"/>
                  </a:lnTo>
                  <a:lnTo>
                    <a:pt x="60000" y="84000"/>
                  </a:lnTo>
                  <a:lnTo>
                    <a:pt x="0" y="84000"/>
                  </a:lnTo>
                  <a:lnTo>
                    <a:pt x="0" y="84000"/>
                  </a:lnTo>
                  <a:lnTo>
                    <a:pt x="0" y="120000"/>
                  </a:lnTo>
                  <a:lnTo>
                    <a:pt x="120000" y="120000"/>
                  </a:lnTo>
                  <a:lnTo>
                    <a:pt x="120000" y="120000"/>
                  </a:lnTo>
                  <a:lnTo>
                    <a:pt x="120000" y="120000"/>
                  </a:lnTo>
                  <a:lnTo>
                    <a:pt x="120000" y="120000"/>
                  </a:lnTo>
                  <a:lnTo>
                    <a:pt x="120000" y="8400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36" name="Shape 436"/>
            <p:cNvSpPr/>
            <p:nvPr/>
          </p:nvSpPr>
          <p:spPr>
            <a:xfrm>
              <a:off x="3429" y="2280"/>
              <a:ext cx="300" cy="300"/>
            </a:xfrm>
            <a:custGeom>
              <a:avLst/>
              <a:gdLst/>
              <a:ahLst/>
              <a:cxnLst/>
              <a:rect l="0" t="0" r="0" b="0"/>
              <a:pathLst>
                <a:path w="120000" h="120000" extrusionOk="0">
                  <a:moveTo>
                    <a:pt x="118026" y="48306"/>
                  </a:moveTo>
                  <a:lnTo>
                    <a:pt x="116447" y="48306"/>
                  </a:lnTo>
                  <a:lnTo>
                    <a:pt x="114473" y="48306"/>
                  </a:lnTo>
                  <a:lnTo>
                    <a:pt x="114473" y="48306"/>
                  </a:lnTo>
                  <a:lnTo>
                    <a:pt x="113684" y="49073"/>
                  </a:lnTo>
                  <a:lnTo>
                    <a:pt x="113684" y="48306"/>
                  </a:lnTo>
                  <a:lnTo>
                    <a:pt x="113684" y="48306"/>
                  </a:lnTo>
                  <a:lnTo>
                    <a:pt x="112500" y="48306"/>
                  </a:lnTo>
                  <a:lnTo>
                    <a:pt x="112500" y="47156"/>
                  </a:lnTo>
                  <a:lnTo>
                    <a:pt x="111710" y="47156"/>
                  </a:lnTo>
                  <a:lnTo>
                    <a:pt x="112500" y="46389"/>
                  </a:lnTo>
                  <a:lnTo>
                    <a:pt x="112500" y="46389"/>
                  </a:lnTo>
                  <a:lnTo>
                    <a:pt x="112500" y="46389"/>
                  </a:lnTo>
                  <a:lnTo>
                    <a:pt x="112500" y="45623"/>
                  </a:lnTo>
                  <a:lnTo>
                    <a:pt x="113684" y="45623"/>
                  </a:lnTo>
                  <a:lnTo>
                    <a:pt x="113684" y="45623"/>
                  </a:lnTo>
                  <a:lnTo>
                    <a:pt x="112500" y="44472"/>
                  </a:lnTo>
                  <a:lnTo>
                    <a:pt x="112500" y="43706"/>
                  </a:lnTo>
                  <a:lnTo>
                    <a:pt x="112500" y="42939"/>
                  </a:lnTo>
                  <a:lnTo>
                    <a:pt x="112500" y="42939"/>
                  </a:lnTo>
                  <a:lnTo>
                    <a:pt x="112500" y="41789"/>
                  </a:lnTo>
                  <a:lnTo>
                    <a:pt x="112500" y="41789"/>
                  </a:lnTo>
                  <a:lnTo>
                    <a:pt x="111710" y="41022"/>
                  </a:lnTo>
                  <a:lnTo>
                    <a:pt x="110526" y="41022"/>
                  </a:lnTo>
                  <a:lnTo>
                    <a:pt x="109736" y="41022"/>
                  </a:lnTo>
                  <a:lnTo>
                    <a:pt x="108947" y="41022"/>
                  </a:lnTo>
                  <a:lnTo>
                    <a:pt x="107763" y="39872"/>
                  </a:lnTo>
                  <a:lnTo>
                    <a:pt x="106973" y="39872"/>
                  </a:lnTo>
                  <a:lnTo>
                    <a:pt x="106184" y="39105"/>
                  </a:lnTo>
                  <a:lnTo>
                    <a:pt x="106184" y="38338"/>
                  </a:lnTo>
                  <a:lnTo>
                    <a:pt x="103421" y="38338"/>
                  </a:lnTo>
                  <a:lnTo>
                    <a:pt x="103421" y="38338"/>
                  </a:lnTo>
                  <a:lnTo>
                    <a:pt x="102236" y="38338"/>
                  </a:lnTo>
                  <a:lnTo>
                    <a:pt x="102236" y="37188"/>
                  </a:lnTo>
                  <a:lnTo>
                    <a:pt x="101447" y="36421"/>
                  </a:lnTo>
                  <a:lnTo>
                    <a:pt x="101447" y="36421"/>
                  </a:lnTo>
                  <a:lnTo>
                    <a:pt x="101447" y="36421"/>
                  </a:lnTo>
                  <a:lnTo>
                    <a:pt x="99473" y="34504"/>
                  </a:lnTo>
                  <a:lnTo>
                    <a:pt x="98684" y="34504"/>
                  </a:lnTo>
                  <a:lnTo>
                    <a:pt x="98684" y="33738"/>
                  </a:lnTo>
                  <a:lnTo>
                    <a:pt x="98684" y="33738"/>
                  </a:lnTo>
                  <a:lnTo>
                    <a:pt x="98684" y="32971"/>
                  </a:lnTo>
                  <a:lnTo>
                    <a:pt x="98684" y="31821"/>
                  </a:lnTo>
                  <a:lnTo>
                    <a:pt x="98684" y="31821"/>
                  </a:lnTo>
                  <a:lnTo>
                    <a:pt x="96710" y="31054"/>
                  </a:lnTo>
                  <a:lnTo>
                    <a:pt x="94736" y="29137"/>
                  </a:lnTo>
                  <a:lnTo>
                    <a:pt x="91973" y="27220"/>
                  </a:lnTo>
                  <a:lnTo>
                    <a:pt x="90394" y="25686"/>
                  </a:lnTo>
                  <a:lnTo>
                    <a:pt x="87631" y="23769"/>
                  </a:lnTo>
                  <a:lnTo>
                    <a:pt x="85657" y="21853"/>
                  </a:lnTo>
                  <a:lnTo>
                    <a:pt x="82894" y="19936"/>
                  </a:lnTo>
                  <a:lnTo>
                    <a:pt x="80921" y="18402"/>
                  </a:lnTo>
                  <a:lnTo>
                    <a:pt x="78157" y="16485"/>
                  </a:lnTo>
                  <a:lnTo>
                    <a:pt x="76184" y="15718"/>
                  </a:lnTo>
                  <a:lnTo>
                    <a:pt x="73421" y="13801"/>
                  </a:lnTo>
                  <a:lnTo>
                    <a:pt x="71842" y="11884"/>
                  </a:lnTo>
                  <a:lnTo>
                    <a:pt x="69868" y="9968"/>
                  </a:lnTo>
                  <a:lnTo>
                    <a:pt x="67105" y="8434"/>
                  </a:lnTo>
                  <a:lnTo>
                    <a:pt x="65131" y="6517"/>
                  </a:lnTo>
                  <a:lnTo>
                    <a:pt x="62368" y="4600"/>
                  </a:lnTo>
                  <a:lnTo>
                    <a:pt x="60394" y="2683"/>
                  </a:lnTo>
                  <a:lnTo>
                    <a:pt x="58815" y="1916"/>
                  </a:lnTo>
                  <a:lnTo>
                    <a:pt x="55657" y="0"/>
                  </a:lnTo>
                  <a:lnTo>
                    <a:pt x="54078" y="0"/>
                  </a:lnTo>
                  <a:lnTo>
                    <a:pt x="50131" y="0"/>
                  </a:lnTo>
                  <a:lnTo>
                    <a:pt x="48552" y="0"/>
                  </a:lnTo>
                  <a:lnTo>
                    <a:pt x="45789" y="0"/>
                  </a:lnTo>
                  <a:lnTo>
                    <a:pt x="43815" y="0"/>
                  </a:lnTo>
                  <a:lnTo>
                    <a:pt x="43815" y="1916"/>
                  </a:lnTo>
                  <a:lnTo>
                    <a:pt x="43815" y="3833"/>
                  </a:lnTo>
                  <a:lnTo>
                    <a:pt x="43815" y="5750"/>
                  </a:lnTo>
                  <a:lnTo>
                    <a:pt x="43815" y="8434"/>
                  </a:lnTo>
                  <a:lnTo>
                    <a:pt x="43815" y="9968"/>
                  </a:lnTo>
                  <a:lnTo>
                    <a:pt x="44605" y="11884"/>
                  </a:lnTo>
                  <a:lnTo>
                    <a:pt x="44605" y="13801"/>
                  </a:lnTo>
                  <a:lnTo>
                    <a:pt x="44605" y="15718"/>
                  </a:lnTo>
                  <a:lnTo>
                    <a:pt x="44605" y="18402"/>
                  </a:lnTo>
                  <a:lnTo>
                    <a:pt x="44605" y="19936"/>
                  </a:lnTo>
                  <a:lnTo>
                    <a:pt x="44605" y="21853"/>
                  </a:lnTo>
                  <a:lnTo>
                    <a:pt x="44605" y="23769"/>
                  </a:lnTo>
                  <a:lnTo>
                    <a:pt x="45789" y="26453"/>
                  </a:lnTo>
                  <a:lnTo>
                    <a:pt x="45789" y="28370"/>
                  </a:lnTo>
                  <a:lnTo>
                    <a:pt x="45789" y="29904"/>
                  </a:lnTo>
                  <a:lnTo>
                    <a:pt x="45789" y="31821"/>
                  </a:lnTo>
                  <a:lnTo>
                    <a:pt x="45789" y="33738"/>
                  </a:lnTo>
                  <a:lnTo>
                    <a:pt x="45789" y="36421"/>
                  </a:lnTo>
                  <a:lnTo>
                    <a:pt x="46578" y="38338"/>
                  </a:lnTo>
                  <a:lnTo>
                    <a:pt x="46578" y="39872"/>
                  </a:lnTo>
                  <a:lnTo>
                    <a:pt x="46578" y="41789"/>
                  </a:lnTo>
                  <a:lnTo>
                    <a:pt x="46578" y="44472"/>
                  </a:lnTo>
                  <a:lnTo>
                    <a:pt x="46578" y="46389"/>
                  </a:lnTo>
                  <a:lnTo>
                    <a:pt x="46578" y="48306"/>
                  </a:lnTo>
                  <a:lnTo>
                    <a:pt x="47368" y="49840"/>
                  </a:lnTo>
                  <a:lnTo>
                    <a:pt x="47368" y="51757"/>
                  </a:lnTo>
                  <a:lnTo>
                    <a:pt x="47368" y="54440"/>
                  </a:lnTo>
                  <a:lnTo>
                    <a:pt x="47368" y="56357"/>
                  </a:lnTo>
                  <a:lnTo>
                    <a:pt x="47368" y="58274"/>
                  </a:lnTo>
                  <a:lnTo>
                    <a:pt x="47368" y="59808"/>
                  </a:lnTo>
                  <a:lnTo>
                    <a:pt x="48552" y="62875"/>
                  </a:lnTo>
                  <a:lnTo>
                    <a:pt x="48552" y="64408"/>
                  </a:lnTo>
                  <a:lnTo>
                    <a:pt x="48552" y="66325"/>
                  </a:lnTo>
                  <a:lnTo>
                    <a:pt x="48552" y="68242"/>
                  </a:lnTo>
                  <a:lnTo>
                    <a:pt x="49342" y="69009"/>
                  </a:lnTo>
                  <a:lnTo>
                    <a:pt x="50131" y="70926"/>
                  </a:lnTo>
                  <a:lnTo>
                    <a:pt x="50131" y="72843"/>
                  </a:lnTo>
                  <a:lnTo>
                    <a:pt x="49342" y="74376"/>
                  </a:lnTo>
                  <a:lnTo>
                    <a:pt x="49342" y="77060"/>
                  </a:lnTo>
                  <a:lnTo>
                    <a:pt x="46578" y="77060"/>
                  </a:lnTo>
                  <a:lnTo>
                    <a:pt x="42631" y="77060"/>
                  </a:lnTo>
                  <a:lnTo>
                    <a:pt x="35526" y="77060"/>
                  </a:lnTo>
                  <a:lnTo>
                    <a:pt x="34342" y="77060"/>
                  </a:lnTo>
                  <a:lnTo>
                    <a:pt x="26842" y="77060"/>
                  </a:lnTo>
                  <a:lnTo>
                    <a:pt x="25263" y="77060"/>
                  </a:lnTo>
                  <a:lnTo>
                    <a:pt x="22500" y="77060"/>
                  </a:lnTo>
                  <a:lnTo>
                    <a:pt x="21315" y="77060"/>
                  </a:lnTo>
                  <a:lnTo>
                    <a:pt x="21315" y="76293"/>
                  </a:lnTo>
                  <a:lnTo>
                    <a:pt x="21315" y="75527"/>
                  </a:lnTo>
                  <a:lnTo>
                    <a:pt x="21315" y="75527"/>
                  </a:lnTo>
                  <a:lnTo>
                    <a:pt x="20526" y="76293"/>
                  </a:lnTo>
                  <a:lnTo>
                    <a:pt x="20526" y="76293"/>
                  </a:lnTo>
                  <a:lnTo>
                    <a:pt x="20526" y="77060"/>
                  </a:lnTo>
                  <a:lnTo>
                    <a:pt x="20526" y="77060"/>
                  </a:lnTo>
                  <a:lnTo>
                    <a:pt x="19736" y="77060"/>
                  </a:lnTo>
                  <a:lnTo>
                    <a:pt x="18552" y="78210"/>
                  </a:lnTo>
                  <a:lnTo>
                    <a:pt x="16578" y="78210"/>
                  </a:lnTo>
                  <a:lnTo>
                    <a:pt x="15789" y="78210"/>
                  </a:lnTo>
                  <a:lnTo>
                    <a:pt x="15000" y="78210"/>
                  </a:lnTo>
                  <a:lnTo>
                    <a:pt x="15000" y="77060"/>
                  </a:lnTo>
                  <a:lnTo>
                    <a:pt x="13815" y="77060"/>
                  </a:lnTo>
                  <a:lnTo>
                    <a:pt x="13026" y="77060"/>
                  </a:lnTo>
                  <a:lnTo>
                    <a:pt x="12236" y="77060"/>
                  </a:lnTo>
                  <a:lnTo>
                    <a:pt x="11052" y="77060"/>
                  </a:lnTo>
                  <a:lnTo>
                    <a:pt x="11052" y="78210"/>
                  </a:lnTo>
                  <a:lnTo>
                    <a:pt x="10263" y="78977"/>
                  </a:lnTo>
                  <a:lnTo>
                    <a:pt x="10263" y="79744"/>
                  </a:lnTo>
                  <a:lnTo>
                    <a:pt x="9473" y="79744"/>
                  </a:lnTo>
                  <a:lnTo>
                    <a:pt x="9473" y="78977"/>
                  </a:lnTo>
                  <a:lnTo>
                    <a:pt x="8289" y="78210"/>
                  </a:lnTo>
                  <a:lnTo>
                    <a:pt x="6710" y="76293"/>
                  </a:lnTo>
                  <a:lnTo>
                    <a:pt x="5526" y="76293"/>
                  </a:lnTo>
                  <a:lnTo>
                    <a:pt x="5526" y="75527"/>
                  </a:lnTo>
                  <a:lnTo>
                    <a:pt x="4736" y="76293"/>
                  </a:lnTo>
                  <a:lnTo>
                    <a:pt x="4736" y="77060"/>
                  </a:lnTo>
                  <a:lnTo>
                    <a:pt x="3552" y="77060"/>
                  </a:lnTo>
                  <a:lnTo>
                    <a:pt x="3552" y="78210"/>
                  </a:lnTo>
                  <a:lnTo>
                    <a:pt x="2763" y="78977"/>
                  </a:lnTo>
                  <a:lnTo>
                    <a:pt x="2763" y="79744"/>
                  </a:lnTo>
                  <a:lnTo>
                    <a:pt x="2763" y="80894"/>
                  </a:lnTo>
                  <a:lnTo>
                    <a:pt x="2763" y="81661"/>
                  </a:lnTo>
                  <a:lnTo>
                    <a:pt x="1973" y="82811"/>
                  </a:lnTo>
                  <a:lnTo>
                    <a:pt x="789" y="82811"/>
                  </a:lnTo>
                  <a:lnTo>
                    <a:pt x="789" y="82811"/>
                  </a:lnTo>
                  <a:lnTo>
                    <a:pt x="0" y="82811"/>
                  </a:lnTo>
                  <a:lnTo>
                    <a:pt x="789" y="83578"/>
                  </a:lnTo>
                  <a:lnTo>
                    <a:pt x="0" y="84345"/>
                  </a:lnTo>
                  <a:lnTo>
                    <a:pt x="0" y="85495"/>
                  </a:lnTo>
                  <a:lnTo>
                    <a:pt x="789" y="86261"/>
                  </a:lnTo>
                  <a:lnTo>
                    <a:pt x="789" y="86261"/>
                  </a:lnTo>
                  <a:lnTo>
                    <a:pt x="789" y="87028"/>
                  </a:lnTo>
                  <a:lnTo>
                    <a:pt x="1973" y="87028"/>
                  </a:lnTo>
                  <a:lnTo>
                    <a:pt x="1973" y="88178"/>
                  </a:lnTo>
                  <a:lnTo>
                    <a:pt x="1973" y="88945"/>
                  </a:lnTo>
                  <a:lnTo>
                    <a:pt x="1973" y="89712"/>
                  </a:lnTo>
                  <a:lnTo>
                    <a:pt x="1973" y="89712"/>
                  </a:lnTo>
                  <a:lnTo>
                    <a:pt x="1973" y="90862"/>
                  </a:lnTo>
                  <a:lnTo>
                    <a:pt x="1973" y="90862"/>
                  </a:lnTo>
                  <a:lnTo>
                    <a:pt x="789" y="90862"/>
                  </a:lnTo>
                  <a:lnTo>
                    <a:pt x="789" y="91629"/>
                  </a:lnTo>
                  <a:lnTo>
                    <a:pt x="1973" y="92779"/>
                  </a:lnTo>
                  <a:lnTo>
                    <a:pt x="2763" y="93546"/>
                  </a:lnTo>
                  <a:lnTo>
                    <a:pt x="2763" y="93546"/>
                  </a:lnTo>
                  <a:lnTo>
                    <a:pt x="2763" y="94313"/>
                  </a:lnTo>
                  <a:lnTo>
                    <a:pt x="2763" y="94313"/>
                  </a:lnTo>
                  <a:lnTo>
                    <a:pt x="2763" y="94313"/>
                  </a:lnTo>
                  <a:lnTo>
                    <a:pt x="2763" y="94313"/>
                  </a:lnTo>
                  <a:lnTo>
                    <a:pt x="3552" y="93546"/>
                  </a:lnTo>
                  <a:lnTo>
                    <a:pt x="3552" y="94313"/>
                  </a:lnTo>
                  <a:lnTo>
                    <a:pt x="4736" y="94313"/>
                  </a:lnTo>
                  <a:lnTo>
                    <a:pt x="4736" y="94313"/>
                  </a:lnTo>
                  <a:lnTo>
                    <a:pt x="4736" y="95463"/>
                  </a:lnTo>
                  <a:lnTo>
                    <a:pt x="4736" y="95463"/>
                  </a:lnTo>
                  <a:lnTo>
                    <a:pt x="5526" y="96230"/>
                  </a:lnTo>
                  <a:lnTo>
                    <a:pt x="5526" y="96996"/>
                  </a:lnTo>
                  <a:lnTo>
                    <a:pt x="5526" y="96996"/>
                  </a:lnTo>
                  <a:lnTo>
                    <a:pt x="5526" y="96996"/>
                  </a:lnTo>
                  <a:lnTo>
                    <a:pt x="5526" y="98146"/>
                  </a:lnTo>
                  <a:lnTo>
                    <a:pt x="5526" y="98913"/>
                  </a:lnTo>
                  <a:lnTo>
                    <a:pt x="5526" y="99680"/>
                  </a:lnTo>
                  <a:lnTo>
                    <a:pt x="5526" y="100830"/>
                  </a:lnTo>
                  <a:lnTo>
                    <a:pt x="5526" y="100830"/>
                  </a:lnTo>
                  <a:lnTo>
                    <a:pt x="5526" y="101597"/>
                  </a:lnTo>
                  <a:lnTo>
                    <a:pt x="5526" y="101597"/>
                  </a:lnTo>
                  <a:lnTo>
                    <a:pt x="5526" y="102747"/>
                  </a:lnTo>
                  <a:lnTo>
                    <a:pt x="5526" y="102747"/>
                  </a:lnTo>
                  <a:lnTo>
                    <a:pt x="5526" y="103514"/>
                  </a:lnTo>
                  <a:lnTo>
                    <a:pt x="4736" y="103514"/>
                  </a:lnTo>
                  <a:lnTo>
                    <a:pt x="4736" y="103514"/>
                  </a:lnTo>
                  <a:lnTo>
                    <a:pt x="5526" y="104281"/>
                  </a:lnTo>
                  <a:lnTo>
                    <a:pt x="6710" y="105431"/>
                  </a:lnTo>
                  <a:lnTo>
                    <a:pt x="6710" y="105431"/>
                  </a:lnTo>
                  <a:lnTo>
                    <a:pt x="7500" y="105431"/>
                  </a:lnTo>
                  <a:lnTo>
                    <a:pt x="7500" y="104281"/>
                  </a:lnTo>
                  <a:lnTo>
                    <a:pt x="8289" y="103514"/>
                  </a:lnTo>
                  <a:lnTo>
                    <a:pt x="8289" y="103514"/>
                  </a:lnTo>
                  <a:lnTo>
                    <a:pt x="9473" y="103514"/>
                  </a:lnTo>
                  <a:lnTo>
                    <a:pt x="9473" y="104281"/>
                  </a:lnTo>
                  <a:lnTo>
                    <a:pt x="10263" y="105431"/>
                  </a:lnTo>
                  <a:lnTo>
                    <a:pt x="10263" y="106198"/>
                  </a:lnTo>
                  <a:lnTo>
                    <a:pt x="10263" y="106198"/>
                  </a:lnTo>
                  <a:lnTo>
                    <a:pt x="11052" y="106198"/>
                  </a:lnTo>
                  <a:lnTo>
                    <a:pt x="11052" y="106198"/>
                  </a:lnTo>
                  <a:lnTo>
                    <a:pt x="11052" y="106198"/>
                  </a:lnTo>
                  <a:lnTo>
                    <a:pt x="11052" y="105431"/>
                  </a:lnTo>
                  <a:lnTo>
                    <a:pt x="11052" y="105431"/>
                  </a:lnTo>
                  <a:lnTo>
                    <a:pt x="12236" y="104281"/>
                  </a:lnTo>
                  <a:lnTo>
                    <a:pt x="13026" y="103514"/>
                  </a:lnTo>
                  <a:lnTo>
                    <a:pt x="13026" y="103514"/>
                  </a:lnTo>
                  <a:lnTo>
                    <a:pt x="13815" y="103514"/>
                  </a:lnTo>
                  <a:lnTo>
                    <a:pt x="15000" y="103514"/>
                  </a:lnTo>
                  <a:lnTo>
                    <a:pt x="15789" y="104281"/>
                  </a:lnTo>
                  <a:lnTo>
                    <a:pt x="17763" y="105431"/>
                  </a:lnTo>
                  <a:lnTo>
                    <a:pt x="17763" y="105431"/>
                  </a:lnTo>
                  <a:lnTo>
                    <a:pt x="17763" y="105431"/>
                  </a:lnTo>
                  <a:lnTo>
                    <a:pt x="18552" y="104281"/>
                  </a:lnTo>
                  <a:lnTo>
                    <a:pt x="18552" y="103514"/>
                  </a:lnTo>
                  <a:lnTo>
                    <a:pt x="19736" y="103514"/>
                  </a:lnTo>
                  <a:lnTo>
                    <a:pt x="20526" y="103514"/>
                  </a:lnTo>
                  <a:lnTo>
                    <a:pt x="20526" y="103514"/>
                  </a:lnTo>
                  <a:lnTo>
                    <a:pt x="20526" y="102747"/>
                  </a:lnTo>
                  <a:lnTo>
                    <a:pt x="20526" y="102747"/>
                  </a:lnTo>
                  <a:lnTo>
                    <a:pt x="20526" y="102747"/>
                  </a:lnTo>
                  <a:lnTo>
                    <a:pt x="20526" y="101597"/>
                  </a:lnTo>
                  <a:lnTo>
                    <a:pt x="20526" y="101597"/>
                  </a:lnTo>
                  <a:lnTo>
                    <a:pt x="20526" y="101597"/>
                  </a:lnTo>
                  <a:lnTo>
                    <a:pt x="21315" y="101597"/>
                  </a:lnTo>
                  <a:lnTo>
                    <a:pt x="21315" y="101597"/>
                  </a:lnTo>
                  <a:lnTo>
                    <a:pt x="22500" y="101597"/>
                  </a:lnTo>
                  <a:lnTo>
                    <a:pt x="23289" y="101597"/>
                  </a:lnTo>
                  <a:lnTo>
                    <a:pt x="23289" y="102747"/>
                  </a:lnTo>
                  <a:lnTo>
                    <a:pt x="23289" y="103514"/>
                  </a:lnTo>
                  <a:lnTo>
                    <a:pt x="24078" y="104281"/>
                  </a:lnTo>
                  <a:lnTo>
                    <a:pt x="24078" y="106198"/>
                  </a:lnTo>
                  <a:lnTo>
                    <a:pt x="24078" y="106964"/>
                  </a:lnTo>
                  <a:lnTo>
                    <a:pt x="24078" y="108115"/>
                  </a:lnTo>
                  <a:lnTo>
                    <a:pt x="25263" y="108115"/>
                  </a:lnTo>
                  <a:lnTo>
                    <a:pt x="25263" y="108115"/>
                  </a:lnTo>
                  <a:lnTo>
                    <a:pt x="25263" y="108115"/>
                  </a:lnTo>
                  <a:lnTo>
                    <a:pt x="26052" y="108881"/>
                  </a:lnTo>
                  <a:lnTo>
                    <a:pt x="26052" y="108881"/>
                  </a:lnTo>
                  <a:lnTo>
                    <a:pt x="26052" y="109648"/>
                  </a:lnTo>
                  <a:lnTo>
                    <a:pt x="26842" y="109648"/>
                  </a:lnTo>
                  <a:lnTo>
                    <a:pt x="28026" y="109648"/>
                  </a:lnTo>
                  <a:lnTo>
                    <a:pt x="28026" y="110798"/>
                  </a:lnTo>
                  <a:lnTo>
                    <a:pt x="28026" y="110798"/>
                  </a:lnTo>
                  <a:lnTo>
                    <a:pt x="26842" y="110798"/>
                  </a:lnTo>
                  <a:lnTo>
                    <a:pt x="26842" y="110798"/>
                  </a:lnTo>
                  <a:lnTo>
                    <a:pt x="26842" y="111565"/>
                  </a:lnTo>
                  <a:lnTo>
                    <a:pt x="26052" y="111565"/>
                  </a:lnTo>
                  <a:lnTo>
                    <a:pt x="25263" y="112715"/>
                  </a:lnTo>
                  <a:lnTo>
                    <a:pt x="25263" y="113482"/>
                  </a:lnTo>
                  <a:lnTo>
                    <a:pt x="26052" y="113482"/>
                  </a:lnTo>
                  <a:lnTo>
                    <a:pt x="26052" y="113482"/>
                  </a:lnTo>
                  <a:lnTo>
                    <a:pt x="26052" y="113482"/>
                  </a:lnTo>
                  <a:lnTo>
                    <a:pt x="26842" y="112715"/>
                  </a:lnTo>
                  <a:lnTo>
                    <a:pt x="26842" y="113482"/>
                  </a:lnTo>
                  <a:lnTo>
                    <a:pt x="28026" y="113482"/>
                  </a:lnTo>
                  <a:lnTo>
                    <a:pt x="28026" y="113482"/>
                  </a:lnTo>
                  <a:lnTo>
                    <a:pt x="28026" y="114249"/>
                  </a:lnTo>
                  <a:lnTo>
                    <a:pt x="28026" y="114249"/>
                  </a:lnTo>
                  <a:lnTo>
                    <a:pt x="28026" y="115399"/>
                  </a:lnTo>
                  <a:lnTo>
                    <a:pt x="28026" y="116166"/>
                  </a:lnTo>
                  <a:lnTo>
                    <a:pt x="28026" y="116932"/>
                  </a:lnTo>
                  <a:lnTo>
                    <a:pt x="28815" y="118083"/>
                  </a:lnTo>
                  <a:lnTo>
                    <a:pt x="30789" y="118849"/>
                  </a:lnTo>
                  <a:lnTo>
                    <a:pt x="30789" y="118849"/>
                  </a:lnTo>
                  <a:lnTo>
                    <a:pt x="30789" y="120000"/>
                  </a:lnTo>
                  <a:lnTo>
                    <a:pt x="30789" y="120000"/>
                  </a:lnTo>
                  <a:lnTo>
                    <a:pt x="30789" y="120000"/>
                  </a:lnTo>
                  <a:lnTo>
                    <a:pt x="30789" y="120000"/>
                  </a:lnTo>
                  <a:lnTo>
                    <a:pt x="31578" y="120000"/>
                  </a:lnTo>
                  <a:lnTo>
                    <a:pt x="32763" y="118849"/>
                  </a:lnTo>
                  <a:lnTo>
                    <a:pt x="32763" y="118083"/>
                  </a:lnTo>
                  <a:lnTo>
                    <a:pt x="33552" y="118083"/>
                  </a:lnTo>
                  <a:lnTo>
                    <a:pt x="33552" y="118083"/>
                  </a:lnTo>
                  <a:lnTo>
                    <a:pt x="34342" y="118083"/>
                  </a:lnTo>
                  <a:lnTo>
                    <a:pt x="34342" y="118083"/>
                  </a:lnTo>
                  <a:lnTo>
                    <a:pt x="34342" y="118849"/>
                  </a:lnTo>
                  <a:lnTo>
                    <a:pt x="34342" y="118849"/>
                  </a:lnTo>
                  <a:lnTo>
                    <a:pt x="35526" y="118849"/>
                  </a:lnTo>
                  <a:lnTo>
                    <a:pt x="36315" y="120000"/>
                  </a:lnTo>
                  <a:lnTo>
                    <a:pt x="37105" y="120000"/>
                  </a:lnTo>
                  <a:lnTo>
                    <a:pt x="37105" y="120000"/>
                  </a:lnTo>
                  <a:lnTo>
                    <a:pt x="37105" y="120000"/>
                  </a:lnTo>
                  <a:lnTo>
                    <a:pt x="37105" y="120000"/>
                  </a:lnTo>
                  <a:lnTo>
                    <a:pt x="38289" y="120000"/>
                  </a:lnTo>
                  <a:lnTo>
                    <a:pt x="38289" y="120000"/>
                  </a:lnTo>
                  <a:lnTo>
                    <a:pt x="37105" y="118849"/>
                  </a:lnTo>
                  <a:lnTo>
                    <a:pt x="38289" y="118849"/>
                  </a:lnTo>
                  <a:lnTo>
                    <a:pt x="38289" y="118849"/>
                  </a:lnTo>
                  <a:lnTo>
                    <a:pt x="38289" y="118849"/>
                  </a:lnTo>
                  <a:lnTo>
                    <a:pt x="39078" y="118849"/>
                  </a:lnTo>
                  <a:lnTo>
                    <a:pt x="39078" y="118849"/>
                  </a:lnTo>
                  <a:lnTo>
                    <a:pt x="39868" y="118849"/>
                  </a:lnTo>
                  <a:lnTo>
                    <a:pt x="39868" y="118083"/>
                  </a:lnTo>
                  <a:lnTo>
                    <a:pt x="39868" y="116932"/>
                  </a:lnTo>
                  <a:lnTo>
                    <a:pt x="39868" y="116932"/>
                  </a:lnTo>
                  <a:lnTo>
                    <a:pt x="39868" y="116166"/>
                  </a:lnTo>
                  <a:lnTo>
                    <a:pt x="39868" y="116166"/>
                  </a:lnTo>
                  <a:lnTo>
                    <a:pt x="41052" y="116932"/>
                  </a:lnTo>
                  <a:lnTo>
                    <a:pt x="41052" y="116932"/>
                  </a:lnTo>
                  <a:lnTo>
                    <a:pt x="41842" y="116932"/>
                  </a:lnTo>
                  <a:lnTo>
                    <a:pt x="41842" y="116932"/>
                  </a:lnTo>
                  <a:lnTo>
                    <a:pt x="41842" y="116166"/>
                  </a:lnTo>
                  <a:lnTo>
                    <a:pt x="41842" y="116166"/>
                  </a:lnTo>
                  <a:lnTo>
                    <a:pt x="41842" y="116166"/>
                  </a:lnTo>
                  <a:lnTo>
                    <a:pt x="41842" y="116166"/>
                  </a:lnTo>
                  <a:lnTo>
                    <a:pt x="42631" y="115399"/>
                  </a:lnTo>
                  <a:lnTo>
                    <a:pt x="42631" y="115399"/>
                  </a:lnTo>
                  <a:lnTo>
                    <a:pt x="42631" y="116166"/>
                  </a:lnTo>
                  <a:lnTo>
                    <a:pt x="42631" y="116932"/>
                  </a:lnTo>
                  <a:lnTo>
                    <a:pt x="43815" y="116932"/>
                  </a:lnTo>
                  <a:lnTo>
                    <a:pt x="43815" y="118083"/>
                  </a:lnTo>
                  <a:lnTo>
                    <a:pt x="43815" y="118083"/>
                  </a:lnTo>
                  <a:lnTo>
                    <a:pt x="43815" y="118849"/>
                  </a:lnTo>
                  <a:lnTo>
                    <a:pt x="42631" y="118849"/>
                  </a:lnTo>
                  <a:lnTo>
                    <a:pt x="42631" y="118849"/>
                  </a:lnTo>
                  <a:lnTo>
                    <a:pt x="43815" y="120000"/>
                  </a:lnTo>
                  <a:lnTo>
                    <a:pt x="43815" y="120000"/>
                  </a:lnTo>
                  <a:lnTo>
                    <a:pt x="44605" y="120000"/>
                  </a:lnTo>
                  <a:lnTo>
                    <a:pt x="44605" y="120000"/>
                  </a:lnTo>
                  <a:lnTo>
                    <a:pt x="45789" y="118849"/>
                  </a:lnTo>
                  <a:lnTo>
                    <a:pt x="45789" y="118849"/>
                  </a:lnTo>
                  <a:lnTo>
                    <a:pt x="45789" y="118849"/>
                  </a:lnTo>
                  <a:lnTo>
                    <a:pt x="45789" y="118083"/>
                  </a:lnTo>
                  <a:lnTo>
                    <a:pt x="47368" y="118083"/>
                  </a:lnTo>
                  <a:lnTo>
                    <a:pt x="48552" y="118083"/>
                  </a:lnTo>
                  <a:lnTo>
                    <a:pt x="48552" y="118083"/>
                  </a:lnTo>
                  <a:lnTo>
                    <a:pt x="48552" y="116932"/>
                  </a:lnTo>
                  <a:lnTo>
                    <a:pt x="48552" y="116932"/>
                  </a:lnTo>
                  <a:lnTo>
                    <a:pt x="48552" y="116166"/>
                  </a:lnTo>
                  <a:lnTo>
                    <a:pt x="49342" y="115399"/>
                  </a:lnTo>
                  <a:lnTo>
                    <a:pt x="49342" y="113482"/>
                  </a:lnTo>
                  <a:lnTo>
                    <a:pt x="48552" y="112715"/>
                  </a:lnTo>
                  <a:lnTo>
                    <a:pt x="49342" y="112715"/>
                  </a:lnTo>
                  <a:lnTo>
                    <a:pt x="49342" y="112715"/>
                  </a:lnTo>
                  <a:lnTo>
                    <a:pt x="50131" y="111565"/>
                  </a:lnTo>
                  <a:lnTo>
                    <a:pt x="50131" y="109648"/>
                  </a:lnTo>
                  <a:lnTo>
                    <a:pt x="50131" y="108881"/>
                  </a:lnTo>
                  <a:lnTo>
                    <a:pt x="50131" y="108881"/>
                  </a:lnTo>
                  <a:lnTo>
                    <a:pt x="50131" y="108115"/>
                  </a:lnTo>
                  <a:lnTo>
                    <a:pt x="50131" y="108115"/>
                  </a:lnTo>
                  <a:lnTo>
                    <a:pt x="50131" y="106964"/>
                  </a:lnTo>
                  <a:lnTo>
                    <a:pt x="50131" y="106198"/>
                  </a:lnTo>
                  <a:lnTo>
                    <a:pt x="50131" y="106198"/>
                  </a:lnTo>
                  <a:lnTo>
                    <a:pt x="51315" y="105431"/>
                  </a:lnTo>
                  <a:lnTo>
                    <a:pt x="51315" y="105431"/>
                  </a:lnTo>
                  <a:lnTo>
                    <a:pt x="52894" y="105431"/>
                  </a:lnTo>
                  <a:lnTo>
                    <a:pt x="54078" y="105431"/>
                  </a:lnTo>
                  <a:lnTo>
                    <a:pt x="54868" y="104281"/>
                  </a:lnTo>
                  <a:lnTo>
                    <a:pt x="54868" y="104281"/>
                  </a:lnTo>
                  <a:lnTo>
                    <a:pt x="55657" y="104281"/>
                  </a:lnTo>
                  <a:lnTo>
                    <a:pt x="55657" y="103514"/>
                  </a:lnTo>
                  <a:lnTo>
                    <a:pt x="55657" y="102747"/>
                  </a:lnTo>
                  <a:lnTo>
                    <a:pt x="56842" y="102747"/>
                  </a:lnTo>
                  <a:lnTo>
                    <a:pt x="56842" y="100830"/>
                  </a:lnTo>
                  <a:lnTo>
                    <a:pt x="56842" y="100830"/>
                  </a:lnTo>
                  <a:lnTo>
                    <a:pt x="56842" y="99680"/>
                  </a:lnTo>
                  <a:lnTo>
                    <a:pt x="55657" y="99680"/>
                  </a:lnTo>
                  <a:lnTo>
                    <a:pt x="57631" y="98913"/>
                  </a:lnTo>
                  <a:lnTo>
                    <a:pt x="57631" y="98146"/>
                  </a:lnTo>
                  <a:lnTo>
                    <a:pt x="57631" y="96996"/>
                  </a:lnTo>
                  <a:lnTo>
                    <a:pt x="57631" y="96230"/>
                  </a:lnTo>
                  <a:lnTo>
                    <a:pt x="57631" y="96230"/>
                  </a:lnTo>
                  <a:lnTo>
                    <a:pt x="57631" y="95463"/>
                  </a:lnTo>
                  <a:lnTo>
                    <a:pt x="58815" y="95463"/>
                  </a:lnTo>
                  <a:lnTo>
                    <a:pt x="58815" y="94313"/>
                  </a:lnTo>
                  <a:lnTo>
                    <a:pt x="59605" y="94313"/>
                  </a:lnTo>
                  <a:lnTo>
                    <a:pt x="60394" y="93546"/>
                  </a:lnTo>
                  <a:lnTo>
                    <a:pt x="60394" y="94313"/>
                  </a:lnTo>
                  <a:lnTo>
                    <a:pt x="63157" y="95463"/>
                  </a:lnTo>
                  <a:lnTo>
                    <a:pt x="63157" y="95463"/>
                  </a:lnTo>
                  <a:lnTo>
                    <a:pt x="63157" y="95463"/>
                  </a:lnTo>
                  <a:lnTo>
                    <a:pt x="64342" y="95463"/>
                  </a:lnTo>
                  <a:lnTo>
                    <a:pt x="65131" y="94313"/>
                  </a:lnTo>
                  <a:lnTo>
                    <a:pt x="65131" y="93546"/>
                  </a:lnTo>
                  <a:lnTo>
                    <a:pt x="65131" y="92779"/>
                  </a:lnTo>
                  <a:lnTo>
                    <a:pt x="65131" y="91629"/>
                  </a:lnTo>
                  <a:lnTo>
                    <a:pt x="65921" y="91629"/>
                  </a:lnTo>
                  <a:lnTo>
                    <a:pt x="67105" y="91629"/>
                  </a:lnTo>
                  <a:lnTo>
                    <a:pt x="67105" y="91629"/>
                  </a:lnTo>
                  <a:lnTo>
                    <a:pt x="67894" y="91629"/>
                  </a:lnTo>
                  <a:lnTo>
                    <a:pt x="67894" y="91629"/>
                  </a:lnTo>
                  <a:lnTo>
                    <a:pt x="67894" y="90862"/>
                  </a:lnTo>
                  <a:lnTo>
                    <a:pt x="67894" y="90862"/>
                  </a:lnTo>
                  <a:lnTo>
                    <a:pt x="67894" y="88945"/>
                  </a:lnTo>
                  <a:lnTo>
                    <a:pt x="68684" y="88178"/>
                  </a:lnTo>
                  <a:lnTo>
                    <a:pt x="69868" y="87028"/>
                  </a:lnTo>
                  <a:lnTo>
                    <a:pt x="70657" y="87028"/>
                  </a:lnTo>
                  <a:lnTo>
                    <a:pt x="71842" y="87028"/>
                  </a:lnTo>
                  <a:lnTo>
                    <a:pt x="73421" y="88178"/>
                  </a:lnTo>
                  <a:lnTo>
                    <a:pt x="74605" y="87028"/>
                  </a:lnTo>
                  <a:lnTo>
                    <a:pt x="74605" y="85495"/>
                  </a:lnTo>
                  <a:lnTo>
                    <a:pt x="75394" y="85495"/>
                  </a:lnTo>
                  <a:lnTo>
                    <a:pt x="76184" y="85495"/>
                  </a:lnTo>
                  <a:lnTo>
                    <a:pt x="77368" y="84345"/>
                  </a:lnTo>
                  <a:lnTo>
                    <a:pt x="77368" y="84345"/>
                  </a:lnTo>
                  <a:lnTo>
                    <a:pt x="78157" y="83578"/>
                  </a:lnTo>
                  <a:lnTo>
                    <a:pt x="80131" y="82811"/>
                  </a:lnTo>
                  <a:lnTo>
                    <a:pt x="81710" y="82811"/>
                  </a:lnTo>
                  <a:lnTo>
                    <a:pt x="81710" y="82811"/>
                  </a:lnTo>
                  <a:lnTo>
                    <a:pt x="82894" y="81661"/>
                  </a:lnTo>
                  <a:lnTo>
                    <a:pt x="83684" y="80894"/>
                  </a:lnTo>
                  <a:lnTo>
                    <a:pt x="84473" y="79744"/>
                  </a:lnTo>
                  <a:lnTo>
                    <a:pt x="85657" y="79744"/>
                  </a:lnTo>
                  <a:lnTo>
                    <a:pt x="85657" y="80894"/>
                  </a:lnTo>
                  <a:lnTo>
                    <a:pt x="85657" y="80894"/>
                  </a:lnTo>
                  <a:lnTo>
                    <a:pt x="86447" y="80894"/>
                  </a:lnTo>
                  <a:lnTo>
                    <a:pt x="87631" y="80894"/>
                  </a:lnTo>
                  <a:lnTo>
                    <a:pt x="89210" y="80894"/>
                  </a:lnTo>
                  <a:lnTo>
                    <a:pt x="90394" y="81661"/>
                  </a:lnTo>
                  <a:lnTo>
                    <a:pt x="91184" y="80894"/>
                  </a:lnTo>
                  <a:lnTo>
                    <a:pt x="91184" y="80894"/>
                  </a:lnTo>
                  <a:lnTo>
                    <a:pt x="91973" y="80894"/>
                  </a:lnTo>
                  <a:lnTo>
                    <a:pt x="93947" y="81661"/>
                  </a:lnTo>
                  <a:lnTo>
                    <a:pt x="95921" y="80894"/>
                  </a:lnTo>
                  <a:lnTo>
                    <a:pt x="95921" y="80894"/>
                  </a:lnTo>
                  <a:lnTo>
                    <a:pt x="97500" y="79744"/>
                  </a:lnTo>
                  <a:lnTo>
                    <a:pt x="98684" y="78977"/>
                  </a:lnTo>
                  <a:lnTo>
                    <a:pt x="100657" y="78977"/>
                  </a:lnTo>
                  <a:lnTo>
                    <a:pt x="102236" y="78210"/>
                  </a:lnTo>
                  <a:lnTo>
                    <a:pt x="104210" y="78210"/>
                  </a:lnTo>
                  <a:lnTo>
                    <a:pt x="106973" y="78210"/>
                  </a:lnTo>
                  <a:lnTo>
                    <a:pt x="108947" y="78210"/>
                  </a:lnTo>
                  <a:lnTo>
                    <a:pt x="110526" y="78210"/>
                  </a:lnTo>
                  <a:lnTo>
                    <a:pt x="110526" y="77060"/>
                  </a:lnTo>
                  <a:lnTo>
                    <a:pt x="111710" y="77060"/>
                  </a:lnTo>
                  <a:lnTo>
                    <a:pt x="111710" y="77060"/>
                  </a:lnTo>
                  <a:lnTo>
                    <a:pt x="113684" y="78210"/>
                  </a:lnTo>
                  <a:lnTo>
                    <a:pt x="114473" y="78210"/>
                  </a:lnTo>
                  <a:lnTo>
                    <a:pt x="114473" y="77060"/>
                  </a:lnTo>
                  <a:lnTo>
                    <a:pt x="116447" y="75527"/>
                  </a:lnTo>
                  <a:lnTo>
                    <a:pt x="117236" y="75527"/>
                  </a:lnTo>
                  <a:lnTo>
                    <a:pt x="117236" y="75527"/>
                  </a:lnTo>
                  <a:lnTo>
                    <a:pt x="117236" y="74376"/>
                  </a:lnTo>
                  <a:lnTo>
                    <a:pt x="117236" y="74376"/>
                  </a:lnTo>
                  <a:lnTo>
                    <a:pt x="117236" y="73610"/>
                  </a:lnTo>
                  <a:lnTo>
                    <a:pt x="118026" y="73610"/>
                  </a:lnTo>
                  <a:lnTo>
                    <a:pt x="118026" y="72843"/>
                  </a:lnTo>
                  <a:lnTo>
                    <a:pt x="118026" y="70926"/>
                  </a:lnTo>
                  <a:lnTo>
                    <a:pt x="119210" y="69776"/>
                  </a:lnTo>
                  <a:lnTo>
                    <a:pt x="120000" y="68242"/>
                  </a:lnTo>
                  <a:lnTo>
                    <a:pt x="120000" y="66325"/>
                  </a:lnTo>
                  <a:lnTo>
                    <a:pt x="120000" y="65559"/>
                  </a:lnTo>
                  <a:lnTo>
                    <a:pt x="120000" y="64408"/>
                  </a:lnTo>
                  <a:lnTo>
                    <a:pt x="120000" y="62875"/>
                  </a:lnTo>
                  <a:lnTo>
                    <a:pt x="120000" y="59808"/>
                  </a:lnTo>
                  <a:lnTo>
                    <a:pt x="120000" y="58274"/>
                  </a:lnTo>
                  <a:lnTo>
                    <a:pt x="120000" y="55591"/>
                  </a:lnTo>
                  <a:lnTo>
                    <a:pt x="120000" y="53674"/>
                  </a:lnTo>
                  <a:lnTo>
                    <a:pt x="120000" y="50990"/>
                  </a:lnTo>
                  <a:lnTo>
                    <a:pt x="120000" y="49073"/>
                  </a:lnTo>
                  <a:lnTo>
                    <a:pt x="120000" y="47156"/>
                  </a:lnTo>
                  <a:lnTo>
                    <a:pt x="118026" y="48306"/>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37" name="Shape 437"/>
            <p:cNvSpPr/>
            <p:nvPr/>
          </p:nvSpPr>
          <p:spPr>
            <a:xfrm>
              <a:off x="5510" y="2661"/>
              <a:ext cx="300" cy="0"/>
            </a:xfrm>
            <a:custGeom>
              <a:avLst/>
              <a:gdLst/>
              <a:ahLst/>
              <a:cxnLst/>
              <a:rect l="0" t="0" r="0" b="0"/>
              <a:pathLst>
                <a:path w="120000" h="120000" extrusionOk="0">
                  <a:moveTo>
                    <a:pt x="71061" y="90937"/>
                  </a:moveTo>
                  <a:lnTo>
                    <a:pt x="71061" y="89062"/>
                  </a:lnTo>
                  <a:lnTo>
                    <a:pt x="71061" y="89062"/>
                  </a:lnTo>
                  <a:lnTo>
                    <a:pt x="71061" y="86250"/>
                  </a:lnTo>
                  <a:lnTo>
                    <a:pt x="71061" y="84375"/>
                  </a:lnTo>
                  <a:lnTo>
                    <a:pt x="71061" y="82500"/>
                  </a:lnTo>
                  <a:lnTo>
                    <a:pt x="71061" y="82500"/>
                  </a:lnTo>
                  <a:lnTo>
                    <a:pt x="71061" y="84375"/>
                  </a:lnTo>
                  <a:lnTo>
                    <a:pt x="71061" y="89062"/>
                  </a:lnTo>
                  <a:lnTo>
                    <a:pt x="71061" y="90937"/>
                  </a:lnTo>
                  <a:close/>
                  <a:moveTo>
                    <a:pt x="8715" y="77812"/>
                  </a:moveTo>
                  <a:lnTo>
                    <a:pt x="8715" y="77812"/>
                  </a:lnTo>
                  <a:lnTo>
                    <a:pt x="8044" y="77812"/>
                  </a:lnTo>
                  <a:lnTo>
                    <a:pt x="8044" y="77812"/>
                  </a:lnTo>
                  <a:lnTo>
                    <a:pt x="8044" y="79687"/>
                  </a:lnTo>
                  <a:lnTo>
                    <a:pt x="8715" y="77812"/>
                  </a:lnTo>
                  <a:lnTo>
                    <a:pt x="8715" y="77812"/>
                  </a:lnTo>
                  <a:close/>
                  <a:moveTo>
                    <a:pt x="110614" y="53437"/>
                  </a:moveTo>
                  <a:lnTo>
                    <a:pt x="109944" y="53437"/>
                  </a:lnTo>
                  <a:lnTo>
                    <a:pt x="109944" y="53437"/>
                  </a:lnTo>
                  <a:lnTo>
                    <a:pt x="109944" y="55312"/>
                  </a:lnTo>
                  <a:lnTo>
                    <a:pt x="110614" y="55312"/>
                  </a:lnTo>
                  <a:lnTo>
                    <a:pt x="111284" y="55312"/>
                  </a:lnTo>
                  <a:lnTo>
                    <a:pt x="110614" y="53437"/>
                  </a:lnTo>
                  <a:lnTo>
                    <a:pt x="110614" y="53437"/>
                  </a:lnTo>
                  <a:close/>
                  <a:moveTo>
                    <a:pt x="25474" y="92812"/>
                  </a:moveTo>
                  <a:lnTo>
                    <a:pt x="24469" y="89062"/>
                  </a:lnTo>
                  <a:lnTo>
                    <a:pt x="24469" y="86250"/>
                  </a:lnTo>
                  <a:lnTo>
                    <a:pt x="22122" y="82500"/>
                  </a:lnTo>
                  <a:lnTo>
                    <a:pt x="22122" y="82500"/>
                  </a:lnTo>
                  <a:lnTo>
                    <a:pt x="22122" y="79687"/>
                  </a:lnTo>
                  <a:lnTo>
                    <a:pt x="22122" y="73125"/>
                  </a:lnTo>
                  <a:lnTo>
                    <a:pt x="21452" y="71250"/>
                  </a:lnTo>
                  <a:lnTo>
                    <a:pt x="22122" y="68437"/>
                  </a:lnTo>
                  <a:lnTo>
                    <a:pt x="21452" y="64687"/>
                  </a:lnTo>
                  <a:lnTo>
                    <a:pt x="21452" y="61875"/>
                  </a:lnTo>
                  <a:lnTo>
                    <a:pt x="21452" y="60000"/>
                  </a:lnTo>
                  <a:lnTo>
                    <a:pt x="21452" y="50625"/>
                  </a:lnTo>
                  <a:lnTo>
                    <a:pt x="21452" y="44062"/>
                  </a:lnTo>
                  <a:lnTo>
                    <a:pt x="21452" y="42187"/>
                  </a:lnTo>
                  <a:lnTo>
                    <a:pt x="19776" y="33750"/>
                  </a:lnTo>
                  <a:lnTo>
                    <a:pt x="19106" y="30937"/>
                  </a:lnTo>
                  <a:lnTo>
                    <a:pt x="18100" y="29062"/>
                  </a:lnTo>
                  <a:lnTo>
                    <a:pt x="17430" y="26250"/>
                  </a:lnTo>
                  <a:lnTo>
                    <a:pt x="17430" y="26250"/>
                  </a:lnTo>
                  <a:lnTo>
                    <a:pt x="15754" y="22500"/>
                  </a:lnTo>
                  <a:lnTo>
                    <a:pt x="14413" y="15937"/>
                  </a:lnTo>
                  <a:lnTo>
                    <a:pt x="13407" y="15937"/>
                  </a:lnTo>
                  <a:lnTo>
                    <a:pt x="12737" y="13125"/>
                  </a:lnTo>
                  <a:lnTo>
                    <a:pt x="12737" y="15937"/>
                  </a:lnTo>
                  <a:lnTo>
                    <a:pt x="12737" y="17812"/>
                  </a:lnTo>
                  <a:lnTo>
                    <a:pt x="11731" y="19687"/>
                  </a:lnTo>
                  <a:lnTo>
                    <a:pt x="11731" y="19687"/>
                  </a:lnTo>
                  <a:lnTo>
                    <a:pt x="11061" y="22500"/>
                  </a:lnTo>
                  <a:lnTo>
                    <a:pt x="11061" y="22500"/>
                  </a:lnTo>
                  <a:lnTo>
                    <a:pt x="10391" y="24375"/>
                  </a:lnTo>
                  <a:lnTo>
                    <a:pt x="10391" y="22500"/>
                  </a:lnTo>
                  <a:lnTo>
                    <a:pt x="10391" y="22500"/>
                  </a:lnTo>
                  <a:lnTo>
                    <a:pt x="9385" y="22500"/>
                  </a:lnTo>
                  <a:lnTo>
                    <a:pt x="9385" y="19687"/>
                  </a:lnTo>
                  <a:lnTo>
                    <a:pt x="9385" y="19687"/>
                  </a:lnTo>
                  <a:lnTo>
                    <a:pt x="8715" y="22500"/>
                  </a:lnTo>
                  <a:lnTo>
                    <a:pt x="7039" y="22500"/>
                  </a:lnTo>
                  <a:lnTo>
                    <a:pt x="7039" y="24375"/>
                  </a:lnTo>
                  <a:lnTo>
                    <a:pt x="7039" y="24375"/>
                  </a:lnTo>
                  <a:lnTo>
                    <a:pt x="7039" y="26250"/>
                  </a:lnTo>
                  <a:lnTo>
                    <a:pt x="6368" y="26250"/>
                  </a:lnTo>
                  <a:lnTo>
                    <a:pt x="6368" y="24375"/>
                  </a:lnTo>
                  <a:lnTo>
                    <a:pt x="6368" y="24375"/>
                  </a:lnTo>
                  <a:lnTo>
                    <a:pt x="5698" y="24375"/>
                  </a:lnTo>
                  <a:lnTo>
                    <a:pt x="5698" y="22500"/>
                  </a:lnTo>
                  <a:lnTo>
                    <a:pt x="6368" y="19687"/>
                  </a:lnTo>
                  <a:lnTo>
                    <a:pt x="6368" y="17812"/>
                  </a:lnTo>
                  <a:lnTo>
                    <a:pt x="6368" y="15937"/>
                  </a:lnTo>
                  <a:lnTo>
                    <a:pt x="6368" y="13125"/>
                  </a:lnTo>
                  <a:lnTo>
                    <a:pt x="6368" y="13125"/>
                  </a:lnTo>
                  <a:lnTo>
                    <a:pt x="5698" y="13125"/>
                  </a:lnTo>
                  <a:lnTo>
                    <a:pt x="4692" y="13125"/>
                  </a:lnTo>
                  <a:lnTo>
                    <a:pt x="4692" y="11250"/>
                  </a:lnTo>
                  <a:lnTo>
                    <a:pt x="4692" y="11250"/>
                  </a:lnTo>
                  <a:lnTo>
                    <a:pt x="4022" y="9375"/>
                  </a:lnTo>
                  <a:lnTo>
                    <a:pt x="4022" y="9375"/>
                  </a:lnTo>
                  <a:lnTo>
                    <a:pt x="3351" y="9375"/>
                  </a:lnTo>
                  <a:lnTo>
                    <a:pt x="3351" y="9375"/>
                  </a:lnTo>
                  <a:lnTo>
                    <a:pt x="1675" y="9375"/>
                  </a:lnTo>
                  <a:lnTo>
                    <a:pt x="670" y="4687"/>
                  </a:lnTo>
                  <a:lnTo>
                    <a:pt x="670" y="4687"/>
                  </a:lnTo>
                  <a:lnTo>
                    <a:pt x="670" y="4687"/>
                  </a:lnTo>
                  <a:lnTo>
                    <a:pt x="670" y="6562"/>
                  </a:lnTo>
                  <a:lnTo>
                    <a:pt x="0" y="9375"/>
                  </a:lnTo>
                  <a:lnTo>
                    <a:pt x="0" y="11250"/>
                  </a:lnTo>
                  <a:lnTo>
                    <a:pt x="670" y="13125"/>
                  </a:lnTo>
                  <a:lnTo>
                    <a:pt x="670" y="15937"/>
                  </a:lnTo>
                  <a:lnTo>
                    <a:pt x="1675" y="19687"/>
                  </a:lnTo>
                  <a:lnTo>
                    <a:pt x="2346" y="22500"/>
                  </a:lnTo>
                  <a:lnTo>
                    <a:pt x="1675" y="26250"/>
                  </a:lnTo>
                  <a:lnTo>
                    <a:pt x="3351" y="37500"/>
                  </a:lnTo>
                  <a:lnTo>
                    <a:pt x="4022" y="44062"/>
                  </a:lnTo>
                  <a:lnTo>
                    <a:pt x="4022" y="50625"/>
                  </a:lnTo>
                  <a:lnTo>
                    <a:pt x="4022" y="53437"/>
                  </a:lnTo>
                  <a:lnTo>
                    <a:pt x="4692" y="55312"/>
                  </a:lnTo>
                  <a:lnTo>
                    <a:pt x="4692" y="58125"/>
                  </a:lnTo>
                  <a:lnTo>
                    <a:pt x="4692" y="58125"/>
                  </a:lnTo>
                  <a:lnTo>
                    <a:pt x="4692" y="60000"/>
                  </a:lnTo>
                  <a:lnTo>
                    <a:pt x="4692" y="61875"/>
                  </a:lnTo>
                  <a:lnTo>
                    <a:pt x="5698" y="61875"/>
                  </a:lnTo>
                  <a:lnTo>
                    <a:pt x="6368" y="66562"/>
                  </a:lnTo>
                  <a:lnTo>
                    <a:pt x="7039" y="68437"/>
                  </a:lnTo>
                  <a:lnTo>
                    <a:pt x="8715" y="73125"/>
                  </a:lnTo>
                  <a:lnTo>
                    <a:pt x="8715" y="75000"/>
                  </a:lnTo>
                  <a:lnTo>
                    <a:pt x="8715" y="77812"/>
                  </a:lnTo>
                  <a:lnTo>
                    <a:pt x="8715" y="79687"/>
                  </a:lnTo>
                  <a:lnTo>
                    <a:pt x="8715" y="82500"/>
                  </a:lnTo>
                  <a:lnTo>
                    <a:pt x="9385" y="82500"/>
                  </a:lnTo>
                  <a:lnTo>
                    <a:pt x="9385" y="84375"/>
                  </a:lnTo>
                  <a:lnTo>
                    <a:pt x="11731" y="86250"/>
                  </a:lnTo>
                  <a:lnTo>
                    <a:pt x="11731" y="89062"/>
                  </a:lnTo>
                  <a:lnTo>
                    <a:pt x="14413" y="92812"/>
                  </a:lnTo>
                  <a:lnTo>
                    <a:pt x="16759" y="97500"/>
                  </a:lnTo>
                  <a:lnTo>
                    <a:pt x="17430" y="99375"/>
                  </a:lnTo>
                  <a:lnTo>
                    <a:pt x="19106" y="102187"/>
                  </a:lnTo>
                  <a:lnTo>
                    <a:pt x="21452" y="106875"/>
                  </a:lnTo>
                  <a:lnTo>
                    <a:pt x="22122" y="108750"/>
                  </a:lnTo>
                  <a:lnTo>
                    <a:pt x="22122" y="108750"/>
                  </a:lnTo>
                  <a:lnTo>
                    <a:pt x="22122" y="110625"/>
                  </a:lnTo>
                  <a:lnTo>
                    <a:pt x="22793" y="110625"/>
                  </a:lnTo>
                  <a:lnTo>
                    <a:pt x="23798" y="108750"/>
                  </a:lnTo>
                  <a:lnTo>
                    <a:pt x="24469" y="108750"/>
                  </a:lnTo>
                  <a:lnTo>
                    <a:pt x="25474" y="108750"/>
                  </a:lnTo>
                  <a:lnTo>
                    <a:pt x="25474" y="108750"/>
                  </a:lnTo>
                  <a:lnTo>
                    <a:pt x="25474" y="106875"/>
                  </a:lnTo>
                  <a:lnTo>
                    <a:pt x="25474" y="106875"/>
                  </a:lnTo>
                  <a:lnTo>
                    <a:pt x="25474" y="106875"/>
                  </a:lnTo>
                  <a:lnTo>
                    <a:pt x="26145" y="106875"/>
                  </a:lnTo>
                  <a:lnTo>
                    <a:pt x="26145" y="108750"/>
                  </a:lnTo>
                  <a:lnTo>
                    <a:pt x="26145" y="108750"/>
                  </a:lnTo>
                  <a:lnTo>
                    <a:pt x="26145" y="108750"/>
                  </a:lnTo>
                  <a:lnTo>
                    <a:pt x="26815" y="110625"/>
                  </a:lnTo>
                  <a:lnTo>
                    <a:pt x="26815" y="110625"/>
                  </a:lnTo>
                  <a:lnTo>
                    <a:pt x="27821" y="108750"/>
                  </a:lnTo>
                  <a:lnTo>
                    <a:pt x="27821" y="108750"/>
                  </a:lnTo>
                  <a:lnTo>
                    <a:pt x="26815" y="104062"/>
                  </a:lnTo>
                  <a:lnTo>
                    <a:pt x="25474" y="92812"/>
                  </a:lnTo>
                  <a:close/>
                  <a:moveTo>
                    <a:pt x="119329" y="30937"/>
                  </a:moveTo>
                  <a:lnTo>
                    <a:pt x="119329" y="30937"/>
                  </a:lnTo>
                  <a:lnTo>
                    <a:pt x="119329" y="30937"/>
                  </a:lnTo>
                  <a:lnTo>
                    <a:pt x="118659" y="30937"/>
                  </a:lnTo>
                  <a:lnTo>
                    <a:pt x="117653" y="30937"/>
                  </a:lnTo>
                  <a:lnTo>
                    <a:pt x="117653" y="30937"/>
                  </a:lnTo>
                  <a:lnTo>
                    <a:pt x="116312" y="26250"/>
                  </a:lnTo>
                  <a:lnTo>
                    <a:pt x="115307" y="26250"/>
                  </a:lnTo>
                  <a:lnTo>
                    <a:pt x="115307" y="24375"/>
                  </a:lnTo>
                  <a:lnTo>
                    <a:pt x="114636" y="24375"/>
                  </a:lnTo>
                  <a:lnTo>
                    <a:pt x="114636" y="24375"/>
                  </a:lnTo>
                  <a:lnTo>
                    <a:pt x="113631" y="22500"/>
                  </a:lnTo>
                  <a:lnTo>
                    <a:pt x="113631" y="22500"/>
                  </a:lnTo>
                  <a:lnTo>
                    <a:pt x="112960" y="22500"/>
                  </a:lnTo>
                  <a:lnTo>
                    <a:pt x="112290" y="24375"/>
                  </a:lnTo>
                  <a:lnTo>
                    <a:pt x="112290" y="24375"/>
                  </a:lnTo>
                  <a:lnTo>
                    <a:pt x="111284" y="24375"/>
                  </a:lnTo>
                  <a:lnTo>
                    <a:pt x="111284" y="24375"/>
                  </a:lnTo>
                  <a:lnTo>
                    <a:pt x="111284" y="22500"/>
                  </a:lnTo>
                  <a:lnTo>
                    <a:pt x="112290" y="22500"/>
                  </a:lnTo>
                  <a:lnTo>
                    <a:pt x="112290" y="22500"/>
                  </a:lnTo>
                  <a:lnTo>
                    <a:pt x="112290" y="19687"/>
                  </a:lnTo>
                  <a:lnTo>
                    <a:pt x="111284" y="17812"/>
                  </a:lnTo>
                  <a:lnTo>
                    <a:pt x="110614" y="19687"/>
                  </a:lnTo>
                  <a:lnTo>
                    <a:pt x="110614" y="19687"/>
                  </a:lnTo>
                  <a:lnTo>
                    <a:pt x="108268" y="19687"/>
                  </a:lnTo>
                  <a:lnTo>
                    <a:pt x="108938" y="19687"/>
                  </a:lnTo>
                  <a:lnTo>
                    <a:pt x="108938" y="17812"/>
                  </a:lnTo>
                  <a:lnTo>
                    <a:pt x="108938" y="17812"/>
                  </a:lnTo>
                  <a:lnTo>
                    <a:pt x="108938" y="15937"/>
                  </a:lnTo>
                  <a:lnTo>
                    <a:pt x="109944" y="13125"/>
                  </a:lnTo>
                  <a:lnTo>
                    <a:pt x="109944" y="11250"/>
                  </a:lnTo>
                  <a:lnTo>
                    <a:pt x="108938" y="11250"/>
                  </a:lnTo>
                  <a:lnTo>
                    <a:pt x="108938" y="9375"/>
                  </a:lnTo>
                  <a:lnTo>
                    <a:pt x="108938" y="9375"/>
                  </a:lnTo>
                  <a:lnTo>
                    <a:pt x="108268" y="6562"/>
                  </a:lnTo>
                  <a:lnTo>
                    <a:pt x="107597" y="6562"/>
                  </a:lnTo>
                  <a:lnTo>
                    <a:pt x="106592" y="4687"/>
                  </a:lnTo>
                  <a:lnTo>
                    <a:pt x="106592" y="1875"/>
                  </a:lnTo>
                  <a:lnTo>
                    <a:pt x="106592" y="1875"/>
                  </a:lnTo>
                  <a:lnTo>
                    <a:pt x="106592" y="0"/>
                  </a:lnTo>
                  <a:lnTo>
                    <a:pt x="106592" y="0"/>
                  </a:lnTo>
                  <a:lnTo>
                    <a:pt x="105921" y="0"/>
                  </a:lnTo>
                  <a:lnTo>
                    <a:pt x="105921" y="0"/>
                  </a:lnTo>
                  <a:lnTo>
                    <a:pt x="105251" y="1875"/>
                  </a:lnTo>
                  <a:lnTo>
                    <a:pt x="104245" y="6562"/>
                  </a:lnTo>
                  <a:lnTo>
                    <a:pt x="104245" y="6562"/>
                  </a:lnTo>
                  <a:lnTo>
                    <a:pt x="103575" y="6562"/>
                  </a:lnTo>
                  <a:lnTo>
                    <a:pt x="104245" y="4687"/>
                  </a:lnTo>
                  <a:lnTo>
                    <a:pt x="104245" y="4687"/>
                  </a:lnTo>
                  <a:lnTo>
                    <a:pt x="104245" y="1875"/>
                  </a:lnTo>
                  <a:lnTo>
                    <a:pt x="104245" y="0"/>
                  </a:lnTo>
                  <a:lnTo>
                    <a:pt x="103575" y="0"/>
                  </a:lnTo>
                  <a:lnTo>
                    <a:pt x="103575" y="0"/>
                  </a:lnTo>
                  <a:lnTo>
                    <a:pt x="101899" y="6562"/>
                  </a:lnTo>
                  <a:lnTo>
                    <a:pt x="101899" y="9375"/>
                  </a:lnTo>
                  <a:lnTo>
                    <a:pt x="100223" y="15937"/>
                  </a:lnTo>
                  <a:lnTo>
                    <a:pt x="99553" y="17812"/>
                  </a:lnTo>
                  <a:lnTo>
                    <a:pt x="99553" y="22500"/>
                  </a:lnTo>
                  <a:lnTo>
                    <a:pt x="98882" y="24375"/>
                  </a:lnTo>
                  <a:lnTo>
                    <a:pt x="98882" y="26250"/>
                  </a:lnTo>
                  <a:lnTo>
                    <a:pt x="97877" y="29062"/>
                  </a:lnTo>
                  <a:lnTo>
                    <a:pt x="97877" y="29062"/>
                  </a:lnTo>
                  <a:lnTo>
                    <a:pt x="97206" y="29062"/>
                  </a:lnTo>
                  <a:lnTo>
                    <a:pt x="97206" y="26250"/>
                  </a:lnTo>
                  <a:lnTo>
                    <a:pt x="97206" y="26250"/>
                  </a:lnTo>
                  <a:lnTo>
                    <a:pt x="96536" y="26250"/>
                  </a:lnTo>
                  <a:lnTo>
                    <a:pt x="95530" y="30937"/>
                  </a:lnTo>
                  <a:lnTo>
                    <a:pt x="95530" y="30937"/>
                  </a:lnTo>
                  <a:lnTo>
                    <a:pt x="96536" y="33750"/>
                  </a:lnTo>
                  <a:lnTo>
                    <a:pt x="97206" y="35625"/>
                  </a:lnTo>
                  <a:lnTo>
                    <a:pt x="96536" y="37500"/>
                  </a:lnTo>
                  <a:lnTo>
                    <a:pt x="96536" y="37500"/>
                  </a:lnTo>
                  <a:lnTo>
                    <a:pt x="95530" y="40312"/>
                  </a:lnTo>
                  <a:lnTo>
                    <a:pt x="95530" y="40312"/>
                  </a:lnTo>
                  <a:lnTo>
                    <a:pt x="94189" y="40312"/>
                  </a:lnTo>
                  <a:lnTo>
                    <a:pt x="94189" y="42187"/>
                  </a:lnTo>
                  <a:lnTo>
                    <a:pt x="94860" y="44062"/>
                  </a:lnTo>
                  <a:lnTo>
                    <a:pt x="94860" y="46875"/>
                  </a:lnTo>
                  <a:lnTo>
                    <a:pt x="94860" y="48750"/>
                  </a:lnTo>
                  <a:lnTo>
                    <a:pt x="95530" y="50625"/>
                  </a:lnTo>
                  <a:lnTo>
                    <a:pt x="95530" y="50625"/>
                  </a:lnTo>
                  <a:lnTo>
                    <a:pt x="95530" y="50625"/>
                  </a:lnTo>
                  <a:lnTo>
                    <a:pt x="94860" y="50625"/>
                  </a:lnTo>
                  <a:lnTo>
                    <a:pt x="94860" y="50625"/>
                  </a:lnTo>
                  <a:lnTo>
                    <a:pt x="94189" y="50625"/>
                  </a:lnTo>
                  <a:lnTo>
                    <a:pt x="94189" y="46875"/>
                  </a:lnTo>
                  <a:lnTo>
                    <a:pt x="93184" y="44062"/>
                  </a:lnTo>
                  <a:lnTo>
                    <a:pt x="93184" y="42187"/>
                  </a:lnTo>
                  <a:lnTo>
                    <a:pt x="93184" y="40312"/>
                  </a:lnTo>
                  <a:lnTo>
                    <a:pt x="93184" y="42187"/>
                  </a:lnTo>
                  <a:lnTo>
                    <a:pt x="92513" y="42187"/>
                  </a:lnTo>
                  <a:lnTo>
                    <a:pt x="91508" y="44062"/>
                  </a:lnTo>
                  <a:lnTo>
                    <a:pt x="91508" y="44062"/>
                  </a:lnTo>
                  <a:lnTo>
                    <a:pt x="91508" y="44062"/>
                  </a:lnTo>
                  <a:lnTo>
                    <a:pt x="91508" y="46875"/>
                  </a:lnTo>
                  <a:lnTo>
                    <a:pt x="92513" y="48750"/>
                  </a:lnTo>
                  <a:lnTo>
                    <a:pt x="92513" y="48750"/>
                  </a:lnTo>
                  <a:lnTo>
                    <a:pt x="92513" y="50625"/>
                  </a:lnTo>
                  <a:lnTo>
                    <a:pt x="92513" y="50625"/>
                  </a:lnTo>
                  <a:lnTo>
                    <a:pt x="92513" y="53437"/>
                  </a:lnTo>
                  <a:lnTo>
                    <a:pt x="92513" y="53437"/>
                  </a:lnTo>
                  <a:lnTo>
                    <a:pt x="92513" y="55312"/>
                  </a:lnTo>
                  <a:lnTo>
                    <a:pt x="91508" y="55312"/>
                  </a:lnTo>
                  <a:lnTo>
                    <a:pt x="91508" y="58125"/>
                  </a:lnTo>
                  <a:lnTo>
                    <a:pt x="90837" y="58125"/>
                  </a:lnTo>
                  <a:lnTo>
                    <a:pt x="90837" y="58125"/>
                  </a:lnTo>
                  <a:lnTo>
                    <a:pt x="90837" y="55312"/>
                  </a:lnTo>
                  <a:lnTo>
                    <a:pt x="90167" y="53437"/>
                  </a:lnTo>
                  <a:lnTo>
                    <a:pt x="90167" y="53437"/>
                  </a:lnTo>
                  <a:lnTo>
                    <a:pt x="89162" y="53437"/>
                  </a:lnTo>
                  <a:lnTo>
                    <a:pt x="89162" y="53437"/>
                  </a:lnTo>
                  <a:lnTo>
                    <a:pt x="89162" y="50625"/>
                  </a:lnTo>
                  <a:lnTo>
                    <a:pt x="88491" y="50625"/>
                  </a:lnTo>
                  <a:lnTo>
                    <a:pt x="88491" y="48750"/>
                  </a:lnTo>
                  <a:lnTo>
                    <a:pt x="88491" y="48750"/>
                  </a:lnTo>
                  <a:lnTo>
                    <a:pt x="87821" y="46875"/>
                  </a:lnTo>
                  <a:lnTo>
                    <a:pt x="87821" y="46875"/>
                  </a:lnTo>
                  <a:lnTo>
                    <a:pt x="87821" y="46875"/>
                  </a:lnTo>
                  <a:lnTo>
                    <a:pt x="86815" y="46875"/>
                  </a:lnTo>
                  <a:lnTo>
                    <a:pt x="86815" y="46875"/>
                  </a:lnTo>
                  <a:lnTo>
                    <a:pt x="86815" y="48750"/>
                  </a:lnTo>
                  <a:lnTo>
                    <a:pt x="86815" y="50625"/>
                  </a:lnTo>
                  <a:lnTo>
                    <a:pt x="86815" y="53437"/>
                  </a:lnTo>
                  <a:lnTo>
                    <a:pt x="86815" y="53437"/>
                  </a:lnTo>
                  <a:lnTo>
                    <a:pt x="85474" y="58125"/>
                  </a:lnTo>
                  <a:lnTo>
                    <a:pt x="83798" y="64687"/>
                  </a:lnTo>
                  <a:lnTo>
                    <a:pt x="83128" y="66562"/>
                  </a:lnTo>
                  <a:lnTo>
                    <a:pt x="82122" y="71250"/>
                  </a:lnTo>
                  <a:lnTo>
                    <a:pt x="81452" y="73125"/>
                  </a:lnTo>
                  <a:lnTo>
                    <a:pt x="81452" y="75000"/>
                  </a:lnTo>
                  <a:lnTo>
                    <a:pt x="80446" y="75000"/>
                  </a:lnTo>
                  <a:lnTo>
                    <a:pt x="79776" y="77812"/>
                  </a:lnTo>
                  <a:lnTo>
                    <a:pt x="75754" y="79687"/>
                  </a:lnTo>
                  <a:lnTo>
                    <a:pt x="73407" y="82500"/>
                  </a:lnTo>
                  <a:lnTo>
                    <a:pt x="72737" y="82500"/>
                  </a:lnTo>
                  <a:lnTo>
                    <a:pt x="72067" y="84375"/>
                  </a:lnTo>
                  <a:lnTo>
                    <a:pt x="72067" y="86250"/>
                  </a:lnTo>
                  <a:lnTo>
                    <a:pt x="72067" y="89062"/>
                  </a:lnTo>
                  <a:lnTo>
                    <a:pt x="72067" y="89062"/>
                  </a:lnTo>
                  <a:lnTo>
                    <a:pt x="72067" y="90937"/>
                  </a:lnTo>
                  <a:lnTo>
                    <a:pt x="72067" y="90937"/>
                  </a:lnTo>
                  <a:lnTo>
                    <a:pt x="71061" y="90937"/>
                  </a:lnTo>
                  <a:lnTo>
                    <a:pt x="71061" y="90937"/>
                  </a:lnTo>
                  <a:lnTo>
                    <a:pt x="70391" y="89062"/>
                  </a:lnTo>
                  <a:lnTo>
                    <a:pt x="70391" y="90937"/>
                  </a:lnTo>
                  <a:lnTo>
                    <a:pt x="70391" y="92812"/>
                  </a:lnTo>
                  <a:lnTo>
                    <a:pt x="70391" y="92812"/>
                  </a:lnTo>
                  <a:lnTo>
                    <a:pt x="70391" y="95625"/>
                  </a:lnTo>
                  <a:lnTo>
                    <a:pt x="70391" y="97500"/>
                  </a:lnTo>
                  <a:lnTo>
                    <a:pt x="70391" y="97500"/>
                  </a:lnTo>
                  <a:lnTo>
                    <a:pt x="70391" y="99375"/>
                  </a:lnTo>
                  <a:lnTo>
                    <a:pt x="70391" y="104062"/>
                  </a:lnTo>
                  <a:lnTo>
                    <a:pt x="69385" y="104062"/>
                  </a:lnTo>
                  <a:lnTo>
                    <a:pt x="69385" y="104062"/>
                  </a:lnTo>
                  <a:lnTo>
                    <a:pt x="69385" y="106875"/>
                  </a:lnTo>
                  <a:lnTo>
                    <a:pt x="69385" y="108750"/>
                  </a:lnTo>
                  <a:lnTo>
                    <a:pt x="69385" y="108750"/>
                  </a:lnTo>
                  <a:lnTo>
                    <a:pt x="70391" y="110625"/>
                  </a:lnTo>
                  <a:lnTo>
                    <a:pt x="70391" y="110625"/>
                  </a:lnTo>
                  <a:lnTo>
                    <a:pt x="69385" y="110625"/>
                  </a:lnTo>
                  <a:lnTo>
                    <a:pt x="68715" y="106875"/>
                  </a:lnTo>
                  <a:lnTo>
                    <a:pt x="68715" y="106875"/>
                  </a:lnTo>
                  <a:lnTo>
                    <a:pt x="68044" y="106875"/>
                  </a:lnTo>
                  <a:lnTo>
                    <a:pt x="67039" y="106875"/>
                  </a:lnTo>
                  <a:lnTo>
                    <a:pt x="65698" y="104062"/>
                  </a:lnTo>
                  <a:lnTo>
                    <a:pt x="64692" y="104062"/>
                  </a:lnTo>
                  <a:lnTo>
                    <a:pt x="64692" y="104062"/>
                  </a:lnTo>
                  <a:lnTo>
                    <a:pt x="64692" y="104062"/>
                  </a:lnTo>
                  <a:lnTo>
                    <a:pt x="63351" y="104062"/>
                  </a:lnTo>
                  <a:lnTo>
                    <a:pt x="62346" y="104062"/>
                  </a:lnTo>
                  <a:lnTo>
                    <a:pt x="61675" y="102187"/>
                  </a:lnTo>
                  <a:lnTo>
                    <a:pt x="61005" y="99375"/>
                  </a:lnTo>
                  <a:lnTo>
                    <a:pt x="61005" y="99375"/>
                  </a:lnTo>
                  <a:lnTo>
                    <a:pt x="61005" y="97500"/>
                  </a:lnTo>
                  <a:lnTo>
                    <a:pt x="60000" y="99375"/>
                  </a:lnTo>
                  <a:lnTo>
                    <a:pt x="60000" y="102187"/>
                  </a:lnTo>
                  <a:lnTo>
                    <a:pt x="60000" y="102187"/>
                  </a:lnTo>
                  <a:lnTo>
                    <a:pt x="61005" y="102187"/>
                  </a:lnTo>
                  <a:lnTo>
                    <a:pt x="61005" y="106875"/>
                  </a:lnTo>
                  <a:lnTo>
                    <a:pt x="61675" y="106875"/>
                  </a:lnTo>
                  <a:lnTo>
                    <a:pt x="61675" y="108750"/>
                  </a:lnTo>
                  <a:lnTo>
                    <a:pt x="62346" y="110625"/>
                  </a:lnTo>
                  <a:lnTo>
                    <a:pt x="62346" y="110625"/>
                  </a:lnTo>
                  <a:lnTo>
                    <a:pt x="63351" y="113437"/>
                  </a:lnTo>
                  <a:lnTo>
                    <a:pt x="63351" y="113437"/>
                  </a:lnTo>
                  <a:lnTo>
                    <a:pt x="64022" y="113437"/>
                  </a:lnTo>
                  <a:lnTo>
                    <a:pt x="64692" y="117187"/>
                  </a:lnTo>
                  <a:lnTo>
                    <a:pt x="65698" y="120000"/>
                  </a:lnTo>
                  <a:lnTo>
                    <a:pt x="65698" y="120000"/>
                  </a:lnTo>
                  <a:lnTo>
                    <a:pt x="66368" y="120000"/>
                  </a:lnTo>
                  <a:lnTo>
                    <a:pt x="67039" y="120000"/>
                  </a:lnTo>
                  <a:lnTo>
                    <a:pt x="68715" y="117187"/>
                  </a:lnTo>
                  <a:lnTo>
                    <a:pt x="69385" y="117187"/>
                  </a:lnTo>
                  <a:lnTo>
                    <a:pt x="69385" y="117187"/>
                  </a:lnTo>
                  <a:lnTo>
                    <a:pt x="71061" y="117187"/>
                  </a:lnTo>
                  <a:lnTo>
                    <a:pt x="72067" y="117187"/>
                  </a:lnTo>
                  <a:lnTo>
                    <a:pt x="72737" y="117187"/>
                  </a:lnTo>
                  <a:lnTo>
                    <a:pt x="72737" y="117187"/>
                  </a:lnTo>
                  <a:lnTo>
                    <a:pt x="73407" y="117187"/>
                  </a:lnTo>
                  <a:lnTo>
                    <a:pt x="74413" y="117187"/>
                  </a:lnTo>
                  <a:lnTo>
                    <a:pt x="74413" y="117187"/>
                  </a:lnTo>
                  <a:lnTo>
                    <a:pt x="75083" y="115312"/>
                  </a:lnTo>
                  <a:lnTo>
                    <a:pt x="75754" y="115312"/>
                  </a:lnTo>
                  <a:lnTo>
                    <a:pt x="75754" y="113437"/>
                  </a:lnTo>
                  <a:lnTo>
                    <a:pt x="76759" y="110625"/>
                  </a:lnTo>
                  <a:lnTo>
                    <a:pt x="76759" y="108750"/>
                  </a:lnTo>
                  <a:lnTo>
                    <a:pt x="76759" y="108750"/>
                  </a:lnTo>
                  <a:lnTo>
                    <a:pt x="77430" y="108750"/>
                  </a:lnTo>
                  <a:lnTo>
                    <a:pt x="78100" y="106875"/>
                  </a:lnTo>
                  <a:lnTo>
                    <a:pt x="81452" y="106875"/>
                  </a:lnTo>
                  <a:lnTo>
                    <a:pt x="81452" y="106875"/>
                  </a:lnTo>
                  <a:lnTo>
                    <a:pt x="81452" y="108750"/>
                  </a:lnTo>
                  <a:lnTo>
                    <a:pt x="81452" y="108750"/>
                  </a:lnTo>
                  <a:lnTo>
                    <a:pt x="81452" y="108750"/>
                  </a:lnTo>
                  <a:lnTo>
                    <a:pt x="82122" y="108750"/>
                  </a:lnTo>
                  <a:lnTo>
                    <a:pt x="82122" y="108750"/>
                  </a:lnTo>
                  <a:lnTo>
                    <a:pt x="83798" y="110625"/>
                  </a:lnTo>
                  <a:lnTo>
                    <a:pt x="84469" y="110625"/>
                  </a:lnTo>
                  <a:lnTo>
                    <a:pt x="84469" y="110625"/>
                  </a:lnTo>
                  <a:lnTo>
                    <a:pt x="85474" y="113437"/>
                  </a:lnTo>
                  <a:lnTo>
                    <a:pt x="86145" y="113437"/>
                  </a:lnTo>
                  <a:lnTo>
                    <a:pt x="86145" y="110625"/>
                  </a:lnTo>
                  <a:lnTo>
                    <a:pt x="86815" y="110625"/>
                  </a:lnTo>
                  <a:lnTo>
                    <a:pt x="86815" y="108750"/>
                  </a:lnTo>
                  <a:lnTo>
                    <a:pt x="87821" y="108750"/>
                  </a:lnTo>
                  <a:lnTo>
                    <a:pt x="88491" y="108750"/>
                  </a:lnTo>
                  <a:lnTo>
                    <a:pt x="89162" y="108750"/>
                  </a:lnTo>
                  <a:lnTo>
                    <a:pt x="90167" y="108750"/>
                  </a:lnTo>
                  <a:lnTo>
                    <a:pt x="90837" y="108750"/>
                  </a:lnTo>
                  <a:lnTo>
                    <a:pt x="90837" y="108750"/>
                  </a:lnTo>
                  <a:lnTo>
                    <a:pt x="91508" y="108750"/>
                  </a:lnTo>
                  <a:lnTo>
                    <a:pt x="91508" y="106875"/>
                  </a:lnTo>
                  <a:lnTo>
                    <a:pt x="91508" y="104062"/>
                  </a:lnTo>
                  <a:lnTo>
                    <a:pt x="92513" y="102187"/>
                  </a:lnTo>
                  <a:lnTo>
                    <a:pt x="92513" y="102187"/>
                  </a:lnTo>
                  <a:lnTo>
                    <a:pt x="92513" y="99375"/>
                  </a:lnTo>
                  <a:lnTo>
                    <a:pt x="92513" y="99375"/>
                  </a:lnTo>
                  <a:lnTo>
                    <a:pt x="92513" y="99375"/>
                  </a:lnTo>
                  <a:lnTo>
                    <a:pt x="93184" y="97500"/>
                  </a:lnTo>
                  <a:lnTo>
                    <a:pt x="92513" y="97500"/>
                  </a:lnTo>
                  <a:lnTo>
                    <a:pt x="92513" y="97500"/>
                  </a:lnTo>
                  <a:lnTo>
                    <a:pt x="92513" y="95625"/>
                  </a:lnTo>
                  <a:lnTo>
                    <a:pt x="92513" y="92812"/>
                  </a:lnTo>
                  <a:lnTo>
                    <a:pt x="92513" y="92812"/>
                  </a:lnTo>
                  <a:lnTo>
                    <a:pt x="93184" y="92812"/>
                  </a:lnTo>
                  <a:lnTo>
                    <a:pt x="94189" y="90937"/>
                  </a:lnTo>
                  <a:lnTo>
                    <a:pt x="94860" y="89062"/>
                  </a:lnTo>
                  <a:lnTo>
                    <a:pt x="94860" y="89062"/>
                  </a:lnTo>
                  <a:lnTo>
                    <a:pt x="94860" y="89062"/>
                  </a:lnTo>
                  <a:lnTo>
                    <a:pt x="94860" y="86250"/>
                  </a:lnTo>
                  <a:lnTo>
                    <a:pt x="94860" y="86250"/>
                  </a:lnTo>
                  <a:lnTo>
                    <a:pt x="94189" y="86250"/>
                  </a:lnTo>
                  <a:lnTo>
                    <a:pt x="94189" y="84375"/>
                  </a:lnTo>
                  <a:lnTo>
                    <a:pt x="94189" y="84375"/>
                  </a:lnTo>
                  <a:lnTo>
                    <a:pt x="94860" y="82500"/>
                  </a:lnTo>
                  <a:lnTo>
                    <a:pt x="94189" y="82500"/>
                  </a:lnTo>
                  <a:lnTo>
                    <a:pt x="94189" y="82500"/>
                  </a:lnTo>
                  <a:lnTo>
                    <a:pt x="94860" y="79687"/>
                  </a:lnTo>
                  <a:lnTo>
                    <a:pt x="94860" y="77812"/>
                  </a:lnTo>
                  <a:lnTo>
                    <a:pt x="95530" y="77812"/>
                  </a:lnTo>
                  <a:lnTo>
                    <a:pt x="95530" y="77812"/>
                  </a:lnTo>
                  <a:lnTo>
                    <a:pt x="96536" y="77812"/>
                  </a:lnTo>
                  <a:lnTo>
                    <a:pt x="96536" y="77812"/>
                  </a:lnTo>
                  <a:lnTo>
                    <a:pt x="97206" y="75000"/>
                  </a:lnTo>
                  <a:lnTo>
                    <a:pt x="97206" y="75000"/>
                  </a:lnTo>
                  <a:lnTo>
                    <a:pt x="97206" y="73125"/>
                  </a:lnTo>
                  <a:lnTo>
                    <a:pt x="97206" y="71250"/>
                  </a:lnTo>
                  <a:lnTo>
                    <a:pt x="97206" y="71250"/>
                  </a:lnTo>
                  <a:lnTo>
                    <a:pt x="97206" y="68437"/>
                  </a:lnTo>
                  <a:lnTo>
                    <a:pt x="97206" y="68437"/>
                  </a:lnTo>
                  <a:lnTo>
                    <a:pt x="97206" y="66562"/>
                  </a:lnTo>
                  <a:lnTo>
                    <a:pt x="97206" y="64687"/>
                  </a:lnTo>
                  <a:lnTo>
                    <a:pt x="97206" y="60000"/>
                  </a:lnTo>
                  <a:lnTo>
                    <a:pt x="97206" y="60000"/>
                  </a:lnTo>
                  <a:lnTo>
                    <a:pt x="97206" y="58125"/>
                  </a:lnTo>
                  <a:lnTo>
                    <a:pt x="97877" y="55312"/>
                  </a:lnTo>
                  <a:lnTo>
                    <a:pt x="97877" y="53437"/>
                  </a:lnTo>
                  <a:lnTo>
                    <a:pt x="98882" y="50625"/>
                  </a:lnTo>
                  <a:lnTo>
                    <a:pt x="98882" y="50625"/>
                  </a:lnTo>
                  <a:lnTo>
                    <a:pt x="98882" y="50625"/>
                  </a:lnTo>
                  <a:lnTo>
                    <a:pt x="99553" y="53437"/>
                  </a:lnTo>
                  <a:lnTo>
                    <a:pt x="100223" y="50625"/>
                  </a:lnTo>
                  <a:lnTo>
                    <a:pt x="101229" y="50625"/>
                  </a:lnTo>
                  <a:lnTo>
                    <a:pt x="101899" y="50625"/>
                  </a:lnTo>
                  <a:lnTo>
                    <a:pt x="101899" y="50625"/>
                  </a:lnTo>
                  <a:lnTo>
                    <a:pt x="101899" y="53437"/>
                  </a:lnTo>
                  <a:lnTo>
                    <a:pt x="102569" y="50625"/>
                  </a:lnTo>
                  <a:lnTo>
                    <a:pt x="103575" y="50625"/>
                  </a:lnTo>
                  <a:lnTo>
                    <a:pt x="103575" y="50625"/>
                  </a:lnTo>
                  <a:lnTo>
                    <a:pt x="103575" y="50625"/>
                  </a:lnTo>
                  <a:lnTo>
                    <a:pt x="104245" y="50625"/>
                  </a:lnTo>
                  <a:lnTo>
                    <a:pt x="105251" y="50625"/>
                  </a:lnTo>
                  <a:lnTo>
                    <a:pt x="106592" y="50625"/>
                  </a:lnTo>
                  <a:lnTo>
                    <a:pt x="107597" y="53437"/>
                  </a:lnTo>
                  <a:lnTo>
                    <a:pt x="108938" y="55312"/>
                  </a:lnTo>
                  <a:lnTo>
                    <a:pt x="108938" y="55312"/>
                  </a:lnTo>
                  <a:lnTo>
                    <a:pt x="109944" y="55312"/>
                  </a:lnTo>
                  <a:lnTo>
                    <a:pt x="109944" y="55312"/>
                  </a:lnTo>
                  <a:lnTo>
                    <a:pt x="109944" y="53437"/>
                  </a:lnTo>
                  <a:lnTo>
                    <a:pt x="110614" y="50625"/>
                  </a:lnTo>
                  <a:lnTo>
                    <a:pt x="110614" y="50625"/>
                  </a:lnTo>
                  <a:lnTo>
                    <a:pt x="111284" y="53437"/>
                  </a:lnTo>
                  <a:lnTo>
                    <a:pt x="112290" y="53437"/>
                  </a:lnTo>
                  <a:lnTo>
                    <a:pt x="112960" y="53437"/>
                  </a:lnTo>
                  <a:lnTo>
                    <a:pt x="113631" y="50625"/>
                  </a:lnTo>
                  <a:lnTo>
                    <a:pt x="114636" y="50625"/>
                  </a:lnTo>
                  <a:lnTo>
                    <a:pt x="115307" y="50625"/>
                  </a:lnTo>
                  <a:lnTo>
                    <a:pt x="115307" y="50625"/>
                  </a:lnTo>
                  <a:lnTo>
                    <a:pt x="116312" y="50625"/>
                  </a:lnTo>
                  <a:lnTo>
                    <a:pt x="116312" y="48750"/>
                  </a:lnTo>
                  <a:lnTo>
                    <a:pt x="115307" y="48750"/>
                  </a:lnTo>
                  <a:lnTo>
                    <a:pt x="113631" y="44062"/>
                  </a:lnTo>
                  <a:lnTo>
                    <a:pt x="112960" y="42187"/>
                  </a:lnTo>
                  <a:lnTo>
                    <a:pt x="113631" y="37500"/>
                  </a:lnTo>
                  <a:lnTo>
                    <a:pt x="113631" y="37500"/>
                  </a:lnTo>
                  <a:lnTo>
                    <a:pt x="114636" y="37500"/>
                  </a:lnTo>
                  <a:lnTo>
                    <a:pt x="115307" y="40312"/>
                  </a:lnTo>
                  <a:lnTo>
                    <a:pt x="116312" y="40312"/>
                  </a:lnTo>
                  <a:lnTo>
                    <a:pt x="117653" y="37500"/>
                  </a:lnTo>
                  <a:lnTo>
                    <a:pt x="119329" y="35625"/>
                  </a:lnTo>
                  <a:lnTo>
                    <a:pt x="119329" y="35625"/>
                  </a:lnTo>
                  <a:lnTo>
                    <a:pt x="119329" y="35625"/>
                  </a:lnTo>
                  <a:lnTo>
                    <a:pt x="120000" y="33750"/>
                  </a:lnTo>
                  <a:lnTo>
                    <a:pt x="120000" y="33750"/>
                  </a:lnTo>
                  <a:lnTo>
                    <a:pt x="119329" y="30937"/>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38" name="Shape 438"/>
            <p:cNvSpPr/>
            <p:nvPr/>
          </p:nvSpPr>
          <p:spPr>
            <a:xfrm>
              <a:off x="4256" y="3005"/>
              <a:ext cx="0" cy="300"/>
            </a:xfrm>
            <a:custGeom>
              <a:avLst/>
              <a:gdLst/>
              <a:ahLst/>
              <a:cxnLst/>
              <a:rect l="0" t="0" r="0" b="0"/>
              <a:pathLst>
                <a:path w="120000" h="120000" extrusionOk="0">
                  <a:moveTo>
                    <a:pt x="77288" y="40490"/>
                  </a:moveTo>
                  <a:lnTo>
                    <a:pt x="77288" y="41963"/>
                  </a:lnTo>
                  <a:lnTo>
                    <a:pt x="77288" y="41963"/>
                  </a:lnTo>
                  <a:lnTo>
                    <a:pt x="77288" y="41963"/>
                  </a:lnTo>
                  <a:lnTo>
                    <a:pt x="81355" y="41963"/>
                  </a:lnTo>
                  <a:lnTo>
                    <a:pt x="81355" y="41963"/>
                  </a:lnTo>
                  <a:lnTo>
                    <a:pt x="81355" y="41963"/>
                  </a:lnTo>
                  <a:lnTo>
                    <a:pt x="81355" y="40490"/>
                  </a:lnTo>
                  <a:lnTo>
                    <a:pt x="81355" y="40490"/>
                  </a:lnTo>
                  <a:lnTo>
                    <a:pt x="81355" y="40490"/>
                  </a:lnTo>
                  <a:lnTo>
                    <a:pt x="77288" y="40490"/>
                  </a:lnTo>
                  <a:close/>
                  <a:moveTo>
                    <a:pt x="77288" y="40490"/>
                  </a:moveTo>
                  <a:lnTo>
                    <a:pt x="73220" y="40490"/>
                  </a:lnTo>
                  <a:lnTo>
                    <a:pt x="73220" y="40490"/>
                  </a:lnTo>
                  <a:lnTo>
                    <a:pt x="77288" y="41963"/>
                  </a:lnTo>
                  <a:lnTo>
                    <a:pt x="77288" y="41963"/>
                  </a:lnTo>
                  <a:lnTo>
                    <a:pt x="77288" y="40490"/>
                  </a:lnTo>
                  <a:lnTo>
                    <a:pt x="77288" y="40490"/>
                  </a:lnTo>
                  <a:lnTo>
                    <a:pt x="77288" y="40490"/>
                  </a:lnTo>
                  <a:close/>
                  <a:moveTo>
                    <a:pt x="120000" y="85398"/>
                  </a:moveTo>
                  <a:lnTo>
                    <a:pt x="120000" y="85398"/>
                  </a:lnTo>
                  <a:lnTo>
                    <a:pt x="120000" y="81717"/>
                  </a:lnTo>
                  <a:lnTo>
                    <a:pt x="115932" y="78773"/>
                  </a:lnTo>
                  <a:lnTo>
                    <a:pt x="105762" y="75092"/>
                  </a:lnTo>
                  <a:lnTo>
                    <a:pt x="101694" y="73619"/>
                  </a:lnTo>
                  <a:lnTo>
                    <a:pt x="95593" y="69938"/>
                  </a:lnTo>
                  <a:lnTo>
                    <a:pt x="91525" y="66257"/>
                  </a:lnTo>
                  <a:lnTo>
                    <a:pt x="87457" y="64785"/>
                  </a:lnTo>
                  <a:lnTo>
                    <a:pt x="81355" y="64785"/>
                  </a:lnTo>
                  <a:lnTo>
                    <a:pt x="77288" y="62576"/>
                  </a:lnTo>
                  <a:lnTo>
                    <a:pt x="73220" y="62576"/>
                  </a:lnTo>
                  <a:lnTo>
                    <a:pt x="73220" y="61104"/>
                  </a:lnTo>
                  <a:lnTo>
                    <a:pt x="73220" y="59631"/>
                  </a:lnTo>
                  <a:lnTo>
                    <a:pt x="73220" y="57423"/>
                  </a:lnTo>
                  <a:lnTo>
                    <a:pt x="73220" y="54478"/>
                  </a:lnTo>
                  <a:lnTo>
                    <a:pt x="73220" y="50797"/>
                  </a:lnTo>
                  <a:lnTo>
                    <a:pt x="73220" y="48588"/>
                  </a:lnTo>
                  <a:lnTo>
                    <a:pt x="67118" y="47116"/>
                  </a:lnTo>
                  <a:lnTo>
                    <a:pt x="67118" y="43435"/>
                  </a:lnTo>
                  <a:lnTo>
                    <a:pt x="67118" y="43435"/>
                  </a:lnTo>
                  <a:lnTo>
                    <a:pt x="67118" y="41963"/>
                  </a:lnTo>
                  <a:lnTo>
                    <a:pt x="73220" y="40490"/>
                  </a:lnTo>
                  <a:lnTo>
                    <a:pt x="73220" y="38282"/>
                  </a:lnTo>
                  <a:lnTo>
                    <a:pt x="73220" y="38282"/>
                  </a:lnTo>
                  <a:lnTo>
                    <a:pt x="77288" y="35337"/>
                  </a:lnTo>
                  <a:lnTo>
                    <a:pt x="77288" y="35337"/>
                  </a:lnTo>
                  <a:lnTo>
                    <a:pt x="77288" y="33128"/>
                  </a:lnTo>
                  <a:lnTo>
                    <a:pt x="87457" y="33128"/>
                  </a:lnTo>
                  <a:lnTo>
                    <a:pt x="91525" y="33128"/>
                  </a:lnTo>
                  <a:lnTo>
                    <a:pt x="91525" y="33128"/>
                  </a:lnTo>
                  <a:lnTo>
                    <a:pt x="87457" y="31656"/>
                  </a:lnTo>
                  <a:lnTo>
                    <a:pt x="87457" y="31656"/>
                  </a:lnTo>
                  <a:lnTo>
                    <a:pt x="87457" y="29447"/>
                  </a:lnTo>
                  <a:lnTo>
                    <a:pt x="81355" y="29447"/>
                  </a:lnTo>
                  <a:lnTo>
                    <a:pt x="81355" y="29447"/>
                  </a:lnTo>
                  <a:lnTo>
                    <a:pt x="81355" y="29447"/>
                  </a:lnTo>
                  <a:lnTo>
                    <a:pt x="81355" y="27975"/>
                  </a:lnTo>
                  <a:lnTo>
                    <a:pt x="81355" y="27975"/>
                  </a:lnTo>
                  <a:lnTo>
                    <a:pt x="77288" y="26503"/>
                  </a:lnTo>
                  <a:lnTo>
                    <a:pt x="77288" y="26503"/>
                  </a:lnTo>
                  <a:lnTo>
                    <a:pt x="77288" y="26503"/>
                  </a:lnTo>
                  <a:lnTo>
                    <a:pt x="77288" y="24294"/>
                  </a:lnTo>
                  <a:lnTo>
                    <a:pt x="77288" y="22822"/>
                  </a:lnTo>
                  <a:lnTo>
                    <a:pt x="77288" y="21349"/>
                  </a:lnTo>
                  <a:lnTo>
                    <a:pt x="77288" y="21349"/>
                  </a:lnTo>
                  <a:lnTo>
                    <a:pt x="77288" y="19141"/>
                  </a:lnTo>
                  <a:lnTo>
                    <a:pt x="77288" y="17668"/>
                  </a:lnTo>
                  <a:lnTo>
                    <a:pt x="77288" y="17668"/>
                  </a:lnTo>
                  <a:lnTo>
                    <a:pt x="77288" y="16196"/>
                  </a:lnTo>
                  <a:lnTo>
                    <a:pt x="77288" y="16196"/>
                  </a:lnTo>
                  <a:lnTo>
                    <a:pt x="77288" y="13987"/>
                  </a:lnTo>
                  <a:lnTo>
                    <a:pt x="77288" y="12515"/>
                  </a:lnTo>
                  <a:lnTo>
                    <a:pt x="73220" y="10306"/>
                  </a:lnTo>
                  <a:lnTo>
                    <a:pt x="73220" y="10306"/>
                  </a:lnTo>
                  <a:lnTo>
                    <a:pt x="73220" y="8834"/>
                  </a:lnTo>
                  <a:lnTo>
                    <a:pt x="67118" y="5153"/>
                  </a:lnTo>
                  <a:lnTo>
                    <a:pt x="67118" y="5153"/>
                  </a:lnTo>
                  <a:lnTo>
                    <a:pt x="58983" y="2208"/>
                  </a:lnTo>
                  <a:lnTo>
                    <a:pt x="52881" y="2208"/>
                  </a:lnTo>
                  <a:lnTo>
                    <a:pt x="52881" y="2208"/>
                  </a:lnTo>
                  <a:lnTo>
                    <a:pt x="52881" y="2208"/>
                  </a:lnTo>
                  <a:lnTo>
                    <a:pt x="52881" y="3680"/>
                  </a:lnTo>
                  <a:lnTo>
                    <a:pt x="52881" y="3680"/>
                  </a:lnTo>
                  <a:lnTo>
                    <a:pt x="52881" y="3680"/>
                  </a:lnTo>
                  <a:lnTo>
                    <a:pt x="52881" y="3680"/>
                  </a:lnTo>
                  <a:lnTo>
                    <a:pt x="48813" y="3680"/>
                  </a:lnTo>
                  <a:lnTo>
                    <a:pt x="48813" y="3680"/>
                  </a:lnTo>
                  <a:lnTo>
                    <a:pt x="42711" y="3680"/>
                  </a:lnTo>
                  <a:lnTo>
                    <a:pt x="38644" y="3680"/>
                  </a:lnTo>
                  <a:lnTo>
                    <a:pt x="34576" y="3680"/>
                  </a:lnTo>
                  <a:lnTo>
                    <a:pt x="34576" y="3680"/>
                  </a:lnTo>
                  <a:lnTo>
                    <a:pt x="28474" y="2208"/>
                  </a:lnTo>
                  <a:lnTo>
                    <a:pt x="24406" y="2208"/>
                  </a:lnTo>
                  <a:lnTo>
                    <a:pt x="24406" y="2208"/>
                  </a:lnTo>
                  <a:lnTo>
                    <a:pt x="14237" y="0"/>
                  </a:lnTo>
                  <a:lnTo>
                    <a:pt x="14237" y="0"/>
                  </a:lnTo>
                  <a:lnTo>
                    <a:pt x="14237" y="0"/>
                  </a:lnTo>
                  <a:lnTo>
                    <a:pt x="14237" y="0"/>
                  </a:lnTo>
                  <a:lnTo>
                    <a:pt x="14237" y="2208"/>
                  </a:lnTo>
                  <a:lnTo>
                    <a:pt x="14237" y="2208"/>
                  </a:lnTo>
                  <a:lnTo>
                    <a:pt x="14237" y="3680"/>
                  </a:lnTo>
                  <a:lnTo>
                    <a:pt x="14237" y="3680"/>
                  </a:lnTo>
                  <a:lnTo>
                    <a:pt x="20338" y="3680"/>
                  </a:lnTo>
                  <a:lnTo>
                    <a:pt x="20338" y="3680"/>
                  </a:lnTo>
                  <a:lnTo>
                    <a:pt x="20338" y="3680"/>
                  </a:lnTo>
                  <a:lnTo>
                    <a:pt x="24406" y="3680"/>
                  </a:lnTo>
                  <a:lnTo>
                    <a:pt x="24406" y="3680"/>
                  </a:lnTo>
                  <a:lnTo>
                    <a:pt x="24406" y="3680"/>
                  </a:lnTo>
                  <a:lnTo>
                    <a:pt x="24406" y="5153"/>
                  </a:lnTo>
                  <a:lnTo>
                    <a:pt x="28474" y="7361"/>
                  </a:lnTo>
                  <a:lnTo>
                    <a:pt x="28474" y="7361"/>
                  </a:lnTo>
                  <a:lnTo>
                    <a:pt x="28474" y="8834"/>
                  </a:lnTo>
                  <a:lnTo>
                    <a:pt x="28474" y="10306"/>
                  </a:lnTo>
                  <a:lnTo>
                    <a:pt x="34576" y="10306"/>
                  </a:lnTo>
                  <a:lnTo>
                    <a:pt x="34576" y="12515"/>
                  </a:lnTo>
                  <a:lnTo>
                    <a:pt x="38644" y="12515"/>
                  </a:lnTo>
                  <a:lnTo>
                    <a:pt x="38644" y="13987"/>
                  </a:lnTo>
                  <a:lnTo>
                    <a:pt x="38644" y="16196"/>
                  </a:lnTo>
                  <a:lnTo>
                    <a:pt x="38644" y="17668"/>
                  </a:lnTo>
                  <a:lnTo>
                    <a:pt x="42711" y="17668"/>
                  </a:lnTo>
                  <a:lnTo>
                    <a:pt x="42711" y="19141"/>
                  </a:lnTo>
                  <a:lnTo>
                    <a:pt x="34576" y="21349"/>
                  </a:lnTo>
                  <a:lnTo>
                    <a:pt x="34576" y="21349"/>
                  </a:lnTo>
                  <a:lnTo>
                    <a:pt x="28474" y="22822"/>
                  </a:lnTo>
                  <a:lnTo>
                    <a:pt x="28474" y="22822"/>
                  </a:lnTo>
                  <a:lnTo>
                    <a:pt x="24406" y="22822"/>
                  </a:lnTo>
                  <a:lnTo>
                    <a:pt x="24406" y="22822"/>
                  </a:lnTo>
                  <a:lnTo>
                    <a:pt x="28474" y="24294"/>
                  </a:lnTo>
                  <a:lnTo>
                    <a:pt x="28474" y="26503"/>
                  </a:lnTo>
                  <a:lnTo>
                    <a:pt x="28474" y="27975"/>
                  </a:lnTo>
                  <a:lnTo>
                    <a:pt x="28474" y="27975"/>
                  </a:lnTo>
                  <a:lnTo>
                    <a:pt x="24406" y="31656"/>
                  </a:lnTo>
                  <a:lnTo>
                    <a:pt x="24406" y="31656"/>
                  </a:lnTo>
                  <a:lnTo>
                    <a:pt x="24406" y="33128"/>
                  </a:lnTo>
                  <a:lnTo>
                    <a:pt x="24406" y="33128"/>
                  </a:lnTo>
                  <a:lnTo>
                    <a:pt x="24406" y="35337"/>
                  </a:lnTo>
                  <a:lnTo>
                    <a:pt x="28474" y="35337"/>
                  </a:lnTo>
                  <a:lnTo>
                    <a:pt x="28474" y="36809"/>
                  </a:lnTo>
                  <a:lnTo>
                    <a:pt x="28474" y="38282"/>
                  </a:lnTo>
                  <a:lnTo>
                    <a:pt x="24406" y="41963"/>
                  </a:lnTo>
                  <a:lnTo>
                    <a:pt x="28474" y="45644"/>
                  </a:lnTo>
                  <a:lnTo>
                    <a:pt x="28474" y="45644"/>
                  </a:lnTo>
                  <a:lnTo>
                    <a:pt x="34576" y="45644"/>
                  </a:lnTo>
                  <a:lnTo>
                    <a:pt x="34576" y="45644"/>
                  </a:lnTo>
                  <a:lnTo>
                    <a:pt x="34576" y="47116"/>
                  </a:lnTo>
                  <a:lnTo>
                    <a:pt x="28474" y="47116"/>
                  </a:lnTo>
                  <a:lnTo>
                    <a:pt x="28474" y="48588"/>
                  </a:lnTo>
                  <a:lnTo>
                    <a:pt x="24406" y="48588"/>
                  </a:lnTo>
                  <a:lnTo>
                    <a:pt x="14237" y="50797"/>
                  </a:lnTo>
                  <a:lnTo>
                    <a:pt x="14237" y="50797"/>
                  </a:lnTo>
                  <a:lnTo>
                    <a:pt x="14237" y="52269"/>
                  </a:lnTo>
                  <a:lnTo>
                    <a:pt x="14237" y="54478"/>
                  </a:lnTo>
                  <a:lnTo>
                    <a:pt x="14237" y="54478"/>
                  </a:lnTo>
                  <a:lnTo>
                    <a:pt x="14237" y="55950"/>
                  </a:lnTo>
                  <a:lnTo>
                    <a:pt x="14237" y="57423"/>
                  </a:lnTo>
                  <a:lnTo>
                    <a:pt x="14237" y="59631"/>
                  </a:lnTo>
                  <a:lnTo>
                    <a:pt x="14237" y="59631"/>
                  </a:lnTo>
                  <a:lnTo>
                    <a:pt x="10169" y="59631"/>
                  </a:lnTo>
                  <a:lnTo>
                    <a:pt x="10169" y="61104"/>
                  </a:lnTo>
                  <a:lnTo>
                    <a:pt x="10169" y="62576"/>
                  </a:lnTo>
                  <a:lnTo>
                    <a:pt x="6101" y="64785"/>
                  </a:lnTo>
                  <a:lnTo>
                    <a:pt x="6101" y="64785"/>
                  </a:lnTo>
                  <a:lnTo>
                    <a:pt x="0" y="64785"/>
                  </a:lnTo>
                  <a:lnTo>
                    <a:pt x="0" y="66257"/>
                  </a:lnTo>
                  <a:lnTo>
                    <a:pt x="6101" y="66257"/>
                  </a:lnTo>
                  <a:lnTo>
                    <a:pt x="6101" y="66257"/>
                  </a:lnTo>
                  <a:lnTo>
                    <a:pt x="6101" y="66257"/>
                  </a:lnTo>
                  <a:lnTo>
                    <a:pt x="6101" y="68466"/>
                  </a:lnTo>
                  <a:lnTo>
                    <a:pt x="6101" y="68466"/>
                  </a:lnTo>
                  <a:lnTo>
                    <a:pt x="6101" y="68466"/>
                  </a:lnTo>
                  <a:lnTo>
                    <a:pt x="10169" y="68466"/>
                  </a:lnTo>
                  <a:lnTo>
                    <a:pt x="10169" y="69938"/>
                  </a:lnTo>
                  <a:lnTo>
                    <a:pt x="14237" y="71411"/>
                  </a:lnTo>
                  <a:lnTo>
                    <a:pt x="14237" y="71411"/>
                  </a:lnTo>
                  <a:lnTo>
                    <a:pt x="14237" y="71411"/>
                  </a:lnTo>
                  <a:lnTo>
                    <a:pt x="14237" y="71411"/>
                  </a:lnTo>
                  <a:lnTo>
                    <a:pt x="14237" y="71411"/>
                  </a:lnTo>
                  <a:lnTo>
                    <a:pt x="20338" y="71411"/>
                  </a:lnTo>
                  <a:lnTo>
                    <a:pt x="20338" y="69938"/>
                  </a:lnTo>
                  <a:lnTo>
                    <a:pt x="20338" y="71411"/>
                  </a:lnTo>
                  <a:lnTo>
                    <a:pt x="24406" y="71411"/>
                  </a:lnTo>
                  <a:lnTo>
                    <a:pt x="28474" y="76564"/>
                  </a:lnTo>
                  <a:lnTo>
                    <a:pt x="34576" y="78773"/>
                  </a:lnTo>
                  <a:lnTo>
                    <a:pt x="38644" y="80245"/>
                  </a:lnTo>
                  <a:lnTo>
                    <a:pt x="38644" y="80245"/>
                  </a:lnTo>
                  <a:lnTo>
                    <a:pt x="38644" y="80245"/>
                  </a:lnTo>
                  <a:lnTo>
                    <a:pt x="42711" y="80245"/>
                  </a:lnTo>
                  <a:lnTo>
                    <a:pt x="48813" y="78773"/>
                  </a:lnTo>
                  <a:lnTo>
                    <a:pt x="52881" y="78773"/>
                  </a:lnTo>
                  <a:lnTo>
                    <a:pt x="52881" y="78773"/>
                  </a:lnTo>
                  <a:lnTo>
                    <a:pt x="58983" y="78773"/>
                  </a:lnTo>
                  <a:lnTo>
                    <a:pt x="63050" y="78773"/>
                  </a:lnTo>
                  <a:lnTo>
                    <a:pt x="63050" y="78773"/>
                  </a:lnTo>
                  <a:lnTo>
                    <a:pt x="67118" y="80245"/>
                  </a:lnTo>
                  <a:lnTo>
                    <a:pt x="73220" y="83926"/>
                  </a:lnTo>
                  <a:lnTo>
                    <a:pt x="73220" y="85398"/>
                  </a:lnTo>
                  <a:lnTo>
                    <a:pt x="73220" y="87607"/>
                  </a:lnTo>
                  <a:lnTo>
                    <a:pt x="73220" y="89079"/>
                  </a:lnTo>
                  <a:lnTo>
                    <a:pt x="67118" y="92760"/>
                  </a:lnTo>
                  <a:lnTo>
                    <a:pt x="67118" y="94233"/>
                  </a:lnTo>
                  <a:lnTo>
                    <a:pt x="63050" y="95705"/>
                  </a:lnTo>
                  <a:lnTo>
                    <a:pt x="63050" y="97914"/>
                  </a:lnTo>
                  <a:lnTo>
                    <a:pt x="58983" y="99386"/>
                  </a:lnTo>
                  <a:lnTo>
                    <a:pt x="58983" y="99386"/>
                  </a:lnTo>
                  <a:lnTo>
                    <a:pt x="58983" y="100858"/>
                  </a:lnTo>
                  <a:lnTo>
                    <a:pt x="58983" y="100858"/>
                  </a:lnTo>
                  <a:lnTo>
                    <a:pt x="63050" y="103067"/>
                  </a:lnTo>
                  <a:lnTo>
                    <a:pt x="63050" y="104539"/>
                  </a:lnTo>
                  <a:lnTo>
                    <a:pt x="63050" y="104539"/>
                  </a:lnTo>
                  <a:lnTo>
                    <a:pt x="63050" y="106748"/>
                  </a:lnTo>
                  <a:lnTo>
                    <a:pt x="63050" y="106748"/>
                  </a:lnTo>
                  <a:lnTo>
                    <a:pt x="63050" y="106748"/>
                  </a:lnTo>
                  <a:lnTo>
                    <a:pt x="67118" y="108220"/>
                  </a:lnTo>
                  <a:lnTo>
                    <a:pt x="73220" y="109693"/>
                  </a:lnTo>
                  <a:lnTo>
                    <a:pt x="77288" y="111901"/>
                  </a:lnTo>
                  <a:lnTo>
                    <a:pt x="81355" y="114846"/>
                  </a:lnTo>
                  <a:lnTo>
                    <a:pt x="87457" y="114846"/>
                  </a:lnTo>
                  <a:lnTo>
                    <a:pt x="87457" y="114846"/>
                  </a:lnTo>
                  <a:lnTo>
                    <a:pt x="91525" y="117055"/>
                  </a:lnTo>
                  <a:lnTo>
                    <a:pt x="87457" y="118527"/>
                  </a:lnTo>
                  <a:lnTo>
                    <a:pt x="87457" y="118527"/>
                  </a:lnTo>
                  <a:lnTo>
                    <a:pt x="87457" y="120000"/>
                  </a:lnTo>
                  <a:lnTo>
                    <a:pt x="87457" y="120000"/>
                  </a:lnTo>
                  <a:lnTo>
                    <a:pt x="91525" y="120000"/>
                  </a:lnTo>
                  <a:lnTo>
                    <a:pt x="91525" y="120000"/>
                  </a:lnTo>
                  <a:lnTo>
                    <a:pt x="95593" y="120000"/>
                  </a:lnTo>
                  <a:lnTo>
                    <a:pt x="95593" y="120000"/>
                  </a:lnTo>
                  <a:lnTo>
                    <a:pt x="95593" y="114846"/>
                  </a:lnTo>
                  <a:lnTo>
                    <a:pt x="95593" y="113374"/>
                  </a:lnTo>
                  <a:lnTo>
                    <a:pt x="91525" y="111901"/>
                  </a:lnTo>
                  <a:lnTo>
                    <a:pt x="91525" y="111901"/>
                  </a:lnTo>
                  <a:lnTo>
                    <a:pt x="91525" y="109693"/>
                  </a:lnTo>
                  <a:lnTo>
                    <a:pt x="95593" y="108220"/>
                  </a:lnTo>
                  <a:lnTo>
                    <a:pt x="95593" y="106748"/>
                  </a:lnTo>
                  <a:lnTo>
                    <a:pt x="95593" y="106748"/>
                  </a:lnTo>
                  <a:lnTo>
                    <a:pt x="101694" y="104539"/>
                  </a:lnTo>
                  <a:lnTo>
                    <a:pt x="109830" y="104539"/>
                  </a:lnTo>
                  <a:lnTo>
                    <a:pt x="109830" y="104539"/>
                  </a:lnTo>
                  <a:lnTo>
                    <a:pt x="115932" y="103067"/>
                  </a:lnTo>
                  <a:lnTo>
                    <a:pt x="115932" y="103067"/>
                  </a:lnTo>
                  <a:lnTo>
                    <a:pt x="115932" y="97914"/>
                  </a:lnTo>
                  <a:lnTo>
                    <a:pt x="120000" y="94233"/>
                  </a:lnTo>
                  <a:lnTo>
                    <a:pt x="115932" y="90552"/>
                  </a:lnTo>
                  <a:lnTo>
                    <a:pt x="120000" y="87607"/>
                  </a:lnTo>
                  <a:lnTo>
                    <a:pt x="120000" y="85398"/>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39" name="Shape 439"/>
            <p:cNvSpPr/>
            <p:nvPr/>
          </p:nvSpPr>
          <p:spPr>
            <a:xfrm>
              <a:off x="4445" y="3062"/>
              <a:ext cx="0" cy="299"/>
            </a:xfrm>
            <a:custGeom>
              <a:avLst/>
              <a:gdLst/>
              <a:ahLst/>
              <a:cxnLst/>
              <a:rect l="0" t="0" r="0" b="0"/>
              <a:pathLst>
                <a:path w="120000" h="120000" extrusionOk="0">
                  <a:moveTo>
                    <a:pt x="120000" y="27042"/>
                  </a:moveTo>
                  <a:lnTo>
                    <a:pt x="118273" y="24929"/>
                  </a:lnTo>
                  <a:lnTo>
                    <a:pt x="115683" y="24084"/>
                  </a:lnTo>
                  <a:lnTo>
                    <a:pt x="115683" y="21971"/>
                  </a:lnTo>
                  <a:lnTo>
                    <a:pt x="115683" y="16901"/>
                  </a:lnTo>
                  <a:lnTo>
                    <a:pt x="113956" y="13098"/>
                  </a:lnTo>
                  <a:lnTo>
                    <a:pt x="113956" y="10985"/>
                  </a:lnTo>
                  <a:lnTo>
                    <a:pt x="113956" y="8873"/>
                  </a:lnTo>
                  <a:lnTo>
                    <a:pt x="111366" y="8028"/>
                  </a:lnTo>
                  <a:lnTo>
                    <a:pt x="111366" y="7183"/>
                  </a:lnTo>
                  <a:lnTo>
                    <a:pt x="107913" y="5070"/>
                  </a:lnTo>
                  <a:lnTo>
                    <a:pt x="107913" y="3802"/>
                  </a:lnTo>
                  <a:lnTo>
                    <a:pt x="107913" y="2957"/>
                  </a:lnTo>
                  <a:lnTo>
                    <a:pt x="105323" y="2112"/>
                  </a:lnTo>
                  <a:lnTo>
                    <a:pt x="103597" y="845"/>
                  </a:lnTo>
                  <a:lnTo>
                    <a:pt x="103597" y="845"/>
                  </a:lnTo>
                  <a:lnTo>
                    <a:pt x="103597" y="0"/>
                  </a:lnTo>
                  <a:lnTo>
                    <a:pt x="103597" y="0"/>
                  </a:lnTo>
                  <a:lnTo>
                    <a:pt x="101870" y="0"/>
                  </a:lnTo>
                  <a:lnTo>
                    <a:pt x="99280" y="2112"/>
                  </a:lnTo>
                  <a:lnTo>
                    <a:pt x="97553" y="2957"/>
                  </a:lnTo>
                  <a:lnTo>
                    <a:pt x="97553" y="2957"/>
                  </a:lnTo>
                  <a:lnTo>
                    <a:pt x="95827" y="2957"/>
                  </a:lnTo>
                  <a:lnTo>
                    <a:pt x="95827" y="2957"/>
                  </a:lnTo>
                  <a:lnTo>
                    <a:pt x="95827" y="5070"/>
                  </a:lnTo>
                  <a:lnTo>
                    <a:pt x="97553" y="5915"/>
                  </a:lnTo>
                  <a:lnTo>
                    <a:pt x="97553" y="7183"/>
                  </a:lnTo>
                  <a:lnTo>
                    <a:pt x="97553" y="8028"/>
                  </a:lnTo>
                  <a:lnTo>
                    <a:pt x="95827" y="10140"/>
                  </a:lnTo>
                  <a:lnTo>
                    <a:pt x="91510" y="11830"/>
                  </a:lnTo>
                  <a:lnTo>
                    <a:pt x="89784" y="11830"/>
                  </a:lnTo>
                  <a:lnTo>
                    <a:pt x="87194" y="13098"/>
                  </a:lnTo>
                  <a:lnTo>
                    <a:pt x="87194" y="13943"/>
                  </a:lnTo>
                  <a:lnTo>
                    <a:pt x="85467" y="15211"/>
                  </a:lnTo>
                  <a:lnTo>
                    <a:pt x="85467" y="13943"/>
                  </a:lnTo>
                  <a:lnTo>
                    <a:pt x="82877" y="13943"/>
                  </a:lnTo>
                  <a:lnTo>
                    <a:pt x="82877" y="13098"/>
                  </a:lnTo>
                  <a:lnTo>
                    <a:pt x="81151" y="13943"/>
                  </a:lnTo>
                  <a:lnTo>
                    <a:pt x="81151" y="13943"/>
                  </a:lnTo>
                  <a:lnTo>
                    <a:pt x="79424" y="15211"/>
                  </a:lnTo>
                  <a:lnTo>
                    <a:pt x="79424" y="15211"/>
                  </a:lnTo>
                  <a:lnTo>
                    <a:pt x="79424" y="16056"/>
                  </a:lnTo>
                  <a:lnTo>
                    <a:pt x="81151" y="16901"/>
                  </a:lnTo>
                  <a:lnTo>
                    <a:pt x="81151" y="16901"/>
                  </a:lnTo>
                  <a:lnTo>
                    <a:pt x="81151" y="16901"/>
                  </a:lnTo>
                  <a:lnTo>
                    <a:pt x="81151" y="18169"/>
                  </a:lnTo>
                  <a:lnTo>
                    <a:pt x="76834" y="19859"/>
                  </a:lnTo>
                  <a:lnTo>
                    <a:pt x="76834" y="21971"/>
                  </a:lnTo>
                  <a:lnTo>
                    <a:pt x="81151" y="22816"/>
                  </a:lnTo>
                  <a:lnTo>
                    <a:pt x="79424" y="22816"/>
                  </a:lnTo>
                  <a:lnTo>
                    <a:pt x="76834" y="22816"/>
                  </a:lnTo>
                  <a:lnTo>
                    <a:pt x="76834" y="22816"/>
                  </a:lnTo>
                  <a:lnTo>
                    <a:pt x="75107" y="24084"/>
                  </a:lnTo>
                  <a:lnTo>
                    <a:pt x="75107" y="24929"/>
                  </a:lnTo>
                  <a:lnTo>
                    <a:pt x="73381" y="26197"/>
                  </a:lnTo>
                  <a:lnTo>
                    <a:pt x="73381" y="26197"/>
                  </a:lnTo>
                  <a:lnTo>
                    <a:pt x="70791" y="26197"/>
                  </a:lnTo>
                  <a:lnTo>
                    <a:pt x="70791" y="24929"/>
                  </a:lnTo>
                  <a:lnTo>
                    <a:pt x="73381" y="24929"/>
                  </a:lnTo>
                  <a:lnTo>
                    <a:pt x="73381" y="24084"/>
                  </a:lnTo>
                  <a:lnTo>
                    <a:pt x="73381" y="24084"/>
                  </a:lnTo>
                  <a:lnTo>
                    <a:pt x="73381" y="22816"/>
                  </a:lnTo>
                  <a:lnTo>
                    <a:pt x="70791" y="22816"/>
                  </a:lnTo>
                  <a:lnTo>
                    <a:pt x="70791" y="24084"/>
                  </a:lnTo>
                  <a:lnTo>
                    <a:pt x="69064" y="24084"/>
                  </a:lnTo>
                  <a:lnTo>
                    <a:pt x="69064" y="24929"/>
                  </a:lnTo>
                  <a:lnTo>
                    <a:pt x="67338" y="26197"/>
                  </a:lnTo>
                  <a:lnTo>
                    <a:pt x="67338" y="27042"/>
                  </a:lnTo>
                  <a:lnTo>
                    <a:pt x="67338" y="27887"/>
                  </a:lnTo>
                  <a:lnTo>
                    <a:pt x="67338" y="27887"/>
                  </a:lnTo>
                  <a:lnTo>
                    <a:pt x="67338" y="29154"/>
                  </a:lnTo>
                  <a:lnTo>
                    <a:pt x="67338" y="29154"/>
                  </a:lnTo>
                  <a:lnTo>
                    <a:pt x="64748" y="30000"/>
                  </a:lnTo>
                  <a:lnTo>
                    <a:pt x="64748" y="30000"/>
                  </a:lnTo>
                  <a:lnTo>
                    <a:pt x="64748" y="30000"/>
                  </a:lnTo>
                  <a:lnTo>
                    <a:pt x="64748" y="30000"/>
                  </a:lnTo>
                  <a:lnTo>
                    <a:pt x="64748" y="27887"/>
                  </a:lnTo>
                  <a:lnTo>
                    <a:pt x="63021" y="27887"/>
                  </a:lnTo>
                  <a:lnTo>
                    <a:pt x="63021" y="27887"/>
                  </a:lnTo>
                  <a:lnTo>
                    <a:pt x="58705" y="29154"/>
                  </a:lnTo>
                  <a:lnTo>
                    <a:pt x="56978" y="30845"/>
                  </a:lnTo>
                  <a:lnTo>
                    <a:pt x="54388" y="30845"/>
                  </a:lnTo>
                  <a:lnTo>
                    <a:pt x="52661" y="32112"/>
                  </a:lnTo>
                  <a:lnTo>
                    <a:pt x="52661" y="32957"/>
                  </a:lnTo>
                  <a:lnTo>
                    <a:pt x="52661" y="32957"/>
                  </a:lnTo>
                  <a:lnTo>
                    <a:pt x="54388" y="33802"/>
                  </a:lnTo>
                  <a:lnTo>
                    <a:pt x="54388" y="33802"/>
                  </a:lnTo>
                  <a:lnTo>
                    <a:pt x="52661" y="33802"/>
                  </a:lnTo>
                  <a:lnTo>
                    <a:pt x="52661" y="33802"/>
                  </a:lnTo>
                  <a:lnTo>
                    <a:pt x="50935" y="32957"/>
                  </a:lnTo>
                  <a:lnTo>
                    <a:pt x="50935" y="32957"/>
                  </a:lnTo>
                  <a:lnTo>
                    <a:pt x="48345" y="32957"/>
                  </a:lnTo>
                  <a:lnTo>
                    <a:pt x="46618" y="32957"/>
                  </a:lnTo>
                  <a:lnTo>
                    <a:pt x="42302" y="32957"/>
                  </a:lnTo>
                  <a:lnTo>
                    <a:pt x="42302" y="32957"/>
                  </a:lnTo>
                  <a:lnTo>
                    <a:pt x="42302" y="33802"/>
                  </a:lnTo>
                  <a:lnTo>
                    <a:pt x="42302" y="33802"/>
                  </a:lnTo>
                  <a:lnTo>
                    <a:pt x="42302" y="35070"/>
                  </a:lnTo>
                  <a:lnTo>
                    <a:pt x="40575" y="35070"/>
                  </a:lnTo>
                  <a:lnTo>
                    <a:pt x="40575" y="35070"/>
                  </a:lnTo>
                  <a:lnTo>
                    <a:pt x="38848" y="35070"/>
                  </a:lnTo>
                  <a:lnTo>
                    <a:pt x="36258" y="35070"/>
                  </a:lnTo>
                  <a:lnTo>
                    <a:pt x="36258" y="35070"/>
                  </a:lnTo>
                  <a:lnTo>
                    <a:pt x="36258" y="33802"/>
                  </a:lnTo>
                  <a:lnTo>
                    <a:pt x="34532" y="35070"/>
                  </a:lnTo>
                  <a:lnTo>
                    <a:pt x="32805" y="35915"/>
                  </a:lnTo>
                  <a:lnTo>
                    <a:pt x="30215" y="35915"/>
                  </a:lnTo>
                  <a:lnTo>
                    <a:pt x="30215" y="35915"/>
                  </a:lnTo>
                  <a:lnTo>
                    <a:pt x="24172" y="37183"/>
                  </a:lnTo>
                  <a:lnTo>
                    <a:pt x="24172" y="37183"/>
                  </a:lnTo>
                  <a:lnTo>
                    <a:pt x="22446" y="37183"/>
                  </a:lnTo>
                  <a:lnTo>
                    <a:pt x="22446" y="37183"/>
                  </a:lnTo>
                  <a:lnTo>
                    <a:pt x="22446" y="38873"/>
                  </a:lnTo>
                  <a:lnTo>
                    <a:pt x="22446" y="40140"/>
                  </a:lnTo>
                  <a:lnTo>
                    <a:pt x="22446" y="40985"/>
                  </a:lnTo>
                  <a:lnTo>
                    <a:pt x="13812" y="46901"/>
                  </a:lnTo>
                  <a:lnTo>
                    <a:pt x="13812" y="49014"/>
                  </a:lnTo>
                  <a:lnTo>
                    <a:pt x="13812" y="49859"/>
                  </a:lnTo>
                  <a:lnTo>
                    <a:pt x="13812" y="51126"/>
                  </a:lnTo>
                  <a:lnTo>
                    <a:pt x="13812" y="51971"/>
                  </a:lnTo>
                  <a:lnTo>
                    <a:pt x="13812" y="54929"/>
                  </a:lnTo>
                  <a:lnTo>
                    <a:pt x="16402" y="57042"/>
                  </a:lnTo>
                  <a:lnTo>
                    <a:pt x="16402" y="57887"/>
                  </a:lnTo>
                  <a:lnTo>
                    <a:pt x="18129" y="59154"/>
                  </a:lnTo>
                  <a:lnTo>
                    <a:pt x="18129" y="60000"/>
                  </a:lnTo>
                  <a:lnTo>
                    <a:pt x="18129" y="62112"/>
                  </a:lnTo>
                  <a:lnTo>
                    <a:pt x="18129" y="62112"/>
                  </a:lnTo>
                  <a:lnTo>
                    <a:pt x="19856" y="63802"/>
                  </a:lnTo>
                  <a:lnTo>
                    <a:pt x="19856" y="65070"/>
                  </a:lnTo>
                  <a:lnTo>
                    <a:pt x="19856" y="66760"/>
                  </a:lnTo>
                  <a:lnTo>
                    <a:pt x="19856" y="68028"/>
                  </a:lnTo>
                  <a:lnTo>
                    <a:pt x="19856" y="70140"/>
                  </a:lnTo>
                  <a:lnTo>
                    <a:pt x="18129" y="70985"/>
                  </a:lnTo>
                  <a:lnTo>
                    <a:pt x="18129" y="71830"/>
                  </a:lnTo>
                  <a:lnTo>
                    <a:pt x="16402" y="73943"/>
                  </a:lnTo>
                  <a:lnTo>
                    <a:pt x="13812" y="74788"/>
                  </a:lnTo>
                  <a:lnTo>
                    <a:pt x="13812" y="76056"/>
                  </a:lnTo>
                  <a:lnTo>
                    <a:pt x="10359" y="77746"/>
                  </a:lnTo>
                  <a:lnTo>
                    <a:pt x="10359" y="79859"/>
                  </a:lnTo>
                  <a:lnTo>
                    <a:pt x="7769" y="81126"/>
                  </a:lnTo>
                  <a:lnTo>
                    <a:pt x="7769" y="81971"/>
                  </a:lnTo>
                  <a:lnTo>
                    <a:pt x="6043" y="81971"/>
                  </a:lnTo>
                  <a:lnTo>
                    <a:pt x="4316" y="82816"/>
                  </a:lnTo>
                  <a:lnTo>
                    <a:pt x="1726" y="84929"/>
                  </a:lnTo>
                  <a:lnTo>
                    <a:pt x="1726" y="85774"/>
                  </a:lnTo>
                  <a:lnTo>
                    <a:pt x="1726" y="85774"/>
                  </a:lnTo>
                  <a:lnTo>
                    <a:pt x="1726" y="87042"/>
                  </a:lnTo>
                  <a:lnTo>
                    <a:pt x="0" y="87042"/>
                  </a:lnTo>
                  <a:lnTo>
                    <a:pt x="0" y="87887"/>
                  </a:lnTo>
                  <a:lnTo>
                    <a:pt x="0" y="88732"/>
                  </a:lnTo>
                  <a:lnTo>
                    <a:pt x="0" y="90845"/>
                  </a:lnTo>
                  <a:lnTo>
                    <a:pt x="0" y="92112"/>
                  </a:lnTo>
                  <a:lnTo>
                    <a:pt x="0" y="95070"/>
                  </a:lnTo>
                  <a:lnTo>
                    <a:pt x="0" y="95915"/>
                  </a:lnTo>
                  <a:lnTo>
                    <a:pt x="0" y="95915"/>
                  </a:lnTo>
                  <a:lnTo>
                    <a:pt x="4316" y="98028"/>
                  </a:lnTo>
                  <a:lnTo>
                    <a:pt x="4316" y="98873"/>
                  </a:lnTo>
                  <a:lnTo>
                    <a:pt x="4316" y="99718"/>
                  </a:lnTo>
                  <a:lnTo>
                    <a:pt x="6043" y="100985"/>
                  </a:lnTo>
                  <a:lnTo>
                    <a:pt x="6043" y="101830"/>
                  </a:lnTo>
                  <a:lnTo>
                    <a:pt x="4316" y="103098"/>
                  </a:lnTo>
                  <a:lnTo>
                    <a:pt x="4316" y="103943"/>
                  </a:lnTo>
                  <a:lnTo>
                    <a:pt x="4316" y="106056"/>
                  </a:lnTo>
                  <a:lnTo>
                    <a:pt x="4316" y="106901"/>
                  </a:lnTo>
                  <a:lnTo>
                    <a:pt x="4316" y="109014"/>
                  </a:lnTo>
                  <a:lnTo>
                    <a:pt x="4316" y="109859"/>
                  </a:lnTo>
                  <a:lnTo>
                    <a:pt x="6043" y="110704"/>
                  </a:lnTo>
                  <a:lnTo>
                    <a:pt x="7769" y="111971"/>
                  </a:lnTo>
                  <a:lnTo>
                    <a:pt x="7769" y="112816"/>
                  </a:lnTo>
                  <a:lnTo>
                    <a:pt x="7769" y="114084"/>
                  </a:lnTo>
                  <a:lnTo>
                    <a:pt x="7769" y="114929"/>
                  </a:lnTo>
                  <a:lnTo>
                    <a:pt x="7769" y="114929"/>
                  </a:lnTo>
                  <a:lnTo>
                    <a:pt x="10359" y="114929"/>
                  </a:lnTo>
                  <a:lnTo>
                    <a:pt x="12086" y="115774"/>
                  </a:lnTo>
                  <a:lnTo>
                    <a:pt x="13812" y="117042"/>
                  </a:lnTo>
                  <a:lnTo>
                    <a:pt x="13812" y="117887"/>
                  </a:lnTo>
                  <a:lnTo>
                    <a:pt x="16402" y="117887"/>
                  </a:lnTo>
                  <a:lnTo>
                    <a:pt x="18129" y="117887"/>
                  </a:lnTo>
                  <a:lnTo>
                    <a:pt x="19856" y="117887"/>
                  </a:lnTo>
                  <a:lnTo>
                    <a:pt x="24172" y="120000"/>
                  </a:lnTo>
                  <a:lnTo>
                    <a:pt x="25899" y="120000"/>
                  </a:lnTo>
                  <a:lnTo>
                    <a:pt x="30215" y="120000"/>
                  </a:lnTo>
                  <a:lnTo>
                    <a:pt x="32805" y="120000"/>
                  </a:lnTo>
                  <a:lnTo>
                    <a:pt x="34532" y="118732"/>
                  </a:lnTo>
                  <a:lnTo>
                    <a:pt x="38848" y="117887"/>
                  </a:lnTo>
                  <a:lnTo>
                    <a:pt x="40575" y="117042"/>
                  </a:lnTo>
                  <a:lnTo>
                    <a:pt x="44892" y="117042"/>
                  </a:lnTo>
                  <a:lnTo>
                    <a:pt x="48345" y="117042"/>
                  </a:lnTo>
                  <a:lnTo>
                    <a:pt x="50935" y="117042"/>
                  </a:lnTo>
                  <a:lnTo>
                    <a:pt x="54388" y="115774"/>
                  </a:lnTo>
                  <a:lnTo>
                    <a:pt x="54388" y="114929"/>
                  </a:lnTo>
                  <a:lnTo>
                    <a:pt x="58705" y="112816"/>
                  </a:lnTo>
                  <a:lnTo>
                    <a:pt x="58705" y="110704"/>
                  </a:lnTo>
                  <a:lnTo>
                    <a:pt x="61294" y="109859"/>
                  </a:lnTo>
                  <a:lnTo>
                    <a:pt x="61294" y="109014"/>
                  </a:lnTo>
                  <a:lnTo>
                    <a:pt x="61294" y="107746"/>
                  </a:lnTo>
                  <a:lnTo>
                    <a:pt x="63021" y="106901"/>
                  </a:lnTo>
                  <a:lnTo>
                    <a:pt x="64748" y="104788"/>
                  </a:lnTo>
                  <a:lnTo>
                    <a:pt x="64748" y="103943"/>
                  </a:lnTo>
                  <a:lnTo>
                    <a:pt x="64748" y="103098"/>
                  </a:lnTo>
                  <a:lnTo>
                    <a:pt x="69064" y="98873"/>
                  </a:lnTo>
                  <a:lnTo>
                    <a:pt x="69064" y="96760"/>
                  </a:lnTo>
                  <a:lnTo>
                    <a:pt x="70791" y="95070"/>
                  </a:lnTo>
                  <a:lnTo>
                    <a:pt x="70791" y="92957"/>
                  </a:lnTo>
                  <a:lnTo>
                    <a:pt x="73381" y="92112"/>
                  </a:lnTo>
                  <a:lnTo>
                    <a:pt x="76834" y="87042"/>
                  </a:lnTo>
                  <a:lnTo>
                    <a:pt x="79424" y="82816"/>
                  </a:lnTo>
                  <a:lnTo>
                    <a:pt x="82877" y="79014"/>
                  </a:lnTo>
                  <a:lnTo>
                    <a:pt x="85467" y="74788"/>
                  </a:lnTo>
                  <a:lnTo>
                    <a:pt x="87194" y="71830"/>
                  </a:lnTo>
                  <a:lnTo>
                    <a:pt x="89784" y="70140"/>
                  </a:lnTo>
                  <a:lnTo>
                    <a:pt x="91510" y="65915"/>
                  </a:lnTo>
                  <a:lnTo>
                    <a:pt x="93237" y="62957"/>
                  </a:lnTo>
                  <a:lnTo>
                    <a:pt x="95827" y="60000"/>
                  </a:lnTo>
                  <a:lnTo>
                    <a:pt x="97553" y="57887"/>
                  </a:lnTo>
                  <a:lnTo>
                    <a:pt x="99280" y="55774"/>
                  </a:lnTo>
                  <a:lnTo>
                    <a:pt x="101870" y="51971"/>
                  </a:lnTo>
                  <a:lnTo>
                    <a:pt x="101870" y="49859"/>
                  </a:lnTo>
                  <a:lnTo>
                    <a:pt x="101870" y="46901"/>
                  </a:lnTo>
                  <a:lnTo>
                    <a:pt x="101870" y="46056"/>
                  </a:lnTo>
                  <a:lnTo>
                    <a:pt x="103597" y="43943"/>
                  </a:lnTo>
                  <a:lnTo>
                    <a:pt x="103597" y="43098"/>
                  </a:lnTo>
                  <a:lnTo>
                    <a:pt x="105323" y="43098"/>
                  </a:lnTo>
                  <a:lnTo>
                    <a:pt x="105323" y="41830"/>
                  </a:lnTo>
                  <a:lnTo>
                    <a:pt x="107913" y="41830"/>
                  </a:lnTo>
                  <a:lnTo>
                    <a:pt x="105323" y="41830"/>
                  </a:lnTo>
                  <a:lnTo>
                    <a:pt x="105323" y="40985"/>
                  </a:lnTo>
                  <a:lnTo>
                    <a:pt x="107913" y="40140"/>
                  </a:lnTo>
                  <a:lnTo>
                    <a:pt x="107913" y="38873"/>
                  </a:lnTo>
                  <a:lnTo>
                    <a:pt x="107913" y="37183"/>
                  </a:lnTo>
                  <a:lnTo>
                    <a:pt x="107913" y="35915"/>
                  </a:lnTo>
                  <a:lnTo>
                    <a:pt x="107913" y="35915"/>
                  </a:lnTo>
                  <a:lnTo>
                    <a:pt x="107913" y="35915"/>
                  </a:lnTo>
                  <a:lnTo>
                    <a:pt x="107913" y="33802"/>
                  </a:lnTo>
                  <a:lnTo>
                    <a:pt x="107913" y="32957"/>
                  </a:lnTo>
                  <a:lnTo>
                    <a:pt x="105323" y="32112"/>
                  </a:lnTo>
                  <a:lnTo>
                    <a:pt x="105323" y="30845"/>
                  </a:lnTo>
                  <a:lnTo>
                    <a:pt x="105323" y="30845"/>
                  </a:lnTo>
                  <a:lnTo>
                    <a:pt x="107913" y="30000"/>
                  </a:lnTo>
                  <a:lnTo>
                    <a:pt x="109640" y="30000"/>
                  </a:lnTo>
                  <a:lnTo>
                    <a:pt x="109640" y="30000"/>
                  </a:lnTo>
                  <a:lnTo>
                    <a:pt x="109640" y="30845"/>
                  </a:lnTo>
                  <a:lnTo>
                    <a:pt x="111366" y="32957"/>
                  </a:lnTo>
                  <a:lnTo>
                    <a:pt x="113956" y="33802"/>
                  </a:lnTo>
                  <a:lnTo>
                    <a:pt x="113956" y="35070"/>
                  </a:lnTo>
                  <a:lnTo>
                    <a:pt x="115683" y="35070"/>
                  </a:lnTo>
                  <a:lnTo>
                    <a:pt x="115683" y="33802"/>
                  </a:lnTo>
                  <a:lnTo>
                    <a:pt x="115683" y="33802"/>
                  </a:lnTo>
                  <a:lnTo>
                    <a:pt x="118273" y="32112"/>
                  </a:lnTo>
                  <a:lnTo>
                    <a:pt x="120000" y="29154"/>
                  </a:lnTo>
                  <a:lnTo>
                    <a:pt x="120000" y="27042"/>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40" name="Shape 440"/>
            <p:cNvSpPr/>
            <p:nvPr/>
          </p:nvSpPr>
          <p:spPr>
            <a:xfrm>
              <a:off x="4018" y="1914"/>
              <a:ext cx="0" cy="0"/>
            </a:xfrm>
            <a:custGeom>
              <a:avLst/>
              <a:gdLst/>
              <a:ahLst/>
              <a:cxnLst/>
              <a:rect l="0" t="0" r="0" b="0"/>
              <a:pathLst>
                <a:path w="120000" h="120000" extrusionOk="0">
                  <a:moveTo>
                    <a:pt x="120000" y="50909"/>
                  </a:moveTo>
                  <a:lnTo>
                    <a:pt x="120000" y="50909"/>
                  </a:lnTo>
                  <a:lnTo>
                    <a:pt x="120000" y="43636"/>
                  </a:lnTo>
                  <a:lnTo>
                    <a:pt x="111627" y="43636"/>
                  </a:lnTo>
                  <a:lnTo>
                    <a:pt x="111627" y="32727"/>
                  </a:lnTo>
                  <a:lnTo>
                    <a:pt x="111627" y="25454"/>
                  </a:lnTo>
                  <a:lnTo>
                    <a:pt x="106046" y="25454"/>
                  </a:lnTo>
                  <a:lnTo>
                    <a:pt x="100465" y="25454"/>
                  </a:lnTo>
                  <a:lnTo>
                    <a:pt x="92093" y="18181"/>
                  </a:lnTo>
                  <a:lnTo>
                    <a:pt x="86511" y="7272"/>
                  </a:lnTo>
                  <a:lnTo>
                    <a:pt x="86511" y="7272"/>
                  </a:lnTo>
                  <a:lnTo>
                    <a:pt x="86511" y="7272"/>
                  </a:lnTo>
                  <a:lnTo>
                    <a:pt x="80930" y="0"/>
                  </a:lnTo>
                  <a:lnTo>
                    <a:pt x="80930" y="7272"/>
                  </a:lnTo>
                  <a:lnTo>
                    <a:pt x="72558" y="7272"/>
                  </a:lnTo>
                  <a:lnTo>
                    <a:pt x="72558" y="7272"/>
                  </a:lnTo>
                  <a:lnTo>
                    <a:pt x="66976" y="7272"/>
                  </a:lnTo>
                  <a:lnTo>
                    <a:pt x="66976" y="7272"/>
                  </a:lnTo>
                  <a:lnTo>
                    <a:pt x="58604" y="7272"/>
                  </a:lnTo>
                  <a:lnTo>
                    <a:pt x="58604" y="7272"/>
                  </a:lnTo>
                  <a:lnTo>
                    <a:pt x="53023" y="7272"/>
                  </a:lnTo>
                  <a:lnTo>
                    <a:pt x="53023" y="7272"/>
                  </a:lnTo>
                  <a:lnTo>
                    <a:pt x="53023" y="7272"/>
                  </a:lnTo>
                  <a:lnTo>
                    <a:pt x="39069" y="18181"/>
                  </a:lnTo>
                  <a:lnTo>
                    <a:pt x="39069" y="18181"/>
                  </a:lnTo>
                  <a:lnTo>
                    <a:pt x="39069" y="18181"/>
                  </a:lnTo>
                  <a:lnTo>
                    <a:pt x="39069" y="25454"/>
                  </a:lnTo>
                  <a:lnTo>
                    <a:pt x="33488" y="25454"/>
                  </a:lnTo>
                  <a:lnTo>
                    <a:pt x="33488" y="18181"/>
                  </a:lnTo>
                  <a:lnTo>
                    <a:pt x="33488" y="18181"/>
                  </a:lnTo>
                  <a:lnTo>
                    <a:pt x="27906" y="18181"/>
                  </a:lnTo>
                  <a:lnTo>
                    <a:pt x="13953" y="25454"/>
                  </a:lnTo>
                  <a:lnTo>
                    <a:pt x="13953" y="25454"/>
                  </a:lnTo>
                  <a:lnTo>
                    <a:pt x="13953" y="32727"/>
                  </a:lnTo>
                  <a:lnTo>
                    <a:pt x="13953" y="43636"/>
                  </a:lnTo>
                  <a:lnTo>
                    <a:pt x="13953" y="43636"/>
                  </a:lnTo>
                  <a:lnTo>
                    <a:pt x="8372" y="43636"/>
                  </a:lnTo>
                  <a:lnTo>
                    <a:pt x="8372" y="43636"/>
                  </a:lnTo>
                  <a:lnTo>
                    <a:pt x="0" y="43636"/>
                  </a:lnTo>
                  <a:lnTo>
                    <a:pt x="0" y="50909"/>
                  </a:lnTo>
                  <a:lnTo>
                    <a:pt x="0" y="58181"/>
                  </a:lnTo>
                  <a:lnTo>
                    <a:pt x="0" y="58181"/>
                  </a:lnTo>
                  <a:lnTo>
                    <a:pt x="0" y="58181"/>
                  </a:lnTo>
                  <a:lnTo>
                    <a:pt x="0" y="69090"/>
                  </a:lnTo>
                  <a:lnTo>
                    <a:pt x="0" y="76363"/>
                  </a:lnTo>
                  <a:lnTo>
                    <a:pt x="0" y="76363"/>
                  </a:lnTo>
                  <a:lnTo>
                    <a:pt x="0" y="87272"/>
                  </a:lnTo>
                  <a:lnTo>
                    <a:pt x="8372" y="94545"/>
                  </a:lnTo>
                  <a:lnTo>
                    <a:pt x="8372" y="101818"/>
                  </a:lnTo>
                  <a:lnTo>
                    <a:pt x="13953" y="101818"/>
                  </a:lnTo>
                  <a:lnTo>
                    <a:pt x="13953" y="112727"/>
                  </a:lnTo>
                  <a:lnTo>
                    <a:pt x="13953" y="112727"/>
                  </a:lnTo>
                  <a:lnTo>
                    <a:pt x="19534" y="112727"/>
                  </a:lnTo>
                  <a:lnTo>
                    <a:pt x="27906" y="112727"/>
                  </a:lnTo>
                  <a:lnTo>
                    <a:pt x="27906" y="112727"/>
                  </a:lnTo>
                  <a:lnTo>
                    <a:pt x="27906" y="120000"/>
                  </a:lnTo>
                  <a:lnTo>
                    <a:pt x="33488" y="112727"/>
                  </a:lnTo>
                  <a:lnTo>
                    <a:pt x="33488" y="112727"/>
                  </a:lnTo>
                  <a:lnTo>
                    <a:pt x="39069" y="112727"/>
                  </a:lnTo>
                  <a:lnTo>
                    <a:pt x="47441" y="112727"/>
                  </a:lnTo>
                  <a:lnTo>
                    <a:pt x="47441" y="112727"/>
                  </a:lnTo>
                  <a:lnTo>
                    <a:pt x="53023" y="112727"/>
                  </a:lnTo>
                  <a:lnTo>
                    <a:pt x="58604" y="112727"/>
                  </a:lnTo>
                  <a:lnTo>
                    <a:pt x="66976" y="112727"/>
                  </a:lnTo>
                  <a:lnTo>
                    <a:pt x="72558" y="94545"/>
                  </a:lnTo>
                  <a:lnTo>
                    <a:pt x="72558" y="94545"/>
                  </a:lnTo>
                  <a:lnTo>
                    <a:pt x="80930" y="94545"/>
                  </a:lnTo>
                  <a:lnTo>
                    <a:pt x="86511" y="94545"/>
                  </a:lnTo>
                  <a:lnTo>
                    <a:pt x="86511" y="94545"/>
                  </a:lnTo>
                  <a:lnTo>
                    <a:pt x="92093" y="94545"/>
                  </a:lnTo>
                  <a:lnTo>
                    <a:pt x="100465" y="94545"/>
                  </a:lnTo>
                  <a:lnTo>
                    <a:pt x="106046" y="94545"/>
                  </a:lnTo>
                  <a:lnTo>
                    <a:pt x="106046" y="94545"/>
                  </a:lnTo>
                  <a:lnTo>
                    <a:pt x="111627" y="87272"/>
                  </a:lnTo>
                  <a:lnTo>
                    <a:pt x="111627" y="76363"/>
                  </a:lnTo>
                  <a:lnTo>
                    <a:pt x="111627" y="76363"/>
                  </a:lnTo>
                  <a:lnTo>
                    <a:pt x="120000" y="76363"/>
                  </a:lnTo>
                  <a:lnTo>
                    <a:pt x="120000" y="76363"/>
                  </a:lnTo>
                  <a:lnTo>
                    <a:pt x="120000" y="58181"/>
                  </a:lnTo>
                  <a:lnTo>
                    <a:pt x="120000" y="50909"/>
                  </a:lnTo>
                  <a:lnTo>
                    <a:pt x="120000" y="50909"/>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41" name="Shape 441"/>
            <p:cNvSpPr/>
            <p:nvPr/>
          </p:nvSpPr>
          <p:spPr>
            <a:xfrm>
              <a:off x="5722" y="2337"/>
              <a:ext cx="0" cy="0"/>
            </a:xfrm>
            <a:custGeom>
              <a:avLst/>
              <a:gdLst/>
              <a:ahLst/>
              <a:cxnLst/>
              <a:rect l="0" t="0" r="0" b="0"/>
              <a:pathLst>
                <a:path w="120000" h="120000" extrusionOk="0">
                  <a:moveTo>
                    <a:pt x="0" y="0"/>
                  </a:moveTo>
                  <a:lnTo>
                    <a:pt x="0" y="0"/>
                  </a:lnTo>
                  <a:lnTo>
                    <a:pt x="0" y="120000"/>
                  </a:lnTo>
                  <a:lnTo>
                    <a:pt x="0" y="120000"/>
                  </a:lnTo>
                  <a:lnTo>
                    <a:pt x="0" y="120000"/>
                  </a:lnTo>
                  <a:lnTo>
                    <a:pt x="0" y="120000"/>
                  </a:lnTo>
                  <a:lnTo>
                    <a:pt x="0" y="120000"/>
                  </a:lnTo>
                  <a:lnTo>
                    <a:pt x="0" y="120000"/>
                  </a:lnTo>
                  <a:lnTo>
                    <a:pt x="0" y="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42" name="Shape 442"/>
            <p:cNvSpPr/>
            <p:nvPr/>
          </p:nvSpPr>
          <p:spPr>
            <a:xfrm>
              <a:off x="3773" y="1753"/>
              <a:ext cx="0" cy="0"/>
            </a:xfrm>
            <a:custGeom>
              <a:avLst/>
              <a:gdLst/>
              <a:ahLst/>
              <a:cxnLst/>
              <a:rect l="0" t="0" r="0" b="0"/>
              <a:pathLst>
                <a:path w="120000" h="120000" extrusionOk="0">
                  <a:moveTo>
                    <a:pt x="120000" y="59999"/>
                  </a:moveTo>
                  <a:lnTo>
                    <a:pt x="100000" y="59999"/>
                  </a:lnTo>
                  <a:lnTo>
                    <a:pt x="100000" y="59999"/>
                  </a:lnTo>
                  <a:lnTo>
                    <a:pt x="70000" y="42857"/>
                  </a:lnTo>
                  <a:lnTo>
                    <a:pt x="70000" y="42857"/>
                  </a:lnTo>
                  <a:lnTo>
                    <a:pt x="50000" y="42857"/>
                  </a:lnTo>
                  <a:lnTo>
                    <a:pt x="50000" y="17142"/>
                  </a:lnTo>
                  <a:lnTo>
                    <a:pt x="50000" y="17142"/>
                  </a:lnTo>
                  <a:lnTo>
                    <a:pt x="50000" y="0"/>
                  </a:lnTo>
                  <a:lnTo>
                    <a:pt x="50000" y="0"/>
                  </a:lnTo>
                  <a:lnTo>
                    <a:pt x="50000" y="0"/>
                  </a:lnTo>
                  <a:lnTo>
                    <a:pt x="50000" y="0"/>
                  </a:lnTo>
                  <a:lnTo>
                    <a:pt x="20000" y="0"/>
                  </a:lnTo>
                  <a:lnTo>
                    <a:pt x="20000" y="17142"/>
                  </a:lnTo>
                  <a:lnTo>
                    <a:pt x="0" y="17142"/>
                  </a:lnTo>
                  <a:lnTo>
                    <a:pt x="0" y="42857"/>
                  </a:lnTo>
                  <a:lnTo>
                    <a:pt x="0" y="42857"/>
                  </a:lnTo>
                  <a:lnTo>
                    <a:pt x="0" y="42857"/>
                  </a:lnTo>
                  <a:lnTo>
                    <a:pt x="0" y="59999"/>
                  </a:lnTo>
                  <a:lnTo>
                    <a:pt x="0" y="59999"/>
                  </a:lnTo>
                  <a:lnTo>
                    <a:pt x="0" y="59999"/>
                  </a:lnTo>
                  <a:lnTo>
                    <a:pt x="0" y="59999"/>
                  </a:lnTo>
                  <a:lnTo>
                    <a:pt x="0" y="85714"/>
                  </a:lnTo>
                  <a:lnTo>
                    <a:pt x="20000" y="85714"/>
                  </a:lnTo>
                  <a:lnTo>
                    <a:pt x="0" y="102857"/>
                  </a:lnTo>
                  <a:lnTo>
                    <a:pt x="0" y="102857"/>
                  </a:lnTo>
                  <a:lnTo>
                    <a:pt x="0" y="102857"/>
                  </a:lnTo>
                  <a:lnTo>
                    <a:pt x="0" y="102857"/>
                  </a:lnTo>
                  <a:lnTo>
                    <a:pt x="0" y="119999"/>
                  </a:lnTo>
                  <a:lnTo>
                    <a:pt x="20000" y="119999"/>
                  </a:lnTo>
                  <a:lnTo>
                    <a:pt x="20000" y="119999"/>
                  </a:lnTo>
                  <a:lnTo>
                    <a:pt x="20000" y="119999"/>
                  </a:lnTo>
                  <a:lnTo>
                    <a:pt x="20000" y="119999"/>
                  </a:lnTo>
                  <a:lnTo>
                    <a:pt x="50000" y="119999"/>
                  </a:lnTo>
                  <a:lnTo>
                    <a:pt x="50000" y="119999"/>
                  </a:lnTo>
                  <a:lnTo>
                    <a:pt x="70000" y="119999"/>
                  </a:lnTo>
                  <a:lnTo>
                    <a:pt x="70000" y="119999"/>
                  </a:lnTo>
                  <a:lnTo>
                    <a:pt x="70000" y="119999"/>
                  </a:lnTo>
                  <a:lnTo>
                    <a:pt x="100000" y="119999"/>
                  </a:lnTo>
                  <a:lnTo>
                    <a:pt x="100000" y="119999"/>
                  </a:lnTo>
                  <a:lnTo>
                    <a:pt x="100000" y="102857"/>
                  </a:lnTo>
                  <a:lnTo>
                    <a:pt x="100000" y="85714"/>
                  </a:lnTo>
                  <a:lnTo>
                    <a:pt x="100000" y="85714"/>
                  </a:lnTo>
                  <a:lnTo>
                    <a:pt x="120000" y="85714"/>
                  </a:lnTo>
                  <a:lnTo>
                    <a:pt x="120000" y="59999"/>
                  </a:lnTo>
                  <a:lnTo>
                    <a:pt x="120000" y="59999"/>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43" name="Shape 443"/>
            <p:cNvSpPr/>
            <p:nvPr/>
          </p:nvSpPr>
          <p:spPr>
            <a:xfrm>
              <a:off x="4011" y="1628"/>
              <a:ext cx="0" cy="0"/>
            </a:xfrm>
            <a:custGeom>
              <a:avLst/>
              <a:gdLst/>
              <a:ahLst/>
              <a:cxnLst/>
              <a:rect l="0" t="0" r="0" b="0"/>
              <a:pathLst>
                <a:path w="120000" h="120000" extrusionOk="0">
                  <a:moveTo>
                    <a:pt x="4000" y="39183"/>
                  </a:moveTo>
                  <a:lnTo>
                    <a:pt x="4000" y="46530"/>
                  </a:lnTo>
                  <a:lnTo>
                    <a:pt x="0" y="46530"/>
                  </a:lnTo>
                  <a:lnTo>
                    <a:pt x="0" y="51428"/>
                  </a:lnTo>
                  <a:lnTo>
                    <a:pt x="0" y="51428"/>
                  </a:lnTo>
                  <a:lnTo>
                    <a:pt x="4000" y="51428"/>
                  </a:lnTo>
                  <a:lnTo>
                    <a:pt x="4000" y="46530"/>
                  </a:lnTo>
                  <a:lnTo>
                    <a:pt x="4000" y="39183"/>
                  </a:lnTo>
                  <a:lnTo>
                    <a:pt x="4000" y="34285"/>
                  </a:lnTo>
                  <a:lnTo>
                    <a:pt x="4000" y="39183"/>
                  </a:lnTo>
                  <a:close/>
                  <a:moveTo>
                    <a:pt x="120000" y="51428"/>
                  </a:moveTo>
                  <a:lnTo>
                    <a:pt x="120000" y="51428"/>
                  </a:lnTo>
                  <a:lnTo>
                    <a:pt x="116000" y="51428"/>
                  </a:lnTo>
                  <a:lnTo>
                    <a:pt x="113333" y="51428"/>
                  </a:lnTo>
                  <a:lnTo>
                    <a:pt x="113333" y="51428"/>
                  </a:lnTo>
                  <a:lnTo>
                    <a:pt x="116000" y="46530"/>
                  </a:lnTo>
                  <a:lnTo>
                    <a:pt x="116000" y="39183"/>
                  </a:lnTo>
                  <a:lnTo>
                    <a:pt x="116000" y="34285"/>
                  </a:lnTo>
                  <a:lnTo>
                    <a:pt x="116000" y="34285"/>
                  </a:lnTo>
                  <a:lnTo>
                    <a:pt x="116000" y="34285"/>
                  </a:lnTo>
                  <a:lnTo>
                    <a:pt x="113333" y="34285"/>
                  </a:lnTo>
                  <a:lnTo>
                    <a:pt x="110666" y="29387"/>
                  </a:lnTo>
                  <a:lnTo>
                    <a:pt x="106666" y="29387"/>
                  </a:lnTo>
                  <a:lnTo>
                    <a:pt x="104000" y="22040"/>
                  </a:lnTo>
                  <a:lnTo>
                    <a:pt x="104000" y="22040"/>
                  </a:lnTo>
                  <a:lnTo>
                    <a:pt x="101333" y="17142"/>
                  </a:lnTo>
                  <a:lnTo>
                    <a:pt x="94666" y="12244"/>
                  </a:lnTo>
                  <a:lnTo>
                    <a:pt x="94666" y="12244"/>
                  </a:lnTo>
                  <a:lnTo>
                    <a:pt x="85333" y="12244"/>
                  </a:lnTo>
                  <a:lnTo>
                    <a:pt x="81333" y="12244"/>
                  </a:lnTo>
                  <a:lnTo>
                    <a:pt x="81333" y="4897"/>
                  </a:lnTo>
                  <a:lnTo>
                    <a:pt x="78666" y="0"/>
                  </a:lnTo>
                  <a:lnTo>
                    <a:pt x="78666" y="0"/>
                  </a:lnTo>
                  <a:lnTo>
                    <a:pt x="76000" y="0"/>
                  </a:lnTo>
                  <a:lnTo>
                    <a:pt x="76000" y="0"/>
                  </a:lnTo>
                  <a:lnTo>
                    <a:pt x="72000" y="4897"/>
                  </a:lnTo>
                  <a:lnTo>
                    <a:pt x="72000" y="4897"/>
                  </a:lnTo>
                  <a:lnTo>
                    <a:pt x="69333" y="4897"/>
                  </a:lnTo>
                  <a:lnTo>
                    <a:pt x="62666" y="4897"/>
                  </a:lnTo>
                  <a:lnTo>
                    <a:pt x="60000" y="4897"/>
                  </a:lnTo>
                  <a:lnTo>
                    <a:pt x="57333" y="0"/>
                  </a:lnTo>
                  <a:lnTo>
                    <a:pt x="53333" y="0"/>
                  </a:lnTo>
                  <a:lnTo>
                    <a:pt x="53333" y="0"/>
                  </a:lnTo>
                  <a:lnTo>
                    <a:pt x="44000" y="0"/>
                  </a:lnTo>
                  <a:lnTo>
                    <a:pt x="44000" y="0"/>
                  </a:lnTo>
                  <a:lnTo>
                    <a:pt x="41333" y="4897"/>
                  </a:lnTo>
                  <a:lnTo>
                    <a:pt x="41333" y="0"/>
                  </a:lnTo>
                  <a:lnTo>
                    <a:pt x="37333" y="0"/>
                  </a:lnTo>
                  <a:lnTo>
                    <a:pt x="34666" y="0"/>
                  </a:lnTo>
                  <a:lnTo>
                    <a:pt x="32000" y="0"/>
                  </a:lnTo>
                  <a:lnTo>
                    <a:pt x="28000" y="0"/>
                  </a:lnTo>
                  <a:lnTo>
                    <a:pt x="22666" y="0"/>
                  </a:lnTo>
                  <a:lnTo>
                    <a:pt x="22666" y="0"/>
                  </a:lnTo>
                  <a:lnTo>
                    <a:pt x="16000" y="4897"/>
                  </a:lnTo>
                  <a:lnTo>
                    <a:pt x="13333" y="4897"/>
                  </a:lnTo>
                  <a:lnTo>
                    <a:pt x="6666" y="12244"/>
                  </a:lnTo>
                  <a:lnTo>
                    <a:pt x="0" y="17142"/>
                  </a:lnTo>
                  <a:lnTo>
                    <a:pt x="0" y="17142"/>
                  </a:lnTo>
                  <a:lnTo>
                    <a:pt x="4000" y="29387"/>
                  </a:lnTo>
                  <a:lnTo>
                    <a:pt x="4000" y="34285"/>
                  </a:lnTo>
                  <a:lnTo>
                    <a:pt x="6666" y="46530"/>
                  </a:lnTo>
                  <a:lnTo>
                    <a:pt x="6666" y="51428"/>
                  </a:lnTo>
                  <a:lnTo>
                    <a:pt x="6666" y="51428"/>
                  </a:lnTo>
                  <a:lnTo>
                    <a:pt x="6666" y="51428"/>
                  </a:lnTo>
                  <a:lnTo>
                    <a:pt x="6666" y="51428"/>
                  </a:lnTo>
                  <a:lnTo>
                    <a:pt x="9333" y="51428"/>
                  </a:lnTo>
                  <a:lnTo>
                    <a:pt x="9333" y="56326"/>
                  </a:lnTo>
                  <a:lnTo>
                    <a:pt x="13333" y="56326"/>
                  </a:lnTo>
                  <a:lnTo>
                    <a:pt x="16000" y="56326"/>
                  </a:lnTo>
                  <a:lnTo>
                    <a:pt x="18666" y="63673"/>
                  </a:lnTo>
                  <a:lnTo>
                    <a:pt x="25333" y="63673"/>
                  </a:lnTo>
                  <a:lnTo>
                    <a:pt x="25333" y="63673"/>
                  </a:lnTo>
                  <a:lnTo>
                    <a:pt x="28000" y="63673"/>
                  </a:lnTo>
                  <a:lnTo>
                    <a:pt x="34666" y="63673"/>
                  </a:lnTo>
                  <a:lnTo>
                    <a:pt x="34666" y="68571"/>
                  </a:lnTo>
                  <a:lnTo>
                    <a:pt x="37333" y="68571"/>
                  </a:lnTo>
                  <a:lnTo>
                    <a:pt x="41333" y="75918"/>
                  </a:lnTo>
                  <a:lnTo>
                    <a:pt x="41333" y="75918"/>
                  </a:lnTo>
                  <a:lnTo>
                    <a:pt x="37333" y="85714"/>
                  </a:lnTo>
                  <a:lnTo>
                    <a:pt x="37333" y="85714"/>
                  </a:lnTo>
                  <a:lnTo>
                    <a:pt x="37333" y="93061"/>
                  </a:lnTo>
                  <a:lnTo>
                    <a:pt x="37333" y="97959"/>
                  </a:lnTo>
                  <a:lnTo>
                    <a:pt x="41333" y="97959"/>
                  </a:lnTo>
                  <a:lnTo>
                    <a:pt x="41333" y="97959"/>
                  </a:lnTo>
                  <a:lnTo>
                    <a:pt x="41333" y="97959"/>
                  </a:lnTo>
                  <a:lnTo>
                    <a:pt x="44000" y="97959"/>
                  </a:lnTo>
                  <a:lnTo>
                    <a:pt x="44000" y="97959"/>
                  </a:lnTo>
                  <a:lnTo>
                    <a:pt x="44000" y="97959"/>
                  </a:lnTo>
                  <a:lnTo>
                    <a:pt x="48000" y="102857"/>
                  </a:lnTo>
                  <a:lnTo>
                    <a:pt x="48000" y="102857"/>
                  </a:lnTo>
                  <a:lnTo>
                    <a:pt x="48000" y="102857"/>
                  </a:lnTo>
                  <a:lnTo>
                    <a:pt x="50666" y="102857"/>
                  </a:lnTo>
                  <a:lnTo>
                    <a:pt x="53333" y="102857"/>
                  </a:lnTo>
                  <a:lnTo>
                    <a:pt x="53333" y="110204"/>
                  </a:lnTo>
                  <a:lnTo>
                    <a:pt x="57333" y="110204"/>
                  </a:lnTo>
                  <a:lnTo>
                    <a:pt x="57333" y="115102"/>
                  </a:lnTo>
                  <a:lnTo>
                    <a:pt x="57333" y="115102"/>
                  </a:lnTo>
                  <a:lnTo>
                    <a:pt x="57333" y="119999"/>
                  </a:lnTo>
                  <a:lnTo>
                    <a:pt x="57333" y="119999"/>
                  </a:lnTo>
                  <a:lnTo>
                    <a:pt x="60000" y="119999"/>
                  </a:lnTo>
                  <a:lnTo>
                    <a:pt x="62666" y="119999"/>
                  </a:lnTo>
                  <a:lnTo>
                    <a:pt x="66666" y="119999"/>
                  </a:lnTo>
                  <a:lnTo>
                    <a:pt x="66666" y="119999"/>
                  </a:lnTo>
                  <a:lnTo>
                    <a:pt x="69333" y="119999"/>
                  </a:lnTo>
                  <a:lnTo>
                    <a:pt x="69333" y="119999"/>
                  </a:lnTo>
                  <a:lnTo>
                    <a:pt x="72000" y="119999"/>
                  </a:lnTo>
                  <a:lnTo>
                    <a:pt x="72000" y="119999"/>
                  </a:lnTo>
                  <a:lnTo>
                    <a:pt x="76000" y="119999"/>
                  </a:lnTo>
                  <a:lnTo>
                    <a:pt x="78666" y="115102"/>
                  </a:lnTo>
                  <a:lnTo>
                    <a:pt x="81333" y="115102"/>
                  </a:lnTo>
                  <a:lnTo>
                    <a:pt x="81333" y="115102"/>
                  </a:lnTo>
                  <a:lnTo>
                    <a:pt x="81333" y="110204"/>
                  </a:lnTo>
                  <a:lnTo>
                    <a:pt x="85333" y="110204"/>
                  </a:lnTo>
                  <a:lnTo>
                    <a:pt x="88000" y="110204"/>
                  </a:lnTo>
                  <a:lnTo>
                    <a:pt x="88000" y="110204"/>
                  </a:lnTo>
                  <a:lnTo>
                    <a:pt x="92000" y="102857"/>
                  </a:lnTo>
                  <a:lnTo>
                    <a:pt x="92000" y="102857"/>
                  </a:lnTo>
                  <a:lnTo>
                    <a:pt x="94666" y="102857"/>
                  </a:lnTo>
                  <a:lnTo>
                    <a:pt x="97333" y="102857"/>
                  </a:lnTo>
                  <a:lnTo>
                    <a:pt x="97333" y="102857"/>
                  </a:lnTo>
                  <a:lnTo>
                    <a:pt x="97333" y="102857"/>
                  </a:lnTo>
                  <a:lnTo>
                    <a:pt x="97333" y="110204"/>
                  </a:lnTo>
                  <a:lnTo>
                    <a:pt x="97333" y="110204"/>
                  </a:lnTo>
                  <a:lnTo>
                    <a:pt x="97333" y="110204"/>
                  </a:lnTo>
                  <a:lnTo>
                    <a:pt x="101333" y="110204"/>
                  </a:lnTo>
                  <a:lnTo>
                    <a:pt x="104000" y="110204"/>
                  </a:lnTo>
                  <a:lnTo>
                    <a:pt x="104000" y="110204"/>
                  </a:lnTo>
                  <a:lnTo>
                    <a:pt x="104000" y="102857"/>
                  </a:lnTo>
                  <a:lnTo>
                    <a:pt x="101333" y="102857"/>
                  </a:lnTo>
                  <a:lnTo>
                    <a:pt x="101333" y="102857"/>
                  </a:lnTo>
                  <a:lnTo>
                    <a:pt x="101333" y="97959"/>
                  </a:lnTo>
                  <a:lnTo>
                    <a:pt x="97333" y="97959"/>
                  </a:lnTo>
                  <a:lnTo>
                    <a:pt x="97333" y="97959"/>
                  </a:lnTo>
                  <a:lnTo>
                    <a:pt x="97333" y="97959"/>
                  </a:lnTo>
                  <a:lnTo>
                    <a:pt x="97333" y="93061"/>
                  </a:lnTo>
                  <a:lnTo>
                    <a:pt x="101333" y="93061"/>
                  </a:lnTo>
                  <a:lnTo>
                    <a:pt x="101333" y="85714"/>
                  </a:lnTo>
                  <a:lnTo>
                    <a:pt x="101333" y="85714"/>
                  </a:lnTo>
                  <a:lnTo>
                    <a:pt x="101333" y="85714"/>
                  </a:lnTo>
                  <a:lnTo>
                    <a:pt x="101333" y="80816"/>
                  </a:lnTo>
                  <a:lnTo>
                    <a:pt x="101333" y="75918"/>
                  </a:lnTo>
                  <a:lnTo>
                    <a:pt x="104000" y="68571"/>
                  </a:lnTo>
                  <a:lnTo>
                    <a:pt x="104000" y="68571"/>
                  </a:lnTo>
                  <a:lnTo>
                    <a:pt x="106666" y="68571"/>
                  </a:lnTo>
                  <a:lnTo>
                    <a:pt x="110666" y="68571"/>
                  </a:lnTo>
                  <a:lnTo>
                    <a:pt x="110666" y="63673"/>
                  </a:lnTo>
                  <a:lnTo>
                    <a:pt x="110666" y="63673"/>
                  </a:lnTo>
                  <a:lnTo>
                    <a:pt x="110666" y="63673"/>
                  </a:lnTo>
                  <a:lnTo>
                    <a:pt x="110666" y="56326"/>
                  </a:lnTo>
                  <a:lnTo>
                    <a:pt x="116000" y="63673"/>
                  </a:lnTo>
                  <a:lnTo>
                    <a:pt x="120000" y="56326"/>
                  </a:lnTo>
                  <a:lnTo>
                    <a:pt x="120000" y="56326"/>
                  </a:lnTo>
                  <a:lnTo>
                    <a:pt x="120000" y="56326"/>
                  </a:lnTo>
                  <a:lnTo>
                    <a:pt x="120000" y="51428"/>
                  </a:lnTo>
                  <a:lnTo>
                    <a:pt x="120000" y="51428"/>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44" name="Shape 444"/>
            <p:cNvSpPr/>
            <p:nvPr/>
          </p:nvSpPr>
          <p:spPr>
            <a:xfrm>
              <a:off x="3832" y="1812"/>
              <a:ext cx="0" cy="0"/>
            </a:xfrm>
            <a:custGeom>
              <a:avLst/>
              <a:gdLst/>
              <a:ahLst/>
              <a:cxnLst/>
              <a:rect l="0" t="0" r="0" b="0"/>
              <a:pathLst>
                <a:path w="120000" h="120000" extrusionOk="0">
                  <a:moveTo>
                    <a:pt x="120000" y="72000"/>
                  </a:moveTo>
                  <a:lnTo>
                    <a:pt x="120000" y="72000"/>
                  </a:lnTo>
                  <a:lnTo>
                    <a:pt x="120000" y="72000"/>
                  </a:lnTo>
                  <a:lnTo>
                    <a:pt x="120000" y="72000"/>
                  </a:lnTo>
                  <a:lnTo>
                    <a:pt x="120000" y="0"/>
                  </a:lnTo>
                  <a:lnTo>
                    <a:pt x="120000" y="0"/>
                  </a:lnTo>
                  <a:lnTo>
                    <a:pt x="0" y="0"/>
                  </a:lnTo>
                  <a:lnTo>
                    <a:pt x="0" y="72000"/>
                  </a:lnTo>
                  <a:lnTo>
                    <a:pt x="0" y="120000"/>
                  </a:lnTo>
                  <a:lnTo>
                    <a:pt x="0" y="120000"/>
                  </a:lnTo>
                  <a:lnTo>
                    <a:pt x="0" y="120000"/>
                  </a:lnTo>
                  <a:lnTo>
                    <a:pt x="120000" y="120000"/>
                  </a:lnTo>
                  <a:lnTo>
                    <a:pt x="120000" y="120000"/>
                  </a:lnTo>
                  <a:lnTo>
                    <a:pt x="120000" y="120000"/>
                  </a:lnTo>
                  <a:lnTo>
                    <a:pt x="120000" y="7200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45" name="Shape 445"/>
            <p:cNvSpPr/>
            <p:nvPr/>
          </p:nvSpPr>
          <p:spPr>
            <a:xfrm>
              <a:off x="3827" y="2108"/>
              <a:ext cx="300" cy="300"/>
            </a:xfrm>
            <a:custGeom>
              <a:avLst/>
              <a:gdLst/>
              <a:ahLst/>
              <a:cxnLst/>
              <a:rect l="0" t="0" r="0" b="0"/>
              <a:pathLst>
                <a:path w="120000" h="120000" extrusionOk="0">
                  <a:moveTo>
                    <a:pt x="120000" y="111250"/>
                  </a:moveTo>
                  <a:lnTo>
                    <a:pt x="120000" y="107500"/>
                  </a:lnTo>
                  <a:lnTo>
                    <a:pt x="120000" y="102500"/>
                  </a:lnTo>
                  <a:lnTo>
                    <a:pt x="120000" y="98333"/>
                  </a:lnTo>
                  <a:lnTo>
                    <a:pt x="120000" y="96666"/>
                  </a:lnTo>
                  <a:lnTo>
                    <a:pt x="120000" y="94583"/>
                  </a:lnTo>
                  <a:lnTo>
                    <a:pt x="120000" y="92500"/>
                  </a:lnTo>
                  <a:lnTo>
                    <a:pt x="118741" y="90416"/>
                  </a:lnTo>
                  <a:lnTo>
                    <a:pt x="118741" y="88750"/>
                  </a:lnTo>
                  <a:lnTo>
                    <a:pt x="118741" y="86666"/>
                  </a:lnTo>
                  <a:lnTo>
                    <a:pt x="118741" y="84583"/>
                  </a:lnTo>
                  <a:lnTo>
                    <a:pt x="118741" y="82500"/>
                  </a:lnTo>
                  <a:lnTo>
                    <a:pt x="118741" y="80833"/>
                  </a:lnTo>
                  <a:lnTo>
                    <a:pt x="118741" y="78750"/>
                  </a:lnTo>
                  <a:lnTo>
                    <a:pt x="118741" y="76666"/>
                  </a:lnTo>
                  <a:lnTo>
                    <a:pt x="118741" y="74583"/>
                  </a:lnTo>
                  <a:lnTo>
                    <a:pt x="118741" y="72916"/>
                  </a:lnTo>
                  <a:lnTo>
                    <a:pt x="118741" y="70833"/>
                  </a:lnTo>
                  <a:lnTo>
                    <a:pt x="118741" y="68750"/>
                  </a:lnTo>
                  <a:lnTo>
                    <a:pt x="118741" y="67083"/>
                  </a:lnTo>
                  <a:lnTo>
                    <a:pt x="118741" y="65000"/>
                  </a:lnTo>
                  <a:lnTo>
                    <a:pt x="118741" y="62916"/>
                  </a:lnTo>
                  <a:lnTo>
                    <a:pt x="118741" y="60833"/>
                  </a:lnTo>
                  <a:lnTo>
                    <a:pt x="118741" y="59166"/>
                  </a:lnTo>
                  <a:lnTo>
                    <a:pt x="118741" y="57083"/>
                  </a:lnTo>
                  <a:lnTo>
                    <a:pt x="118741" y="55000"/>
                  </a:lnTo>
                  <a:lnTo>
                    <a:pt x="117902" y="52916"/>
                  </a:lnTo>
                  <a:lnTo>
                    <a:pt x="117902" y="51250"/>
                  </a:lnTo>
                  <a:lnTo>
                    <a:pt x="117902" y="48333"/>
                  </a:lnTo>
                  <a:lnTo>
                    <a:pt x="117902" y="46250"/>
                  </a:lnTo>
                  <a:lnTo>
                    <a:pt x="117902" y="44166"/>
                  </a:lnTo>
                  <a:lnTo>
                    <a:pt x="117902" y="42083"/>
                  </a:lnTo>
                  <a:lnTo>
                    <a:pt x="117902" y="40416"/>
                  </a:lnTo>
                  <a:lnTo>
                    <a:pt x="117902" y="38333"/>
                  </a:lnTo>
                  <a:lnTo>
                    <a:pt x="117902" y="36250"/>
                  </a:lnTo>
                  <a:lnTo>
                    <a:pt x="117902" y="34583"/>
                  </a:lnTo>
                  <a:lnTo>
                    <a:pt x="117902" y="34583"/>
                  </a:lnTo>
                  <a:lnTo>
                    <a:pt x="116643" y="33333"/>
                  </a:lnTo>
                  <a:lnTo>
                    <a:pt x="116643" y="31250"/>
                  </a:lnTo>
                  <a:lnTo>
                    <a:pt x="115804" y="29583"/>
                  </a:lnTo>
                  <a:lnTo>
                    <a:pt x="115804" y="28333"/>
                  </a:lnTo>
                  <a:lnTo>
                    <a:pt x="115804" y="26666"/>
                  </a:lnTo>
                  <a:lnTo>
                    <a:pt x="114965" y="25416"/>
                  </a:lnTo>
                  <a:lnTo>
                    <a:pt x="115804" y="25416"/>
                  </a:lnTo>
                  <a:lnTo>
                    <a:pt x="116643" y="23750"/>
                  </a:lnTo>
                  <a:lnTo>
                    <a:pt x="116643" y="22500"/>
                  </a:lnTo>
                  <a:lnTo>
                    <a:pt x="116643" y="21666"/>
                  </a:lnTo>
                  <a:lnTo>
                    <a:pt x="116643" y="20416"/>
                  </a:lnTo>
                  <a:lnTo>
                    <a:pt x="116643" y="19583"/>
                  </a:lnTo>
                  <a:lnTo>
                    <a:pt x="115804" y="18750"/>
                  </a:lnTo>
                  <a:lnTo>
                    <a:pt x="115804" y="17500"/>
                  </a:lnTo>
                  <a:lnTo>
                    <a:pt x="115804" y="15833"/>
                  </a:lnTo>
                  <a:lnTo>
                    <a:pt x="116643" y="14583"/>
                  </a:lnTo>
                  <a:lnTo>
                    <a:pt x="116643" y="14583"/>
                  </a:lnTo>
                  <a:lnTo>
                    <a:pt x="117902" y="13750"/>
                  </a:lnTo>
                  <a:lnTo>
                    <a:pt x="117902" y="13750"/>
                  </a:lnTo>
                  <a:lnTo>
                    <a:pt x="117902" y="12916"/>
                  </a:lnTo>
                  <a:lnTo>
                    <a:pt x="117902" y="12916"/>
                  </a:lnTo>
                  <a:lnTo>
                    <a:pt x="116643" y="10833"/>
                  </a:lnTo>
                  <a:lnTo>
                    <a:pt x="116643" y="10833"/>
                  </a:lnTo>
                  <a:lnTo>
                    <a:pt x="115804" y="10833"/>
                  </a:lnTo>
                  <a:lnTo>
                    <a:pt x="114965" y="9583"/>
                  </a:lnTo>
                  <a:lnTo>
                    <a:pt x="112867" y="9583"/>
                  </a:lnTo>
                  <a:lnTo>
                    <a:pt x="109930" y="9583"/>
                  </a:lnTo>
                  <a:lnTo>
                    <a:pt x="109930" y="9583"/>
                  </a:lnTo>
                  <a:lnTo>
                    <a:pt x="109090" y="8750"/>
                  </a:lnTo>
                  <a:lnTo>
                    <a:pt x="107832" y="8750"/>
                  </a:lnTo>
                  <a:lnTo>
                    <a:pt x="104055" y="7916"/>
                  </a:lnTo>
                  <a:lnTo>
                    <a:pt x="102797" y="6666"/>
                  </a:lnTo>
                  <a:lnTo>
                    <a:pt x="102797" y="6666"/>
                  </a:lnTo>
                  <a:lnTo>
                    <a:pt x="102797" y="5833"/>
                  </a:lnTo>
                  <a:lnTo>
                    <a:pt x="101958" y="5000"/>
                  </a:lnTo>
                  <a:lnTo>
                    <a:pt x="101118" y="3750"/>
                  </a:lnTo>
                  <a:lnTo>
                    <a:pt x="99860" y="3750"/>
                  </a:lnTo>
                  <a:lnTo>
                    <a:pt x="98181" y="2916"/>
                  </a:lnTo>
                  <a:lnTo>
                    <a:pt x="96923" y="2916"/>
                  </a:lnTo>
                  <a:lnTo>
                    <a:pt x="96083" y="2083"/>
                  </a:lnTo>
                  <a:lnTo>
                    <a:pt x="93146" y="2083"/>
                  </a:lnTo>
                  <a:lnTo>
                    <a:pt x="92307" y="2083"/>
                  </a:lnTo>
                  <a:lnTo>
                    <a:pt x="91048" y="2083"/>
                  </a:lnTo>
                  <a:lnTo>
                    <a:pt x="90209" y="2916"/>
                  </a:lnTo>
                  <a:lnTo>
                    <a:pt x="88951" y="2916"/>
                  </a:lnTo>
                  <a:lnTo>
                    <a:pt x="87272" y="2916"/>
                  </a:lnTo>
                  <a:lnTo>
                    <a:pt x="84335" y="5000"/>
                  </a:lnTo>
                  <a:lnTo>
                    <a:pt x="82237" y="6666"/>
                  </a:lnTo>
                  <a:lnTo>
                    <a:pt x="80139" y="7916"/>
                  </a:lnTo>
                  <a:lnTo>
                    <a:pt x="80139" y="8750"/>
                  </a:lnTo>
                  <a:lnTo>
                    <a:pt x="79300" y="9583"/>
                  </a:lnTo>
                  <a:lnTo>
                    <a:pt x="79300" y="11666"/>
                  </a:lnTo>
                  <a:lnTo>
                    <a:pt x="79300" y="13750"/>
                  </a:lnTo>
                  <a:lnTo>
                    <a:pt x="80139" y="15833"/>
                  </a:lnTo>
                  <a:lnTo>
                    <a:pt x="80139" y="16666"/>
                  </a:lnTo>
                  <a:lnTo>
                    <a:pt x="81398" y="17500"/>
                  </a:lnTo>
                  <a:lnTo>
                    <a:pt x="81398" y="18750"/>
                  </a:lnTo>
                  <a:lnTo>
                    <a:pt x="81398" y="19583"/>
                  </a:lnTo>
                  <a:lnTo>
                    <a:pt x="80139" y="20416"/>
                  </a:lnTo>
                  <a:lnTo>
                    <a:pt x="78461" y="23750"/>
                  </a:lnTo>
                  <a:lnTo>
                    <a:pt x="77202" y="24583"/>
                  </a:lnTo>
                  <a:lnTo>
                    <a:pt x="74265" y="25416"/>
                  </a:lnTo>
                  <a:lnTo>
                    <a:pt x="73426" y="25416"/>
                  </a:lnTo>
                  <a:lnTo>
                    <a:pt x="72167" y="25416"/>
                  </a:lnTo>
                  <a:lnTo>
                    <a:pt x="70489" y="23750"/>
                  </a:lnTo>
                  <a:lnTo>
                    <a:pt x="66293" y="20416"/>
                  </a:lnTo>
                  <a:lnTo>
                    <a:pt x="64615" y="20416"/>
                  </a:lnTo>
                  <a:lnTo>
                    <a:pt x="63356" y="19583"/>
                  </a:lnTo>
                  <a:lnTo>
                    <a:pt x="60419" y="18750"/>
                  </a:lnTo>
                  <a:lnTo>
                    <a:pt x="55384" y="16666"/>
                  </a:lnTo>
                  <a:lnTo>
                    <a:pt x="53706" y="16666"/>
                  </a:lnTo>
                  <a:lnTo>
                    <a:pt x="50769" y="16666"/>
                  </a:lnTo>
                  <a:lnTo>
                    <a:pt x="48671" y="15833"/>
                  </a:lnTo>
                  <a:lnTo>
                    <a:pt x="47412" y="14583"/>
                  </a:lnTo>
                  <a:lnTo>
                    <a:pt x="46573" y="14583"/>
                  </a:lnTo>
                  <a:lnTo>
                    <a:pt x="46573" y="12916"/>
                  </a:lnTo>
                  <a:lnTo>
                    <a:pt x="45734" y="11666"/>
                  </a:lnTo>
                  <a:lnTo>
                    <a:pt x="45734" y="10833"/>
                  </a:lnTo>
                  <a:lnTo>
                    <a:pt x="44475" y="8750"/>
                  </a:lnTo>
                  <a:lnTo>
                    <a:pt x="44475" y="7916"/>
                  </a:lnTo>
                  <a:lnTo>
                    <a:pt x="43636" y="6666"/>
                  </a:lnTo>
                  <a:lnTo>
                    <a:pt x="38601" y="5833"/>
                  </a:lnTo>
                  <a:lnTo>
                    <a:pt x="37762" y="5000"/>
                  </a:lnTo>
                  <a:lnTo>
                    <a:pt x="36923" y="3750"/>
                  </a:lnTo>
                  <a:lnTo>
                    <a:pt x="35664" y="3750"/>
                  </a:lnTo>
                  <a:lnTo>
                    <a:pt x="33566" y="2916"/>
                  </a:lnTo>
                  <a:lnTo>
                    <a:pt x="32727" y="2916"/>
                  </a:lnTo>
                  <a:lnTo>
                    <a:pt x="31888" y="2916"/>
                  </a:lnTo>
                  <a:lnTo>
                    <a:pt x="29790" y="2083"/>
                  </a:lnTo>
                  <a:lnTo>
                    <a:pt x="28951" y="2083"/>
                  </a:lnTo>
                  <a:lnTo>
                    <a:pt x="26013" y="2916"/>
                  </a:lnTo>
                  <a:lnTo>
                    <a:pt x="23076" y="2916"/>
                  </a:lnTo>
                  <a:lnTo>
                    <a:pt x="21818" y="2916"/>
                  </a:lnTo>
                  <a:lnTo>
                    <a:pt x="18881" y="833"/>
                  </a:lnTo>
                  <a:lnTo>
                    <a:pt x="18041" y="0"/>
                  </a:lnTo>
                  <a:lnTo>
                    <a:pt x="15944" y="0"/>
                  </a:lnTo>
                  <a:lnTo>
                    <a:pt x="15944" y="0"/>
                  </a:lnTo>
                  <a:lnTo>
                    <a:pt x="15944" y="2083"/>
                  </a:lnTo>
                  <a:lnTo>
                    <a:pt x="15944" y="2083"/>
                  </a:lnTo>
                  <a:lnTo>
                    <a:pt x="15944" y="2916"/>
                  </a:lnTo>
                  <a:lnTo>
                    <a:pt x="15944" y="5000"/>
                  </a:lnTo>
                  <a:lnTo>
                    <a:pt x="16783" y="5833"/>
                  </a:lnTo>
                  <a:lnTo>
                    <a:pt x="16783" y="5833"/>
                  </a:lnTo>
                  <a:lnTo>
                    <a:pt x="16783" y="6666"/>
                  </a:lnTo>
                  <a:lnTo>
                    <a:pt x="15104" y="6666"/>
                  </a:lnTo>
                  <a:lnTo>
                    <a:pt x="13846" y="7916"/>
                  </a:lnTo>
                  <a:lnTo>
                    <a:pt x="13006" y="8750"/>
                  </a:lnTo>
                  <a:lnTo>
                    <a:pt x="10909" y="9583"/>
                  </a:lnTo>
                  <a:lnTo>
                    <a:pt x="10909" y="9583"/>
                  </a:lnTo>
                  <a:lnTo>
                    <a:pt x="10069" y="10833"/>
                  </a:lnTo>
                  <a:lnTo>
                    <a:pt x="10069" y="10833"/>
                  </a:lnTo>
                  <a:lnTo>
                    <a:pt x="10069" y="10833"/>
                  </a:lnTo>
                  <a:lnTo>
                    <a:pt x="9230" y="11666"/>
                  </a:lnTo>
                  <a:lnTo>
                    <a:pt x="9230" y="12916"/>
                  </a:lnTo>
                  <a:lnTo>
                    <a:pt x="7132" y="12916"/>
                  </a:lnTo>
                  <a:lnTo>
                    <a:pt x="7132" y="12916"/>
                  </a:lnTo>
                  <a:lnTo>
                    <a:pt x="7132" y="13750"/>
                  </a:lnTo>
                  <a:lnTo>
                    <a:pt x="5874" y="13750"/>
                  </a:lnTo>
                  <a:lnTo>
                    <a:pt x="5874" y="14583"/>
                  </a:lnTo>
                  <a:lnTo>
                    <a:pt x="5874" y="16666"/>
                  </a:lnTo>
                  <a:lnTo>
                    <a:pt x="7132" y="18750"/>
                  </a:lnTo>
                  <a:lnTo>
                    <a:pt x="7132" y="19583"/>
                  </a:lnTo>
                  <a:lnTo>
                    <a:pt x="7132" y="19583"/>
                  </a:lnTo>
                  <a:lnTo>
                    <a:pt x="7132" y="20416"/>
                  </a:lnTo>
                  <a:lnTo>
                    <a:pt x="5874" y="21666"/>
                  </a:lnTo>
                  <a:lnTo>
                    <a:pt x="5874" y="22500"/>
                  </a:lnTo>
                  <a:lnTo>
                    <a:pt x="5034" y="23750"/>
                  </a:lnTo>
                  <a:lnTo>
                    <a:pt x="4195" y="24583"/>
                  </a:lnTo>
                  <a:lnTo>
                    <a:pt x="4195" y="24583"/>
                  </a:lnTo>
                  <a:lnTo>
                    <a:pt x="2097" y="25416"/>
                  </a:lnTo>
                  <a:lnTo>
                    <a:pt x="2097" y="25416"/>
                  </a:lnTo>
                  <a:lnTo>
                    <a:pt x="1258" y="26666"/>
                  </a:lnTo>
                  <a:lnTo>
                    <a:pt x="0" y="26666"/>
                  </a:lnTo>
                  <a:lnTo>
                    <a:pt x="1258" y="27500"/>
                  </a:lnTo>
                  <a:lnTo>
                    <a:pt x="2097" y="29583"/>
                  </a:lnTo>
                  <a:lnTo>
                    <a:pt x="2097" y="30416"/>
                  </a:lnTo>
                  <a:lnTo>
                    <a:pt x="2937" y="31250"/>
                  </a:lnTo>
                  <a:lnTo>
                    <a:pt x="2937" y="33333"/>
                  </a:lnTo>
                  <a:lnTo>
                    <a:pt x="4195" y="35416"/>
                  </a:lnTo>
                  <a:lnTo>
                    <a:pt x="4195" y="35416"/>
                  </a:lnTo>
                  <a:lnTo>
                    <a:pt x="4195" y="36250"/>
                  </a:lnTo>
                  <a:lnTo>
                    <a:pt x="4195" y="40416"/>
                  </a:lnTo>
                  <a:lnTo>
                    <a:pt x="4195" y="45416"/>
                  </a:lnTo>
                  <a:lnTo>
                    <a:pt x="4195" y="47083"/>
                  </a:lnTo>
                  <a:lnTo>
                    <a:pt x="4195" y="49166"/>
                  </a:lnTo>
                  <a:lnTo>
                    <a:pt x="2937" y="51250"/>
                  </a:lnTo>
                  <a:lnTo>
                    <a:pt x="2937" y="52083"/>
                  </a:lnTo>
                  <a:lnTo>
                    <a:pt x="4195" y="54166"/>
                  </a:lnTo>
                  <a:lnTo>
                    <a:pt x="4195" y="55000"/>
                  </a:lnTo>
                  <a:lnTo>
                    <a:pt x="4195" y="55000"/>
                  </a:lnTo>
                  <a:lnTo>
                    <a:pt x="4195" y="57083"/>
                  </a:lnTo>
                  <a:lnTo>
                    <a:pt x="4195" y="57916"/>
                  </a:lnTo>
                  <a:lnTo>
                    <a:pt x="2937" y="59166"/>
                  </a:lnTo>
                  <a:lnTo>
                    <a:pt x="1258" y="60000"/>
                  </a:lnTo>
                  <a:lnTo>
                    <a:pt x="1258" y="60833"/>
                  </a:lnTo>
                  <a:lnTo>
                    <a:pt x="1258" y="62083"/>
                  </a:lnTo>
                  <a:lnTo>
                    <a:pt x="1258" y="62083"/>
                  </a:lnTo>
                  <a:lnTo>
                    <a:pt x="2097" y="63750"/>
                  </a:lnTo>
                  <a:lnTo>
                    <a:pt x="2937" y="65833"/>
                  </a:lnTo>
                  <a:lnTo>
                    <a:pt x="5034" y="68750"/>
                  </a:lnTo>
                  <a:lnTo>
                    <a:pt x="5034" y="70000"/>
                  </a:lnTo>
                  <a:lnTo>
                    <a:pt x="5034" y="70833"/>
                  </a:lnTo>
                  <a:lnTo>
                    <a:pt x="5874" y="73750"/>
                  </a:lnTo>
                  <a:lnTo>
                    <a:pt x="7132" y="74583"/>
                  </a:lnTo>
                  <a:lnTo>
                    <a:pt x="7132" y="74583"/>
                  </a:lnTo>
                  <a:lnTo>
                    <a:pt x="7972" y="75833"/>
                  </a:lnTo>
                  <a:lnTo>
                    <a:pt x="7972" y="75833"/>
                  </a:lnTo>
                  <a:lnTo>
                    <a:pt x="7972" y="75833"/>
                  </a:lnTo>
                  <a:lnTo>
                    <a:pt x="10069" y="75833"/>
                  </a:lnTo>
                  <a:lnTo>
                    <a:pt x="13846" y="76666"/>
                  </a:lnTo>
                  <a:lnTo>
                    <a:pt x="16783" y="77916"/>
                  </a:lnTo>
                  <a:lnTo>
                    <a:pt x="16783" y="77916"/>
                  </a:lnTo>
                  <a:lnTo>
                    <a:pt x="18041" y="79583"/>
                  </a:lnTo>
                  <a:lnTo>
                    <a:pt x="18881" y="81666"/>
                  </a:lnTo>
                  <a:lnTo>
                    <a:pt x="18881" y="82500"/>
                  </a:lnTo>
                  <a:lnTo>
                    <a:pt x="19720" y="84583"/>
                  </a:lnTo>
                  <a:lnTo>
                    <a:pt x="23916" y="85416"/>
                  </a:lnTo>
                  <a:lnTo>
                    <a:pt x="27692" y="86666"/>
                  </a:lnTo>
                  <a:lnTo>
                    <a:pt x="31888" y="87500"/>
                  </a:lnTo>
                  <a:lnTo>
                    <a:pt x="32727" y="88750"/>
                  </a:lnTo>
                  <a:lnTo>
                    <a:pt x="34825" y="90416"/>
                  </a:lnTo>
                  <a:lnTo>
                    <a:pt x="36923" y="92500"/>
                  </a:lnTo>
                  <a:lnTo>
                    <a:pt x="37762" y="92500"/>
                  </a:lnTo>
                  <a:lnTo>
                    <a:pt x="37762" y="92500"/>
                  </a:lnTo>
                  <a:lnTo>
                    <a:pt x="39860" y="91666"/>
                  </a:lnTo>
                  <a:lnTo>
                    <a:pt x="42797" y="89583"/>
                  </a:lnTo>
                  <a:lnTo>
                    <a:pt x="42797" y="89583"/>
                  </a:lnTo>
                  <a:lnTo>
                    <a:pt x="45734" y="87500"/>
                  </a:lnTo>
                  <a:lnTo>
                    <a:pt x="47412" y="86666"/>
                  </a:lnTo>
                  <a:lnTo>
                    <a:pt x="50769" y="85416"/>
                  </a:lnTo>
                  <a:lnTo>
                    <a:pt x="53706" y="86666"/>
                  </a:lnTo>
                  <a:lnTo>
                    <a:pt x="56643" y="88750"/>
                  </a:lnTo>
                  <a:lnTo>
                    <a:pt x="60419" y="90416"/>
                  </a:lnTo>
                  <a:lnTo>
                    <a:pt x="64615" y="93333"/>
                  </a:lnTo>
                  <a:lnTo>
                    <a:pt x="68391" y="95416"/>
                  </a:lnTo>
                  <a:lnTo>
                    <a:pt x="71328" y="97500"/>
                  </a:lnTo>
                  <a:lnTo>
                    <a:pt x="75104" y="99583"/>
                  </a:lnTo>
                  <a:lnTo>
                    <a:pt x="79300" y="101250"/>
                  </a:lnTo>
                  <a:lnTo>
                    <a:pt x="82237" y="103333"/>
                  </a:lnTo>
                  <a:lnTo>
                    <a:pt x="86013" y="105416"/>
                  </a:lnTo>
                  <a:lnTo>
                    <a:pt x="90209" y="107500"/>
                  </a:lnTo>
                  <a:lnTo>
                    <a:pt x="93986" y="109166"/>
                  </a:lnTo>
                  <a:lnTo>
                    <a:pt x="96923" y="112083"/>
                  </a:lnTo>
                  <a:lnTo>
                    <a:pt x="101118" y="114166"/>
                  </a:lnTo>
                  <a:lnTo>
                    <a:pt x="104895" y="116250"/>
                  </a:lnTo>
                  <a:lnTo>
                    <a:pt x="109090" y="118333"/>
                  </a:lnTo>
                  <a:lnTo>
                    <a:pt x="112027" y="120000"/>
                  </a:lnTo>
                  <a:lnTo>
                    <a:pt x="112027" y="119166"/>
                  </a:lnTo>
                  <a:lnTo>
                    <a:pt x="112027" y="118333"/>
                  </a:lnTo>
                  <a:lnTo>
                    <a:pt x="112027" y="117083"/>
                  </a:lnTo>
                  <a:lnTo>
                    <a:pt x="112027" y="116250"/>
                  </a:lnTo>
                  <a:lnTo>
                    <a:pt x="113706" y="116250"/>
                  </a:lnTo>
                  <a:lnTo>
                    <a:pt x="115804" y="116250"/>
                  </a:lnTo>
                  <a:lnTo>
                    <a:pt x="117902" y="116250"/>
                  </a:lnTo>
                  <a:lnTo>
                    <a:pt x="120000" y="116250"/>
                  </a:lnTo>
                  <a:lnTo>
                    <a:pt x="120000" y="115000"/>
                  </a:lnTo>
                  <a:lnTo>
                    <a:pt x="120000" y="115000"/>
                  </a:lnTo>
                  <a:lnTo>
                    <a:pt x="120000" y="115000"/>
                  </a:lnTo>
                  <a:lnTo>
                    <a:pt x="120000" y="115000"/>
                  </a:lnTo>
                  <a:lnTo>
                    <a:pt x="120000" y="11125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46" name="Shape 446"/>
            <p:cNvSpPr/>
            <p:nvPr/>
          </p:nvSpPr>
          <p:spPr>
            <a:xfrm>
              <a:off x="3440" y="2628"/>
              <a:ext cx="0" cy="0"/>
            </a:xfrm>
            <a:custGeom>
              <a:avLst/>
              <a:gdLst/>
              <a:ahLst/>
              <a:cxnLst/>
              <a:rect l="0" t="0" r="0" b="0"/>
              <a:pathLst>
                <a:path w="120000" h="120000" extrusionOk="0">
                  <a:moveTo>
                    <a:pt x="120000" y="84137"/>
                  </a:moveTo>
                  <a:lnTo>
                    <a:pt x="116800" y="78620"/>
                  </a:lnTo>
                  <a:lnTo>
                    <a:pt x="116800" y="78620"/>
                  </a:lnTo>
                  <a:lnTo>
                    <a:pt x="116800" y="78620"/>
                  </a:lnTo>
                  <a:lnTo>
                    <a:pt x="116800" y="78620"/>
                  </a:lnTo>
                  <a:lnTo>
                    <a:pt x="113600" y="74482"/>
                  </a:lnTo>
                  <a:lnTo>
                    <a:pt x="108800" y="74482"/>
                  </a:lnTo>
                  <a:lnTo>
                    <a:pt x="108800" y="74482"/>
                  </a:lnTo>
                  <a:lnTo>
                    <a:pt x="108800" y="71724"/>
                  </a:lnTo>
                  <a:lnTo>
                    <a:pt x="105600" y="71724"/>
                  </a:lnTo>
                  <a:lnTo>
                    <a:pt x="105600" y="68965"/>
                  </a:lnTo>
                  <a:lnTo>
                    <a:pt x="105600" y="64827"/>
                  </a:lnTo>
                  <a:lnTo>
                    <a:pt x="100800" y="64827"/>
                  </a:lnTo>
                  <a:lnTo>
                    <a:pt x="100800" y="64827"/>
                  </a:lnTo>
                  <a:lnTo>
                    <a:pt x="97600" y="64827"/>
                  </a:lnTo>
                  <a:lnTo>
                    <a:pt x="97600" y="64827"/>
                  </a:lnTo>
                  <a:lnTo>
                    <a:pt x="94400" y="64827"/>
                  </a:lnTo>
                  <a:lnTo>
                    <a:pt x="89600" y="62068"/>
                  </a:lnTo>
                  <a:lnTo>
                    <a:pt x="89600" y="62068"/>
                  </a:lnTo>
                  <a:lnTo>
                    <a:pt x="89600" y="59310"/>
                  </a:lnTo>
                  <a:lnTo>
                    <a:pt x="86400" y="59310"/>
                  </a:lnTo>
                  <a:lnTo>
                    <a:pt x="86400" y="59310"/>
                  </a:lnTo>
                  <a:lnTo>
                    <a:pt x="86400" y="59310"/>
                  </a:lnTo>
                  <a:lnTo>
                    <a:pt x="83200" y="59310"/>
                  </a:lnTo>
                  <a:lnTo>
                    <a:pt x="89600" y="52413"/>
                  </a:lnTo>
                  <a:lnTo>
                    <a:pt x="94400" y="48275"/>
                  </a:lnTo>
                  <a:lnTo>
                    <a:pt x="94400" y="48275"/>
                  </a:lnTo>
                  <a:lnTo>
                    <a:pt x="94400" y="45517"/>
                  </a:lnTo>
                  <a:lnTo>
                    <a:pt x="94400" y="45517"/>
                  </a:lnTo>
                  <a:lnTo>
                    <a:pt x="94400" y="42758"/>
                  </a:lnTo>
                  <a:lnTo>
                    <a:pt x="89600" y="33103"/>
                  </a:lnTo>
                  <a:lnTo>
                    <a:pt x="89600" y="28965"/>
                  </a:lnTo>
                  <a:lnTo>
                    <a:pt x="89600" y="28965"/>
                  </a:lnTo>
                  <a:lnTo>
                    <a:pt x="86400" y="28965"/>
                  </a:lnTo>
                  <a:lnTo>
                    <a:pt x="86400" y="26206"/>
                  </a:lnTo>
                  <a:lnTo>
                    <a:pt x="86400" y="26206"/>
                  </a:lnTo>
                  <a:lnTo>
                    <a:pt x="86400" y="23448"/>
                  </a:lnTo>
                  <a:lnTo>
                    <a:pt x="83200" y="23448"/>
                  </a:lnTo>
                  <a:lnTo>
                    <a:pt x="83200" y="23448"/>
                  </a:lnTo>
                  <a:lnTo>
                    <a:pt x="83200" y="26206"/>
                  </a:lnTo>
                  <a:lnTo>
                    <a:pt x="83200" y="26206"/>
                  </a:lnTo>
                  <a:lnTo>
                    <a:pt x="78400" y="28965"/>
                  </a:lnTo>
                  <a:lnTo>
                    <a:pt x="78400" y="28965"/>
                  </a:lnTo>
                  <a:lnTo>
                    <a:pt x="78400" y="28965"/>
                  </a:lnTo>
                  <a:lnTo>
                    <a:pt x="78400" y="33103"/>
                  </a:lnTo>
                  <a:lnTo>
                    <a:pt x="75200" y="35862"/>
                  </a:lnTo>
                  <a:lnTo>
                    <a:pt x="75200" y="35862"/>
                  </a:lnTo>
                  <a:lnTo>
                    <a:pt x="75200" y="35862"/>
                  </a:lnTo>
                  <a:lnTo>
                    <a:pt x="75200" y="35862"/>
                  </a:lnTo>
                  <a:lnTo>
                    <a:pt x="75200" y="35862"/>
                  </a:lnTo>
                  <a:lnTo>
                    <a:pt x="72000" y="38620"/>
                  </a:lnTo>
                  <a:lnTo>
                    <a:pt x="67200" y="38620"/>
                  </a:lnTo>
                  <a:lnTo>
                    <a:pt x="67200" y="35862"/>
                  </a:lnTo>
                  <a:lnTo>
                    <a:pt x="67200" y="35862"/>
                  </a:lnTo>
                  <a:lnTo>
                    <a:pt x="67200" y="35862"/>
                  </a:lnTo>
                  <a:lnTo>
                    <a:pt x="64000" y="33103"/>
                  </a:lnTo>
                  <a:lnTo>
                    <a:pt x="64000" y="33103"/>
                  </a:lnTo>
                  <a:lnTo>
                    <a:pt x="60800" y="33103"/>
                  </a:lnTo>
                  <a:lnTo>
                    <a:pt x="60800" y="33103"/>
                  </a:lnTo>
                  <a:lnTo>
                    <a:pt x="60800" y="33103"/>
                  </a:lnTo>
                  <a:lnTo>
                    <a:pt x="60800" y="33103"/>
                  </a:lnTo>
                  <a:lnTo>
                    <a:pt x="60800" y="28965"/>
                  </a:lnTo>
                  <a:lnTo>
                    <a:pt x="60800" y="26206"/>
                  </a:lnTo>
                  <a:lnTo>
                    <a:pt x="60800" y="26206"/>
                  </a:lnTo>
                  <a:lnTo>
                    <a:pt x="60800" y="23448"/>
                  </a:lnTo>
                  <a:lnTo>
                    <a:pt x="60800" y="19310"/>
                  </a:lnTo>
                  <a:lnTo>
                    <a:pt x="60800" y="19310"/>
                  </a:lnTo>
                  <a:lnTo>
                    <a:pt x="60800" y="16551"/>
                  </a:lnTo>
                  <a:lnTo>
                    <a:pt x="60800" y="16551"/>
                  </a:lnTo>
                  <a:lnTo>
                    <a:pt x="60800" y="12413"/>
                  </a:lnTo>
                  <a:lnTo>
                    <a:pt x="60800" y="12413"/>
                  </a:lnTo>
                  <a:lnTo>
                    <a:pt x="60800" y="12413"/>
                  </a:lnTo>
                  <a:lnTo>
                    <a:pt x="60800" y="9655"/>
                  </a:lnTo>
                  <a:lnTo>
                    <a:pt x="56000" y="9655"/>
                  </a:lnTo>
                  <a:lnTo>
                    <a:pt x="56000" y="6896"/>
                  </a:lnTo>
                  <a:lnTo>
                    <a:pt x="56000" y="6896"/>
                  </a:lnTo>
                  <a:lnTo>
                    <a:pt x="56000" y="2758"/>
                  </a:lnTo>
                  <a:lnTo>
                    <a:pt x="56000" y="2758"/>
                  </a:lnTo>
                  <a:lnTo>
                    <a:pt x="52800" y="2758"/>
                  </a:lnTo>
                  <a:lnTo>
                    <a:pt x="52800" y="0"/>
                  </a:lnTo>
                  <a:lnTo>
                    <a:pt x="52800" y="0"/>
                  </a:lnTo>
                  <a:lnTo>
                    <a:pt x="52800" y="0"/>
                  </a:lnTo>
                  <a:lnTo>
                    <a:pt x="52800" y="2758"/>
                  </a:lnTo>
                  <a:lnTo>
                    <a:pt x="52800" y="2758"/>
                  </a:lnTo>
                  <a:lnTo>
                    <a:pt x="48000" y="0"/>
                  </a:lnTo>
                  <a:lnTo>
                    <a:pt x="48000" y="0"/>
                  </a:lnTo>
                  <a:lnTo>
                    <a:pt x="48000" y="0"/>
                  </a:lnTo>
                  <a:lnTo>
                    <a:pt x="41600" y="2758"/>
                  </a:lnTo>
                  <a:lnTo>
                    <a:pt x="41600" y="0"/>
                  </a:lnTo>
                  <a:lnTo>
                    <a:pt x="41600" y="0"/>
                  </a:lnTo>
                  <a:lnTo>
                    <a:pt x="36800" y="0"/>
                  </a:lnTo>
                  <a:lnTo>
                    <a:pt x="36800" y="0"/>
                  </a:lnTo>
                  <a:lnTo>
                    <a:pt x="33600" y="0"/>
                  </a:lnTo>
                  <a:lnTo>
                    <a:pt x="33600" y="2758"/>
                  </a:lnTo>
                  <a:lnTo>
                    <a:pt x="33600" y="6896"/>
                  </a:lnTo>
                  <a:lnTo>
                    <a:pt x="33600" y="9655"/>
                  </a:lnTo>
                  <a:lnTo>
                    <a:pt x="33600" y="9655"/>
                  </a:lnTo>
                  <a:lnTo>
                    <a:pt x="30400" y="9655"/>
                  </a:lnTo>
                  <a:lnTo>
                    <a:pt x="25600" y="12413"/>
                  </a:lnTo>
                  <a:lnTo>
                    <a:pt x="25600" y="19310"/>
                  </a:lnTo>
                  <a:lnTo>
                    <a:pt x="22400" y="23448"/>
                  </a:lnTo>
                  <a:lnTo>
                    <a:pt x="22400" y="23448"/>
                  </a:lnTo>
                  <a:lnTo>
                    <a:pt x="19200" y="28965"/>
                  </a:lnTo>
                  <a:lnTo>
                    <a:pt x="14400" y="28965"/>
                  </a:lnTo>
                  <a:lnTo>
                    <a:pt x="11200" y="33103"/>
                  </a:lnTo>
                  <a:lnTo>
                    <a:pt x="8000" y="35862"/>
                  </a:lnTo>
                  <a:lnTo>
                    <a:pt x="8000" y="35862"/>
                  </a:lnTo>
                  <a:lnTo>
                    <a:pt x="3200" y="42758"/>
                  </a:lnTo>
                  <a:lnTo>
                    <a:pt x="0" y="45517"/>
                  </a:lnTo>
                  <a:lnTo>
                    <a:pt x="0" y="45517"/>
                  </a:lnTo>
                  <a:lnTo>
                    <a:pt x="3200" y="52413"/>
                  </a:lnTo>
                  <a:lnTo>
                    <a:pt x="14400" y="55172"/>
                  </a:lnTo>
                  <a:lnTo>
                    <a:pt x="19200" y="59310"/>
                  </a:lnTo>
                  <a:lnTo>
                    <a:pt x="19200" y="64827"/>
                  </a:lnTo>
                  <a:lnTo>
                    <a:pt x="22400" y="64827"/>
                  </a:lnTo>
                  <a:lnTo>
                    <a:pt x="25600" y="68965"/>
                  </a:lnTo>
                  <a:lnTo>
                    <a:pt x="30400" y="68965"/>
                  </a:lnTo>
                  <a:lnTo>
                    <a:pt x="33600" y="71724"/>
                  </a:lnTo>
                  <a:lnTo>
                    <a:pt x="52800" y="88275"/>
                  </a:lnTo>
                  <a:lnTo>
                    <a:pt x="60800" y="95172"/>
                  </a:lnTo>
                  <a:lnTo>
                    <a:pt x="67200" y="100689"/>
                  </a:lnTo>
                  <a:lnTo>
                    <a:pt x="94400" y="114482"/>
                  </a:lnTo>
                  <a:lnTo>
                    <a:pt x="100800" y="117241"/>
                  </a:lnTo>
                  <a:lnTo>
                    <a:pt x="113600" y="120000"/>
                  </a:lnTo>
                  <a:lnTo>
                    <a:pt x="116800" y="120000"/>
                  </a:lnTo>
                  <a:lnTo>
                    <a:pt x="113600" y="120000"/>
                  </a:lnTo>
                  <a:lnTo>
                    <a:pt x="113600" y="114482"/>
                  </a:lnTo>
                  <a:lnTo>
                    <a:pt x="113600" y="107586"/>
                  </a:lnTo>
                  <a:lnTo>
                    <a:pt x="113600" y="104827"/>
                  </a:lnTo>
                  <a:lnTo>
                    <a:pt x="113600" y="100689"/>
                  </a:lnTo>
                  <a:lnTo>
                    <a:pt x="113600" y="100689"/>
                  </a:lnTo>
                  <a:lnTo>
                    <a:pt x="116800" y="97931"/>
                  </a:lnTo>
                  <a:lnTo>
                    <a:pt x="116800" y="97931"/>
                  </a:lnTo>
                  <a:lnTo>
                    <a:pt x="116800" y="95172"/>
                  </a:lnTo>
                  <a:lnTo>
                    <a:pt x="120000" y="91034"/>
                  </a:lnTo>
                  <a:lnTo>
                    <a:pt x="120000" y="88275"/>
                  </a:lnTo>
                  <a:lnTo>
                    <a:pt x="120000" y="88275"/>
                  </a:lnTo>
                  <a:lnTo>
                    <a:pt x="120000" y="84137"/>
                  </a:lnTo>
                  <a:lnTo>
                    <a:pt x="120000" y="84137"/>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47" name="Shape 447"/>
            <p:cNvSpPr/>
            <p:nvPr/>
          </p:nvSpPr>
          <p:spPr>
            <a:xfrm>
              <a:off x="4143" y="3411"/>
              <a:ext cx="0" cy="0"/>
            </a:xfrm>
            <a:custGeom>
              <a:avLst/>
              <a:gdLst/>
              <a:ahLst/>
              <a:cxnLst/>
              <a:rect l="0" t="0" r="0" b="0"/>
              <a:pathLst>
                <a:path w="120000" h="120000" extrusionOk="0">
                  <a:moveTo>
                    <a:pt x="120000" y="37333"/>
                  </a:moveTo>
                  <a:lnTo>
                    <a:pt x="120000" y="29333"/>
                  </a:lnTo>
                  <a:lnTo>
                    <a:pt x="120000" y="29333"/>
                  </a:lnTo>
                  <a:lnTo>
                    <a:pt x="111627" y="29333"/>
                  </a:lnTo>
                  <a:lnTo>
                    <a:pt x="111627" y="24000"/>
                  </a:lnTo>
                  <a:lnTo>
                    <a:pt x="106046" y="24000"/>
                  </a:lnTo>
                  <a:lnTo>
                    <a:pt x="97674" y="18666"/>
                  </a:lnTo>
                  <a:lnTo>
                    <a:pt x="92093" y="10666"/>
                  </a:lnTo>
                  <a:lnTo>
                    <a:pt x="92093" y="10666"/>
                  </a:lnTo>
                  <a:lnTo>
                    <a:pt x="86511" y="5333"/>
                  </a:lnTo>
                  <a:lnTo>
                    <a:pt x="86511" y="5333"/>
                  </a:lnTo>
                  <a:lnTo>
                    <a:pt x="86511" y="0"/>
                  </a:lnTo>
                  <a:lnTo>
                    <a:pt x="86511" y="0"/>
                  </a:lnTo>
                  <a:lnTo>
                    <a:pt x="78139" y="0"/>
                  </a:lnTo>
                  <a:lnTo>
                    <a:pt x="78139" y="5333"/>
                  </a:lnTo>
                  <a:lnTo>
                    <a:pt x="66976" y="5333"/>
                  </a:lnTo>
                  <a:lnTo>
                    <a:pt x="58604" y="10666"/>
                  </a:lnTo>
                  <a:lnTo>
                    <a:pt x="53023" y="18666"/>
                  </a:lnTo>
                  <a:lnTo>
                    <a:pt x="47441" y="18666"/>
                  </a:lnTo>
                  <a:lnTo>
                    <a:pt x="39069" y="18666"/>
                  </a:lnTo>
                  <a:lnTo>
                    <a:pt x="33488" y="24000"/>
                  </a:lnTo>
                  <a:lnTo>
                    <a:pt x="33488" y="29333"/>
                  </a:lnTo>
                  <a:lnTo>
                    <a:pt x="27906" y="37333"/>
                  </a:lnTo>
                  <a:lnTo>
                    <a:pt x="27906" y="37333"/>
                  </a:lnTo>
                  <a:lnTo>
                    <a:pt x="27906" y="42666"/>
                  </a:lnTo>
                  <a:lnTo>
                    <a:pt x="19534" y="42666"/>
                  </a:lnTo>
                  <a:lnTo>
                    <a:pt x="19534" y="50666"/>
                  </a:lnTo>
                  <a:lnTo>
                    <a:pt x="13953" y="56000"/>
                  </a:lnTo>
                  <a:lnTo>
                    <a:pt x="13953" y="56000"/>
                  </a:lnTo>
                  <a:lnTo>
                    <a:pt x="5581" y="56000"/>
                  </a:lnTo>
                  <a:lnTo>
                    <a:pt x="0" y="61333"/>
                  </a:lnTo>
                  <a:lnTo>
                    <a:pt x="0" y="61333"/>
                  </a:lnTo>
                  <a:lnTo>
                    <a:pt x="5581" y="69333"/>
                  </a:lnTo>
                  <a:lnTo>
                    <a:pt x="5581" y="69333"/>
                  </a:lnTo>
                  <a:lnTo>
                    <a:pt x="5581" y="74666"/>
                  </a:lnTo>
                  <a:lnTo>
                    <a:pt x="13953" y="80000"/>
                  </a:lnTo>
                  <a:lnTo>
                    <a:pt x="13953" y="88000"/>
                  </a:lnTo>
                  <a:lnTo>
                    <a:pt x="19534" y="88000"/>
                  </a:lnTo>
                  <a:lnTo>
                    <a:pt x="13953" y="93333"/>
                  </a:lnTo>
                  <a:lnTo>
                    <a:pt x="19534" y="93333"/>
                  </a:lnTo>
                  <a:lnTo>
                    <a:pt x="19534" y="98666"/>
                  </a:lnTo>
                  <a:lnTo>
                    <a:pt x="19534" y="98666"/>
                  </a:lnTo>
                  <a:lnTo>
                    <a:pt x="19534" y="98666"/>
                  </a:lnTo>
                  <a:lnTo>
                    <a:pt x="19534" y="98666"/>
                  </a:lnTo>
                  <a:lnTo>
                    <a:pt x="27906" y="98666"/>
                  </a:lnTo>
                  <a:lnTo>
                    <a:pt x="27906" y="106666"/>
                  </a:lnTo>
                  <a:lnTo>
                    <a:pt x="27906" y="106666"/>
                  </a:lnTo>
                  <a:lnTo>
                    <a:pt x="33488" y="112000"/>
                  </a:lnTo>
                  <a:lnTo>
                    <a:pt x="33488" y="112000"/>
                  </a:lnTo>
                  <a:lnTo>
                    <a:pt x="39069" y="112000"/>
                  </a:lnTo>
                  <a:lnTo>
                    <a:pt x="47441" y="120000"/>
                  </a:lnTo>
                  <a:lnTo>
                    <a:pt x="53023" y="112000"/>
                  </a:lnTo>
                  <a:lnTo>
                    <a:pt x="53023" y="112000"/>
                  </a:lnTo>
                  <a:lnTo>
                    <a:pt x="53023" y="112000"/>
                  </a:lnTo>
                  <a:lnTo>
                    <a:pt x="53023" y="106666"/>
                  </a:lnTo>
                  <a:lnTo>
                    <a:pt x="58604" y="106666"/>
                  </a:lnTo>
                  <a:lnTo>
                    <a:pt x="66976" y="93333"/>
                  </a:lnTo>
                  <a:lnTo>
                    <a:pt x="66976" y="88000"/>
                  </a:lnTo>
                  <a:lnTo>
                    <a:pt x="72558" y="88000"/>
                  </a:lnTo>
                  <a:lnTo>
                    <a:pt x="72558" y="88000"/>
                  </a:lnTo>
                  <a:lnTo>
                    <a:pt x="78139" y="88000"/>
                  </a:lnTo>
                  <a:lnTo>
                    <a:pt x="78139" y="88000"/>
                  </a:lnTo>
                  <a:lnTo>
                    <a:pt x="78139" y="88000"/>
                  </a:lnTo>
                  <a:lnTo>
                    <a:pt x="86511" y="88000"/>
                  </a:lnTo>
                  <a:lnTo>
                    <a:pt x="92093" y="80000"/>
                  </a:lnTo>
                  <a:lnTo>
                    <a:pt x="97674" y="80000"/>
                  </a:lnTo>
                  <a:lnTo>
                    <a:pt x="97674" y="80000"/>
                  </a:lnTo>
                  <a:lnTo>
                    <a:pt x="106046" y="74666"/>
                  </a:lnTo>
                  <a:lnTo>
                    <a:pt x="106046" y="69333"/>
                  </a:lnTo>
                  <a:lnTo>
                    <a:pt x="106046" y="61333"/>
                  </a:lnTo>
                  <a:lnTo>
                    <a:pt x="111627" y="61333"/>
                  </a:lnTo>
                  <a:lnTo>
                    <a:pt x="111627" y="56000"/>
                  </a:lnTo>
                  <a:lnTo>
                    <a:pt x="111627" y="56000"/>
                  </a:lnTo>
                  <a:lnTo>
                    <a:pt x="120000" y="50666"/>
                  </a:lnTo>
                  <a:lnTo>
                    <a:pt x="120000" y="42666"/>
                  </a:lnTo>
                  <a:lnTo>
                    <a:pt x="120000" y="37333"/>
                  </a:lnTo>
                  <a:lnTo>
                    <a:pt x="120000" y="37333"/>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48" name="Shape 448"/>
            <p:cNvSpPr/>
            <p:nvPr/>
          </p:nvSpPr>
          <p:spPr>
            <a:xfrm>
              <a:off x="4282" y="2075"/>
              <a:ext cx="0" cy="0"/>
            </a:xfrm>
            <a:custGeom>
              <a:avLst/>
              <a:gdLst/>
              <a:ahLst/>
              <a:cxnLst/>
              <a:rect l="0" t="0" r="0" b="0"/>
              <a:pathLst>
                <a:path w="120000" h="120000" extrusionOk="0">
                  <a:moveTo>
                    <a:pt x="110769" y="24000"/>
                  </a:moveTo>
                  <a:lnTo>
                    <a:pt x="96923" y="13714"/>
                  </a:lnTo>
                  <a:lnTo>
                    <a:pt x="96923" y="13714"/>
                  </a:lnTo>
                  <a:lnTo>
                    <a:pt x="87692" y="13714"/>
                  </a:lnTo>
                  <a:lnTo>
                    <a:pt x="87692" y="13714"/>
                  </a:lnTo>
                  <a:lnTo>
                    <a:pt x="96923" y="6857"/>
                  </a:lnTo>
                  <a:lnTo>
                    <a:pt x="96923" y="6857"/>
                  </a:lnTo>
                  <a:lnTo>
                    <a:pt x="96923" y="6857"/>
                  </a:lnTo>
                  <a:lnTo>
                    <a:pt x="87692" y="0"/>
                  </a:lnTo>
                  <a:lnTo>
                    <a:pt x="87692" y="6857"/>
                  </a:lnTo>
                  <a:lnTo>
                    <a:pt x="78461" y="6857"/>
                  </a:lnTo>
                  <a:lnTo>
                    <a:pt x="64615" y="6857"/>
                  </a:lnTo>
                  <a:lnTo>
                    <a:pt x="64615" y="13714"/>
                  </a:lnTo>
                  <a:lnTo>
                    <a:pt x="55384" y="13714"/>
                  </a:lnTo>
                  <a:lnTo>
                    <a:pt x="55384" y="24000"/>
                  </a:lnTo>
                  <a:lnTo>
                    <a:pt x="46153" y="30857"/>
                  </a:lnTo>
                  <a:lnTo>
                    <a:pt x="32307" y="48000"/>
                  </a:lnTo>
                  <a:lnTo>
                    <a:pt x="32307" y="65142"/>
                  </a:lnTo>
                  <a:lnTo>
                    <a:pt x="23076" y="89142"/>
                  </a:lnTo>
                  <a:lnTo>
                    <a:pt x="13846" y="96000"/>
                  </a:lnTo>
                  <a:lnTo>
                    <a:pt x="13846" y="102857"/>
                  </a:lnTo>
                  <a:lnTo>
                    <a:pt x="13846" y="113142"/>
                  </a:lnTo>
                  <a:lnTo>
                    <a:pt x="0" y="120000"/>
                  </a:lnTo>
                  <a:lnTo>
                    <a:pt x="13846" y="120000"/>
                  </a:lnTo>
                  <a:lnTo>
                    <a:pt x="23076" y="120000"/>
                  </a:lnTo>
                  <a:lnTo>
                    <a:pt x="32307" y="120000"/>
                  </a:lnTo>
                  <a:lnTo>
                    <a:pt x="32307" y="113142"/>
                  </a:lnTo>
                  <a:lnTo>
                    <a:pt x="32307" y="102857"/>
                  </a:lnTo>
                  <a:lnTo>
                    <a:pt x="46153" y="102857"/>
                  </a:lnTo>
                  <a:lnTo>
                    <a:pt x="46153" y="102857"/>
                  </a:lnTo>
                  <a:lnTo>
                    <a:pt x="46153" y="102857"/>
                  </a:lnTo>
                  <a:lnTo>
                    <a:pt x="55384" y="102857"/>
                  </a:lnTo>
                  <a:lnTo>
                    <a:pt x="55384" y="96000"/>
                  </a:lnTo>
                  <a:lnTo>
                    <a:pt x="64615" y="96000"/>
                  </a:lnTo>
                  <a:lnTo>
                    <a:pt x="64615" y="96000"/>
                  </a:lnTo>
                  <a:lnTo>
                    <a:pt x="64615" y="89142"/>
                  </a:lnTo>
                  <a:lnTo>
                    <a:pt x="64615" y="89142"/>
                  </a:lnTo>
                  <a:lnTo>
                    <a:pt x="64615" y="89142"/>
                  </a:lnTo>
                  <a:lnTo>
                    <a:pt x="78461" y="78857"/>
                  </a:lnTo>
                  <a:lnTo>
                    <a:pt x="78461" y="78857"/>
                  </a:lnTo>
                  <a:lnTo>
                    <a:pt x="78461" y="78857"/>
                  </a:lnTo>
                  <a:lnTo>
                    <a:pt x="64615" y="78857"/>
                  </a:lnTo>
                  <a:lnTo>
                    <a:pt x="64615" y="78857"/>
                  </a:lnTo>
                  <a:lnTo>
                    <a:pt x="64615" y="72000"/>
                  </a:lnTo>
                  <a:lnTo>
                    <a:pt x="64615" y="72000"/>
                  </a:lnTo>
                  <a:lnTo>
                    <a:pt x="78461" y="65142"/>
                  </a:lnTo>
                  <a:lnTo>
                    <a:pt x="78461" y="65142"/>
                  </a:lnTo>
                  <a:lnTo>
                    <a:pt x="87692" y="65142"/>
                  </a:lnTo>
                  <a:lnTo>
                    <a:pt x="87692" y="65142"/>
                  </a:lnTo>
                  <a:lnTo>
                    <a:pt x="96923" y="65142"/>
                  </a:lnTo>
                  <a:lnTo>
                    <a:pt x="96923" y="65142"/>
                  </a:lnTo>
                  <a:lnTo>
                    <a:pt x="96923" y="65142"/>
                  </a:lnTo>
                  <a:lnTo>
                    <a:pt x="96923" y="65142"/>
                  </a:lnTo>
                  <a:lnTo>
                    <a:pt x="96923" y="54857"/>
                  </a:lnTo>
                  <a:lnTo>
                    <a:pt x="96923" y="54857"/>
                  </a:lnTo>
                  <a:lnTo>
                    <a:pt x="96923" y="54857"/>
                  </a:lnTo>
                  <a:lnTo>
                    <a:pt x="96923" y="48000"/>
                  </a:lnTo>
                  <a:lnTo>
                    <a:pt x="110769" y="48000"/>
                  </a:lnTo>
                  <a:lnTo>
                    <a:pt x="110769" y="48000"/>
                  </a:lnTo>
                  <a:lnTo>
                    <a:pt x="110769" y="41142"/>
                  </a:lnTo>
                  <a:lnTo>
                    <a:pt x="120000" y="41142"/>
                  </a:lnTo>
                  <a:lnTo>
                    <a:pt x="110769" y="2400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49" name="Shape 449"/>
            <p:cNvSpPr/>
            <p:nvPr/>
          </p:nvSpPr>
          <p:spPr>
            <a:xfrm>
              <a:off x="4011" y="1595"/>
              <a:ext cx="0" cy="0"/>
            </a:xfrm>
            <a:custGeom>
              <a:avLst/>
              <a:gdLst/>
              <a:ahLst/>
              <a:cxnLst/>
              <a:rect l="0" t="0" r="0" b="0"/>
              <a:pathLst>
                <a:path w="120000" h="120000" extrusionOk="0">
                  <a:moveTo>
                    <a:pt x="120000" y="89361"/>
                  </a:moveTo>
                  <a:lnTo>
                    <a:pt x="117837" y="84255"/>
                  </a:lnTo>
                  <a:lnTo>
                    <a:pt x="117837" y="76595"/>
                  </a:lnTo>
                  <a:lnTo>
                    <a:pt x="117837" y="76595"/>
                  </a:lnTo>
                  <a:lnTo>
                    <a:pt x="114594" y="71489"/>
                  </a:lnTo>
                  <a:lnTo>
                    <a:pt x="114594" y="71489"/>
                  </a:lnTo>
                  <a:lnTo>
                    <a:pt x="114594" y="66382"/>
                  </a:lnTo>
                  <a:lnTo>
                    <a:pt x="112432" y="66382"/>
                  </a:lnTo>
                  <a:lnTo>
                    <a:pt x="112432" y="58723"/>
                  </a:lnTo>
                  <a:lnTo>
                    <a:pt x="112432" y="58723"/>
                  </a:lnTo>
                  <a:lnTo>
                    <a:pt x="112432" y="58723"/>
                  </a:lnTo>
                  <a:lnTo>
                    <a:pt x="110270" y="58723"/>
                  </a:lnTo>
                  <a:lnTo>
                    <a:pt x="110270" y="58723"/>
                  </a:lnTo>
                  <a:lnTo>
                    <a:pt x="110270" y="53617"/>
                  </a:lnTo>
                  <a:lnTo>
                    <a:pt x="110270" y="48510"/>
                  </a:lnTo>
                  <a:lnTo>
                    <a:pt x="110270" y="48510"/>
                  </a:lnTo>
                  <a:lnTo>
                    <a:pt x="110270" y="40851"/>
                  </a:lnTo>
                  <a:lnTo>
                    <a:pt x="112432" y="40851"/>
                  </a:lnTo>
                  <a:lnTo>
                    <a:pt x="112432" y="40851"/>
                  </a:lnTo>
                  <a:lnTo>
                    <a:pt x="110270" y="35744"/>
                  </a:lnTo>
                  <a:lnTo>
                    <a:pt x="110270" y="35744"/>
                  </a:lnTo>
                  <a:lnTo>
                    <a:pt x="107027" y="35744"/>
                  </a:lnTo>
                  <a:lnTo>
                    <a:pt x="104864" y="30638"/>
                  </a:lnTo>
                  <a:lnTo>
                    <a:pt x="104864" y="30638"/>
                  </a:lnTo>
                  <a:lnTo>
                    <a:pt x="104864" y="30638"/>
                  </a:lnTo>
                  <a:lnTo>
                    <a:pt x="101621" y="22978"/>
                  </a:lnTo>
                  <a:lnTo>
                    <a:pt x="101621" y="30638"/>
                  </a:lnTo>
                  <a:lnTo>
                    <a:pt x="99459" y="22978"/>
                  </a:lnTo>
                  <a:lnTo>
                    <a:pt x="97297" y="22978"/>
                  </a:lnTo>
                  <a:lnTo>
                    <a:pt x="97297" y="22978"/>
                  </a:lnTo>
                  <a:lnTo>
                    <a:pt x="94054" y="22978"/>
                  </a:lnTo>
                  <a:lnTo>
                    <a:pt x="94054" y="22978"/>
                  </a:lnTo>
                  <a:lnTo>
                    <a:pt x="89729" y="22978"/>
                  </a:lnTo>
                  <a:lnTo>
                    <a:pt x="86486" y="22978"/>
                  </a:lnTo>
                  <a:lnTo>
                    <a:pt x="84324" y="22978"/>
                  </a:lnTo>
                  <a:lnTo>
                    <a:pt x="84324" y="17872"/>
                  </a:lnTo>
                  <a:lnTo>
                    <a:pt x="78918" y="10212"/>
                  </a:lnTo>
                  <a:lnTo>
                    <a:pt x="78918" y="10212"/>
                  </a:lnTo>
                  <a:lnTo>
                    <a:pt x="78918" y="10212"/>
                  </a:lnTo>
                  <a:lnTo>
                    <a:pt x="76756" y="10212"/>
                  </a:lnTo>
                  <a:lnTo>
                    <a:pt x="74594" y="5106"/>
                  </a:lnTo>
                  <a:lnTo>
                    <a:pt x="74594" y="5106"/>
                  </a:lnTo>
                  <a:lnTo>
                    <a:pt x="71351" y="5106"/>
                  </a:lnTo>
                  <a:lnTo>
                    <a:pt x="69189" y="0"/>
                  </a:lnTo>
                  <a:lnTo>
                    <a:pt x="65945" y="0"/>
                  </a:lnTo>
                  <a:lnTo>
                    <a:pt x="65945" y="0"/>
                  </a:lnTo>
                  <a:lnTo>
                    <a:pt x="65945" y="0"/>
                  </a:lnTo>
                  <a:lnTo>
                    <a:pt x="65945" y="5106"/>
                  </a:lnTo>
                  <a:lnTo>
                    <a:pt x="65945" y="5106"/>
                  </a:lnTo>
                  <a:lnTo>
                    <a:pt x="65945" y="0"/>
                  </a:lnTo>
                  <a:lnTo>
                    <a:pt x="63783" y="0"/>
                  </a:lnTo>
                  <a:lnTo>
                    <a:pt x="61621" y="5106"/>
                  </a:lnTo>
                  <a:lnTo>
                    <a:pt x="61621" y="5106"/>
                  </a:lnTo>
                  <a:lnTo>
                    <a:pt x="58378" y="5106"/>
                  </a:lnTo>
                  <a:lnTo>
                    <a:pt x="54054" y="5106"/>
                  </a:lnTo>
                  <a:lnTo>
                    <a:pt x="54054" y="10212"/>
                  </a:lnTo>
                  <a:lnTo>
                    <a:pt x="50810" y="10212"/>
                  </a:lnTo>
                  <a:lnTo>
                    <a:pt x="50810" y="10212"/>
                  </a:lnTo>
                  <a:lnTo>
                    <a:pt x="54054" y="22978"/>
                  </a:lnTo>
                  <a:lnTo>
                    <a:pt x="54054" y="35744"/>
                  </a:lnTo>
                  <a:lnTo>
                    <a:pt x="54054" y="40851"/>
                  </a:lnTo>
                  <a:lnTo>
                    <a:pt x="54054" y="40851"/>
                  </a:lnTo>
                  <a:lnTo>
                    <a:pt x="48648" y="48510"/>
                  </a:lnTo>
                  <a:lnTo>
                    <a:pt x="46486" y="53617"/>
                  </a:lnTo>
                  <a:lnTo>
                    <a:pt x="43243" y="53617"/>
                  </a:lnTo>
                  <a:lnTo>
                    <a:pt x="35675" y="48510"/>
                  </a:lnTo>
                  <a:lnTo>
                    <a:pt x="33513" y="35744"/>
                  </a:lnTo>
                  <a:lnTo>
                    <a:pt x="30270" y="35744"/>
                  </a:lnTo>
                  <a:lnTo>
                    <a:pt x="25945" y="22978"/>
                  </a:lnTo>
                  <a:lnTo>
                    <a:pt x="25945" y="17872"/>
                  </a:lnTo>
                  <a:lnTo>
                    <a:pt x="22702" y="17872"/>
                  </a:lnTo>
                  <a:lnTo>
                    <a:pt x="18378" y="17872"/>
                  </a:lnTo>
                  <a:lnTo>
                    <a:pt x="12972" y="22978"/>
                  </a:lnTo>
                  <a:lnTo>
                    <a:pt x="10810" y="22978"/>
                  </a:lnTo>
                  <a:lnTo>
                    <a:pt x="5405" y="35744"/>
                  </a:lnTo>
                  <a:lnTo>
                    <a:pt x="5405" y="40851"/>
                  </a:lnTo>
                  <a:lnTo>
                    <a:pt x="5405" y="48510"/>
                  </a:lnTo>
                  <a:lnTo>
                    <a:pt x="5405" y="53617"/>
                  </a:lnTo>
                  <a:lnTo>
                    <a:pt x="3243" y="53617"/>
                  </a:lnTo>
                  <a:lnTo>
                    <a:pt x="0" y="58723"/>
                  </a:lnTo>
                  <a:lnTo>
                    <a:pt x="0" y="71489"/>
                  </a:lnTo>
                  <a:lnTo>
                    <a:pt x="0" y="89361"/>
                  </a:lnTo>
                  <a:lnTo>
                    <a:pt x="0" y="102127"/>
                  </a:lnTo>
                  <a:lnTo>
                    <a:pt x="5405" y="97021"/>
                  </a:lnTo>
                  <a:lnTo>
                    <a:pt x="10810" y="89361"/>
                  </a:lnTo>
                  <a:lnTo>
                    <a:pt x="12972" y="89361"/>
                  </a:lnTo>
                  <a:lnTo>
                    <a:pt x="18378" y="84255"/>
                  </a:lnTo>
                  <a:lnTo>
                    <a:pt x="18378" y="84255"/>
                  </a:lnTo>
                  <a:lnTo>
                    <a:pt x="22702" y="84255"/>
                  </a:lnTo>
                  <a:lnTo>
                    <a:pt x="25945" y="84255"/>
                  </a:lnTo>
                  <a:lnTo>
                    <a:pt x="28108" y="84255"/>
                  </a:lnTo>
                  <a:lnTo>
                    <a:pt x="30270" y="84255"/>
                  </a:lnTo>
                  <a:lnTo>
                    <a:pt x="33513" y="84255"/>
                  </a:lnTo>
                  <a:lnTo>
                    <a:pt x="33513" y="89361"/>
                  </a:lnTo>
                  <a:lnTo>
                    <a:pt x="35675" y="84255"/>
                  </a:lnTo>
                  <a:lnTo>
                    <a:pt x="35675" y="84255"/>
                  </a:lnTo>
                  <a:lnTo>
                    <a:pt x="43243" y="84255"/>
                  </a:lnTo>
                  <a:lnTo>
                    <a:pt x="43243" y="84255"/>
                  </a:lnTo>
                  <a:lnTo>
                    <a:pt x="46486" y="84255"/>
                  </a:lnTo>
                  <a:lnTo>
                    <a:pt x="48648" y="89361"/>
                  </a:lnTo>
                  <a:lnTo>
                    <a:pt x="50810" y="89361"/>
                  </a:lnTo>
                  <a:lnTo>
                    <a:pt x="56216" y="89361"/>
                  </a:lnTo>
                  <a:lnTo>
                    <a:pt x="58378" y="89361"/>
                  </a:lnTo>
                  <a:lnTo>
                    <a:pt x="58378" y="89361"/>
                  </a:lnTo>
                  <a:lnTo>
                    <a:pt x="61621" y="84255"/>
                  </a:lnTo>
                  <a:lnTo>
                    <a:pt x="61621" y="84255"/>
                  </a:lnTo>
                  <a:lnTo>
                    <a:pt x="63783" y="84255"/>
                  </a:lnTo>
                  <a:lnTo>
                    <a:pt x="63783" y="84255"/>
                  </a:lnTo>
                  <a:lnTo>
                    <a:pt x="65945" y="89361"/>
                  </a:lnTo>
                  <a:lnTo>
                    <a:pt x="65945" y="97021"/>
                  </a:lnTo>
                  <a:lnTo>
                    <a:pt x="69189" y="97021"/>
                  </a:lnTo>
                  <a:lnTo>
                    <a:pt x="76756" y="97021"/>
                  </a:lnTo>
                  <a:lnTo>
                    <a:pt x="76756" y="97021"/>
                  </a:lnTo>
                  <a:lnTo>
                    <a:pt x="82162" y="102127"/>
                  </a:lnTo>
                  <a:lnTo>
                    <a:pt x="84324" y="107234"/>
                  </a:lnTo>
                  <a:lnTo>
                    <a:pt x="84324" y="107234"/>
                  </a:lnTo>
                  <a:lnTo>
                    <a:pt x="86486" y="114893"/>
                  </a:lnTo>
                  <a:lnTo>
                    <a:pt x="89729" y="114893"/>
                  </a:lnTo>
                  <a:lnTo>
                    <a:pt x="91891" y="120000"/>
                  </a:lnTo>
                  <a:lnTo>
                    <a:pt x="94054" y="120000"/>
                  </a:lnTo>
                  <a:lnTo>
                    <a:pt x="94054" y="120000"/>
                  </a:lnTo>
                  <a:lnTo>
                    <a:pt x="94054" y="120000"/>
                  </a:lnTo>
                  <a:lnTo>
                    <a:pt x="97297" y="120000"/>
                  </a:lnTo>
                  <a:lnTo>
                    <a:pt x="97297" y="120000"/>
                  </a:lnTo>
                  <a:lnTo>
                    <a:pt x="99459" y="114893"/>
                  </a:lnTo>
                  <a:lnTo>
                    <a:pt x="101621" y="114893"/>
                  </a:lnTo>
                  <a:lnTo>
                    <a:pt x="104864" y="114893"/>
                  </a:lnTo>
                  <a:lnTo>
                    <a:pt x="107027" y="114893"/>
                  </a:lnTo>
                  <a:lnTo>
                    <a:pt x="107027" y="114893"/>
                  </a:lnTo>
                  <a:lnTo>
                    <a:pt x="110270" y="114893"/>
                  </a:lnTo>
                  <a:lnTo>
                    <a:pt x="110270" y="114893"/>
                  </a:lnTo>
                  <a:lnTo>
                    <a:pt x="112432" y="107234"/>
                  </a:lnTo>
                  <a:lnTo>
                    <a:pt x="112432" y="107234"/>
                  </a:lnTo>
                  <a:lnTo>
                    <a:pt x="114594" y="102127"/>
                  </a:lnTo>
                  <a:lnTo>
                    <a:pt x="117837" y="97021"/>
                  </a:lnTo>
                  <a:lnTo>
                    <a:pt x="117837" y="97021"/>
                  </a:lnTo>
                  <a:lnTo>
                    <a:pt x="120000" y="97021"/>
                  </a:lnTo>
                  <a:lnTo>
                    <a:pt x="120000" y="97021"/>
                  </a:lnTo>
                  <a:lnTo>
                    <a:pt x="120000" y="89361"/>
                  </a:lnTo>
                  <a:lnTo>
                    <a:pt x="120000" y="89361"/>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50" name="Shape 450"/>
            <p:cNvSpPr/>
            <p:nvPr/>
          </p:nvSpPr>
          <p:spPr>
            <a:xfrm>
              <a:off x="5484" y="2332"/>
              <a:ext cx="300" cy="300"/>
            </a:xfrm>
            <a:custGeom>
              <a:avLst/>
              <a:gdLst/>
              <a:ahLst/>
              <a:cxnLst/>
              <a:rect l="0" t="0" r="0" b="0"/>
              <a:pathLst>
                <a:path w="120000" h="120000" extrusionOk="0">
                  <a:moveTo>
                    <a:pt x="120000" y="100219"/>
                  </a:moveTo>
                  <a:lnTo>
                    <a:pt x="118410" y="100219"/>
                  </a:lnTo>
                  <a:lnTo>
                    <a:pt x="118410" y="98241"/>
                  </a:lnTo>
                  <a:lnTo>
                    <a:pt x="116026" y="96923"/>
                  </a:lnTo>
                  <a:lnTo>
                    <a:pt x="114437" y="96923"/>
                  </a:lnTo>
                  <a:lnTo>
                    <a:pt x="114437" y="95604"/>
                  </a:lnTo>
                  <a:lnTo>
                    <a:pt x="112847" y="93626"/>
                  </a:lnTo>
                  <a:lnTo>
                    <a:pt x="112847" y="93626"/>
                  </a:lnTo>
                  <a:lnTo>
                    <a:pt x="112847" y="93626"/>
                  </a:lnTo>
                  <a:lnTo>
                    <a:pt x="114437" y="92307"/>
                  </a:lnTo>
                  <a:lnTo>
                    <a:pt x="116026" y="92307"/>
                  </a:lnTo>
                  <a:lnTo>
                    <a:pt x="116026" y="90989"/>
                  </a:lnTo>
                  <a:lnTo>
                    <a:pt x="114437" y="90989"/>
                  </a:lnTo>
                  <a:lnTo>
                    <a:pt x="114437" y="90989"/>
                  </a:lnTo>
                  <a:lnTo>
                    <a:pt x="114437" y="89010"/>
                  </a:lnTo>
                  <a:lnTo>
                    <a:pt x="112847" y="89010"/>
                  </a:lnTo>
                  <a:lnTo>
                    <a:pt x="110463" y="87692"/>
                  </a:lnTo>
                  <a:lnTo>
                    <a:pt x="108874" y="85714"/>
                  </a:lnTo>
                  <a:lnTo>
                    <a:pt x="107284" y="85714"/>
                  </a:lnTo>
                  <a:lnTo>
                    <a:pt x="107284" y="85714"/>
                  </a:lnTo>
                  <a:lnTo>
                    <a:pt x="107284" y="84395"/>
                  </a:lnTo>
                  <a:lnTo>
                    <a:pt x="107284" y="83076"/>
                  </a:lnTo>
                  <a:lnTo>
                    <a:pt x="104900" y="84395"/>
                  </a:lnTo>
                  <a:lnTo>
                    <a:pt x="104900" y="84395"/>
                  </a:lnTo>
                  <a:lnTo>
                    <a:pt x="104900" y="84395"/>
                  </a:lnTo>
                  <a:lnTo>
                    <a:pt x="103311" y="84395"/>
                  </a:lnTo>
                  <a:lnTo>
                    <a:pt x="103311" y="83076"/>
                  </a:lnTo>
                  <a:lnTo>
                    <a:pt x="103311" y="83076"/>
                  </a:lnTo>
                  <a:lnTo>
                    <a:pt x="100927" y="81098"/>
                  </a:lnTo>
                  <a:lnTo>
                    <a:pt x="100927" y="79780"/>
                  </a:lnTo>
                  <a:lnTo>
                    <a:pt x="100927" y="78461"/>
                  </a:lnTo>
                  <a:lnTo>
                    <a:pt x="99337" y="78461"/>
                  </a:lnTo>
                  <a:lnTo>
                    <a:pt x="99337" y="76483"/>
                  </a:lnTo>
                  <a:lnTo>
                    <a:pt x="99337" y="76483"/>
                  </a:lnTo>
                  <a:lnTo>
                    <a:pt x="97748" y="75164"/>
                  </a:lnTo>
                  <a:lnTo>
                    <a:pt x="95364" y="73846"/>
                  </a:lnTo>
                  <a:lnTo>
                    <a:pt x="92185" y="71868"/>
                  </a:lnTo>
                  <a:lnTo>
                    <a:pt x="92185" y="70549"/>
                  </a:lnTo>
                  <a:lnTo>
                    <a:pt x="89801" y="70549"/>
                  </a:lnTo>
                  <a:lnTo>
                    <a:pt x="88211" y="67252"/>
                  </a:lnTo>
                  <a:lnTo>
                    <a:pt x="86622" y="67252"/>
                  </a:lnTo>
                  <a:lnTo>
                    <a:pt x="86622" y="65934"/>
                  </a:lnTo>
                  <a:lnTo>
                    <a:pt x="84238" y="63956"/>
                  </a:lnTo>
                  <a:lnTo>
                    <a:pt x="84238" y="62637"/>
                  </a:lnTo>
                  <a:lnTo>
                    <a:pt x="82649" y="62637"/>
                  </a:lnTo>
                  <a:lnTo>
                    <a:pt x="82649" y="61318"/>
                  </a:lnTo>
                  <a:lnTo>
                    <a:pt x="81059" y="61318"/>
                  </a:lnTo>
                  <a:lnTo>
                    <a:pt x="81059" y="61318"/>
                  </a:lnTo>
                  <a:lnTo>
                    <a:pt x="78675" y="59340"/>
                  </a:lnTo>
                  <a:lnTo>
                    <a:pt x="77086" y="58021"/>
                  </a:lnTo>
                  <a:lnTo>
                    <a:pt x="77086" y="58021"/>
                  </a:lnTo>
                  <a:lnTo>
                    <a:pt x="77086" y="56703"/>
                  </a:lnTo>
                  <a:lnTo>
                    <a:pt x="77086" y="56703"/>
                  </a:lnTo>
                  <a:lnTo>
                    <a:pt x="77086" y="54725"/>
                  </a:lnTo>
                  <a:lnTo>
                    <a:pt x="77086" y="54725"/>
                  </a:lnTo>
                  <a:lnTo>
                    <a:pt x="77086" y="54725"/>
                  </a:lnTo>
                  <a:lnTo>
                    <a:pt x="77086" y="53406"/>
                  </a:lnTo>
                  <a:lnTo>
                    <a:pt x="74701" y="53406"/>
                  </a:lnTo>
                  <a:lnTo>
                    <a:pt x="69139" y="51428"/>
                  </a:lnTo>
                  <a:lnTo>
                    <a:pt x="67549" y="51428"/>
                  </a:lnTo>
                  <a:lnTo>
                    <a:pt x="67549" y="50109"/>
                  </a:lnTo>
                  <a:lnTo>
                    <a:pt x="65960" y="50109"/>
                  </a:lnTo>
                  <a:lnTo>
                    <a:pt x="60397" y="46813"/>
                  </a:lnTo>
                  <a:lnTo>
                    <a:pt x="58013" y="45494"/>
                  </a:lnTo>
                  <a:lnTo>
                    <a:pt x="58013" y="45494"/>
                  </a:lnTo>
                  <a:lnTo>
                    <a:pt x="56423" y="45494"/>
                  </a:lnTo>
                  <a:lnTo>
                    <a:pt x="56423" y="44175"/>
                  </a:lnTo>
                  <a:lnTo>
                    <a:pt x="58013" y="44175"/>
                  </a:lnTo>
                  <a:lnTo>
                    <a:pt x="58013" y="44175"/>
                  </a:lnTo>
                  <a:lnTo>
                    <a:pt x="58013" y="42197"/>
                  </a:lnTo>
                  <a:lnTo>
                    <a:pt x="58013" y="40879"/>
                  </a:lnTo>
                  <a:lnTo>
                    <a:pt x="58013" y="40879"/>
                  </a:lnTo>
                  <a:lnTo>
                    <a:pt x="58013" y="39560"/>
                  </a:lnTo>
                  <a:lnTo>
                    <a:pt x="58013" y="39560"/>
                  </a:lnTo>
                  <a:lnTo>
                    <a:pt x="60397" y="39560"/>
                  </a:lnTo>
                  <a:lnTo>
                    <a:pt x="61986" y="39560"/>
                  </a:lnTo>
                  <a:lnTo>
                    <a:pt x="65960" y="40879"/>
                  </a:lnTo>
                  <a:lnTo>
                    <a:pt x="65960" y="40879"/>
                  </a:lnTo>
                  <a:lnTo>
                    <a:pt x="67549" y="39560"/>
                  </a:lnTo>
                  <a:lnTo>
                    <a:pt x="69139" y="37582"/>
                  </a:lnTo>
                  <a:lnTo>
                    <a:pt x="69139" y="36263"/>
                  </a:lnTo>
                  <a:lnTo>
                    <a:pt x="69139" y="36263"/>
                  </a:lnTo>
                  <a:lnTo>
                    <a:pt x="69139" y="34285"/>
                  </a:lnTo>
                  <a:lnTo>
                    <a:pt x="69139" y="34285"/>
                  </a:lnTo>
                  <a:lnTo>
                    <a:pt x="69139" y="32967"/>
                  </a:lnTo>
                  <a:lnTo>
                    <a:pt x="69139" y="32967"/>
                  </a:lnTo>
                  <a:lnTo>
                    <a:pt x="67549" y="32967"/>
                  </a:lnTo>
                  <a:lnTo>
                    <a:pt x="65960" y="32967"/>
                  </a:lnTo>
                  <a:lnTo>
                    <a:pt x="65960" y="31648"/>
                  </a:lnTo>
                  <a:lnTo>
                    <a:pt x="65960" y="31648"/>
                  </a:lnTo>
                  <a:lnTo>
                    <a:pt x="65960" y="31648"/>
                  </a:lnTo>
                  <a:lnTo>
                    <a:pt x="65960" y="29670"/>
                  </a:lnTo>
                  <a:lnTo>
                    <a:pt x="63576" y="29670"/>
                  </a:lnTo>
                  <a:lnTo>
                    <a:pt x="61986" y="29670"/>
                  </a:lnTo>
                  <a:lnTo>
                    <a:pt x="61986" y="29670"/>
                  </a:lnTo>
                  <a:lnTo>
                    <a:pt x="61986" y="28351"/>
                  </a:lnTo>
                  <a:lnTo>
                    <a:pt x="61986" y="28351"/>
                  </a:lnTo>
                  <a:lnTo>
                    <a:pt x="63576" y="28351"/>
                  </a:lnTo>
                  <a:lnTo>
                    <a:pt x="63576" y="27032"/>
                  </a:lnTo>
                  <a:lnTo>
                    <a:pt x="63576" y="27032"/>
                  </a:lnTo>
                  <a:lnTo>
                    <a:pt x="63576" y="25054"/>
                  </a:lnTo>
                  <a:lnTo>
                    <a:pt x="61986" y="25054"/>
                  </a:lnTo>
                  <a:lnTo>
                    <a:pt x="60397" y="23736"/>
                  </a:lnTo>
                  <a:lnTo>
                    <a:pt x="58013" y="22417"/>
                  </a:lnTo>
                  <a:lnTo>
                    <a:pt x="56423" y="22417"/>
                  </a:lnTo>
                  <a:lnTo>
                    <a:pt x="56423" y="22417"/>
                  </a:lnTo>
                  <a:lnTo>
                    <a:pt x="52450" y="23736"/>
                  </a:lnTo>
                  <a:lnTo>
                    <a:pt x="52450" y="23736"/>
                  </a:lnTo>
                  <a:lnTo>
                    <a:pt x="50860" y="25054"/>
                  </a:lnTo>
                  <a:lnTo>
                    <a:pt x="50860" y="25054"/>
                  </a:lnTo>
                  <a:lnTo>
                    <a:pt x="48476" y="25054"/>
                  </a:lnTo>
                  <a:lnTo>
                    <a:pt x="46887" y="25054"/>
                  </a:lnTo>
                  <a:lnTo>
                    <a:pt x="42913" y="23736"/>
                  </a:lnTo>
                  <a:lnTo>
                    <a:pt x="41324" y="23736"/>
                  </a:lnTo>
                  <a:lnTo>
                    <a:pt x="37350" y="19120"/>
                  </a:lnTo>
                  <a:lnTo>
                    <a:pt x="37350" y="17142"/>
                  </a:lnTo>
                  <a:lnTo>
                    <a:pt x="37350" y="17142"/>
                  </a:lnTo>
                  <a:lnTo>
                    <a:pt x="37350" y="15824"/>
                  </a:lnTo>
                  <a:lnTo>
                    <a:pt x="37350" y="14505"/>
                  </a:lnTo>
                  <a:lnTo>
                    <a:pt x="37350" y="12527"/>
                  </a:lnTo>
                  <a:lnTo>
                    <a:pt x="37350" y="12527"/>
                  </a:lnTo>
                  <a:lnTo>
                    <a:pt x="37350" y="11208"/>
                  </a:lnTo>
                  <a:lnTo>
                    <a:pt x="37350" y="11208"/>
                  </a:lnTo>
                  <a:lnTo>
                    <a:pt x="37350" y="11208"/>
                  </a:lnTo>
                  <a:lnTo>
                    <a:pt x="35761" y="11208"/>
                  </a:lnTo>
                  <a:lnTo>
                    <a:pt x="35761" y="9890"/>
                  </a:lnTo>
                  <a:lnTo>
                    <a:pt x="35761" y="9890"/>
                  </a:lnTo>
                  <a:lnTo>
                    <a:pt x="35761" y="11208"/>
                  </a:lnTo>
                  <a:lnTo>
                    <a:pt x="34172" y="11208"/>
                  </a:lnTo>
                  <a:lnTo>
                    <a:pt x="34172" y="12527"/>
                  </a:lnTo>
                  <a:lnTo>
                    <a:pt x="34172" y="12527"/>
                  </a:lnTo>
                  <a:lnTo>
                    <a:pt x="34172" y="11208"/>
                  </a:lnTo>
                  <a:lnTo>
                    <a:pt x="34172" y="11208"/>
                  </a:lnTo>
                  <a:lnTo>
                    <a:pt x="31788" y="9890"/>
                  </a:lnTo>
                  <a:lnTo>
                    <a:pt x="31788" y="7912"/>
                  </a:lnTo>
                  <a:lnTo>
                    <a:pt x="30198" y="7912"/>
                  </a:lnTo>
                  <a:lnTo>
                    <a:pt x="30198" y="6593"/>
                  </a:lnTo>
                  <a:lnTo>
                    <a:pt x="26225" y="5274"/>
                  </a:lnTo>
                  <a:lnTo>
                    <a:pt x="24635" y="3296"/>
                  </a:lnTo>
                  <a:lnTo>
                    <a:pt x="24635" y="1978"/>
                  </a:lnTo>
                  <a:lnTo>
                    <a:pt x="24635" y="1978"/>
                  </a:lnTo>
                  <a:lnTo>
                    <a:pt x="22251" y="1978"/>
                  </a:lnTo>
                  <a:lnTo>
                    <a:pt x="20662" y="1978"/>
                  </a:lnTo>
                  <a:lnTo>
                    <a:pt x="20662" y="1978"/>
                  </a:lnTo>
                  <a:lnTo>
                    <a:pt x="19072" y="0"/>
                  </a:lnTo>
                  <a:lnTo>
                    <a:pt x="19072" y="0"/>
                  </a:lnTo>
                  <a:lnTo>
                    <a:pt x="19072" y="0"/>
                  </a:lnTo>
                  <a:lnTo>
                    <a:pt x="16688" y="0"/>
                  </a:lnTo>
                  <a:lnTo>
                    <a:pt x="16688" y="1978"/>
                  </a:lnTo>
                  <a:lnTo>
                    <a:pt x="16688" y="3296"/>
                  </a:lnTo>
                  <a:lnTo>
                    <a:pt x="16688" y="3296"/>
                  </a:lnTo>
                  <a:lnTo>
                    <a:pt x="15099" y="3296"/>
                  </a:lnTo>
                  <a:lnTo>
                    <a:pt x="16688" y="5274"/>
                  </a:lnTo>
                  <a:lnTo>
                    <a:pt x="16688" y="5274"/>
                  </a:lnTo>
                  <a:lnTo>
                    <a:pt x="16688" y="6593"/>
                  </a:lnTo>
                  <a:lnTo>
                    <a:pt x="16688" y="6593"/>
                  </a:lnTo>
                  <a:lnTo>
                    <a:pt x="16688" y="7912"/>
                  </a:lnTo>
                  <a:lnTo>
                    <a:pt x="19072" y="9890"/>
                  </a:lnTo>
                  <a:lnTo>
                    <a:pt x="20662" y="9890"/>
                  </a:lnTo>
                  <a:lnTo>
                    <a:pt x="20662" y="11208"/>
                  </a:lnTo>
                  <a:lnTo>
                    <a:pt x="20662" y="12527"/>
                  </a:lnTo>
                  <a:lnTo>
                    <a:pt x="20662" y="14505"/>
                  </a:lnTo>
                  <a:lnTo>
                    <a:pt x="20662" y="15824"/>
                  </a:lnTo>
                  <a:lnTo>
                    <a:pt x="20662" y="17142"/>
                  </a:lnTo>
                  <a:lnTo>
                    <a:pt x="20662" y="17142"/>
                  </a:lnTo>
                  <a:lnTo>
                    <a:pt x="22251" y="17142"/>
                  </a:lnTo>
                  <a:lnTo>
                    <a:pt x="22251" y="19120"/>
                  </a:lnTo>
                  <a:lnTo>
                    <a:pt x="22251" y="19120"/>
                  </a:lnTo>
                  <a:lnTo>
                    <a:pt x="20662" y="19120"/>
                  </a:lnTo>
                  <a:lnTo>
                    <a:pt x="20662" y="19120"/>
                  </a:lnTo>
                  <a:lnTo>
                    <a:pt x="20662" y="19120"/>
                  </a:lnTo>
                  <a:lnTo>
                    <a:pt x="19072" y="19120"/>
                  </a:lnTo>
                  <a:lnTo>
                    <a:pt x="19072" y="19120"/>
                  </a:lnTo>
                  <a:lnTo>
                    <a:pt x="19072" y="17142"/>
                  </a:lnTo>
                  <a:lnTo>
                    <a:pt x="16688" y="17142"/>
                  </a:lnTo>
                  <a:lnTo>
                    <a:pt x="15099" y="19120"/>
                  </a:lnTo>
                  <a:lnTo>
                    <a:pt x="15099" y="19120"/>
                  </a:lnTo>
                  <a:lnTo>
                    <a:pt x="13509" y="19120"/>
                  </a:lnTo>
                  <a:lnTo>
                    <a:pt x="13509" y="17142"/>
                  </a:lnTo>
                  <a:lnTo>
                    <a:pt x="13509" y="15824"/>
                  </a:lnTo>
                  <a:lnTo>
                    <a:pt x="13509" y="15824"/>
                  </a:lnTo>
                  <a:lnTo>
                    <a:pt x="13509" y="15824"/>
                  </a:lnTo>
                  <a:lnTo>
                    <a:pt x="13509" y="14505"/>
                  </a:lnTo>
                  <a:lnTo>
                    <a:pt x="11125" y="12527"/>
                  </a:lnTo>
                  <a:lnTo>
                    <a:pt x="11125" y="14505"/>
                  </a:lnTo>
                  <a:lnTo>
                    <a:pt x="9536" y="15824"/>
                  </a:lnTo>
                  <a:lnTo>
                    <a:pt x="7947" y="17142"/>
                  </a:lnTo>
                  <a:lnTo>
                    <a:pt x="7947" y="17142"/>
                  </a:lnTo>
                  <a:lnTo>
                    <a:pt x="5562" y="17142"/>
                  </a:lnTo>
                  <a:lnTo>
                    <a:pt x="5562" y="19120"/>
                  </a:lnTo>
                  <a:lnTo>
                    <a:pt x="5562" y="20439"/>
                  </a:lnTo>
                  <a:lnTo>
                    <a:pt x="3973" y="20439"/>
                  </a:lnTo>
                  <a:lnTo>
                    <a:pt x="3973" y="22417"/>
                  </a:lnTo>
                  <a:lnTo>
                    <a:pt x="3973" y="22417"/>
                  </a:lnTo>
                  <a:lnTo>
                    <a:pt x="5562" y="23736"/>
                  </a:lnTo>
                  <a:lnTo>
                    <a:pt x="5562" y="23736"/>
                  </a:lnTo>
                  <a:lnTo>
                    <a:pt x="5562" y="23736"/>
                  </a:lnTo>
                  <a:lnTo>
                    <a:pt x="5562" y="23736"/>
                  </a:lnTo>
                  <a:lnTo>
                    <a:pt x="3973" y="23736"/>
                  </a:lnTo>
                  <a:lnTo>
                    <a:pt x="3973" y="23736"/>
                  </a:lnTo>
                  <a:lnTo>
                    <a:pt x="2384" y="23736"/>
                  </a:lnTo>
                  <a:lnTo>
                    <a:pt x="0" y="25054"/>
                  </a:lnTo>
                  <a:lnTo>
                    <a:pt x="0" y="27032"/>
                  </a:lnTo>
                  <a:lnTo>
                    <a:pt x="0" y="29670"/>
                  </a:lnTo>
                  <a:lnTo>
                    <a:pt x="0" y="31648"/>
                  </a:lnTo>
                  <a:lnTo>
                    <a:pt x="0" y="31648"/>
                  </a:lnTo>
                  <a:lnTo>
                    <a:pt x="0" y="31648"/>
                  </a:lnTo>
                  <a:lnTo>
                    <a:pt x="0" y="31648"/>
                  </a:lnTo>
                  <a:lnTo>
                    <a:pt x="2384" y="29670"/>
                  </a:lnTo>
                  <a:lnTo>
                    <a:pt x="2384" y="29670"/>
                  </a:lnTo>
                  <a:lnTo>
                    <a:pt x="2384" y="29670"/>
                  </a:lnTo>
                  <a:lnTo>
                    <a:pt x="3973" y="29670"/>
                  </a:lnTo>
                  <a:lnTo>
                    <a:pt x="3973" y="31648"/>
                  </a:lnTo>
                  <a:lnTo>
                    <a:pt x="5562" y="32967"/>
                  </a:lnTo>
                  <a:lnTo>
                    <a:pt x="5562" y="32967"/>
                  </a:lnTo>
                  <a:lnTo>
                    <a:pt x="5562" y="32967"/>
                  </a:lnTo>
                  <a:lnTo>
                    <a:pt x="5562" y="34285"/>
                  </a:lnTo>
                  <a:lnTo>
                    <a:pt x="5562" y="34285"/>
                  </a:lnTo>
                  <a:lnTo>
                    <a:pt x="5562" y="36263"/>
                  </a:lnTo>
                  <a:lnTo>
                    <a:pt x="5562" y="39560"/>
                  </a:lnTo>
                  <a:lnTo>
                    <a:pt x="5562" y="40879"/>
                  </a:lnTo>
                  <a:lnTo>
                    <a:pt x="7947" y="40879"/>
                  </a:lnTo>
                  <a:lnTo>
                    <a:pt x="9536" y="42197"/>
                  </a:lnTo>
                  <a:lnTo>
                    <a:pt x="11125" y="42197"/>
                  </a:lnTo>
                  <a:lnTo>
                    <a:pt x="11125" y="42197"/>
                  </a:lnTo>
                  <a:lnTo>
                    <a:pt x="11125" y="40879"/>
                  </a:lnTo>
                  <a:lnTo>
                    <a:pt x="13509" y="40879"/>
                  </a:lnTo>
                  <a:lnTo>
                    <a:pt x="13509" y="40879"/>
                  </a:lnTo>
                  <a:lnTo>
                    <a:pt x="16688" y="40879"/>
                  </a:lnTo>
                  <a:lnTo>
                    <a:pt x="16688" y="40879"/>
                  </a:lnTo>
                  <a:lnTo>
                    <a:pt x="16688" y="42197"/>
                  </a:lnTo>
                  <a:lnTo>
                    <a:pt x="16688" y="44175"/>
                  </a:lnTo>
                  <a:lnTo>
                    <a:pt x="19072" y="46813"/>
                  </a:lnTo>
                  <a:lnTo>
                    <a:pt x="19072" y="48791"/>
                  </a:lnTo>
                  <a:lnTo>
                    <a:pt x="20662" y="50109"/>
                  </a:lnTo>
                  <a:lnTo>
                    <a:pt x="19072" y="51428"/>
                  </a:lnTo>
                  <a:lnTo>
                    <a:pt x="19072" y="54725"/>
                  </a:lnTo>
                  <a:lnTo>
                    <a:pt x="19072" y="56703"/>
                  </a:lnTo>
                  <a:lnTo>
                    <a:pt x="16688" y="56703"/>
                  </a:lnTo>
                  <a:lnTo>
                    <a:pt x="16688" y="56703"/>
                  </a:lnTo>
                  <a:lnTo>
                    <a:pt x="16688" y="58021"/>
                  </a:lnTo>
                  <a:lnTo>
                    <a:pt x="19072" y="58021"/>
                  </a:lnTo>
                  <a:lnTo>
                    <a:pt x="19072" y="59340"/>
                  </a:lnTo>
                  <a:lnTo>
                    <a:pt x="19072" y="59340"/>
                  </a:lnTo>
                  <a:lnTo>
                    <a:pt x="19072" y="61318"/>
                  </a:lnTo>
                  <a:lnTo>
                    <a:pt x="19072" y="62637"/>
                  </a:lnTo>
                  <a:lnTo>
                    <a:pt x="19072" y="65934"/>
                  </a:lnTo>
                  <a:lnTo>
                    <a:pt x="16688" y="68571"/>
                  </a:lnTo>
                  <a:lnTo>
                    <a:pt x="19072" y="68571"/>
                  </a:lnTo>
                  <a:lnTo>
                    <a:pt x="19072" y="70549"/>
                  </a:lnTo>
                  <a:lnTo>
                    <a:pt x="20662" y="70549"/>
                  </a:lnTo>
                  <a:lnTo>
                    <a:pt x="20662" y="70549"/>
                  </a:lnTo>
                  <a:lnTo>
                    <a:pt x="22251" y="68571"/>
                  </a:lnTo>
                  <a:lnTo>
                    <a:pt x="24635" y="67252"/>
                  </a:lnTo>
                  <a:lnTo>
                    <a:pt x="26225" y="65934"/>
                  </a:lnTo>
                  <a:lnTo>
                    <a:pt x="26225" y="65934"/>
                  </a:lnTo>
                  <a:lnTo>
                    <a:pt x="28609" y="63956"/>
                  </a:lnTo>
                  <a:lnTo>
                    <a:pt x="28609" y="63956"/>
                  </a:lnTo>
                  <a:lnTo>
                    <a:pt x="28609" y="62637"/>
                  </a:lnTo>
                  <a:lnTo>
                    <a:pt x="30198" y="62637"/>
                  </a:lnTo>
                  <a:lnTo>
                    <a:pt x="30198" y="62637"/>
                  </a:lnTo>
                  <a:lnTo>
                    <a:pt x="31788" y="62637"/>
                  </a:lnTo>
                  <a:lnTo>
                    <a:pt x="31788" y="61318"/>
                  </a:lnTo>
                  <a:lnTo>
                    <a:pt x="34172" y="59340"/>
                  </a:lnTo>
                  <a:lnTo>
                    <a:pt x="34172" y="59340"/>
                  </a:lnTo>
                  <a:lnTo>
                    <a:pt x="35761" y="61318"/>
                  </a:lnTo>
                  <a:lnTo>
                    <a:pt x="37350" y="62637"/>
                  </a:lnTo>
                  <a:lnTo>
                    <a:pt x="39735" y="62637"/>
                  </a:lnTo>
                  <a:lnTo>
                    <a:pt x="41324" y="63956"/>
                  </a:lnTo>
                  <a:lnTo>
                    <a:pt x="41324" y="63956"/>
                  </a:lnTo>
                  <a:lnTo>
                    <a:pt x="41324" y="63956"/>
                  </a:lnTo>
                  <a:lnTo>
                    <a:pt x="41324" y="65934"/>
                  </a:lnTo>
                  <a:lnTo>
                    <a:pt x="42913" y="65934"/>
                  </a:lnTo>
                  <a:lnTo>
                    <a:pt x="42913" y="65934"/>
                  </a:lnTo>
                  <a:lnTo>
                    <a:pt x="42913" y="65934"/>
                  </a:lnTo>
                  <a:lnTo>
                    <a:pt x="42913" y="63956"/>
                  </a:lnTo>
                  <a:lnTo>
                    <a:pt x="45298" y="63956"/>
                  </a:lnTo>
                  <a:lnTo>
                    <a:pt x="45298" y="63956"/>
                  </a:lnTo>
                  <a:lnTo>
                    <a:pt x="46887" y="62637"/>
                  </a:lnTo>
                  <a:lnTo>
                    <a:pt x="46887" y="62637"/>
                  </a:lnTo>
                  <a:lnTo>
                    <a:pt x="48476" y="61318"/>
                  </a:lnTo>
                  <a:lnTo>
                    <a:pt x="48476" y="59340"/>
                  </a:lnTo>
                  <a:lnTo>
                    <a:pt x="48476" y="59340"/>
                  </a:lnTo>
                  <a:lnTo>
                    <a:pt x="50860" y="59340"/>
                  </a:lnTo>
                  <a:lnTo>
                    <a:pt x="50860" y="59340"/>
                  </a:lnTo>
                  <a:lnTo>
                    <a:pt x="50860" y="58021"/>
                  </a:lnTo>
                  <a:lnTo>
                    <a:pt x="48476" y="58021"/>
                  </a:lnTo>
                  <a:lnTo>
                    <a:pt x="50860" y="58021"/>
                  </a:lnTo>
                  <a:lnTo>
                    <a:pt x="50860" y="58021"/>
                  </a:lnTo>
                  <a:lnTo>
                    <a:pt x="52450" y="58021"/>
                  </a:lnTo>
                  <a:lnTo>
                    <a:pt x="54834" y="58021"/>
                  </a:lnTo>
                  <a:lnTo>
                    <a:pt x="58013" y="58021"/>
                  </a:lnTo>
                  <a:lnTo>
                    <a:pt x="60397" y="59340"/>
                  </a:lnTo>
                  <a:lnTo>
                    <a:pt x="60397" y="58021"/>
                  </a:lnTo>
                  <a:lnTo>
                    <a:pt x="61986" y="59340"/>
                  </a:lnTo>
                  <a:lnTo>
                    <a:pt x="63576" y="62637"/>
                  </a:lnTo>
                  <a:lnTo>
                    <a:pt x="65960" y="65934"/>
                  </a:lnTo>
                  <a:lnTo>
                    <a:pt x="67549" y="67252"/>
                  </a:lnTo>
                  <a:lnTo>
                    <a:pt x="69139" y="68571"/>
                  </a:lnTo>
                  <a:lnTo>
                    <a:pt x="71523" y="68571"/>
                  </a:lnTo>
                  <a:lnTo>
                    <a:pt x="73112" y="70549"/>
                  </a:lnTo>
                  <a:lnTo>
                    <a:pt x="74701" y="73846"/>
                  </a:lnTo>
                  <a:lnTo>
                    <a:pt x="74701" y="76483"/>
                  </a:lnTo>
                  <a:lnTo>
                    <a:pt x="74701" y="78461"/>
                  </a:lnTo>
                  <a:lnTo>
                    <a:pt x="74701" y="81098"/>
                  </a:lnTo>
                  <a:lnTo>
                    <a:pt x="77086" y="84395"/>
                  </a:lnTo>
                  <a:lnTo>
                    <a:pt x="78675" y="85714"/>
                  </a:lnTo>
                  <a:lnTo>
                    <a:pt x="81059" y="87692"/>
                  </a:lnTo>
                  <a:lnTo>
                    <a:pt x="81059" y="89010"/>
                  </a:lnTo>
                  <a:lnTo>
                    <a:pt x="82649" y="89010"/>
                  </a:lnTo>
                  <a:lnTo>
                    <a:pt x="84238" y="90989"/>
                  </a:lnTo>
                  <a:lnTo>
                    <a:pt x="86622" y="90989"/>
                  </a:lnTo>
                  <a:lnTo>
                    <a:pt x="86622" y="92307"/>
                  </a:lnTo>
                  <a:lnTo>
                    <a:pt x="86622" y="92307"/>
                  </a:lnTo>
                  <a:lnTo>
                    <a:pt x="86622" y="93626"/>
                  </a:lnTo>
                  <a:lnTo>
                    <a:pt x="88211" y="93626"/>
                  </a:lnTo>
                  <a:lnTo>
                    <a:pt x="88211" y="93626"/>
                  </a:lnTo>
                  <a:lnTo>
                    <a:pt x="89801" y="95604"/>
                  </a:lnTo>
                  <a:lnTo>
                    <a:pt x="89801" y="95604"/>
                  </a:lnTo>
                  <a:lnTo>
                    <a:pt x="89801" y="96923"/>
                  </a:lnTo>
                  <a:lnTo>
                    <a:pt x="89801" y="98241"/>
                  </a:lnTo>
                  <a:lnTo>
                    <a:pt x="89801" y="98241"/>
                  </a:lnTo>
                  <a:lnTo>
                    <a:pt x="89801" y="100219"/>
                  </a:lnTo>
                  <a:lnTo>
                    <a:pt x="88211" y="100219"/>
                  </a:lnTo>
                  <a:lnTo>
                    <a:pt x="88211" y="101538"/>
                  </a:lnTo>
                  <a:lnTo>
                    <a:pt x="89801" y="102857"/>
                  </a:lnTo>
                  <a:lnTo>
                    <a:pt x="89801" y="104835"/>
                  </a:lnTo>
                  <a:lnTo>
                    <a:pt x="89801" y="106153"/>
                  </a:lnTo>
                  <a:lnTo>
                    <a:pt x="89801" y="108131"/>
                  </a:lnTo>
                  <a:lnTo>
                    <a:pt x="89801" y="109450"/>
                  </a:lnTo>
                  <a:lnTo>
                    <a:pt x="89801" y="110769"/>
                  </a:lnTo>
                  <a:lnTo>
                    <a:pt x="89801" y="110769"/>
                  </a:lnTo>
                  <a:lnTo>
                    <a:pt x="89801" y="112747"/>
                  </a:lnTo>
                  <a:lnTo>
                    <a:pt x="88211" y="112747"/>
                  </a:lnTo>
                  <a:lnTo>
                    <a:pt x="86622" y="114065"/>
                  </a:lnTo>
                  <a:lnTo>
                    <a:pt x="86622" y="114065"/>
                  </a:lnTo>
                  <a:lnTo>
                    <a:pt x="86622" y="114065"/>
                  </a:lnTo>
                  <a:lnTo>
                    <a:pt x="86622" y="115384"/>
                  </a:lnTo>
                  <a:lnTo>
                    <a:pt x="88211" y="115384"/>
                  </a:lnTo>
                  <a:lnTo>
                    <a:pt x="88211" y="117362"/>
                  </a:lnTo>
                  <a:lnTo>
                    <a:pt x="88211" y="117362"/>
                  </a:lnTo>
                  <a:lnTo>
                    <a:pt x="89801" y="117362"/>
                  </a:lnTo>
                  <a:lnTo>
                    <a:pt x="92185" y="117362"/>
                  </a:lnTo>
                  <a:lnTo>
                    <a:pt x="95364" y="117362"/>
                  </a:lnTo>
                  <a:lnTo>
                    <a:pt x="95364" y="118681"/>
                  </a:lnTo>
                  <a:lnTo>
                    <a:pt x="95364" y="118681"/>
                  </a:lnTo>
                  <a:lnTo>
                    <a:pt x="97748" y="120000"/>
                  </a:lnTo>
                  <a:lnTo>
                    <a:pt x="99337" y="120000"/>
                  </a:lnTo>
                  <a:lnTo>
                    <a:pt x="100927" y="118681"/>
                  </a:lnTo>
                  <a:lnTo>
                    <a:pt x="99337" y="117362"/>
                  </a:lnTo>
                  <a:lnTo>
                    <a:pt x="97748" y="115384"/>
                  </a:lnTo>
                  <a:lnTo>
                    <a:pt x="97748" y="114065"/>
                  </a:lnTo>
                  <a:lnTo>
                    <a:pt x="97748" y="114065"/>
                  </a:lnTo>
                  <a:lnTo>
                    <a:pt x="100927" y="114065"/>
                  </a:lnTo>
                  <a:lnTo>
                    <a:pt x="100927" y="114065"/>
                  </a:lnTo>
                  <a:lnTo>
                    <a:pt x="100927" y="112747"/>
                  </a:lnTo>
                  <a:lnTo>
                    <a:pt x="100927" y="112747"/>
                  </a:lnTo>
                  <a:lnTo>
                    <a:pt x="103311" y="112747"/>
                  </a:lnTo>
                  <a:lnTo>
                    <a:pt x="104900" y="110769"/>
                  </a:lnTo>
                  <a:lnTo>
                    <a:pt x="104900" y="110769"/>
                  </a:lnTo>
                  <a:lnTo>
                    <a:pt x="104900" y="110769"/>
                  </a:lnTo>
                  <a:lnTo>
                    <a:pt x="107284" y="112747"/>
                  </a:lnTo>
                  <a:lnTo>
                    <a:pt x="107284" y="112747"/>
                  </a:lnTo>
                  <a:lnTo>
                    <a:pt x="107284" y="112747"/>
                  </a:lnTo>
                  <a:lnTo>
                    <a:pt x="108874" y="114065"/>
                  </a:lnTo>
                  <a:lnTo>
                    <a:pt x="108874" y="114065"/>
                  </a:lnTo>
                  <a:lnTo>
                    <a:pt x="110463" y="114065"/>
                  </a:lnTo>
                  <a:lnTo>
                    <a:pt x="110463" y="114065"/>
                  </a:lnTo>
                  <a:lnTo>
                    <a:pt x="112847" y="114065"/>
                  </a:lnTo>
                  <a:lnTo>
                    <a:pt x="112847" y="114065"/>
                  </a:lnTo>
                  <a:lnTo>
                    <a:pt x="112847" y="112747"/>
                  </a:lnTo>
                  <a:lnTo>
                    <a:pt x="114437" y="112747"/>
                  </a:lnTo>
                  <a:lnTo>
                    <a:pt x="114437" y="112747"/>
                  </a:lnTo>
                  <a:lnTo>
                    <a:pt x="116026" y="112747"/>
                  </a:lnTo>
                  <a:lnTo>
                    <a:pt x="116026" y="110769"/>
                  </a:lnTo>
                  <a:lnTo>
                    <a:pt x="116026" y="110769"/>
                  </a:lnTo>
                  <a:lnTo>
                    <a:pt x="118410" y="110769"/>
                  </a:lnTo>
                  <a:lnTo>
                    <a:pt x="118410" y="110769"/>
                  </a:lnTo>
                  <a:lnTo>
                    <a:pt x="118410" y="109450"/>
                  </a:lnTo>
                  <a:lnTo>
                    <a:pt x="120000" y="109450"/>
                  </a:lnTo>
                  <a:lnTo>
                    <a:pt x="120000" y="108131"/>
                  </a:lnTo>
                  <a:lnTo>
                    <a:pt x="120000" y="106153"/>
                  </a:lnTo>
                  <a:lnTo>
                    <a:pt x="120000" y="106153"/>
                  </a:lnTo>
                  <a:lnTo>
                    <a:pt x="118410" y="104835"/>
                  </a:lnTo>
                  <a:lnTo>
                    <a:pt x="118410" y="104835"/>
                  </a:lnTo>
                  <a:lnTo>
                    <a:pt x="120000" y="104835"/>
                  </a:lnTo>
                  <a:lnTo>
                    <a:pt x="120000" y="102857"/>
                  </a:lnTo>
                  <a:lnTo>
                    <a:pt x="120000" y="101538"/>
                  </a:lnTo>
                  <a:lnTo>
                    <a:pt x="120000" y="101538"/>
                  </a:lnTo>
                  <a:lnTo>
                    <a:pt x="120000" y="100219"/>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51" name="Shape 451"/>
            <p:cNvSpPr/>
            <p:nvPr/>
          </p:nvSpPr>
          <p:spPr>
            <a:xfrm>
              <a:off x="4494" y="2172"/>
              <a:ext cx="0" cy="0"/>
            </a:xfrm>
            <a:custGeom>
              <a:avLst/>
              <a:gdLst/>
              <a:ahLst/>
              <a:cxnLst/>
              <a:rect l="0" t="0" r="0" b="0"/>
              <a:pathLst>
                <a:path w="120000" h="120000" extrusionOk="0">
                  <a:moveTo>
                    <a:pt x="86666" y="32727"/>
                  </a:moveTo>
                  <a:lnTo>
                    <a:pt x="96666" y="40000"/>
                  </a:lnTo>
                  <a:lnTo>
                    <a:pt x="96666" y="40000"/>
                  </a:lnTo>
                  <a:lnTo>
                    <a:pt x="96666" y="40000"/>
                  </a:lnTo>
                  <a:lnTo>
                    <a:pt x="103333" y="32727"/>
                  </a:lnTo>
                  <a:lnTo>
                    <a:pt x="103333" y="32727"/>
                  </a:lnTo>
                  <a:lnTo>
                    <a:pt x="103333" y="25454"/>
                  </a:lnTo>
                  <a:lnTo>
                    <a:pt x="96666" y="14545"/>
                  </a:lnTo>
                  <a:lnTo>
                    <a:pt x="86666" y="7272"/>
                  </a:lnTo>
                  <a:lnTo>
                    <a:pt x="86666" y="14545"/>
                  </a:lnTo>
                  <a:lnTo>
                    <a:pt x="86666" y="14545"/>
                  </a:lnTo>
                  <a:lnTo>
                    <a:pt x="86666" y="14545"/>
                  </a:lnTo>
                  <a:lnTo>
                    <a:pt x="86666" y="14545"/>
                  </a:lnTo>
                  <a:lnTo>
                    <a:pt x="86666" y="25454"/>
                  </a:lnTo>
                  <a:lnTo>
                    <a:pt x="86666" y="25454"/>
                  </a:lnTo>
                  <a:lnTo>
                    <a:pt x="86666" y="32727"/>
                  </a:lnTo>
                  <a:close/>
                  <a:moveTo>
                    <a:pt x="110000" y="109090"/>
                  </a:moveTo>
                  <a:lnTo>
                    <a:pt x="110000" y="109090"/>
                  </a:lnTo>
                  <a:lnTo>
                    <a:pt x="110000" y="101818"/>
                  </a:lnTo>
                  <a:lnTo>
                    <a:pt x="103333" y="94545"/>
                  </a:lnTo>
                  <a:lnTo>
                    <a:pt x="96666" y="83636"/>
                  </a:lnTo>
                  <a:lnTo>
                    <a:pt x="86666" y="69090"/>
                  </a:lnTo>
                  <a:lnTo>
                    <a:pt x="86666" y="69090"/>
                  </a:lnTo>
                  <a:lnTo>
                    <a:pt x="86666" y="58181"/>
                  </a:lnTo>
                  <a:lnTo>
                    <a:pt x="80000" y="58181"/>
                  </a:lnTo>
                  <a:lnTo>
                    <a:pt x="80000" y="58181"/>
                  </a:lnTo>
                  <a:lnTo>
                    <a:pt x="73333" y="58181"/>
                  </a:lnTo>
                  <a:lnTo>
                    <a:pt x="63333" y="58181"/>
                  </a:lnTo>
                  <a:lnTo>
                    <a:pt x="63333" y="50909"/>
                  </a:lnTo>
                  <a:lnTo>
                    <a:pt x="73333" y="50909"/>
                  </a:lnTo>
                  <a:lnTo>
                    <a:pt x="80000" y="40000"/>
                  </a:lnTo>
                  <a:lnTo>
                    <a:pt x="86666" y="40000"/>
                  </a:lnTo>
                  <a:lnTo>
                    <a:pt x="86666" y="40000"/>
                  </a:lnTo>
                  <a:lnTo>
                    <a:pt x="86666" y="40000"/>
                  </a:lnTo>
                  <a:lnTo>
                    <a:pt x="86666" y="40000"/>
                  </a:lnTo>
                  <a:lnTo>
                    <a:pt x="86666" y="32727"/>
                  </a:lnTo>
                  <a:lnTo>
                    <a:pt x="80000" y="25454"/>
                  </a:lnTo>
                  <a:lnTo>
                    <a:pt x="80000" y="14545"/>
                  </a:lnTo>
                  <a:lnTo>
                    <a:pt x="80000" y="7272"/>
                  </a:lnTo>
                  <a:lnTo>
                    <a:pt x="63333" y="0"/>
                  </a:lnTo>
                  <a:lnTo>
                    <a:pt x="56666" y="0"/>
                  </a:lnTo>
                  <a:lnTo>
                    <a:pt x="56666" y="0"/>
                  </a:lnTo>
                  <a:lnTo>
                    <a:pt x="46666" y="0"/>
                  </a:lnTo>
                  <a:lnTo>
                    <a:pt x="40000" y="0"/>
                  </a:lnTo>
                  <a:lnTo>
                    <a:pt x="33333" y="7272"/>
                  </a:lnTo>
                  <a:lnTo>
                    <a:pt x="23333" y="7272"/>
                  </a:lnTo>
                  <a:lnTo>
                    <a:pt x="23333" y="14545"/>
                  </a:lnTo>
                  <a:lnTo>
                    <a:pt x="23333" y="14545"/>
                  </a:lnTo>
                  <a:lnTo>
                    <a:pt x="23333" y="25454"/>
                  </a:lnTo>
                  <a:lnTo>
                    <a:pt x="16666" y="32727"/>
                  </a:lnTo>
                  <a:lnTo>
                    <a:pt x="16666" y="40000"/>
                  </a:lnTo>
                  <a:lnTo>
                    <a:pt x="10000" y="58181"/>
                  </a:lnTo>
                  <a:lnTo>
                    <a:pt x="10000" y="69090"/>
                  </a:lnTo>
                  <a:lnTo>
                    <a:pt x="0" y="76363"/>
                  </a:lnTo>
                  <a:lnTo>
                    <a:pt x="10000" y="76363"/>
                  </a:lnTo>
                  <a:lnTo>
                    <a:pt x="23333" y="83636"/>
                  </a:lnTo>
                  <a:lnTo>
                    <a:pt x="33333" y="83636"/>
                  </a:lnTo>
                  <a:lnTo>
                    <a:pt x="56666" y="83636"/>
                  </a:lnTo>
                  <a:lnTo>
                    <a:pt x="56666" y="101818"/>
                  </a:lnTo>
                  <a:lnTo>
                    <a:pt x="63333" y="101818"/>
                  </a:lnTo>
                  <a:lnTo>
                    <a:pt x="63333" y="109090"/>
                  </a:lnTo>
                  <a:lnTo>
                    <a:pt x="73333" y="120000"/>
                  </a:lnTo>
                  <a:lnTo>
                    <a:pt x="80000" y="120000"/>
                  </a:lnTo>
                  <a:lnTo>
                    <a:pt x="96666" y="120000"/>
                  </a:lnTo>
                  <a:lnTo>
                    <a:pt x="103333" y="120000"/>
                  </a:lnTo>
                  <a:lnTo>
                    <a:pt x="120000" y="120000"/>
                  </a:lnTo>
                  <a:lnTo>
                    <a:pt x="110000" y="10909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52" name="Shape 452"/>
            <p:cNvSpPr/>
            <p:nvPr/>
          </p:nvSpPr>
          <p:spPr>
            <a:xfrm>
              <a:off x="4857" y="1897"/>
              <a:ext cx="300" cy="0"/>
            </a:xfrm>
            <a:custGeom>
              <a:avLst/>
              <a:gdLst/>
              <a:ahLst/>
              <a:cxnLst/>
              <a:rect l="0" t="0" r="0" b="0"/>
              <a:pathLst>
                <a:path w="120000" h="120000" extrusionOk="0">
                  <a:moveTo>
                    <a:pt x="2057" y="99259"/>
                  </a:moveTo>
                  <a:lnTo>
                    <a:pt x="2057" y="99259"/>
                  </a:lnTo>
                  <a:lnTo>
                    <a:pt x="2057" y="94814"/>
                  </a:lnTo>
                  <a:lnTo>
                    <a:pt x="2057" y="94814"/>
                  </a:lnTo>
                  <a:lnTo>
                    <a:pt x="2057" y="99259"/>
                  </a:lnTo>
                  <a:close/>
                  <a:moveTo>
                    <a:pt x="117942" y="32592"/>
                  </a:moveTo>
                  <a:lnTo>
                    <a:pt x="117942" y="32592"/>
                  </a:lnTo>
                  <a:lnTo>
                    <a:pt x="116571" y="28148"/>
                  </a:lnTo>
                  <a:lnTo>
                    <a:pt x="113142" y="25185"/>
                  </a:lnTo>
                  <a:lnTo>
                    <a:pt x="111771" y="25185"/>
                  </a:lnTo>
                  <a:lnTo>
                    <a:pt x="110399" y="25185"/>
                  </a:lnTo>
                  <a:lnTo>
                    <a:pt x="108342" y="25185"/>
                  </a:lnTo>
                  <a:lnTo>
                    <a:pt x="108342" y="22222"/>
                  </a:lnTo>
                  <a:lnTo>
                    <a:pt x="106971" y="22222"/>
                  </a:lnTo>
                  <a:lnTo>
                    <a:pt x="104914" y="17777"/>
                  </a:lnTo>
                  <a:lnTo>
                    <a:pt x="104914" y="17777"/>
                  </a:lnTo>
                  <a:lnTo>
                    <a:pt x="103542" y="14814"/>
                  </a:lnTo>
                  <a:lnTo>
                    <a:pt x="103542" y="14814"/>
                  </a:lnTo>
                  <a:lnTo>
                    <a:pt x="102171" y="14814"/>
                  </a:lnTo>
                  <a:lnTo>
                    <a:pt x="100114" y="14814"/>
                  </a:lnTo>
                  <a:lnTo>
                    <a:pt x="100114" y="14814"/>
                  </a:lnTo>
                  <a:lnTo>
                    <a:pt x="98742" y="14814"/>
                  </a:lnTo>
                  <a:lnTo>
                    <a:pt x="97371" y="10370"/>
                  </a:lnTo>
                  <a:lnTo>
                    <a:pt x="95314" y="10370"/>
                  </a:lnTo>
                  <a:lnTo>
                    <a:pt x="93942" y="10370"/>
                  </a:lnTo>
                  <a:lnTo>
                    <a:pt x="92571" y="10370"/>
                  </a:lnTo>
                  <a:lnTo>
                    <a:pt x="90514" y="10370"/>
                  </a:lnTo>
                  <a:lnTo>
                    <a:pt x="87771" y="10370"/>
                  </a:lnTo>
                  <a:lnTo>
                    <a:pt x="85714" y="10370"/>
                  </a:lnTo>
                  <a:lnTo>
                    <a:pt x="84342" y="10370"/>
                  </a:lnTo>
                  <a:lnTo>
                    <a:pt x="82285" y="10370"/>
                  </a:lnTo>
                  <a:lnTo>
                    <a:pt x="82285" y="10370"/>
                  </a:lnTo>
                  <a:lnTo>
                    <a:pt x="80914" y="10370"/>
                  </a:lnTo>
                  <a:lnTo>
                    <a:pt x="77485" y="7407"/>
                  </a:lnTo>
                  <a:lnTo>
                    <a:pt x="77485" y="7407"/>
                  </a:lnTo>
                  <a:lnTo>
                    <a:pt x="77485" y="7407"/>
                  </a:lnTo>
                  <a:lnTo>
                    <a:pt x="74742" y="10370"/>
                  </a:lnTo>
                  <a:lnTo>
                    <a:pt x="72685" y="10370"/>
                  </a:lnTo>
                  <a:lnTo>
                    <a:pt x="67885" y="10370"/>
                  </a:lnTo>
                  <a:lnTo>
                    <a:pt x="65142" y="10370"/>
                  </a:lnTo>
                  <a:lnTo>
                    <a:pt x="65142" y="7407"/>
                  </a:lnTo>
                  <a:lnTo>
                    <a:pt x="63085" y="7407"/>
                  </a:lnTo>
                  <a:lnTo>
                    <a:pt x="63085" y="10370"/>
                  </a:lnTo>
                  <a:lnTo>
                    <a:pt x="63085" y="10370"/>
                  </a:lnTo>
                  <a:lnTo>
                    <a:pt x="59657" y="10370"/>
                  </a:lnTo>
                  <a:lnTo>
                    <a:pt x="54857" y="10370"/>
                  </a:lnTo>
                  <a:lnTo>
                    <a:pt x="52114" y="7407"/>
                  </a:lnTo>
                  <a:lnTo>
                    <a:pt x="50057" y="4444"/>
                  </a:lnTo>
                  <a:lnTo>
                    <a:pt x="47314" y="0"/>
                  </a:lnTo>
                  <a:lnTo>
                    <a:pt x="43885" y="0"/>
                  </a:lnTo>
                  <a:lnTo>
                    <a:pt x="43885" y="0"/>
                  </a:lnTo>
                  <a:lnTo>
                    <a:pt x="43885" y="0"/>
                  </a:lnTo>
                  <a:lnTo>
                    <a:pt x="43885" y="0"/>
                  </a:lnTo>
                  <a:lnTo>
                    <a:pt x="42514" y="0"/>
                  </a:lnTo>
                  <a:lnTo>
                    <a:pt x="40457" y="4444"/>
                  </a:lnTo>
                  <a:lnTo>
                    <a:pt x="39085" y="4444"/>
                  </a:lnTo>
                  <a:lnTo>
                    <a:pt x="37028" y="4444"/>
                  </a:lnTo>
                  <a:lnTo>
                    <a:pt x="37028" y="7407"/>
                  </a:lnTo>
                  <a:lnTo>
                    <a:pt x="37028" y="14814"/>
                  </a:lnTo>
                  <a:lnTo>
                    <a:pt x="37028" y="17777"/>
                  </a:lnTo>
                  <a:lnTo>
                    <a:pt x="39085" y="25185"/>
                  </a:lnTo>
                  <a:lnTo>
                    <a:pt x="39085" y="25185"/>
                  </a:lnTo>
                  <a:lnTo>
                    <a:pt x="37028" y="22222"/>
                  </a:lnTo>
                  <a:lnTo>
                    <a:pt x="37028" y="22222"/>
                  </a:lnTo>
                  <a:lnTo>
                    <a:pt x="35657" y="22222"/>
                  </a:lnTo>
                  <a:lnTo>
                    <a:pt x="30857" y="22222"/>
                  </a:lnTo>
                  <a:lnTo>
                    <a:pt x="30857" y="17777"/>
                  </a:lnTo>
                  <a:lnTo>
                    <a:pt x="29485" y="17777"/>
                  </a:lnTo>
                  <a:lnTo>
                    <a:pt x="29485" y="17777"/>
                  </a:lnTo>
                  <a:lnTo>
                    <a:pt x="27428" y="17777"/>
                  </a:lnTo>
                  <a:lnTo>
                    <a:pt x="24685" y="14814"/>
                  </a:lnTo>
                  <a:lnTo>
                    <a:pt x="22628" y="14814"/>
                  </a:lnTo>
                  <a:lnTo>
                    <a:pt x="17828" y="10370"/>
                  </a:lnTo>
                  <a:lnTo>
                    <a:pt x="17828" y="10370"/>
                  </a:lnTo>
                  <a:lnTo>
                    <a:pt x="17828" y="10370"/>
                  </a:lnTo>
                  <a:lnTo>
                    <a:pt x="16457" y="14814"/>
                  </a:lnTo>
                  <a:lnTo>
                    <a:pt x="14399" y="14814"/>
                  </a:lnTo>
                  <a:lnTo>
                    <a:pt x="13028" y="14814"/>
                  </a:lnTo>
                  <a:lnTo>
                    <a:pt x="11657" y="14814"/>
                  </a:lnTo>
                  <a:lnTo>
                    <a:pt x="11657" y="17777"/>
                  </a:lnTo>
                  <a:lnTo>
                    <a:pt x="11657" y="17777"/>
                  </a:lnTo>
                  <a:lnTo>
                    <a:pt x="9600" y="22222"/>
                  </a:lnTo>
                  <a:lnTo>
                    <a:pt x="9600" y="25185"/>
                  </a:lnTo>
                  <a:lnTo>
                    <a:pt x="9600" y="25185"/>
                  </a:lnTo>
                  <a:lnTo>
                    <a:pt x="9600" y="28148"/>
                  </a:lnTo>
                  <a:lnTo>
                    <a:pt x="9600" y="28148"/>
                  </a:lnTo>
                  <a:lnTo>
                    <a:pt x="9600" y="28148"/>
                  </a:lnTo>
                  <a:lnTo>
                    <a:pt x="11657" y="28148"/>
                  </a:lnTo>
                  <a:lnTo>
                    <a:pt x="11657" y="28148"/>
                  </a:lnTo>
                  <a:lnTo>
                    <a:pt x="13028" y="28148"/>
                  </a:lnTo>
                  <a:lnTo>
                    <a:pt x="13028" y="32592"/>
                  </a:lnTo>
                  <a:lnTo>
                    <a:pt x="14399" y="32592"/>
                  </a:lnTo>
                  <a:lnTo>
                    <a:pt x="14399" y="32592"/>
                  </a:lnTo>
                  <a:lnTo>
                    <a:pt x="11657" y="35555"/>
                  </a:lnTo>
                  <a:lnTo>
                    <a:pt x="11657" y="35555"/>
                  </a:lnTo>
                  <a:lnTo>
                    <a:pt x="9600" y="35555"/>
                  </a:lnTo>
                  <a:lnTo>
                    <a:pt x="9600" y="35555"/>
                  </a:lnTo>
                  <a:lnTo>
                    <a:pt x="9600" y="38518"/>
                  </a:lnTo>
                  <a:lnTo>
                    <a:pt x="9600" y="38518"/>
                  </a:lnTo>
                  <a:lnTo>
                    <a:pt x="8228" y="42962"/>
                  </a:lnTo>
                  <a:lnTo>
                    <a:pt x="8228" y="42962"/>
                  </a:lnTo>
                  <a:lnTo>
                    <a:pt x="6857" y="45925"/>
                  </a:lnTo>
                  <a:lnTo>
                    <a:pt x="3428" y="48888"/>
                  </a:lnTo>
                  <a:lnTo>
                    <a:pt x="3428" y="53333"/>
                  </a:lnTo>
                  <a:lnTo>
                    <a:pt x="4800" y="53333"/>
                  </a:lnTo>
                  <a:lnTo>
                    <a:pt x="4800" y="53333"/>
                  </a:lnTo>
                  <a:lnTo>
                    <a:pt x="6857" y="53333"/>
                  </a:lnTo>
                  <a:lnTo>
                    <a:pt x="8228" y="56296"/>
                  </a:lnTo>
                  <a:lnTo>
                    <a:pt x="9600" y="53333"/>
                  </a:lnTo>
                  <a:lnTo>
                    <a:pt x="9600" y="53333"/>
                  </a:lnTo>
                  <a:lnTo>
                    <a:pt x="11657" y="56296"/>
                  </a:lnTo>
                  <a:lnTo>
                    <a:pt x="13028" y="60740"/>
                  </a:lnTo>
                  <a:lnTo>
                    <a:pt x="13028" y="60740"/>
                  </a:lnTo>
                  <a:lnTo>
                    <a:pt x="14399" y="63703"/>
                  </a:lnTo>
                  <a:lnTo>
                    <a:pt x="14399" y="63703"/>
                  </a:lnTo>
                  <a:lnTo>
                    <a:pt x="16457" y="63703"/>
                  </a:lnTo>
                  <a:lnTo>
                    <a:pt x="17828" y="63703"/>
                  </a:lnTo>
                  <a:lnTo>
                    <a:pt x="17828" y="63703"/>
                  </a:lnTo>
                  <a:lnTo>
                    <a:pt x="19885" y="63703"/>
                  </a:lnTo>
                  <a:lnTo>
                    <a:pt x="19885" y="63703"/>
                  </a:lnTo>
                  <a:lnTo>
                    <a:pt x="19885" y="56296"/>
                  </a:lnTo>
                  <a:lnTo>
                    <a:pt x="21257" y="60740"/>
                  </a:lnTo>
                  <a:lnTo>
                    <a:pt x="21257" y="60740"/>
                  </a:lnTo>
                  <a:lnTo>
                    <a:pt x="21257" y="56296"/>
                  </a:lnTo>
                  <a:lnTo>
                    <a:pt x="21257" y="56296"/>
                  </a:lnTo>
                  <a:lnTo>
                    <a:pt x="21257" y="53333"/>
                  </a:lnTo>
                  <a:lnTo>
                    <a:pt x="21257" y="53333"/>
                  </a:lnTo>
                  <a:lnTo>
                    <a:pt x="21257" y="53333"/>
                  </a:lnTo>
                  <a:lnTo>
                    <a:pt x="21257" y="53333"/>
                  </a:lnTo>
                  <a:lnTo>
                    <a:pt x="21257" y="53333"/>
                  </a:lnTo>
                  <a:lnTo>
                    <a:pt x="22628" y="53333"/>
                  </a:lnTo>
                  <a:lnTo>
                    <a:pt x="22628" y="53333"/>
                  </a:lnTo>
                  <a:lnTo>
                    <a:pt x="22628" y="53333"/>
                  </a:lnTo>
                  <a:lnTo>
                    <a:pt x="22628" y="56296"/>
                  </a:lnTo>
                  <a:lnTo>
                    <a:pt x="24685" y="56296"/>
                  </a:lnTo>
                  <a:lnTo>
                    <a:pt x="24685" y="60740"/>
                  </a:lnTo>
                  <a:lnTo>
                    <a:pt x="26057" y="63703"/>
                  </a:lnTo>
                  <a:lnTo>
                    <a:pt x="26057" y="63703"/>
                  </a:lnTo>
                  <a:lnTo>
                    <a:pt x="27428" y="63703"/>
                  </a:lnTo>
                  <a:lnTo>
                    <a:pt x="27428" y="63703"/>
                  </a:lnTo>
                  <a:lnTo>
                    <a:pt x="29485" y="63703"/>
                  </a:lnTo>
                  <a:lnTo>
                    <a:pt x="29485" y="63703"/>
                  </a:lnTo>
                  <a:lnTo>
                    <a:pt x="29485" y="66666"/>
                  </a:lnTo>
                  <a:lnTo>
                    <a:pt x="29485" y="66666"/>
                  </a:lnTo>
                  <a:lnTo>
                    <a:pt x="29485" y="66666"/>
                  </a:lnTo>
                  <a:lnTo>
                    <a:pt x="30857" y="66666"/>
                  </a:lnTo>
                  <a:lnTo>
                    <a:pt x="30857" y="66666"/>
                  </a:lnTo>
                  <a:lnTo>
                    <a:pt x="32228" y="66666"/>
                  </a:lnTo>
                  <a:lnTo>
                    <a:pt x="34285" y="66666"/>
                  </a:lnTo>
                  <a:lnTo>
                    <a:pt x="35657" y="71111"/>
                  </a:lnTo>
                  <a:lnTo>
                    <a:pt x="35657" y="71111"/>
                  </a:lnTo>
                  <a:lnTo>
                    <a:pt x="37028" y="71111"/>
                  </a:lnTo>
                  <a:lnTo>
                    <a:pt x="39085" y="74074"/>
                  </a:lnTo>
                  <a:lnTo>
                    <a:pt x="39085" y="74074"/>
                  </a:lnTo>
                  <a:lnTo>
                    <a:pt x="39085" y="71111"/>
                  </a:lnTo>
                  <a:lnTo>
                    <a:pt x="42514" y="74074"/>
                  </a:lnTo>
                  <a:lnTo>
                    <a:pt x="42514" y="74074"/>
                  </a:lnTo>
                  <a:lnTo>
                    <a:pt x="40457" y="74074"/>
                  </a:lnTo>
                  <a:lnTo>
                    <a:pt x="37028" y="77037"/>
                  </a:lnTo>
                  <a:lnTo>
                    <a:pt x="37028" y="81481"/>
                  </a:lnTo>
                  <a:lnTo>
                    <a:pt x="37028" y="81481"/>
                  </a:lnTo>
                  <a:lnTo>
                    <a:pt x="35657" y="81481"/>
                  </a:lnTo>
                  <a:lnTo>
                    <a:pt x="35657" y="81481"/>
                  </a:lnTo>
                  <a:lnTo>
                    <a:pt x="34285" y="81481"/>
                  </a:lnTo>
                  <a:lnTo>
                    <a:pt x="34285" y="81481"/>
                  </a:lnTo>
                  <a:lnTo>
                    <a:pt x="34285" y="81481"/>
                  </a:lnTo>
                  <a:lnTo>
                    <a:pt x="34285" y="81481"/>
                  </a:lnTo>
                  <a:lnTo>
                    <a:pt x="34285" y="84444"/>
                  </a:lnTo>
                  <a:lnTo>
                    <a:pt x="34285" y="84444"/>
                  </a:lnTo>
                  <a:lnTo>
                    <a:pt x="34285" y="84444"/>
                  </a:lnTo>
                  <a:lnTo>
                    <a:pt x="32228" y="84444"/>
                  </a:lnTo>
                  <a:lnTo>
                    <a:pt x="32228" y="84444"/>
                  </a:lnTo>
                  <a:lnTo>
                    <a:pt x="32228" y="84444"/>
                  </a:lnTo>
                  <a:lnTo>
                    <a:pt x="32228" y="84444"/>
                  </a:lnTo>
                  <a:lnTo>
                    <a:pt x="30857" y="84444"/>
                  </a:lnTo>
                  <a:lnTo>
                    <a:pt x="30857" y="87407"/>
                  </a:lnTo>
                  <a:lnTo>
                    <a:pt x="29485" y="87407"/>
                  </a:lnTo>
                  <a:lnTo>
                    <a:pt x="29485" y="91851"/>
                  </a:lnTo>
                  <a:lnTo>
                    <a:pt x="29485" y="91851"/>
                  </a:lnTo>
                  <a:lnTo>
                    <a:pt x="29485" y="91851"/>
                  </a:lnTo>
                  <a:lnTo>
                    <a:pt x="27428" y="91851"/>
                  </a:lnTo>
                  <a:lnTo>
                    <a:pt x="27428" y="94814"/>
                  </a:lnTo>
                  <a:lnTo>
                    <a:pt x="26057" y="91851"/>
                  </a:lnTo>
                  <a:lnTo>
                    <a:pt x="26057" y="91851"/>
                  </a:lnTo>
                  <a:lnTo>
                    <a:pt x="26057" y="91851"/>
                  </a:lnTo>
                  <a:lnTo>
                    <a:pt x="26057" y="91851"/>
                  </a:lnTo>
                  <a:lnTo>
                    <a:pt x="24685" y="91851"/>
                  </a:lnTo>
                  <a:lnTo>
                    <a:pt x="24685" y="91851"/>
                  </a:lnTo>
                  <a:lnTo>
                    <a:pt x="22628" y="91851"/>
                  </a:lnTo>
                  <a:lnTo>
                    <a:pt x="22628" y="91851"/>
                  </a:lnTo>
                  <a:lnTo>
                    <a:pt x="19885" y="91851"/>
                  </a:lnTo>
                  <a:lnTo>
                    <a:pt x="17828" y="91851"/>
                  </a:lnTo>
                  <a:lnTo>
                    <a:pt x="17828" y="91851"/>
                  </a:lnTo>
                  <a:lnTo>
                    <a:pt x="17828" y="91851"/>
                  </a:lnTo>
                  <a:lnTo>
                    <a:pt x="17828" y="91851"/>
                  </a:lnTo>
                  <a:lnTo>
                    <a:pt x="16457" y="94814"/>
                  </a:lnTo>
                  <a:lnTo>
                    <a:pt x="14399" y="94814"/>
                  </a:lnTo>
                  <a:lnTo>
                    <a:pt x="14399" y="94814"/>
                  </a:lnTo>
                  <a:lnTo>
                    <a:pt x="14399" y="99259"/>
                  </a:lnTo>
                  <a:lnTo>
                    <a:pt x="14399" y="99259"/>
                  </a:lnTo>
                  <a:lnTo>
                    <a:pt x="14399" y="99259"/>
                  </a:lnTo>
                  <a:lnTo>
                    <a:pt x="13028" y="99259"/>
                  </a:lnTo>
                  <a:lnTo>
                    <a:pt x="11657" y="94814"/>
                  </a:lnTo>
                  <a:lnTo>
                    <a:pt x="9600" y="94814"/>
                  </a:lnTo>
                  <a:lnTo>
                    <a:pt x="8228" y="94814"/>
                  </a:lnTo>
                  <a:lnTo>
                    <a:pt x="6857" y="91851"/>
                  </a:lnTo>
                  <a:lnTo>
                    <a:pt x="4800" y="94814"/>
                  </a:lnTo>
                  <a:lnTo>
                    <a:pt x="2057" y="94814"/>
                  </a:lnTo>
                  <a:lnTo>
                    <a:pt x="2057" y="94814"/>
                  </a:lnTo>
                  <a:lnTo>
                    <a:pt x="2057" y="99259"/>
                  </a:lnTo>
                  <a:lnTo>
                    <a:pt x="2057" y="99259"/>
                  </a:lnTo>
                  <a:lnTo>
                    <a:pt x="2057" y="99259"/>
                  </a:lnTo>
                  <a:lnTo>
                    <a:pt x="0" y="99259"/>
                  </a:lnTo>
                  <a:lnTo>
                    <a:pt x="0" y="99259"/>
                  </a:lnTo>
                  <a:lnTo>
                    <a:pt x="0" y="99259"/>
                  </a:lnTo>
                  <a:lnTo>
                    <a:pt x="0" y="102222"/>
                  </a:lnTo>
                  <a:lnTo>
                    <a:pt x="0" y="102222"/>
                  </a:lnTo>
                  <a:lnTo>
                    <a:pt x="0" y="105185"/>
                  </a:lnTo>
                  <a:lnTo>
                    <a:pt x="2057" y="112592"/>
                  </a:lnTo>
                  <a:lnTo>
                    <a:pt x="2057" y="109629"/>
                  </a:lnTo>
                  <a:lnTo>
                    <a:pt x="3428" y="109629"/>
                  </a:lnTo>
                  <a:lnTo>
                    <a:pt x="4800" y="109629"/>
                  </a:lnTo>
                  <a:lnTo>
                    <a:pt x="4800" y="109629"/>
                  </a:lnTo>
                  <a:lnTo>
                    <a:pt x="6857" y="109629"/>
                  </a:lnTo>
                  <a:lnTo>
                    <a:pt x="8228" y="109629"/>
                  </a:lnTo>
                  <a:lnTo>
                    <a:pt x="9600" y="109629"/>
                  </a:lnTo>
                  <a:lnTo>
                    <a:pt x="11657" y="109629"/>
                  </a:lnTo>
                  <a:lnTo>
                    <a:pt x="11657" y="109629"/>
                  </a:lnTo>
                  <a:lnTo>
                    <a:pt x="11657" y="109629"/>
                  </a:lnTo>
                  <a:lnTo>
                    <a:pt x="11657" y="109629"/>
                  </a:lnTo>
                  <a:lnTo>
                    <a:pt x="13028" y="109629"/>
                  </a:lnTo>
                  <a:lnTo>
                    <a:pt x="14399" y="109629"/>
                  </a:lnTo>
                  <a:lnTo>
                    <a:pt x="16457" y="109629"/>
                  </a:lnTo>
                  <a:lnTo>
                    <a:pt x="16457" y="109629"/>
                  </a:lnTo>
                  <a:lnTo>
                    <a:pt x="17828" y="112592"/>
                  </a:lnTo>
                  <a:lnTo>
                    <a:pt x="17828" y="115555"/>
                  </a:lnTo>
                  <a:lnTo>
                    <a:pt x="19885" y="115555"/>
                  </a:lnTo>
                  <a:lnTo>
                    <a:pt x="21257" y="115555"/>
                  </a:lnTo>
                  <a:lnTo>
                    <a:pt x="22628" y="112592"/>
                  </a:lnTo>
                  <a:lnTo>
                    <a:pt x="22628" y="112592"/>
                  </a:lnTo>
                  <a:lnTo>
                    <a:pt x="22628" y="112592"/>
                  </a:lnTo>
                  <a:lnTo>
                    <a:pt x="24685" y="109629"/>
                  </a:lnTo>
                  <a:lnTo>
                    <a:pt x="24685" y="109629"/>
                  </a:lnTo>
                  <a:lnTo>
                    <a:pt x="26057" y="109629"/>
                  </a:lnTo>
                  <a:lnTo>
                    <a:pt x="26057" y="109629"/>
                  </a:lnTo>
                  <a:lnTo>
                    <a:pt x="27428" y="109629"/>
                  </a:lnTo>
                  <a:lnTo>
                    <a:pt x="27428" y="109629"/>
                  </a:lnTo>
                  <a:lnTo>
                    <a:pt x="27428" y="112592"/>
                  </a:lnTo>
                  <a:lnTo>
                    <a:pt x="27428" y="112592"/>
                  </a:lnTo>
                  <a:lnTo>
                    <a:pt x="27428" y="112592"/>
                  </a:lnTo>
                  <a:lnTo>
                    <a:pt x="29485" y="112592"/>
                  </a:lnTo>
                  <a:lnTo>
                    <a:pt x="30857" y="112592"/>
                  </a:lnTo>
                  <a:lnTo>
                    <a:pt x="30857" y="115555"/>
                  </a:lnTo>
                  <a:lnTo>
                    <a:pt x="30857" y="120000"/>
                  </a:lnTo>
                  <a:lnTo>
                    <a:pt x="30857" y="120000"/>
                  </a:lnTo>
                  <a:lnTo>
                    <a:pt x="30857" y="120000"/>
                  </a:lnTo>
                  <a:lnTo>
                    <a:pt x="34285" y="115555"/>
                  </a:lnTo>
                  <a:lnTo>
                    <a:pt x="34285" y="115555"/>
                  </a:lnTo>
                  <a:lnTo>
                    <a:pt x="34285" y="115555"/>
                  </a:lnTo>
                  <a:lnTo>
                    <a:pt x="35657" y="120000"/>
                  </a:lnTo>
                  <a:lnTo>
                    <a:pt x="37028" y="120000"/>
                  </a:lnTo>
                  <a:lnTo>
                    <a:pt x="37028" y="120000"/>
                  </a:lnTo>
                  <a:lnTo>
                    <a:pt x="37028" y="120000"/>
                  </a:lnTo>
                  <a:lnTo>
                    <a:pt x="37028" y="115555"/>
                  </a:lnTo>
                  <a:lnTo>
                    <a:pt x="39085" y="115555"/>
                  </a:lnTo>
                  <a:lnTo>
                    <a:pt x="40457" y="115555"/>
                  </a:lnTo>
                  <a:lnTo>
                    <a:pt x="40457" y="115555"/>
                  </a:lnTo>
                  <a:lnTo>
                    <a:pt x="43885" y="115555"/>
                  </a:lnTo>
                  <a:lnTo>
                    <a:pt x="45257" y="115555"/>
                  </a:lnTo>
                  <a:lnTo>
                    <a:pt x="47314" y="115555"/>
                  </a:lnTo>
                  <a:lnTo>
                    <a:pt x="48685" y="115555"/>
                  </a:lnTo>
                  <a:lnTo>
                    <a:pt x="48685" y="115555"/>
                  </a:lnTo>
                  <a:lnTo>
                    <a:pt x="50057" y="112592"/>
                  </a:lnTo>
                  <a:lnTo>
                    <a:pt x="50057" y="112592"/>
                  </a:lnTo>
                  <a:lnTo>
                    <a:pt x="52114" y="112592"/>
                  </a:lnTo>
                  <a:lnTo>
                    <a:pt x="52114" y="112592"/>
                  </a:lnTo>
                  <a:lnTo>
                    <a:pt x="53485" y="112592"/>
                  </a:lnTo>
                  <a:lnTo>
                    <a:pt x="54857" y="112592"/>
                  </a:lnTo>
                  <a:lnTo>
                    <a:pt x="54857" y="109629"/>
                  </a:lnTo>
                  <a:lnTo>
                    <a:pt x="54857" y="109629"/>
                  </a:lnTo>
                  <a:lnTo>
                    <a:pt x="54857" y="109629"/>
                  </a:lnTo>
                  <a:lnTo>
                    <a:pt x="54857" y="105185"/>
                  </a:lnTo>
                  <a:lnTo>
                    <a:pt x="53485" y="102222"/>
                  </a:lnTo>
                  <a:lnTo>
                    <a:pt x="53485" y="102222"/>
                  </a:lnTo>
                  <a:lnTo>
                    <a:pt x="53485" y="102222"/>
                  </a:lnTo>
                  <a:lnTo>
                    <a:pt x="53485" y="99259"/>
                  </a:lnTo>
                  <a:lnTo>
                    <a:pt x="53485" y="99259"/>
                  </a:lnTo>
                  <a:lnTo>
                    <a:pt x="54857" y="99259"/>
                  </a:lnTo>
                  <a:lnTo>
                    <a:pt x="54857" y="99259"/>
                  </a:lnTo>
                  <a:lnTo>
                    <a:pt x="54857" y="94814"/>
                  </a:lnTo>
                  <a:lnTo>
                    <a:pt x="56914" y="94814"/>
                  </a:lnTo>
                  <a:lnTo>
                    <a:pt x="58285" y="94814"/>
                  </a:lnTo>
                  <a:lnTo>
                    <a:pt x="61714" y="91851"/>
                  </a:lnTo>
                  <a:lnTo>
                    <a:pt x="61714" y="87407"/>
                  </a:lnTo>
                  <a:lnTo>
                    <a:pt x="63085" y="87407"/>
                  </a:lnTo>
                  <a:lnTo>
                    <a:pt x="63085" y="87407"/>
                  </a:lnTo>
                  <a:lnTo>
                    <a:pt x="63085" y="87407"/>
                  </a:lnTo>
                  <a:lnTo>
                    <a:pt x="63085" y="84444"/>
                  </a:lnTo>
                  <a:lnTo>
                    <a:pt x="63085" y="84444"/>
                  </a:lnTo>
                  <a:lnTo>
                    <a:pt x="63085" y="84444"/>
                  </a:lnTo>
                  <a:lnTo>
                    <a:pt x="63085" y="84444"/>
                  </a:lnTo>
                  <a:lnTo>
                    <a:pt x="65142" y="84444"/>
                  </a:lnTo>
                  <a:lnTo>
                    <a:pt x="66514" y="84444"/>
                  </a:lnTo>
                  <a:lnTo>
                    <a:pt x="67885" y="84444"/>
                  </a:lnTo>
                  <a:lnTo>
                    <a:pt x="69942" y="81481"/>
                  </a:lnTo>
                  <a:lnTo>
                    <a:pt x="71314" y="81481"/>
                  </a:lnTo>
                  <a:lnTo>
                    <a:pt x="71314" y="81481"/>
                  </a:lnTo>
                  <a:lnTo>
                    <a:pt x="71314" y="81481"/>
                  </a:lnTo>
                  <a:lnTo>
                    <a:pt x="72685" y="87407"/>
                  </a:lnTo>
                  <a:lnTo>
                    <a:pt x="72685" y="87407"/>
                  </a:lnTo>
                  <a:lnTo>
                    <a:pt x="76114" y="87407"/>
                  </a:lnTo>
                  <a:lnTo>
                    <a:pt x="76114" y="87407"/>
                  </a:lnTo>
                  <a:lnTo>
                    <a:pt x="77485" y="87407"/>
                  </a:lnTo>
                  <a:lnTo>
                    <a:pt x="79542" y="87407"/>
                  </a:lnTo>
                  <a:lnTo>
                    <a:pt x="79542" y="84444"/>
                  </a:lnTo>
                  <a:lnTo>
                    <a:pt x="79542" y="84444"/>
                  </a:lnTo>
                  <a:lnTo>
                    <a:pt x="80914" y="87407"/>
                  </a:lnTo>
                  <a:lnTo>
                    <a:pt x="80914" y="87407"/>
                  </a:lnTo>
                  <a:lnTo>
                    <a:pt x="82285" y="84444"/>
                  </a:lnTo>
                  <a:lnTo>
                    <a:pt x="82285" y="84444"/>
                  </a:lnTo>
                  <a:lnTo>
                    <a:pt x="82285" y="81481"/>
                  </a:lnTo>
                  <a:lnTo>
                    <a:pt x="82285" y="77037"/>
                  </a:lnTo>
                  <a:lnTo>
                    <a:pt x="82285" y="74074"/>
                  </a:lnTo>
                  <a:lnTo>
                    <a:pt x="82285" y="74074"/>
                  </a:lnTo>
                  <a:lnTo>
                    <a:pt x="82285" y="74074"/>
                  </a:lnTo>
                  <a:lnTo>
                    <a:pt x="84342" y="66666"/>
                  </a:lnTo>
                  <a:lnTo>
                    <a:pt x="84342" y="66666"/>
                  </a:lnTo>
                  <a:lnTo>
                    <a:pt x="85714" y="66666"/>
                  </a:lnTo>
                  <a:lnTo>
                    <a:pt x="87771" y="66666"/>
                  </a:lnTo>
                  <a:lnTo>
                    <a:pt x="89142" y="66666"/>
                  </a:lnTo>
                  <a:lnTo>
                    <a:pt x="92571" y="66666"/>
                  </a:lnTo>
                  <a:lnTo>
                    <a:pt x="93942" y="66666"/>
                  </a:lnTo>
                  <a:lnTo>
                    <a:pt x="95314" y="66666"/>
                  </a:lnTo>
                  <a:lnTo>
                    <a:pt x="97371" y="66666"/>
                  </a:lnTo>
                  <a:lnTo>
                    <a:pt x="98742" y="66666"/>
                  </a:lnTo>
                  <a:lnTo>
                    <a:pt x="100114" y="60740"/>
                  </a:lnTo>
                  <a:lnTo>
                    <a:pt x="100114" y="56296"/>
                  </a:lnTo>
                  <a:lnTo>
                    <a:pt x="100114" y="56296"/>
                  </a:lnTo>
                  <a:lnTo>
                    <a:pt x="100114" y="56296"/>
                  </a:lnTo>
                  <a:lnTo>
                    <a:pt x="102171" y="53333"/>
                  </a:lnTo>
                  <a:lnTo>
                    <a:pt x="103542" y="48888"/>
                  </a:lnTo>
                  <a:lnTo>
                    <a:pt x="108342" y="45925"/>
                  </a:lnTo>
                  <a:lnTo>
                    <a:pt x="110399" y="42962"/>
                  </a:lnTo>
                  <a:lnTo>
                    <a:pt x="110399" y="42962"/>
                  </a:lnTo>
                  <a:lnTo>
                    <a:pt x="111771" y="42962"/>
                  </a:lnTo>
                  <a:lnTo>
                    <a:pt x="115199" y="38518"/>
                  </a:lnTo>
                  <a:lnTo>
                    <a:pt x="115199" y="38518"/>
                  </a:lnTo>
                  <a:lnTo>
                    <a:pt x="115199" y="35555"/>
                  </a:lnTo>
                  <a:lnTo>
                    <a:pt x="119999" y="35555"/>
                  </a:lnTo>
                  <a:lnTo>
                    <a:pt x="119999" y="35555"/>
                  </a:lnTo>
                  <a:lnTo>
                    <a:pt x="119999" y="35555"/>
                  </a:lnTo>
                  <a:lnTo>
                    <a:pt x="117942" y="32592"/>
                  </a:lnTo>
                  <a:close/>
                  <a:moveTo>
                    <a:pt x="16457" y="102222"/>
                  </a:moveTo>
                  <a:lnTo>
                    <a:pt x="14399" y="102222"/>
                  </a:lnTo>
                  <a:lnTo>
                    <a:pt x="14399" y="102222"/>
                  </a:lnTo>
                  <a:lnTo>
                    <a:pt x="14399" y="102222"/>
                  </a:lnTo>
                  <a:lnTo>
                    <a:pt x="13028" y="99259"/>
                  </a:lnTo>
                  <a:lnTo>
                    <a:pt x="14399" y="99259"/>
                  </a:lnTo>
                  <a:lnTo>
                    <a:pt x="14399" y="102222"/>
                  </a:lnTo>
                  <a:lnTo>
                    <a:pt x="16457" y="102222"/>
                  </a:lnTo>
                  <a:lnTo>
                    <a:pt x="16457" y="102222"/>
                  </a:lnTo>
                  <a:lnTo>
                    <a:pt x="16457" y="102222"/>
                  </a:lnTo>
                  <a:lnTo>
                    <a:pt x="16457" y="102222"/>
                  </a:lnTo>
                  <a:close/>
                  <a:moveTo>
                    <a:pt x="22628" y="99259"/>
                  </a:moveTo>
                  <a:lnTo>
                    <a:pt x="21257" y="99259"/>
                  </a:lnTo>
                  <a:lnTo>
                    <a:pt x="21257" y="99259"/>
                  </a:lnTo>
                  <a:lnTo>
                    <a:pt x="19885" y="99259"/>
                  </a:lnTo>
                  <a:lnTo>
                    <a:pt x="19885" y="99259"/>
                  </a:lnTo>
                  <a:lnTo>
                    <a:pt x="19885" y="94814"/>
                  </a:lnTo>
                  <a:lnTo>
                    <a:pt x="19885" y="94814"/>
                  </a:lnTo>
                  <a:lnTo>
                    <a:pt x="19885" y="99259"/>
                  </a:lnTo>
                  <a:lnTo>
                    <a:pt x="19885" y="99259"/>
                  </a:lnTo>
                  <a:lnTo>
                    <a:pt x="17828" y="94814"/>
                  </a:lnTo>
                  <a:lnTo>
                    <a:pt x="17828" y="94814"/>
                  </a:lnTo>
                  <a:lnTo>
                    <a:pt x="19885" y="94814"/>
                  </a:lnTo>
                  <a:lnTo>
                    <a:pt x="19885" y="94814"/>
                  </a:lnTo>
                  <a:lnTo>
                    <a:pt x="19885" y="94814"/>
                  </a:lnTo>
                  <a:lnTo>
                    <a:pt x="21257" y="99259"/>
                  </a:lnTo>
                  <a:lnTo>
                    <a:pt x="21257" y="99259"/>
                  </a:lnTo>
                  <a:lnTo>
                    <a:pt x="21257" y="99259"/>
                  </a:lnTo>
                  <a:lnTo>
                    <a:pt x="22628" y="99259"/>
                  </a:lnTo>
                  <a:lnTo>
                    <a:pt x="21257" y="99259"/>
                  </a:lnTo>
                  <a:lnTo>
                    <a:pt x="22628" y="99259"/>
                  </a:lnTo>
                  <a:lnTo>
                    <a:pt x="22628" y="99259"/>
                  </a:lnTo>
                  <a:close/>
                  <a:moveTo>
                    <a:pt x="29485" y="99259"/>
                  </a:moveTo>
                  <a:lnTo>
                    <a:pt x="27428" y="99259"/>
                  </a:lnTo>
                  <a:lnTo>
                    <a:pt x="27428" y="99259"/>
                  </a:lnTo>
                  <a:lnTo>
                    <a:pt x="27428" y="99259"/>
                  </a:lnTo>
                  <a:lnTo>
                    <a:pt x="27428" y="94814"/>
                  </a:lnTo>
                  <a:lnTo>
                    <a:pt x="29485" y="94814"/>
                  </a:lnTo>
                  <a:lnTo>
                    <a:pt x="29485" y="94814"/>
                  </a:lnTo>
                  <a:lnTo>
                    <a:pt x="29485" y="99259"/>
                  </a:lnTo>
                  <a:lnTo>
                    <a:pt x="29485" y="99259"/>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53" name="Shape 453"/>
            <p:cNvSpPr/>
            <p:nvPr/>
          </p:nvSpPr>
          <p:spPr>
            <a:xfrm>
              <a:off x="4009" y="1897"/>
              <a:ext cx="0" cy="0"/>
            </a:xfrm>
            <a:custGeom>
              <a:avLst/>
              <a:gdLst/>
              <a:ahLst/>
              <a:cxnLst/>
              <a:rect l="0" t="0" r="0" b="0"/>
              <a:pathLst>
                <a:path w="120000" h="120000" extrusionOk="0">
                  <a:moveTo>
                    <a:pt x="120000" y="49655"/>
                  </a:moveTo>
                  <a:lnTo>
                    <a:pt x="120000" y="49655"/>
                  </a:lnTo>
                  <a:lnTo>
                    <a:pt x="112000" y="49655"/>
                  </a:lnTo>
                  <a:lnTo>
                    <a:pt x="92000" y="41379"/>
                  </a:lnTo>
                  <a:lnTo>
                    <a:pt x="92000" y="28965"/>
                  </a:lnTo>
                  <a:lnTo>
                    <a:pt x="92000" y="28965"/>
                  </a:lnTo>
                  <a:lnTo>
                    <a:pt x="84000" y="28965"/>
                  </a:lnTo>
                  <a:lnTo>
                    <a:pt x="84000" y="20689"/>
                  </a:lnTo>
                  <a:lnTo>
                    <a:pt x="76000" y="20689"/>
                  </a:lnTo>
                  <a:lnTo>
                    <a:pt x="76000" y="12413"/>
                  </a:lnTo>
                  <a:lnTo>
                    <a:pt x="64000" y="12413"/>
                  </a:lnTo>
                  <a:lnTo>
                    <a:pt x="56000" y="12413"/>
                  </a:lnTo>
                  <a:lnTo>
                    <a:pt x="56000" y="0"/>
                  </a:lnTo>
                  <a:lnTo>
                    <a:pt x="56000" y="0"/>
                  </a:lnTo>
                  <a:lnTo>
                    <a:pt x="56000" y="0"/>
                  </a:lnTo>
                  <a:lnTo>
                    <a:pt x="56000" y="0"/>
                  </a:lnTo>
                  <a:lnTo>
                    <a:pt x="48000" y="0"/>
                  </a:lnTo>
                  <a:lnTo>
                    <a:pt x="48000" y="0"/>
                  </a:lnTo>
                  <a:lnTo>
                    <a:pt x="36000" y="0"/>
                  </a:lnTo>
                  <a:lnTo>
                    <a:pt x="36000" y="0"/>
                  </a:lnTo>
                  <a:lnTo>
                    <a:pt x="48000" y="12413"/>
                  </a:lnTo>
                  <a:lnTo>
                    <a:pt x="48000" y="12413"/>
                  </a:lnTo>
                  <a:lnTo>
                    <a:pt x="48000" y="12413"/>
                  </a:lnTo>
                  <a:lnTo>
                    <a:pt x="48000" y="20689"/>
                  </a:lnTo>
                  <a:lnTo>
                    <a:pt x="36000" y="20689"/>
                  </a:lnTo>
                  <a:lnTo>
                    <a:pt x="28000" y="28965"/>
                  </a:lnTo>
                  <a:lnTo>
                    <a:pt x="36000" y="28965"/>
                  </a:lnTo>
                  <a:lnTo>
                    <a:pt x="36000" y="28965"/>
                  </a:lnTo>
                  <a:lnTo>
                    <a:pt x="28000" y="28965"/>
                  </a:lnTo>
                  <a:lnTo>
                    <a:pt x="20000" y="41379"/>
                  </a:lnTo>
                  <a:lnTo>
                    <a:pt x="20000" y="41379"/>
                  </a:lnTo>
                  <a:lnTo>
                    <a:pt x="8000" y="41379"/>
                  </a:lnTo>
                  <a:lnTo>
                    <a:pt x="8000" y="41379"/>
                  </a:lnTo>
                  <a:lnTo>
                    <a:pt x="0" y="41379"/>
                  </a:lnTo>
                  <a:lnTo>
                    <a:pt x="8000" y="49655"/>
                  </a:lnTo>
                  <a:lnTo>
                    <a:pt x="8000" y="49655"/>
                  </a:lnTo>
                  <a:lnTo>
                    <a:pt x="8000" y="62068"/>
                  </a:lnTo>
                  <a:lnTo>
                    <a:pt x="8000" y="62068"/>
                  </a:lnTo>
                  <a:lnTo>
                    <a:pt x="8000" y="62068"/>
                  </a:lnTo>
                  <a:lnTo>
                    <a:pt x="20000" y="70344"/>
                  </a:lnTo>
                  <a:lnTo>
                    <a:pt x="20000" y="78620"/>
                  </a:lnTo>
                  <a:lnTo>
                    <a:pt x="28000" y="78620"/>
                  </a:lnTo>
                  <a:lnTo>
                    <a:pt x="28000" y="78620"/>
                  </a:lnTo>
                  <a:lnTo>
                    <a:pt x="36000" y="91034"/>
                  </a:lnTo>
                  <a:lnTo>
                    <a:pt x="36000" y="91034"/>
                  </a:lnTo>
                  <a:lnTo>
                    <a:pt x="48000" y="99310"/>
                  </a:lnTo>
                  <a:lnTo>
                    <a:pt x="48000" y="107586"/>
                  </a:lnTo>
                  <a:lnTo>
                    <a:pt x="48000" y="120000"/>
                  </a:lnTo>
                  <a:lnTo>
                    <a:pt x="48000" y="120000"/>
                  </a:lnTo>
                  <a:lnTo>
                    <a:pt x="56000" y="120000"/>
                  </a:lnTo>
                  <a:lnTo>
                    <a:pt x="56000" y="120000"/>
                  </a:lnTo>
                  <a:lnTo>
                    <a:pt x="56000" y="107586"/>
                  </a:lnTo>
                  <a:lnTo>
                    <a:pt x="56000" y="99310"/>
                  </a:lnTo>
                  <a:lnTo>
                    <a:pt x="56000" y="99310"/>
                  </a:lnTo>
                  <a:lnTo>
                    <a:pt x="76000" y="91034"/>
                  </a:lnTo>
                  <a:lnTo>
                    <a:pt x="84000" y="91034"/>
                  </a:lnTo>
                  <a:lnTo>
                    <a:pt x="84000" y="91034"/>
                  </a:lnTo>
                  <a:lnTo>
                    <a:pt x="84000" y="99310"/>
                  </a:lnTo>
                  <a:lnTo>
                    <a:pt x="92000" y="99310"/>
                  </a:lnTo>
                  <a:lnTo>
                    <a:pt x="92000" y="91034"/>
                  </a:lnTo>
                  <a:lnTo>
                    <a:pt x="92000" y="91034"/>
                  </a:lnTo>
                  <a:lnTo>
                    <a:pt x="92000" y="91034"/>
                  </a:lnTo>
                  <a:lnTo>
                    <a:pt x="112000" y="78620"/>
                  </a:lnTo>
                  <a:lnTo>
                    <a:pt x="112000" y="78620"/>
                  </a:lnTo>
                  <a:lnTo>
                    <a:pt x="104000" y="78620"/>
                  </a:lnTo>
                  <a:lnTo>
                    <a:pt x="104000" y="78620"/>
                  </a:lnTo>
                  <a:lnTo>
                    <a:pt x="104000" y="70344"/>
                  </a:lnTo>
                  <a:lnTo>
                    <a:pt x="112000" y="70344"/>
                  </a:lnTo>
                  <a:lnTo>
                    <a:pt x="112000" y="70344"/>
                  </a:lnTo>
                  <a:lnTo>
                    <a:pt x="120000" y="49655"/>
                  </a:lnTo>
                  <a:lnTo>
                    <a:pt x="120000" y="49655"/>
                  </a:lnTo>
                  <a:lnTo>
                    <a:pt x="120000" y="49655"/>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54" name="Shape 454"/>
            <p:cNvSpPr/>
            <p:nvPr/>
          </p:nvSpPr>
          <p:spPr>
            <a:xfrm>
              <a:off x="4438" y="1646"/>
              <a:ext cx="600" cy="300"/>
            </a:xfrm>
            <a:custGeom>
              <a:avLst/>
              <a:gdLst/>
              <a:ahLst/>
              <a:cxnLst/>
              <a:rect l="0" t="0" r="0" b="0"/>
              <a:pathLst>
                <a:path w="120000" h="120000" extrusionOk="0">
                  <a:moveTo>
                    <a:pt x="12727" y="84590"/>
                  </a:moveTo>
                  <a:lnTo>
                    <a:pt x="12727" y="83803"/>
                  </a:lnTo>
                  <a:lnTo>
                    <a:pt x="12727" y="82622"/>
                  </a:lnTo>
                  <a:lnTo>
                    <a:pt x="12727" y="82622"/>
                  </a:lnTo>
                  <a:lnTo>
                    <a:pt x="12727" y="82622"/>
                  </a:lnTo>
                  <a:lnTo>
                    <a:pt x="12727" y="83803"/>
                  </a:lnTo>
                  <a:lnTo>
                    <a:pt x="12727" y="84590"/>
                  </a:lnTo>
                  <a:lnTo>
                    <a:pt x="12727" y="85377"/>
                  </a:lnTo>
                  <a:lnTo>
                    <a:pt x="13272" y="85377"/>
                  </a:lnTo>
                  <a:lnTo>
                    <a:pt x="13272" y="85377"/>
                  </a:lnTo>
                  <a:lnTo>
                    <a:pt x="12727" y="85377"/>
                  </a:lnTo>
                  <a:lnTo>
                    <a:pt x="12727" y="84590"/>
                  </a:lnTo>
                  <a:close/>
                  <a:moveTo>
                    <a:pt x="13272" y="82622"/>
                  </a:moveTo>
                  <a:lnTo>
                    <a:pt x="13272" y="83803"/>
                  </a:lnTo>
                  <a:lnTo>
                    <a:pt x="13272" y="84590"/>
                  </a:lnTo>
                  <a:lnTo>
                    <a:pt x="13636" y="84590"/>
                  </a:lnTo>
                  <a:lnTo>
                    <a:pt x="13636" y="84590"/>
                  </a:lnTo>
                  <a:lnTo>
                    <a:pt x="13636" y="82622"/>
                  </a:lnTo>
                  <a:lnTo>
                    <a:pt x="13272" y="82622"/>
                  </a:lnTo>
                  <a:close/>
                  <a:moveTo>
                    <a:pt x="20545" y="79868"/>
                  </a:moveTo>
                  <a:lnTo>
                    <a:pt x="20545" y="79868"/>
                  </a:lnTo>
                  <a:lnTo>
                    <a:pt x="20181" y="79081"/>
                  </a:lnTo>
                  <a:lnTo>
                    <a:pt x="20181" y="79081"/>
                  </a:lnTo>
                  <a:lnTo>
                    <a:pt x="20181" y="79868"/>
                  </a:lnTo>
                  <a:lnTo>
                    <a:pt x="20181" y="79868"/>
                  </a:lnTo>
                  <a:lnTo>
                    <a:pt x="20545" y="79868"/>
                  </a:lnTo>
                  <a:lnTo>
                    <a:pt x="20545" y="79868"/>
                  </a:lnTo>
                  <a:close/>
                  <a:moveTo>
                    <a:pt x="119454" y="49967"/>
                  </a:moveTo>
                  <a:lnTo>
                    <a:pt x="119454" y="49180"/>
                  </a:lnTo>
                  <a:lnTo>
                    <a:pt x="119090" y="49180"/>
                  </a:lnTo>
                  <a:lnTo>
                    <a:pt x="118727" y="49180"/>
                  </a:lnTo>
                  <a:lnTo>
                    <a:pt x="118727" y="49180"/>
                  </a:lnTo>
                  <a:lnTo>
                    <a:pt x="118181" y="48393"/>
                  </a:lnTo>
                  <a:lnTo>
                    <a:pt x="117818" y="47213"/>
                  </a:lnTo>
                  <a:lnTo>
                    <a:pt x="117454" y="46426"/>
                  </a:lnTo>
                  <a:lnTo>
                    <a:pt x="116909" y="46426"/>
                  </a:lnTo>
                  <a:lnTo>
                    <a:pt x="116909" y="46426"/>
                  </a:lnTo>
                  <a:lnTo>
                    <a:pt x="116909" y="45639"/>
                  </a:lnTo>
                  <a:lnTo>
                    <a:pt x="116909" y="45639"/>
                  </a:lnTo>
                  <a:lnTo>
                    <a:pt x="116909" y="45639"/>
                  </a:lnTo>
                  <a:lnTo>
                    <a:pt x="116909" y="44459"/>
                  </a:lnTo>
                  <a:lnTo>
                    <a:pt x="116545" y="44459"/>
                  </a:lnTo>
                  <a:lnTo>
                    <a:pt x="116545" y="45639"/>
                  </a:lnTo>
                  <a:lnTo>
                    <a:pt x="116000" y="45639"/>
                  </a:lnTo>
                  <a:lnTo>
                    <a:pt x="116000" y="46426"/>
                  </a:lnTo>
                  <a:lnTo>
                    <a:pt x="116000" y="46426"/>
                  </a:lnTo>
                  <a:lnTo>
                    <a:pt x="115636" y="47213"/>
                  </a:lnTo>
                  <a:lnTo>
                    <a:pt x="115636" y="47213"/>
                  </a:lnTo>
                  <a:lnTo>
                    <a:pt x="115272" y="47213"/>
                  </a:lnTo>
                  <a:lnTo>
                    <a:pt x="115272" y="47213"/>
                  </a:lnTo>
                  <a:lnTo>
                    <a:pt x="114727" y="46426"/>
                  </a:lnTo>
                  <a:lnTo>
                    <a:pt x="114727" y="46426"/>
                  </a:lnTo>
                  <a:lnTo>
                    <a:pt x="113454" y="46426"/>
                  </a:lnTo>
                  <a:lnTo>
                    <a:pt x="113090" y="46426"/>
                  </a:lnTo>
                  <a:lnTo>
                    <a:pt x="113090" y="46426"/>
                  </a:lnTo>
                  <a:lnTo>
                    <a:pt x="112727" y="46426"/>
                  </a:lnTo>
                  <a:lnTo>
                    <a:pt x="112727" y="45639"/>
                  </a:lnTo>
                  <a:lnTo>
                    <a:pt x="112181" y="45639"/>
                  </a:lnTo>
                  <a:lnTo>
                    <a:pt x="112181" y="44459"/>
                  </a:lnTo>
                  <a:lnTo>
                    <a:pt x="111818" y="43672"/>
                  </a:lnTo>
                  <a:lnTo>
                    <a:pt x="111454" y="43672"/>
                  </a:lnTo>
                  <a:lnTo>
                    <a:pt x="111454" y="42491"/>
                  </a:lnTo>
                  <a:lnTo>
                    <a:pt x="111454" y="42491"/>
                  </a:lnTo>
                  <a:lnTo>
                    <a:pt x="111454" y="42491"/>
                  </a:lnTo>
                  <a:lnTo>
                    <a:pt x="110909" y="42491"/>
                  </a:lnTo>
                  <a:lnTo>
                    <a:pt x="110000" y="41704"/>
                  </a:lnTo>
                  <a:lnTo>
                    <a:pt x="109636" y="40918"/>
                  </a:lnTo>
                  <a:lnTo>
                    <a:pt x="109272" y="40918"/>
                  </a:lnTo>
                  <a:lnTo>
                    <a:pt x="109272" y="40918"/>
                  </a:lnTo>
                  <a:lnTo>
                    <a:pt x="108727" y="40918"/>
                  </a:lnTo>
                  <a:lnTo>
                    <a:pt x="108363" y="39737"/>
                  </a:lnTo>
                  <a:lnTo>
                    <a:pt x="108363" y="38950"/>
                  </a:lnTo>
                  <a:lnTo>
                    <a:pt x="108000" y="38163"/>
                  </a:lnTo>
                  <a:lnTo>
                    <a:pt x="107454" y="36983"/>
                  </a:lnTo>
                  <a:lnTo>
                    <a:pt x="107090" y="36983"/>
                  </a:lnTo>
                  <a:lnTo>
                    <a:pt x="107090" y="36196"/>
                  </a:lnTo>
                  <a:lnTo>
                    <a:pt x="106181" y="36196"/>
                  </a:lnTo>
                  <a:lnTo>
                    <a:pt x="105818" y="35409"/>
                  </a:lnTo>
                  <a:lnTo>
                    <a:pt x="105454" y="35409"/>
                  </a:lnTo>
                  <a:lnTo>
                    <a:pt x="104909" y="35409"/>
                  </a:lnTo>
                  <a:lnTo>
                    <a:pt x="104545" y="35409"/>
                  </a:lnTo>
                  <a:lnTo>
                    <a:pt x="104545" y="35409"/>
                  </a:lnTo>
                  <a:lnTo>
                    <a:pt x="104545" y="36196"/>
                  </a:lnTo>
                  <a:lnTo>
                    <a:pt x="104000" y="36196"/>
                  </a:lnTo>
                  <a:lnTo>
                    <a:pt x="103636" y="36196"/>
                  </a:lnTo>
                  <a:lnTo>
                    <a:pt x="103636" y="36196"/>
                  </a:lnTo>
                  <a:lnTo>
                    <a:pt x="103636" y="36196"/>
                  </a:lnTo>
                  <a:lnTo>
                    <a:pt x="103272" y="36983"/>
                  </a:lnTo>
                  <a:lnTo>
                    <a:pt x="103272" y="36983"/>
                  </a:lnTo>
                  <a:lnTo>
                    <a:pt x="102363" y="36983"/>
                  </a:lnTo>
                  <a:lnTo>
                    <a:pt x="102363" y="36983"/>
                  </a:lnTo>
                  <a:lnTo>
                    <a:pt x="102000" y="36983"/>
                  </a:lnTo>
                  <a:lnTo>
                    <a:pt x="101454" y="36983"/>
                  </a:lnTo>
                  <a:lnTo>
                    <a:pt x="101090" y="36983"/>
                  </a:lnTo>
                  <a:lnTo>
                    <a:pt x="100727" y="36983"/>
                  </a:lnTo>
                  <a:lnTo>
                    <a:pt x="100181" y="36983"/>
                  </a:lnTo>
                  <a:lnTo>
                    <a:pt x="99818" y="36983"/>
                  </a:lnTo>
                  <a:lnTo>
                    <a:pt x="99818" y="36196"/>
                  </a:lnTo>
                  <a:lnTo>
                    <a:pt x="99818" y="36196"/>
                  </a:lnTo>
                  <a:lnTo>
                    <a:pt x="99818" y="35409"/>
                  </a:lnTo>
                  <a:lnTo>
                    <a:pt x="99454" y="35409"/>
                  </a:lnTo>
                  <a:lnTo>
                    <a:pt x="99454" y="35409"/>
                  </a:lnTo>
                  <a:lnTo>
                    <a:pt x="98909" y="35409"/>
                  </a:lnTo>
                  <a:lnTo>
                    <a:pt x="98545" y="35409"/>
                  </a:lnTo>
                  <a:lnTo>
                    <a:pt x="98545" y="35409"/>
                  </a:lnTo>
                  <a:lnTo>
                    <a:pt x="98545" y="34229"/>
                  </a:lnTo>
                  <a:lnTo>
                    <a:pt x="98545" y="33442"/>
                  </a:lnTo>
                  <a:lnTo>
                    <a:pt x="98545" y="33442"/>
                  </a:lnTo>
                  <a:lnTo>
                    <a:pt x="98000" y="33442"/>
                  </a:lnTo>
                  <a:lnTo>
                    <a:pt x="98000" y="33442"/>
                  </a:lnTo>
                  <a:lnTo>
                    <a:pt x="97636" y="33442"/>
                  </a:lnTo>
                  <a:lnTo>
                    <a:pt x="97636" y="32262"/>
                  </a:lnTo>
                  <a:lnTo>
                    <a:pt x="97272" y="32262"/>
                  </a:lnTo>
                  <a:lnTo>
                    <a:pt x="97272" y="32262"/>
                  </a:lnTo>
                  <a:lnTo>
                    <a:pt x="96727" y="32262"/>
                  </a:lnTo>
                  <a:lnTo>
                    <a:pt x="96727" y="33442"/>
                  </a:lnTo>
                  <a:lnTo>
                    <a:pt x="96727" y="33442"/>
                  </a:lnTo>
                  <a:lnTo>
                    <a:pt x="96363" y="33442"/>
                  </a:lnTo>
                  <a:lnTo>
                    <a:pt x="96363" y="33442"/>
                  </a:lnTo>
                  <a:lnTo>
                    <a:pt x="96363" y="34229"/>
                  </a:lnTo>
                  <a:lnTo>
                    <a:pt x="96363" y="34229"/>
                  </a:lnTo>
                  <a:lnTo>
                    <a:pt x="96727" y="35409"/>
                  </a:lnTo>
                  <a:lnTo>
                    <a:pt x="96727" y="35409"/>
                  </a:lnTo>
                  <a:lnTo>
                    <a:pt x="96363" y="35409"/>
                  </a:lnTo>
                  <a:lnTo>
                    <a:pt x="96363" y="35409"/>
                  </a:lnTo>
                  <a:lnTo>
                    <a:pt x="96363" y="35409"/>
                  </a:lnTo>
                  <a:lnTo>
                    <a:pt x="96000" y="36196"/>
                  </a:lnTo>
                  <a:lnTo>
                    <a:pt x="96000" y="36196"/>
                  </a:lnTo>
                  <a:lnTo>
                    <a:pt x="96000" y="36196"/>
                  </a:lnTo>
                  <a:lnTo>
                    <a:pt x="96000" y="36983"/>
                  </a:lnTo>
                  <a:lnTo>
                    <a:pt x="95454" y="36983"/>
                  </a:lnTo>
                  <a:lnTo>
                    <a:pt x="95090" y="35409"/>
                  </a:lnTo>
                  <a:lnTo>
                    <a:pt x="94181" y="33442"/>
                  </a:lnTo>
                  <a:lnTo>
                    <a:pt x="93454" y="31475"/>
                  </a:lnTo>
                  <a:lnTo>
                    <a:pt x="92909" y="30688"/>
                  </a:lnTo>
                  <a:lnTo>
                    <a:pt x="91636" y="27934"/>
                  </a:lnTo>
                  <a:lnTo>
                    <a:pt x="90727" y="26754"/>
                  </a:lnTo>
                  <a:lnTo>
                    <a:pt x="89454" y="24000"/>
                  </a:lnTo>
                  <a:lnTo>
                    <a:pt x="88727" y="22032"/>
                  </a:lnTo>
                  <a:lnTo>
                    <a:pt x="87454" y="19278"/>
                  </a:lnTo>
                  <a:lnTo>
                    <a:pt x="86545" y="18491"/>
                  </a:lnTo>
                  <a:lnTo>
                    <a:pt x="85636" y="16524"/>
                  </a:lnTo>
                  <a:lnTo>
                    <a:pt x="85636" y="16524"/>
                  </a:lnTo>
                  <a:lnTo>
                    <a:pt x="85272" y="15737"/>
                  </a:lnTo>
                  <a:lnTo>
                    <a:pt x="84363" y="14950"/>
                  </a:lnTo>
                  <a:lnTo>
                    <a:pt x="83090" y="13770"/>
                  </a:lnTo>
                  <a:lnTo>
                    <a:pt x="82181" y="12983"/>
                  </a:lnTo>
                  <a:lnTo>
                    <a:pt x="80909" y="11803"/>
                  </a:lnTo>
                  <a:lnTo>
                    <a:pt x="80909" y="11016"/>
                  </a:lnTo>
                  <a:lnTo>
                    <a:pt x="80909" y="11016"/>
                  </a:lnTo>
                  <a:lnTo>
                    <a:pt x="80545" y="11016"/>
                  </a:lnTo>
                  <a:lnTo>
                    <a:pt x="80545" y="10229"/>
                  </a:lnTo>
                  <a:lnTo>
                    <a:pt x="80545" y="10229"/>
                  </a:lnTo>
                  <a:lnTo>
                    <a:pt x="80909" y="10229"/>
                  </a:lnTo>
                  <a:lnTo>
                    <a:pt x="80909" y="10229"/>
                  </a:lnTo>
                  <a:lnTo>
                    <a:pt x="81454" y="8262"/>
                  </a:lnTo>
                  <a:lnTo>
                    <a:pt x="80909" y="7475"/>
                  </a:lnTo>
                  <a:lnTo>
                    <a:pt x="80909" y="7475"/>
                  </a:lnTo>
                  <a:lnTo>
                    <a:pt x="80545" y="8262"/>
                  </a:lnTo>
                  <a:lnTo>
                    <a:pt x="80545" y="8262"/>
                  </a:lnTo>
                  <a:lnTo>
                    <a:pt x="80545" y="8262"/>
                  </a:lnTo>
                  <a:lnTo>
                    <a:pt x="79636" y="8262"/>
                  </a:lnTo>
                  <a:lnTo>
                    <a:pt x="79272" y="9049"/>
                  </a:lnTo>
                  <a:lnTo>
                    <a:pt x="78727" y="10229"/>
                  </a:lnTo>
                  <a:lnTo>
                    <a:pt x="78363" y="10229"/>
                  </a:lnTo>
                  <a:lnTo>
                    <a:pt x="78363" y="10229"/>
                  </a:lnTo>
                  <a:lnTo>
                    <a:pt x="77454" y="10229"/>
                  </a:lnTo>
                  <a:lnTo>
                    <a:pt x="77454" y="11016"/>
                  </a:lnTo>
                  <a:lnTo>
                    <a:pt x="77454" y="11016"/>
                  </a:lnTo>
                  <a:lnTo>
                    <a:pt x="77454" y="11016"/>
                  </a:lnTo>
                  <a:lnTo>
                    <a:pt x="77454" y="11803"/>
                  </a:lnTo>
                  <a:lnTo>
                    <a:pt x="77090" y="12983"/>
                  </a:lnTo>
                  <a:lnTo>
                    <a:pt x="76727" y="12983"/>
                  </a:lnTo>
                  <a:lnTo>
                    <a:pt x="76727" y="11803"/>
                  </a:lnTo>
                  <a:lnTo>
                    <a:pt x="76181" y="12983"/>
                  </a:lnTo>
                  <a:lnTo>
                    <a:pt x="76181" y="12983"/>
                  </a:lnTo>
                  <a:lnTo>
                    <a:pt x="75454" y="13770"/>
                  </a:lnTo>
                  <a:lnTo>
                    <a:pt x="75454" y="13770"/>
                  </a:lnTo>
                  <a:lnTo>
                    <a:pt x="75818" y="14950"/>
                  </a:lnTo>
                  <a:lnTo>
                    <a:pt x="75818" y="14950"/>
                  </a:lnTo>
                  <a:lnTo>
                    <a:pt x="75454" y="14950"/>
                  </a:lnTo>
                  <a:lnTo>
                    <a:pt x="75454" y="14950"/>
                  </a:lnTo>
                  <a:lnTo>
                    <a:pt x="74909" y="14950"/>
                  </a:lnTo>
                  <a:lnTo>
                    <a:pt x="74545" y="13770"/>
                  </a:lnTo>
                  <a:lnTo>
                    <a:pt x="74000" y="13770"/>
                  </a:lnTo>
                  <a:lnTo>
                    <a:pt x="73636" y="13770"/>
                  </a:lnTo>
                  <a:lnTo>
                    <a:pt x="73272" y="14950"/>
                  </a:lnTo>
                  <a:lnTo>
                    <a:pt x="72727" y="15737"/>
                  </a:lnTo>
                  <a:lnTo>
                    <a:pt x="72727" y="15737"/>
                  </a:lnTo>
                  <a:lnTo>
                    <a:pt x="72727" y="15737"/>
                  </a:lnTo>
                  <a:lnTo>
                    <a:pt x="72727" y="14950"/>
                  </a:lnTo>
                  <a:lnTo>
                    <a:pt x="72363" y="14950"/>
                  </a:lnTo>
                  <a:lnTo>
                    <a:pt x="72363" y="13770"/>
                  </a:lnTo>
                  <a:lnTo>
                    <a:pt x="72363" y="13770"/>
                  </a:lnTo>
                  <a:lnTo>
                    <a:pt x="72363" y="12983"/>
                  </a:lnTo>
                  <a:lnTo>
                    <a:pt x="72727" y="11803"/>
                  </a:lnTo>
                  <a:lnTo>
                    <a:pt x="72727" y="11803"/>
                  </a:lnTo>
                  <a:lnTo>
                    <a:pt x="72727" y="11016"/>
                  </a:lnTo>
                  <a:lnTo>
                    <a:pt x="72727" y="11016"/>
                  </a:lnTo>
                  <a:lnTo>
                    <a:pt x="72727" y="11016"/>
                  </a:lnTo>
                  <a:lnTo>
                    <a:pt x="72363" y="11016"/>
                  </a:lnTo>
                  <a:lnTo>
                    <a:pt x="72363" y="11016"/>
                  </a:lnTo>
                  <a:lnTo>
                    <a:pt x="72363" y="11016"/>
                  </a:lnTo>
                  <a:lnTo>
                    <a:pt x="72000" y="11016"/>
                  </a:lnTo>
                  <a:lnTo>
                    <a:pt x="71454" y="11016"/>
                  </a:lnTo>
                  <a:lnTo>
                    <a:pt x="71454" y="11016"/>
                  </a:lnTo>
                  <a:lnTo>
                    <a:pt x="71090" y="11016"/>
                  </a:lnTo>
                  <a:lnTo>
                    <a:pt x="70727" y="10229"/>
                  </a:lnTo>
                  <a:lnTo>
                    <a:pt x="69818" y="10229"/>
                  </a:lnTo>
                  <a:lnTo>
                    <a:pt x="69818" y="10229"/>
                  </a:lnTo>
                  <a:lnTo>
                    <a:pt x="69454" y="10229"/>
                  </a:lnTo>
                  <a:lnTo>
                    <a:pt x="69454" y="10229"/>
                  </a:lnTo>
                  <a:lnTo>
                    <a:pt x="69818" y="11016"/>
                  </a:lnTo>
                  <a:lnTo>
                    <a:pt x="69818" y="11016"/>
                  </a:lnTo>
                  <a:lnTo>
                    <a:pt x="69818" y="11016"/>
                  </a:lnTo>
                  <a:lnTo>
                    <a:pt x="69454" y="11016"/>
                  </a:lnTo>
                  <a:lnTo>
                    <a:pt x="69454" y="11803"/>
                  </a:lnTo>
                  <a:lnTo>
                    <a:pt x="69454" y="11016"/>
                  </a:lnTo>
                  <a:lnTo>
                    <a:pt x="68909" y="11016"/>
                  </a:lnTo>
                  <a:lnTo>
                    <a:pt x="68909" y="10229"/>
                  </a:lnTo>
                  <a:lnTo>
                    <a:pt x="68545" y="10229"/>
                  </a:lnTo>
                  <a:lnTo>
                    <a:pt x="68545" y="9049"/>
                  </a:lnTo>
                  <a:lnTo>
                    <a:pt x="68000" y="8262"/>
                  </a:lnTo>
                  <a:lnTo>
                    <a:pt x="68000" y="8262"/>
                  </a:lnTo>
                  <a:lnTo>
                    <a:pt x="68000" y="9049"/>
                  </a:lnTo>
                  <a:lnTo>
                    <a:pt x="67636" y="9049"/>
                  </a:lnTo>
                  <a:lnTo>
                    <a:pt x="67272" y="9049"/>
                  </a:lnTo>
                  <a:lnTo>
                    <a:pt x="66727" y="10229"/>
                  </a:lnTo>
                  <a:lnTo>
                    <a:pt x="66000" y="10229"/>
                  </a:lnTo>
                  <a:lnTo>
                    <a:pt x="65090" y="9049"/>
                  </a:lnTo>
                  <a:lnTo>
                    <a:pt x="65090" y="9049"/>
                  </a:lnTo>
                  <a:lnTo>
                    <a:pt x="65090" y="8262"/>
                  </a:lnTo>
                  <a:lnTo>
                    <a:pt x="65090" y="7475"/>
                  </a:lnTo>
                  <a:lnTo>
                    <a:pt x="65090" y="7475"/>
                  </a:lnTo>
                  <a:lnTo>
                    <a:pt x="65090" y="6295"/>
                  </a:lnTo>
                  <a:lnTo>
                    <a:pt x="64727" y="5508"/>
                  </a:lnTo>
                  <a:lnTo>
                    <a:pt x="63818" y="3540"/>
                  </a:lnTo>
                  <a:lnTo>
                    <a:pt x="63454" y="2754"/>
                  </a:lnTo>
                  <a:lnTo>
                    <a:pt x="62909" y="786"/>
                  </a:lnTo>
                  <a:lnTo>
                    <a:pt x="62545" y="786"/>
                  </a:lnTo>
                  <a:lnTo>
                    <a:pt x="62000" y="786"/>
                  </a:lnTo>
                  <a:lnTo>
                    <a:pt x="61636" y="1573"/>
                  </a:lnTo>
                  <a:lnTo>
                    <a:pt x="61636" y="1573"/>
                  </a:lnTo>
                  <a:lnTo>
                    <a:pt x="61636" y="1573"/>
                  </a:lnTo>
                  <a:lnTo>
                    <a:pt x="61272" y="1573"/>
                  </a:lnTo>
                  <a:lnTo>
                    <a:pt x="60727" y="1573"/>
                  </a:lnTo>
                  <a:lnTo>
                    <a:pt x="60727" y="1573"/>
                  </a:lnTo>
                  <a:lnTo>
                    <a:pt x="60363" y="1573"/>
                  </a:lnTo>
                  <a:lnTo>
                    <a:pt x="60000" y="786"/>
                  </a:lnTo>
                  <a:lnTo>
                    <a:pt x="59090" y="786"/>
                  </a:lnTo>
                  <a:lnTo>
                    <a:pt x="58181" y="786"/>
                  </a:lnTo>
                  <a:lnTo>
                    <a:pt x="57454" y="0"/>
                  </a:lnTo>
                  <a:lnTo>
                    <a:pt x="57454" y="786"/>
                  </a:lnTo>
                  <a:lnTo>
                    <a:pt x="56909" y="786"/>
                  </a:lnTo>
                  <a:lnTo>
                    <a:pt x="56545" y="1573"/>
                  </a:lnTo>
                  <a:lnTo>
                    <a:pt x="56000" y="1573"/>
                  </a:lnTo>
                  <a:lnTo>
                    <a:pt x="56000" y="1573"/>
                  </a:lnTo>
                  <a:lnTo>
                    <a:pt x="55636" y="1573"/>
                  </a:lnTo>
                  <a:lnTo>
                    <a:pt x="55636" y="2754"/>
                  </a:lnTo>
                  <a:lnTo>
                    <a:pt x="56000" y="2754"/>
                  </a:lnTo>
                  <a:lnTo>
                    <a:pt x="56000" y="3540"/>
                  </a:lnTo>
                  <a:lnTo>
                    <a:pt x="55636" y="3540"/>
                  </a:lnTo>
                  <a:lnTo>
                    <a:pt x="55636" y="3540"/>
                  </a:lnTo>
                  <a:lnTo>
                    <a:pt x="55272" y="3540"/>
                  </a:lnTo>
                  <a:lnTo>
                    <a:pt x="54727" y="3540"/>
                  </a:lnTo>
                  <a:lnTo>
                    <a:pt x="54727" y="4721"/>
                  </a:lnTo>
                  <a:lnTo>
                    <a:pt x="54000" y="4721"/>
                  </a:lnTo>
                  <a:lnTo>
                    <a:pt x="53454" y="4721"/>
                  </a:lnTo>
                  <a:lnTo>
                    <a:pt x="53090" y="4721"/>
                  </a:lnTo>
                  <a:lnTo>
                    <a:pt x="52181" y="5508"/>
                  </a:lnTo>
                  <a:lnTo>
                    <a:pt x="51818" y="5508"/>
                  </a:lnTo>
                  <a:lnTo>
                    <a:pt x="50545" y="5508"/>
                  </a:lnTo>
                  <a:lnTo>
                    <a:pt x="50000" y="6295"/>
                  </a:lnTo>
                  <a:lnTo>
                    <a:pt x="49636" y="5508"/>
                  </a:lnTo>
                  <a:lnTo>
                    <a:pt x="49272" y="6295"/>
                  </a:lnTo>
                  <a:lnTo>
                    <a:pt x="48727" y="6295"/>
                  </a:lnTo>
                  <a:lnTo>
                    <a:pt x="48727" y="6295"/>
                  </a:lnTo>
                  <a:lnTo>
                    <a:pt x="48363" y="6295"/>
                  </a:lnTo>
                  <a:lnTo>
                    <a:pt x="48363" y="6295"/>
                  </a:lnTo>
                  <a:lnTo>
                    <a:pt x="48000" y="7475"/>
                  </a:lnTo>
                  <a:lnTo>
                    <a:pt x="48000" y="7475"/>
                  </a:lnTo>
                  <a:lnTo>
                    <a:pt x="48000" y="8262"/>
                  </a:lnTo>
                  <a:lnTo>
                    <a:pt x="48000" y="8262"/>
                  </a:lnTo>
                  <a:lnTo>
                    <a:pt x="47454" y="8262"/>
                  </a:lnTo>
                  <a:lnTo>
                    <a:pt x="47454" y="8262"/>
                  </a:lnTo>
                  <a:lnTo>
                    <a:pt x="47090" y="8262"/>
                  </a:lnTo>
                  <a:lnTo>
                    <a:pt x="46727" y="8262"/>
                  </a:lnTo>
                  <a:lnTo>
                    <a:pt x="46181" y="8262"/>
                  </a:lnTo>
                  <a:lnTo>
                    <a:pt x="46181" y="8262"/>
                  </a:lnTo>
                  <a:lnTo>
                    <a:pt x="45454" y="8262"/>
                  </a:lnTo>
                  <a:lnTo>
                    <a:pt x="44909" y="9049"/>
                  </a:lnTo>
                  <a:lnTo>
                    <a:pt x="44909" y="9049"/>
                  </a:lnTo>
                  <a:lnTo>
                    <a:pt x="44909" y="9049"/>
                  </a:lnTo>
                  <a:lnTo>
                    <a:pt x="44545" y="9049"/>
                  </a:lnTo>
                  <a:lnTo>
                    <a:pt x="44000" y="9049"/>
                  </a:lnTo>
                  <a:lnTo>
                    <a:pt x="44000" y="9049"/>
                  </a:lnTo>
                  <a:lnTo>
                    <a:pt x="43636" y="9049"/>
                  </a:lnTo>
                  <a:lnTo>
                    <a:pt x="43272" y="10229"/>
                  </a:lnTo>
                  <a:lnTo>
                    <a:pt x="43272" y="10229"/>
                  </a:lnTo>
                  <a:lnTo>
                    <a:pt x="42727" y="10229"/>
                  </a:lnTo>
                  <a:lnTo>
                    <a:pt x="42727" y="10229"/>
                  </a:lnTo>
                  <a:lnTo>
                    <a:pt x="42363" y="10229"/>
                  </a:lnTo>
                  <a:lnTo>
                    <a:pt x="41090" y="11016"/>
                  </a:lnTo>
                  <a:lnTo>
                    <a:pt x="41090" y="11016"/>
                  </a:lnTo>
                  <a:lnTo>
                    <a:pt x="41090" y="11016"/>
                  </a:lnTo>
                  <a:lnTo>
                    <a:pt x="39818" y="11016"/>
                  </a:lnTo>
                  <a:lnTo>
                    <a:pt x="39818" y="11016"/>
                  </a:lnTo>
                  <a:lnTo>
                    <a:pt x="39454" y="11016"/>
                  </a:lnTo>
                  <a:lnTo>
                    <a:pt x="39454" y="11803"/>
                  </a:lnTo>
                  <a:lnTo>
                    <a:pt x="38545" y="11016"/>
                  </a:lnTo>
                  <a:lnTo>
                    <a:pt x="37636" y="11016"/>
                  </a:lnTo>
                  <a:lnTo>
                    <a:pt x="37272" y="11016"/>
                  </a:lnTo>
                  <a:lnTo>
                    <a:pt x="37272" y="11016"/>
                  </a:lnTo>
                  <a:lnTo>
                    <a:pt x="37272" y="11803"/>
                  </a:lnTo>
                  <a:lnTo>
                    <a:pt x="37272" y="12983"/>
                  </a:lnTo>
                  <a:lnTo>
                    <a:pt x="37272" y="12983"/>
                  </a:lnTo>
                  <a:lnTo>
                    <a:pt x="37272" y="13770"/>
                  </a:lnTo>
                  <a:lnTo>
                    <a:pt x="37272" y="13770"/>
                  </a:lnTo>
                  <a:lnTo>
                    <a:pt x="37272" y="13770"/>
                  </a:lnTo>
                  <a:lnTo>
                    <a:pt x="37636" y="14950"/>
                  </a:lnTo>
                  <a:lnTo>
                    <a:pt x="38000" y="14950"/>
                  </a:lnTo>
                  <a:lnTo>
                    <a:pt x="38000" y="14950"/>
                  </a:lnTo>
                  <a:lnTo>
                    <a:pt x="38545" y="14950"/>
                  </a:lnTo>
                  <a:lnTo>
                    <a:pt x="38545" y="14950"/>
                  </a:lnTo>
                  <a:lnTo>
                    <a:pt x="38545" y="14950"/>
                  </a:lnTo>
                  <a:lnTo>
                    <a:pt x="38909" y="14950"/>
                  </a:lnTo>
                  <a:lnTo>
                    <a:pt x="38909" y="14950"/>
                  </a:lnTo>
                  <a:lnTo>
                    <a:pt x="38909" y="14950"/>
                  </a:lnTo>
                  <a:lnTo>
                    <a:pt x="38545" y="15737"/>
                  </a:lnTo>
                  <a:lnTo>
                    <a:pt x="38000" y="15737"/>
                  </a:lnTo>
                  <a:lnTo>
                    <a:pt x="38000" y="15737"/>
                  </a:lnTo>
                  <a:lnTo>
                    <a:pt x="38000" y="15737"/>
                  </a:lnTo>
                  <a:lnTo>
                    <a:pt x="38000" y="16524"/>
                  </a:lnTo>
                  <a:lnTo>
                    <a:pt x="38000" y="16524"/>
                  </a:lnTo>
                  <a:lnTo>
                    <a:pt x="38545" y="16524"/>
                  </a:lnTo>
                  <a:lnTo>
                    <a:pt x="38909" y="17704"/>
                  </a:lnTo>
                  <a:lnTo>
                    <a:pt x="39454" y="17704"/>
                  </a:lnTo>
                  <a:lnTo>
                    <a:pt x="39454" y="17704"/>
                  </a:lnTo>
                  <a:lnTo>
                    <a:pt x="39818" y="17704"/>
                  </a:lnTo>
                  <a:lnTo>
                    <a:pt x="40727" y="18491"/>
                  </a:lnTo>
                  <a:lnTo>
                    <a:pt x="41090" y="18491"/>
                  </a:lnTo>
                  <a:lnTo>
                    <a:pt x="41090" y="19278"/>
                  </a:lnTo>
                  <a:lnTo>
                    <a:pt x="41090" y="19278"/>
                  </a:lnTo>
                  <a:lnTo>
                    <a:pt x="40727" y="19278"/>
                  </a:lnTo>
                  <a:lnTo>
                    <a:pt x="40727" y="19278"/>
                  </a:lnTo>
                  <a:lnTo>
                    <a:pt x="39818" y="19278"/>
                  </a:lnTo>
                  <a:lnTo>
                    <a:pt x="39454" y="19278"/>
                  </a:lnTo>
                  <a:lnTo>
                    <a:pt x="38909" y="19278"/>
                  </a:lnTo>
                  <a:lnTo>
                    <a:pt x="38545" y="19278"/>
                  </a:lnTo>
                  <a:lnTo>
                    <a:pt x="38000" y="19278"/>
                  </a:lnTo>
                  <a:lnTo>
                    <a:pt x="38000" y="19278"/>
                  </a:lnTo>
                  <a:lnTo>
                    <a:pt x="37636" y="20459"/>
                  </a:lnTo>
                  <a:lnTo>
                    <a:pt x="37636" y="20459"/>
                  </a:lnTo>
                  <a:lnTo>
                    <a:pt x="37636" y="21245"/>
                  </a:lnTo>
                  <a:lnTo>
                    <a:pt x="37636" y="21245"/>
                  </a:lnTo>
                  <a:lnTo>
                    <a:pt x="37636" y="22032"/>
                  </a:lnTo>
                  <a:lnTo>
                    <a:pt x="38545" y="24000"/>
                  </a:lnTo>
                  <a:lnTo>
                    <a:pt x="38545" y="24000"/>
                  </a:lnTo>
                  <a:lnTo>
                    <a:pt x="38545" y="25180"/>
                  </a:lnTo>
                  <a:lnTo>
                    <a:pt x="38000" y="25180"/>
                  </a:lnTo>
                  <a:lnTo>
                    <a:pt x="37636" y="25967"/>
                  </a:lnTo>
                  <a:lnTo>
                    <a:pt x="37272" y="25967"/>
                  </a:lnTo>
                  <a:lnTo>
                    <a:pt x="37272" y="25967"/>
                  </a:lnTo>
                  <a:lnTo>
                    <a:pt x="36727" y="26754"/>
                  </a:lnTo>
                  <a:lnTo>
                    <a:pt x="36363" y="26754"/>
                  </a:lnTo>
                  <a:lnTo>
                    <a:pt x="36363" y="27934"/>
                  </a:lnTo>
                  <a:lnTo>
                    <a:pt x="36363" y="27934"/>
                  </a:lnTo>
                  <a:lnTo>
                    <a:pt x="37272" y="28721"/>
                  </a:lnTo>
                  <a:lnTo>
                    <a:pt x="37636" y="28721"/>
                  </a:lnTo>
                  <a:lnTo>
                    <a:pt x="37636" y="29508"/>
                  </a:lnTo>
                  <a:lnTo>
                    <a:pt x="37636" y="29508"/>
                  </a:lnTo>
                  <a:lnTo>
                    <a:pt x="38545" y="29508"/>
                  </a:lnTo>
                  <a:lnTo>
                    <a:pt x="39454" y="30688"/>
                  </a:lnTo>
                  <a:lnTo>
                    <a:pt x="39454" y="30688"/>
                  </a:lnTo>
                  <a:lnTo>
                    <a:pt x="39454" y="30688"/>
                  </a:lnTo>
                  <a:lnTo>
                    <a:pt x="40727" y="31475"/>
                  </a:lnTo>
                  <a:lnTo>
                    <a:pt x="40727" y="31475"/>
                  </a:lnTo>
                  <a:lnTo>
                    <a:pt x="41454" y="32262"/>
                  </a:lnTo>
                  <a:lnTo>
                    <a:pt x="41454" y="33442"/>
                  </a:lnTo>
                  <a:lnTo>
                    <a:pt x="41454" y="34229"/>
                  </a:lnTo>
                  <a:lnTo>
                    <a:pt x="41454" y="35409"/>
                  </a:lnTo>
                  <a:lnTo>
                    <a:pt x="41454" y="36196"/>
                  </a:lnTo>
                  <a:lnTo>
                    <a:pt x="41090" y="36983"/>
                  </a:lnTo>
                  <a:lnTo>
                    <a:pt x="40181" y="36983"/>
                  </a:lnTo>
                  <a:lnTo>
                    <a:pt x="39454" y="38163"/>
                  </a:lnTo>
                  <a:lnTo>
                    <a:pt x="38909" y="38163"/>
                  </a:lnTo>
                  <a:lnTo>
                    <a:pt x="38545" y="36983"/>
                  </a:lnTo>
                  <a:lnTo>
                    <a:pt x="38000" y="36983"/>
                  </a:lnTo>
                  <a:lnTo>
                    <a:pt x="38000" y="36983"/>
                  </a:lnTo>
                  <a:lnTo>
                    <a:pt x="37636" y="36196"/>
                  </a:lnTo>
                  <a:lnTo>
                    <a:pt x="37636" y="36196"/>
                  </a:lnTo>
                  <a:lnTo>
                    <a:pt x="37272" y="36196"/>
                  </a:lnTo>
                  <a:lnTo>
                    <a:pt x="37272" y="36196"/>
                  </a:lnTo>
                  <a:lnTo>
                    <a:pt x="37272" y="36983"/>
                  </a:lnTo>
                  <a:lnTo>
                    <a:pt x="37272" y="38163"/>
                  </a:lnTo>
                  <a:lnTo>
                    <a:pt x="36727" y="38950"/>
                  </a:lnTo>
                  <a:lnTo>
                    <a:pt x="36363" y="38950"/>
                  </a:lnTo>
                  <a:lnTo>
                    <a:pt x="36363" y="38950"/>
                  </a:lnTo>
                  <a:lnTo>
                    <a:pt x="36363" y="38163"/>
                  </a:lnTo>
                  <a:lnTo>
                    <a:pt x="36000" y="38163"/>
                  </a:lnTo>
                  <a:lnTo>
                    <a:pt x="36000" y="38163"/>
                  </a:lnTo>
                  <a:lnTo>
                    <a:pt x="35090" y="38163"/>
                  </a:lnTo>
                  <a:lnTo>
                    <a:pt x="34727" y="38163"/>
                  </a:lnTo>
                  <a:lnTo>
                    <a:pt x="34727" y="36983"/>
                  </a:lnTo>
                  <a:lnTo>
                    <a:pt x="34181" y="36983"/>
                  </a:lnTo>
                  <a:lnTo>
                    <a:pt x="33818" y="36983"/>
                  </a:lnTo>
                  <a:lnTo>
                    <a:pt x="33454" y="36196"/>
                  </a:lnTo>
                  <a:lnTo>
                    <a:pt x="32909" y="35409"/>
                  </a:lnTo>
                  <a:lnTo>
                    <a:pt x="32545" y="34229"/>
                  </a:lnTo>
                  <a:lnTo>
                    <a:pt x="31636" y="34229"/>
                  </a:lnTo>
                  <a:lnTo>
                    <a:pt x="31636" y="34229"/>
                  </a:lnTo>
                  <a:lnTo>
                    <a:pt x="31272" y="34229"/>
                  </a:lnTo>
                  <a:lnTo>
                    <a:pt x="30727" y="34229"/>
                  </a:lnTo>
                  <a:lnTo>
                    <a:pt x="30727" y="34229"/>
                  </a:lnTo>
                  <a:lnTo>
                    <a:pt x="30727" y="34229"/>
                  </a:lnTo>
                  <a:lnTo>
                    <a:pt x="30363" y="35409"/>
                  </a:lnTo>
                  <a:lnTo>
                    <a:pt x="30363" y="35409"/>
                  </a:lnTo>
                  <a:lnTo>
                    <a:pt x="30000" y="36196"/>
                  </a:lnTo>
                  <a:lnTo>
                    <a:pt x="30000" y="36196"/>
                  </a:lnTo>
                  <a:lnTo>
                    <a:pt x="29454" y="35409"/>
                  </a:lnTo>
                  <a:lnTo>
                    <a:pt x="29090" y="34229"/>
                  </a:lnTo>
                  <a:lnTo>
                    <a:pt x="28181" y="34229"/>
                  </a:lnTo>
                  <a:lnTo>
                    <a:pt x="27818" y="34229"/>
                  </a:lnTo>
                  <a:lnTo>
                    <a:pt x="27818" y="34229"/>
                  </a:lnTo>
                  <a:lnTo>
                    <a:pt x="27454" y="35409"/>
                  </a:lnTo>
                  <a:lnTo>
                    <a:pt x="26909" y="35409"/>
                  </a:lnTo>
                  <a:lnTo>
                    <a:pt x="26909" y="35409"/>
                  </a:lnTo>
                  <a:lnTo>
                    <a:pt x="26545" y="35409"/>
                  </a:lnTo>
                  <a:lnTo>
                    <a:pt x="26181" y="36196"/>
                  </a:lnTo>
                  <a:lnTo>
                    <a:pt x="26181" y="36983"/>
                  </a:lnTo>
                  <a:lnTo>
                    <a:pt x="26181" y="36983"/>
                  </a:lnTo>
                  <a:lnTo>
                    <a:pt x="25636" y="38163"/>
                  </a:lnTo>
                  <a:lnTo>
                    <a:pt x="25272" y="38163"/>
                  </a:lnTo>
                  <a:lnTo>
                    <a:pt x="24727" y="38163"/>
                  </a:lnTo>
                  <a:lnTo>
                    <a:pt x="24363" y="38163"/>
                  </a:lnTo>
                  <a:lnTo>
                    <a:pt x="24000" y="38163"/>
                  </a:lnTo>
                  <a:lnTo>
                    <a:pt x="23454" y="36983"/>
                  </a:lnTo>
                  <a:lnTo>
                    <a:pt x="22727" y="36196"/>
                  </a:lnTo>
                  <a:lnTo>
                    <a:pt x="22181" y="35409"/>
                  </a:lnTo>
                  <a:lnTo>
                    <a:pt x="21818" y="35409"/>
                  </a:lnTo>
                  <a:lnTo>
                    <a:pt x="21454" y="35409"/>
                  </a:lnTo>
                  <a:lnTo>
                    <a:pt x="21454" y="35409"/>
                  </a:lnTo>
                  <a:lnTo>
                    <a:pt x="21454" y="35409"/>
                  </a:lnTo>
                  <a:lnTo>
                    <a:pt x="21454" y="35409"/>
                  </a:lnTo>
                  <a:lnTo>
                    <a:pt x="21454" y="36196"/>
                  </a:lnTo>
                  <a:lnTo>
                    <a:pt x="21818" y="36983"/>
                  </a:lnTo>
                  <a:lnTo>
                    <a:pt x="21818" y="38163"/>
                  </a:lnTo>
                  <a:lnTo>
                    <a:pt x="21818" y="38163"/>
                  </a:lnTo>
                  <a:lnTo>
                    <a:pt x="21818" y="38950"/>
                  </a:lnTo>
                  <a:lnTo>
                    <a:pt x="21818" y="38950"/>
                  </a:lnTo>
                  <a:lnTo>
                    <a:pt x="21818" y="38950"/>
                  </a:lnTo>
                  <a:lnTo>
                    <a:pt x="21454" y="38163"/>
                  </a:lnTo>
                  <a:lnTo>
                    <a:pt x="21454" y="38163"/>
                  </a:lnTo>
                  <a:lnTo>
                    <a:pt x="20909" y="36983"/>
                  </a:lnTo>
                  <a:lnTo>
                    <a:pt x="20545" y="35409"/>
                  </a:lnTo>
                  <a:lnTo>
                    <a:pt x="20181" y="35409"/>
                  </a:lnTo>
                  <a:lnTo>
                    <a:pt x="20181" y="34229"/>
                  </a:lnTo>
                  <a:lnTo>
                    <a:pt x="19636" y="34229"/>
                  </a:lnTo>
                  <a:lnTo>
                    <a:pt x="19272" y="33442"/>
                  </a:lnTo>
                  <a:lnTo>
                    <a:pt x="18727" y="33442"/>
                  </a:lnTo>
                  <a:lnTo>
                    <a:pt x="18363" y="33442"/>
                  </a:lnTo>
                  <a:lnTo>
                    <a:pt x="18000" y="31475"/>
                  </a:lnTo>
                  <a:lnTo>
                    <a:pt x="17454" y="31475"/>
                  </a:lnTo>
                  <a:lnTo>
                    <a:pt x="17454" y="31475"/>
                  </a:lnTo>
                  <a:lnTo>
                    <a:pt x="17090" y="30688"/>
                  </a:lnTo>
                  <a:lnTo>
                    <a:pt x="17090" y="31475"/>
                  </a:lnTo>
                  <a:lnTo>
                    <a:pt x="16727" y="31475"/>
                  </a:lnTo>
                  <a:lnTo>
                    <a:pt x="16181" y="31475"/>
                  </a:lnTo>
                  <a:lnTo>
                    <a:pt x="15818" y="30688"/>
                  </a:lnTo>
                  <a:lnTo>
                    <a:pt x="15454" y="30688"/>
                  </a:lnTo>
                  <a:lnTo>
                    <a:pt x="15454" y="30688"/>
                  </a:lnTo>
                  <a:lnTo>
                    <a:pt x="15454" y="31475"/>
                  </a:lnTo>
                  <a:lnTo>
                    <a:pt x="15454" y="31475"/>
                  </a:lnTo>
                  <a:lnTo>
                    <a:pt x="14909" y="31475"/>
                  </a:lnTo>
                  <a:lnTo>
                    <a:pt x="14909" y="30688"/>
                  </a:lnTo>
                  <a:lnTo>
                    <a:pt x="14545" y="30688"/>
                  </a:lnTo>
                  <a:lnTo>
                    <a:pt x="14181" y="29508"/>
                  </a:lnTo>
                  <a:lnTo>
                    <a:pt x="13636" y="29508"/>
                  </a:lnTo>
                  <a:lnTo>
                    <a:pt x="13272" y="29508"/>
                  </a:lnTo>
                  <a:lnTo>
                    <a:pt x="12727" y="30688"/>
                  </a:lnTo>
                  <a:lnTo>
                    <a:pt x="12363" y="31475"/>
                  </a:lnTo>
                  <a:lnTo>
                    <a:pt x="12000" y="31475"/>
                  </a:lnTo>
                  <a:lnTo>
                    <a:pt x="11454" y="31475"/>
                  </a:lnTo>
                  <a:lnTo>
                    <a:pt x="11454" y="31475"/>
                  </a:lnTo>
                  <a:lnTo>
                    <a:pt x="11454" y="30688"/>
                  </a:lnTo>
                  <a:lnTo>
                    <a:pt x="11454" y="30688"/>
                  </a:lnTo>
                  <a:lnTo>
                    <a:pt x="11090" y="30688"/>
                  </a:lnTo>
                  <a:lnTo>
                    <a:pt x="10727" y="29508"/>
                  </a:lnTo>
                  <a:lnTo>
                    <a:pt x="10181" y="29508"/>
                  </a:lnTo>
                  <a:lnTo>
                    <a:pt x="9818" y="29508"/>
                  </a:lnTo>
                  <a:lnTo>
                    <a:pt x="9818" y="28721"/>
                  </a:lnTo>
                  <a:lnTo>
                    <a:pt x="9818" y="29508"/>
                  </a:lnTo>
                  <a:lnTo>
                    <a:pt x="9454" y="30688"/>
                  </a:lnTo>
                  <a:lnTo>
                    <a:pt x="8909" y="30688"/>
                  </a:lnTo>
                  <a:lnTo>
                    <a:pt x="8909" y="32262"/>
                  </a:lnTo>
                  <a:lnTo>
                    <a:pt x="8545" y="32262"/>
                  </a:lnTo>
                  <a:lnTo>
                    <a:pt x="8545" y="32262"/>
                  </a:lnTo>
                  <a:lnTo>
                    <a:pt x="8181" y="33442"/>
                  </a:lnTo>
                  <a:lnTo>
                    <a:pt x="7636" y="33442"/>
                  </a:lnTo>
                  <a:lnTo>
                    <a:pt x="7272" y="34229"/>
                  </a:lnTo>
                  <a:lnTo>
                    <a:pt x="6727" y="34229"/>
                  </a:lnTo>
                  <a:lnTo>
                    <a:pt x="6363" y="34229"/>
                  </a:lnTo>
                  <a:lnTo>
                    <a:pt x="6363" y="34229"/>
                  </a:lnTo>
                  <a:lnTo>
                    <a:pt x="6363" y="35409"/>
                  </a:lnTo>
                  <a:lnTo>
                    <a:pt x="6363" y="36196"/>
                  </a:lnTo>
                  <a:lnTo>
                    <a:pt x="5454" y="36983"/>
                  </a:lnTo>
                  <a:lnTo>
                    <a:pt x="5090" y="38163"/>
                  </a:lnTo>
                  <a:lnTo>
                    <a:pt x="4727" y="38163"/>
                  </a:lnTo>
                  <a:lnTo>
                    <a:pt x="4727" y="38163"/>
                  </a:lnTo>
                  <a:lnTo>
                    <a:pt x="4181" y="38163"/>
                  </a:lnTo>
                  <a:lnTo>
                    <a:pt x="4181" y="38163"/>
                  </a:lnTo>
                  <a:lnTo>
                    <a:pt x="4727" y="38950"/>
                  </a:lnTo>
                  <a:lnTo>
                    <a:pt x="4727" y="39737"/>
                  </a:lnTo>
                  <a:lnTo>
                    <a:pt x="5090" y="40918"/>
                  </a:lnTo>
                  <a:lnTo>
                    <a:pt x="5090" y="41704"/>
                  </a:lnTo>
                  <a:lnTo>
                    <a:pt x="5090" y="41704"/>
                  </a:lnTo>
                  <a:lnTo>
                    <a:pt x="5454" y="42491"/>
                  </a:lnTo>
                  <a:lnTo>
                    <a:pt x="5454" y="43672"/>
                  </a:lnTo>
                  <a:lnTo>
                    <a:pt x="5090" y="43672"/>
                  </a:lnTo>
                  <a:lnTo>
                    <a:pt x="4727" y="43672"/>
                  </a:lnTo>
                  <a:lnTo>
                    <a:pt x="4181" y="44459"/>
                  </a:lnTo>
                  <a:lnTo>
                    <a:pt x="4181" y="44459"/>
                  </a:lnTo>
                  <a:lnTo>
                    <a:pt x="3818" y="43672"/>
                  </a:lnTo>
                  <a:lnTo>
                    <a:pt x="3454" y="43672"/>
                  </a:lnTo>
                  <a:lnTo>
                    <a:pt x="2909" y="42491"/>
                  </a:lnTo>
                  <a:lnTo>
                    <a:pt x="2545" y="40918"/>
                  </a:lnTo>
                  <a:lnTo>
                    <a:pt x="1636" y="39737"/>
                  </a:lnTo>
                  <a:lnTo>
                    <a:pt x="1636" y="39737"/>
                  </a:lnTo>
                  <a:lnTo>
                    <a:pt x="1272" y="39737"/>
                  </a:lnTo>
                  <a:lnTo>
                    <a:pt x="1272" y="39737"/>
                  </a:lnTo>
                  <a:lnTo>
                    <a:pt x="727" y="40918"/>
                  </a:lnTo>
                  <a:lnTo>
                    <a:pt x="727" y="40918"/>
                  </a:lnTo>
                  <a:lnTo>
                    <a:pt x="727" y="40918"/>
                  </a:lnTo>
                  <a:lnTo>
                    <a:pt x="727" y="41704"/>
                  </a:lnTo>
                  <a:lnTo>
                    <a:pt x="727" y="42491"/>
                  </a:lnTo>
                  <a:lnTo>
                    <a:pt x="727" y="42491"/>
                  </a:lnTo>
                  <a:lnTo>
                    <a:pt x="363" y="43672"/>
                  </a:lnTo>
                  <a:lnTo>
                    <a:pt x="0" y="44459"/>
                  </a:lnTo>
                  <a:lnTo>
                    <a:pt x="0" y="45639"/>
                  </a:lnTo>
                  <a:lnTo>
                    <a:pt x="0" y="47213"/>
                  </a:lnTo>
                  <a:lnTo>
                    <a:pt x="0" y="48393"/>
                  </a:lnTo>
                  <a:lnTo>
                    <a:pt x="0" y="48393"/>
                  </a:lnTo>
                  <a:lnTo>
                    <a:pt x="363" y="49180"/>
                  </a:lnTo>
                  <a:lnTo>
                    <a:pt x="727" y="49180"/>
                  </a:lnTo>
                  <a:lnTo>
                    <a:pt x="727" y="49967"/>
                  </a:lnTo>
                  <a:lnTo>
                    <a:pt x="727" y="49967"/>
                  </a:lnTo>
                  <a:lnTo>
                    <a:pt x="727" y="51147"/>
                  </a:lnTo>
                  <a:lnTo>
                    <a:pt x="363" y="51147"/>
                  </a:lnTo>
                  <a:lnTo>
                    <a:pt x="0" y="52721"/>
                  </a:lnTo>
                  <a:lnTo>
                    <a:pt x="0" y="54688"/>
                  </a:lnTo>
                  <a:lnTo>
                    <a:pt x="363" y="55868"/>
                  </a:lnTo>
                  <a:lnTo>
                    <a:pt x="727" y="56655"/>
                  </a:lnTo>
                  <a:lnTo>
                    <a:pt x="1272" y="56655"/>
                  </a:lnTo>
                  <a:lnTo>
                    <a:pt x="1636" y="57442"/>
                  </a:lnTo>
                  <a:lnTo>
                    <a:pt x="1636" y="58622"/>
                  </a:lnTo>
                  <a:lnTo>
                    <a:pt x="1636" y="59409"/>
                  </a:lnTo>
                  <a:lnTo>
                    <a:pt x="1636" y="59409"/>
                  </a:lnTo>
                  <a:lnTo>
                    <a:pt x="2181" y="60196"/>
                  </a:lnTo>
                  <a:lnTo>
                    <a:pt x="2181" y="61377"/>
                  </a:lnTo>
                  <a:lnTo>
                    <a:pt x="2545" y="61377"/>
                  </a:lnTo>
                  <a:lnTo>
                    <a:pt x="2909" y="61377"/>
                  </a:lnTo>
                  <a:lnTo>
                    <a:pt x="2909" y="60196"/>
                  </a:lnTo>
                  <a:lnTo>
                    <a:pt x="3454" y="61377"/>
                  </a:lnTo>
                  <a:lnTo>
                    <a:pt x="4181" y="61377"/>
                  </a:lnTo>
                  <a:lnTo>
                    <a:pt x="5090" y="61377"/>
                  </a:lnTo>
                  <a:lnTo>
                    <a:pt x="5090" y="61377"/>
                  </a:lnTo>
                  <a:lnTo>
                    <a:pt x="5454" y="62163"/>
                  </a:lnTo>
                  <a:lnTo>
                    <a:pt x="6000" y="64131"/>
                  </a:lnTo>
                  <a:lnTo>
                    <a:pt x="6363" y="64918"/>
                  </a:lnTo>
                  <a:lnTo>
                    <a:pt x="6727" y="64918"/>
                  </a:lnTo>
                  <a:lnTo>
                    <a:pt x="7272" y="66885"/>
                  </a:lnTo>
                  <a:lnTo>
                    <a:pt x="7636" y="67672"/>
                  </a:lnTo>
                  <a:lnTo>
                    <a:pt x="8181" y="68852"/>
                  </a:lnTo>
                  <a:lnTo>
                    <a:pt x="8181" y="69639"/>
                  </a:lnTo>
                  <a:lnTo>
                    <a:pt x="8181" y="69639"/>
                  </a:lnTo>
                  <a:lnTo>
                    <a:pt x="7636" y="69639"/>
                  </a:lnTo>
                  <a:lnTo>
                    <a:pt x="7272" y="69639"/>
                  </a:lnTo>
                  <a:lnTo>
                    <a:pt x="7272" y="69639"/>
                  </a:lnTo>
                  <a:lnTo>
                    <a:pt x="7272" y="69639"/>
                  </a:lnTo>
                  <a:lnTo>
                    <a:pt x="6727" y="69639"/>
                  </a:lnTo>
                  <a:lnTo>
                    <a:pt x="6727" y="69639"/>
                  </a:lnTo>
                  <a:lnTo>
                    <a:pt x="6727" y="69639"/>
                  </a:lnTo>
                  <a:lnTo>
                    <a:pt x="6727" y="70426"/>
                  </a:lnTo>
                  <a:lnTo>
                    <a:pt x="7272" y="70426"/>
                  </a:lnTo>
                  <a:lnTo>
                    <a:pt x="7272" y="70426"/>
                  </a:lnTo>
                  <a:lnTo>
                    <a:pt x="7272" y="70426"/>
                  </a:lnTo>
                  <a:lnTo>
                    <a:pt x="7636" y="71606"/>
                  </a:lnTo>
                  <a:lnTo>
                    <a:pt x="8545" y="71606"/>
                  </a:lnTo>
                  <a:lnTo>
                    <a:pt x="8909" y="72393"/>
                  </a:lnTo>
                  <a:lnTo>
                    <a:pt x="9454" y="72393"/>
                  </a:lnTo>
                  <a:lnTo>
                    <a:pt x="9454" y="72393"/>
                  </a:lnTo>
                  <a:lnTo>
                    <a:pt x="9454" y="71606"/>
                  </a:lnTo>
                  <a:lnTo>
                    <a:pt x="9818" y="72393"/>
                  </a:lnTo>
                  <a:lnTo>
                    <a:pt x="9454" y="71606"/>
                  </a:lnTo>
                  <a:lnTo>
                    <a:pt x="9454" y="71606"/>
                  </a:lnTo>
                  <a:lnTo>
                    <a:pt x="9818" y="71606"/>
                  </a:lnTo>
                  <a:lnTo>
                    <a:pt x="10181" y="70426"/>
                  </a:lnTo>
                  <a:lnTo>
                    <a:pt x="10181" y="70426"/>
                  </a:lnTo>
                  <a:lnTo>
                    <a:pt x="10727" y="70426"/>
                  </a:lnTo>
                  <a:lnTo>
                    <a:pt x="11090" y="70426"/>
                  </a:lnTo>
                  <a:lnTo>
                    <a:pt x="11454" y="70426"/>
                  </a:lnTo>
                  <a:lnTo>
                    <a:pt x="11454" y="69639"/>
                  </a:lnTo>
                  <a:lnTo>
                    <a:pt x="12363" y="68852"/>
                  </a:lnTo>
                  <a:lnTo>
                    <a:pt x="12363" y="68852"/>
                  </a:lnTo>
                  <a:lnTo>
                    <a:pt x="12727" y="68852"/>
                  </a:lnTo>
                  <a:lnTo>
                    <a:pt x="12727" y="68852"/>
                  </a:lnTo>
                  <a:lnTo>
                    <a:pt x="12727" y="68852"/>
                  </a:lnTo>
                  <a:lnTo>
                    <a:pt x="13272" y="67672"/>
                  </a:lnTo>
                  <a:lnTo>
                    <a:pt x="13272" y="67672"/>
                  </a:lnTo>
                  <a:lnTo>
                    <a:pt x="13636" y="66885"/>
                  </a:lnTo>
                  <a:lnTo>
                    <a:pt x="14545" y="66885"/>
                  </a:lnTo>
                  <a:lnTo>
                    <a:pt x="14909" y="66885"/>
                  </a:lnTo>
                  <a:lnTo>
                    <a:pt x="15818" y="66885"/>
                  </a:lnTo>
                  <a:lnTo>
                    <a:pt x="16181" y="66885"/>
                  </a:lnTo>
                  <a:lnTo>
                    <a:pt x="16181" y="67672"/>
                  </a:lnTo>
                  <a:lnTo>
                    <a:pt x="17090" y="67672"/>
                  </a:lnTo>
                  <a:lnTo>
                    <a:pt x="17090" y="67672"/>
                  </a:lnTo>
                  <a:lnTo>
                    <a:pt x="17454" y="68852"/>
                  </a:lnTo>
                  <a:lnTo>
                    <a:pt x="17454" y="68852"/>
                  </a:lnTo>
                  <a:lnTo>
                    <a:pt x="18000" y="68852"/>
                  </a:lnTo>
                  <a:lnTo>
                    <a:pt x="18363" y="67672"/>
                  </a:lnTo>
                  <a:lnTo>
                    <a:pt x="18363" y="67672"/>
                  </a:lnTo>
                  <a:lnTo>
                    <a:pt x="18363" y="67672"/>
                  </a:lnTo>
                  <a:lnTo>
                    <a:pt x="18363" y="67672"/>
                  </a:lnTo>
                  <a:lnTo>
                    <a:pt x="19272" y="67672"/>
                  </a:lnTo>
                  <a:lnTo>
                    <a:pt x="20181" y="67672"/>
                  </a:lnTo>
                  <a:lnTo>
                    <a:pt x="20181" y="67672"/>
                  </a:lnTo>
                  <a:lnTo>
                    <a:pt x="20545" y="68852"/>
                  </a:lnTo>
                  <a:lnTo>
                    <a:pt x="20545" y="69639"/>
                  </a:lnTo>
                  <a:lnTo>
                    <a:pt x="20909" y="69639"/>
                  </a:lnTo>
                  <a:lnTo>
                    <a:pt x="20909" y="70426"/>
                  </a:lnTo>
                  <a:lnTo>
                    <a:pt x="20545" y="70426"/>
                  </a:lnTo>
                  <a:lnTo>
                    <a:pt x="20545" y="71606"/>
                  </a:lnTo>
                  <a:lnTo>
                    <a:pt x="20909" y="72393"/>
                  </a:lnTo>
                  <a:lnTo>
                    <a:pt x="20909" y="74360"/>
                  </a:lnTo>
                  <a:lnTo>
                    <a:pt x="20909" y="75147"/>
                  </a:lnTo>
                  <a:lnTo>
                    <a:pt x="20545" y="77114"/>
                  </a:lnTo>
                  <a:lnTo>
                    <a:pt x="20545" y="79081"/>
                  </a:lnTo>
                  <a:lnTo>
                    <a:pt x="20909" y="79868"/>
                  </a:lnTo>
                  <a:lnTo>
                    <a:pt x="21818" y="79868"/>
                  </a:lnTo>
                  <a:lnTo>
                    <a:pt x="21818" y="80655"/>
                  </a:lnTo>
                  <a:lnTo>
                    <a:pt x="21818" y="80655"/>
                  </a:lnTo>
                  <a:lnTo>
                    <a:pt x="20909" y="80655"/>
                  </a:lnTo>
                  <a:lnTo>
                    <a:pt x="20545" y="80655"/>
                  </a:lnTo>
                  <a:lnTo>
                    <a:pt x="20181" y="79868"/>
                  </a:lnTo>
                  <a:lnTo>
                    <a:pt x="19636" y="79868"/>
                  </a:lnTo>
                  <a:lnTo>
                    <a:pt x="18363" y="80655"/>
                  </a:lnTo>
                  <a:lnTo>
                    <a:pt x="17454" y="79868"/>
                  </a:lnTo>
                  <a:lnTo>
                    <a:pt x="17090" y="80655"/>
                  </a:lnTo>
                  <a:lnTo>
                    <a:pt x="16727" y="80655"/>
                  </a:lnTo>
                  <a:lnTo>
                    <a:pt x="16181" y="80655"/>
                  </a:lnTo>
                  <a:lnTo>
                    <a:pt x="16181" y="81836"/>
                  </a:lnTo>
                  <a:lnTo>
                    <a:pt x="16181" y="82622"/>
                  </a:lnTo>
                  <a:lnTo>
                    <a:pt x="16181" y="83803"/>
                  </a:lnTo>
                  <a:lnTo>
                    <a:pt x="15818" y="84590"/>
                  </a:lnTo>
                  <a:lnTo>
                    <a:pt x="15818" y="84590"/>
                  </a:lnTo>
                  <a:lnTo>
                    <a:pt x="15818" y="85377"/>
                  </a:lnTo>
                  <a:lnTo>
                    <a:pt x="15818" y="85377"/>
                  </a:lnTo>
                  <a:lnTo>
                    <a:pt x="16727" y="86557"/>
                  </a:lnTo>
                  <a:lnTo>
                    <a:pt x="16727" y="87344"/>
                  </a:lnTo>
                  <a:lnTo>
                    <a:pt x="17090" y="87344"/>
                  </a:lnTo>
                  <a:lnTo>
                    <a:pt x="17090" y="87344"/>
                  </a:lnTo>
                  <a:lnTo>
                    <a:pt x="17454" y="87344"/>
                  </a:lnTo>
                  <a:lnTo>
                    <a:pt x="17454" y="88131"/>
                  </a:lnTo>
                  <a:lnTo>
                    <a:pt x="17090" y="88131"/>
                  </a:lnTo>
                  <a:lnTo>
                    <a:pt x="17090" y="88131"/>
                  </a:lnTo>
                  <a:lnTo>
                    <a:pt x="16727" y="88131"/>
                  </a:lnTo>
                  <a:lnTo>
                    <a:pt x="16181" y="88131"/>
                  </a:lnTo>
                  <a:lnTo>
                    <a:pt x="16181" y="88131"/>
                  </a:lnTo>
                  <a:lnTo>
                    <a:pt x="15454" y="87344"/>
                  </a:lnTo>
                  <a:lnTo>
                    <a:pt x="14909" y="87344"/>
                  </a:lnTo>
                  <a:lnTo>
                    <a:pt x="14181" y="87344"/>
                  </a:lnTo>
                  <a:lnTo>
                    <a:pt x="13636" y="87344"/>
                  </a:lnTo>
                  <a:lnTo>
                    <a:pt x="13636" y="88131"/>
                  </a:lnTo>
                  <a:lnTo>
                    <a:pt x="13636" y="88131"/>
                  </a:lnTo>
                  <a:lnTo>
                    <a:pt x="13636" y="89311"/>
                  </a:lnTo>
                  <a:lnTo>
                    <a:pt x="13636" y="89311"/>
                  </a:lnTo>
                  <a:lnTo>
                    <a:pt x="14181" y="89311"/>
                  </a:lnTo>
                  <a:lnTo>
                    <a:pt x="14545" y="90098"/>
                  </a:lnTo>
                  <a:lnTo>
                    <a:pt x="15454" y="90098"/>
                  </a:lnTo>
                  <a:lnTo>
                    <a:pt x="15454" y="90098"/>
                  </a:lnTo>
                  <a:lnTo>
                    <a:pt x="15818" y="90885"/>
                  </a:lnTo>
                  <a:lnTo>
                    <a:pt x="16181" y="92852"/>
                  </a:lnTo>
                  <a:lnTo>
                    <a:pt x="16727" y="94032"/>
                  </a:lnTo>
                  <a:lnTo>
                    <a:pt x="17090" y="94819"/>
                  </a:lnTo>
                  <a:lnTo>
                    <a:pt x="17454" y="95606"/>
                  </a:lnTo>
                  <a:lnTo>
                    <a:pt x="17454" y="95606"/>
                  </a:lnTo>
                  <a:lnTo>
                    <a:pt x="17454" y="96786"/>
                  </a:lnTo>
                  <a:lnTo>
                    <a:pt x="17454" y="96786"/>
                  </a:lnTo>
                  <a:lnTo>
                    <a:pt x="18000" y="97573"/>
                  </a:lnTo>
                  <a:lnTo>
                    <a:pt x="18000" y="98360"/>
                  </a:lnTo>
                  <a:lnTo>
                    <a:pt x="18000" y="98360"/>
                  </a:lnTo>
                  <a:lnTo>
                    <a:pt x="18000" y="98360"/>
                  </a:lnTo>
                  <a:lnTo>
                    <a:pt x="18363" y="98360"/>
                  </a:lnTo>
                  <a:lnTo>
                    <a:pt x="18727" y="99540"/>
                  </a:lnTo>
                  <a:lnTo>
                    <a:pt x="19272" y="99540"/>
                  </a:lnTo>
                  <a:lnTo>
                    <a:pt x="19272" y="100327"/>
                  </a:lnTo>
                  <a:lnTo>
                    <a:pt x="19636" y="100327"/>
                  </a:lnTo>
                  <a:lnTo>
                    <a:pt x="19636" y="101114"/>
                  </a:lnTo>
                  <a:lnTo>
                    <a:pt x="19636" y="101114"/>
                  </a:lnTo>
                  <a:lnTo>
                    <a:pt x="20181" y="101114"/>
                  </a:lnTo>
                  <a:lnTo>
                    <a:pt x="20181" y="101114"/>
                  </a:lnTo>
                  <a:lnTo>
                    <a:pt x="20545" y="101114"/>
                  </a:lnTo>
                  <a:lnTo>
                    <a:pt x="20909" y="101114"/>
                  </a:lnTo>
                  <a:lnTo>
                    <a:pt x="20909" y="102295"/>
                  </a:lnTo>
                  <a:lnTo>
                    <a:pt x="21454" y="101114"/>
                  </a:lnTo>
                  <a:lnTo>
                    <a:pt x="21454" y="101114"/>
                  </a:lnTo>
                  <a:lnTo>
                    <a:pt x="21818" y="101114"/>
                  </a:lnTo>
                  <a:lnTo>
                    <a:pt x="21818" y="102295"/>
                  </a:lnTo>
                  <a:lnTo>
                    <a:pt x="22181" y="102295"/>
                  </a:lnTo>
                  <a:lnTo>
                    <a:pt x="22181" y="104262"/>
                  </a:lnTo>
                  <a:lnTo>
                    <a:pt x="22181" y="105049"/>
                  </a:lnTo>
                  <a:lnTo>
                    <a:pt x="22181" y="105836"/>
                  </a:lnTo>
                  <a:lnTo>
                    <a:pt x="22181" y="105836"/>
                  </a:lnTo>
                  <a:lnTo>
                    <a:pt x="22181" y="107803"/>
                  </a:lnTo>
                  <a:lnTo>
                    <a:pt x="22181" y="107803"/>
                  </a:lnTo>
                  <a:lnTo>
                    <a:pt x="22181" y="109770"/>
                  </a:lnTo>
                  <a:lnTo>
                    <a:pt x="22727" y="109770"/>
                  </a:lnTo>
                  <a:lnTo>
                    <a:pt x="23090" y="108590"/>
                  </a:lnTo>
                  <a:lnTo>
                    <a:pt x="23454" y="107803"/>
                  </a:lnTo>
                  <a:lnTo>
                    <a:pt x="24000" y="107016"/>
                  </a:lnTo>
                  <a:lnTo>
                    <a:pt x="24000" y="107016"/>
                  </a:lnTo>
                  <a:lnTo>
                    <a:pt x="24363" y="107016"/>
                  </a:lnTo>
                  <a:lnTo>
                    <a:pt x="25272" y="105836"/>
                  </a:lnTo>
                  <a:lnTo>
                    <a:pt x="25636" y="105836"/>
                  </a:lnTo>
                  <a:lnTo>
                    <a:pt x="26545" y="105836"/>
                  </a:lnTo>
                  <a:lnTo>
                    <a:pt x="26909" y="105836"/>
                  </a:lnTo>
                  <a:lnTo>
                    <a:pt x="26909" y="105836"/>
                  </a:lnTo>
                  <a:lnTo>
                    <a:pt x="27454" y="105836"/>
                  </a:lnTo>
                  <a:lnTo>
                    <a:pt x="27818" y="105836"/>
                  </a:lnTo>
                  <a:lnTo>
                    <a:pt x="28181" y="107016"/>
                  </a:lnTo>
                  <a:lnTo>
                    <a:pt x="29090" y="107803"/>
                  </a:lnTo>
                  <a:lnTo>
                    <a:pt x="29454" y="108590"/>
                  </a:lnTo>
                  <a:lnTo>
                    <a:pt x="30000" y="108590"/>
                  </a:lnTo>
                  <a:lnTo>
                    <a:pt x="30000" y="109770"/>
                  </a:lnTo>
                  <a:lnTo>
                    <a:pt x="30000" y="109770"/>
                  </a:lnTo>
                  <a:lnTo>
                    <a:pt x="30727" y="111344"/>
                  </a:lnTo>
                  <a:lnTo>
                    <a:pt x="30727" y="111344"/>
                  </a:lnTo>
                  <a:lnTo>
                    <a:pt x="31272" y="112524"/>
                  </a:lnTo>
                  <a:lnTo>
                    <a:pt x="31636" y="113311"/>
                  </a:lnTo>
                  <a:lnTo>
                    <a:pt x="31636" y="113311"/>
                  </a:lnTo>
                  <a:lnTo>
                    <a:pt x="32181" y="114491"/>
                  </a:lnTo>
                  <a:lnTo>
                    <a:pt x="32181" y="114491"/>
                  </a:lnTo>
                  <a:lnTo>
                    <a:pt x="32181" y="114491"/>
                  </a:lnTo>
                  <a:lnTo>
                    <a:pt x="32545" y="114491"/>
                  </a:lnTo>
                  <a:lnTo>
                    <a:pt x="32909" y="114491"/>
                  </a:lnTo>
                  <a:lnTo>
                    <a:pt x="33454" y="113311"/>
                  </a:lnTo>
                  <a:lnTo>
                    <a:pt x="33454" y="113311"/>
                  </a:lnTo>
                  <a:lnTo>
                    <a:pt x="33454" y="111344"/>
                  </a:lnTo>
                  <a:lnTo>
                    <a:pt x="33454" y="109770"/>
                  </a:lnTo>
                  <a:lnTo>
                    <a:pt x="32909" y="107803"/>
                  </a:lnTo>
                  <a:lnTo>
                    <a:pt x="32909" y="105836"/>
                  </a:lnTo>
                  <a:lnTo>
                    <a:pt x="32545" y="104262"/>
                  </a:lnTo>
                  <a:lnTo>
                    <a:pt x="32545" y="102295"/>
                  </a:lnTo>
                  <a:lnTo>
                    <a:pt x="32545" y="100327"/>
                  </a:lnTo>
                  <a:lnTo>
                    <a:pt x="32181" y="99540"/>
                  </a:lnTo>
                  <a:lnTo>
                    <a:pt x="32181" y="97573"/>
                  </a:lnTo>
                  <a:lnTo>
                    <a:pt x="31636" y="95606"/>
                  </a:lnTo>
                  <a:lnTo>
                    <a:pt x="31636" y="94032"/>
                  </a:lnTo>
                  <a:lnTo>
                    <a:pt x="31272" y="92065"/>
                  </a:lnTo>
                  <a:lnTo>
                    <a:pt x="31272" y="90098"/>
                  </a:lnTo>
                  <a:lnTo>
                    <a:pt x="31272" y="88131"/>
                  </a:lnTo>
                  <a:lnTo>
                    <a:pt x="30727" y="86557"/>
                  </a:lnTo>
                  <a:lnTo>
                    <a:pt x="30727" y="84590"/>
                  </a:lnTo>
                  <a:lnTo>
                    <a:pt x="31272" y="83803"/>
                  </a:lnTo>
                  <a:lnTo>
                    <a:pt x="31636" y="82622"/>
                  </a:lnTo>
                  <a:lnTo>
                    <a:pt x="32181" y="82622"/>
                  </a:lnTo>
                  <a:lnTo>
                    <a:pt x="32545" y="82622"/>
                  </a:lnTo>
                  <a:lnTo>
                    <a:pt x="32909" y="81836"/>
                  </a:lnTo>
                  <a:lnTo>
                    <a:pt x="33454" y="81836"/>
                  </a:lnTo>
                  <a:lnTo>
                    <a:pt x="34181" y="81836"/>
                  </a:lnTo>
                  <a:lnTo>
                    <a:pt x="34727" y="80655"/>
                  </a:lnTo>
                  <a:lnTo>
                    <a:pt x="35090" y="80655"/>
                  </a:lnTo>
                  <a:lnTo>
                    <a:pt x="35454" y="80655"/>
                  </a:lnTo>
                  <a:lnTo>
                    <a:pt x="36363" y="79868"/>
                  </a:lnTo>
                  <a:lnTo>
                    <a:pt x="36727" y="79868"/>
                  </a:lnTo>
                  <a:lnTo>
                    <a:pt x="37272" y="79081"/>
                  </a:lnTo>
                  <a:lnTo>
                    <a:pt x="37636" y="79081"/>
                  </a:lnTo>
                  <a:lnTo>
                    <a:pt x="38000" y="79081"/>
                  </a:lnTo>
                  <a:lnTo>
                    <a:pt x="38545" y="79868"/>
                  </a:lnTo>
                  <a:lnTo>
                    <a:pt x="38909" y="79868"/>
                  </a:lnTo>
                  <a:lnTo>
                    <a:pt x="39454" y="80655"/>
                  </a:lnTo>
                  <a:lnTo>
                    <a:pt x="39818" y="80655"/>
                  </a:lnTo>
                  <a:lnTo>
                    <a:pt x="40181" y="81836"/>
                  </a:lnTo>
                  <a:lnTo>
                    <a:pt x="40727" y="81836"/>
                  </a:lnTo>
                  <a:lnTo>
                    <a:pt x="41090" y="82622"/>
                  </a:lnTo>
                  <a:lnTo>
                    <a:pt x="41454" y="82622"/>
                  </a:lnTo>
                  <a:lnTo>
                    <a:pt x="42363" y="84590"/>
                  </a:lnTo>
                  <a:lnTo>
                    <a:pt x="42727" y="84590"/>
                  </a:lnTo>
                  <a:lnTo>
                    <a:pt x="43272" y="85377"/>
                  </a:lnTo>
                  <a:lnTo>
                    <a:pt x="43636" y="85377"/>
                  </a:lnTo>
                  <a:lnTo>
                    <a:pt x="44000" y="86557"/>
                  </a:lnTo>
                  <a:lnTo>
                    <a:pt x="44545" y="87344"/>
                  </a:lnTo>
                  <a:lnTo>
                    <a:pt x="44909" y="87344"/>
                  </a:lnTo>
                  <a:lnTo>
                    <a:pt x="45454" y="88131"/>
                  </a:lnTo>
                  <a:lnTo>
                    <a:pt x="46181" y="88131"/>
                  </a:lnTo>
                  <a:lnTo>
                    <a:pt x="46727" y="89311"/>
                  </a:lnTo>
                  <a:lnTo>
                    <a:pt x="46727" y="89311"/>
                  </a:lnTo>
                  <a:lnTo>
                    <a:pt x="46727" y="90098"/>
                  </a:lnTo>
                  <a:lnTo>
                    <a:pt x="47090" y="90885"/>
                  </a:lnTo>
                  <a:lnTo>
                    <a:pt x="47454" y="92065"/>
                  </a:lnTo>
                  <a:lnTo>
                    <a:pt x="48000" y="92065"/>
                  </a:lnTo>
                  <a:lnTo>
                    <a:pt x="48363" y="92852"/>
                  </a:lnTo>
                  <a:lnTo>
                    <a:pt x="48727" y="94032"/>
                  </a:lnTo>
                  <a:lnTo>
                    <a:pt x="49272" y="94819"/>
                  </a:lnTo>
                  <a:lnTo>
                    <a:pt x="50000" y="95606"/>
                  </a:lnTo>
                  <a:lnTo>
                    <a:pt x="50000" y="96786"/>
                  </a:lnTo>
                  <a:lnTo>
                    <a:pt x="50545" y="96786"/>
                  </a:lnTo>
                  <a:lnTo>
                    <a:pt x="50909" y="95606"/>
                  </a:lnTo>
                  <a:lnTo>
                    <a:pt x="51818" y="95606"/>
                  </a:lnTo>
                  <a:lnTo>
                    <a:pt x="52181" y="95606"/>
                  </a:lnTo>
                  <a:lnTo>
                    <a:pt x="52727" y="95606"/>
                  </a:lnTo>
                  <a:lnTo>
                    <a:pt x="53454" y="95606"/>
                  </a:lnTo>
                  <a:lnTo>
                    <a:pt x="54000" y="94819"/>
                  </a:lnTo>
                  <a:lnTo>
                    <a:pt x="54727" y="95606"/>
                  </a:lnTo>
                  <a:lnTo>
                    <a:pt x="55272" y="95606"/>
                  </a:lnTo>
                  <a:lnTo>
                    <a:pt x="55636" y="95606"/>
                  </a:lnTo>
                  <a:lnTo>
                    <a:pt x="56545" y="95606"/>
                  </a:lnTo>
                  <a:lnTo>
                    <a:pt x="56909" y="95606"/>
                  </a:lnTo>
                  <a:lnTo>
                    <a:pt x="57454" y="95606"/>
                  </a:lnTo>
                  <a:lnTo>
                    <a:pt x="57818" y="95606"/>
                  </a:lnTo>
                  <a:lnTo>
                    <a:pt x="57818" y="95606"/>
                  </a:lnTo>
                  <a:lnTo>
                    <a:pt x="58181" y="95606"/>
                  </a:lnTo>
                  <a:lnTo>
                    <a:pt x="58181" y="94819"/>
                  </a:lnTo>
                  <a:lnTo>
                    <a:pt x="58727" y="94819"/>
                  </a:lnTo>
                  <a:lnTo>
                    <a:pt x="59090" y="94819"/>
                  </a:lnTo>
                  <a:lnTo>
                    <a:pt x="59454" y="94819"/>
                  </a:lnTo>
                  <a:lnTo>
                    <a:pt x="59454" y="95606"/>
                  </a:lnTo>
                  <a:lnTo>
                    <a:pt x="60000" y="96786"/>
                  </a:lnTo>
                  <a:lnTo>
                    <a:pt x="60363" y="96786"/>
                  </a:lnTo>
                  <a:lnTo>
                    <a:pt x="60727" y="97573"/>
                  </a:lnTo>
                  <a:lnTo>
                    <a:pt x="61272" y="97573"/>
                  </a:lnTo>
                  <a:lnTo>
                    <a:pt x="61636" y="98360"/>
                  </a:lnTo>
                  <a:lnTo>
                    <a:pt x="62000" y="99540"/>
                  </a:lnTo>
                  <a:lnTo>
                    <a:pt x="62000" y="100327"/>
                  </a:lnTo>
                  <a:lnTo>
                    <a:pt x="62545" y="101114"/>
                  </a:lnTo>
                  <a:lnTo>
                    <a:pt x="62909" y="101114"/>
                  </a:lnTo>
                  <a:lnTo>
                    <a:pt x="62909" y="100327"/>
                  </a:lnTo>
                  <a:lnTo>
                    <a:pt x="63454" y="100327"/>
                  </a:lnTo>
                  <a:lnTo>
                    <a:pt x="63454" y="101114"/>
                  </a:lnTo>
                  <a:lnTo>
                    <a:pt x="63454" y="102295"/>
                  </a:lnTo>
                  <a:lnTo>
                    <a:pt x="63454" y="103081"/>
                  </a:lnTo>
                  <a:lnTo>
                    <a:pt x="63818" y="104262"/>
                  </a:lnTo>
                  <a:lnTo>
                    <a:pt x="63818" y="105836"/>
                  </a:lnTo>
                  <a:lnTo>
                    <a:pt x="63818" y="107016"/>
                  </a:lnTo>
                  <a:lnTo>
                    <a:pt x="63818" y="107803"/>
                  </a:lnTo>
                  <a:lnTo>
                    <a:pt x="63818" y="107803"/>
                  </a:lnTo>
                  <a:lnTo>
                    <a:pt x="64727" y="108590"/>
                  </a:lnTo>
                  <a:lnTo>
                    <a:pt x="65090" y="108590"/>
                  </a:lnTo>
                  <a:lnTo>
                    <a:pt x="65454" y="108590"/>
                  </a:lnTo>
                  <a:lnTo>
                    <a:pt x="65454" y="108590"/>
                  </a:lnTo>
                  <a:lnTo>
                    <a:pt x="66000" y="110557"/>
                  </a:lnTo>
                  <a:lnTo>
                    <a:pt x="66000" y="111344"/>
                  </a:lnTo>
                  <a:lnTo>
                    <a:pt x="66363" y="112524"/>
                  </a:lnTo>
                  <a:lnTo>
                    <a:pt x="66363" y="113311"/>
                  </a:lnTo>
                  <a:lnTo>
                    <a:pt x="66727" y="114491"/>
                  </a:lnTo>
                  <a:lnTo>
                    <a:pt x="66727" y="115278"/>
                  </a:lnTo>
                  <a:lnTo>
                    <a:pt x="67272" y="115278"/>
                  </a:lnTo>
                  <a:lnTo>
                    <a:pt x="67272" y="115278"/>
                  </a:lnTo>
                  <a:lnTo>
                    <a:pt x="68000" y="115278"/>
                  </a:lnTo>
                  <a:lnTo>
                    <a:pt x="68545" y="115278"/>
                  </a:lnTo>
                  <a:lnTo>
                    <a:pt x="68909" y="115278"/>
                  </a:lnTo>
                  <a:lnTo>
                    <a:pt x="69454" y="115278"/>
                  </a:lnTo>
                  <a:lnTo>
                    <a:pt x="70181" y="115278"/>
                  </a:lnTo>
                  <a:lnTo>
                    <a:pt x="70181" y="115278"/>
                  </a:lnTo>
                  <a:lnTo>
                    <a:pt x="70727" y="115278"/>
                  </a:lnTo>
                  <a:lnTo>
                    <a:pt x="70727" y="115278"/>
                  </a:lnTo>
                  <a:lnTo>
                    <a:pt x="71090" y="115278"/>
                  </a:lnTo>
                  <a:lnTo>
                    <a:pt x="71090" y="115278"/>
                  </a:lnTo>
                  <a:lnTo>
                    <a:pt x="71090" y="116065"/>
                  </a:lnTo>
                  <a:lnTo>
                    <a:pt x="71454" y="116065"/>
                  </a:lnTo>
                  <a:lnTo>
                    <a:pt x="71454" y="117245"/>
                  </a:lnTo>
                  <a:lnTo>
                    <a:pt x="71454" y="117245"/>
                  </a:lnTo>
                  <a:lnTo>
                    <a:pt x="71454" y="118032"/>
                  </a:lnTo>
                  <a:lnTo>
                    <a:pt x="71454" y="118032"/>
                  </a:lnTo>
                  <a:lnTo>
                    <a:pt x="72000" y="118819"/>
                  </a:lnTo>
                  <a:lnTo>
                    <a:pt x="72363" y="118819"/>
                  </a:lnTo>
                  <a:lnTo>
                    <a:pt x="72727" y="120000"/>
                  </a:lnTo>
                  <a:lnTo>
                    <a:pt x="72727" y="120000"/>
                  </a:lnTo>
                  <a:lnTo>
                    <a:pt x="73272" y="120000"/>
                  </a:lnTo>
                  <a:lnTo>
                    <a:pt x="73272" y="118819"/>
                  </a:lnTo>
                  <a:lnTo>
                    <a:pt x="73272" y="118819"/>
                  </a:lnTo>
                  <a:lnTo>
                    <a:pt x="73272" y="118032"/>
                  </a:lnTo>
                  <a:lnTo>
                    <a:pt x="72727" y="118032"/>
                  </a:lnTo>
                  <a:lnTo>
                    <a:pt x="72727" y="117245"/>
                  </a:lnTo>
                  <a:lnTo>
                    <a:pt x="73272" y="117245"/>
                  </a:lnTo>
                  <a:lnTo>
                    <a:pt x="73272" y="116065"/>
                  </a:lnTo>
                  <a:lnTo>
                    <a:pt x="73636" y="115278"/>
                  </a:lnTo>
                  <a:lnTo>
                    <a:pt x="74000" y="114491"/>
                  </a:lnTo>
                  <a:lnTo>
                    <a:pt x="74000" y="114491"/>
                  </a:lnTo>
                  <a:lnTo>
                    <a:pt x="74000" y="113311"/>
                  </a:lnTo>
                  <a:lnTo>
                    <a:pt x="74000" y="113311"/>
                  </a:lnTo>
                  <a:lnTo>
                    <a:pt x="74545" y="112524"/>
                  </a:lnTo>
                  <a:lnTo>
                    <a:pt x="74909" y="112524"/>
                  </a:lnTo>
                  <a:lnTo>
                    <a:pt x="74909" y="112524"/>
                  </a:lnTo>
                  <a:lnTo>
                    <a:pt x="75454" y="111344"/>
                  </a:lnTo>
                  <a:lnTo>
                    <a:pt x="75454" y="110557"/>
                  </a:lnTo>
                  <a:lnTo>
                    <a:pt x="75818" y="110557"/>
                  </a:lnTo>
                  <a:lnTo>
                    <a:pt x="76181" y="110557"/>
                  </a:lnTo>
                  <a:lnTo>
                    <a:pt x="76727" y="109770"/>
                  </a:lnTo>
                  <a:lnTo>
                    <a:pt x="77090" y="108590"/>
                  </a:lnTo>
                  <a:lnTo>
                    <a:pt x="77090" y="107803"/>
                  </a:lnTo>
                  <a:lnTo>
                    <a:pt x="77454" y="107803"/>
                  </a:lnTo>
                  <a:lnTo>
                    <a:pt x="77454" y="107803"/>
                  </a:lnTo>
                  <a:lnTo>
                    <a:pt x="78000" y="107803"/>
                  </a:lnTo>
                  <a:lnTo>
                    <a:pt x="78000" y="107803"/>
                  </a:lnTo>
                  <a:lnTo>
                    <a:pt x="78000" y="107803"/>
                  </a:lnTo>
                  <a:lnTo>
                    <a:pt x="78363" y="107803"/>
                  </a:lnTo>
                  <a:lnTo>
                    <a:pt x="78363" y="107016"/>
                  </a:lnTo>
                  <a:lnTo>
                    <a:pt x="78363" y="107016"/>
                  </a:lnTo>
                  <a:lnTo>
                    <a:pt x="78727" y="107016"/>
                  </a:lnTo>
                  <a:lnTo>
                    <a:pt x="78727" y="105836"/>
                  </a:lnTo>
                  <a:lnTo>
                    <a:pt x="78727" y="105836"/>
                  </a:lnTo>
                  <a:lnTo>
                    <a:pt x="78727" y="105836"/>
                  </a:lnTo>
                  <a:lnTo>
                    <a:pt x="78727" y="105049"/>
                  </a:lnTo>
                  <a:lnTo>
                    <a:pt x="78727" y="105049"/>
                  </a:lnTo>
                  <a:lnTo>
                    <a:pt x="78727" y="104262"/>
                  </a:lnTo>
                  <a:lnTo>
                    <a:pt x="79272" y="103081"/>
                  </a:lnTo>
                  <a:lnTo>
                    <a:pt x="79272" y="103081"/>
                  </a:lnTo>
                  <a:lnTo>
                    <a:pt x="79272" y="102295"/>
                  </a:lnTo>
                  <a:lnTo>
                    <a:pt x="79636" y="102295"/>
                  </a:lnTo>
                  <a:lnTo>
                    <a:pt x="80000" y="102295"/>
                  </a:lnTo>
                  <a:lnTo>
                    <a:pt x="80545" y="102295"/>
                  </a:lnTo>
                  <a:lnTo>
                    <a:pt x="80909" y="101114"/>
                  </a:lnTo>
                  <a:lnTo>
                    <a:pt x="80909" y="101114"/>
                  </a:lnTo>
                  <a:lnTo>
                    <a:pt x="80909" y="101114"/>
                  </a:lnTo>
                  <a:lnTo>
                    <a:pt x="82181" y="102295"/>
                  </a:lnTo>
                  <a:lnTo>
                    <a:pt x="82727" y="102295"/>
                  </a:lnTo>
                  <a:lnTo>
                    <a:pt x="83454" y="103081"/>
                  </a:lnTo>
                  <a:lnTo>
                    <a:pt x="84000" y="103081"/>
                  </a:lnTo>
                  <a:lnTo>
                    <a:pt x="84000" y="103081"/>
                  </a:lnTo>
                  <a:lnTo>
                    <a:pt x="84363" y="103081"/>
                  </a:lnTo>
                  <a:lnTo>
                    <a:pt x="84363" y="104262"/>
                  </a:lnTo>
                  <a:lnTo>
                    <a:pt x="85636" y="104262"/>
                  </a:lnTo>
                  <a:lnTo>
                    <a:pt x="86000" y="104262"/>
                  </a:lnTo>
                  <a:lnTo>
                    <a:pt x="86000" y="104262"/>
                  </a:lnTo>
                  <a:lnTo>
                    <a:pt x="86545" y="105049"/>
                  </a:lnTo>
                  <a:lnTo>
                    <a:pt x="86545" y="105049"/>
                  </a:lnTo>
                  <a:lnTo>
                    <a:pt x="86000" y="103081"/>
                  </a:lnTo>
                  <a:lnTo>
                    <a:pt x="86000" y="102295"/>
                  </a:lnTo>
                  <a:lnTo>
                    <a:pt x="86000" y="100327"/>
                  </a:lnTo>
                  <a:lnTo>
                    <a:pt x="86000" y="99540"/>
                  </a:lnTo>
                  <a:lnTo>
                    <a:pt x="86545" y="99540"/>
                  </a:lnTo>
                  <a:lnTo>
                    <a:pt x="86909" y="99540"/>
                  </a:lnTo>
                  <a:lnTo>
                    <a:pt x="87454" y="98360"/>
                  </a:lnTo>
                  <a:lnTo>
                    <a:pt x="87818" y="98360"/>
                  </a:lnTo>
                  <a:lnTo>
                    <a:pt x="87818" y="98360"/>
                  </a:lnTo>
                  <a:lnTo>
                    <a:pt x="87818" y="98360"/>
                  </a:lnTo>
                  <a:lnTo>
                    <a:pt x="87818" y="98360"/>
                  </a:lnTo>
                  <a:lnTo>
                    <a:pt x="88727" y="98360"/>
                  </a:lnTo>
                  <a:lnTo>
                    <a:pt x="89454" y="99540"/>
                  </a:lnTo>
                  <a:lnTo>
                    <a:pt x="90000" y="100327"/>
                  </a:lnTo>
                  <a:lnTo>
                    <a:pt x="90727" y="101114"/>
                  </a:lnTo>
                  <a:lnTo>
                    <a:pt x="92000" y="101114"/>
                  </a:lnTo>
                  <a:lnTo>
                    <a:pt x="92909" y="101114"/>
                  </a:lnTo>
                  <a:lnTo>
                    <a:pt x="92909" y="101114"/>
                  </a:lnTo>
                  <a:lnTo>
                    <a:pt x="92909" y="100327"/>
                  </a:lnTo>
                  <a:lnTo>
                    <a:pt x="93454" y="100327"/>
                  </a:lnTo>
                  <a:lnTo>
                    <a:pt x="93454" y="101114"/>
                  </a:lnTo>
                  <a:lnTo>
                    <a:pt x="94181" y="101114"/>
                  </a:lnTo>
                  <a:lnTo>
                    <a:pt x="95454" y="101114"/>
                  </a:lnTo>
                  <a:lnTo>
                    <a:pt x="96000" y="101114"/>
                  </a:lnTo>
                  <a:lnTo>
                    <a:pt x="96727" y="100327"/>
                  </a:lnTo>
                  <a:lnTo>
                    <a:pt x="96727" y="100327"/>
                  </a:lnTo>
                  <a:lnTo>
                    <a:pt x="96727" y="100327"/>
                  </a:lnTo>
                  <a:lnTo>
                    <a:pt x="97636" y="101114"/>
                  </a:lnTo>
                  <a:lnTo>
                    <a:pt x="98000" y="101114"/>
                  </a:lnTo>
                  <a:lnTo>
                    <a:pt x="98000" y="101114"/>
                  </a:lnTo>
                  <a:lnTo>
                    <a:pt x="98545" y="101114"/>
                  </a:lnTo>
                  <a:lnTo>
                    <a:pt x="98909" y="101114"/>
                  </a:lnTo>
                  <a:lnTo>
                    <a:pt x="99454" y="101114"/>
                  </a:lnTo>
                  <a:lnTo>
                    <a:pt x="100181" y="101114"/>
                  </a:lnTo>
                  <a:lnTo>
                    <a:pt x="100727" y="101114"/>
                  </a:lnTo>
                  <a:lnTo>
                    <a:pt x="101090" y="101114"/>
                  </a:lnTo>
                  <a:lnTo>
                    <a:pt x="101454" y="101114"/>
                  </a:lnTo>
                  <a:lnTo>
                    <a:pt x="102000" y="101114"/>
                  </a:lnTo>
                  <a:lnTo>
                    <a:pt x="102363" y="102295"/>
                  </a:lnTo>
                  <a:lnTo>
                    <a:pt x="102727" y="102295"/>
                  </a:lnTo>
                  <a:lnTo>
                    <a:pt x="102727" y="102295"/>
                  </a:lnTo>
                  <a:lnTo>
                    <a:pt x="103272" y="102295"/>
                  </a:lnTo>
                  <a:lnTo>
                    <a:pt x="103636" y="102295"/>
                  </a:lnTo>
                  <a:lnTo>
                    <a:pt x="103636" y="102295"/>
                  </a:lnTo>
                  <a:lnTo>
                    <a:pt x="104000" y="103081"/>
                  </a:lnTo>
                  <a:lnTo>
                    <a:pt x="104000" y="103081"/>
                  </a:lnTo>
                  <a:lnTo>
                    <a:pt x="104545" y="104262"/>
                  </a:lnTo>
                  <a:lnTo>
                    <a:pt x="104909" y="104262"/>
                  </a:lnTo>
                  <a:lnTo>
                    <a:pt x="104909" y="105049"/>
                  </a:lnTo>
                  <a:lnTo>
                    <a:pt x="105454" y="105049"/>
                  </a:lnTo>
                  <a:lnTo>
                    <a:pt x="105818" y="105049"/>
                  </a:lnTo>
                  <a:lnTo>
                    <a:pt x="106181" y="105049"/>
                  </a:lnTo>
                  <a:lnTo>
                    <a:pt x="107090" y="105836"/>
                  </a:lnTo>
                  <a:lnTo>
                    <a:pt x="107454" y="107016"/>
                  </a:lnTo>
                  <a:lnTo>
                    <a:pt x="107454" y="107016"/>
                  </a:lnTo>
                  <a:lnTo>
                    <a:pt x="107454" y="105836"/>
                  </a:lnTo>
                  <a:lnTo>
                    <a:pt x="107454" y="105836"/>
                  </a:lnTo>
                  <a:lnTo>
                    <a:pt x="107090" y="105049"/>
                  </a:lnTo>
                  <a:lnTo>
                    <a:pt x="107090" y="104262"/>
                  </a:lnTo>
                  <a:lnTo>
                    <a:pt x="107090" y="103081"/>
                  </a:lnTo>
                  <a:lnTo>
                    <a:pt x="106727" y="103081"/>
                  </a:lnTo>
                  <a:lnTo>
                    <a:pt x="106727" y="102295"/>
                  </a:lnTo>
                  <a:lnTo>
                    <a:pt x="107090" y="102295"/>
                  </a:lnTo>
                  <a:lnTo>
                    <a:pt x="107454" y="101114"/>
                  </a:lnTo>
                  <a:lnTo>
                    <a:pt x="108000" y="101114"/>
                  </a:lnTo>
                  <a:lnTo>
                    <a:pt x="107454" y="101114"/>
                  </a:lnTo>
                  <a:lnTo>
                    <a:pt x="107454" y="100327"/>
                  </a:lnTo>
                  <a:lnTo>
                    <a:pt x="107090" y="100327"/>
                  </a:lnTo>
                  <a:lnTo>
                    <a:pt x="107090" y="100327"/>
                  </a:lnTo>
                  <a:lnTo>
                    <a:pt x="107090" y="100327"/>
                  </a:lnTo>
                  <a:lnTo>
                    <a:pt x="107090" y="100327"/>
                  </a:lnTo>
                  <a:lnTo>
                    <a:pt x="107454" y="99540"/>
                  </a:lnTo>
                  <a:lnTo>
                    <a:pt x="107454" y="99540"/>
                  </a:lnTo>
                  <a:lnTo>
                    <a:pt x="108000" y="99540"/>
                  </a:lnTo>
                  <a:lnTo>
                    <a:pt x="108363" y="99540"/>
                  </a:lnTo>
                  <a:lnTo>
                    <a:pt x="108000" y="98360"/>
                  </a:lnTo>
                  <a:lnTo>
                    <a:pt x="108000" y="98360"/>
                  </a:lnTo>
                  <a:lnTo>
                    <a:pt x="108000" y="98360"/>
                  </a:lnTo>
                  <a:lnTo>
                    <a:pt x="107454" y="97573"/>
                  </a:lnTo>
                  <a:lnTo>
                    <a:pt x="107454" y="97573"/>
                  </a:lnTo>
                  <a:lnTo>
                    <a:pt x="107454" y="96786"/>
                  </a:lnTo>
                  <a:lnTo>
                    <a:pt x="107090" y="95606"/>
                  </a:lnTo>
                  <a:lnTo>
                    <a:pt x="107090" y="94819"/>
                  </a:lnTo>
                  <a:lnTo>
                    <a:pt x="106181" y="92852"/>
                  </a:lnTo>
                  <a:lnTo>
                    <a:pt x="106181" y="92852"/>
                  </a:lnTo>
                  <a:lnTo>
                    <a:pt x="105818" y="92065"/>
                  </a:lnTo>
                  <a:lnTo>
                    <a:pt x="105818" y="90885"/>
                  </a:lnTo>
                  <a:lnTo>
                    <a:pt x="105818" y="90885"/>
                  </a:lnTo>
                  <a:lnTo>
                    <a:pt x="105454" y="90098"/>
                  </a:lnTo>
                  <a:lnTo>
                    <a:pt x="105454" y="89311"/>
                  </a:lnTo>
                  <a:lnTo>
                    <a:pt x="105454" y="88131"/>
                  </a:lnTo>
                  <a:lnTo>
                    <a:pt x="104909" y="87344"/>
                  </a:lnTo>
                  <a:lnTo>
                    <a:pt x="104909" y="87344"/>
                  </a:lnTo>
                  <a:lnTo>
                    <a:pt x="104909" y="87344"/>
                  </a:lnTo>
                  <a:lnTo>
                    <a:pt x="104909" y="86557"/>
                  </a:lnTo>
                  <a:lnTo>
                    <a:pt x="105454" y="86557"/>
                  </a:lnTo>
                  <a:lnTo>
                    <a:pt x="105454" y="86557"/>
                  </a:lnTo>
                  <a:lnTo>
                    <a:pt x="105454" y="86557"/>
                  </a:lnTo>
                  <a:lnTo>
                    <a:pt x="104909" y="86557"/>
                  </a:lnTo>
                  <a:lnTo>
                    <a:pt x="104545" y="85377"/>
                  </a:lnTo>
                  <a:lnTo>
                    <a:pt x="104000" y="85377"/>
                  </a:lnTo>
                  <a:lnTo>
                    <a:pt x="103636" y="85377"/>
                  </a:lnTo>
                  <a:lnTo>
                    <a:pt x="103636" y="85377"/>
                  </a:lnTo>
                  <a:lnTo>
                    <a:pt x="103272" y="85377"/>
                  </a:lnTo>
                  <a:lnTo>
                    <a:pt x="103272" y="85377"/>
                  </a:lnTo>
                  <a:lnTo>
                    <a:pt x="103272" y="84590"/>
                  </a:lnTo>
                  <a:lnTo>
                    <a:pt x="103636" y="83803"/>
                  </a:lnTo>
                  <a:lnTo>
                    <a:pt x="104000" y="83803"/>
                  </a:lnTo>
                  <a:lnTo>
                    <a:pt x="104545" y="82622"/>
                  </a:lnTo>
                  <a:lnTo>
                    <a:pt x="104909" y="82622"/>
                  </a:lnTo>
                  <a:lnTo>
                    <a:pt x="105454" y="82622"/>
                  </a:lnTo>
                  <a:lnTo>
                    <a:pt x="105818" y="82622"/>
                  </a:lnTo>
                  <a:lnTo>
                    <a:pt x="105818" y="82622"/>
                  </a:lnTo>
                  <a:lnTo>
                    <a:pt x="106181" y="81836"/>
                  </a:lnTo>
                  <a:lnTo>
                    <a:pt x="107090" y="81836"/>
                  </a:lnTo>
                  <a:lnTo>
                    <a:pt x="108000" y="80655"/>
                  </a:lnTo>
                  <a:lnTo>
                    <a:pt x="108000" y="80655"/>
                  </a:lnTo>
                  <a:lnTo>
                    <a:pt x="108363" y="80655"/>
                  </a:lnTo>
                  <a:lnTo>
                    <a:pt x="108727" y="81836"/>
                  </a:lnTo>
                  <a:lnTo>
                    <a:pt x="108727" y="81836"/>
                  </a:lnTo>
                  <a:lnTo>
                    <a:pt x="109272" y="82622"/>
                  </a:lnTo>
                  <a:lnTo>
                    <a:pt x="109272" y="82622"/>
                  </a:lnTo>
                  <a:lnTo>
                    <a:pt x="109636" y="81836"/>
                  </a:lnTo>
                  <a:lnTo>
                    <a:pt x="110000" y="81836"/>
                  </a:lnTo>
                  <a:lnTo>
                    <a:pt x="110000" y="81836"/>
                  </a:lnTo>
                  <a:lnTo>
                    <a:pt x="110545" y="81836"/>
                  </a:lnTo>
                  <a:lnTo>
                    <a:pt x="110909" y="82622"/>
                  </a:lnTo>
                  <a:lnTo>
                    <a:pt x="110909" y="82622"/>
                  </a:lnTo>
                  <a:lnTo>
                    <a:pt x="110909" y="82622"/>
                  </a:lnTo>
                  <a:lnTo>
                    <a:pt x="110909" y="81836"/>
                  </a:lnTo>
                  <a:lnTo>
                    <a:pt x="110909" y="80655"/>
                  </a:lnTo>
                  <a:lnTo>
                    <a:pt x="110909" y="80655"/>
                  </a:lnTo>
                  <a:lnTo>
                    <a:pt x="110909" y="79868"/>
                  </a:lnTo>
                  <a:lnTo>
                    <a:pt x="110545" y="79868"/>
                  </a:lnTo>
                  <a:lnTo>
                    <a:pt x="110000" y="79868"/>
                  </a:lnTo>
                  <a:lnTo>
                    <a:pt x="109636" y="79081"/>
                  </a:lnTo>
                  <a:lnTo>
                    <a:pt x="109636" y="79081"/>
                  </a:lnTo>
                  <a:lnTo>
                    <a:pt x="109636" y="79081"/>
                  </a:lnTo>
                  <a:lnTo>
                    <a:pt x="109636" y="77901"/>
                  </a:lnTo>
                  <a:lnTo>
                    <a:pt x="109636" y="77114"/>
                  </a:lnTo>
                  <a:lnTo>
                    <a:pt x="109636" y="75147"/>
                  </a:lnTo>
                  <a:lnTo>
                    <a:pt x="109636" y="74360"/>
                  </a:lnTo>
                  <a:lnTo>
                    <a:pt x="109636" y="72393"/>
                  </a:lnTo>
                  <a:lnTo>
                    <a:pt x="109636" y="70426"/>
                  </a:lnTo>
                  <a:lnTo>
                    <a:pt x="110000" y="67672"/>
                  </a:lnTo>
                  <a:lnTo>
                    <a:pt x="109636" y="66885"/>
                  </a:lnTo>
                  <a:lnTo>
                    <a:pt x="109636" y="66098"/>
                  </a:lnTo>
                  <a:lnTo>
                    <a:pt x="109636" y="66098"/>
                  </a:lnTo>
                  <a:lnTo>
                    <a:pt x="110000" y="66098"/>
                  </a:lnTo>
                  <a:lnTo>
                    <a:pt x="110000" y="66098"/>
                  </a:lnTo>
                  <a:lnTo>
                    <a:pt x="110909" y="66885"/>
                  </a:lnTo>
                  <a:lnTo>
                    <a:pt x="111818" y="66885"/>
                  </a:lnTo>
                  <a:lnTo>
                    <a:pt x="111818" y="66885"/>
                  </a:lnTo>
                  <a:lnTo>
                    <a:pt x="112181" y="67672"/>
                  </a:lnTo>
                  <a:lnTo>
                    <a:pt x="113090" y="67672"/>
                  </a:lnTo>
                  <a:lnTo>
                    <a:pt x="113090" y="67672"/>
                  </a:lnTo>
                  <a:lnTo>
                    <a:pt x="113454" y="67672"/>
                  </a:lnTo>
                  <a:lnTo>
                    <a:pt x="114000" y="67672"/>
                  </a:lnTo>
                  <a:lnTo>
                    <a:pt x="114363" y="67672"/>
                  </a:lnTo>
                  <a:lnTo>
                    <a:pt x="114727" y="67672"/>
                  </a:lnTo>
                  <a:lnTo>
                    <a:pt x="114727" y="67672"/>
                  </a:lnTo>
                  <a:lnTo>
                    <a:pt x="115272" y="67672"/>
                  </a:lnTo>
                  <a:lnTo>
                    <a:pt x="115272" y="68852"/>
                  </a:lnTo>
                  <a:lnTo>
                    <a:pt x="115636" y="68852"/>
                  </a:lnTo>
                  <a:lnTo>
                    <a:pt x="115636" y="68852"/>
                  </a:lnTo>
                  <a:lnTo>
                    <a:pt x="116000" y="67672"/>
                  </a:lnTo>
                  <a:lnTo>
                    <a:pt x="116000" y="67672"/>
                  </a:lnTo>
                  <a:lnTo>
                    <a:pt x="116545" y="66885"/>
                  </a:lnTo>
                  <a:lnTo>
                    <a:pt x="116909" y="66885"/>
                  </a:lnTo>
                  <a:lnTo>
                    <a:pt x="117454" y="66885"/>
                  </a:lnTo>
                  <a:lnTo>
                    <a:pt x="117454" y="66885"/>
                  </a:lnTo>
                  <a:lnTo>
                    <a:pt x="117454" y="66098"/>
                  </a:lnTo>
                  <a:lnTo>
                    <a:pt x="117454" y="64918"/>
                  </a:lnTo>
                  <a:lnTo>
                    <a:pt x="117454" y="64918"/>
                  </a:lnTo>
                  <a:lnTo>
                    <a:pt x="117454" y="64131"/>
                  </a:lnTo>
                  <a:lnTo>
                    <a:pt x="116909" y="63344"/>
                  </a:lnTo>
                  <a:lnTo>
                    <a:pt x="116909" y="63344"/>
                  </a:lnTo>
                  <a:lnTo>
                    <a:pt x="116545" y="61377"/>
                  </a:lnTo>
                  <a:lnTo>
                    <a:pt x="116000" y="59409"/>
                  </a:lnTo>
                  <a:lnTo>
                    <a:pt x="116000" y="58622"/>
                  </a:lnTo>
                  <a:lnTo>
                    <a:pt x="116000" y="57442"/>
                  </a:lnTo>
                  <a:lnTo>
                    <a:pt x="116000" y="57442"/>
                  </a:lnTo>
                  <a:lnTo>
                    <a:pt x="116000" y="56655"/>
                  </a:lnTo>
                  <a:lnTo>
                    <a:pt x="116000" y="55868"/>
                  </a:lnTo>
                  <a:lnTo>
                    <a:pt x="116545" y="55868"/>
                  </a:lnTo>
                  <a:lnTo>
                    <a:pt x="116909" y="55868"/>
                  </a:lnTo>
                  <a:lnTo>
                    <a:pt x="117454" y="55868"/>
                  </a:lnTo>
                  <a:lnTo>
                    <a:pt x="117818" y="55868"/>
                  </a:lnTo>
                  <a:lnTo>
                    <a:pt x="118181" y="54688"/>
                  </a:lnTo>
                  <a:lnTo>
                    <a:pt x="118181" y="54688"/>
                  </a:lnTo>
                  <a:lnTo>
                    <a:pt x="118727" y="53901"/>
                  </a:lnTo>
                  <a:lnTo>
                    <a:pt x="118727" y="53901"/>
                  </a:lnTo>
                  <a:lnTo>
                    <a:pt x="118181" y="51934"/>
                  </a:lnTo>
                  <a:lnTo>
                    <a:pt x="118181" y="51934"/>
                  </a:lnTo>
                  <a:lnTo>
                    <a:pt x="118181" y="51147"/>
                  </a:lnTo>
                  <a:lnTo>
                    <a:pt x="118181" y="51147"/>
                  </a:lnTo>
                  <a:lnTo>
                    <a:pt x="118727" y="49967"/>
                  </a:lnTo>
                  <a:lnTo>
                    <a:pt x="118727" y="49967"/>
                  </a:lnTo>
                  <a:lnTo>
                    <a:pt x="119090" y="49967"/>
                  </a:lnTo>
                  <a:lnTo>
                    <a:pt x="119454" y="49967"/>
                  </a:lnTo>
                  <a:lnTo>
                    <a:pt x="120000" y="49967"/>
                  </a:lnTo>
                  <a:lnTo>
                    <a:pt x="119454" y="49967"/>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55" name="Shape 455"/>
            <p:cNvSpPr/>
            <p:nvPr/>
          </p:nvSpPr>
          <p:spPr>
            <a:xfrm>
              <a:off x="4282" y="2692"/>
              <a:ext cx="0" cy="300"/>
            </a:xfrm>
            <a:custGeom>
              <a:avLst/>
              <a:gdLst/>
              <a:ahLst/>
              <a:cxnLst/>
              <a:rect l="0" t="0" r="0" b="0"/>
              <a:pathLst>
                <a:path w="120000" h="120000" extrusionOk="0">
                  <a:moveTo>
                    <a:pt x="108724" y="88186"/>
                  </a:moveTo>
                  <a:lnTo>
                    <a:pt x="106308" y="89860"/>
                  </a:lnTo>
                  <a:lnTo>
                    <a:pt x="106308" y="89860"/>
                  </a:lnTo>
                  <a:lnTo>
                    <a:pt x="106308" y="89860"/>
                  </a:lnTo>
                  <a:lnTo>
                    <a:pt x="108724" y="89860"/>
                  </a:lnTo>
                  <a:lnTo>
                    <a:pt x="108724" y="89860"/>
                  </a:lnTo>
                  <a:lnTo>
                    <a:pt x="108724" y="89860"/>
                  </a:lnTo>
                  <a:lnTo>
                    <a:pt x="108724" y="88186"/>
                  </a:lnTo>
                  <a:lnTo>
                    <a:pt x="108724" y="88186"/>
                  </a:lnTo>
                  <a:close/>
                  <a:moveTo>
                    <a:pt x="117583" y="18418"/>
                  </a:moveTo>
                  <a:lnTo>
                    <a:pt x="114362" y="18418"/>
                  </a:lnTo>
                  <a:lnTo>
                    <a:pt x="111946" y="18418"/>
                  </a:lnTo>
                  <a:lnTo>
                    <a:pt x="111946" y="18418"/>
                  </a:lnTo>
                  <a:lnTo>
                    <a:pt x="110335" y="18418"/>
                  </a:lnTo>
                  <a:lnTo>
                    <a:pt x="108724" y="18418"/>
                  </a:lnTo>
                  <a:lnTo>
                    <a:pt x="108724" y="17302"/>
                  </a:lnTo>
                  <a:lnTo>
                    <a:pt x="106308" y="17302"/>
                  </a:lnTo>
                  <a:lnTo>
                    <a:pt x="104697" y="15627"/>
                  </a:lnTo>
                  <a:lnTo>
                    <a:pt x="102281" y="14511"/>
                  </a:lnTo>
                  <a:lnTo>
                    <a:pt x="99060" y="15627"/>
                  </a:lnTo>
                  <a:lnTo>
                    <a:pt x="96644" y="17302"/>
                  </a:lnTo>
                  <a:lnTo>
                    <a:pt x="91006" y="18418"/>
                  </a:lnTo>
                  <a:lnTo>
                    <a:pt x="89395" y="19534"/>
                  </a:lnTo>
                  <a:lnTo>
                    <a:pt x="89395" y="21209"/>
                  </a:lnTo>
                  <a:lnTo>
                    <a:pt x="87785" y="22325"/>
                  </a:lnTo>
                  <a:lnTo>
                    <a:pt x="85369" y="23441"/>
                  </a:lnTo>
                  <a:lnTo>
                    <a:pt x="83758" y="23441"/>
                  </a:lnTo>
                  <a:lnTo>
                    <a:pt x="79731" y="23441"/>
                  </a:lnTo>
                  <a:lnTo>
                    <a:pt x="78120" y="23441"/>
                  </a:lnTo>
                  <a:lnTo>
                    <a:pt x="75704" y="23441"/>
                  </a:lnTo>
                  <a:lnTo>
                    <a:pt x="72483" y="22325"/>
                  </a:lnTo>
                  <a:lnTo>
                    <a:pt x="70067" y="22325"/>
                  </a:lnTo>
                  <a:lnTo>
                    <a:pt x="68456" y="22325"/>
                  </a:lnTo>
                  <a:lnTo>
                    <a:pt x="64429" y="22325"/>
                  </a:lnTo>
                  <a:lnTo>
                    <a:pt x="62818" y="21209"/>
                  </a:lnTo>
                  <a:lnTo>
                    <a:pt x="61208" y="21209"/>
                  </a:lnTo>
                  <a:lnTo>
                    <a:pt x="58791" y="19534"/>
                  </a:lnTo>
                  <a:lnTo>
                    <a:pt x="55570" y="17302"/>
                  </a:lnTo>
                  <a:lnTo>
                    <a:pt x="53154" y="15627"/>
                  </a:lnTo>
                  <a:lnTo>
                    <a:pt x="49127" y="14511"/>
                  </a:lnTo>
                  <a:lnTo>
                    <a:pt x="45906" y="12837"/>
                  </a:lnTo>
                  <a:lnTo>
                    <a:pt x="43489" y="12837"/>
                  </a:lnTo>
                  <a:lnTo>
                    <a:pt x="43489" y="11720"/>
                  </a:lnTo>
                  <a:lnTo>
                    <a:pt x="40268" y="11720"/>
                  </a:lnTo>
                  <a:lnTo>
                    <a:pt x="36241" y="11720"/>
                  </a:lnTo>
                  <a:lnTo>
                    <a:pt x="32214" y="11720"/>
                  </a:lnTo>
                  <a:lnTo>
                    <a:pt x="32214" y="11720"/>
                  </a:lnTo>
                  <a:lnTo>
                    <a:pt x="32214" y="11720"/>
                  </a:lnTo>
                  <a:lnTo>
                    <a:pt x="30604" y="10604"/>
                  </a:lnTo>
                  <a:lnTo>
                    <a:pt x="28993" y="8930"/>
                  </a:lnTo>
                  <a:lnTo>
                    <a:pt x="28993" y="7813"/>
                  </a:lnTo>
                  <a:lnTo>
                    <a:pt x="28993" y="6697"/>
                  </a:lnTo>
                  <a:lnTo>
                    <a:pt x="28993" y="3906"/>
                  </a:lnTo>
                  <a:lnTo>
                    <a:pt x="28993" y="3906"/>
                  </a:lnTo>
                  <a:lnTo>
                    <a:pt x="28993" y="3906"/>
                  </a:lnTo>
                  <a:lnTo>
                    <a:pt x="28993" y="2790"/>
                  </a:lnTo>
                  <a:lnTo>
                    <a:pt x="28993" y="1116"/>
                  </a:lnTo>
                  <a:lnTo>
                    <a:pt x="22550" y="1116"/>
                  </a:lnTo>
                  <a:lnTo>
                    <a:pt x="22550" y="1116"/>
                  </a:lnTo>
                  <a:lnTo>
                    <a:pt x="22550" y="1116"/>
                  </a:lnTo>
                  <a:lnTo>
                    <a:pt x="20939" y="1116"/>
                  </a:lnTo>
                  <a:lnTo>
                    <a:pt x="20939" y="1116"/>
                  </a:lnTo>
                  <a:lnTo>
                    <a:pt x="20939" y="1116"/>
                  </a:lnTo>
                  <a:lnTo>
                    <a:pt x="20939" y="0"/>
                  </a:lnTo>
                  <a:lnTo>
                    <a:pt x="20939" y="0"/>
                  </a:lnTo>
                  <a:lnTo>
                    <a:pt x="16912" y="2790"/>
                  </a:lnTo>
                  <a:lnTo>
                    <a:pt x="15302" y="3906"/>
                  </a:lnTo>
                  <a:lnTo>
                    <a:pt x="11275" y="7813"/>
                  </a:lnTo>
                  <a:lnTo>
                    <a:pt x="8053" y="10604"/>
                  </a:lnTo>
                  <a:lnTo>
                    <a:pt x="4026" y="12837"/>
                  </a:lnTo>
                  <a:lnTo>
                    <a:pt x="2416" y="14511"/>
                  </a:lnTo>
                  <a:lnTo>
                    <a:pt x="4026" y="18418"/>
                  </a:lnTo>
                  <a:lnTo>
                    <a:pt x="4026" y="18418"/>
                  </a:lnTo>
                  <a:lnTo>
                    <a:pt x="4026" y="19534"/>
                  </a:lnTo>
                  <a:lnTo>
                    <a:pt x="4026" y="19534"/>
                  </a:lnTo>
                  <a:lnTo>
                    <a:pt x="5637" y="21209"/>
                  </a:lnTo>
                  <a:lnTo>
                    <a:pt x="8053" y="21209"/>
                  </a:lnTo>
                  <a:lnTo>
                    <a:pt x="8053" y="21209"/>
                  </a:lnTo>
                  <a:lnTo>
                    <a:pt x="9664" y="22325"/>
                  </a:lnTo>
                  <a:lnTo>
                    <a:pt x="8053" y="25116"/>
                  </a:lnTo>
                  <a:lnTo>
                    <a:pt x="8053" y="25116"/>
                  </a:lnTo>
                  <a:lnTo>
                    <a:pt x="9664" y="27348"/>
                  </a:lnTo>
                  <a:lnTo>
                    <a:pt x="9664" y="27348"/>
                  </a:lnTo>
                  <a:lnTo>
                    <a:pt x="11275" y="30139"/>
                  </a:lnTo>
                  <a:lnTo>
                    <a:pt x="13691" y="31813"/>
                  </a:lnTo>
                  <a:lnTo>
                    <a:pt x="13691" y="31813"/>
                  </a:lnTo>
                  <a:lnTo>
                    <a:pt x="13691" y="32930"/>
                  </a:lnTo>
                  <a:lnTo>
                    <a:pt x="15302" y="34046"/>
                  </a:lnTo>
                  <a:lnTo>
                    <a:pt x="15302" y="34046"/>
                  </a:lnTo>
                  <a:lnTo>
                    <a:pt x="15302" y="34046"/>
                  </a:lnTo>
                  <a:lnTo>
                    <a:pt x="15302" y="35720"/>
                  </a:lnTo>
                  <a:lnTo>
                    <a:pt x="15302" y="35720"/>
                  </a:lnTo>
                  <a:lnTo>
                    <a:pt x="15302" y="37953"/>
                  </a:lnTo>
                  <a:lnTo>
                    <a:pt x="16912" y="40744"/>
                  </a:lnTo>
                  <a:lnTo>
                    <a:pt x="16912" y="41860"/>
                  </a:lnTo>
                  <a:lnTo>
                    <a:pt x="16912" y="43534"/>
                  </a:lnTo>
                  <a:lnTo>
                    <a:pt x="16912" y="44651"/>
                  </a:lnTo>
                  <a:lnTo>
                    <a:pt x="16912" y="44651"/>
                  </a:lnTo>
                  <a:lnTo>
                    <a:pt x="16912" y="46325"/>
                  </a:lnTo>
                  <a:lnTo>
                    <a:pt x="15302" y="46325"/>
                  </a:lnTo>
                  <a:lnTo>
                    <a:pt x="15302" y="47441"/>
                  </a:lnTo>
                  <a:lnTo>
                    <a:pt x="15302" y="47441"/>
                  </a:lnTo>
                  <a:lnTo>
                    <a:pt x="13691" y="48558"/>
                  </a:lnTo>
                  <a:lnTo>
                    <a:pt x="13691" y="50232"/>
                  </a:lnTo>
                  <a:lnTo>
                    <a:pt x="13691" y="50232"/>
                  </a:lnTo>
                  <a:lnTo>
                    <a:pt x="13691" y="50232"/>
                  </a:lnTo>
                  <a:lnTo>
                    <a:pt x="13691" y="50232"/>
                  </a:lnTo>
                  <a:lnTo>
                    <a:pt x="11275" y="50232"/>
                  </a:lnTo>
                  <a:lnTo>
                    <a:pt x="11275" y="51348"/>
                  </a:lnTo>
                  <a:lnTo>
                    <a:pt x="9664" y="51348"/>
                  </a:lnTo>
                  <a:lnTo>
                    <a:pt x="9664" y="52465"/>
                  </a:lnTo>
                  <a:lnTo>
                    <a:pt x="8053" y="54139"/>
                  </a:lnTo>
                  <a:lnTo>
                    <a:pt x="5637" y="56372"/>
                  </a:lnTo>
                  <a:lnTo>
                    <a:pt x="5637" y="56372"/>
                  </a:lnTo>
                  <a:lnTo>
                    <a:pt x="4026" y="58046"/>
                  </a:lnTo>
                  <a:lnTo>
                    <a:pt x="4026" y="59162"/>
                  </a:lnTo>
                  <a:lnTo>
                    <a:pt x="4026" y="60837"/>
                  </a:lnTo>
                  <a:lnTo>
                    <a:pt x="2416" y="60837"/>
                  </a:lnTo>
                  <a:lnTo>
                    <a:pt x="2416" y="61953"/>
                  </a:lnTo>
                  <a:lnTo>
                    <a:pt x="2416" y="64744"/>
                  </a:lnTo>
                  <a:lnTo>
                    <a:pt x="2416" y="69767"/>
                  </a:lnTo>
                  <a:lnTo>
                    <a:pt x="0" y="73674"/>
                  </a:lnTo>
                  <a:lnTo>
                    <a:pt x="0" y="76465"/>
                  </a:lnTo>
                  <a:lnTo>
                    <a:pt x="2416" y="76465"/>
                  </a:lnTo>
                  <a:lnTo>
                    <a:pt x="4026" y="76465"/>
                  </a:lnTo>
                  <a:lnTo>
                    <a:pt x="4026" y="77581"/>
                  </a:lnTo>
                  <a:lnTo>
                    <a:pt x="8053" y="79255"/>
                  </a:lnTo>
                  <a:lnTo>
                    <a:pt x="11275" y="80372"/>
                  </a:lnTo>
                  <a:lnTo>
                    <a:pt x="13691" y="81488"/>
                  </a:lnTo>
                  <a:lnTo>
                    <a:pt x="16912" y="83162"/>
                  </a:lnTo>
                  <a:lnTo>
                    <a:pt x="20939" y="84279"/>
                  </a:lnTo>
                  <a:lnTo>
                    <a:pt x="22550" y="85953"/>
                  </a:lnTo>
                  <a:lnTo>
                    <a:pt x="26577" y="87069"/>
                  </a:lnTo>
                  <a:lnTo>
                    <a:pt x="30604" y="88186"/>
                  </a:lnTo>
                  <a:lnTo>
                    <a:pt x="32214" y="89860"/>
                  </a:lnTo>
                  <a:lnTo>
                    <a:pt x="36241" y="90976"/>
                  </a:lnTo>
                  <a:lnTo>
                    <a:pt x="40268" y="92093"/>
                  </a:lnTo>
                  <a:lnTo>
                    <a:pt x="41879" y="93767"/>
                  </a:lnTo>
                  <a:lnTo>
                    <a:pt x="45906" y="96000"/>
                  </a:lnTo>
                  <a:lnTo>
                    <a:pt x="49127" y="97674"/>
                  </a:lnTo>
                  <a:lnTo>
                    <a:pt x="51543" y="98790"/>
                  </a:lnTo>
                  <a:lnTo>
                    <a:pt x="55570" y="100465"/>
                  </a:lnTo>
                  <a:lnTo>
                    <a:pt x="57181" y="100465"/>
                  </a:lnTo>
                  <a:lnTo>
                    <a:pt x="57181" y="100465"/>
                  </a:lnTo>
                  <a:lnTo>
                    <a:pt x="57181" y="101581"/>
                  </a:lnTo>
                  <a:lnTo>
                    <a:pt x="57181" y="102697"/>
                  </a:lnTo>
                  <a:lnTo>
                    <a:pt x="57181" y="104372"/>
                  </a:lnTo>
                  <a:lnTo>
                    <a:pt x="57181" y="104372"/>
                  </a:lnTo>
                  <a:lnTo>
                    <a:pt x="55570" y="105488"/>
                  </a:lnTo>
                  <a:lnTo>
                    <a:pt x="55570" y="105488"/>
                  </a:lnTo>
                  <a:lnTo>
                    <a:pt x="57181" y="105488"/>
                  </a:lnTo>
                  <a:lnTo>
                    <a:pt x="57181" y="105488"/>
                  </a:lnTo>
                  <a:lnTo>
                    <a:pt x="57181" y="106604"/>
                  </a:lnTo>
                  <a:lnTo>
                    <a:pt x="57181" y="106604"/>
                  </a:lnTo>
                  <a:lnTo>
                    <a:pt x="58791" y="106604"/>
                  </a:lnTo>
                  <a:lnTo>
                    <a:pt x="58791" y="108279"/>
                  </a:lnTo>
                  <a:lnTo>
                    <a:pt x="61208" y="108279"/>
                  </a:lnTo>
                  <a:lnTo>
                    <a:pt x="62818" y="109395"/>
                  </a:lnTo>
                  <a:lnTo>
                    <a:pt x="66845" y="112186"/>
                  </a:lnTo>
                  <a:lnTo>
                    <a:pt x="68456" y="113302"/>
                  </a:lnTo>
                  <a:lnTo>
                    <a:pt x="72483" y="114976"/>
                  </a:lnTo>
                  <a:lnTo>
                    <a:pt x="74093" y="116093"/>
                  </a:lnTo>
                  <a:lnTo>
                    <a:pt x="75704" y="117209"/>
                  </a:lnTo>
                  <a:lnTo>
                    <a:pt x="78120" y="118883"/>
                  </a:lnTo>
                  <a:lnTo>
                    <a:pt x="79731" y="120000"/>
                  </a:lnTo>
                  <a:lnTo>
                    <a:pt x="79731" y="120000"/>
                  </a:lnTo>
                  <a:lnTo>
                    <a:pt x="79731" y="120000"/>
                  </a:lnTo>
                  <a:lnTo>
                    <a:pt x="82147" y="118883"/>
                  </a:lnTo>
                  <a:lnTo>
                    <a:pt x="82147" y="118883"/>
                  </a:lnTo>
                  <a:lnTo>
                    <a:pt x="83758" y="117209"/>
                  </a:lnTo>
                  <a:lnTo>
                    <a:pt x="85369" y="113302"/>
                  </a:lnTo>
                  <a:lnTo>
                    <a:pt x="87785" y="113302"/>
                  </a:lnTo>
                  <a:lnTo>
                    <a:pt x="87785" y="112186"/>
                  </a:lnTo>
                  <a:lnTo>
                    <a:pt x="87785" y="112186"/>
                  </a:lnTo>
                  <a:lnTo>
                    <a:pt x="87785" y="110511"/>
                  </a:lnTo>
                  <a:lnTo>
                    <a:pt x="87785" y="110511"/>
                  </a:lnTo>
                  <a:lnTo>
                    <a:pt x="89395" y="109395"/>
                  </a:lnTo>
                  <a:lnTo>
                    <a:pt x="89395" y="106604"/>
                  </a:lnTo>
                  <a:lnTo>
                    <a:pt x="91006" y="106604"/>
                  </a:lnTo>
                  <a:lnTo>
                    <a:pt x="91006" y="105488"/>
                  </a:lnTo>
                  <a:lnTo>
                    <a:pt x="91006" y="104372"/>
                  </a:lnTo>
                  <a:lnTo>
                    <a:pt x="93422" y="102697"/>
                  </a:lnTo>
                  <a:lnTo>
                    <a:pt x="93422" y="101581"/>
                  </a:lnTo>
                  <a:lnTo>
                    <a:pt x="95033" y="100465"/>
                  </a:lnTo>
                  <a:lnTo>
                    <a:pt x="95033" y="97674"/>
                  </a:lnTo>
                  <a:lnTo>
                    <a:pt x="95033" y="96000"/>
                  </a:lnTo>
                  <a:lnTo>
                    <a:pt x="96644" y="94883"/>
                  </a:lnTo>
                  <a:lnTo>
                    <a:pt x="99060" y="94883"/>
                  </a:lnTo>
                  <a:lnTo>
                    <a:pt x="100671" y="94883"/>
                  </a:lnTo>
                  <a:lnTo>
                    <a:pt x="104697" y="92093"/>
                  </a:lnTo>
                  <a:lnTo>
                    <a:pt x="104697" y="92093"/>
                  </a:lnTo>
                  <a:lnTo>
                    <a:pt x="106308" y="90976"/>
                  </a:lnTo>
                  <a:lnTo>
                    <a:pt x="106308" y="90976"/>
                  </a:lnTo>
                  <a:lnTo>
                    <a:pt x="106308" y="89860"/>
                  </a:lnTo>
                  <a:lnTo>
                    <a:pt x="104697" y="88186"/>
                  </a:lnTo>
                  <a:lnTo>
                    <a:pt x="106308" y="88186"/>
                  </a:lnTo>
                  <a:lnTo>
                    <a:pt x="106308" y="88186"/>
                  </a:lnTo>
                  <a:lnTo>
                    <a:pt x="106308" y="88186"/>
                  </a:lnTo>
                  <a:lnTo>
                    <a:pt x="106308" y="87069"/>
                  </a:lnTo>
                  <a:lnTo>
                    <a:pt x="108724" y="88186"/>
                  </a:lnTo>
                  <a:lnTo>
                    <a:pt x="108724" y="88186"/>
                  </a:lnTo>
                  <a:lnTo>
                    <a:pt x="110335" y="87069"/>
                  </a:lnTo>
                  <a:lnTo>
                    <a:pt x="111946" y="87069"/>
                  </a:lnTo>
                  <a:lnTo>
                    <a:pt x="115973" y="84279"/>
                  </a:lnTo>
                  <a:lnTo>
                    <a:pt x="115973" y="83162"/>
                  </a:lnTo>
                  <a:lnTo>
                    <a:pt x="114362" y="83162"/>
                  </a:lnTo>
                  <a:lnTo>
                    <a:pt x="114362" y="81488"/>
                  </a:lnTo>
                  <a:lnTo>
                    <a:pt x="110335" y="79255"/>
                  </a:lnTo>
                  <a:lnTo>
                    <a:pt x="108724" y="76465"/>
                  </a:lnTo>
                  <a:lnTo>
                    <a:pt x="106308" y="75348"/>
                  </a:lnTo>
                  <a:lnTo>
                    <a:pt x="106308" y="73674"/>
                  </a:lnTo>
                  <a:lnTo>
                    <a:pt x="106308" y="68651"/>
                  </a:lnTo>
                  <a:lnTo>
                    <a:pt x="106308" y="58046"/>
                  </a:lnTo>
                  <a:lnTo>
                    <a:pt x="106308" y="48558"/>
                  </a:lnTo>
                  <a:lnTo>
                    <a:pt x="106308" y="37953"/>
                  </a:lnTo>
                  <a:lnTo>
                    <a:pt x="106308" y="32930"/>
                  </a:lnTo>
                  <a:lnTo>
                    <a:pt x="106308" y="31813"/>
                  </a:lnTo>
                  <a:lnTo>
                    <a:pt x="106308" y="31813"/>
                  </a:lnTo>
                  <a:lnTo>
                    <a:pt x="108724" y="29023"/>
                  </a:lnTo>
                  <a:lnTo>
                    <a:pt x="111946" y="26232"/>
                  </a:lnTo>
                  <a:lnTo>
                    <a:pt x="115973" y="22325"/>
                  </a:lnTo>
                  <a:lnTo>
                    <a:pt x="117583" y="19534"/>
                  </a:lnTo>
                  <a:lnTo>
                    <a:pt x="120000" y="18418"/>
                  </a:lnTo>
                  <a:lnTo>
                    <a:pt x="117583" y="18418"/>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56" name="Shape 456"/>
            <p:cNvSpPr/>
            <p:nvPr/>
          </p:nvSpPr>
          <p:spPr>
            <a:xfrm>
              <a:off x="4285" y="2103"/>
              <a:ext cx="0" cy="0"/>
            </a:xfrm>
            <a:custGeom>
              <a:avLst/>
              <a:gdLst/>
              <a:ahLst/>
              <a:cxnLst/>
              <a:rect l="0" t="0" r="0" b="0"/>
              <a:pathLst>
                <a:path w="120000" h="120000" extrusionOk="0">
                  <a:moveTo>
                    <a:pt x="119999" y="28636"/>
                  </a:moveTo>
                  <a:lnTo>
                    <a:pt x="115068" y="28636"/>
                  </a:lnTo>
                  <a:lnTo>
                    <a:pt x="111780" y="32727"/>
                  </a:lnTo>
                  <a:lnTo>
                    <a:pt x="111780" y="25909"/>
                  </a:lnTo>
                  <a:lnTo>
                    <a:pt x="111780" y="25909"/>
                  </a:lnTo>
                  <a:lnTo>
                    <a:pt x="111780" y="19090"/>
                  </a:lnTo>
                  <a:lnTo>
                    <a:pt x="108493" y="13636"/>
                  </a:lnTo>
                  <a:lnTo>
                    <a:pt x="103561" y="6818"/>
                  </a:lnTo>
                  <a:lnTo>
                    <a:pt x="103561" y="0"/>
                  </a:lnTo>
                  <a:lnTo>
                    <a:pt x="95342" y="2727"/>
                  </a:lnTo>
                  <a:lnTo>
                    <a:pt x="88767" y="9545"/>
                  </a:lnTo>
                  <a:lnTo>
                    <a:pt x="83835" y="13636"/>
                  </a:lnTo>
                  <a:lnTo>
                    <a:pt x="72328" y="16363"/>
                  </a:lnTo>
                  <a:lnTo>
                    <a:pt x="69041" y="19090"/>
                  </a:lnTo>
                  <a:lnTo>
                    <a:pt x="60821" y="23181"/>
                  </a:lnTo>
                  <a:lnTo>
                    <a:pt x="57534" y="25909"/>
                  </a:lnTo>
                  <a:lnTo>
                    <a:pt x="49315" y="32727"/>
                  </a:lnTo>
                  <a:lnTo>
                    <a:pt x="37808" y="28636"/>
                  </a:lnTo>
                  <a:lnTo>
                    <a:pt x="34520" y="28636"/>
                  </a:lnTo>
                  <a:lnTo>
                    <a:pt x="34520" y="25909"/>
                  </a:lnTo>
                  <a:lnTo>
                    <a:pt x="29589" y="25909"/>
                  </a:lnTo>
                  <a:lnTo>
                    <a:pt x="26301" y="25909"/>
                  </a:lnTo>
                  <a:lnTo>
                    <a:pt x="23013" y="19090"/>
                  </a:lnTo>
                  <a:lnTo>
                    <a:pt x="23013" y="19090"/>
                  </a:lnTo>
                  <a:lnTo>
                    <a:pt x="18082" y="19090"/>
                  </a:lnTo>
                  <a:lnTo>
                    <a:pt x="14794" y="19090"/>
                  </a:lnTo>
                  <a:lnTo>
                    <a:pt x="11506" y="19090"/>
                  </a:lnTo>
                  <a:lnTo>
                    <a:pt x="11506" y="19090"/>
                  </a:lnTo>
                  <a:lnTo>
                    <a:pt x="11506" y="23181"/>
                  </a:lnTo>
                  <a:lnTo>
                    <a:pt x="11506" y="23181"/>
                  </a:lnTo>
                  <a:lnTo>
                    <a:pt x="11506" y="28636"/>
                  </a:lnTo>
                  <a:lnTo>
                    <a:pt x="11506" y="32727"/>
                  </a:lnTo>
                  <a:lnTo>
                    <a:pt x="11506" y="35454"/>
                  </a:lnTo>
                  <a:lnTo>
                    <a:pt x="11506" y="42272"/>
                  </a:lnTo>
                  <a:lnTo>
                    <a:pt x="14794" y="45000"/>
                  </a:lnTo>
                  <a:lnTo>
                    <a:pt x="11506" y="49090"/>
                  </a:lnTo>
                  <a:lnTo>
                    <a:pt x="11506" y="51818"/>
                  </a:lnTo>
                  <a:lnTo>
                    <a:pt x="11506" y="54545"/>
                  </a:lnTo>
                  <a:lnTo>
                    <a:pt x="11506" y="58636"/>
                  </a:lnTo>
                  <a:lnTo>
                    <a:pt x="11506" y="58636"/>
                  </a:lnTo>
                  <a:lnTo>
                    <a:pt x="11506" y="61363"/>
                  </a:lnTo>
                  <a:lnTo>
                    <a:pt x="11506" y="61363"/>
                  </a:lnTo>
                  <a:lnTo>
                    <a:pt x="11506" y="64090"/>
                  </a:lnTo>
                  <a:lnTo>
                    <a:pt x="11506" y="68181"/>
                  </a:lnTo>
                  <a:lnTo>
                    <a:pt x="6575" y="73636"/>
                  </a:lnTo>
                  <a:lnTo>
                    <a:pt x="6575" y="73636"/>
                  </a:lnTo>
                  <a:lnTo>
                    <a:pt x="6575" y="77727"/>
                  </a:lnTo>
                  <a:lnTo>
                    <a:pt x="3287" y="84545"/>
                  </a:lnTo>
                  <a:lnTo>
                    <a:pt x="3287" y="84545"/>
                  </a:lnTo>
                  <a:lnTo>
                    <a:pt x="3287" y="87272"/>
                  </a:lnTo>
                  <a:lnTo>
                    <a:pt x="3287" y="90000"/>
                  </a:lnTo>
                  <a:lnTo>
                    <a:pt x="3287" y="94090"/>
                  </a:lnTo>
                  <a:lnTo>
                    <a:pt x="3287" y="96818"/>
                  </a:lnTo>
                  <a:lnTo>
                    <a:pt x="3287" y="99545"/>
                  </a:lnTo>
                  <a:lnTo>
                    <a:pt x="3287" y="103636"/>
                  </a:lnTo>
                  <a:lnTo>
                    <a:pt x="3287" y="109090"/>
                  </a:lnTo>
                  <a:lnTo>
                    <a:pt x="3287" y="113181"/>
                  </a:lnTo>
                  <a:lnTo>
                    <a:pt x="0" y="115909"/>
                  </a:lnTo>
                  <a:lnTo>
                    <a:pt x="6575" y="115909"/>
                  </a:lnTo>
                  <a:lnTo>
                    <a:pt x="11506" y="115909"/>
                  </a:lnTo>
                  <a:lnTo>
                    <a:pt x="18082" y="120000"/>
                  </a:lnTo>
                  <a:lnTo>
                    <a:pt x="26301" y="120000"/>
                  </a:lnTo>
                  <a:lnTo>
                    <a:pt x="34520" y="120000"/>
                  </a:lnTo>
                  <a:lnTo>
                    <a:pt x="34520" y="120000"/>
                  </a:lnTo>
                  <a:lnTo>
                    <a:pt x="41095" y="115909"/>
                  </a:lnTo>
                  <a:lnTo>
                    <a:pt x="46027" y="113181"/>
                  </a:lnTo>
                  <a:lnTo>
                    <a:pt x="49315" y="106363"/>
                  </a:lnTo>
                  <a:lnTo>
                    <a:pt x="49315" y="103636"/>
                  </a:lnTo>
                  <a:lnTo>
                    <a:pt x="54246" y="99545"/>
                  </a:lnTo>
                  <a:lnTo>
                    <a:pt x="57534" y="99545"/>
                  </a:lnTo>
                  <a:lnTo>
                    <a:pt x="65753" y="99545"/>
                  </a:lnTo>
                  <a:lnTo>
                    <a:pt x="72328" y="96818"/>
                  </a:lnTo>
                  <a:lnTo>
                    <a:pt x="72328" y="96818"/>
                  </a:lnTo>
                  <a:lnTo>
                    <a:pt x="77260" y="94090"/>
                  </a:lnTo>
                  <a:lnTo>
                    <a:pt x="77260" y="87272"/>
                  </a:lnTo>
                  <a:lnTo>
                    <a:pt x="77260" y="87272"/>
                  </a:lnTo>
                  <a:lnTo>
                    <a:pt x="77260" y="87272"/>
                  </a:lnTo>
                  <a:lnTo>
                    <a:pt x="83835" y="84545"/>
                  </a:lnTo>
                  <a:lnTo>
                    <a:pt x="88767" y="84545"/>
                  </a:lnTo>
                  <a:lnTo>
                    <a:pt x="80547" y="77727"/>
                  </a:lnTo>
                  <a:lnTo>
                    <a:pt x="77260" y="73636"/>
                  </a:lnTo>
                  <a:lnTo>
                    <a:pt x="72328" y="68181"/>
                  </a:lnTo>
                  <a:lnTo>
                    <a:pt x="65753" y="64090"/>
                  </a:lnTo>
                  <a:lnTo>
                    <a:pt x="60821" y="58636"/>
                  </a:lnTo>
                  <a:lnTo>
                    <a:pt x="54246" y="54545"/>
                  </a:lnTo>
                  <a:lnTo>
                    <a:pt x="60821" y="51818"/>
                  </a:lnTo>
                  <a:lnTo>
                    <a:pt x="69041" y="51818"/>
                  </a:lnTo>
                  <a:lnTo>
                    <a:pt x="77260" y="49090"/>
                  </a:lnTo>
                  <a:lnTo>
                    <a:pt x="88767" y="45000"/>
                  </a:lnTo>
                  <a:lnTo>
                    <a:pt x="95342" y="45000"/>
                  </a:lnTo>
                  <a:lnTo>
                    <a:pt x="108493" y="42272"/>
                  </a:lnTo>
                  <a:lnTo>
                    <a:pt x="111780" y="38181"/>
                  </a:lnTo>
                  <a:lnTo>
                    <a:pt x="111780" y="38181"/>
                  </a:lnTo>
                  <a:lnTo>
                    <a:pt x="115068" y="35454"/>
                  </a:lnTo>
                  <a:lnTo>
                    <a:pt x="119999" y="32727"/>
                  </a:lnTo>
                  <a:lnTo>
                    <a:pt x="119999" y="28636"/>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57" name="Shape 457"/>
            <p:cNvSpPr/>
            <p:nvPr/>
          </p:nvSpPr>
          <p:spPr>
            <a:xfrm>
              <a:off x="3643" y="1771"/>
              <a:ext cx="0" cy="0"/>
            </a:xfrm>
            <a:custGeom>
              <a:avLst/>
              <a:gdLst/>
              <a:ahLst/>
              <a:cxnLst/>
              <a:rect l="0" t="0" r="0" b="0"/>
              <a:pathLst>
                <a:path w="120000" h="120000" extrusionOk="0">
                  <a:moveTo>
                    <a:pt x="120000" y="0"/>
                  </a:moveTo>
                  <a:lnTo>
                    <a:pt x="120000" y="0"/>
                  </a:lnTo>
                  <a:lnTo>
                    <a:pt x="0" y="0"/>
                  </a:lnTo>
                  <a:lnTo>
                    <a:pt x="0" y="0"/>
                  </a:lnTo>
                  <a:lnTo>
                    <a:pt x="0" y="0"/>
                  </a:lnTo>
                  <a:lnTo>
                    <a:pt x="120000" y="0"/>
                  </a:lnTo>
                  <a:lnTo>
                    <a:pt x="120000" y="120000"/>
                  </a:lnTo>
                  <a:lnTo>
                    <a:pt x="120000" y="0"/>
                  </a:lnTo>
                  <a:lnTo>
                    <a:pt x="120000" y="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58" name="Shape 458"/>
            <p:cNvSpPr/>
            <p:nvPr/>
          </p:nvSpPr>
          <p:spPr>
            <a:xfrm>
              <a:off x="5946" y="1848"/>
              <a:ext cx="300" cy="300"/>
            </a:xfrm>
            <a:custGeom>
              <a:avLst/>
              <a:gdLst/>
              <a:ahLst/>
              <a:cxnLst/>
              <a:rect l="0" t="0" r="0" b="0"/>
              <a:pathLst>
                <a:path w="120000" h="120000" extrusionOk="0">
                  <a:moveTo>
                    <a:pt x="15824" y="108590"/>
                  </a:moveTo>
                  <a:lnTo>
                    <a:pt x="15824" y="108590"/>
                  </a:lnTo>
                  <a:lnTo>
                    <a:pt x="17142" y="107803"/>
                  </a:lnTo>
                  <a:lnTo>
                    <a:pt x="17142" y="107803"/>
                  </a:lnTo>
                  <a:lnTo>
                    <a:pt x="15824" y="107803"/>
                  </a:lnTo>
                  <a:lnTo>
                    <a:pt x="13846" y="107803"/>
                  </a:lnTo>
                  <a:lnTo>
                    <a:pt x="13846" y="108590"/>
                  </a:lnTo>
                  <a:lnTo>
                    <a:pt x="15824" y="108590"/>
                  </a:lnTo>
                  <a:close/>
                  <a:moveTo>
                    <a:pt x="12527" y="107803"/>
                  </a:moveTo>
                  <a:lnTo>
                    <a:pt x="11208" y="107803"/>
                  </a:lnTo>
                  <a:lnTo>
                    <a:pt x="12527" y="107803"/>
                  </a:lnTo>
                  <a:lnTo>
                    <a:pt x="12527" y="108590"/>
                  </a:lnTo>
                  <a:lnTo>
                    <a:pt x="12527" y="109770"/>
                  </a:lnTo>
                  <a:lnTo>
                    <a:pt x="12527" y="109770"/>
                  </a:lnTo>
                  <a:lnTo>
                    <a:pt x="12527" y="109770"/>
                  </a:lnTo>
                  <a:lnTo>
                    <a:pt x="12527" y="109770"/>
                  </a:lnTo>
                  <a:lnTo>
                    <a:pt x="12527" y="110557"/>
                  </a:lnTo>
                  <a:lnTo>
                    <a:pt x="13846" y="109770"/>
                  </a:lnTo>
                  <a:lnTo>
                    <a:pt x="13846" y="108590"/>
                  </a:lnTo>
                  <a:lnTo>
                    <a:pt x="13846" y="107803"/>
                  </a:lnTo>
                  <a:lnTo>
                    <a:pt x="12527" y="107803"/>
                  </a:lnTo>
                  <a:close/>
                  <a:moveTo>
                    <a:pt x="1318" y="100327"/>
                  </a:moveTo>
                  <a:lnTo>
                    <a:pt x="1318" y="101114"/>
                  </a:lnTo>
                  <a:lnTo>
                    <a:pt x="0" y="101114"/>
                  </a:lnTo>
                  <a:lnTo>
                    <a:pt x="1318" y="101114"/>
                  </a:lnTo>
                  <a:lnTo>
                    <a:pt x="0" y="102295"/>
                  </a:lnTo>
                  <a:lnTo>
                    <a:pt x="1318" y="102295"/>
                  </a:lnTo>
                  <a:lnTo>
                    <a:pt x="1318" y="101114"/>
                  </a:lnTo>
                  <a:lnTo>
                    <a:pt x="1318" y="101114"/>
                  </a:lnTo>
                  <a:lnTo>
                    <a:pt x="1318" y="100327"/>
                  </a:lnTo>
                  <a:lnTo>
                    <a:pt x="1318" y="100327"/>
                  </a:lnTo>
                  <a:close/>
                  <a:moveTo>
                    <a:pt x="29670" y="116065"/>
                  </a:moveTo>
                  <a:lnTo>
                    <a:pt x="29670" y="116065"/>
                  </a:lnTo>
                  <a:lnTo>
                    <a:pt x="30989" y="117245"/>
                  </a:lnTo>
                  <a:lnTo>
                    <a:pt x="32967" y="117245"/>
                  </a:lnTo>
                  <a:lnTo>
                    <a:pt x="32967" y="114491"/>
                  </a:lnTo>
                  <a:lnTo>
                    <a:pt x="32967" y="113311"/>
                  </a:lnTo>
                  <a:lnTo>
                    <a:pt x="30989" y="112524"/>
                  </a:lnTo>
                  <a:lnTo>
                    <a:pt x="30989" y="111344"/>
                  </a:lnTo>
                  <a:lnTo>
                    <a:pt x="30989" y="110557"/>
                  </a:lnTo>
                  <a:lnTo>
                    <a:pt x="30989" y="109770"/>
                  </a:lnTo>
                  <a:lnTo>
                    <a:pt x="30989" y="108590"/>
                  </a:lnTo>
                  <a:lnTo>
                    <a:pt x="30989" y="107803"/>
                  </a:lnTo>
                  <a:lnTo>
                    <a:pt x="30989" y="107016"/>
                  </a:lnTo>
                  <a:lnTo>
                    <a:pt x="32967" y="105049"/>
                  </a:lnTo>
                  <a:lnTo>
                    <a:pt x="32967" y="105049"/>
                  </a:lnTo>
                  <a:lnTo>
                    <a:pt x="32967" y="104262"/>
                  </a:lnTo>
                  <a:lnTo>
                    <a:pt x="30989" y="104262"/>
                  </a:lnTo>
                  <a:lnTo>
                    <a:pt x="30989" y="103081"/>
                  </a:lnTo>
                  <a:lnTo>
                    <a:pt x="30989" y="103081"/>
                  </a:lnTo>
                  <a:lnTo>
                    <a:pt x="30989" y="103081"/>
                  </a:lnTo>
                  <a:lnTo>
                    <a:pt x="29670" y="102295"/>
                  </a:lnTo>
                  <a:lnTo>
                    <a:pt x="29670" y="102295"/>
                  </a:lnTo>
                  <a:lnTo>
                    <a:pt x="29670" y="101114"/>
                  </a:lnTo>
                  <a:lnTo>
                    <a:pt x="28351" y="101114"/>
                  </a:lnTo>
                  <a:lnTo>
                    <a:pt x="25054" y="101114"/>
                  </a:lnTo>
                  <a:lnTo>
                    <a:pt x="25054" y="100327"/>
                  </a:lnTo>
                  <a:lnTo>
                    <a:pt x="26373" y="99540"/>
                  </a:lnTo>
                  <a:lnTo>
                    <a:pt x="26373" y="99540"/>
                  </a:lnTo>
                  <a:lnTo>
                    <a:pt x="25054" y="98360"/>
                  </a:lnTo>
                  <a:lnTo>
                    <a:pt x="25054" y="98360"/>
                  </a:lnTo>
                  <a:lnTo>
                    <a:pt x="23076" y="98360"/>
                  </a:lnTo>
                  <a:lnTo>
                    <a:pt x="23076" y="98360"/>
                  </a:lnTo>
                  <a:lnTo>
                    <a:pt x="21758" y="98360"/>
                  </a:lnTo>
                  <a:lnTo>
                    <a:pt x="21758" y="98360"/>
                  </a:lnTo>
                  <a:lnTo>
                    <a:pt x="21758" y="98360"/>
                  </a:lnTo>
                  <a:lnTo>
                    <a:pt x="18461" y="98360"/>
                  </a:lnTo>
                  <a:lnTo>
                    <a:pt x="17142" y="97573"/>
                  </a:lnTo>
                  <a:lnTo>
                    <a:pt x="17142" y="97573"/>
                  </a:lnTo>
                  <a:lnTo>
                    <a:pt x="15824" y="96786"/>
                  </a:lnTo>
                  <a:lnTo>
                    <a:pt x="13846" y="95606"/>
                  </a:lnTo>
                  <a:lnTo>
                    <a:pt x="12527" y="95606"/>
                  </a:lnTo>
                  <a:lnTo>
                    <a:pt x="12527" y="95606"/>
                  </a:lnTo>
                  <a:lnTo>
                    <a:pt x="9230" y="96786"/>
                  </a:lnTo>
                  <a:lnTo>
                    <a:pt x="9230" y="96786"/>
                  </a:lnTo>
                  <a:lnTo>
                    <a:pt x="9230" y="97573"/>
                  </a:lnTo>
                  <a:lnTo>
                    <a:pt x="9230" y="98360"/>
                  </a:lnTo>
                  <a:lnTo>
                    <a:pt x="9230" y="98360"/>
                  </a:lnTo>
                  <a:lnTo>
                    <a:pt x="7912" y="98360"/>
                  </a:lnTo>
                  <a:lnTo>
                    <a:pt x="7912" y="98360"/>
                  </a:lnTo>
                  <a:lnTo>
                    <a:pt x="7912" y="99540"/>
                  </a:lnTo>
                  <a:lnTo>
                    <a:pt x="6593" y="99540"/>
                  </a:lnTo>
                  <a:lnTo>
                    <a:pt x="4615" y="99540"/>
                  </a:lnTo>
                  <a:lnTo>
                    <a:pt x="4615" y="100327"/>
                  </a:lnTo>
                  <a:lnTo>
                    <a:pt x="4615" y="100327"/>
                  </a:lnTo>
                  <a:lnTo>
                    <a:pt x="4615" y="100327"/>
                  </a:lnTo>
                  <a:lnTo>
                    <a:pt x="4615" y="101114"/>
                  </a:lnTo>
                  <a:lnTo>
                    <a:pt x="3296" y="100327"/>
                  </a:lnTo>
                  <a:lnTo>
                    <a:pt x="3296" y="100327"/>
                  </a:lnTo>
                  <a:lnTo>
                    <a:pt x="3296" y="100327"/>
                  </a:lnTo>
                  <a:lnTo>
                    <a:pt x="3296" y="101114"/>
                  </a:lnTo>
                  <a:lnTo>
                    <a:pt x="4615" y="102295"/>
                  </a:lnTo>
                  <a:lnTo>
                    <a:pt x="6593" y="103081"/>
                  </a:lnTo>
                  <a:lnTo>
                    <a:pt x="7912" y="103081"/>
                  </a:lnTo>
                  <a:lnTo>
                    <a:pt x="7912" y="104262"/>
                  </a:lnTo>
                  <a:lnTo>
                    <a:pt x="9230" y="105049"/>
                  </a:lnTo>
                  <a:lnTo>
                    <a:pt x="7912" y="105049"/>
                  </a:lnTo>
                  <a:lnTo>
                    <a:pt x="7912" y="104262"/>
                  </a:lnTo>
                  <a:lnTo>
                    <a:pt x="6593" y="104262"/>
                  </a:lnTo>
                  <a:lnTo>
                    <a:pt x="4615" y="103081"/>
                  </a:lnTo>
                  <a:lnTo>
                    <a:pt x="4615" y="104262"/>
                  </a:lnTo>
                  <a:lnTo>
                    <a:pt x="4615" y="104262"/>
                  </a:lnTo>
                  <a:lnTo>
                    <a:pt x="6593" y="105049"/>
                  </a:lnTo>
                  <a:lnTo>
                    <a:pt x="7912" y="105049"/>
                  </a:lnTo>
                  <a:lnTo>
                    <a:pt x="7912" y="105836"/>
                  </a:lnTo>
                  <a:lnTo>
                    <a:pt x="7912" y="107016"/>
                  </a:lnTo>
                  <a:lnTo>
                    <a:pt x="7912" y="107016"/>
                  </a:lnTo>
                  <a:lnTo>
                    <a:pt x="9230" y="107016"/>
                  </a:lnTo>
                  <a:lnTo>
                    <a:pt x="9230" y="105836"/>
                  </a:lnTo>
                  <a:lnTo>
                    <a:pt x="11208" y="105836"/>
                  </a:lnTo>
                  <a:lnTo>
                    <a:pt x="12527" y="105836"/>
                  </a:lnTo>
                  <a:lnTo>
                    <a:pt x="12527" y="105836"/>
                  </a:lnTo>
                  <a:lnTo>
                    <a:pt x="13846" y="105836"/>
                  </a:lnTo>
                  <a:lnTo>
                    <a:pt x="13846" y="105836"/>
                  </a:lnTo>
                  <a:lnTo>
                    <a:pt x="13846" y="105836"/>
                  </a:lnTo>
                  <a:lnTo>
                    <a:pt x="13846" y="105836"/>
                  </a:lnTo>
                  <a:lnTo>
                    <a:pt x="13846" y="105049"/>
                  </a:lnTo>
                  <a:lnTo>
                    <a:pt x="13846" y="105049"/>
                  </a:lnTo>
                  <a:lnTo>
                    <a:pt x="12527" y="105049"/>
                  </a:lnTo>
                  <a:lnTo>
                    <a:pt x="12527" y="105049"/>
                  </a:lnTo>
                  <a:lnTo>
                    <a:pt x="11208" y="105049"/>
                  </a:lnTo>
                  <a:lnTo>
                    <a:pt x="11208" y="104262"/>
                  </a:lnTo>
                  <a:lnTo>
                    <a:pt x="11208" y="103081"/>
                  </a:lnTo>
                  <a:lnTo>
                    <a:pt x="9230" y="103081"/>
                  </a:lnTo>
                  <a:lnTo>
                    <a:pt x="9230" y="102295"/>
                  </a:lnTo>
                  <a:lnTo>
                    <a:pt x="11208" y="102295"/>
                  </a:lnTo>
                  <a:lnTo>
                    <a:pt x="11208" y="102295"/>
                  </a:lnTo>
                  <a:lnTo>
                    <a:pt x="12527" y="103081"/>
                  </a:lnTo>
                  <a:lnTo>
                    <a:pt x="13846" y="104262"/>
                  </a:lnTo>
                  <a:lnTo>
                    <a:pt x="15824" y="105049"/>
                  </a:lnTo>
                  <a:lnTo>
                    <a:pt x="17142" y="105836"/>
                  </a:lnTo>
                  <a:lnTo>
                    <a:pt x="17142" y="107016"/>
                  </a:lnTo>
                  <a:lnTo>
                    <a:pt x="17142" y="107016"/>
                  </a:lnTo>
                  <a:lnTo>
                    <a:pt x="18461" y="107016"/>
                  </a:lnTo>
                  <a:lnTo>
                    <a:pt x="18461" y="107803"/>
                  </a:lnTo>
                  <a:lnTo>
                    <a:pt x="17142" y="109770"/>
                  </a:lnTo>
                  <a:lnTo>
                    <a:pt x="17142" y="109770"/>
                  </a:lnTo>
                  <a:lnTo>
                    <a:pt x="17142" y="110557"/>
                  </a:lnTo>
                  <a:lnTo>
                    <a:pt x="15824" y="110557"/>
                  </a:lnTo>
                  <a:lnTo>
                    <a:pt x="15824" y="111344"/>
                  </a:lnTo>
                  <a:lnTo>
                    <a:pt x="17142" y="112524"/>
                  </a:lnTo>
                  <a:lnTo>
                    <a:pt x="17142" y="113311"/>
                  </a:lnTo>
                  <a:lnTo>
                    <a:pt x="17142" y="113311"/>
                  </a:lnTo>
                  <a:lnTo>
                    <a:pt x="17142" y="114491"/>
                  </a:lnTo>
                  <a:lnTo>
                    <a:pt x="18461" y="114491"/>
                  </a:lnTo>
                  <a:lnTo>
                    <a:pt x="20439" y="115278"/>
                  </a:lnTo>
                  <a:lnTo>
                    <a:pt x="20439" y="116065"/>
                  </a:lnTo>
                  <a:lnTo>
                    <a:pt x="20439" y="116065"/>
                  </a:lnTo>
                  <a:lnTo>
                    <a:pt x="20439" y="116065"/>
                  </a:lnTo>
                  <a:lnTo>
                    <a:pt x="18461" y="117245"/>
                  </a:lnTo>
                  <a:lnTo>
                    <a:pt x="20439" y="118032"/>
                  </a:lnTo>
                  <a:lnTo>
                    <a:pt x="20439" y="118032"/>
                  </a:lnTo>
                  <a:lnTo>
                    <a:pt x="21758" y="118032"/>
                  </a:lnTo>
                  <a:lnTo>
                    <a:pt x="25054" y="118819"/>
                  </a:lnTo>
                  <a:lnTo>
                    <a:pt x="25054" y="118032"/>
                  </a:lnTo>
                  <a:lnTo>
                    <a:pt x="25054" y="118032"/>
                  </a:lnTo>
                  <a:lnTo>
                    <a:pt x="23076" y="117245"/>
                  </a:lnTo>
                  <a:lnTo>
                    <a:pt x="23076" y="117245"/>
                  </a:lnTo>
                  <a:lnTo>
                    <a:pt x="23076" y="116065"/>
                  </a:lnTo>
                  <a:lnTo>
                    <a:pt x="21758" y="115278"/>
                  </a:lnTo>
                  <a:lnTo>
                    <a:pt x="23076" y="114491"/>
                  </a:lnTo>
                  <a:lnTo>
                    <a:pt x="23076" y="114491"/>
                  </a:lnTo>
                  <a:lnTo>
                    <a:pt x="23076" y="114491"/>
                  </a:lnTo>
                  <a:lnTo>
                    <a:pt x="25054" y="114491"/>
                  </a:lnTo>
                  <a:lnTo>
                    <a:pt x="25054" y="114491"/>
                  </a:lnTo>
                  <a:lnTo>
                    <a:pt x="25054" y="115278"/>
                  </a:lnTo>
                  <a:lnTo>
                    <a:pt x="25054" y="115278"/>
                  </a:lnTo>
                  <a:lnTo>
                    <a:pt x="25054" y="115278"/>
                  </a:lnTo>
                  <a:lnTo>
                    <a:pt x="25054" y="115278"/>
                  </a:lnTo>
                  <a:lnTo>
                    <a:pt x="25054" y="116065"/>
                  </a:lnTo>
                  <a:lnTo>
                    <a:pt x="26373" y="117245"/>
                  </a:lnTo>
                  <a:lnTo>
                    <a:pt x="26373" y="118032"/>
                  </a:lnTo>
                  <a:lnTo>
                    <a:pt x="26373" y="118819"/>
                  </a:lnTo>
                  <a:lnTo>
                    <a:pt x="26373" y="118819"/>
                  </a:lnTo>
                  <a:lnTo>
                    <a:pt x="26373" y="118819"/>
                  </a:lnTo>
                  <a:lnTo>
                    <a:pt x="26373" y="120000"/>
                  </a:lnTo>
                  <a:lnTo>
                    <a:pt x="26373" y="120000"/>
                  </a:lnTo>
                  <a:lnTo>
                    <a:pt x="28351" y="118819"/>
                  </a:lnTo>
                  <a:lnTo>
                    <a:pt x="30989" y="118032"/>
                  </a:lnTo>
                  <a:lnTo>
                    <a:pt x="29670" y="117245"/>
                  </a:lnTo>
                  <a:lnTo>
                    <a:pt x="29670" y="116065"/>
                  </a:lnTo>
                  <a:close/>
                  <a:moveTo>
                    <a:pt x="29670" y="95606"/>
                  </a:moveTo>
                  <a:lnTo>
                    <a:pt x="29670" y="95606"/>
                  </a:lnTo>
                  <a:lnTo>
                    <a:pt x="29670" y="95606"/>
                  </a:lnTo>
                  <a:lnTo>
                    <a:pt x="29670" y="96786"/>
                  </a:lnTo>
                  <a:lnTo>
                    <a:pt x="30989" y="96786"/>
                  </a:lnTo>
                  <a:lnTo>
                    <a:pt x="30989" y="96786"/>
                  </a:lnTo>
                  <a:lnTo>
                    <a:pt x="32967" y="96786"/>
                  </a:lnTo>
                  <a:lnTo>
                    <a:pt x="32967" y="95606"/>
                  </a:lnTo>
                  <a:lnTo>
                    <a:pt x="32967" y="95606"/>
                  </a:lnTo>
                  <a:lnTo>
                    <a:pt x="30989" y="95606"/>
                  </a:lnTo>
                  <a:lnTo>
                    <a:pt x="29670" y="95606"/>
                  </a:lnTo>
                  <a:close/>
                  <a:moveTo>
                    <a:pt x="32967" y="94819"/>
                  </a:moveTo>
                  <a:lnTo>
                    <a:pt x="32967" y="94032"/>
                  </a:lnTo>
                  <a:lnTo>
                    <a:pt x="32967" y="94032"/>
                  </a:lnTo>
                  <a:lnTo>
                    <a:pt x="32967" y="94032"/>
                  </a:lnTo>
                  <a:lnTo>
                    <a:pt x="30989" y="94032"/>
                  </a:lnTo>
                  <a:lnTo>
                    <a:pt x="30989" y="94819"/>
                  </a:lnTo>
                  <a:lnTo>
                    <a:pt x="32967" y="94819"/>
                  </a:lnTo>
                  <a:lnTo>
                    <a:pt x="32967" y="94819"/>
                  </a:lnTo>
                  <a:close/>
                  <a:moveTo>
                    <a:pt x="59340" y="95606"/>
                  </a:moveTo>
                  <a:lnTo>
                    <a:pt x="57362" y="95606"/>
                  </a:lnTo>
                  <a:lnTo>
                    <a:pt x="57362" y="94819"/>
                  </a:lnTo>
                  <a:lnTo>
                    <a:pt x="56043" y="94032"/>
                  </a:lnTo>
                  <a:lnTo>
                    <a:pt x="54725" y="94032"/>
                  </a:lnTo>
                  <a:lnTo>
                    <a:pt x="52747" y="92852"/>
                  </a:lnTo>
                  <a:lnTo>
                    <a:pt x="51428" y="92852"/>
                  </a:lnTo>
                  <a:lnTo>
                    <a:pt x="48131" y="92065"/>
                  </a:lnTo>
                  <a:lnTo>
                    <a:pt x="46813" y="92065"/>
                  </a:lnTo>
                  <a:lnTo>
                    <a:pt x="46813" y="92852"/>
                  </a:lnTo>
                  <a:lnTo>
                    <a:pt x="44835" y="92852"/>
                  </a:lnTo>
                  <a:lnTo>
                    <a:pt x="44835" y="92852"/>
                  </a:lnTo>
                  <a:lnTo>
                    <a:pt x="43516" y="92852"/>
                  </a:lnTo>
                  <a:lnTo>
                    <a:pt x="44835" y="94032"/>
                  </a:lnTo>
                  <a:lnTo>
                    <a:pt x="44835" y="94819"/>
                  </a:lnTo>
                  <a:lnTo>
                    <a:pt x="44835" y="94819"/>
                  </a:lnTo>
                  <a:lnTo>
                    <a:pt x="43516" y="95606"/>
                  </a:lnTo>
                  <a:lnTo>
                    <a:pt x="42197" y="95606"/>
                  </a:lnTo>
                  <a:lnTo>
                    <a:pt x="42197" y="95606"/>
                  </a:lnTo>
                  <a:lnTo>
                    <a:pt x="40219" y="95606"/>
                  </a:lnTo>
                  <a:lnTo>
                    <a:pt x="40219" y="95606"/>
                  </a:lnTo>
                  <a:lnTo>
                    <a:pt x="38901" y="95606"/>
                  </a:lnTo>
                  <a:lnTo>
                    <a:pt x="37582" y="94819"/>
                  </a:lnTo>
                  <a:lnTo>
                    <a:pt x="37582" y="94819"/>
                  </a:lnTo>
                  <a:lnTo>
                    <a:pt x="35604" y="94819"/>
                  </a:lnTo>
                  <a:lnTo>
                    <a:pt x="35604" y="95606"/>
                  </a:lnTo>
                  <a:lnTo>
                    <a:pt x="35604" y="95606"/>
                  </a:lnTo>
                  <a:lnTo>
                    <a:pt x="35604" y="96786"/>
                  </a:lnTo>
                  <a:lnTo>
                    <a:pt x="35604" y="96786"/>
                  </a:lnTo>
                  <a:lnTo>
                    <a:pt x="35604" y="97573"/>
                  </a:lnTo>
                  <a:lnTo>
                    <a:pt x="34285" y="98360"/>
                  </a:lnTo>
                  <a:lnTo>
                    <a:pt x="34285" y="99540"/>
                  </a:lnTo>
                  <a:lnTo>
                    <a:pt x="32967" y="99540"/>
                  </a:lnTo>
                  <a:lnTo>
                    <a:pt x="30989" y="100327"/>
                  </a:lnTo>
                  <a:lnTo>
                    <a:pt x="30989" y="100327"/>
                  </a:lnTo>
                  <a:lnTo>
                    <a:pt x="30989" y="100327"/>
                  </a:lnTo>
                  <a:lnTo>
                    <a:pt x="32967" y="100327"/>
                  </a:lnTo>
                  <a:lnTo>
                    <a:pt x="34285" y="100327"/>
                  </a:lnTo>
                  <a:lnTo>
                    <a:pt x="34285" y="100327"/>
                  </a:lnTo>
                  <a:lnTo>
                    <a:pt x="35604" y="101114"/>
                  </a:lnTo>
                  <a:lnTo>
                    <a:pt x="35604" y="101114"/>
                  </a:lnTo>
                  <a:lnTo>
                    <a:pt x="35604" y="101114"/>
                  </a:lnTo>
                  <a:lnTo>
                    <a:pt x="37582" y="101114"/>
                  </a:lnTo>
                  <a:lnTo>
                    <a:pt x="37582" y="102295"/>
                  </a:lnTo>
                  <a:lnTo>
                    <a:pt x="37582" y="102295"/>
                  </a:lnTo>
                  <a:lnTo>
                    <a:pt x="37582" y="102295"/>
                  </a:lnTo>
                  <a:lnTo>
                    <a:pt x="37582" y="103081"/>
                  </a:lnTo>
                  <a:lnTo>
                    <a:pt x="37582" y="103081"/>
                  </a:lnTo>
                  <a:lnTo>
                    <a:pt x="38901" y="104262"/>
                  </a:lnTo>
                  <a:lnTo>
                    <a:pt x="38901" y="104262"/>
                  </a:lnTo>
                  <a:lnTo>
                    <a:pt x="40219" y="104262"/>
                  </a:lnTo>
                  <a:lnTo>
                    <a:pt x="40219" y="105836"/>
                  </a:lnTo>
                  <a:lnTo>
                    <a:pt x="42197" y="105049"/>
                  </a:lnTo>
                  <a:lnTo>
                    <a:pt x="43516" y="105836"/>
                  </a:lnTo>
                  <a:lnTo>
                    <a:pt x="43516" y="105836"/>
                  </a:lnTo>
                  <a:lnTo>
                    <a:pt x="43516" y="105049"/>
                  </a:lnTo>
                  <a:lnTo>
                    <a:pt x="43516" y="104262"/>
                  </a:lnTo>
                  <a:lnTo>
                    <a:pt x="43516" y="103081"/>
                  </a:lnTo>
                  <a:lnTo>
                    <a:pt x="44835" y="103081"/>
                  </a:lnTo>
                  <a:lnTo>
                    <a:pt x="44835" y="103081"/>
                  </a:lnTo>
                  <a:lnTo>
                    <a:pt x="44835" y="101114"/>
                  </a:lnTo>
                  <a:lnTo>
                    <a:pt x="44835" y="100327"/>
                  </a:lnTo>
                  <a:lnTo>
                    <a:pt x="48131" y="99540"/>
                  </a:lnTo>
                  <a:lnTo>
                    <a:pt x="48131" y="99540"/>
                  </a:lnTo>
                  <a:lnTo>
                    <a:pt x="51428" y="99540"/>
                  </a:lnTo>
                  <a:lnTo>
                    <a:pt x="52747" y="99540"/>
                  </a:lnTo>
                  <a:lnTo>
                    <a:pt x="56043" y="101114"/>
                  </a:lnTo>
                  <a:lnTo>
                    <a:pt x="56043" y="101114"/>
                  </a:lnTo>
                  <a:lnTo>
                    <a:pt x="56043" y="100327"/>
                  </a:lnTo>
                  <a:lnTo>
                    <a:pt x="56043" y="100327"/>
                  </a:lnTo>
                  <a:lnTo>
                    <a:pt x="56043" y="99540"/>
                  </a:lnTo>
                  <a:lnTo>
                    <a:pt x="56043" y="98360"/>
                  </a:lnTo>
                  <a:lnTo>
                    <a:pt x="57362" y="97573"/>
                  </a:lnTo>
                  <a:lnTo>
                    <a:pt x="59340" y="96786"/>
                  </a:lnTo>
                  <a:lnTo>
                    <a:pt x="59340" y="96786"/>
                  </a:lnTo>
                  <a:lnTo>
                    <a:pt x="59340" y="95606"/>
                  </a:lnTo>
                  <a:close/>
                  <a:moveTo>
                    <a:pt x="50109" y="92065"/>
                  </a:moveTo>
                  <a:lnTo>
                    <a:pt x="51428" y="90885"/>
                  </a:lnTo>
                  <a:lnTo>
                    <a:pt x="51428" y="90885"/>
                  </a:lnTo>
                  <a:lnTo>
                    <a:pt x="51428" y="90885"/>
                  </a:lnTo>
                  <a:lnTo>
                    <a:pt x="51428" y="90885"/>
                  </a:lnTo>
                  <a:lnTo>
                    <a:pt x="51428" y="90885"/>
                  </a:lnTo>
                  <a:lnTo>
                    <a:pt x="50109" y="90885"/>
                  </a:lnTo>
                  <a:lnTo>
                    <a:pt x="50109" y="90885"/>
                  </a:lnTo>
                  <a:lnTo>
                    <a:pt x="50109" y="90885"/>
                  </a:lnTo>
                  <a:lnTo>
                    <a:pt x="50109" y="92065"/>
                  </a:lnTo>
                  <a:close/>
                  <a:moveTo>
                    <a:pt x="57362" y="90885"/>
                  </a:moveTo>
                  <a:lnTo>
                    <a:pt x="57362" y="90885"/>
                  </a:lnTo>
                  <a:lnTo>
                    <a:pt x="57362" y="90885"/>
                  </a:lnTo>
                  <a:lnTo>
                    <a:pt x="56043" y="92065"/>
                  </a:lnTo>
                  <a:lnTo>
                    <a:pt x="56043" y="92852"/>
                  </a:lnTo>
                  <a:lnTo>
                    <a:pt x="56043" y="92852"/>
                  </a:lnTo>
                  <a:lnTo>
                    <a:pt x="57362" y="94032"/>
                  </a:lnTo>
                  <a:lnTo>
                    <a:pt x="59340" y="94032"/>
                  </a:lnTo>
                  <a:lnTo>
                    <a:pt x="59340" y="92852"/>
                  </a:lnTo>
                  <a:lnTo>
                    <a:pt x="57362" y="92065"/>
                  </a:lnTo>
                  <a:lnTo>
                    <a:pt x="59340" y="90885"/>
                  </a:lnTo>
                  <a:lnTo>
                    <a:pt x="57362" y="90885"/>
                  </a:lnTo>
                  <a:close/>
                  <a:moveTo>
                    <a:pt x="108791" y="89311"/>
                  </a:moveTo>
                  <a:lnTo>
                    <a:pt x="107472" y="89311"/>
                  </a:lnTo>
                  <a:lnTo>
                    <a:pt x="107472" y="89311"/>
                  </a:lnTo>
                  <a:lnTo>
                    <a:pt x="108791" y="89311"/>
                  </a:lnTo>
                  <a:lnTo>
                    <a:pt x="108791" y="89311"/>
                  </a:lnTo>
                  <a:lnTo>
                    <a:pt x="108791" y="89311"/>
                  </a:lnTo>
                  <a:lnTo>
                    <a:pt x="108791" y="89311"/>
                  </a:lnTo>
                  <a:close/>
                  <a:moveTo>
                    <a:pt x="76483" y="62950"/>
                  </a:moveTo>
                  <a:lnTo>
                    <a:pt x="76483" y="62950"/>
                  </a:lnTo>
                  <a:lnTo>
                    <a:pt x="77802" y="62163"/>
                  </a:lnTo>
                  <a:lnTo>
                    <a:pt x="77802" y="61377"/>
                  </a:lnTo>
                  <a:lnTo>
                    <a:pt x="76483" y="61377"/>
                  </a:lnTo>
                  <a:lnTo>
                    <a:pt x="76483" y="60196"/>
                  </a:lnTo>
                  <a:lnTo>
                    <a:pt x="76483" y="59409"/>
                  </a:lnTo>
                  <a:lnTo>
                    <a:pt x="74505" y="58622"/>
                  </a:lnTo>
                  <a:lnTo>
                    <a:pt x="74505" y="59409"/>
                  </a:lnTo>
                  <a:lnTo>
                    <a:pt x="74505" y="60196"/>
                  </a:lnTo>
                  <a:lnTo>
                    <a:pt x="74505" y="61377"/>
                  </a:lnTo>
                  <a:lnTo>
                    <a:pt x="74505" y="61377"/>
                  </a:lnTo>
                  <a:lnTo>
                    <a:pt x="74505" y="61377"/>
                  </a:lnTo>
                  <a:lnTo>
                    <a:pt x="76483" y="62163"/>
                  </a:lnTo>
                  <a:lnTo>
                    <a:pt x="76483" y="62163"/>
                  </a:lnTo>
                  <a:lnTo>
                    <a:pt x="76483" y="62950"/>
                  </a:lnTo>
                  <a:lnTo>
                    <a:pt x="74505" y="62950"/>
                  </a:lnTo>
                  <a:lnTo>
                    <a:pt x="76483" y="62950"/>
                  </a:lnTo>
                  <a:close/>
                  <a:moveTo>
                    <a:pt x="116703" y="79868"/>
                  </a:moveTo>
                  <a:lnTo>
                    <a:pt x="113406" y="77901"/>
                  </a:lnTo>
                  <a:lnTo>
                    <a:pt x="113406" y="77114"/>
                  </a:lnTo>
                  <a:lnTo>
                    <a:pt x="112087" y="76327"/>
                  </a:lnTo>
                  <a:lnTo>
                    <a:pt x="112087" y="76327"/>
                  </a:lnTo>
                  <a:lnTo>
                    <a:pt x="112087" y="75147"/>
                  </a:lnTo>
                  <a:lnTo>
                    <a:pt x="112087" y="74360"/>
                  </a:lnTo>
                  <a:lnTo>
                    <a:pt x="112087" y="74360"/>
                  </a:lnTo>
                  <a:lnTo>
                    <a:pt x="112087" y="72393"/>
                  </a:lnTo>
                  <a:lnTo>
                    <a:pt x="110109" y="71606"/>
                  </a:lnTo>
                  <a:lnTo>
                    <a:pt x="112087" y="70426"/>
                  </a:lnTo>
                  <a:lnTo>
                    <a:pt x="112087" y="70426"/>
                  </a:lnTo>
                  <a:lnTo>
                    <a:pt x="112087" y="69639"/>
                  </a:lnTo>
                  <a:lnTo>
                    <a:pt x="112087" y="68852"/>
                  </a:lnTo>
                  <a:lnTo>
                    <a:pt x="110109" y="66098"/>
                  </a:lnTo>
                  <a:lnTo>
                    <a:pt x="107472" y="64131"/>
                  </a:lnTo>
                  <a:lnTo>
                    <a:pt x="107472" y="62950"/>
                  </a:lnTo>
                  <a:lnTo>
                    <a:pt x="105494" y="62163"/>
                  </a:lnTo>
                  <a:lnTo>
                    <a:pt x="104175" y="61377"/>
                  </a:lnTo>
                  <a:lnTo>
                    <a:pt x="104175" y="60196"/>
                  </a:lnTo>
                  <a:lnTo>
                    <a:pt x="104175" y="58622"/>
                  </a:lnTo>
                  <a:lnTo>
                    <a:pt x="104175" y="58622"/>
                  </a:lnTo>
                  <a:lnTo>
                    <a:pt x="105494" y="58622"/>
                  </a:lnTo>
                  <a:lnTo>
                    <a:pt x="107472" y="58622"/>
                  </a:lnTo>
                  <a:lnTo>
                    <a:pt x="108791" y="58622"/>
                  </a:lnTo>
                  <a:lnTo>
                    <a:pt x="108791" y="57442"/>
                  </a:lnTo>
                  <a:lnTo>
                    <a:pt x="107472" y="56655"/>
                  </a:lnTo>
                  <a:lnTo>
                    <a:pt x="107472" y="54688"/>
                  </a:lnTo>
                  <a:lnTo>
                    <a:pt x="107472" y="54688"/>
                  </a:lnTo>
                  <a:lnTo>
                    <a:pt x="107472" y="53901"/>
                  </a:lnTo>
                  <a:lnTo>
                    <a:pt x="107472" y="53901"/>
                  </a:lnTo>
                  <a:lnTo>
                    <a:pt x="105494" y="52721"/>
                  </a:lnTo>
                  <a:lnTo>
                    <a:pt x="107472" y="52721"/>
                  </a:lnTo>
                  <a:lnTo>
                    <a:pt x="107472" y="52721"/>
                  </a:lnTo>
                  <a:lnTo>
                    <a:pt x="107472" y="52721"/>
                  </a:lnTo>
                  <a:lnTo>
                    <a:pt x="107472" y="52721"/>
                  </a:lnTo>
                  <a:lnTo>
                    <a:pt x="107472" y="51934"/>
                  </a:lnTo>
                  <a:lnTo>
                    <a:pt x="108791" y="51934"/>
                  </a:lnTo>
                  <a:lnTo>
                    <a:pt x="107472" y="51147"/>
                  </a:lnTo>
                  <a:lnTo>
                    <a:pt x="107472" y="49180"/>
                  </a:lnTo>
                  <a:lnTo>
                    <a:pt x="105494" y="48393"/>
                  </a:lnTo>
                  <a:lnTo>
                    <a:pt x="105494" y="47213"/>
                  </a:lnTo>
                  <a:lnTo>
                    <a:pt x="104175" y="47213"/>
                  </a:lnTo>
                  <a:lnTo>
                    <a:pt x="104175" y="46426"/>
                  </a:lnTo>
                  <a:lnTo>
                    <a:pt x="104175" y="46426"/>
                  </a:lnTo>
                  <a:lnTo>
                    <a:pt x="102857" y="45639"/>
                  </a:lnTo>
                  <a:lnTo>
                    <a:pt x="100879" y="44459"/>
                  </a:lnTo>
                  <a:lnTo>
                    <a:pt x="98241" y="42491"/>
                  </a:lnTo>
                  <a:lnTo>
                    <a:pt x="94945" y="41704"/>
                  </a:lnTo>
                  <a:lnTo>
                    <a:pt x="93626" y="40918"/>
                  </a:lnTo>
                  <a:lnTo>
                    <a:pt x="91648" y="40918"/>
                  </a:lnTo>
                  <a:lnTo>
                    <a:pt x="90329" y="39737"/>
                  </a:lnTo>
                  <a:lnTo>
                    <a:pt x="90329" y="38950"/>
                  </a:lnTo>
                  <a:lnTo>
                    <a:pt x="87032" y="36196"/>
                  </a:lnTo>
                  <a:lnTo>
                    <a:pt x="87032" y="35409"/>
                  </a:lnTo>
                  <a:lnTo>
                    <a:pt x="85714" y="34229"/>
                  </a:lnTo>
                  <a:lnTo>
                    <a:pt x="83736" y="34229"/>
                  </a:lnTo>
                  <a:lnTo>
                    <a:pt x="83736" y="34229"/>
                  </a:lnTo>
                  <a:lnTo>
                    <a:pt x="81098" y="33442"/>
                  </a:lnTo>
                  <a:lnTo>
                    <a:pt x="81098" y="33442"/>
                  </a:lnTo>
                  <a:lnTo>
                    <a:pt x="79120" y="33442"/>
                  </a:lnTo>
                  <a:lnTo>
                    <a:pt x="79120" y="33442"/>
                  </a:lnTo>
                  <a:lnTo>
                    <a:pt x="79120" y="34229"/>
                  </a:lnTo>
                  <a:lnTo>
                    <a:pt x="79120" y="35409"/>
                  </a:lnTo>
                  <a:lnTo>
                    <a:pt x="81098" y="36196"/>
                  </a:lnTo>
                  <a:lnTo>
                    <a:pt x="83736" y="36196"/>
                  </a:lnTo>
                  <a:lnTo>
                    <a:pt x="83736" y="35409"/>
                  </a:lnTo>
                  <a:lnTo>
                    <a:pt x="83736" y="35409"/>
                  </a:lnTo>
                  <a:lnTo>
                    <a:pt x="83736" y="35409"/>
                  </a:lnTo>
                  <a:lnTo>
                    <a:pt x="85714" y="35409"/>
                  </a:lnTo>
                  <a:lnTo>
                    <a:pt x="85714" y="36196"/>
                  </a:lnTo>
                  <a:lnTo>
                    <a:pt x="87032" y="36983"/>
                  </a:lnTo>
                  <a:lnTo>
                    <a:pt x="87032" y="38163"/>
                  </a:lnTo>
                  <a:lnTo>
                    <a:pt x="85714" y="38163"/>
                  </a:lnTo>
                  <a:lnTo>
                    <a:pt x="83736" y="38163"/>
                  </a:lnTo>
                  <a:lnTo>
                    <a:pt x="82417" y="38163"/>
                  </a:lnTo>
                  <a:lnTo>
                    <a:pt x="82417" y="38163"/>
                  </a:lnTo>
                  <a:lnTo>
                    <a:pt x="82417" y="38950"/>
                  </a:lnTo>
                  <a:lnTo>
                    <a:pt x="82417" y="38950"/>
                  </a:lnTo>
                  <a:lnTo>
                    <a:pt x="82417" y="38163"/>
                  </a:lnTo>
                  <a:lnTo>
                    <a:pt x="81098" y="38163"/>
                  </a:lnTo>
                  <a:lnTo>
                    <a:pt x="79120" y="36196"/>
                  </a:lnTo>
                  <a:lnTo>
                    <a:pt x="77802" y="36196"/>
                  </a:lnTo>
                  <a:lnTo>
                    <a:pt x="77802" y="35409"/>
                  </a:lnTo>
                  <a:lnTo>
                    <a:pt x="76483" y="35409"/>
                  </a:lnTo>
                  <a:lnTo>
                    <a:pt x="76483" y="35409"/>
                  </a:lnTo>
                  <a:lnTo>
                    <a:pt x="74505" y="35409"/>
                  </a:lnTo>
                  <a:lnTo>
                    <a:pt x="74505" y="35409"/>
                  </a:lnTo>
                  <a:lnTo>
                    <a:pt x="74505" y="36196"/>
                  </a:lnTo>
                  <a:lnTo>
                    <a:pt x="76483" y="36983"/>
                  </a:lnTo>
                  <a:lnTo>
                    <a:pt x="76483" y="38163"/>
                  </a:lnTo>
                  <a:lnTo>
                    <a:pt x="77802" y="38950"/>
                  </a:lnTo>
                  <a:lnTo>
                    <a:pt x="77802" y="38950"/>
                  </a:lnTo>
                  <a:lnTo>
                    <a:pt x="76483" y="38950"/>
                  </a:lnTo>
                  <a:lnTo>
                    <a:pt x="76483" y="38950"/>
                  </a:lnTo>
                  <a:lnTo>
                    <a:pt x="76483" y="38950"/>
                  </a:lnTo>
                  <a:lnTo>
                    <a:pt x="74505" y="39737"/>
                  </a:lnTo>
                  <a:lnTo>
                    <a:pt x="74505" y="39737"/>
                  </a:lnTo>
                  <a:lnTo>
                    <a:pt x="74505" y="40918"/>
                  </a:lnTo>
                  <a:lnTo>
                    <a:pt x="74505" y="40918"/>
                  </a:lnTo>
                  <a:lnTo>
                    <a:pt x="76483" y="41704"/>
                  </a:lnTo>
                  <a:lnTo>
                    <a:pt x="77802" y="42491"/>
                  </a:lnTo>
                  <a:lnTo>
                    <a:pt x="77802" y="43672"/>
                  </a:lnTo>
                  <a:lnTo>
                    <a:pt x="79120" y="44459"/>
                  </a:lnTo>
                  <a:lnTo>
                    <a:pt x="79120" y="45639"/>
                  </a:lnTo>
                  <a:lnTo>
                    <a:pt x="79120" y="44459"/>
                  </a:lnTo>
                  <a:lnTo>
                    <a:pt x="79120" y="45639"/>
                  </a:lnTo>
                  <a:lnTo>
                    <a:pt x="77802" y="45639"/>
                  </a:lnTo>
                  <a:lnTo>
                    <a:pt x="77802" y="45639"/>
                  </a:lnTo>
                  <a:lnTo>
                    <a:pt x="79120" y="45639"/>
                  </a:lnTo>
                  <a:lnTo>
                    <a:pt x="79120" y="45639"/>
                  </a:lnTo>
                  <a:lnTo>
                    <a:pt x="81098" y="45639"/>
                  </a:lnTo>
                  <a:lnTo>
                    <a:pt x="81098" y="46426"/>
                  </a:lnTo>
                  <a:lnTo>
                    <a:pt x="82417" y="47213"/>
                  </a:lnTo>
                  <a:lnTo>
                    <a:pt x="83736" y="48393"/>
                  </a:lnTo>
                  <a:lnTo>
                    <a:pt x="83736" y="49180"/>
                  </a:lnTo>
                  <a:lnTo>
                    <a:pt x="85714" y="49967"/>
                  </a:lnTo>
                  <a:lnTo>
                    <a:pt x="85714" y="49967"/>
                  </a:lnTo>
                  <a:lnTo>
                    <a:pt x="85714" y="49967"/>
                  </a:lnTo>
                  <a:lnTo>
                    <a:pt x="85714" y="51147"/>
                  </a:lnTo>
                  <a:lnTo>
                    <a:pt x="85714" y="51147"/>
                  </a:lnTo>
                  <a:lnTo>
                    <a:pt x="85714" y="51934"/>
                  </a:lnTo>
                  <a:lnTo>
                    <a:pt x="85714" y="53901"/>
                  </a:lnTo>
                  <a:lnTo>
                    <a:pt x="85714" y="54688"/>
                  </a:lnTo>
                  <a:lnTo>
                    <a:pt x="85714" y="55868"/>
                  </a:lnTo>
                  <a:lnTo>
                    <a:pt x="85714" y="56655"/>
                  </a:lnTo>
                  <a:lnTo>
                    <a:pt x="85714" y="57442"/>
                  </a:lnTo>
                  <a:lnTo>
                    <a:pt x="85714" y="58622"/>
                  </a:lnTo>
                  <a:lnTo>
                    <a:pt x="85714" y="59409"/>
                  </a:lnTo>
                  <a:lnTo>
                    <a:pt x="87032" y="60196"/>
                  </a:lnTo>
                  <a:lnTo>
                    <a:pt x="87032" y="60196"/>
                  </a:lnTo>
                  <a:lnTo>
                    <a:pt x="85714" y="61377"/>
                  </a:lnTo>
                  <a:lnTo>
                    <a:pt x="82417" y="62950"/>
                  </a:lnTo>
                  <a:lnTo>
                    <a:pt x="82417" y="62950"/>
                  </a:lnTo>
                  <a:lnTo>
                    <a:pt x="82417" y="64131"/>
                  </a:lnTo>
                  <a:lnTo>
                    <a:pt x="82417" y="64918"/>
                  </a:lnTo>
                  <a:lnTo>
                    <a:pt x="82417" y="66098"/>
                  </a:lnTo>
                  <a:lnTo>
                    <a:pt x="82417" y="66885"/>
                  </a:lnTo>
                  <a:lnTo>
                    <a:pt x="81098" y="67672"/>
                  </a:lnTo>
                  <a:lnTo>
                    <a:pt x="79120" y="68852"/>
                  </a:lnTo>
                  <a:lnTo>
                    <a:pt x="77802" y="68852"/>
                  </a:lnTo>
                  <a:lnTo>
                    <a:pt x="76483" y="69639"/>
                  </a:lnTo>
                  <a:lnTo>
                    <a:pt x="73186" y="70426"/>
                  </a:lnTo>
                  <a:lnTo>
                    <a:pt x="73186" y="70426"/>
                  </a:lnTo>
                  <a:lnTo>
                    <a:pt x="71868" y="71606"/>
                  </a:lnTo>
                  <a:lnTo>
                    <a:pt x="71868" y="72393"/>
                  </a:lnTo>
                  <a:lnTo>
                    <a:pt x="71868" y="72393"/>
                  </a:lnTo>
                  <a:lnTo>
                    <a:pt x="69890" y="71606"/>
                  </a:lnTo>
                  <a:lnTo>
                    <a:pt x="68571" y="71606"/>
                  </a:lnTo>
                  <a:lnTo>
                    <a:pt x="66593" y="70426"/>
                  </a:lnTo>
                  <a:lnTo>
                    <a:pt x="66593" y="70426"/>
                  </a:lnTo>
                  <a:lnTo>
                    <a:pt x="66593" y="69639"/>
                  </a:lnTo>
                  <a:lnTo>
                    <a:pt x="65274" y="68852"/>
                  </a:lnTo>
                  <a:lnTo>
                    <a:pt x="65274" y="68852"/>
                  </a:lnTo>
                  <a:lnTo>
                    <a:pt x="65274" y="68852"/>
                  </a:lnTo>
                  <a:lnTo>
                    <a:pt x="65274" y="67672"/>
                  </a:lnTo>
                  <a:lnTo>
                    <a:pt x="66593" y="67672"/>
                  </a:lnTo>
                  <a:lnTo>
                    <a:pt x="68571" y="66098"/>
                  </a:lnTo>
                  <a:lnTo>
                    <a:pt x="66593" y="66098"/>
                  </a:lnTo>
                  <a:lnTo>
                    <a:pt x="66593" y="66098"/>
                  </a:lnTo>
                  <a:lnTo>
                    <a:pt x="65274" y="66098"/>
                  </a:lnTo>
                  <a:lnTo>
                    <a:pt x="63956" y="66885"/>
                  </a:lnTo>
                  <a:lnTo>
                    <a:pt x="61978" y="66885"/>
                  </a:lnTo>
                  <a:lnTo>
                    <a:pt x="61978" y="68852"/>
                  </a:lnTo>
                  <a:lnTo>
                    <a:pt x="63956" y="70426"/>
                  </a:lnTo>
                  <a:lnTo>
                    <a:pt x="65274" y="72393"/>
                  </a:lnTo>
                  <a:lnTo>
                    <a:pt x="63956" y="73180"/>
                  </a:lnTo>
                  <a:lnTo>
                    <a:pt x="63956" y="75147"/>
                  </a:lnTo>
                  <a:lnTo>
                    <a:pt x="61978" y="76327"/>
                  </a:lnTo>
                  <a:lnTo>
                    <a:pt x="61978" y="76327"/>
                  </a:lnTo>
                  <a:lnTo>
                    <a:pt x="61978" y="77114"/>
                  </a:lnTo>
                  <a:lnTo>
                    <a:pt x="61978" y="79081"/>
                  </a:lnTo>
                  <a:lnTo>
                    <a:pt x="61978" y="79868"/>
                  </a:lnTo>
                  <a:lnTo>
                    <a:pt x="63956" y="80655"/>
                  </a:lnTo>
                  <a:lnTo>
                    <a:pt x="63956" y="80655"/>
                  </a:lnTo>
                  <a:lnTo>
                    <a:pt x="61978" y="81836"/>
                  </a:lnTo>
                  <a:lnTo>
                    <a:pt x="61978" y="82622"/>
                  </a:lnTo>
                  <a:lnTo>
                    <a:pt x="60659" y="82622"/>
                  </a:lnTo>
                  <a:lnTo>
                    <a:pt x="59340" y="82622"/>
                  </a:lnTo>
                  <a:lnTo>
                    <a:pt x="56043" y="82622"/>
                  </a:lnTo>
                  <a:lnTo>
                    <a:pt x="56043" y="82622"/>
                  </a:lnTo>
                  <a:lnTo>
                    <a:pt x="54725" y="81836"/>
                  </a:lnTo>
                  <a:lnTo>
                    <a:pt x="54725" y="81836"/>
                  </a:lnTo>
                  <a:lnTo>
                    <a:pt x="54725" y="80655"/>
                  </a:lnTo>
                  <a:lnTo>
                    <a:pt x="54725" y="80655"/>
                  </a:lnTo>
                  <a:lnTo>
                    <a:pt x="52747" y="80655"/>
                  </a:lnTo>
                  <a:lnTo>
                    <a:pt x="51428" y="81836"/>
                  </a:lnTo>
                  <a:lnTo>
                    <a:pt x="44835" y="81836"/>
                  </a:lnTo>
                  <a:lnTo>
                    <a:pt x="44835" y="81836"/>
                  </a:lnTo>
                  <a:lnTo>
                    <a:pt x="43516" y="82622"/>
                  </a:lnTo>
                  <a:lnTo>
                    <a:pt x="40219" y="82622"/>
                  </a:lnTo>
                  <a:lnTo>
                    <a:pt x="40219" y="82622"/>
                  </a:lnTo>
                  <a:lnTo>
                    <a:pt x="38901" y="82622"/>
                  </a:lnTo>
                  <a:lnTo>
                    <a:pt x="37582" y="82622"/>
                  </a:lnTo>
                  <a:lnTo>
                    <a:pt x="35604" y="82622"/>
                  </a:lnTo>
                  <a:lnTo>
                    <a:pt x="34285" y="82622"/>
                  </a:lnTo>
                  <a:lnTo>
                    <a:pt x="34285" y="82622"/>
                  </a:lnTo>
                  <a:lnTo>
                    <a:pt x="32967" y="81836"/>
                  </a:lnTo>
                  <a:lnTo>
                    <a:pt x="30989" y="81836"/>
                  </a:lnTo>
                  <a:lnTo>
                    <a:pt x="29670" y="82622"/>
                  </a:lnTo>
                  <a:lnTo>
                    <a:pt x="26373" y="82622"/>
                  </a:lnTo>
                  <a:lnTo>
                    <a:pt x="26373" y="83409"/>
                  </a:lnTo>
                  <a:lnTo>
                    <a:pt x="26373" y="84590"/>
                  </a:lnTo>
                  <a:lnTo>
                    <a:pt x="25054" y="85377"/>
                  </a:lnTo>
                  <a:lnTo>
                    <a:pt x="23076" y="86557"/>
                  </a:lnTo>
                  <a:lnTo>
                    <a:pt x="23076" y="87344"/>
                  </a:lnTo>
                  <a:lnTo>
                    <a:pt x="21758" y="87344"/>
                  </a:lnTo>
                  <a:lnTo>
                    <a:pt x="21758" y="88131"/>
                  </a:lnTo>
                  <a:lnTo>
                    <a:pt x="21758" y="89311"/>
                  </a:lnTo>
                  <a:lnTo>
                    <a:pt x="20439" y="90098"/>
                  </a:lnTo>
                  <a:lnTo>
                    <a:pt x="18461" y="90098"/>
                  </a:lnTo>
                  <a:lnTo>
                    <a:pt x="18461" y="90885"/>
                  </a:lnTo>
                  <a:lnTo>
                    <a:pt x="17142" y="90885"/>
                  </a:lnTo>
                  <a:lnTo>
                    <a:pt x="17142" y="92065"/>
                  </a:lnTo>
                  <a:lnTo>
                    <a:pt x="15824" y="92065"/>
                  </a:lnTo>
                  <a:lnTo>
                    <a:pt x="13846" y="92065"/>
                  </a:lnTo>
                  <a:lnTo>
                    <a:pt x="12527" y="92065"/>
                  </a:lnTo>
                  <a:lnTo>
                    <a:pt x="12527" y="92065"/>
                  </a:lnTo>
                  <a:lnTo>
                    <a:pt x="12527" y="92852"/>
                  </a:lnTo>
                  <a:lnTo>
                    <a:pt x="12527" y="92852"/>
                  </a:lnTo>
                  <a:lnTo>
                    <a:pt x="13846" y="95606"/>
                  </a:lnTo>
                  <a:lnTo>
                    <a:pt x="15824" y="94819"/>
                  </a:lnTo>
                  <a:lnTo>
                    <a:pt x="15824" y="94819"/>
                  </a:lnTo>
                  <a:lnTo>
                    <a:pt x="17142" y="95606"/>
                  </a:lnTo>
                  <a:lnTo>
                    <a:pt x="18461" y="95606"/>
                  </a:lnTo>
                  <a:lnTo>
                    <a:pt x="18461" y="95606"/>
                  </a:lnTo>
                  <a:lnTo>
                    <a:pt x="20439" y="95606"/>
                  </a:lnTo>
                  <a:lnTo>
                    <a:pt x="20439" y="94819"/>
                  </a:lnTo>
                  <a:lnTo>
                    <a:pt x="23076" y="94819"/>
                  </a:lnTo>
                  <a:lnTo>
                    <a:pt x="23076" y="94819"/>
                  </a:lnTo>
                  <a:lnTo>
                    <a:pt x="28351" y="96786"/>
                  </a:lnTo>
                  <a:lnTo>
                    <a:pt x="29670" y="96786"/>
                  </a:lnTo>
                  <a:lnTo>
                    <a:pt x="29670" y="95606"/>
                  </a:lnTo>
                  <a:lnTo>
                    <a:pt x="29670" y="94819"/>
                  </a:lnTo>
                  <a:lnTo>
                    <a:pt x="28351" y="94032"/>
                  </a:lnTo>
                  <a:lnTo>
                    <a:pt x="28351" y="92852"/>
                  </a:lnTo>
                  <a:lnTo>
                    <a:pt x="29670" y="92065"/>
                  </a:lnTo>
                  <a:lnTo>
                    <a:pt x="30989" y="92852"/>
                  </a:lnTo>
                  <a:lnTo>
                    <a:pt x="32967" y="92852"/>
                  </a:lnTo>
                  <a:lnTo>
                    <a:pt x="34285" y="92852"/>
                  </a:lnTo>
                  <a:lnTo>
                    <a:pt x="37582" y="92852"/>
                  </a:lnTo>
                  <a:lnTo>
                    <a:pt x="38901" y="92852"/>
                  </a:lnTo>
                  <a:lnTo>
                    <a:pt x="38901" y="92065"/>
                  </a:lnTo>
                  <a:lnTo>
                    <a:pt x="40219" y="92065"/>
                  </a:lnTo>
                  <a:lnTo>
                    <a:pt x="40219" y="92065"/>
                  </a:lnTo>
                  <a:lnTo>
                    <a:pt x="42197" y="92065"/>
                  </a:lnTo>
                  <a:lnTo>
                    <a:pt x="42197" y="90885"/>
                  </a:lnTo>
                  <a:lnTo>
                    <a:pt x="43516" y="90885"/>
                  </a:lnTo>
                  <a:lnTo>
                    <a:pt x="44835" y="90885"/>
                  </a:lnTo>
                  <a:lnTo>
                    <a:pt x="46813" y="90885"/>
                  </a:lnTo>
                  <a:lnTo>
                    <a:pt x="48131" y="90098"/>
                  </a:lnTo>
                  <a:lnTo>
                    <a:pt x="48131" y="89311"/>
                  </a:lnTo>
                  <a:lnTo>
                    <a:pt x="48131" y="89311"/>
                  </a:lnTo>
                  <a:lnTo>
                    <a:pt x="50109" y="89311"/>
                  </a:lnTo>
                  <a:lnTo>
                    <a:pt x="51428" y="89311"/>
                  </a:lnTo>
                  <a:lnTo>
                    <a:pt x="52747" y="89311"/>
                  </a:lnTo>
                  <a:lnTo>
                    <a:pt x="54725" y="89311"/>
                  </a:lnTo>
                  <a:lnTo>
                    <a:pt x="54725" y="89311"/>
                  </a:lnTo>
                  <a:lnTo>
                    <a:pt x="57362" y="90098"/>
                  </a:lnTo>
                  <a:lnTo>
                    <a:pt x="59340" y="90098"/>
                  </a:lnTo>
                  <a:lnTo>
                    <a:pt x="60659" y="90098"/>
                  </a:lnTo>
                  <a:lnTo>
                    <a:pt x="61978" y="90098"/>
                  </a:lnTo>
                  <a:lnTo>
                    <a:pt x="61978" y="90098"/>
                  </a:lnTo>
                  <a:lnTo>
                    <a:pt x="63956" y="90885"/>
                  </a:lnTo>
                  <a:lnTo>
                    <a:pt x="63956" y="90885"/>
                  </a:lnTo>
                  <a:lnTo>
                    <a:pt x="61978" y="92065"/>
                  </a:lnTo>
                  <a:lnTo>
                    <a:pt x="61978" y="92065"/>
                  </a:lnTo>
                  <a:lnTo>
                    <a:pt x="60659" y="92852"/>
                  </a:lnTo>
                  <a:lnTo>
                    <a:pt x="60659" y="92852"/>
                  </a:lnTo>
                  <a:lnTo>
                    <a:pt x="61978" y="94032"/>
                  </a:lnTo>
                  <a:lnTo>
                    <a:pt x="63956" y="94819"/>
                  </a:lnTo>
                  <a:lnTo>
                    <a:pt x="63956" y="95606"/>
                  </a:lnTo>
                  <a:lnTo>
                    <a:pt x="65274" y="96786"/>
                  </a:lnTo>
                  <a:lnTo>
                    <a:pt x="66593" y="97573"/>
                  </a:lnTo>
                  <a:lnTo>
                    <a:pt x="68571" y="98360"/>
                  </a:lnTo>
                  <a:lnTo>
                    <a:pt x="69890" y="99540"/>
                  </a:lnTo>
                  <a:lnTo>
                    <a:pt x="73186" y="99540"/>
                  </a:lnTo>
                  <a:lnTo>
                    <a:pt x="74505" y="98360"/>
                  </a:lnTo>
                  <a:lnTo>
                    <a:pt x="74505" y="97573"/>
                  </a:lnTo>
                  <a:lnTo>
                    <a:pt x="76483" y="94819"/>
                  </a:lnTo>
                  <a:lnTo>
                    <a:pt x="76483" y="94032"/>
                  </a:lnTo>
                  <a:lnTo>
                    <a:pt x="77802" y="92852"/>
                  </a:lnTo>
                  <a:lnTo>
                    <a:pt x="81098" y="92852"/>
                  </a:lnTo>
                  <a:lnTo>
                    <a:pt x="81098" y="92852"/>
                  </a:lnTo>
                  <a:lnTo>
                    <a:pt x="81098" y="92065"/>
                  </a:lnTo>
                  <a:lnTo>
                    <a:pt x="81098" y="92065"/>
                  </a:lnTo>
                  <a:lnTo>
                    <a:pt x="81098" y="90885"/>
                  </a:lnTo>
                  <a:lnTo>
                    <a:pt x="76483" y="90098"/>
                  </a:lnTo>
                  <a:lnTo>
                    <a:pt x="76483" y="89311"/>
                  </a:lnTo>
                  <a:lnTo>
                    <a:pt x="74505" y="88131"/>
                  </a:lnTo>
                  <a:lnTo>
                    <a:pt x="76483" y="87344"/>
                  </a:lnTo>
                  <a:lnTo>
                    <a:pt x="76483" y="86557"/>
                  </a:lnTo>
                  <a:lnTo>
                    <a:pt x="76483" y="86557"/>
                  </a:lnTo>
                  <a:lnTo>
                    <a:pt x="76483" y="86557"/>
                  </a:lnTo>
                  <a:lnTo>
                    <a:pt x="77802" y="86557"/>
                  </a:lnTo>
                  <a:lnTo>
                    <a:pt x="77802" y="87344"/>
                  </a:lnTo>
                  <a:lnTo>
                    <a:pt x="77802" y="87344"/>
                  </a:lnTo>
                  <a:lnTo>
                    <a:pt x="79120" y="88131"/>
                  </a:lnTo>
                  <a:lnTo>
                    <a:pt x="79120" y="89311"/>
                  </a:lnTo>
                  <a:lnTo>
                    <a:pt x="79120" y="89311"/>
                  </a:lnTo>
                  <a:lnTo>
                    <a:pt x="79120" y="89311"/>
                  </a:lnTo>
                  <a:lnTo>
                    <a:pt x="79120" y="88131"/>
                  </a:lnTo>
                  <a:lnTo>
                    <a:pt x="79120" y="88131"/>
                  </a:lnTo>
                  <a:lnTo>
                    <a:pt x="81098" y="88131"/>
                  </a:lnTo>
                  <a:lnTo>
                    <a:pt x="81098" y="89311"/>
                  </a:lnTo>
                  <a:lnTo>
                    <a:pt x="81098" y="89311"/>
                  </a:lnTo>
                  <a:lnTo>
                    <a:pt x="82417" y="89311"/>
                  </a:lnTo>
                  <a:lnTo>
                    <a:pt x="83736" y="89311"/>
                  </a:lnTo>
                  <a:lnTo>
                    <a:pt x="83736" y="89311"/>
                  </a:lnTo>
                  <a:lnTo>
                    <a:pt x="83736" y="89311"/>
                  </a:lnTo>
                  <a:lnTo>
                    <a:pt x="82417" y="90098"/>
                  </a:lnTo>
                  <a:lnTo>
                    <a:pt x="82417" y="90098"/>
                  </a:lnTo>
                  <a:lnTo>
                    <a:pt x="85714" y="90098"/>
                  </a:lnTo>
                  <a:lnTo>
                    <a:pt x="87032" y="90098"/>
                  </a:lnTo>
                  <a:lnTo>
                    <a:pt x="90329" y="90098"/>
                  </a:lnTo>
                  <a:lnTo>
                    <a:pt x="91648" y="90098"/>
                  </a:lnTo>
                  <a:lnTo>
                    <a:pt x="91648" y="90098"/>
                  </a:lnTo>
                  <a:lnTo>
                    <a:pt x="94945" y="90098"/>
                  </a:lnTo>
                  <a:lnTo>
                    <a:pt x="94945" y="89311"/>
                  </a:lnTo>
                  <a:lnTo>
                    <a:pt x="94945" y="88131"/>
                  </a:lnTo>
                  <a:lnTo>
                    <a:pt x="96263" y="87344"/>
                  </a:lnTo>
                  <a:lnTo>
                    <a:pt x="96263" y="87344"/>
                  </a:lnTo>
                  <a:lnTo>
                    <a:pt x="96263" y="86557"/>
                  </a:lnTo>
                  <a:lnTo>
                    <a:pt x="96263" y="86557"/>
                  </a:lnTo>
                  <a:lnTo>
                    <a:pt x="98241" y="85377"/>
                  </a:lnTo>
                  <a:lnTo>
                    <a:pt x="99560" y="86557"/>
                  </a:lnTo>
                  <a:lnTo>
                    <a:pt x="100879" y="86557"/>
                  </a:lnTo>
                  <a:lnTo>
                    <a:pt x="99560" y="87344"/>
                  </a:lnTo>
                  <a:lnTo>
                    <a:pt x="100879" y="88131"/>
                  </a:lnTo>
                  <a:lnTo>
                    <a:pt x="100879" y="89311"/>
                  </a:lnTo>
                  <a:lnTo>
                    <a:pt x="100879" y="90098"/>
                  </a:lnTo>
                  <a:lnTo>
                    <a:pt x="102857" y="90098"/>
                  </a:lnTo>
                  <a:lnTo>
                    <a:pt x="102857" y="90098"/>
                  </a:lnTo>
                  <a:lnTo>
                    <a:pt x="104175" y="89311"/>
                  </a:lnTo>
                  <a:lnTo>
                    <a:pt x="104175" y="89311"/>
                  </a:lnTo>
                  <a:lnTo>
                    <a:pt x="104175" y="88131"/>
                  </a:lnTo>
                  <a:lnTo>
                    <a:pt x="104175" y="87344"/>
                  </a:lnTo>
                  <a:lnTo>
                    <a:pt x="102857" y="86557"/>
                  </a:lnTo>
                  <a:lnTo>
                    <a:pt x="102857" y="85377"/>
                  </a:lnTo>
                  <a:lnTo>
                    <a:pt x="102857" y="85377"/>
                  </a:lnTo>
                  <a:lnTo>
                    <a:pt x="102857" y="84590"/>
                  </a:lnTo>
                  <a:lnTo>
                    <a:pt x="104175" y="84590"/>
                  </a:lnTo>
                  <a:lnTo>
                    <a:pt x="105494" y="84590"/>
                  </a:lnTo>
                  <a:lnTo>
                    <a:pt x="107472" y="84590"/>
                  </a:lnTo>
                  <a:lnTo>
                    <a:pt x="108791" y="85377"/>
                  </a:lnTo>
                  <a:lnTo>
                    <a:pt x="108791" y="85377"/>
                  </a:lnTo>
                  <a:lnTo>
                    <a:pt x="108791" y="85377"/>
                  </a:lnTo>
                  <a:lnTo>
                    <a:pt x="108791" y="84590"/>
                  </a:lnTo>
                  <a:lnTo>
                    <a:pt x="108791" y="84590"/>
                  </a:lnTo>
                  <a:lnTo>
                    <a:pt x="107472" y="84590"/>
                  </a:lnTo>
                  <a:lnTo>
                    <a:pt x="107472" y="83409"/>
                  </a:lnTo>
                  <a:lnTo>
                    <a:pt x="107472" y="82622"/>
                  </a:lnTo>
                  <a:lnTo>
                    <a:pt x="107472" y="82622"/>
                  </a:lnTo>
                  <a:lnTo>
                    <a:pt x="107472" y="82622"/>
                  </a:lnTo>
                  <a:lnTo>
                    <a:pt x="107472" y="81836"/>
                  </a:lnTo>
                  <a:lnTo>
                    <a:pt x="107472" y="81836"/>
                  </a:lnTo>
                  <a:lnTo>
                    <a:pt x="108791" y="80655"/>
                  </a:lnTo>
                  <a:lnTo>
                    <a:pt x="108791" y="80655"/>
                  </a:lnTo>
                  <a:lnTo>
                    <a:pt x="110109" y="81836"/>
                  </a:lnTo>
                  <a:lnTo>
                    <a:pt x="110109" y="81836"/>
                  </a:lnTo>
                  <a:lnTo>
                    <a:pt x="112087" y="82622"/>
                  </a:lnTo>
                  <a:lnTo>
                    <a:pt x="110109" y="82622"/>
                  </a:lnTo>
                  <a:lnTo>
                    <a:pt x="110109" y="83409"/>
                  </a:lnTo>
                  <a:lnTo>
                    <a:pt x="110109" y="83409"/>
                  </a:lnTo>
                  <a:lnTo>
                    <a:pt x="110109" y="84590"/>
                  </a:lnTo>
                  <a:lnTo>
                    <a:pt x="110109" y="84590"/>
                  </a:lnTo>
                  <a:lnTo>
                    <a:pt x="112087" y="86557"/>
                  </a:lnTo>
                  <a:lnTo>
                    <a:pt x="112087" y="86557"/>
                  </a:lnTo>
                  <a:lnTo>
                    <a:pt x="112087" y="87344"/>
                  </a:lnTo>
                  <a:lnTo>
                    <a:pt x="112087" y="87344"/>
                  </a:lnTo>
                  <a:lnTo>
                    <a:pt x="113406" y="87344"/>
                  </a:lnTo>
                  <a:lnTo>
                    <a:pt x="113406" y="87344"/>
                  </a:lnTo>
                  <a:lnTo>
                    <a:pt x="113406" y="86557"/>
                  </a:lnTo>
                  <a:lnTo>
                    <a:pt x="115384" y="86557"/>
                  </a:lnTo>
                  <a:lnTo>
                    <a:pt x="116703" y="85377"/>
                  </a:lnTo>
                  <a:lnTo>
                    <a:pt x="116703" y="85377"/>
                  </a:lnTo>
                  <a:lnTo>
                    <a:pt x="116703" y="85377"/>
                  </a:lnTo>
                  <a:lnTo>
                    <a:pt x="116703" y="84590"/>
                  </a:lnTo>
                  <a:lnTo>
                    <a:pt x="116703" y="83409"/>
                  </a:lnTo>
                  <a:lnTo>
                    <a:pt x="115384" y="82622"/>
                  </a:lnTo>
                  <a:lnTo>
                    <a:pt x="116703" y="81836"/>
                  </a:lnTo>
                  <a:lnTo>
                    <a:pt x="116703" y="81836"/>
                  </a:lnTo>
                  <a:lnTo>
                    <a:pt x="120000" y="80655"/>
                  </a:lnTo>
                  <a:lnTo>
                    <a:pt x="118021" y="79868"/>
                  </a:lnTo>
                  <a:lnTo>
                    <a:pt x="116703" y="79868"/>
                  </a:lnTo>
                  <a:close/>
                  <a:moveTo>
                    <a:pt x="56043" y="1573"/>
                  </a:moveTo>
                  <a:lnTo>
                    <a:pt x="56043" y="2754"/>
                  </a:lnTo>
                  <a:lnTo>
                    <a:pt x="56043" y="3540"/>
                  </a:lnTo>
                  <a:lnTo>
                    <a:pt x="57362" y="3540"/>
                  </a:lnTo>
                  <a:lnTo>
                    <a:pt x="59340" y="5508"/>
                  </a:lnTo>
                  <a:lnTo>
                    <a:pt x="61978" y="7475"/>
                  </a:lnTo>
                  <a:lnTo>
                    <a:pt x="63956" y="9049"/>
                  </a:lnTo>
                  <a:lnTo>
                    <a:pt x="63956" y="10229"/>
                  </a:lnTo>
                  <a:lnTo>
                    <a:pt x="65274" y="11016"/>
                  </a:lnTo>
                  <a:lnTo>
                    <a:pt x="66593" y="12983"/>
                  </a:lnTo>
                  <a:lnTo>
                    <a:pt x="66593" y="13770"/>
                  </a:lnTo>
                  <a:lnTo>
                    <a:pt x="66593" y="14950"/>
                  </a:lnTo>
                  <a:lnTo>
                    <a:pt x="66593" y="15737"/>
                  </a:lnTo>
                  <a:lnTo>
                    <a:pt x="68571" y="16524"/>
                  </a:lnTo>
                  <a:lnTo>
                    <a:pt x="69890" y="18491"/>
                  </a:lnTo>
                  <a:lnTo>
                    <a:pt x="69890" y="18491"/>
                  </a:lnTo>
                  <a:lnTo>
                    <a:pt x="69890" y="19278"/>
                  </a:lnTo>
                  <a:lnTo>
                    <a:pt x="68571" y="19278"/>
                  </a:lnTo>
                  <a:lnTo>
                    <a:pt x="68571" y="19278"/>
                  </a:lnTo>
                  <a:lnTo>
                    <a:pt x="65274" y="19278"/>
                  </a:lnTo>
                  <a:lnTo>
                    <a:pt x="63956" y="19278"/>
                  </a:lnTo>
                  <a:lnTo>
                    <a:pt x="63956" y="19278"/>
                  </a:lnTo>
                  <a:lnTo>
                    <a:pt x="60659" y="18491"/>
                  </a:lnTo>
                  <a:lnTo>
                    <a:pt x="59340" y="18491"/>
                  </a:lnTo>
                  <a:lnTo>
                    <a:pt x="59340" y="18491"/>
                  </a:lnTo>
                  <a:lnTo>
                    <a:pt x="59340" y="19278"/>
                  </a:lnTo>
                  <a:lnTo>
                    <a:pt x="59340" y="19278"/>
                  </a:lnTo>
                  <a:lnTo>
                    <a:pt x="61978" y="20459"/>
                  </a:lnTo>
                  <a:lnTo>
                    <a:pt x="61978" y="21245"/>
                  </a:lnTo>
                  <a:lnTo>
                    <a:pt x="61978" y="22032"/>
                  </a:lnTo>
                  <a:lnTo>
                    <a:pt x="60659" y="23213"/>
                  </a:lnTo>
                  <a:lnTo>
                    <a:pt x="60659" y="23213"/>
                  </a:lnTo>
                  <a:lnTo>
                    <a:pt x="59340" y="24000"/>
                  </a:lnTo>
                  <a:lnTo>
                    <a:pt x="59340" y="24000"/>
                  </a:lnTo>
                  <a:lnTo>
                    <a:pt x="59340" y="24000"/>
                  </a:lnTo>
                  <a:lnTo>
                    <a:pt x="59340" y="24000"/>
                  </a:lnTo>
                  <a:lnTo>
                    <a:pt x="59340" y="25967"/>
                  </a:lnTo>
                  <a:lnTo>
                    <a:pt x="59340" y="25967"/>
                  </a:lnTo>
                  <a:lnTo>
                    <a:pt x="60659" y="26754"/>
                  </a:lnTo>
                  <a:lnTo>
                    <a:pt x="61978" y="27934"/>
                  </a:lnTo>
                  <a:lnTo>
                    <a:pt x="63956" y="28721"/>
                  </a:lnTo>
                  <a:lnTo>
                    <a:pt x="65274" y="28721"/>
                  </a:lnTo>
                  <a:lnTo>
                    <a:pt x="66593" y="29508"/>
                  </a:lnTo>
                  <a:lnTo>
                    <a:pt x="66593" y="30688"/>
                  </a:lnTo>
                  <a:lnTo>
                    <a:pt x="66593" y="31475"/>
                  </a:lnTo>
                  <a:lnTo>
                    <a:pt x="68571" y="32262"/>
                  </a:lnTo>
                  <a:lnTo>
                    <a:pt x="68571" y="33442"/>
                  </a:lnTo>
                  <a:lnTo>
                    <a:pt x="69890" y="33442"/>
                  </a:lnTo>
                  <a:lnTo>
                    <a:pt x="69890" y="33442"/>
                  </a:lnTo>
                  <a:lnTo>
                    <a:pt x="71868" y="34229"/>
                  </a:lnTo>
                  <a:lnTo>
                    <a:pt x="71868" y="33442"/>
                  </a:lnTo>
                  <a:lnTo>
                    <a:pt x="73186" y="33442"/>
                  </a:lnTo>
                  <a:lnTo>
                    <a:pt x="73186" y="32262"/>
                  </a:lnTo>
                  <a:lnTo>
                    <a:pt x="73186" y="31475"/>
                  </a:lnTo>
                  <a:lnTo>
                    <a:pt x="73186" y="31475"/>
                  </a:lnTo>
                  <a:lnTo>
                    <a:pt x="73186" y="30688"/>
                  </a:lnTo>
                  <a:lnTo>
                    <a:pt x="76483" y="31475"/>
                  </a:lnTo>
                  <a:lnTo>
                    <a:pt x="77802" y="31475"/>
                  </a:lnTo>
                  <a:lnTo>
                    <a:pt x="77802" y="31475"/>
                  </a:lnTo>
                  <a:lnTo>
                    <a:pt x="79120" y="31475"/>
                  </a:lnTo>
                  <a:lnTo>
                    <a:pt x="79120" y="30688"/>
                  </a:lnTo>
                  <a:lnTo>
                    <a:pt x="77802" y="30688"/>
                  </a:lnTo>
                  <a:lnTo>
                    <a:pt x="74505" y="29508"/>
                  </a:lnTo>
                  <a:lnTo>
                    <a:pt x="71868" y="28721"/>
                  </a:lnTo>
                  <a:lnTo>
                    <a:pt x="71868" y="27934"/>
                  </a:lnTo>
                  <a:lnTo>
                    <a:pt x="69890" y="28721"/>
                  </a:lnTo>
                  <a:lnTo>
                    <a:pt x="69890" y="27934"/>
                  </a:lnTo>
                  <a:lnTo>
                    <a:pt x="68571" y="27934"/>
                  </a:lnTo>
                  <a:lnTo>
                    <a:pt x="66593" y="26754"/>
                  </a:lnTo>
                  <a:lnTo>
                    <a:pt x="65274" y="26754"/>
                  </a:lnTo>
                  <a:lnTo>
                    <a:pt x="65274" y="25967"/>
                  </a:lnTo>
                  <a:lnTo>
                    <a:pt x="65274" y="25967"/>
                  </a:lnTo>
                  <a:lnTo>
                    <a:pt x="65274" y="25180"/>
                  </a:lnTo>
                  <a:lnTo>
                    <a:pt x="65274" y="25180"/>
                  </a:lnTo>
                  <a:lnTo>
                    <a:pt x="66593" y="25180"/>
                  </a:lnTo>
                  <a:lnTo>
                    <a:pt x="66593" y="25180"/>
                  </a:lnTo>
                  <a:lnTo>
                    <a:pt x="68571" y="25180"/>
                  </a:lnTo>
                  <a:lnTo>
                    <a:pt x="69890" y="25180"/>
                  </a:lnTo>
                  <a:lnTo>
                    <a:pt x="73186" y="25967"/>
                  </a:lnTo>
                  <a:lnTo>
                    <a:pt x="73186" y="26754"/>
                  </a:lnTo>
                  <a:lnTo>
                    <a:pt x="76483" y="25180"/>
                  </a:lnTo>
                  <a:lnTo>
                    <a:pt x="81098" y="25180"/>
                  </a:lnTo>
                  <a:lnTo>
                    <a:pt x="83736" y="25180"/>
                  </a:lnTo>
                  <a:lnTo>
                    <a:pt x="90329" y="26754"/>
                  </a:lnTo>
                  <a:lnTo>
                    <a:pt x="96263" y="28721"/>
                  </a:lnTo>
                  <a:lnTo>
                    <a:pt x="99560" y="28721"/>
                  </a:lnTo>
                  <a:lnTo>
                    <a:pt x="100879" y="29508"/>
                  </a:lnTo>
                  <a:lnTo>
                    <a:pt x="100879" y="28721"/>
                  </a:lnTo>
                  <a:lnTo>
                    <a:pt x="100879" y="28721"/>
                  </a:lnTo>
                  <a:lnTo>
                    <a:pt x="100879" y="27934"/>
                  </a:lnTo>
                  <a:lnTo>
                    <a:pt x="100879" y="27934"/>
                  </a:lnTo>
                  <a:lnTo>
                    <a:pt x="99560" y="26754"/>
                  </a:lnTo>
                  <a:lnTo>
                    <a:pt x="99560" y="25967"/>
                  </a:lnTo>
                  <a:lnTo>
                    <a:pt x="99560" y="24000"/>
                  </a:lnTo>
                  <a:lnTo>
                    <a:pt x="100879" y="23213"/>
                  </a:lnTo>
                  <a:lnTo>
                    <a:pt x="102857" y="22032"/>
                  </a:lnTo>
                  <a:lnTo>
                    <a:pt x="104175" y="21245"/>
                  </a:lnTo>
                  <a:lnTo>
                    <a:pt x="104175" y="21245"/>
                  </a:lnTo>
                  <a:lnTo>
                    <a:pt x="107472" y="21245"/>
                  </a:lnTo>
                  <a:lnTo>
                    <a:pt x="108791" y="21245"/>
                  </a:lnTo>
                  <a:lnTo>
                    <a:pt x="110109" y="21245"/>
                  </a:lnTo>
                  <a:lnTo>
                    <a:pt x="112087" y="21245"/>
                  </a:lnTo>
                  <a:lnTo>
                    <a:pt x="112087" y="21245"/>
                  </a:lnTo>
                  <a:lnTo>
                    <a:pt x="113406" y="20459"/>
                  </a:lnTo>
                  <a:lnTo>
                    <a:pt x="113406" y="20459"/>
                  </a:lnTo>
                  <a:lnTo>
                    <a:pt x="115384" y="19278"/>
                  </a:lnTo>
                  <a:lnTo>
                    <a:pt x="115384" y="19278"/>
                  </a:lnTo>
                  <a:lnTo>
                    <a:pt x="116703" y="19278"/>
                  </a:lnTo>
                  <a:lnTo>
                    <a:pt x="116703" y="19278"/>
                  </a:lnTo>
                  <a:lnTo>
                    <a:pt x="116703" y="18491"/>
                  </a:lnTo>
                  <a:lnTo>
                    <a:pt x="118021" y="18491"/>
                  </a:lnTo>
                  <a:lnTo>
                    <a:pt x="118021" y="18491"/>
                  </a:lnTo>
                  <a:lnTo>
                    <a:pt x="116703" y="17704"/>
                  </a:lnTo>
                  <a:lnTo>
                    <a:pt x="116703" y="18491"/>
                  </a:lnTo>
                  <a:lnTo>
                    <a:pt x="116703" y="18491"/>
                  </a:lnTo>
                  <a:lnTo>
                    <a:pt x="115384" y="18491"/>
                  </a:lnTo>
                  <a:lnTo>
                    <a:pt x="115384" y="18491"/>
                  </a:lnTo>
                  <a:lnTo>
                    <a:pt x="113406" y="18491"/>
                  </a:lnTo>
                  <a:lnTo>
                    <a:pt x="112087" y="17704"/>
                  </a:lnTo>
                  <a:lnTo>
                    <a:pt x="110109" y="16524"/>
                  </a:lnTo>
                  <a:lnTo>
                    <a:pt x="108791" y="15737"/>
                  </a:lnTo>
                  <a:lnTo>
                    <a:pt x="107472" y="14950"/>
                  </a:lnTo>
                  <a:lnTo>
                    <a:pt x="105494" y="13770"/>
                  </a:lnTo>
                  <a:lnTo>
                    <a:pt x="105494" y="12983"/>
                  </a:lnTo>
                  <a:lnTo>
                    <a:pt x="105494" y="11016"/>
                  </a:lnTo>
                  <a:lnTo>
                    <a:pt x="105494" y="11016"/>
                  </a:lnTo>
                  <a:lnTo>
                    <a:pt x="105494" y="10229"/>
                  </a:lnTo>
                  <a:lnTo>
                    <a:pt x="104175" y="10229"/>
                  </a:lnTo>
                  <a:lnTo>
                    <a:pt x="104175" y="11803"/>
                  </a:lnTo>
                  <a:lnTo>
                    <a:pt x="102857" y="12983"/>
                  </a:lnTo>
                  <a:lnTo>
                    <a:pt x="102857" y="13770"/>
                  </a:lnTo>
                  <a:lnTo>
                    <a:pt x="100879" y="13770"/>
                  </a:lnTo>
                  <a:lnTo>
                    <a:pt x="99560" y="13770"/>
                  </a:lnTo>
                  <a:lnTo>
                    <a:pt x="98241" y="13770"/>
                  </a:lnTo>
                  <a:lnTo>
                    <a:pt x="93626" y="11803"/>
                  </a:lnTo>
                  <a:lnTo>
                    <a:pt x="91648" y="11803"/>
                  </a:lnTo>
                  <a:lnTo>
                    <a:pt x="91648" y="11803"/>
                  </a:lnTo>
                  <a:lnTo>
                    <a:pt x="90329" y="11803"/>
                  </a:lnTo>
                  <a:lnTo>
                    <a:pt x="88351" y="11803"/>
                  </a:lnTo>
                  <a:lnTo>
                    <a:pt x="87032" y="11016"/>
                  </a:lnTo>
                  <a:lnTo>
                    <a:pt x="85714" y="11016"/>
                  </a:lnTo>
                  <a:lnTo>
                    <a:pt x="81098" y="10229"/>
                  </a:lnTo>
                  <a:lnTo>
                    <a:pt x="77802" y="9049"/>
                  </a:lnTo>
                  <a:lnTo>
                    <a:pt x="74505" y="7475"/>
                  </a:lnTo>
                  <a:lnTo>
                    <a:pt x="71868" y="6295"/>
                  </a:lnTo>
                  <a:lnTo>
                    <a:pt x="65274" y="3540"/>
                  </a:lnTo>
                  <a:lnTo>
                    <a:pt x="60659" y="1573"/>
                  </a:lnTo>
                  <a:lnTo>
                    <a:pt x="59340" y="786"/>
                  </a:lnTo>
                  <a:lnTo>
                    <a:pt x="57362" y="786"/>
                  </a:lnTo>
                  <a:lnTo>
                    <a:pt x="57362" y="0"/>
                  </a:lnTo>
                  <a:lnTo>
                    <a:pt x="56043" y="786"/>
                  </a:lnTo>
                  <a:lnTo>
                    <a:pt x="56043" y="786"/>
                  </a:lnTo>
                  <a:lnTo>
                    <a:pt x="56043" y="786"/>
                  </a:lnTo>
                  <a:lnTo>
                    <a:pt x="54725" y="786"/>
                  </a:lnTo>
                  <a:lnTo>
                    <a:pt x="54725" y="1573"/>
                  </a:lnTo>
                  <a:lnTo>
                    <a:pt x="56043" y="1573"/>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59" name="Shape 459"/>
            <p:cNvSpPr/>
            <p:nvPr/>
          </p:nvSpPr>
          <p:spPr>
            <a:xfrm>
              <a:off x="2220" y="2418"/>
              <a:ext cx="0" cy="0"/>
            </a:xfrm>
            <a:custGeom>
              <a:avLst/>
              <a:gdLst/>
              <a:ahLst/>
              <a:cxnLst/>
              <a:rect l="0" t="0" r="0" b="0"/>
              <a:pathLst>
                <a:path w="120000" h="120000" extrusionOk="0">
                  <a:moveTo>
                    <a:pt x="114000" y="82500"/>
                  </a:moveTo>
                  <a:lnTo>
                    <a:pt x="114000" y="52500"/>
                  </a:lnTo>
                  <a:lnTo>
                    <a:pt x="93000" y="30000"/>
                  </a:lnTo>
                  <a:lnTo>
                    <a:pt x="93000" y="30000"/>
                  </a:lnTo>
                  <a:lnTo>
                    <a:pt x="84000" y="15000"/>
                  </a:lnTo>
                  <a:lnTo>
                    <a:pt x="78000" y="15000"/>
                  </a:lnTo>
                  <a:lnTo>
                    <a:pt x="78000" y="15000"/>
                  </a:lnTo>
                  <a:lnTo>
                    <a:pt x="72000" y="15000"/>
                  </a:lnTo>
                  <a:lnTo>
                    <a:pt x="63000" y="0"/>
                  </a:lnTo>
                  <a:lnTo>
                    <a:pt x="57000" y="0"/>
                  </a:lnTo>
                  <a:lnTo>
                    <a:pt x="57000" y="0"/>
                  </a:lnTo>
                  <a:lnTo>
                    <a:pt x="27000" y="0"/>
                  </a:lnTo>
                  <a:lnTo>
                    <a:pt x="27000" y="0"/>
                  </a:lnTo>
                  <a:lnTo>
                    <a:pt x="21000" y="0"/>
                  </a:lnTo>
                  <a:lnTo>
                    <a:pt x="21000" y="0"/>
                  </a:lnTo>
                  <a:lnTo>
                    <a:pt x="15000" y="0"/>
                  </a:lnTo>
                  <a:lnTo>
                    <a:pt x="6000" y="15000"/>
                  </a:lnTo>
                  <a:lnTo>
                    <a:pt x="6000" y="15000"/>
                  </a:lnTo>
                  <a:lnTo>
                    <a:pt x="0" y="30000"/>
                  </a:lnTo>
                  <a:lnTo>
                    <a:pt x="6000" y="30000"/>
                  </a:lnTo>
                  <a:lnTo>
                    <a:pt x="15000" y="52500"/>
                  </a:lnTo>
                  <a:lnTo>
                    <a:pt x="21000" y="52500"/>
                  </a:lnTo>
                  <a:lnTo>
                    <a:pt x="21000" y="67500"/>
                  </a:lnTo>
                  <a:lnTo>
                    <a:pt x="27000" y="67500"/>
                  </a:lnTo>
                  <a:lnTo>
                    <a:pt x="27000" y="67500"/>
                  </a:lnTo>
                  <a:lnTo>
                    <a:pt x="27000" y="82500"/>
                  </a:lnTo>
                  <a:lnTo>
                    <a:pt x="36000" y="105000"/>
                  </a:lnTo>
                  <a:lnTo>
                    <a:pt x="48000" y="105000"/>
                  </a:lnTo>
                  <a:lnTo>
                    <a:pt x="57000" y="105000"/>
                  </a:lnTo>
                  <a:lnTo>
                    <a:pt x="57000" y="105000"/>
                  </a:lnTo>
                  <a:lnTo>
                    <a:pt x="63000" y="120000"/>
                  </a:lnTo>
                  <a:lnTo>
                    <a:pt x="63000" y="105000"/>
                  </a:lnTo>
                  <a:lnTo>
                    <a:pt x="63000" y="82500"/>
                  </a:lnTo>
                  <a:lnTo>
                    <a:pt x="72000" y="82500"/>
                  </a:lnTo>
                  <a:lnTo>
                    <a:pt x="72000" y="105000"/>
                  </a:lnTo>
                  <a:lnTo>
                    <a:pt x="78000" y="105000"/>
                  </a:lnTo>
                  <a:lnTo>
                    <a:pt x="78000" y="82500"/>
                  </a:lnTo>
                  <a:lnTo>
                    <a:pt x="84000" y="82500"/>
                  </a:lnTo>
                  <a:lnTo>
                    <a:pt x="84000" y="82500"/>
                  </a:lnTo>
                  <a:lnTo>
                    <a:pt x="84000" y="82500"/>
                  </a:lnTo>
                  <a:lnTo>
                    <a:pt x="84000" y="82500"/>
                  </a:lnTo>
                  <a:lnTo>
                    <a:pt x="93000" y="82500"/>
                  </a:lnTo>
                  <a:lnTo>
                    <a:pt x="93000" y="82500"/>
                  </a:lnTo>
                  <a:lnTo>
                    <a:pt x="99000" y="105000"/>
                  </a:lnTo>
                  <a:lnTo>
                    <a:pt x="105000" y="82500"/>
                  </a:lnTo>
                  <a:lnTo>
                    <a:pt x="114000" y="82500"/>
                  </a:lnTo>
                  <a:lnTo>
                    <a:pt x="120000" y="82500"/>
                  </a:lnTo>
                  <a:lnTo>
                    <a:pt x="114000" y="8250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60" name="Shape 460"/>
            <p:cNvSpPr/>
            <p:nvPr/>
          </p:nvSpPr>
          <p:spPr>
            <a:xfrm>
              <a:off x="3493" y="2581"/>
              <a:ext cx="0" cy="0"/>
            </a:xfrm>
            <a:custGeom>
              <a:avLst/>
              <a:gdLst/>
              <a:ahLst/>
              <a:cxnLst/>
              <a:rect l="0" t="0" r="0" b="0"/>
              <a:pathLst>
                <a:path w="120000" h="120000" extrusionOk="0">
                  <a:moveTo>
                    <a:pt x="103304" y="105671"/>
                  </a:moveTo>
                  <a:lnTo>
                    <a:pt x="107478" y="107462"/>
                  </a:lnTo>
                  <a:lnTo>
                    <a:pt x="107478" y="105671"/>
                  </a:lnTo>
                  <a:lnTo>
                    <a:pt x="105391" y="105671"/>
                  </a:lnTo>
                  <a:lnTo>
                    <a:pt x="103304" y="105671"/>
                  </a:lnTo>
                  <a:close/>
                  <a:moveTo>
                    <a:pt x="117913" y="42089"/>
                  </a:moveTo>
                  <a:lnTo>
                    <a:pt x="117913" y="37611"/>
                  </a:lnTo>
                  <a:lnTo>
                    <a:pt x="117913" y="35820"/>
                  </a:lnTo>
                  <a:lnTo>
                    <a:pt x="117913" y="35820"/>
                  </a:lnTo>
                  <a:lnTo>
                    <a:pt x="114782" y="34029"/>
                  </a:lnTo>
                  <a:lnTo>
                    <a:pt x="114782" y="31343"/>
                  </a:lnTo>
                  <a:lnTo>
                    <a:pt x="114782" y="31343"/>
                  </a:lnTo>
                  <a:lnTo>
                    <a:pt x="114782" y="31343"/>
                  </a:lnTo>
                  <a:lnTo>
                    <a:pt x="114782" y="29552"/>
                  </a:lnTo>
                  <a:lnTo>
                    <a:pt x="114782" y="26865"/>
                  </a:lnTo>
                  <a:lnTo>
                    <a:pt x="114782" y="26865"/>
                  </a:lnTo>
                  <a:lnTo>
                    <a:pt x="114782" y="26865"/>
                  </a:lnTo>
                  <a:lnTo>
                    <a:pt x="114782" y="25074"/>
                  </a:lnTo>
                  <a:lnTo>
                    <a:pt x="114782" y="23283"/>
                  </a:lnTo>
                  <a:lnTo>
                    <a:pt x="114782" y="25074"/>
                  </a:lnTo>
                  <a:lnTo>
                    <a:pt x="114782" y="25074"/>
                  </a:lnTo>
                  <a:lnTo>
                    <a:pt x="112695" y="25074"/>
                  </a:lnTo>
                  <a:lnTo>
                    <a:pt x="112695" y="23283"/>
                  </a:lnTo>
                  <a:lnTo>
                    <a:pt x="112695" y="23283"/>
                  </a:lnTo>
                  <a:lnTo>
                    <a:pt x="110608" y="20597"/>
                  </a:lnTo>
                  <a:lnTo>
                    <a:pt x="110608" y="20597"/>
                  </a:lnTo>
                  <a:lnTo>
                    <a:pt x="107478" y="18805"/>
                  </a:lnTo>
                  <a:lnTo>
                    <a:pt x="107478" y="18805"/>
                  </a:lnTo>
                  <a:lnTo>
                    <a:pt x="107478" y="17014"/>
                  </a:lnTo>
                  <a:lnTo>
                    <a:pt x="105391" y="17014"/>
                  </a:lnTo>
                  <a:lnTo>
                    <a:pt x="103304" y="17014"/>
                  </a:lnTo>
                  <a:lnTo>
                    <a:pt x="103304" y="17014"/>
                  </a:lnTo>
                  <a:lnTo>
                    <a:pt x="98086" y="14328"/>
                  </a:lnTo>
                  <a:lnTo>
                    <a:pt x="96000" y="14328"/>
                  </a:lnTo>
                  <a:lnTo>
                    <a:pt x="92869" y="17014"/>
                  </a:lnTo>
                  <a:lnTo>
                    <a:pt x="90782" y="17014"/>
                  </a:lnTo>
                  <a:lnTo>
                    <a:pt x="85565" y="18805"/>
                  </a:lnTo>
                  <a:lnTo>
                    <a:pt x="85565" y="18805"/>
                  </a:lnTo>
                  <a:lnTo>
                    <a:pt x="83478" y="20597"/>
                  </a:lnTo>
                  <a:lnTo>
                    <a:pt x="83478" y="20597"/>
                  </a:lnTo>
                  <a:lnTo>
                    <a:pt x="80347" y="20597"/>
                  </a:lnTo>
                  <a:lnTo>
                    <a:pt x="80347" y="18805"/>
                  </a:lnTo>
                  <a:lnTo>
                    <a:pt x="78260" y="18805"/>
                  </a:lnTo>
                  <a:lnTo>
                    <a:pt x="76173" y="18805"/>
                  </a:lnTo>
                  <a:lnTo>
                    <a:pt x="76173" y="17014"/>
                  </a:lnTo>
                  <a:lnTo>
                    <a:pt x="73043" y="17014"/>
                  </a:lnTo>
                  <a:lnTo>
                    <a:pt x="70956" y="14328"/>
                  </a:lnTo>
                  <a:lnTo>
                    <a:pt x="70956" y="12537"/>
                  </a:lnTo>
                  <a:lnTo>
                    <a:pt x="70956" y="12537"/>
                  </a:lnTo>
                  <a:lnTo>
                    <a:pt x="68869" y="10746"/>
                  </a:lnTo>
                  <a:lnTo>
                    <a:pt x="68869" y="8059"/>
                  </a:lnTo>
                  <a:lnTo>
                    <a:pt x="65739" y="8059"/>
                  </a:lnTo>
                  <a:lnTo>
                    <a:pt x="63652" y="8059"/>
                  </a:lnTo>
                  <a:lnTo>
                    <a:pt x="61565" y="8059"/>
                  </a:lnTo>
                  <a:lnTo>
                    <a:pt x="61565" y="6268"/>
                  </a:lnTo>
                  <a:lnTo>
                    <a:pt x="61565" y="6268"/>
                  </a:lnTo>
                  <a:lnTo>
                    <a:pt x="58434" y="6268"/>
                  </a:lnTo>
                  <a:lnTo>
                    <a:pt x="54260" y="6268"/>
                  </a:lnTo>
                  <a:lnTo>
                    <a:pt x="54260" y="8059"/>
                  </a:lnTo>
                  <a:lnTo>
                    <a:pt x="54260" y="8059"/>
                  </a:lnTo>
                  <a:lnTo>
                    <a:pt x="54260" y="8059"/>
                  </a:lnTo>
                  <a:lnTo>
                    <a:pt x="51130" y="10746"/>
                  </a:lnTo>
                  <a:lnTo>
                    <a:pt x="51130" y="10746"/>
                  </a:lnTo>
                  <a:lnTo>
                    <a:pt x="49043" y="10746"/>
                  </a:lnTo>
                  <a:lnTo>
                    <a:pt x="49043" y="10746"/>
                  </a:lnTo>
                  <a:lnTo>
                    <a:pt x="45913" y="8059"/>
                  </a:lnTo>
                  <a:lnTo>
                    <a:pt x="45913" y="8059"/>
                  </a:lnTo>
                  <a:lnTo>
                    <a:pt x="49043" y="8059"/>
                  </a:lnTo>
                  <a:lnTo>
                    <a:pt x="49043" y="6268"/>
                  </a:lnTo>
                  <a:lnTo>
                    <a:pt x="49043" y="6268"/>
                  </a:lnTo>
                  <a:lnTo>
                    <a:pt x="49043" y="3582"/>
                  </a:lnTo>
                  <a:lnTo>
                    <a:pt x="45913" y="3582"/>
                  </a:lnTo>
                  <a:lnTo>
                    <a:pt x="45913" y="1791"/>
                  </a:lnTo>
                  <a:lnTo>
                    <a:pt x="45913" y="0"/>
                  </a:lnTo>
                  <a:lnTo>
                    <a:pt x="45913" y="0"/>
                  </a:lnTo>
                  <a:lnTo>
                    <a:pt x="43826" y="1791"/>
                  </a:lnTo>
                  <a:lnTo>
                    <a:pt x="43826" y="1791"/>
                  </a:lnTo>
                  <a:lnTo>
                    <a:pt x="43826" y="1791"/>
                  </a:lnTo>
                  <a:lnTo>
                    <a:pt x="43826" y="1791"/>
                  </a:lnTo>
                  <a:lnTo>
                    <a:pt x="43826" y="3582"/>
                  </a:lnTo>
                  <a:lnTo>
                    <a:pt x="43826" y="3582"/>
                  </a:lnTo>
                  <a:lnTo>
                    <a:pt x="41739" y="3582"/>
                  </a:lnTo>
                  <a:lnTo>
                    <a:pt x="41739" y="3582"/>
                  </a:lnTo>
                  <a:lnTo>
                    <a:pt x="38608" y="1791"/>
                  </a:lnTo>
                  <a:lnTo>
                    <a:pt x="38608" y="1791"/>
                  </a:lnTo>
                  <a:lnTo>
                    <a:pt x="38608" y="3582"/>
                  </a:lnTo>
                  <a:lnTo>
                    <a:pt x="38608" y="3582"/>
                  </a:lnTo>
                  <a:lnTo>
                    <a:pt x="38608" y="6268"/>
                  </a:lnTo>
                  <a:lnTo>
                    <a:pt x="38608" y="8059"/>
                  </a:lnTo>
                  <a:lnTo>
                    <a:pt x="36521" y="8059"/>
                  </a:lnTo>
                  <a:lnTo>
                    <a:pt x="36521" y="8059"/>
                  </a:lnTo>
                  <a:lnTo>
                    <a:pt x="34434" y="8059"/>
                  </a:lnTo>
                  <a:lnTo>
                    <a:pt x="34434" y="8059"/>
                  </a:lnTo>
                  <a:lnTo>
                    <a:pt x="34434" y="8059"/>
                  </a:lnTo>
                  <a:lnTo>
                    <a:pt x="31304" y="8059"/>
                  </a:lnTo>
                  <a:lnTo>
                    <a:pt x="34434" y="10746"/>
                  </a:lnTo>
                  <a:lnTo>
                    <a:pt x="34434" y="10746"/>
                  </a:lnTo>
                  <a:lnTo>
                    <a:pt x="31304" y="10746"/>
                  </a:lnTo>
                  <a:lnTo>
                    <a:pt x="31304" y="10746"/>
                  </a:lnTo>
                  <a:lnTo>
                    <a:pt x="31304" y="10746"/>
                  </a:lnTo>
                  <a:lnTo>
                    <a:pt x="31304" y="10746"/>
                  </a:lnTo>
                  <a:lnTo>
                    <a:pt x="29217" y="10746"/>
                  </a:lnTo>
                  <a:lnTo>
                    <a:pt x="27130" y="8059"/>
                  </a:lnTo>
                  <a:lnTo>
                    <a:pt x="24000" y="8059"/>
                  </a:lnTo>
                  <a:lnTo>
                    <a:pt x="24000" y="8059"/>
                  </a:lnTo>
                  <a:lnTo>
                    <a:pt x="24000" y="6268"/>
                  </a:lnTo>
                  <a:lnTo>
                    <a:pt x="24000" y="6268"/>
                  </a:lnTo>
                  <a:lnTo>
                    <a:pt x="21913" y="6268"/>
                  </a:lnTo>
                  <a:lnTo>
                    <a:pt x="21913" y="6268"/>
                  </a:lnTo>
                  <a:lnTo>
                    <a:pt x="19826" y="6268"/>
                  </a:lnTo>
                  <a:lnTo>
                    <a:pt x="19826" y="8059"/>
                  </a:lnTo>
                  <a:lnTo>
                    <a:pt x="16695" y="10746"/>
                  </a:lnTo>
                  <a:lnTo>
                    <a:pt x="14608" y="10746"/>
                  </a:lnTo>
                  <a:lnTo>
                    <a:pt x="14608" y="10746"/>
                  </a:lnTo>
                  <a:lnTo>
                    <a:pt x="14608" y="10746"/>
                  </a:lnTo>
                  <a:lnTo>
                    <a:pt x="11478" y="12537"/>
                  </a:lnTo>
                  <a:lnTo>
                    <a:pt x="11478" y="12537"/>
                  </a:lnTo>
                  <a:lnTo>
                    <a:pt x="9391" y="14328"/>
                  </a:lnTo>
                  <a:lnTo>
                    <a:pt x="9391" y="14328"/>
                  </a:lnTo>
                  <a:lnTo>
                    <a:pt x="9391" y="17014"/>
                  </a:lnTo>
                  <a:lnTo>
                    <a:pt x="9391" y="20597"/>
                  </a:lnTo>
                  <a:lnTo>
                    <a:pt x="9391" y="23283"/>
                  </a:lnTo>
                  <a:lnTo>
                    <a:pt x="11478" y="25074"/>
                  </a:lnTo>
                  <a:lnTo>
                    <a:pt x="11478" y="25074"/>
                  </a:lnTo>
                  <a:lnTo>
                    <a:pt x="14608" y="25074"/>
                  </a:lnTo>
                  <a:lnTo>
                    <a:pt x="14608" y="25074"/>
                  </a:lnTo>
                  <a:lnTo>
                    <a:pt x="14608" y="26865"/>
                  </a:lnTo>
                  <a:lnTo>
                    <a:pt x="14608" y="29552"/>
                  </a:lnTo>
                  <a:lnTo>
                    <a:pt x="16695" y="29552"/>
                  </a:lnTo>
                  <a:lnTo>
                    <a:pt x="16695" y="31343"/>
                  </a:lnTo>
                  <a:lnTo>
                    <a:pt x="16695" y="31343"/>
                  </a:lnTo>
                  <a:lnTo>
                    <a:pt x="14608" y="34029"/>
                  </a:lnTo>
                  <a:lnTo>
                    <a:pt x="14608" y="34029"/>
                  </a:lnTo>
                  <a:lnTo>
                    <a:pt x="14608" y="35820"/>
                  </a:lnTo>
                  <a:lnTo>
                    <a:pt x="14608" y="37611"/>
                  </a:lnTo>
                  <a:lnTo>
                    <a:pt x="16695" y="37611"/>
                  </a:lnTo>
                  <a:lnTo>
                    <a:pt x="19826" y="40298"/>
                  </a:lnTo>
                  <a:lnTo>
                    <a:pt x="19826" y="42089"/>
                  </a:lnTo>
                  <a:lnTo>
                    <a:pt x="19826" y="43880"/>
                  </a:lnTo>
                  <a:lnTo>
                    <a:pt x="19826" y="43880"/>
                  </a:lnTo>
                  <a:lnTo>
                    <a:pt x="16695" y="43880"/>
                  </a:lnTo>
                  <a:lnTo>
                    <a:pt x="16695" y="43880"/>
                  </a:lnTo>
                  <a:lnTo>
                    <a:pt x="16695" y="42089"/>
                  </a:lnTo>
                  <a:lnTo>
                    <a:pt x="14608" y="42089"/>
                  </a:lnTo>
                  <a:lnTo>
                    <a:pt x="14608" y="42089"/>
                  </a:lnTo>
                  <a:lnTo>
                    <a:pt x="11478" y="42089"/>
                  </a:lnTo>
                  <a:lnTo>
                    <a:pt x="9391" y="42089"/>
                  </a:lnTo>
                  <a:lnTo>
                    <a:pt x="9391" y="42089"/>
                  </a:lnTo>
                  <a:lnTo>
                    <a:pt x="7304" y="43880"/>
                  </a:lnTo>
                  <a:lnTo>
                    <a:pt x="7304" y="43880"/>
                  </a:lnTo>
                  <a:lnTo>
                    <a:pt x="7304" y="46567"/>
                  </a:lnTo>
                  <a:lnTo>
                    <a:pt x="9391" y="48358"/>
                  </a:lnTo>
                  <a:lnTo>
                    <a:pt x="9391" y="48358"/>
                  </a:lnTo>
                  <a:lnTo>
                    <a:pt x="11478" y="48358"/>
                  </a:lnTo>
                  <a:lnTo>
                    <a:pt x="11478" y="48358"/>
                  </a:lnTo>
                  <a:lnTo>
                    <a:pt x="11478" y="48358"/>
                  </a:lnTo>
                  <a:lnTo>
                    <a:pt x="11478" y="50149"/>
                  </a:lnTo>
                  <a:lnTo>
                    <a:pt x="11478" y="50149"/>
                  </a:lnTo>
                  <a:lnTo>
                    <a:pt x="11478" y="52835"/>
                  </a:lnTo>
                  <a:lnTo>
                    <a:pt x="9391" y="54626"/>
                  </a:lnTo>
                  <a:lnTo>
                    <a:pt x="9391" y="54626"/>
                  </a:lnTo>
                  <a:lnTo>
                    <a:pt x="9391" y="57313"/>
                  </a:lnTo>
                  <a:lnTo>
                    <a:pt x="9391" y="59104"/>
                  </a:lnTo>
                  <a:lnTo>
                    <a:pt x="7304" y="60895"/>
                  </a:lnTo>
                  <a:lnTo>
                    <a:pt x="4173" y="59104"/>
                  </a:lnTo>
                  <a:lnTo>
                    <a:pt x="4173" y="59104"/>
                  </a:lnTo>
                  <a:lnTo>
                    <a:pt x="2086" y="60895"/>
                  </a:lnTo>
                  <a:lnTo>
                    <a:pt x="4173" y="60895"/>
                  </a:lnTo>
                  <a:lnTo>
                    <a:pt x="4173" y="60895"/>
                  </a:lnTo>
                  <a:lnTo>
                    <a:pt x="4173" y="63582"/>
                  </a:lnTo>
                  <a:lnTo>
                    <a:pt x="7304" y="69850"/>
                  </a:lnTo>
                  <a:lnTo>
                    <a:pt x="7304" y="71641"/>
                  </a:lnTo>
                  <a:lnTo>
                    <a:pt x="7304" y="71641"/>
                  </a:lnTo>
                  <a:lnTo>
                    <a:pt x="7304" y="73432"/>
                  </a:lnTo>
                  <a:lnTo>
                    <a:pt x="7304" y="73432"/>
                  </a:lnTo>
                  <a:lnTo>
                    <a:pt x="4173" y="76119"/>
                  </a:lnTo>
                  <a:lnTo>
                    <a:pt x="0" y="80597"/>
                  </a:lnTo>
                  <a:lnTo>
                    <a:pt x="2086" y="80597"/>
                  </a:lnTo>
                  <a:lnTo>
                    <a:pt x="2086" y="80597"/>
                  </a:lnTo>
                  <a:lnTo>
                    <a:pt x="2086" y="80597"/>
                  </a:lnTo>
                  <a:lnTo>
                    <a:pt x="4173" y="80597"/>
                  </a:lnTo>
                  <a:lnTo>
                    <a:pt x="4173" y="82388"/>
                  </a:lnTo>
                  <a:lnTo>
                    <a:pt x="4173" y="82388"/>
                  </a:lnTo>
                  <a:lnTo>
                    <a:pt x="7304" y="84179"/>
                  </a:lnTo>
                  <a:lnTo>
                    <a:pt x="9391" y="84179"/>
                  </a:lnTo>
                  <a:lnTo>
                    <a:pt x="9391" y="84179"/>
                  </a:lnTo>
                  <a:lnTo>
                    <a:pt x="11478" y="84179"/>
                  </a:lnTo>
                  <a:lnTo>
                    <a:pt x="11478" y="84179"/>
                  </a:lnTo>
                  <a:lnTo>
                    <a:pt x="14608" y="84179"/>
                  </a:lnTo>
                  <a:lnTo>
                    <a:pt x="14608" y="86865"/>
                  </a:lnTo>
                  <a:lnTo>
                    <a:pt x="14608" y="88656"/>
                  </a:lnTo>
                  <a:lnTo>
                    <a:pt x="16695" y="88656"/>
                  </a:lnTo>
                  <a:lnTo>
                    <a:pt x="16695" y="90447"/>
                  </a:lnTo>
                  <a:lnTo>
                    <a:pt x="16695" y="90447"/>
                  </a:lnTo>
                  <a:lnTo>
                    <a:pt x="19826" y="90447"/>
                  </a:lnTo>
                  <a:lnTo>
                    <a:pt x="21913" y="93134"/>
                  </a:lnTo>
                  <a:lnTo>
                    <a:pt x="21913" y="93134"/>
                  </a:lnTo>
                  <a:lnTo>
                    <a:pt x="21913" y="93134"/>
                  </a:lnTo>
                  <a:lnTo>
                    <a:pt x="21913" y="93134"/>
                  </a:lnTo>
                  <a:lnTo>
                    <a:pt x="24000" y="96716"/>
                  </a:lnTo>
                  <a:lnTo>
                    <a:pt x="24000" y="96716"/>
                  </a:lnTo>
                  <a:lnTo>
                    <a:pt x="24000" y="99402"/>
                  </a:lnTo>
                  <a:lnTo>
                    <a:pt x="24000" y="99402"/>
                  </a:lnTo>
                  <a:lnTo>
                    <a:pt x="24000" y="101194"/>
                  </a:lnTo>
                  <a:lnTo>
                    <a:pt x="21913" y="103880"/>
                  </a:lnTo>
                  <a:lnTo>
                    <a:pt x="21913" y="105671"/>
                  </a:lnTo>
                  <a:lnTo>
                    <a:pt x="21913" y="105671"/>
                  </a:lnTo>
                  <a:lnTo>
                    <a:pt x="19826" y="107462"/>
                  </a:lnTo>
                  <a:lnTo>
                    <a:pt x="19826" y="107462"/>
                  </a:lnTo>
                  <a:lnTo>
                    <a:pt x="19826" y="110149"/>
                  </a:lnTo>
                  <a:lnTo>
                    <a:pt x="19826" y="111940"/>
                  </a:lnTo>
                  <a:lnTo>
                    <a:pt x="19826" y="116417"/>
                  </a:lnTo>
                  <a:lnTo>
                    <a:pt x="19826" y="120000"/>
                  </a:lnTo>
                  <a:lnTo>
                    <a:pt x="21913" y="120000"/>
                  </a:lnTo>
                  <a:lnTo>
                    <a:pt x="24000" y="120000"/>
                  </a:lnTo>
                  <a:lnTo>
                    <a:pt x="27130" y="118208"/>
                  </a:lnTo>
                  <a:lnTo>
                    <a:pt x="29217" y="116417"/>
                  </a:lnTo>
                  <a:lnTo>
                    <a:pt x="31304" y="116417"/>
                  </a:lnTo>
                  <a:lnTo>
                    <a:pt x="34434" y="113731"/>
                  </a:lnTo>
                  <a:lnTo>
                    <a:pt x="38608" y="113731"/>
                  </a:lnTo>
                  <a:lnTo>
                    <a:pt x="49043" y="110149"/>
                  </a:lnTo>
                  <a:lnTo>
                    <a:pt x="51130" y="107462"/>
                  </a:lnTo>
                  <a:lnTo>
                    <a:pt x="58434" y="107462"/>
                  </a:lnTo>
                  <a:lnTo>
                    <a:pt x="68869" y="105671"/>
                  </a:lnTo>
                  <a:lnTo>
                    <a:pt x="68869" y="105671"/>
                  </a:lnTo>
                  <a:lnTo>
                    <a:pt x="65739" y="105671"/>
                  </a:lnTo>
                  <a:lnTo>
                    <a:pt x="63652" y="105671"/>
                  </a:lnTo>
                  <a:lnTo>
                    <a:pt x="63652" y="105671"/>
                  </a:lnTo>
                  <a:lnTo>
                    <a:pt x="63652" y="105671"/>
                  </a:lnTo>
                  <a:lnTo>
                    <a:pt x="68869" y="105671"/>
                  </a:lnTo>
                  <a:lnTo>
                    <a:pt x="70956" y="105671"/>
                  </a:lnTo>
                  <a:lnTo>
                    <a:pt x="70956" y="105671"/>
                  </a:lnTo>
                  <a:lnTo>
                    <a:pt x="76173" y="105671"/>
                  </a:lnTo>
                  <a:lnTo>
                    <a:pt x="88695" y="103880"/>
                  </a:lnTo>
                  <a:lnTo>
                    <a:pt x="88695" y="103880"/>
                  </a:lnTo>
                  <a:lnTo>
                    <a:pt x="88695" y="103880"/>
                  </a:lnTo>
                  <a:lnTo>
                    <a:pt x="78260" y="103880"/>
                  </a:lnTo>
                  <a:lnTo>
                    <a:pt x="78260" y="103880"/>
                  </a:lnTo>
                  <a:lnTo>
                    <a:pt x="83478" y="103880"/>
                  </a:lnTo>
                  <a:lnTo>
                    <a:pt x="88695" y="103880"/>
                  </a:lnTo>
                  <a:lnTo>
                    <a:pt x="90782" y="103880"/>
                  </a:lnTo>
                  <a:lnTo>
                    <a:pt x="92869" y="103880"/>
                  </a:lnTo>
                  <a:lnTo>
                    <a:pt x="103304" y="105671"/>
                  </a:lnTo>
                  <a:lnTo>
                    <a:pt x="103304" y="105671"/>
                  </a:lnTo>
                  <a:lnTo>
                    <a:pt x="105391" y="101194"/>
                  </a:lnTo>
                  <a:lnTo>
                    <a:pt x="105391" y="101194"/>
                  </a:lnTo>
                  <a:lnTo>
                    <a:pt x="105391" y="101194"/>
                  </a:lnTo>
                  <a:lnTo>
                    <a:pt x="105391" y="105671"/>
                  </a:lnTo>
                  <a:lnTo>
                    <a:pt x="107478" y="105671"/>
                  </a:lnTo>
                  <a:lnTo>
                    <a:pt x="107478" y="105671"/>
                  </a:lnTo>
                  <a:lnTo>
                    <a:pt x="107478" y="105671"/>
                  </a:lnTo>
                  <a:lnTo>
                    <a:pt x="110608" y="105671"/>
                  </a:lnTo>
                  <a:lnTo>
                    <a:pt x="110608" y="105671"/>
                  </a:lnTo>
                  <a:lnTo>
                    <a:pt x="112695" y="105671"/>
                  </a:lnTo>
                  <a:lnTo>
                    <a:pt x="112695" y="105671"/>
                  </a:lnTo>
                  <a:lnTo>
                    <a:pt x="112695" y="103880"/>
                  </a:lnTo>
                  <a:lnTo>
                    <a:pt x="112695" y="101194"/>
                  </a:lnTo>
                  <a:lnTo>
                    <a:pt x="112695" y="101194"/>
                  </a:lnTo>
                  <a:lnTo>
                    <a:pt x="112695" y="101194"/>
                  </a:lnTo>
                  <a:lnTo>
                    <a:pt x="112695" y="96716"/>
                  </a:lnTo>
                  <a:lnTo>
                    <a:pt x="112695" y="96716"/>
                  </a:lnTo>
                  <a:lnTo>
                    <a:pt x="110608" y="96716"/>
                  </a:lnTo>
                  <a:lnTo>
                    <a:pt x="110608" y="94925"/>
                  </a:lnTo>
                  <a:lnTo>
                    <a:pt x="107478" y="94925"/>
                  </a:lnTo>
                  <a:lnTo>
                    <a:pt x="107478" y="93134"/>
                  </a:lnTo>
                  <a:lnTo>
                    <a:pt x="107478" y="90447"/>
                  </a:lnTo>
                  <a:lnTo>
                    <a:pt x="107478" y="88656"/>
                  </a:lnTo>
                  <a:lnTo>
                    <a:pt x="105391" y="82388"/>
                  </a:lnTo>
                  <a:lnTo>
                    <a:pt x="105391" y="82388"/>
                  </a:lnTo>
                  <a:lnTo>
                    <a:pt x="105391" y="80597"/>
                  </a:lnTo>
                  <a:lnTo>
                    <a:pt x="105391" y="77910"/>
                  </a:lnTo>
                  <a:lnTo>
                    <a:pt x="105391" y="76119"/>
                  </a:lnTo>
                  <a:lnTo>
                    <a:pt x="105391" y="76119"/>
                  </a:lnTo>
                  <a:lnTo>
                    <a:pt x="105391" y="73432"/>
                  </a:lnTo>
                  <a:lnTo>
                    <a:pt x="105391" y="71641"/>
                  </a:lnTo>
                  <a:lnTo>
                    <a:pt x="107478" y="69850"/>
                  </a:lnTo>
                  <a:lnTo>
                    <a:pt x="107478" y="67164"/>
                  </a:lnTo>
                  <a:lnTo>
                    <a:pt x="110608" y="67164"/>
                  </a:lnTo>
                  <a:lnTo>
                    <a:pt x="110608" y="65373"/>
                  </a:lnTo>
                  <a:lnTo>
                    <a:pt x="110608" y="60895"/>
                  </a:lnTo>
                  <a:lnTo>
                    <a:pt x="110608" y="57313"/>
                  </a:lnTo>
                  <a:lnTo>
                    <a:pt x="112695" y="57313"/>
                  </a:lnTo>
                  <a:lnTo>
                    <a:pt x="112695" y="54626"/>
                  </a:lnTo>
                  <a:lnTo>
                    <a:pt x="112695" y="54626"/>
                  </a:lnTo>
                  <a:lnTo>
                    <a:pt x="112695" y="52835"/>
                  </a:lnTo>
                  <a:lnTo>
                    <a:pt x="114782" y="50149"/>
                  </a:lnTo>
                  <a:lnTo>
                    <a:pt x="117913" y="50149"/>
                  </a:lnTo>
                  <a:lnTo>
                    <a:pt x="117913" y="50149"/>
                  </a:lnTo>
                  <a:lnTo>
                    <a:pt x="117913" y="50149"/>
                  </a:lnTo>
                  <a:lnTo>
                    <a:pt x="117913" y="48358"/>
                  </a:lnTo>
                  <a:lnTo>
                    <a:pt x="117913" y="48358"/>
                  </a:lnTo>
                  <a:lnTo>
                    <a:pt x="117913" y="48358"/>
                  </a:lnTo>
                  <a:lnTo>
                    <a:pt x="120000" y="48358"/>
                  </a:lnTo>
                  <a:lnTo>
                    <a:pt x="117913" y="42089"/>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61" name="Shape 461"/>
            <p:cNvSpPr/>
            <p:nvPr/>
          </p:nvSpPr>
          <p:spPr>
            <a:xfrm>
              <a:off x="3785" y="1817"/>
              <a:ext cx="300" cy="300"/>
            </a:xfrm>
            <a:custGeom>
              <a:avLst/>
              <a:gdLst/>
              <a:ahLst/>
              <a:cxnLst/>
              <a:rect l="0" t="0" r="0" b="0"/>
              <a:pathLst>
                <a:path w="120000" h="120000" extrusionOk="0">
                  <a:moveTo>
                    <a:pt x="90600" y="101581"/>
                  </a:moveTo>
                  <a:lnTo>
                    <a:pt x="88800" y="101581"/>
                  </a:lnTo>
                  <a:lnTo>
                    <a:pt x="87600" y="101581"/>
                  </a:lnTo>
                  <a:lnTo>
                    <a:pt x="87600" y="101581"/>
                  </a:lnTo>
                  <a:lnTo>
                    <a:pt x="86400" y="102697"/>
                  </a:lnTo>
                  <a:lnTo>
                    <a:pt x="86400" y="102697"/>
                  </a:lnTo>
                  <a:lnTo>
                    <a:pt x="84600" y="102697"/>
                  </a:lnTo>
                  <a:lnTo>
                    <a:pt x="83400" y="102697"/>
                  </a:lnTo>
                  <a:lnTo>
                    <a:pt x="83400" y="102697"/>
                  </a:lnTo>
                  <a:lnTo>
                    <a:pt x="82200" y="102697"/>
                  </a:lnTo>
                  <a:lnTo>
                    <a:pt x="80400" y="104372"/>
                  </a:lnTo>
                  <a:lnTo>
                    <a:pt x="79200" y="104372"/>
                  </a:lnTo>
                  <a:lnTo>
                    <a:pt x="79200" y="104372"/>
                  </a:lnTo>
                  <a:lnTo>
                    <a:pt x="78000" y="104372"/>
                  </a:lnTo>
                  <a:lnTo>
                    <a:pt x="75000" y="104372"/>
                  </a:lnTo>
                  <a:lnTo>
                    <a:pt x="73200" y="104372"/>
                  </a:lnTo>
                  <a:lnTo>
                    <a:pt x="72000" y="104372"/>
                  </a:lnTo>
                  <a:lnTo>
                    <a:pt x="72000" y="104372"/>
                  </a:lnTo>
                  <a:lnTo>
                    <a:pt x="70800" y="104372"/>
                  </a:lnTo>
                  <a:lnTo>
                    <a:pt x="69000" y="102697"/>
                  </a:lnTo>
                  <a:lnTo>
                    <a:pt x="69000" y="102697"/>
                  </a:lnTo>
                  <a:lnTo>
                    <a:pt x="67800" y="102697"/>
                  </a:lnTo>
                  <a:lnTo>
                    <a:pt x="67800" y="102697"/>
                  </a:lnTo>
                  <a:lnTo>
                    <a:pt x="67800" y="102697"/>
                  </a:lnTo>
                  <a:lnTo>
                    <a:pt x="66600" y="102697"/>
                  </a:lnTo>
                  <a:lnTo>
                    <a:pt x="64800" y="102697"/>
                  </a:lnTo>
                  <a:lnTo>
                    <a:pt x="64800" y="104372"/>
                  </a:lnTo>
                  <a:lnTo>
                    <a:pt x="63600" y="104372"/>
                  </a:lnTo>
                  <a:lnTo>
                    <a:pt x="63600" y="104372"/>
                  </a:lnTo>
                  <a:lnTo>
                    <a:pt x="62400" y="104372"/>
                  </a:lnTo>
                  <a:lnTo>
                    <a:pt x="60600" y="102697"/>
                  </a:lnTo>
                  <a:lnTo>
                    <a:pt x="60600" y="102697"/>
                  </a:lnTo>
                  <a:lnTo>
                    <a:pt x="60600" y="102697"/>
                  </a:lnTo>
                  <a:lnTo>
                    <a:pt x="59400" y="104372"/>
                  </a:lnTo>
                  <a:lnTo>
                    <a:pt x="59400" y="104372"/>
                  </a:lnTo>
                  <a:lnTo>
                    <a:pt x="59400" y="105488"/>
                  </a:lnTo>
                  <a:lnTo>
                    <a:pt x="58200" y="106604"/>
                  </a:lnTo>
                  <a:lnTo>
                    <a:pt x="58200" y="106604"/>
                  </a:lnTo>
                  <a:lnTo>
                    <a:pt x="59400" y="108279"/>
                  </a:lnTo>
                  <a:lnTo>
                    <a:pt x="60600" y="109395"/>
                  </a:lnTo>
                  <a:lnTo>
                    <a:pt x="60600" y="109395"/>
                  </a:lnTo>
                  <a:lnTo>
                    <a:pt x="62400" y="109395"/>
                  </a:lnTo>
                  <a:lnTo>
                    <a:pt x="62400" y="109395"/>
                  </a:lnTo>
                  <a:lnTo>
                    <a:pt x="63600" y="109395"/>
                  </a:lnTo>
                  <a:lnTo>
                    <a:pt x="64800" y="111069"/>
                  </a:lnTo>
                  <a:lnTo>
                    <a:pt x="66600" y="111069"/>
                  </a:lnTo>
                  <a:lnTo>
                    <a:pt x="66600" y="111069"/>
                  </a:lnTo>
                  <a:lnTo>
                    <a:pt x="66600" y="112186"/>
                  </a:lnTo>
                  <a:lnTo>
                    <a:pt x="67800" y="112186"/>
                  </a:lnTo>
                  <a:lnTo>
                    <a:pt x="70800" y="113302"/>
                  </a:lnTo>
                  <a:lnTo>
                    <a:pt x="72000" y="114976"/>
                  </a:lnTo>
                  <a:lnTo>
                    <a:pt x="73200" y="114976"/>
                  </a:lnTo>
                  <a:lnTo>
                    <a:pt x="75000" y="114976"/>
                  </a:lnTo>
                  <a:lnTo>
                    <a:pt x="76200" y="114976"/>
                  </a:lnTo>
                  <a:lnTo>
                    <a:pt x="78000" y="116093"/>
                  </a:lnTo>
                  <a:lnTo>
                    <a:pt x="79200" y="117209"/>
                  </a:lnTo>
                  <a:lnTo>
                    <a:pt x="80400" y="118883"/>
                  </a:lnTo>
                  <a:lnTo>
                    <a:pt x="80400" y="118883"/>
                  </a:lnTo>
                  <a:lnTo>
                    <a:pt x="80400" y="118883"/>
                  </a:lnTo>
                  <a:lnTo>
                    <a:pt x="83400" y="120000"/>
                  </a:lnTo>
                  <a:lnTo>
                    <a:pt x="83400" y="120000"/>
                  </a:lnTo>
                  <a:lnTo>
                    <a:pt x="84600" y="120000"/>
                  </a:lnTo>
                  <a:lnTo>
                    <a:pt x="86400" y="120000"/>
                  </a:lnTo>
                  <a:lnTo>
                    <a:pt x="86400" y="120000"/>
                  </a:lnTo>
                  <a:lnTo>
                    <a:pt x="86400" y="118883"/>
                  </a:lnTo>
                  <a:lnTo>
                    <a:pt x="86400" y="118883"/>
                  </a:lnTo>
                  <a:lnTo>
                    <a:pt x="86400" y="117209"/>
                  </a:lnTo>
                  <a:lnTo>
                    <a:pt x="87600" y="117209"/>
                  </a:lnTo>
                  <a:lnTo>
                    <a:pt x="87600" y="116093"/>
                  </a:lnTo>
                  <a:lnTo>
                    <a:pt x="87600" y="116093"/>
                  </a:lnTo>
                  <a:lnTo>
                    <a:pt x="87600" y="114976"/>
                  </a:lnTo>
                  <a:lnTo>
                    <a:pt x="87600" y="114976"/>
                  </a:lnTo>
                  <a:lnTo>
                    <a:pt x="86400" y="113302"/>
                  </a:lnTo>
                  <a:lnTo>
                    <a:pt x="87600" y="113302"/>
                  </a:lnTo>
                  <a:lnTo>
                    <a:pt x="87600" y="113302"/>
                  </a:lnTo>
                  <a:lnTo>
                    <a:pt x="86400" y="113302"/>
                  </a:lnTo>
                  <a:lnTo>
                    <a:pt x="86400" y="112186"/>
                  </a:lnTo>
                  <a:lnTo>
                    <a:pt x="86400" y="112186"/>
                  </a:lnTo>
                  <a:lnTo>
                    <a:pt x="86400" y="111069"/>
                  </a:lnTo>
                  <a:lnTo>
                    <a:pt x="86400" y="111069"/>
                  </a:lnTo>
                  <a:lnTo>
                    <a:pt x="86400" y="109395"/>
                  </a:lnTo>
                  <a:lnTo>
                    <a:pt x="87600" y="108279"/>
                  </a:lnTo>
                  <a:lnTo>
                    <a:pt x="87600" y="108279"/>
                  </a:lnTo>
                  <a:lnTo>
                    <a:pt x="87600" y="106604"/>
                  </a:lnTo>
                  <a:lnTo>
                    <a:pt x="90600" y="104372"/>
                  </a:lnTo>
                  <a:lnTo>
                    <a:pt x="90600" y="102697"/>
                  </a:lnTo>
                  <a:lnTo>
                    <a:pt x="90600" y="101581"/>
                  </a:lnTo>
                  <a:lnTo>
                    <a:pt x="91800" y="101581"/>
                  </a:lnTo>
                  <a:lnTo>
                    <a:pt x="90600" y="101581"/>
                  </a:lnTo>
                  <a:lnTo>
                    <a:pt x="90600" y="101581"/>
                  </a:lnTo>
                  <a:close/>
                  <a:moveTo>
                    <a:pt x="73200" y="73674"/>
                  </a:moveTo>
                  <a:lnTo>
                    <a:pt x="73200" y="73674"/>
                  </a:lnTo>
                  <a:lnTo>
                    <a:pt x="73200" y="73674"/>
                  </a:lnTo>
                  <a:lnTo>
                    <a:pt x="73200" y="72558"/>
                  </a:lnTo>
                  <a:lnTo>
                    <a:pt x="72000" y="73674"/>
                  </a:lnTo>
                  <a:lnTo>
                    <a:pt x="72000" y="73674"/>
                  </a:lnTo>
                  <a:lnTo>
                    <a:pt x="73200" y="73674"/>
                  </a:lnTo>
                  <a:lnTo>
                    <a:pt x="73200" y="73674"/>
                  </a:lnTo>
                  <a:close/>
                  <a:moveTo>
                    <a:pt x="29400" y="72558"/>
                  </a:moveTo>
                  <a:lnTo>
                    <a:pt x="29400" y="71441"/>
                  </a:lnTo>
                  <a:lnTo>
                    <a:pt x="28200" y="71441"/>
                  </a:lnTo>
                  <a:lnTo>
                    <a:pt x="28200" y="71441"/>
                  </a:lnTo>
                  <a:lnTo>
                    <a:pt x="29400" y="69767"/>
                  </a:lnTo>
                  <a:lnTo>
                    <a:pt x="29400" y="69767"/>
                  </a:lnTo>
                  <a:lnTo>
                    <a:pt x="29400" y="69767"/>
                  </a:lnTo>
                  <a:lnTo>
                    <a:pt x="28200" y="69767"/>
                  </a:lnTo>
                  <a:lnTo>
                    <a:pt x="28200" y="69767"/>
                  </a:lnTo>
                  <a:lnTo>
                    <a:pt x="28200" y="68651"/>
                  </a:lnTo>
                  <a:lnTo>
                    <a:pt x="28200" y="68651"/>
                  </a:lnTo>
                  <a:lnTo>
                    <a:pt x="27000" y="68651"/>
                  </a:lnTo>
                  <a:lnTo>
                    <a:pt x="25200" y="67534"/>
                  </a:lnTo>
                  <a:lnTo>
                    <a:pt x="25200" y="67534"/>
                  </a:lnTo>
                  <a:lnTo>
                    <a:pt x="25200" y="67534"/>
                  </a:lnTo>
                  <a:lnTo>
                    <a:pt x="24000" y="68651"/>
                  </a:lnTo>
                  <a:lnTo>
                    <a:pt x="24000" y="68651"/>
                  </a:lnTo>
                  <a:lnTo>
                    <a:pt x="22800" y="68651"/>
                  </a:lnTo>
                  <a:lnTo>
                    <a:pt x="21000" y="71441"/>
                  </a:lnTo>
                  <a:lnTo>
                    <a:pt x="19800" y="71441"/>
                  </a:lnTo>
                  <a:lnTo>
                    <a:pt x="18600" y="72558"/>
                  </a:lnTo>
                  <a:lnTo>
                    <a:pt x="16800" y="72558"/>
                  </a:lnTo>
                  <a:lnTo>
                    <a:pt x="16800" y="72558"/>
                  </a:lnTo>
                  <a:lnTo>
                    <a:pt x="15600" y="71441"/>
                  </a:lnTo>
                  <a:lnTo>
                    <a:pt x="15600" y="71441"/>
                  </a:lnTo>
                  <a:lnTo>
                    <a:pt x="15600" y="71441"/>
                  </a:lnTo>
                  <a:lnTo>
                    <a:pt x="13800" y="71441"/>
                  </a:lnTo>
                  <a:lnTo>
                    <a:pt x="13800" y="72558"/>
                  </a:lnTo>
                  <a:lnTo>
                    <a:pt x="13800" y="73674"/>
                  </a:lnTo>
                  <a:lnTo>
                    <a:pt x="15600" y="75348"/>
                  </a:lnTo>
                  <a:lnTo>
                    <a:pt x="15600" y="75348"/>
                  </a:lnTo>
                  <a:lnTo>
                    <a:pt x="16800" y="76465"/>
                  </a:lnTo>
                  <a:lnTo>
                    <a:pt x="16800" y="76465"/>
                  </a:lnTo>
                  <a:lnTo>
                    <a:pt x="16800" y="77581"/>
                  </a:lnTo>
                  <a:lnTo>
                    <a:pt x="16800" y="77581"/>
                  </a:lnTo>
                  <a:lnTo>
                    <a:pt x="16800" y="80372"/>
                  </a:lnTo>
                  <a:lnTo>
                    <a:pt x="16800" y="80372"/>
                  </a:lnTo>
                  <a:lnTo>
                    <a:pt x="16800" y="82046"/>
                  </a:lnTo>
                  <a:lnTo>
                    <a:pt x="16800" y="82046"/>
                  </a:lnTo>
                  <a:lnTo>
                    <a:pt x="16800" y="82046"/>
                  </a:lnTo>
                  <a:lnTo>
                    <a:pt x="18600" y="82046"/>
                  </a:lnTo>
                  <a:lnTo>
                    <a:pt x="18600" y="83162"/>
                  </a:lnTo>
                  <a:lnTo>
                    <a:pt x="18600" y="83162"/>
                  </a:lnTo>
                  <a:lnTo>
                    <a:pt x="18600" y="84279"/>
                  </a:lnTo>
                  <a:lnTo>
                    <a:pt x="18600" y="84279"/>
                  </a:lnTo>
                  <a:lnTo>
                    <a:pt x="16800" y="84279"/>
                  </a:lnTo>
                  <a:lnTo>
                    <a:pt x="16800" y="84279"/>
                  </a:lnTo>
                  <a:lnTo>
                    <a:pt x="16800" y="84279"/>
                  </a:lnTo>
                  <a:lnTo>
                    <a:pt x="16800" y="85953"/>
                  </a:lnTo>
                  <a:lnTo>
                    <a:pt x="16800" y="87069"/>
                  </a:lnTo>
                  <a:lnTo>
                    <a:pt x="16800" y="87069"/>
                  </a:lnTo>
                  <a:lnTo>
                    <a:pt x="16800" y="89860"/>
                  </a:lnTo>
                  <a:lnTo>
                    <a:pt x="16800" y="89860"/>
                  </a:lnTo>
                  <a:lnTo>
                    <a:pt x="16800" y="90976"/>
                  </a:lnTo>
                  <a:lnTo>
                    <a:pt x="18600" y="92093"/>
                  </a:lnTo>
                  <a:lnTo>
                    <a:pt x="18600" y="93767"/>
                  </a:lnTo>
                  <a:lnTo>
                    <a:pt x="19800" y="93767"/>
                  </a:lnTo>
                  <a:lnTo>
                    <a:pt x="19800" y="93767"/>
                  </a:lnTo>
                  <a:lnTo>
                    <a:pt x="21000" y="93767"/>
                  </a:lnTo>
                  <a:lnTo>
                    <a:pt x="21000" y="93767"/>
                  </a:lnTo>
                  <a:lnTo>
                    <a:pt x="22800" y="93767"/>
                  </a:lnTo>
                  <a:lnTo>
                    <a:pt x="22800" y="92093"/>
                  </a:lnTo>
                  <a:lnTo>
                    <a:pt x="24000" y="89860"/>
                  </a:lnTo>
                  <a:lnTo>
                    <a:pt x="24000" y="89860"/>
                  </a:lnTo>
                  <a:lnTo>
                    <a:pt x="24000" y="89860"/>
                  </a:lnTo>
                  <a:lnTo>
                    <a:pt x="25200" y="89860"/>
                  </a:lnTo>
                  <a:lnTo>
                    <a:pt x="25200" y="89860"/>
                  </a:lnTo>
                  <a:lnTo>
                    <a:pt x="27000" y="90976"/>
                  </a:lnTo>
                  <a:lnTo>
                    <a:pt x="28200" y="90976"/>
                  </a:lnTo>
                  <a:lnTo>
                    <a:pt x="28200" y="90976"/>
                  </a:lnTo>
                  <a:lnTo>
                    <a:pt x="28200" y="89860"/>
                  </a:lnTo>
                  <a:lnTo>
                    <a:pt x="29400" y="88186"/>
                  </a:lnTo>
                  <a:lnTo>
                    <a:pt x="29400" y="82046"/>
                  </a:lnTo>
                  <a:lnTo>
                    <a:pt x="29400" y="82046"/>
                  </a:lnTo>
                  <a:lnTo>
                    <a:pt x="29400" y="80372"/>
                  </a:lnTo>
                  <a:lnTo>
                    <a:pt x="29400" y="80372"/>
                  </a:lnTo>
                  <a:lnTo>
                    <a:pt x="29400" y="79255"/>
                  </a:lnTo>
                  <a:lnTo>
                    <a:pt x="31200" y="77581"/>
                  </a:lnTo>
                  <a:lnTo>
                    <a:pt x="31200" y="76465"/>
                  </a:lnTo>
                  <a:lnTo>
                    <a:pt x="31200" y="76465"/>
                  </a:lnTo>
                  <a:lnTo>
                    <a:pt x="31200" y="75348"/>
                  </a:lnTo>
                  <a:lnTo>
                    <a:pt x="29400" y="72558"/>
                  </a:lnTo>
                  <a:close/>
                  <a:moveTo>
                    <a:pt x="120000" y="79255"/>
                  </a:moveTo>
                  <a:lnTo>
                    <a:pt x="118800" y="77581"/>
                  </a:lnTo>
                  <a:lnTo>
                    <a:pt x="115800" y="75348"/>
                  </a:lnTo>
                  <a:lnTo>
                    <a:pt x="114600" y="73674"/>
                  </a:lnTo>
                  <a:lnTo>
                    <a:pt x="110400" y="72558"/>
                  </a:lnTo>
                  <a:lnTo>
                    <a:pt x="107400" y="69767"/>
                  </a:lnTo>
                  <a:lnTo>
                    <a:pt x="106200" y="69767"/>
                  </a:lnTo>
                  <a:lnTo>
                    <a:pt x="100200" y="67534"/>
                  </a:lnTo>
                  <a:lnTo>
                    <a:pt x="94800" y="64744"/>
                  </a:lnTo>
                  <a:lnTo>
                    <a:pt x="93000" y="64744"/>
                  </a:lnTo>
                  <a:lnTo>
                    <a:pt x="93000" y="63069"/>
                  </a:lnTo>
                  <a:lnTo>
                    <a:pt x="94800" y="61953"/>
                  </a:lnTo>
                  <a:lnTo>
                    <a:pt x="96000" y="61953"/>
                  </a:lnTo>
                  <a:lnTo>
                    <a:pt x="96000" y="60837"/>
                  </a:lnTo>
                  <a:lnTo>
                    <a:pt x="96000" y="59162"/>
                  </a:lnTo>
                  <a:lnTo>
                    <a:pt x="94800" y="59162"/>
                  </a:lnTo>
                  <a:lnTo>
                    <a:pt x="93000" y="59162"/>
                  </a:lnTo>
                  <a:lnTo>
                    <a:pt x="87600" y="59162"/>
                  </a:lnTo>
                  <a:lnTo>
                    <a:pt x="86400" y="59162"/>
                  </a:lnTo>
                  <a:lnTo>
                    <a:pt x="83400" y="58046"/>
                  </a:lnTo>
                  <a:lnTo>
                    <a:pt x="79200" y="55255"/>
                  </a:lnTo>
                  <a:lnTo>
                    <a:pt x="76200" y="53023"/>
                  </a:lnTo>
                  <a:lnTo>
                    <a:pt x="73200" y="51348"/>
                  </a:lnTo>
                  <a:lnTo>
                    <a:pt x="73200" y="48558"/>
                  </a:lnTo>
                  <a:lnTo>
                    <a:pt x="72000" y="44651"/>
                  </a:lnTo>
                  <a:lnTo>
                    <a:pt x="70800" y="43534"/>
                  </a:lnTo>
                  <a:lnTo>
                    <a:pt x="69000" y="40744"/>
                  </a:lnTo>
                  <a:lnTo>
                    <a:pt x="69000" y="40744"/>
                  </a:lnTo>
                  <a:lnTo>
                    <a:pt x="66600" y="39627"/>
                  </a:lnTo>
                  <a:lnTo>
                    <a:pt x="62400" y="36837"/>
                  </a:lnTo>
                  <a:lnTo>
                    <a:pt x="60600" y="35720"/>
                  </a:lnTo>
                  <a:lnTo>
                    <a:pt x="58200" y="34046"/>
                  </a:lnTo>
                  <a:lnTo>
                    <a:pt x="58200" y="32930"/>
                  </a:lnTo>
                  <a:lnTo>
                    <a:pt x="56400" y="31813"/>
                  </a:lnTo>
                  <a:lnTo>
                    <a:pt x="56400" y="27906"/>
                  </a:lnTo>
                  <a:lnTo>
                    <a:pt x="56400" y="26232"/>
                  </a:lnTo>
                  <a:lnTo>
                    <a:pt x="56400" y="26232"/>
                  </a:lnTo>
                  <a:lnTo>
                    <a:pt x="58200" y="26232"/>
                  </a:lnTo>
                  <a:lnTo>
                    <a:pt x="58200" y="26232"/>
                  </a:lnTo>
                  <a:lnTo>
                    <a:pt x="58200" y="25116"/>
                  </a:lnTo>
                  <a:lnTo>
                    <a:pt x="58200" y="25116"/>
                  </a:lnTo>
                  <a:lnTo>
                    <a:pt x="58200" y="24000"/>
                  </a:lnTo>
                  <a:lnTo>
                    <a:pt x="56400" y="21209"/>
                  </a:lnTo>
                  <a:lnTo>
                    <a:pt x="55200" y="21209"/>
                  </a:lnTo>
                  <a:lnTo>
                    <a:pt x="56400" y="19534"/>
                  </a:lnTo>
                  <a:lnTo>
                    <a:pt x="56400" y="18418"/>
                  </a:lnTo>
                  <a:lnTo>
                    <a:pt x="56400" y="18418"/>
                  </a:lnTo>
                  <a:lnTo>
                    <a:pt x="58200" y="17302"/>
                  </a:lnTo>
                  <a:lnTo>
                    <a:pt x="59400" y="17302"/>
                  </a:lnTo>
                  <a:lnTo>
                    <a:pt x="58200" y="18418"/>
                  </a:lnTo>
                  <a:lnTo>
                    <a:pt x="58200" y="18418"/>
                  </a:lnTo>
                  <a:lnTo>
                    <a:pt x="59400" y="18418"/>
                  </a:lnTo>
                  <a:lnTo>
                    <a:pt x="60600" y="17302"/>
                  </a:lnTo>
                  <a:lnTo>
                    <a:pt x="62400" y="17302"/>
                  </a:lnTo>
                  <a:lnTo>
                    <a:pt x="63600" y="15627"/>
                  </a:lnTo>
                  <a:lnTo>
                    <a:pt x="64800" y="15627"/>
                  </a:lnTo>
                  <a:lnTo>
                    <a:pt x="64800" y="14511"/>
                  </a:lnTo>
                  <a:lnTo>
                    <a:pt x="64800" y="14511"/>
                  </a:lnTo>
                  <a:lnTo>
                    <a:pt x="67800" y="15627"/>
                  </a:lnTo>
                  <a:lnTo>
                    <a:pt x="69000" y="14511"/>
                  </a:lnTo>
                  <a:lnTo>
                    <a:pt x="69000" y="14511"/>
                  </a:lnTo>
                  <a:lnTo>
                    <a:pt x="70800" y="15627"/>
                  </a:lnTo>
                  <a:lnTo>
                    <a:pt x="70800" y="17302"/>
                  </a:lnTo>
                  <a:lnTo>
                    <a:pt x="70800" y="17302"/>
                  </a:lnTo>
                  <a:lnTo>
                    <a:pt x="72000" y="17302"/>
                  </a:lnTo>
                  <a:lnTo>
                    <a:pt x="72000" y="17302"/>
                  </a:lnTo>
                  <a:lnTo>
                    <a:pt x="72000" y="15627"/>
                  </a:lnTo>
                  <a:lnTo>
                    <a:pt x="70800" y="14511"/>
                  </a:lnTo>
                  <a:lnTo>
                    <a:pt x="69000" y="14511"/>
                  </a:lnTo>
                  <a:lnTo>
                    <a:pt x="69000" y="14511"/>
                  </a:lnTo>
                  <a:lnTo>
                    <a:pt x="69000" y="14511"/>
                  </a:lnTo>
                  <a:lnTo>
                    <a:pt x="69000" y="13395"/>
                  </a:lnTo>
                  <a:lnTo>
                    <a:pt x="69000" y="11720"/>
                  </a:lnTo>
                  <a:lnTo>
                    <a:pt x="67800" y="11720"/>
                  </a:lnTo>
                  <a:lnTo>
                    <a:pt x="67800" y="11720"/>
                  </a:lnTo>
                  <a:lnTo>
                    <a:pt x="67800" y="11720"/>
                  </a:lnTo>
                  <a:lnTo>
                    <a:pt x="67800" y="11720"/>
                  </a:lnTo>
                  <a:lnTo>
                    <a:pt x="69000" y="10604"/>
                  </a:lnTo>
                  <a:lnTo>
                    <a:pt x="69000" y="10604"/>
                  </a:lnTo>
                  <a:lnTo>
                    <a:pt x="69000" y="10604"/>
                  </a:lnTo>
                  <a:lnTo>
                    <a:pt x="69000" y="10604"/>
                  </a:lnTo>
                  <a:lnTo>
                    <a:pt x="69000" y="10604"/>
                  </a:lnTo>
                  <a:lnTo>
                    <a:pt x="67800" y="9488"/>
                  </a:lnTo>
                  <a:lnTo>
                    <a:pt x="67800" y="9488"/>
                  </a:lnTo>
                  <a:lnTo>
                    <a:pt x="67800" y="9488"/>
                  </a:lnTo>
                  <a:lnTo>
                    <a:pt x="67800" y="9488"/>
                  </a:lnTo>
                  <a:lnTo>
                    <a:pt x="66600" y="9488"/>
                  </a:lnTo>
                  <a:lnTo>
                    <a:pt x="67800" y="7813"/>
                  </a:lnTo>
                  <a:lnTo>
                    <a:pt x="67800" y="7813"/>
                  </a:lnTo>
                  <a:lnTo>
                    <a:pt x="69000" y="7813"/>
                  </a:lnTo>
                  <a:lnTo>
                    <a:pt x="69000" y="6697"/>
                  </a:lnTo>
                  <a:lnTo>
                    <a:pt x="69000" y="6697"/>
                  </a:lnTo>
                  <a:lnTo>
                    <a:pt x="70800" y="6697"/>
                  </a:lnTo>
                  <a:lnTo>
                    <a:pt x="67800" y="5023"/>
                  </a:lnTo>
                  <a:lnTo>
                    <a:pt x="66600" y="5023"/>
                  </a:lnTo>
                  <a:lnTo>
                    <a:pt x="64800" y="5023"/>
                  </a:lnTo>
                  <a:lnTo>
                    <a:pt x="60600" y="5023"/>
                  </a:lnTo>
                  <a:lnTo>
                    <a:pt x="60600" y="5023"/>
                  </a:lnTo>
                  <a:lnTo>
                    <a:pt x="59400" y="5023"/>
                  </a:lnTo>
                  <a:lnTo>
                    <a:pt x="58200" y="3906"/>
                  </a:lnTo>
                  <a:lnTo>
                    <a:pt x="56400" y="3906"/>
                  </a:lnTo>
                  <a:lnTo>
                    <a:pt x="56400" y="3906"/>
                  </a:lnTo>
                  <a:lnTo>
                    <a:pt x="56400" y="2790"/>
                  </a:lnTo>
                  <a:lnTo>
                    <a:pt x="55200" y="1116"/>
                  </a:lnTo>
                  <a:lnTo>
                    <a:pt x="55200" y="1116"/>
                  </a:lnTo>
                  <a:lnTo>
                    <a:pt x="55200" y="0"/>
                  </a:lnTo>
                  <a:lnTo>
                    <a:pt x="55200" y="0"/>
                  </a:lnTo>
                  <a:lnTo>
                    <a:pt x="55200" y="0"/>
                  </a:lnTo>
                  <a:lnTo>
                    <a:pt x="55200" y="0"/>
                  </a:lnTo>
                  <a:lnTo>
                    <a:pt x="52200" y="0"/>
                  </a:lnTo>
                  <a:lnTo>
                    <a:pt x="51000" y="1116"/>
                  </a:lnTo>
                  <a:lnTo>
                    <a:pt x="51000" y="1116"/>
                  </a:lnTo>
                  <a:lnTo>
                    <a:pt x="49200" y="1116"/>
                  </a:lnTo>
                  <a:lnTo>
                    <a:pt x="48000" y="1116"/>
                  </a:lnTo>
                  <a:lnTo>
                    <a:pt x="48000" y="1116"/>
                  </a:lnTo>
                  <a:lnTo>
                    <a:pt x="45000" y="1116"/>
                  </a:lnTo>
                  <a:lnTo>
                    <a:pt x="45000" y="1116"/>
                  </a:lnTo>
                  <a:lnTo>
                    <a:pt x="43800" y="2790"/>
                  </a:lnTo>
                  <a:lnTo>
                    <a:pt x="43800" y="2790"/>
                  </a:lnTo>
                  <a:lnTo>
                    <a:pt x="43800" y="2790"/>
                  </a:lnTo>
                  <a:lnTo>
                    <a:pt x="42600" y="3906"/>
                  </a:lnTo>
                  <a:lnTo>
                    <a:pt x="42600" y="2790"/>
                  </a:lnTo>
                  <a:lnTo>
                    <a:pt x="40800" y="2790"/>
                  </a:lnTo>
                  <a:lnTo>
                    <a:pt x="40800" y="2790"/>
                  </a:lnTo>
                  <a:lnTo>
                    <a:pt x="39600" y="2790"/>
                  </a:lnTo>
                  <a:lnTo>
                    <a:pt x="38400" y="2790"/>
                  </a:lnTo>
                  <a:lnTo>
                    <a:pt x="38400" y="2790"/>
                  </a:lnTo>
                  <a:lnTo>
                    <a:pt x="38400" y="3906"/>
                  </a:lnTo>
                  <a:lnTo>
                    <a:pt x="38400" y="3906"/>
                  </a:lnTo>
                  <a:lnTo>
                    <a:pt x="38400" y="5023"/>
                  </a:lnTo>
                  <a:lnTo>
                    <a:pt x="38400" y="5023"/>
                  </a:lnTo>
                  <a:lnTo>
                    <a:pt x="38400" y="5023"/>
                  </a:lnTo>
                  <a:lnTo>
                    <a:pt x="36600" y="5023"/>
                  </a:lnTo>
                  <a:lnTo>
                    <a:pt x="36600" y="5023"/>
                  </a:lnTo>
                  <a:lnTo>
                    <a:pt x="35400" y="5023"/>
                  </a:lnTo>
                  <a:lnTo>
                    <a:pt x="35400" y="5023"/>
                  </a:lnTo>
                  <a:lnTo>
                    <a:pt x="33600" y="5023"/>
                  </a:lnTo>
                  <a:lnTo>
                    <a:pt x="33600" y="5023"/>
                  </a:lnTo>
                  <a:lnTo>
                    <a:pt x="33600" y="6697"/>
                  </a:lnTo>
                  <a:lnTo>
                    <a:pt x="33600" y="6697"/>
                  </a:lnTo>
                  <a:lnTo>
                    <a:pt x="33600" y="7813"/>
                  </a:lnTo>
                  <a:lnTo>
                    <a:pt x="33600" y="7813"/>
                  </a:lnTo>
                  <a:lnTo>
                    <a:pt x="35400" y="9488"/>
                  </a:lnTo>
                  <a:lnTo>
                    <a:pt x="35400" y="9488"/>
                  </a:lnTo>
                  <a:lnTo>
                    <a:pt x="35400" y="9488"/>
                  </a:lnTo>
                  <a:lnTo>
                    <a:pt x="33600" y="9488"/>
                  </a:lnTo>
                  <a:lnTo>
                    <a:pt x="33600" y="9488"/>
                  </a:lnTo>
                  <a:lnTo>
                    <a:pt x="33600" y="7813"/>
                  </a:lnTo>
                  <a:lnTo>
                    <a:pt x="32400" y="7813"/>
                  </a:lnTo>
                  <a:lnTo>
                    <a:pt x="32400" y="7813"/>
                  </a:lnTo>
                  <a:lnTo>
                    <a:pt x="31200" y="7813"/>
                  </a:lnTo>
                  <a:lnTo>
                    <a:pt x="29400" y="9488"/>
                  </a:lnTo>
                  <a:lnTo>
                    <a:pt x="29400" y="9488"/>
                  </a:lnTo>
                  <a:lnTo>
                    <a:pt x="28200" y="9488"/>
                  </a:lnTo>
                  <a:lnTo>
                    <a:pt x="28200" y="7813"/>
                  </a:lnTo>
                  <a:lnTo>
                    <a:pt x="28200" y="6697"/>
                  </a:lnTo>
                  <a:lnTo>
                    <a:pt x="28200" y="6697"/>
                  </a:lnTo>
                  <a:lnTo>
                    <a:pt x="28200" y="6697"/>
                  </a:lnTo>
                  <a:lnTo>
                    <a:pt x="27000" y="6697"/>
                  </a:lnTo>
                  <a:lnTo>
                    <a:pt x="27000" y="6697"/>
                  </a:lnTo>
                  <a:lnTo>
                    <a:pt x="27000" y="7813"/>
                  </a:lnTo>
                  <a:lnTo>
                    <a:pt x="25200" y="9488"/>
                  </a:lnTo>
                  <a:lnTo>
                    <a:pt x="25200" y="9488"/>
                  </a:lnTo>
                  <a:lnTo>
                    <a:pt x="24000" y="10604"/>
                  </a:lnTo>
                  <a:lnTo>
                    <a:pt x="24000" y="11720"/>
                  </a:lnTo>
                  <a:lnTo>
                    <a:pt x="24000" y="11720"/>
                  </a:lnTo>
                  <a:lnTo>
                    <a:pt x="24000" y="11720"/>
                  </a:lnTo>
                  <a:lnTo>
                    <a:pt x="24000" y="13395"/>
                  </a:lnTo>
                  <a:lnTo>
                    <a:pt x="24000" y="13395"/>
                  </a:lnTo>
                  <a:lnTo>
                    <a:pt x="24000" y="14511"/>
                  </a:lnTo>
                  <a:lnTo>
                    <a:pt x="22800" y="14511"/>
                  </a:lnTo>
                  <a:lnTo>
                    <a:pt x="22800" y="13395"/>
                  </a:lnTo>
                  <a:lnTo>
                    <a:pt x="22800" y="13395"/>
                  </a:lnTo>
                  <a:lnTo>
                    <a:pt x="21000" y="11720"/>
                  </a:lnTo>
                  <a:lnTo>
                    <a:pt x="21000" y="11720"/>
                  </a:lnTo>
                  <a:lnTo>
                    <a:pt x="21000" y="11720"/>
                  </a:lnTo>
                  <a:lnTo>
                    <a:pt x="19800" y="10604"/>
                  </a:lnTo>
                  <a:lnTo>
                    <a:pt x="19800" y="10604"/>
                  </a:lnTo>
                  <a:lnTo>
                    <a:pt x="18600" y="9488"/>
                  </a:lnTo>
                  <a:lnTo>
                    <a:pt x="18600" y="9488"/>
                  </a:lnTo>
                  <a:lnTo>
                    <a:pt x="18600" y="7813"/>
                  </a:lnTo>
                  <a:lnTo>
                    <a:pt x="18600" y="6697"/>
                  </a:lnTo>
                  <a:lnTo>
                    <a:pt x="18600" y="6697"/>
                  </a:lnTo>
                  <a:lnTo>
                    <a:pt x="16800" y="6697"/>
                  </a:lnTo>
                  <a:lnTo>
                    <a:pt x="16800" y="7813"/>
                  </a:lnTo>
                  <a:lnTo>
                    <a:pt x="15600" y="7813"/>
                  </a:lnTo>
                  <a:lnTo>
                    <a:pt x="13800" y="9488"/>
                  </a:lnTo>
                  <a:lnTo>
                    <a:pt x="13800" y="9488"/>
                  </a:lnTo>
                  <a:lnTo>
                    <a:pt x="15600" y="10604"/>
                  </a:lnTo>
                  <a:lnTo>
                    <a:pt x="15600" y="10604"/>
                  </a:lnTo>
                  <a:lnTo>
                    <a:pt x="13800" y="11720"/>
                  </a:lnTo>
                  <a:lnTo>
                    <a:pt x="13800" y="11720"/>
                  </a:lnTo>
                  <a:lnTo>
                    <a:pt x="12600" y="13395"/>
                  </a:lnTo>
                  <a:lnTo>
                    <a:pt x="11400" y="13395"/>
                  </a:lnTo>
                  <a:lnTo>
                    <a:pt x="9600" y="11720"/>
                  </a:lnTo>
                  <a:lnTo>
                    <a:pt x="8400" y="11720"/>
                  </a:lnTo>
                  <a:lnTo>
                    <a:pt x="8400" y="13395"/>
                  </a:lnTo>
                  <a:lnTo>
                    <a:pt x="7200" y="13395"/>
                  </a:lnTo>
                  <a:lnTo>
                    <a:pt x="4200" y="13395"/>
                  </a:lnTo>
                  <a:lnTo>
                    <a:pt x="4200" y="13395"/>
                  </a:lnTo>
                  <a:lnTo>
                    <a:pt x="4200" y="13395"/>
                  </a:lnTo>
                  <a:lnTo>
                    <a:pt x="3000" y="13395"/>
                  </a:lnTo>
                  <a:lnTo>
                    <a:pt x="1200" y="14511"/>
                  </a:lnTo>
                  <a:lnTo>
                    <a:pt x="1200" y="14511"/>
                  </a:lnTo>
                  <a:lnTo>
                    <a:pt x="1200" y="14511"/>
                  </a:lnTo>
                  <a:lnTo>
                    <a:pt x="1200" y="15627"/>
                  </a:lnTo>
                  <a:lnTo>
                    <a:pt x="3000" y="15627"/>
                  </a:lnTo>
                  <a:lnTo>
                    <a:pt x="3000" y="17302"/>
                  </a:lnTo>
                  <a:lnTo>
                    <a:pt x="4200" y="18418"/>
                  </a:lnTo>
                  <a:lnTo>
                    <a:pt x="4200" y="18418"/>
                  </a:lnTo>
                  <a:lnTo>
                    <a:pt x="5400" y="18418"/>
                  </a:lnTo>
                  <a:lnTo>
                    <a:pt x="5400" y="19534"/>
                  </a:lnTo>
                  <a:lnTo>
                    <a:pt x="4200" y="19534"/>
                  </a:lnTo>
                  <a:lnTo>
                    <a:pt x="4200" y="21209"/>
                  </a:lnTo>
                  <a:lnTo>
                    <a:pt x="4200" y="21209"/>
                  </a:lnTo>
                  <a:lnTo>
                    <a:pt x="3000" y="21209"/>
                  </a:lnTo>
                  <a:lnTo>
                    <a:pt x="1200" y="22325"/>
                  </a:lnTo>
                  <a:lnTo>
                    <a:pt x="1200" y="22325"/>
                  </a:lnTo>
                  <a:lnTo>
                    <a:pt x="0" y="22325"/>
                  </a:lnTo>
                  <a:lnTo>
                    <a:pt x="0" y="22325"/>
                  </a:lnTo>
                  <a:lnTo>
                    <a:pt x="0" y="22325"/>
                  </a:lnTo>
                  <a:lnTo>
                    <a:pt x="0" y="24000"/>
                  </a:lnTo>
                  <a:lnTo>
                    <a:pt x="0" y="25116"/>
                  </a:lnTo>
                  <a:lnTo>
                    <a:pt x="1200" y="25116"/>
                  </a:lnTo>
                  <a:lnTo>
                    <a:pt x="1200" y="26232"/>
                  </a:lnTo>
                  <a:lnTo>
                    <a:pt x="3000" y="26232"/>
                  </a:lnTo>
                  <a:lnTo>
                    <a:pt x="3000" y="26232"/>
                  </a:lnTo>
                  <a:lnTo>
                    <a:pt x="3000" y="26232"/>
                  </a:lnTo>
                  <a:lnTo>
                    <a:pt x="3000" y="26232"/>
                  </a:lnTo>
                  <a:lnTo>
                    <a:pt x="4200" y="27906"/>
                  </a:lnTo>
                  <a:lnTo>
                    <a:pt x="3000" y="27906"/>
                  </a:lnTo>
                  <a:lnTo>
                    <a:pt x="3000" y="27906"/>
                  </a:lnTo>
                  <a:lnTo>
                    <a:pt x="3000" y="29023"/>
                  </a:lnTo>
                  <a:lnTo>
                    <a:pt x="1200" y="29023"/>
                  </a:lnTo>
                  <a:lnTo>
                    <a:pt x="1200" y="30139"/>
                  </a:lnTo>
                  <a:lnTo>
                    <a:pt x="1200" y="30139"/>
                  </a:lnTo>
                  <a:lnTo>
                    <a:pt x="3000" y="31813"/>
                  </a:lnTo>
                  <a:lnTo>
                    <a:pt x="1200" y="31813"/>
                  </a:lnTo>
                  <a:lnTo>
                    <a:pt x="3000" y="31813"/>
                  </a:lnTo>
                  <a:lnTo>
                    <a:pt x="3000" y="32930"/>
                  </a:lnTo>
                  <a:lnTo>
                    <a:pt x="4200" y="34046"/>
                  </a:lnTo>
                  <a:lnTo>
                    <a:pt x="7200" y="34046"/>
                  </a:lnTo>
                  <a:lnTo>
                    <a:pt x="7200" y="34046"/>
                  </a:lnTo>
                  <a:lnTo>
                    <a:pt x="9600" y="34046"/>
                  </a:lnTo>
                  <a:lnTo>
                    <a:pt x="9600" y="34046"/>
                  </a:lnTo>
                  <a:lnTo>
                    <a:pt x="9600" y="34046"/>
                  </a:lnTo>
                  <a:lnTo>
                    <a:pt x="9600" y="35720"/>
                  </a:lnTo>
                  <a:lnTo>
                    <a:pt x="9600" y="35720"/>
                  </a:lnTo>
                  <a:lnTo>
                    <a:pt x="8400" y="36837"/>
                  </a:lnTo>
                  <a:lnTo>
                    <a:pt x="8400" y="36837"/>
                  </a:lnTo>
                  <a:lnTo>
                    <a:pt x="8400" y="36837"/>
                  </a:lnTo>
                  <a:lnTo>
                    <a:pt x="8400" y="38511"/>
                  </a:lnTo>
                  <a:lnTo>
                    <a:pt x="8400" y="38511"/>
                  </a:lnTo>
                  <a:lnTo>
                    <a:pt x="9600" y="38511"/>
                  </a:lnTo>
                  <a:lnTo>
                    <a:pt x="12600" y="36837"/>
                  </a:lnTo>
                  <a:lnTo>
                    <a:pt x="13800" y="36837"/>
                  </a:lnTo>
                  <a:lnTo>
                    <a:pt x="15600" y="34046"/>
                  </a:lnTo>
                  <a:lnTo>
                    <a:pt x="18600" y="31813"/>
                  </a:lnTo>
                  <a:lnTo>
                    <a:pt x="21000" y="31813"/>
                  </a:lnTo>
                  <a:lnTo>
                    <a:pt x="22800" y="31813"/>
                  </a:lnTo>
                  <a:lnTo>
                    <a:pt x="25200" y="31813"/>
                  </a:lnTo>
                  <a:lnTo>
                    <a:pt x="27000" y="32930"/>
                  </a:lnTo>
                  <a:lnTo>
                    <a:pt x="31200" y="34046"/>
                  </a:lnTo>
                  <a:lnTo>
                    <a:pt x="33600" y="35720"/>
                  </a:lnTo>
                  <a:lnTo>
                    <a:pt x="35400" y="36837"/>
                  </a:lnTo>
                  <a:lnTo>
                    <a:pt x="35400" y="38511"/>
                  </a:lnTo>
                  <a:lnTo>
                    <a:pt x="36600" y="40744"/>
                  </a:lnTo>
                  <a:lnTo>
                    <a:pt x="38400" y="43534"/>
                  </a:lnTo>
                  <a:lnTo>
                    <a:pt x="38400" y="44651"/>
                  </a:lnTo>
                  <a:lnTo>
                    <a:pt x="38400" y="46325"/>
                  </a:lnTo>
                  <a:lnTo>
                    <a:pt x="38400" y="46325"/>
                  </a:lnTo>
                  <a:lnTo>
                    <a:pt x="38400" y="47441"/>
                  </a:lnTo>
                  <a:lnTo>
                    <a:pt x="39600" y="47441"/>
                  </a:lnTo>
                  <a:lnTo>
                    <a:pt x="39600" y="47441"/>
                  </a:lnTo>
                  <a:lnTo>
                    <a:pt x="40800" y="47441"/>
                  </a:lnTo>
                  <a:lnTo>
                    <a:pt x="40800" y="48558"/>
                  </a:lnTo>
                  <a:lnTo>
                    <a:pt x="40800" y="48558"/>
                  </a:lnTo>
                  <a:lnTo>
                    <a:pt x="40800" y="50232"/>
                  </a:lnTo>
                  <a:lnTo>
                    <a:pt x="42600" y="50232"/>
                  </a:lnTo>
                  <a:lnTo>
                    <a:pt x="45000" y="53023"/>
                  </a:lnTo>
                  <a:lnTo>
                    <a:pt x="45000" y="54139"/>
                  </a:lnTo>
                  <a:lnTo>
                    <a:pt x="45000" y="54139"/>
                  </a:lnTo>
                  <a:lnTo>
                    <a:pt x="43800" y="54139"/>
                  </a:lnTo>
                  <a:lnTo>
                    <a:pt x="45000" y="54139"/>
                  </a:lnTo>
                  <a:lnTo>
                    <a:pt x="45000" y="54139"/>
                  </a:lnTo>
                  <a:lnTo>
                    <a:pt x="46800" y="54139"/>
                  </a:lnTo>
                  <a:lnTo>
                    <a:pt x="46800" y="54139"/>
                  </a:lnTo>
                  <a:lnTo>
                    <a:pt x="48000" y="54139"/>
                  </a:lnTo>
                  <a:lnTo>
                    <a:pt x="49200" y="55255"/>
                  </a:lnTo>
                  <a:lnTo>
                    <a:pt x="52200" y="58046"/>
                  </a:lnTo>
                  <a:lnTo>
                    <a:pt x="53400" y="59162"/>
                  </a:lnTo>
                  <a:lnTo>
                    <a:pt x="55200" y="60837"/>
                  </a:lnTo>
                  <a:lnTo>
                    <a:pt x="59400" y="64744"/>
                  </a:lnTo>
                  <a:lnTo>
                    <a:pt x="62400" y="65860"/>
                  </a:lnTo>
                  <a:lnTo>
                    <a:pt x="63600" y="67534"/>
                  </a:lnTo>
                  <a:lnTo>
                    <a:pt x="63600" y="67534"/>
                  </a:lnTo>
                  <a:lnTo>
                    <a:pt x="64800" y="67534"/>
                  </a:lnTo>
                  <a:lnTo>
                    <a:pt x="64800" y="67534"/>
                  </a:lnTo>
                  <a:lnTo>
                    <a:pt x="66600" y="67534"/>
                  </a:lnTo>
                  <a:lnTo>
                    <a:pt x="67800" y="67534"/>
                  </a:lnTo>
                  <a:lnTo>
                    <a:pt x="69000" y="67534"/>
                  </a:lnTo>
                  <a:lnTo>
                    <a:pt x="70800" y="67534"/>
                  </a:lnTo>
                  <a:lnTo>
                    <a:pt x="70800" y="67534"/>
                  </a:lnTo>
                  <a:lnTo>
                    <a:pt x="72000" y="68651"/>
                  </a:lnTo>
                  <a:lnTo>
                    <a:pt x="75000" y="71441"/>
                  </a:lnTo>
                  <a:lnTo>
                    <a:pt x="75000" y="72558"/>
                  </a:lnTo>
                  <a:lnTo>
                    <a:pt x="75000" y="72558"/>
                  </a:lnTo>
                  <a:lnTo>
                    <a:pt x="75000" y="72558"/>
                  </a:lnTo>
                  <a:lnTo>
                    <a:pt x="76200" y="72558"/>
                  </a:lnTo>
                  <a:lnTo>
                    <a:pt x="78000" y="72558"/>
                  </a:lnTo>
                  <a:lnTo>
                    <a:pt x="79200" y="72558"/>
                  </a:lnTo>
                  <a:lnTo>
                    <a:pt x="79200" y="73674"/>
                  </a:lnTo>
                  <a:lnTo>
                    <a:pt x="78000" y="75348"/>
                  </a:lnTo>
                  <a:lnTo>
                    <a:pt x="78000" y="75348"/>
                  </a:lnTo>
                  <a:lnTo>
                    <a:pt x="79200" y="73674"/>
                  </a:lnTo>
                  <a:lnTo>
                    <a:pt x="79200" y="75348"/>
                  </a:lnTo>
                  <a:lnTo>
                    <a:pt x="80400" y="73674"/>
                  </a:lnTo>
                  <a:lnTo>
                    <a:pt x="82200" y="73674"/>
                  </a:lnTo>
                  <a:lnTo>
                    <a:pt x="83400" y="73674"/>
                  </a:lnTo>
                  <a:lnTo>
                    <a:pt x="83400" y="75348"/>
                  </a:lnTo>
                  <a:lnTo>
                    <a:pt x="83400" y="76465"/>
                  </a:lnTo>
                  <a:lnTo>
                    <a:pt x="84600" y="77581"/>
                  </a:lnTo>
                  <a:lnTo>
                    <a:pt x="83400" y="77581"/>
                  </a:lnTo>
                  <a:lnTo>
                    <a:pt x="83400" y="79255"/>
                  </a:lnTo>
                  <a:lnTo>
                    <a:pt x="83400" y="79255"/>
                  </a:lnTo>
                  <a:lnTo>
                    <a:pt x="87600" y="80372"/>
                  </a:lnTo>
                  <a:lnTo>
                    <a:pt x="88800" y="82046"/>
                  </a:lnTo>
                  <a:lnTo>
                    <a:pt x="90600" y="82046"/>
                  </a:lnTo>
                  <a:lnTo>
                    <a:pt x="91800" y="80372"/>
                  </a:lnTo>
                  <a:lnTo>
                    <a:pt x="91800" y="82046"/>
                  </a:lnTo>
                  <a:lnTo>
                    <a:pt x="93000" y="85953"/>
                  </a:lnTo>
                  <a:lnTo>
                    <a:pt x="94800" y="88186"/>
                  </a:lnTo>
                  <a:lnTo>
                    <a:pt x="96000" y="90976"/>
                  </a:lnTo>
                  <a:lnTo>
                    <a:pt x="96000" y="92093"/>
                  </a:lnTo>
                  <a:lnTo>
                    <a:pt x="97800" y="93767"/>
                  </a:lnTo>
                  <a:lnTo>
                    <a:pt x="97800" y="94883"/>
                  </a:lnTo>
                  <a:lnTo>
                    <a:pt x="96000" y="96558"/>
                  </a:lnTo>
                  <a:lnTo>
                    <a:pt x="94800" y="96558"/>
                  </a:lnTo>
                  <a:lnTo>
                    <a:pt x="94800" y="96558"/>
                  </a:lnTo>
                  <a:lnTo>
                    <a:pt x="93000" y="97674"/>
                  </a:lnTo>
                  <a:lnTo>
                    <a:pt x="94800" y="98790"/>
                  </a:lnTo>
                  <a:lnTo>
                    <a:pt x="93000" y="101581"/>
                  </a:lnTo>
                  <a:lnTo>
                    <a:pt x="91800" y="101581"/>
                  </a:lnTo>
                  <a:lnTo>
                    <a:pt x="91800" y="102697"/>
                  </a:lnTo>
                  <a:lnTo>
                    <a:pt x="91800" y="104372"/>
                  </a:lnTo>
                  <a:lnTo>
                    <a:pt x="91800" y="105488"/>
                  </a:lnTo>
                  <a:lnTo>
                    <a:pt x="96000" y="105488"/>
                  </a:lnTo>
                  <a:lnTo>
                    <a:pt x="96000" y="104372"/>
                  </a:lnTo>
                  <a:lnTo>
                    <a:pt x="96000" y="104372"/>
                  </a:lnTo>
                  <a:lnTo>
                    <a:pt x="97800" y="101581"/>
                  </a:lnTo>
                  <a:lnTo>
                    <a:pt x="100200" y="100465"/>
                  </a:lnTo>
                  <a:lnTo>
                    <a:pt x="102000" y="98790"/>
                  </a:lnTo>
                  <a:lnTo>
                    <a:pt x="100200" y="96558"/>
                  </a:lnTo>
                  <a:lnTo>
                    <a:pt x="102000" y="94883"/>
                  </a:lnTo>
                  <a:lnTo>
                    <a:pt x="103200" y="93767"/>
                  </a:lnTo>
                  <a:lnTo>
                    <a:pt x="104400" y="93767"/>
                  </a:lnTo>
                  <a:lnTo>
                    <a:pt x="106200" y="93767"/>
                  </a:lnTo>
                  <a:lnTo>
                    <a:pt x="107400" y="92093"/>
                  </a:lnTo>
                  <a:lnTo>
                    <a:pt x="106200" y="90976"/>
                  </a:lnTo>
                  <a:lnTo>
                    <a:pt x="106200" y="88186"/>
                  </a:lnTo>
                  <a:lnTo>
                    <a:pt x="104400" y="87069"/>
                  </a:lnTo>
                  <a:lnTo>
                    <a:pt x="103200" y="85953"/>
                  </a:lnTo>
                  <a:lnTo>
                    <a:pt x="100200" y="85953"/>
                  </a:lnTo>
                  <a:lnTo>
                    <a:pt x="100200" y="84279"/>
                  </a:lnTo>
                  <a:lnTo>
                    <a:pt x="100200" y="83162"/>
                  </a:lnTo>
                  <a:lnTo>
                    <a:pt x="102000" y="80372"/>
                  </a:lnTo>
                  <a:lnTo>
                    <a:pt x="103200" y="77581"/>
                  </a:lnTo>
                  <a:lnTo>
                    <a:pt x="104400" y="76465"/>
                  </a:lnTo>
                  <a:lnTo>
                    <a:pt x="104400" y="76465"/>
                  </a:lnTo>
                  <a:lnTo>
                    <a:pt x="107400" y="76465"/>
                  </a:lnTo>
                  <a:lnTo>
                    <a:pt x="107400" y="76465"/>
                  </a:lnTo>
                  <a:lnTo>
                    <a:pt x="107400" y="76465"/>
                  </a:lnTo>
                  <a:lnTo>
                    <a:pt x="107400" y="77581"/>
                  </a:lnTo>
                  <a:lnTo>
                    <a:pt x="108600" y="77581"/>
                  </a:lnTo>
                  <a:lnTo>
                    <a:pt x="110400" y="77581"/>
                  </a:lnTo>
                  <a:lnTo>
                    <a:pt x="114600" y="79255"/>
                  </a:lnTo>
                  <a:lnTo>
                    <a:pt x="115800" y="82046"/>
                  </a:lnTo>
                  <a:lnTo>
                    <a:pt x="117600" y="83162"/>
                  </a:lnTo>
                  <a:lnTo>
                    <a:pt x="118800" y="83162"/>
                  </a:lnTo>
                  <a:lnTo>
                    <a:pt x="118800" y="82046"/>
                  </a:lnTo>
                  <a:lnTo>
                    <a:pt x="120000" y="80372"/>
                  </a:lnTo>
                  <a:lnTo>
                    <a:pt x="120000" y="80372"/>
                  </a:lnTo>
                  <a:lnTo>
                    <a:pt x="120000" y="79255"/>
                  </a:lnTo>
                  <a:close/>
                  <a:moveTo>
                    <a:pt x="58200" y="36837"/>
                  </a:moveTo>
                  <a:lnTo>
                    <a:pt x="58200" y="36837"/>
                  </a:lnTo>
                  <a:lnTo>
                    <a:pt x="58200" y="36837"/>
                  </a:lnTo>
                  <a:lnTo>
                    <a:pt x="58200" y="35720"/>
                  </a:lnTo>
                  <a:lnTo>
                    <a:pt x="58200" y="35720"/>
                  </a:lnTo>
                  <a:lnTo>
                    <a:pt x="58200" y="36837"/>
                  </a:lnTo>
                  <a:lnTo>
                    <a:pt x="58200" y="36837"/>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62" name="Shape 462"/>
            <p:cNvSpPr/>
            <p:nvPr/>
          </p:nvSpPr>
          <p:spPr>
            <a:xfrm>
              <a:off x="4270" y="2103"/>
              <a:ext cx="0" cy="0"/>
            </a:xfrm>
            <a:custGeom>
              <a:avLst/>
              <a:gdLst/>
              <a:ahLst/>
              <a:cxnLst/>
              <a:rect l="0" t="0" r="0" b="0"/>
              <a:pathLst>
                <a:path w="120000" h="120000" extrusionOk="0">
                  <a:moveTo>
                    <a:pt x="120000" y="14457"/>
                  </a:moveTo>
                  <a:lnTo>
                    <a:pt x="120000" y="10120"/>
                  </a:lnTo>
                  <a:lnTo>
                    <a:pt x="120000" y="10120"/>
                  </a:lnTo>
                  <a:lnTo>
                    <a:pt x="120000" y="7228"/>
                  </a:lnTo>
                  <a:lnTo>
                    <a:pt x="120000" y="7228"/>
                  </a:lnTo>
                  <a:lnTo>
                    <a:pt x="120000" y="2891"/>
                  </a:lnTo>
                  <a:lnTo>
                    <a:pt x="120000" y="2891"/>
                  </a:lnTo>
                  <a:lnTo>
                    <a:pt x="120000" y="2891"/>
                  </a:lnTo>
                  <a:lnTo>
                    <a:pt x="120000" y="0"/>
                  </a:lnTo>
                  <a:lnTo>
                    <a:pt x="120000" y="0"/>
                  </a:lnTo>
                  <a:lnTo>
                    <a:pt x="120000" y="0"/>
                  </a:lnTo>
                  <a:lnTo>
                    <a:pt x="110769" y="0"/>
                  </a:lnTo>
                  <a:lnTo>
                    <a:pt x="110769" y="2891"/>
                  </a:lnTo>
                  <a:lnTo>
                    <a:pt x="101538" y="2891"/>
                  </a:lnTo>
                  <a:lnTo>
                    <a:pt x="101538" y="2891"/>
                  </a:lnTo>
                  <a:lnTo>
                    <a:pt x="101538" y="2891"/>
                  </a:lnTo>
                  <a:lnTo>
                    <a:pt x="87692" y="2891"/>
                  </a:lnTo>
                  <a:lnTo>
                    <a:pt x="87692" y="7228"/>
                  </a:lnTo>
                  <a:lnTo>
                    <a:pt x="87692" y="10120"/>
                  </a:lnTo>
                  <a:lnTo>
                    <a:pt x="78461" y="10120"/>
                  </a:lnTo>
                  <a:lnTo>
                    <a:pt x="69230" y="10120"/>
                  </a:lnTo>
                  <a:lnTo>
                    <a:pt x="55384" y="10120"/>
                  </a:lnTo>
                  <a:lnTo>
                    <a:pt x="55384" y="14457"/>
                  </a:lnTo>
                  <a:lnTo>
                    <a:pt x="55384" y="17349"/>
                  </a:lnTo>
                  <a:lnTo>
                    <a:pt x="46153" y="24578"/>
                  </a:lnTo>
                  <a:lnTo>
                    <a:pt x="46153" y="37590"/>
                  </a:lnTo>
                  <a:lnTo>
                    <a:pt x="32307" y="44819"/>
                  </a:lnTo>
                  <a:lnTo>
                    <a:pt x="23076" y="54939"/>
                  </a:lnTo>
                  <a:lnTo>
                    <a:pt x="23076" y="54939"/>
                  </a:lnTo>
                  <a:lnTo>
                    <a:pt x="23076" y="54939"/>
                  </a:lnTo>
                  <a:lnTo>
                    <a:pt x="23076" y="57831"/>
                  </a:lnTo>
                  <a:lnTo>
                    <a:pt x="13846" y="62168"/>
                  </a:lnTo>
                  <a:lnTo>
                    <a:pt x="13846" y="65060"/>
                  </a:lnTo>
                  <a:lnTo>
                    <a:pt x="0" y="65060"/>
                  </a:lnTo>
                  <a:lnTo>
                    <a:pt x="13846" y="72289"/>
                  </a:lnTo>
                  <a:lnTo>
                    <a:pt x="13846" y="78072"/>
                  </a:lnTo>
                  <a:lnTo>
                    <a:pt x="23076" y="85301"/>
                  </a:lnTo>
                  <a:lnTo>
                    <a:pt x="32307" y="89638"/>
                  </a:lnTo>
                  <a:lnTo>
                    <a:pt x="32307" y="89638"/>
                  </a:lnTo>
                  <a:lnTo>
                    <a:pt x="46153" y="95421"/>
                  </a:lnTo>
                  <a:lnTo>
                    <a:pt x="46153" y="102650"/>
                  </a:lnTo>
                  <a:lnTo>
                    <a:pt x="55384" y="109879"/>
                  </a:lnTo>
                  <a:lnTo>
                    <a:pt x="69230" y="115662"/>
                  </a:lnTo>
                  <a:lnTo>
                    <a:pt x="69230" y="119999"/>
                  </a:lnTo>
                  <a:lnTo>
                    <a:pt x="78461" y="115662"/>
                  </a:lnTo>
                  <a:lnTo>
                    <a:pt x="78461" y="109879"/>
                  </a:lnTo>
                  <a:lnTo>
                    <a:pt x="78461" y="105542"/>
                  </a:lnTo>
                  <a:lnTo>
                    <a:pt x="78461" y="102650"/>
                  </a:lnTo>
                  <a:lnTo>
                    <a:pt x="78461" y="99759"/>
                  </a:lnTo>
                  <a:lnTo>
                    <a:pt x="78461" y="95421"/>
                  </a:lnTo>
                  <a:lnTo>
                    <a:pt x="78461" y="92530"/>
                  </a:lnTo>
                  <a:lnTo>
                    <a:pt x="78461" y="89638"/>
                  </a:lnTo>
                  <a:lnTo>
                    <a:pt x="78461" y="89638"/>
                  </a:lnTo>
                  <a:lnTo>
                    <a:pt x="87692" y="82409"/>
                  </a:lnTo>
                  <a:lnTo>
                    <a:pt x="87692" y="78072"/>
                  </a:lnTo>
                  <a:lnTo>
                    <a:pt x="87692" y="78072"/>
                  </a:lnTo>
                  <a:lnTo>
                    <a:pt x="101538" y="72289"/>
                  </a:lnTo>
                  <a:lnTo>
                    <a:pt x="101538" y="67951"/>
                  </a:lnTo>
                  <a:lnTo>
                    <a:pt x="101538" y="65060"/>
                  </a:lnTo>
                  <a:lnTo>
                    <a:pt x="101538" y="65060"/>
                  </a:lnTo>
                  <a:lnTo>
                    <a:pt x="101538" y="62168"/>
                  </a:lnTo>
                  <a:lnTo>
                    <a:pt x="101538" y="62168"/>
                  </a:lnTo>
                  <a:lnTo>
                    <a:pt x="101538" y="57831"/>
                  </a:lnTo>
                  <a:lnTo>
                    <a:pt x="101538" y="57831"/>
                  </a:lnTo>
                  <a:lnTo>
                    <a:pt x="87692" y="62168"/>
                  </a:lnTo>
                  <a:lnTo>
                    <a:pt x="69230" y="62168"/>
                  </a:lnTo>
                  <a:lnTo>
                    <a:pt x="55384" y="62168"/>
                  </a:lnTo>
                  <a:lnTo>
                    <a:pt x="55384" y="62168"/>
                  </a:lnTo>
                  <a:lnTo>
                    <a:pt x="55384" y="62168"/>
                  </a:lnTo>
                  <a:lnTo>
                    <a:pt x="55384" y="57831"/>
                  </a:lnTo>
                  <a:lnTo>
                    <a:pt x="55384" y="54939"/>
                  </a:lnTo>
                  <a:lnTo>
                    <a:pt x="69230" y="52048"/>
                  </a:lnTo>
                  <a:lnTo>
                    <a:pt x="78461" y="52048"/>
                  </a:lnTo>
                  <a:lnTo>
                    <a:pt x="78461" y="52048"/>
                  </a:lnTo>
                  <a:lnTo>
                    <a:pt x="78461" y="47710"/>
                  </a:lnTo>
                  <a:lnTo>
                    <a:pt x="69230" y="47710"/>
                  </a:lnTo>
                  <a:lnTo>
                    <a:pt x="69230" y="47710"/>
                  </a:lnTo>
                  <a:lnTo>
                    <a:pt x="55384" y="47710"/>
                  </a:lnTo>
                  <a:lnTo>
                    <a:pt x="55384" y="47710"/>
                  </a:lnTo>
                  <a:lnTo>
                    <a:pt x="55384" y="47710"/>
                  </a:lnTo>
                  <a:lnTo>
                    <a:pt x="55384" y="47710"/>
                  </a:lnTo>
                  <a:lnTo>
                    <a:pt x="55384" y="44819"/>
                  </a:lnTo>
                  <a:lnTo>
                    <a:pt x="55384" y="40481"/>
                  </a:lnTo>
                  <a:lnTo>
                    <a:pt x="55384" y="40481"/>
                  </a:lnTo>
                  <a:lnTo>
                    <a:pt x="55384" y="37590"/>
                  </a:lnTo>
                  <a:lnTo>
                    <a:pt x="55384" y="34698"/>
                  </a:lnTo>
                  <a:lnTo>
                    <a:pt x="55384" y="30361"/>
                  </a:lnTo>
                  <a:lnTo>
                    <a:pt x="55384" y="27469"/>
                  </a:lnTo>
                  <a:lnTo>
                    <a:pt x="69230" y="27469"/>
                  </a:lnTo>
                  <a:lnTo>
                    <a:pt x="78461" y="27469"/>
                  </a:lnTo>
                  <a:lnTo>
                    <a:pt x="87692" y="27469"/>
                  </a:lnTo>
                  <a:lnTo>
                    <a:pt x="87692" y="27469"/>
                  </a:lnTo>
                  <a:lnTo>
                    <a:pt x="87692" y="27469"/>
                  </a:lnTo>
                  <a:lnTo>
                    <a:pt x="101538" y="30361"/>
                  </a:lnTo>
                  <a:lnTo>
                    <a:pt x="101538" y="30361"/>
                  </a:lnTo>
                  <a:lnTo>
                    <a:pt x="101538" y="24578"/>
                  </a:lnTo>
                  <a:lnTo>
                    <a:pt x="101538" y="24578"/>
                  </a:lnTo>
                  <a:lnTo>
                    <a:pt x="101538" y="20240"/>
                  </a:lnTo>
                  <a:lnTo>
                    <a:pt x="101538" y="20240"/>
                  </a:lnTo>
                  <a:lnTo>
                    <a:pt x="110769" y="20240"/>
                  </a:lnTo>
                  <a:lnTo>
                    <a:pt x="120000" y="20240"/>
                  </a:lnTo>
                  <a:lnTo>
                    <a:pt x="120000" y="17349"/>
                  </a:lnTo>
                  <a:lnTo>
                    <a:pt x="120000" y="17349"/>
                  </a:lnTo>
                  <a:lnTo>
                    <a:pt x="120000" y="14457"/>
                  </a:lnTo>
                  <a:lnTo>
                    <a:pt x="120000" y="14457"/>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63" name="Shape 463"/>
            <p:cNvSpPr/>
            <p:nvPr/>
          </p:nvSpPr>
          <p:spPr>
            <a:xfrm>
              <a:off x="3611" y="1668"/>
              <a:ext cx="0" cy="0"/>
            </a:xfrm>
            <a:custGeom>
              <a:avLst/>
              <a:gdLst/>
              <a:ahLst/>
              <a:cxnLst/>
              <a:rect l="0" t="0" r="0" b="0"/>
              <a:pathLst>
                <a:path w="120000" h="120000" extrusionOk="0">
                  <a:moveTo>
                    <a:pt x="119999" y="0"/>
                  </a:moveTo>
                  <a:lnTo>
                    <a:pt x="119999" y="0"/>
                  </a:lnTo>
                  <a:lnTo>
                    <a:pt x="119999" y="0"/>
                  </a:lnTo>
                  <a:lnTo>
                    <a:pt x="68571" y="0"/>
                  </a:lnTo>
                  <a:lnTo>
                    <a:pt x="34285" y="34285"/>
                  </a:lnTo>
                  <a:lnTo>
                    <a:pt x="34285" y="34285"/>
                  </a:lnTo>
                  <a:lnTo>
                    <a:pt x="0" y="85714"/>
                  </a:lnTo>
                  <a:lnTo>
                    <a:pt x="0" y="85714"/>
                  </a:lnTo>
                  <a:lnTo>
                    <a:pt x="0" y="119999"/>
                  </a:lnTo>
                  <a:lnTo>
                    <a:pt x="34285" y="85714"/>
                  </a:lnTo>
                  <a:lnTo>
                    <a:pt x="34285" y="119999"/>
                  </a:lnTo>
                  <a:lnTo>
                    <a:pt x="119999" y="85714"/>
                  </a:lnTo>
                  <a:lnTo>
                    <a:pt x="119999" y="34285"/>
                  </a:lnTo>
                  <a:lnTo>
                    <a:pt x="119999" y="34285"/>
                  </a:lnTo>
                  <a:lnTo>
                    <a:pt x="119999" y="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64" name="Shape 464"/>
            <p:cNvSpPr/>
            <p:nvPr/>
          </p:nvSpPr>
          <p:spPr>
            <a:xfrm>
              <a:off x="3515" y="1648"/>
              <a:ext cx="0" cy="0"/>
            </a:xfrm>
            <a:custGeom>
              <a:avLst/>
              <a:gdLst/>
              <a:ahLst/>
              <a:cxnLst/>
              <a:rect l="0" t="0" r="0" b="0"/>
              <a:pathLst>
                <a:path w="120000" h="120000" extrusionOk="0">
                  <a:moveTo>
                    <a:pt x="19726" y="43076"/>
                  </a:moveTo>
                  <a:lnTo>
                    <a:pt x="19726" y="43076"/>
                  </a:lnTo>
                  <a:lnTo>
                    <a:pt x="19726" y="43076"/>
                  </a:lnTo>
                  <a:lnTo>
                    <a:pt x="23013" y="40000"/>
                  </a:lnTo>
                  <a:lnTo>
                    <a:pt x="19726" y="40000"/>
                  </a:lnTo>
                  <a:lnTo>
                    <a:pt x="16438" y="40000"/>
                  </a:lnTo>
                  <a:lnTo>
                    <a:pt x="16438" y="40000"/>
                  </a:lnTo>
                  <a:lnTo>
                    <a:pt x="11506" y="40000"/>
                  </a:lnTo>
                  <a:lnTo>
                    <a:pt x="19726" y="40000"/>
                  </a:lnTo>
                  <a:lnTo>
                    <a:pt x="19726" y="43076"/>
                  </a:lnTo>
                  <a:close/>
                  <a:moveTo>
                    <a:pt x="116712" y="61538"/>
                  </a:moveTo>
                  <a:lnTo>
                    <a:pt x="116712" y="58461"/>
                  </a:lnTo>
                  <a:lnTo>
                    <a:pt x="116712" y="58461"/>
                  </a:lnTo>
                  <a:lnTo>
                    <a:pt x="116712" y="58461"/>
                  </a:lnTo>
                  <a:lnTo>
                    <a:pt x="116712" y="55384"/>
                  </a:lnTo>
                  <a:lnTo>
                    <a:pt x="116712" y="55384"/>
                  </a:lnTo>
                  <a:lnTo>
                    <a:pt x="116712" y="50769"/>
                  </a:lnTo>
                  <a:lnTo>
                    <a:pt x="116712" y="47692"/>
                  </a:lnTo>
                  <a:lnTo>
                    <a:pt x="116712" y="43076"/>
                  </a:lnTo>
                  <a:lnTo>
                    <a:pt x="116712" y="43076"/>
                  </a:lnTo>
                  <a:lnTo>
                    <a:pt x="113424" y="43076"/>
                  </a:lnTo>
                  <a:lnTo>
                    <a:pt x="116712" y="40000"/>
                  </a:lnTo>
                  <a:lnTo>
                    <a:pt x="116712" y="40000"/>
                  </a:lnTo>
                  <a:lnTo>
                    <a:pt x="116712" y="40000"/>
                  </a:lnTo>
                  <a:lnTo>
                    <a:pt x="119999" y="40000"/>
                  </a:lnTo>
                  <a:lnTo>
                    <a:pt x="119999" y="40000"/>
                  </a:lnTo>
                  <a:lnTo>
                    <a:pt x="116712" y="36923"/>
                  </a:lnTo>
                  <a:lnTo>
                    <a:pt x="116712" y="36923"/>
                  </a:lnTo>
                  <a:lnTo>
                    <a:pt x="113424" y="36923"/>
                  </a:lnTo>
                  <a:lnTo>
                    <a:pt x="113424" y="40000"/>
                  </a:lnTo>
                  <a:lnTo>
                    <a:pt x="113424" y="40000"/>
                  </a:lnTo>
                  <a:lnTo>
                    <a:pt x="108493" y="40000"/>
                  </a:lnTo>
                  <a:lnTo>
                    <a:pt x="108493" y="40000"/>
                  </a:lnTo>
                  <a:lnTo>
                    <a:pt x="105205" y="36923"/>
                  </a:lnTo>
                  <a:lnTo>
                    <a:pt x="108493" y="36923"/>
                  </a:lnTo>
                  <a:lnTo>
                    <a:pt x="108493" y="36923"/>
                  </a:lnTo>
                  <a:lnTo>
                    <a:pt x="105205" y="32307"/>
                  </a:lnTo>
                  <a:lnTo>
                    <a:pt x="105205" y="32307"/>
                  </a:lnTo>
                  <a:lnTo>
                    <a:pt x="101917" y="32307"/>
                  </a:lnTo>
                  <a:lnTo>
                    <a:pt x="101917" y="32307"/>
                  </a:lnTo>
                  <a:lnTo>
                    <a:pt x="101917" y="29230"/>
                  </a:lnTo>
                  <a:lnTo>
                    <a:pt x="101917" y="29230"/>
                  </a:lnTo>
                  <a:lnTo>
                    <a:pt x="101917" y="29230"/>
                  </a:lnTo>
                  <a:lnTo>
                    <a:pt x="96986" y="29230"/>
                  </a:lnTo>
                  <a:lnTo>
                    <a:pt x="96986" y="29230"/>
                  </a:lnTo>
                  <a:lnTo>
                    <a:pt x="93698" y="32307"/>
                  </a:lnTo>
                  <a:lnTo>
                    <a:pt x="93698" y="32307"/>
                  </a:lnTo>
                  <a:lnTo>
                    <a:pt x="93698" y="32307"/>
                  </a:lnTo>
                  <a:lnTo>
                    <a:pt x="93698" y="32307"/>
                  </a:lnTo>
                  <a:lnTo>
                    <a:pt x="88767" y="36923"/>
                  </a:lnTo>
                  <a:lnTo>
                    <a:pt x="88767" y="36923"/>
                  </a:lnTo>
                  <a:lnTo>
                    <a:pt x="88767" y="36923"/>
                  </a:lnTo>
                  <a:lnTo>
                    <a:pt x="88767" y="36923"/>
                  </a:lnTo>
                  <a:lnTo>
                    <a:pt x="85479" y="36923"/>
                  </a:lnTo>
                  <a:lnTo>
                    <a:pt x="82191" y="36923"/>
                  </a:lnTo>
                  <a:lnTo>
                    <a:pt x="82191" y="36923"/>
                  </a:lnTo>
                  <a:lnTo>
                    <a:pt x="77260" y="32307"/>
                  </a:lnTo>
                  <a:lnTo>
                    <a:pt x="77260" y="32307"/>
                  </a:lnTo>
                  <a:lnTo>
                    <a:pt x="73972" y="32307"/>
                  </a:lnTo>
                  <a:lnTo>
                    <a:pt x="70684" y="29230"/>
                  </a:lnTo>
                  <a:lnTo>
                    <a:pt x="70684" y="26153"/>
                  </a:lnTo>
                  <a:lnTo>
                    <a:pt x="70684" y="26153"/>
                  </a:lnTo>
                  <a:lnTo>
                    <a:pt x="73972" y="26153"/>
                  </a:lnTo>
                  <a:lnTo>
                    <a:pt x="77260" y="21538"/>
                  </a:lnTo>
                  <a:lnTo>
                    <a:pt x="82191" y="21538"/>
                  </a:lnTo>
                  <a:lnTo>
                    <a:pt x="82191" y="21538"/>
                  </a:lnTo>
                  <a:lnTo>
                    <a:pt x="77260" y="21538"/>
                  </a:lnTo>
                  <a:lnTo>
                    <a:pt x="77260" y="18461"/>
                  </a:lnTo>
                  <a:lnTo>
                    <a:pt x="77260" y="18461"/>
                  </a:lnTo>
                  <a:lnTo>
                    <a:pt x="77260" y="18461"/>
                  </a:lnTo>
                  <a:lnTo>
                    <a:pt x="77260" y="18461"/>
                  </a:lnTo>
                  <a:lnTo>
                    <a:pt x="82191" y="18461"/>
                  </a:lnTo>
                  <a:lnTo>
                    <a:pt x="82191" y="18461"/>
                  </a:lnTo>
                  <a:lnTo>
                    <a:pt x="82191" y="18461"/>
                  </a:lnTo>
                  <a:lnTo>
                    <a:pt x="85479" y="18461"/>
                  </a:lnTo>
                  <a:lnTo>
                    <a:pt x="85479" y="18461"/>
                  </a:lnTo>
                  <a:lnTo>
                    <a:pt x="88767" y="15384"/>
                  </a:lnTo>
                  <a:lnTo>
                    <a:pt x="88767" y="15384"/>
                  </a:lnTo>
                  <a:lnTo>
                    <a:pt x="88767" y="10769"/>
                  </a:lnTo>
                  <a:lnTo>
                    <a:pt x="93698" y="10769"/>
                  </a:lnTo>
                  <a:lnTo>
                    <a:pt x="93698" y="7692"/>
                  </a:lnTo>
                  <a:lnTo>
                    <a:pt x="96986" y="7692"/>
                  </a:lnTo>
                  <a:lnTo>
                    <a:pt x="96986" y="3076"/>
                  </a:lnTo>
                  <a:lnTo>
                    <a:pt x="101917" y="3076"/>
                  </a:lnTo>
                  <a:lnTo>
                    <a:pt x="105205" y="3076"/>
                  </a:lnTo>
                  <a:lnTo>
                    <a:pt x="101917" y="0"/>
                  </a:lnTo>
                  <a:lnTo>
                    <a:pt x="96986" y="0"/>
                  </a:lnTo>
                  <a:lnTo>
                    <a:pt x="96986" y="0"/>
                  </a:lnTo>
                  <a:lnTo>
                    <a:pt x="93698" y="0"/>
                  </a:lnTo>
                  <a:lnTo>
                    <a:pt x="93698" y="0"/>
                  </a:lnTo>
                  <a:lnTo>
                    <a:pt x="93698" y="0"/>
                  </a:lnTo>
                  <a:lnTo>
                    <a:pt x="88767" y="0"/>
                  </a:lnTo>
                  <a:lnTo>
                    <a:pt x="88767" y="3076"/>
                  </a:lnTo>
                  <a:lnTo>
                    <a:pt x="88767" y="3076"/>
                  </a:lnTo>
                  <a:lnTo>
                    <a:pt x="88767" y="3076"/>
                  </a:lnTo>
                  <a:lnTo>
                    <a:pt x="88767" y="7692"/>
                  </a:lnTo>
                  <a:lnTo>
                    <a:pt x="88767" y="7692"/>
                  </a:lnTo>
                  <a:lnTo>
                    <a:pt x="85479" y="10769"/>
                  </a:lnTo>
                  <a:lnTo>
                    <a:pt x="85479" y="10769"/>
                  </a:lnTo>
                  <a:lnTo>
                    <a:pt x="85479" y="7692"/>
                  </a:lnTo>
                  <a:lnTo>
                    <a:pt x="85479" y="7692"/>
                  </a:lnTo>
                  <a:lnTo>
                    <a:pt x="85479" y="7692"/>
                  </a:lnTo>
                  <a:lnTo>
                    <a:pt x="88767" y="7692"/>
                  </a:lnTo>
                  <a:lnTo>
                    <a:pt x="88767" y="3076"/>
                  </a:lnTo>
                  <a:lnTo>
                    <a:pt x="85479" y="3076"/>
                  </a:lnTo>
                  <a:lnTo>
                    <a:pt x="85479" y="3076"/>
                  </a:lnTo>
                  <a:lnTo>
                    <a:pt x="85479" y="0"/>
                  </a:lnTo>
                  <a:lnTo>
                    <a:pt x="82191" y="3076"/>
                  </a:lnTo>
                  <a:lnTo>
                    <a:pt x="82191" y="3076"/>
                  </a:lnTo>
                  <a:lnTo>
                    <a:pt x="82191" y="3076"/>
                  </a:lnTo>
                  <a:lnTo>
                    <a:pt x="77260" y="3076"/>
                  </a:lnTo>
                  <a:lnTo>
                    <a:pt x="77260" y="3076"/>
                  </a:lnTo>
                  <a:lnTo>
                    <a:pt x="73972" y="3076"/>
                  </a:lnTo>
                  <a:lnTo>
                    <a:pt x="70684" y="3076"/>
                  </a:lnTo>
                  <a:lnTo>
                    <a:pt x="70684" y="7692"/>
                  </a:lnTo>
                  <a:lnTo>
                    <a:pt x="65753" y="7692"/>
                  </a:lnTo>
                  <a:lnTo>
                    <a:pt x="65753" y="7692"/>
                  </a:lnTo>
                  <a:lnTo>
                    <a:pt x="65753" y="10769"/>
                  </a:lnTo>
                  <a:lnTo>
                    <a:pt x="65753" y="15384"/>
                  </a:lnTo>
                  <a:lnTo>
                    <a:pt x="62465" y="15384"/>
                  </a:lnTo>
                  <a:lnTo>
                    <a:pt x="62465" y="15384"/>
                  </a:lnTo>
                  <a:lnTo>
                    <a:pt x="62465" y="15384"/>
                  </a:lnTo>
                  <a:lnTo>
                    <a:pt x="59178" y="18461"/>
                  </a:lnTo>
                  <a:lnTo>
                    <a:pt x="59178" y="18461"/>
                  </a:lnTo>
                  <a:lnTo>
                    <a:pt x="54246" y="18461"/>
                  </a:lnTo>
                  <a:lnTo>
                    <a:pt x="62465" y="21538"/>
                  </a:lnTo>
                  <a:lnTo>
                    <a:pt x="70684" y="21538"/>
                  </a:lnTo>
                  <a:lnTo>
                    <a:pt x="70684" y="21538"/>
                  </a:lnTo>
                  <a:lnTo>
                    <a:pt x="70684" y="26153"/>
                  </a:lnTo>
                  <a:lnTo>
                    <a:pt x="65753" y="26153"/>
                  </a:lnTo>
                  <a:lnTo>
                    <a:pt x="62465" y="26153"/>
                  </a:lnTo>
                  <a:lnTo>
                    <a:pt x="62465" y="26153"/>
                  </a:lnTo>
                  <a:lnTo>
                    <a:pt x="59178" y="29230"/>
                  </a:lnTo>
                  <a:lnTo>
                    <a:pt x="59178" y="29230"/>
                  </a:lnTo>
                  <a:lnTo>
                    <a:pt x="59178" y="32307"/>
                  </a:lnTo>
                  <a:lnTo>
                    <a:pt x="59178" y="32307"/>
                  </a:lnTo>
                  <a:lnTo>
                    <a:pt x="59178" y="32307"/>
                  </a:lnTo>
                  <a:lnTo>
                    <a:pt x="54246" y="32307"/>
                  </a:lnTo>
                  <a:lnTo>
                    <a:pt x="47671" y="32307"/>
                  </a:lnTo>
                  <a:lnTo>
                    <a:pt x="47671" y="32307"/>
                  </a:lnTo>
                  <a:lnTo>
                    <a:pt x="42739" y="32307"/>
                  </a:lnTo>
                  <a:lnTo>
                    <a:pt x="42739" y="32307"/>
                  </a:lnTo>
                  <a:lnTo>
                    <a:pt x="39452" y="32307"/>
                  </a:lnTo>
                  <a:lnTo>
                    <a:pt x="31232" y="29230"/>
                  </a:lnTo>
                  <a:lnTo>
                    <a:pt x="27945" y="32307"/>
                  </a:lnTo>
                  <a:lnTo>
                    <a:pt x="27945" y="32307"/>
                  </a:lnTo>
                  <a:lnTo>
                    <a:pt x="23013" y="32307"/>
                  </a:lnTo>
                  <a:lnTo>
                    <a:pt x="23013" y="32307"/>
                  </a:lnTo>
                  <a:lnTo>
                    <a:pt x="19726" y="32307"/>
                  </a:lnTo>
                  <a:lnTo>
                    <a:pt x="19726" y="32307"/>
                  </a:lnTo>
                  <a:lnTo>
                    <a:pt x="19726" y="36923"/>
                  </a:lnTo>
                  <a:lnTo>
                    <a:pt x="23013" y="36923"/>
                  </a:lnTo>
                  <a:lnTo>
                    <a:pt x="23013" y="36923"/>
                  </a:lnTo>
                  <a:lnTo>
                    <a:pt x="23013" y="36923"/>
                  </a:lnTo>
                  <a:lnTo>
                    <a:pt x="23013" y="36923"/>
                  </a:lnTo>
                  <a:lnTo>
                    <a:pt x="23013" y="40000"/>
                  </a:lnTo>
                  <a:lnTo>
                    <a:pt x="23013" y="40000"/>
                  </a:lnTo>
                  <a:lnTo>
                    <a:pt x="23013" y="43076"/>
                  </a:lnTo>
                  <a:lnTo>
                    <a:pt x="23013" y="43076"/>
                  </a:lnTo>
                  <a:lnTo>
                    <a:pt x="27945" y="43076"/>
                  </a:lnTo>
                  <a:lnTo>
                    <a:pt x="31232" y="43076"/>
                  </a:lnTo>
                  <a:lnTo>
                    <a:pt x="31232" y="43076"/>
                  </a:lnTo>
                  <a:lnTo>
                    <a:pt x="31232" y="47692"/>
                  </a:lnTo>
                  <a:lnTo>
                    <a:pt x="27945" y="47692"/>
                  </a:lnTo>
                  <a:lnTo>
                    <a:pt x="23013" y="47692"/>
                  </a:lnTo>
                  <a:lnTo>
                    <a:pt x="19726" y="50769"/>
                  </a:lnTo>
                  <a:lnTo>
                    <a:pt x="19726" y="50769"/>
                  </a:lnTo>
                  <a:lnTo>
                    <a:pt x="23013" y="50769"/>
                  </a:lnTo>
                  <a:lnTo>
                    <a:pt x="27945" y="50769"/>
                  </a:lnTo>
                  <a:lnTo>
                    <a:pt x="23013" y="55384"/>
                  </a:lnTo>
                  <a:lnTo>
                    <a:pt x="19726" y="55384"/>
                  </a:lnTo>
                  <a:lnTo>
                    <a:pt x="16438" y="55384"/>
                  </a:lnTo>
                  <a:lnTo>
                    <a:pt x="16438" y="55384"/>
                  </a:lnTo>
                  <a:lnTo>
                    <a:pt x="16438" y="55384"/>
                  </a:lnTo>
                  <a:lnTo>
                    <a:pt x="16438" y="58461"/>
                  </a:lnTo>
                  <a:lnTo>
                    <a:pt x="16438" y="58461"/>
                  </a:lnTo>
                  <a:lnTo>
                    <a:pt x="16438" y="58461"/>
                  </a:lnTo>
                  <a:lnTo>
                    <a:pt x="19726" y="58461"/>
                  </a:lnTo>
                  <a:lnTo>
                    <a:pt x="19726" y="58461"/>
                  </a:lnTo>
                  <a:lnTo>
                    <a:pt x="23013" y="58461"/>
                  </a:lnTo>
                  <a:lnTo>
                    <a:pt x="19726" y="61538"/>
                  </a:lnTo>
                  <a:lnTo>
                    <a:pt x="23013" y="61538"/>
                  </a:lnTo>
                  <a:lnTo>
                    <a:pt x="23013" y="61538"/>
                  </a:lnTo>
                  <a:lnTo>
                    <a:pt x="23013" y="61538"/>
                  </a:lnTo>
                  <a:lnTo>
                    <a:pt x="27945" y="61538"/>
                  </a:lnTo>
                  <a:lnTo>
                    <a:pt x="27945" y="61538"/>
                  </a:lnTo>
                  <a:lnTo>
                    <a:pt x="27945" y="61538"/>
                  </a:lnTo>
                  <a:lnTo>
                    <a:pt x="27945" y="61538"/>
                  </a:lnTo>
                  <a:lnTo>
                    <a:pt x="31232" y="66153"/>
                  </a:lnTo>
                  <a:lnTo>
                    <a:pt x="31232" y="66153"/>
                  </a:lnTo>
                  <a:lnTo>
                    <a:pt x="39452" y="61538"/>
                  </a:lnTo>
                  <a:lnTo>
                    <a:pt x="42739" y="66153"/>
                  </a:lnTo>
                  <a:lnTo>
                    <a:pt x="42739" y="66153"/>
                  </a:lnTo>
                  <a:lnTo>
                    <a:pt x="42739" y="66153"/>
                  </a:lnTo>
                  <a:lnTo>
                    <a:pt x="42739" y="66153"/>
                  </a:lnTo>
                  <a:lnTo>
                    <a:pt x="42739" y="66153"/>
                  </a:lnTo>
                  <a:lnTo>
                    <a:pt x="39452" y="66153"/>
                  </a:lnTo>
                  <a:lnTo>
                    <a:pt x="34520" y="69230"/>
                  </a:lnTo>
                  <a:lnTo>
                    <a:pt x="34520" y="69230"/>
                  </a:lnTo>
                  <a:lnTo>
                    <a:pt x="31232" y="72307"/>
                  </a:lnTo>
                  <a:lnTo>
                    <a:pt x="31232" y="72307"/>
                  </a:lnTo>
                  <a:lnTo>
                    <a:pt x="31232" y="72307"/>
                  </a:lnTo>
                  <a:lnTo>
                    <a:pt x="31232" y="76923"/>
                  </a:lnTo>
                  <a:lnTo>
                    <a:pt x="27945" y="76923"/>
                  </a:lnTo>
                  <a:lnTo>
                    <a:pt x="19726" y="83076"/>
                  </a:lnTo>
                  <a:lnTo>
                    <a:pt x="16438" y="83076"/>
                  </a:lnTo>
                  <a:lnTo>
                    <a:pt x="19726" y="83076"/>
                  </a:lnTo>
                  <a:lnTo>
                    <a:pt x="23013" y="83076"/>
                  </a:lnTo>
                  <a:lnTo>
                    <a:pt x="23013" y="83076"/>
                  </a:lnTo>
                  <a:lnTo>
                    <a:pt x="27945" y="83076"/>
                  </a:lnTo>
                  <a:lnTo>
                    <a:pt x="27945" y="83076"/>
                  </a:lnTo>
                  <a:lnTo>
                    <a:pt x="31232" y="83076"/>
                  </a:lnTo>
                  <a:lnTo>
                    <a:pt x="34520" y="83076"/>
                  </a:lnTo>
                  <a:lnTo>
                    <a:pt x="39452" y="80000"/>
                  </a:lnTo>
                  <a:lnTo>
                    <a:pt x="42739" y="80000"/>
                  </a:lnTo>
                  <a:lnTo>
                    <a:pt x="42739" y="80000"/>
                  </a:lnTo>
                  <a:lnTo>
                    <a:pt x="47671" y="80000"/>
                  </a:lnTo>
                  <a:lnTo>
                    <a:pt x="39452" y="83076"/>
                  </a:lnTo>
                  <a:lnTo>
                    <a:pt x="31232" y="83076"/>
                  </a:lnTo>
                  <a:lnTo>
                    <a:pt x="23013" y="83076"/>
                  </a:lnTo>
                  <a:lnTo>
                    <a:pt x="23013" y="83076"/>
                  </a:lnTo>
                  <a:lnTo>
                    <a:pt x="19726" y="87692"/>
                  </a:lnTo>
                  <a:lnTo>
                    <a:pt x="19726" y="87692"/>
                  </a:lnTo>
                  <a:lnTo>
                    <a:pt x="16438" y="90769"/>
                  </a:lnTo>
                  <a:lnTo>
                    <a:pt x="16438" y="90769"/>
                  </a:lnTo>
                  <a:lnTo>
                    <a:pt x="16438" y="95384"/>
                  </a:lnTo>
                  <a:lnTo>
                    <a:pt x="19726" y="95384"/>
                  </a:lnTo>
                  <a:lnTo>
                    <a:pt x="16438" y="95384"/>
                  </a:lnTo>
                  <a:lnTo>
                    <a:pt x="11506" y="95384"/>
                  </a:lnTo>
                  <a:lnTo>
                    <a:pt x="11506" y="95384"/>
                  </a:lnTo>
                  <a:lnTo>
                    <a:pt x="8219" y="95384"/>
                  </a:lnTo>
                  <a:lnTo>
                    <a:pt x="8219" y="95384"/>
                  </a:lnTo>
                  <a:lnTo>
                    <a:pt x="4931" y="95384"/>
                  </a:lnTo>
                  <a:lnTo>
                    <a:pt x="4931" y="98461"/>
                  </a:lnTo>
                  <a:lnTo>
                    <a:pt x="4931" y="98461"/>
                  </a:lnTo>
                  <a:lnTo>
                    <a:pt x="4931" y="98461"/>
                  </a:lnTo>
                  <a:lnTo>
                    <a:pt x="11506" y="98461"/>
                  </a:lnTo>
                  <a:lnTo>
                    <a:pt x="16438" y="98461"/>
                  </a:lnTo>
                  <a:lnTo>
                    <a:pt x="11506" y="98461"/>
                  </a:lnTo>
                  <a:lnTo>
                    <a:pt x="11506" y="101538"/>
                  </a:lnTo>
                  <a:lnTo>
                    <a:pt x="8219" y="101538"/>
                  </a:lnTo>
                  <a:lnTo>
                    <a:pt x="4931" y="101538"/>
                  </a:lnTo>
                  <a:lnTo>
                    <a:pt x="0" y="106153"/>
                  </a:lnTo>
                  <a:lnTo>
                    <a:pt x="4931" y="109230"/>
                  </a:lnTo>
                  <a:lnTo>
                    <a:pt x="4931" y="109230"/>
                  </a:lnTo>
                  <a:lnTo>
                    <a:pt x="4931" y="109230"/>
                  </a:lnTo>
                  <a:lnTo>
                    <a:pt x="8219" y="109230"/>
                  </a:lnTo>
                  <a:lnTo>
                    <a:pt x="23013" y="106153"/>
                  </a:lnTo>
                  <a:lnTo>
                    <a:pt x="19726" y="109230"/>
                  </a:lnTo>
                  <a:lnTo>
                    <a:pt x="16438" y="109230"/>
                  </a:lnTo>
                  <a:lnTo>
                    <a:pt x="16438" y="109230"/>
                  </a:lnTo>
                  <a:lnTo>
                    <a:pt x="11506" y="109230"/>
                  </a:lnTo>
                  <a:lnTo>
                    <a:pt x="8219" y="112307"/>
                  </a:lnTo>
                  <a:lnTo>
                    <a:pt x="8219" y="116923"/>
                  </a:lnTo>
                  <a:lnTo>
                    <a:pt x="11506" y="112307"/>
                  </a:lnTo>
                  <a:lnTo>
                    <a:pt x="11506" y="112307"/>
                  </a:lnTo>
                  <a:lnTo>
                    <a:pt x="23013" y="112307"/>
                  </a:lnTo>
                  <a:lnTo>
                    <a:pt x="23013" y="112307"/>
                  </a:lnTo>
                  <a:lnTo>
                    <a:pt x="23013" y="112307"/>
                  </a:lnTo>
                  <a:lnTo>
                    <a:pt x="19726" y="116923"/>
                  </a:lnTo>
                  <a:lnTo>
                    <a:pt x="16438" y="120000"/>
                  </a:lnTo>
                  <a:lnTo>
                    <a:pt x="16438" y="120000"/>
                  </a:lnTo>
                  <a:lnTo>
                    <a:pt x="23013" y="116923"/>
                  </a:lnTo>
                  <a:lnTo>
                    <a:pt x="23013" y="116923"/>
                  </a:lnTo>
                  <a:lnTo>
                    <a:pt x="27945" y="116923"/>
                  </a:lnTo>
                  <a:lnTo>
                    <a:pt x="27945" y="116923"/>
                  </a:lnTo>
                  <a:lnTo>
                    <a:pt x="27945" y="116923"/>
                  </a:lnTo>
                  <a:lnTo>
                    <a:pt x="42739" y="116923"/>
                  </a:lnTo>
                  <a:lnTo>
                    <a:pt x="42739" y="112307"/>
                  </a:lnTo>
                  <a:lnTo>
                    <a:pt x="47671" y="112307"/>
                  </a:lnTo>
                  <a:lnTo>
                    <a:pt x="50958" y="112307"/>
                  </a:lnTo>
                  <a:lnTo>
                    <a:pt x="50958" y="112307"/>
                  </a:lnTo>
                  <a:lnTo>
                    <a:pt x="54246" y="109230"/>
                  </a:lnTo>
                  <a:lnTo>
                    <a:pt x="54246" y="109230"/>
                  </a:lnTo>
                  <a:lnTo>
                    <a:pt x="54246" y="106153"/>
                  </a:lnTo>
                  <a:lnTo>
                    <a:pt x="54246" y="106153"/>
                  </a:lnTo>
                  <a:lnTo>
                    <a:pt x="54246" y="106153"/>
                  </a:lnTo>
                  <a:lnTo>
                    <a:pt x="54246" y="106153"/>
                  </a:lnTo>
                  <a:lnTo>
                    <a:pt x="59178" y="106153"/>
                  </a:lnTo>
                  <a:lnTo>
                    <a:pt x="59178" y="106153"/>
                  </a:lnTo>
                  <a:lnTo>
                    <a:pt x="59178" y="109230"/>
                  </a:lnTo>
                  <a:lnTo>
                    <a:pt x="62465" y="109230"/>
                  </a:lnTo>
                  <a:lnTo>
                    <a:pt x="65753" y="106153"/>
                  </a:lnTo>
                  <a:lnTo>
                    <a:pt x="65753" y="106153"/>
                  </a:lnTo>
                  <a:lnTo>
                    <a:pt x="70684" y="106153"/>
                  </a:lnTo>
                  <a:lnTo>
                    <a:pt x="73972" y="101538"/>
                  </a:lnTo>
                  <a:lnTo>
                    <a:pt x="73972" y="101538"/>
                  </a:lnTo>
                  <a:lnTo>
                    <a:pt x="73972" y="101538"/>
                  </a:lnTo>
                  <a:lnTo>
                    <a:pt x="77260" y="101538"/>
                  </a:lnTo>
                  <a:lnTo>
                    <a:pt x="77260" y="98461"/>
                  </a:lnTo>
                  <a:lnTo>
                    <a:pt x="77260" y="98461"/>
                  </a:lnTo>
                  <a:lnTo>
                    <a:pt x="85479" y="98461"/>
                  </a:lnTo>
                  <a:lnTo>
                    <a:pt x="88767" y="98461"/>
                  </a:lnTo>
                  <a:lnTo>
                    <a:pt x="88767" y="98461"/>
                  </a:lnTo>
                  <a:lnTo>
                    <a:pt x="93698" y="95384"/>
                  </a:lnTo>
                  <a:lnTo>
                    <a:pt x="93698" y="98461"/>
                  </a:lnTo>
                  <a:lnTo>
                    <a:pt x="93698" y="98461"/>
                  </a:lnTo>
                  <a:lnTo>
                    <a:pt x="93698" y="98461"/>
                  </a:lnTo>
                  <a:lnTo>
                    <a:pt x="96986" y="95384"/>
                  </a:lnTo>
                  <a:lnTo>
                    <a:pt x="101917" y="95384"/>
                  </a:lnTo>
                  <a:lnTo>
                    <a:pt x="101917" y="98461"/>
                  </a:lnTo>
                  <a:lnTo>
                    <a:pt x="105205" y="95384"/>
                  </a:lnTo>
                  <a:lnTo>
                    <a:pt x="108493" y="95384"/>
                  </a:lnTo>
                  <a:lnTo>
                    <a:pt x="105205" y="90769"/>
                  </a:lnTo>
                  <a:lnTo>
                    <a:pt x="108493" y="90769"/>
                  </a:lnTo>
                  <a:lnTo>
                    <a:pt x="108493" y="90769"/>
                  </a:lnTo>
                  <a:lnTo>
                    <a:pt x="113424" y="83076"/>
                  </a:lnTo>
                  <a:lnTo>
                    <a:pt x="113424" y="80000"/>
                  </a:lnTo>
                  <a:lnTo>
                    <a:pt x="116712" y="80000"/>
                  </a:lnTo>
                  <a:lnTo>
                    <a:pt x="116712" y="76923"/>
                  </a:lnTo>
                  <a:lnTo>
                    <a:pt x="116712" y="76923"/>
                  </a:lnTo>
                  <a:lnTo>
                    <a:pt x="119999" y="72307"/>
                  </a:lnTo>
                  <a:lnTo>
                    <a:pt x="119999" y="69230"/>
                  </a:lnTo>
                  <a:lnTo>
                    <a:pt x="119999" y="66153"/>
                  </a:lnTo>
                  <a:lnTo>
                    <a:pt x="116712" y="61538"/>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65" name="Shape 465"/>
            <p:cNvSpPr/>
            <p:nvPr/>
          </p:nvSpPr>
          <p:spPr>
            <a:xfrm>
              <a:off x="4348" y="2018"/>
              <a:ext cx="300" cy="300"/>
            </a:xfrm>
            <a:custGeom>
              <a:avLst/>
              <a:gdLst/>
              <a:ahLst/>
              <a:cxnLst/>
              <a:rect l="0" t="0" r="0" b="0"/>
              <a:pathLst>
                <a:path w="120000" h="120000" extrusionOk="0">
                  <a:moveTo>
                    <a:pt x="120000" y="105762"/>
                  </a:moveTo>
                  <a:lnTo>
                    <a:pt x="118659" y="105762"/>
                  </a:lnTo>
                  <a:lnTo>
                    <a:pt x="118659" y="104406"/>
                  </a:lnTo>
                  <a:lnTo>
                    <a:pt x="118659" y="104406"/>
                  </a:lnTo>
                  <a:lnTo>
                    <a:pt x="118659" y="104406"/>
                  </a:lnTo>
                  <a:lnTo>
                    <a:pt x="118659" y="102372"/>
                  </a:lnTo>
                  <a:lnTo>
                    <a:pt x="117318" y="102372"/>
                  </a:lnTo>
                  <a:lnTo>
                    <a:pt x="117318" y="101016"/>
                  </a:lnTo>
                  <a:lnTo>
                    <a:pt x="115307" y="101016"/>
                  </a:lnTo>
                  <a:lnTo>
                    <a:pt x="115307" y="101016"/>
                  </a:lnTo>
                  <a:lnTo>
                    <a:pt x="115307" y="99661"/>
                  </a:lnTo>
                  <a:lnTo>
                    <a:pt x="113966" y="99661"/>
                  </a:lnTo>
                  <a:lnTo>
                    <a:pt x="113966" y="99661"/>
                  </a:lnTo>
                  <a:lnTo>
                    <a:pt x="112625" y="96271"/>
                  </a:lnTo>
                  <a:lnTo>
                    <a:pt x="112625" y="94237"/>
                  </a:lnTo>
                  <a:lnTo>
                    <a:pt x="112625" y="91525"/>
                  </a:lnTo>
                  <a:lnTo>
                    <a:pt x="110614" y="91525"/>
                  </a:lnTo>
                  <a:lnTo>
                    <a:pt x="109273" y="91525"/>
                  </a:lnTo>
                  <a:lnTo>
                    <a:pt x="107262" y="89491"/>
                  </a:lnTo>
                  <a:lnTo>
                    <a:pt x="107262" y="86779"/>
                  </a:lnTo>
                  <a:lnTo>
                    <a:pt x="109273" y="83389"/>
                  </a:lnTo>
                  <a:lnTo>
                    <a:pt x="109273" y="80000"/>
                  </a:lnTo>
                  <a:lnTo>
                    <a:pt x="107262" y="78644"/>
                  </a:lnTo>
                  <a:lnTo>
                    <a:pt x="105921" y="76610"/>
                  </a:lnTo>
                  <a:lnTo>
                    <a:pt x="104581" y="75254"/>
                  </a:lnTo>
                  <a:lnTo>
                    <a:pt x="102569" y="71864"/>
                  </a:lnTo>
                  <a:lnTo>
                    <a:pt x="102569" y="71864"/>
                  </a:lnTo>
                  <a:lnTo>
                    <a:pt x="102569" y="70508"/>
                  </a:lnTo>
                  <a:lnTo>
                    <a:pt x="101229" y="70508"/>
                  </a:lnTo>
                  <a:lnTo>
                    <a:pt x="99888" y="70508"/>
                  </a:lnTo>
                  <a:lnTo>
                    <a:pt x="97877" y="69152"/>
                  </a:lnTo>
                  <a:lnTo>
                    <a:pt x="95195" y="67118"/>
                  </a:lnTo>
                  <a:lnTo>
                    <a:pt x="91843" y="65762"/>
                  </a:lnTo>
                  <a:lnTo>
                    <a:pt x="90502" y="64406"/>
                  </a:lnTo>
                  <a:lnTo>
                    <a:pt x="88491" y="64406"/>
                  </a:lnTo>
                  <a:lnTo>
                    <a:pt x="87150" y="64406"/>
                  </a:lnTo>
                  <a:lnTo>
                    <a:pt x="87150" y="64406"/>
                  </a:lnTo>
                  <a:lnTo>
                    <a:pt x="87150" y="62372"/>
                  </a:lnTo>
                  <a:lnTo>
                    <a:pt x="87150" y="62372"/>
                  </a:lnTo>
                  <a:lnTo>
                    <a:pt x="87150" y="61016"/>
                  </a:lnTo>
                  <a:lnTo>
                    <a:pt x="87150" y="58983"/>
                  </a:lnTo>
                  <a:lnTo>
                    <a:pt x="85139" y="57627"/>
                  </a:lnTo>
                  <a:lnTo>
                    <a:pt x="83798" y="56271"/>
                  </a:lnTo>
                  <a:lnTo>
                    <a:pt x="83798" y="56271"/>
                  </a:lnTo>
                  <a:lnTo>
                    <a:pt x="83798" y="56271"/>
                  </a:lnTo>
                  <a:lnTo>
                    <a:pt x="83798" y="54237"/>
                  </a:lnTo>
                  <a:lnTo>
                    <a:pt x="83798" y="54237"/>
                  </a:lnTo>
                  <a:lnTo>
                    <a:pt x="82458" y="54237"/>
                  </a:lnTo>
                  <a:lnTo>
                    <a:pt x="82458" y="54237"/>
                  </a:lnTo>
                  <a:lnTo>
                    <a:pt x="80446" y="54237"/>
                  </a:lnTo>
                  <a:lnTo>
                    <a:pt x="80446" y="52881"/>
                  </a:lnTo>
                  <a:lnTo>
                    <a:pt x="77765" y="49491"/>
                  </a:lnTo>
                  <a:lnTo>
                    <a:pt x="77765" y="49491"/>
                  </a:lnTo>
                  <a:lnTo>
                    <a:pt x="77765" y="49491"/>
                  </a:lnTo>
                  <a:lnTo>
                    <a:pt x="77765" y="48135"/>
                  </a:lnTo>
                  <a:lnTo>
                    <a:pt x="77765" y="46779"/>
                  </a:lnTo>
                  <a:lnTo>
                    <a:pt x="77765" y="46779"/>
                  </a:lnTo>
                  <a:lnTo>
                    <a:pt x="77765" y="44745"/>
                  </a:lnTo>
                  <a:lnTo>
                    <a:pt x="75754" y="43389"/>
                  </a:lnTo>
                  <a:lnTo>
                    <a:pt x="77765" y="41355"/>
                  </a:lnTo>
                  <a:lnTo>
                    <a:pt x="77765" y="41355"/>
                  </a:lnTo>
                  <a:lnTo>
                    <a:pt x="77765" y="40000"/>
                  </a:lnTo>
                  <a:lnTo>
                    <a:pt x="77765" y="40000"/>
                  </a:lnTo>
                  <a:lnTo>
                    <a:pt x="79106" y="40000"/>
                  </a:lnTo>
                  <a:lnTo>
                    <a:pt x="79106" y="40000"/>
                  </a:lnTo>
                  <a:lnTo>
                    <a:pt x="79106" y="38644"/>
                  </a:lnTo>
                  <a:lnTo>
                    <a:pt x="79106" y="36610"/>
                  </a:lnTo>
                  <a:lnTo>
                    <a:pt x="80446" y="33898"/>
                  </a:lnTo>
                  <a:lnTo>
                    <a:pt x="82458" y="33898"/>
                  </a:lnTo>
                  <a:lnTo>
                    <a:pt x="83798" y="31864"/>
                  </a:lnTo>
                  <a:lnTo>
                    <a:pt x="83798" y="31864"/>
                  </a:lnTo>
                  <a:lnTo>
                    <a:pt x="83798" y="30508"/>
                  </a:lnTo>
                  <a:lnTo>
                    <a:pt x="83798" y="30508"/>
                  </a:lnTo>
                  <a:lnTo>
                    <a:pt x="83798" y="30508"/>
                  </a:lnTo>
                  <a:lnTo>
                    <a:pt x="82458" y="28474"/>
                  </a:lnTo>
                  <a:lnTo>
                    <a:pt x="80446" y="27118"/>
                  </a:lnTo>
                  <a:lnTo>
                    <a:pt x="80446" y="27118"/>
                  </a:lnTo>
                  <a:lnTo>
                    <a:pt x="80446" y="25762"/>
                  </a:lnTo>
                  <a:lnTo>
                    <a:pt x="82458" y="23728"/>
                  </a:lnTo>
                  <a:lnTo>
                    <a:pt x="83798" y="23728"/>
                  </a:lnTo>
                  <a:lnTo>
                    <a:pt x="83798" y="23728"/>
                  </a:lnTo>
                  <a:lnTo>
                    <a:pt x="83798" y="23728"/>
                  </a:lnTo>
                  <a:lnTo>
                    <a:pt x="82458" y="22372"/>
                  </a:lnTo>
                  <a:lnTo>
                    <a:pt x="80446" y="22372"/>
                  </a:lnTo>
                  <a:lnTo>
                    <a:pt x="77765" y="22372"/>
                  </a:lnTo>
                  <a:lnTo>
                    <a:pt x="77765" y="22372"/>
                  </a:lnTo>
                  <a:lnTo>
                    <a:pt x="75754" y="21016"/>
                  </a:lnTo>
                  <a:lnTo>
                    <a:pt x="75754" y="21016"/>
                  </a:lnTo>
                  <a:lnTo>
                    <a:pt x="74413" y="18983"/>
                  </a:lnTo>
                  <a:lnTo>
                    <a:pt x="74413" y="18983"/>
                  </a:lnTo>
                  <a:lnTo>
                    <a:pt x="73072" y="18983"/>
                  </a:lnTo>
                  <a:lnTo>
                    <a:pt x="73072" y="18983"/>
                  </a:lnTo>
                  <a:lnTo>
                    <a:pt x="71061" y="14237"/>
                  </a:lnTo>
                  <a:lnTo>
                    <a:pt x="71061" y="14237"/>
                  </a:lnTo>
                  <a:lnTo>
                    <a:pt x="69720" y="14237"/>
                  </a:lnTo>
                  <a:lnTo>
                    <a:pt x="69720" y="14237"/>
                  </a:lnTo>
                  <a:lnTo>
                    <a:pt x="69720" y="14237"/>
                  </a:lnTo>
                  <a:lnTo>
                    <a:pt x="68379" y="12881"/>
                  </a:lnTo>
                  <a:lnTo>
                    <a:pt x="68379" y="12881"/>
                  </a:lnTo>
                  <a:lnTo>
                    <a:pt x="68379" y="10847"/>
                  </a:lnTo>
                  <a:lnTo>
                    <a:pt x="68379" y="9491"/>
                  </a:lnTo>
                  <a:lnTo>
                    <a:pt x="68379" y="9491"/>
                  </a:lnTo>
                  <a:lnTo>
                    <a:pt x="68379" y="9491"/>
                  </a:lnTo>
                  <a:lnTo>
                    <a:pt x="66368" y="9491"/>
                  </a:lnTo>
                  <a:lnTo>
                    <a:pt x="66368" y="8135"/>
                  </a:lnTo>
                  <a:lnTo>
                    <a:pt x="65027" y="4745"/>
                  </a:lnTo>
                  <a:lnTo>
                    <a:pt x="65027" y="3389"/>
                  </a:lnTo>
                  <a:lnTo>
                    <a:pt x="65027" y="3389"/>
                  </a:lnTo>
                  <a:lnTo>
                    <a:pt x="63016" y="3389"/>
                  </a:lnTo>
                  <a:lnTo>
                    <a:pt x="63016" y="3389"/>
                  </a:lnTo>
                  <a:lnTo>
                    <a:pt x="61675" y="3389"/>
                  </a:lnTo>
                  <a:lnTo>
                    <a:pt x="61675" y="3389"/>
                  </a:lnTo>
                  <a:lnTo>
                    <a:pt x="61675" y="3389"/>
                  </a:lnTo>
                  <a:lnTo>
                    <a:pt x="60335" y="4745"/>
                  </a:lnTo>
                  <a:lnTo>
                    <a:pt x="58324" y="4745"/>
                  </a:lnTo>
                  <a:lnTo>
                    <a:pt x="58324" y="6101"/>
                  </a:lnTo>
                  <a:lnTo>
                    <a:pt x="58324" y="6101"/>
                  </a:lnTo>
                  <a:lnTo>
                    <a:pt x="58324" y="4745"/>
                  </a:lnTo>
                  <a:lnTo>
                    <a:pt x="58324" y="4745"/>
                  </a:lnTo>
                  <a:lnTo>
                    <a:pt x="56983" y="3389"/>
                  </a:lnTo>
                  <a:lnTo>
                    <a:pt x="56983" y="1355"/>
                  </a:lnTo>
                  <a:lnTo>
                    <a:pt x="56983" y="1355"/>
                  </a:lnTo>
                  <a:lnTo>
                    <a:pt x="56983" y="1355"/>
                  </a:lnTo>
                  <a:lnTo>
                    <a:pt x="55642" y="1355"/>
                  </a:lnTo>
                  <a:lnTo>
                    <a:pt x="55642" y="1355"/>
                  </a:lnTo>
                  <a:lnTo>
                    <a:pt x="53631" y="1355"/>
                  </a:lnTo>
                  <a:lnTo>
                    <a:pt x="53631" y="1355"/>
                  </a:lnTo>
                  <a:lnTo>
                    <a:pt x="50949" y="1355"/>
                  </a:lnTo>
                  <a:lnTo>
                    <a:pt x="50949" y="1355"/>
                  </a:lnTo>
                  <a:lnTo>
                    <a:pt x="48938" y="1355"/>
                  </a:lnTo>
                  <a:lnTo>
                    <a:pt x="47597" y="1355"/>
                  </a:lnTo>
                  <a:lnTo>
                    <a:pt x="46256" y="0"/>
                  </a:lnTo>
                  <a:lnTo>
                    <a:pt x="46256" y="0"/>
                  </a:lnTo>
                  <a:lnTo>
                    <a:pt x="44245" y="0"/>
                  </a:lnTo>
                  <a:lnTo>
                    <a:pt x="42905" y="0"/>
                  </a:lnTo>
                  <a:lnTo>
                    <a:pt x="40893" y="0"/>
                  </a:lnTo>
                  <a:lnTo>
                    <a:pt x="40893" y="0"/>
                  </a:lnTo>
                  <a:lnTo>
                    <a:pt x="39553" y="0"/>
                  </a:lnTo>
                  <a:lnTo>
                    <a:pt x="39553" y="1355"/>
                  </a:lnTo>
                  <a:lnTo>
                    <a:pt x="38212" y="3389"/>
                  </a:lnTo>
                  <a:lnTo>
                    <a:pt x="36201" y="3389"/>
                  </a:lnTo>
                  <a:lnTo>
                    <a:pt x="36201" y="4745"/>
                  </a:lnTo>
                  <a:lnTo>
                    <a:pt x="36201" y="4745"/>
                  </a:lnTo>
                  <a:lnTo>
                    <a:pt x="34860" y="6101"/>
                  </a:lnTo>
                  <a:lnTo>
                    <a:pt x="33519" y="8135"/>
                  </a:lnTo>
                  <a:lnTo>
                    <a:pt x="31508" y="9491"/>
                  </a:lnTo>
                  <a:lnTo>
                    <a:pt x="30167" y="10847"/>
                  </a:lnTo>
                  <a:lnTo>
                    <a:pt x="28826" y="10847"/>
                  </a:lnTo>
                  <a:lnTo>
                    <a:pt x="25474" y="12881"/>
                  </a:lnTo>
                  <a:lnTo>
                    <a:pt x="25474" y="12881"/>
                  </a:lnTo>
                  <a:lnTo>
                    <a:pt x="25474" y="14237"/>
                  </a:lnTo>
                  <a:lnTo>
                    <a:pt x="25474" y="16271"/>
                  </a:lnTo>
                  <a:lnTo>
                    <a:pt x="25474" y="17627"/>
                  </a:lnTo>
                  <a:lnTo>
                    <a:pt x="25474" y="18983"/>
                  </a:lnTo>
                  <a:lnTo>
                    <a:pt x="25474" y="21016"/>
                  </a:lnTo>
                  <a:lnTo>
                    <a:pt x="26815" y="22372"/>
                  </a:lnTo>
                  <a:lnTo>
                    <a:pt x="26815" y="23728"/>
                  </a:lnTo>
                  <a:lnTo>
                    <a:pt x="26815" y="25762"/>
                  </a:lnTo>
                  <a:lnTo>
                    <a:pt x="26815" y="27118"/>
                  </a:lnTo>
                  <a:lnTo>
                    <a:pt x="25474" y="28474"/>
                  </a:lnTo>
                  <a:lnTo>
                    <a:pt x="25474" y="30508"/>
                  </a:lnTo>
                  <a:lnTo>
                    <a:pt x="25474" y="33898"/>
                  </a:lnTo>
                  <a:lnTo>
                    <a:pt x="25474" y="36610"/>
                  </a:lnTo>
                  <a:lnTo>
                    <a:pt x="25474" y="38644"/>
                  </a:lnTo>
                  <a:lnTo>
                    <a:pt x="25474" y="40000"/>
                  </a:lnTo>
                  <a:lnTo>
                    <a:pt x="24134" y="43389"/>
                  </a:lnTo>
                  <a:lnTo>
                    <a:pt x="24134" y="43389"/>
                  </a:lnTo>
                  <a:lnTo>
                    <a:pt x="20782" y="44745"/>
                  </a:lnTo>
                  <a:lnTo>
                    <a:pt x="17430" y="46779"/>
                  </a:lnTo>
                  <a:lnTo>
                    <a:pt x="14078" y="48135"/>
                  </a:lnTo>
                  <a:lnTo>
                    <a:pt x="11396" y="49491"/>
                  </a:lnTo>
                  <a:lnTo>
                    <a:pt x="8044" y="52881"/>
                  </a:lnTo>
                  <a:lnTo>
                    <a:pt x="4692" y="54237"/>
                  </a:lnTo>
                  <a:lnTo>
                    <a:pt x="3351" y="56271"/>
                  </a:lnTo>
                  <a:lnTo>
                    <a:pt x="0" y="57627"/>
                  </a:lnTo>
                  <a:lnTo>
                    <a:pt x="0" y="61016"/>
                  </a:lnTo>
                  <a:lnTo>
                    <a:pt x="2011" y="64406"/>
                  </a:lnTo>
                  <a:lnTo>
                    <a:pt x="3351" y="67118"/>
                  </a:lnTo>
                  <a:lnTo>
                    <a:pt x="3351" y="70508"/>
                  </a:lnTo>
                  <a:lnTo>
                    <a:pt x="3351" y="70508"/>
                  </a:lnTo>
                  <a:lnTo>
                    <a:pt x="3351" y="73898"/>
                  </a:lnTo>
                  <a:lnTo>
                    <a:pt x="4692" y="71864"/>
                  </a:lnTo>
                  <a:lnTo>
                    <a:pt x="6703" y="71864"/>
                  </a:lnTo>
                  <a:lnTo>
                    <a:pt x="6703" y="73898"/>
                  </a:lnTo>
                  <a:lnTo>
                    <a:pt x="4692" y="75254"/>
                  </a:lnTo>
                  <a:lnTo>
                    <a:pt x="8044" y="76610"/>
                  </a:lnTo>
                  <a:lnTo>
                    <a:pt x="12737" y="76610"/>
                  </a:lnTo>
                  <a:lnTo>
                    <a:pt x="16089" y="76610"/>
                  </a:lnTo>
                  <a:lnTo>
                    <a:pt x="20782" y="78644"/>
                  </a:lnTo>
                  <a:lnTo>
                    <a:pt x="22122" y="78644"/>
                  </a:lnTo>
                  <a:lnTo>
                    <a:pt x="25474" y="82033"/>
                  </a:lnTo>
                  <a:lnTo>
                    <a:pt x="28826" y="83389"/>
                  </a:lnTo>
                  <a:lnTo>
                    <a:pt x="31508" y="84745"/>
                  </a:lnTo>
                  <a:lnTo>
                    <a:pt x="34860" y="86779"/>
                  </a:lnTo>
                  <a:lnTo>
                    <a:pt x="38212" y="88135"/>
                  </a:lnTo>
                  <a:lnTo>
                    <a:pt x="40893" y="91525"/>
                  </a:lnTo>
                  <a:lnTo>
                    <a:pt x="44245" y="92881"/>
                  </a:lnTo>
                  <a:lnTo>
                    <a:pt x="47597" y="96271"/>
                  </a:lnTo>
                  <a:lnTo>
                    <a:pt x="52290" y="99661"/>
                  </a:lnTo>
                  <a:lnTo>
                    <a:pt x="55642" y="101016"/>
                  </a:lnTo>
                  <a:lnTo>
                    <a:pt x="58324" y="104406"/>
                  </a:lnTo>
                  <a:lnTo>
                    <a:pt x="63016" y="109152"/>
                  </a:lnTo>
                  <a:lnTo>
                    <a:pt x="68379" y="111864"/>
                  </a:lnTo>
                  <a:lnTo>
                    <a:pt x="71061" y="113898"/>
                  </a:lnTo>
                  <a:lnTo>
                    <a:pt x="75754" y="117288"/>
                  </a:lnTo>
                  <a:lnTo>
                    <a:pt x="75754" y="117288"/>
                  </a:lnTo>
                  <a:lnTo>
                    <a:pt x="79106" y="118644"/>
                  </a:lnTo>
                  <a:lnTo>
                    <a:pt x="85139" y="118644"/>
                  </a:lnTo>
                  <a:lnTo>
                    <a:pt x="90502" y="118644"/>
                  </a:lnTo>
                  <a:lnTo>
                    <a:pt x="95195" y="119999"/>
                  </a:lnTo>
                  <a:lnTo>
                    <a:pt x="97877" y="118644"/>
                  </a:lnTo>
                  <a:lnTo>
                    <a:pt x="99888" y="117288"/>
                  </a:lnTo>
                  <a:lnTo>
                    <a:pt x="99888" y="115254"/>
                  </a:lnTo>
                  <a:lnTo>
                    <a:pt x="101229" y="111864"/>
                  </a:lnTo>
                  <a:lnTo>
                    <a:pt x="101229" y="110508"/>
                  </a:lnTo>
                  <a:lnTo>
                    <a:pt x="102569" y="109152"/>
                  </a:lnTo>
                  <a:lnTo>
                    <a:pt x="102569" y="107118"/>
                  </a:lnTo>
                  <a:lnTo>
                    <a:pt x="102569" y="107118"/>
                  </a:lnTo>
                  <a:lnTo>
                    <a:pt x="102569" y="105762"/>
                  </a:lnTo>
                  <a:lnTo>
                    <a:pt x="104581" y="105762"/>
                  </a:lnTo>
                  <a:lnTo>
                    <a:pt x="105921" y="104406"/>
                  </a:lnTo>
                  <a:lnTo>
                    <a:pt x="107262" y="104406"/>
                  </a:lnTo>
                  <a:lnTo>
                    <a:pt x="109273" y="104406"/>
                  </a:lnTo>
                  <a:lnTo>
                    <a:pt x="109273" y="104406"/>
                  </a:lnTo>
                  <a:lnTo>
                    <a:pt x="110614" y="104406"/>
                  </a:lnTo>
                  <a:lnTo>
                    <a:pt x="113966" y="105762"/>
                  </a:lnTo>
                  <a:lnTo>
                    <a:pt x="113966" y="105762"/>
                  </a:lnTo>
                  <a:lnTo>
                    <a:pt x="113966" y="105762"/>
                  </a:lnTo>
                  <a:lnTo>
                    <a:pt x="115307" y="105762"/>
                  </a:lnTo>
                  <a:lnTo>
                    <a:pt x="118659" y="107118"/>
                  </a:lnTo>
                  <a:lnTo>
                    <a:pt x="118659" y="107118"/>
                  </a:lnTo>
                  <a:lnTo>
                    <a:pt x="120000" y="107118"/>
                  </a:lnTo>
                  <a:lnTo>
                    <a:pt x="120000" y="105762"/>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66" name="Shape 466"/>
            <p:cNvSpPr/>
            <p:nvPr/>
          </p:nvSpPr>
          <p:spPr>
            <a:xfrm>
              <a:off x="4426" y="1966"/>
              <a:ext cx="300" cy="300"/>
            </a:xfrm>
            <a:custGeom>
              <a:avLst/>
              <a:gdLst/>
              <a:ahLst/>
              <a:cxnLst/>
              <a:rect l="0" t="0" r="0" b="0"/>
              <a:pathLst>
                <a:path w="120000" h="120000" extrusionOk="0">
                  <a:moveTo>
                    <a:pt x="78387" y="104615"/>
                  </a:moveTo>
                  <a:lnTo>
                    <a:pt x="77419" y="105384"/>
                  </a:lnTo>
                  <a:lnTo>
                    <a:pt x="76774" y="104615"/>
                  </a:lnTo>
                  <a:lnTo>
                    <a:pt x="76774" y="105384"/>
                  </a:lnTo>
                  <a:lnTo>
                    <a:pt x="76774" y="105384"/>
                  </a:lnTo>
                  <a:lnTo>
                    <a:pt x="76774" y="106538"/>
                  </a:lnTo>
                  <a:lnTo>
                    <a:pt x="75161" y="107307"/>
                  </a:lnTo>
                  <a:lnTo>
                    <a:pt x="74516" y="107307"/>
                  </a:lnTo>
                  <a:lnTo>
                    <a:pt x="73870" y="107307"/>
                  </a:lnTo>
                  <a:lnTo>
                    <a:pt x="73870" y="107307"/>
                  </a:lnTo>
                  <a:lnTo>
                    <a:pt x="74516" y="108076"/>
                  </a:lnTo>
                  <a:lnTo>
                    <a:pt x="74516" y="108076"/>
                  </a:lnTo>
                  <a:lnTo>
                    <a:pt x="74516" y="108076"/>
                  </a:lnTo>
                  <a:lnTo>
                    <a:pt x="75161" y="107307"/>
                  </a:lnTo>
                  <a:lnTo>
                    <a:pt x="76129" y="107307"/>
                  </a:lnTo>
                  <a:lnTo>
                    <a:pt x="76774" y="107307"/>
                  </a:lnTo>
                  <a:lnTo>
                    <a:pt x="77419" y="106538"/>
                  </a:lnTo>
                  <a:lnTo>
                    <a:pt x="77419" y="106538"/>
                  </a:lnTo>
                  <a:lnTo>
                    <a:pt x="77419" y="107307"/>
                  </a:lnTo>
                  <a:lnTo>
                    <a:pt x="78387" y="106538"/>
                  </a:lnTo>
                  <a:lnTo>
                    <a:pt x="79032" y="105384"/>
                  </a:lnTo>
                  <a:lnTo>
                    <a:pt x="79677" y="104615"/>
                  </a:lnTo>
                  <a:lnTo>
                    <a:pt x="79032" y="104615"/>
                  </a:lnTo>
                  <a:lnTo>
                    <a:pt x="78387" y="104615"/>
                  </a:lnTo>
                  <a:close/>
                  <a:moveTo>
                    <a:pt x="120000" y="103461"/>
                  </a:moveTo>
                  <a:lnTo>
                    <a:pt x="120000" y="103461"/>
                  </a:lnTo>
                  <a:lnTo>
                    <a:pt x="120000" y="103461"/>
                  </a:lnTo>
                  <a:lnTo>
                    <a:pt x="120000" y="102692"/>
                  </a:lnTo>
                  <a:lnTo>
                    <a:pt x="119354" y="102692"/>
                  </a:lnTo>
                  <a:lnTo>
                    <a:pt x="119354" y="102692"/>
                  </a:lnTo>
                  <a:lnTo>
                    <a:pt x="117741" y="102692"/>
                  </a:lnTo>
                  <a:lnTo>
                    <a:pt x="117096" y="102692"/>
                  </a:lnTo>
                  <a:lnTo>
                    <a:pt x="117096" y="102692"/>
                  </a:lnTo>
                  <a:lnTo>
                    <a:pt x="117096" y="102692"/>
                  </a:lnTo>
                  <a:lnTo>
                    <a:pt x="117096" y="101923"/>
                  </a:lnTo>
                  <a:lnTo>
                    <a:pt x="117096" y="101923"/>
                  </a:lnTo>
                  <a:lnTo>
                    <a:pt x="117096" y="100769"/>
                  </a:lnTo>
                  <a:lnTo>
                    <a:pt x="117096" y="100769"/>
                  </a:lnTo>
                  <a:lnTo>
                    <a:pt x="116451" y="98076"/>
                  </a:lnTo>
                  <a:lnTo>
                    <a:pt x="116451" y="96538"/>
                  </a:lnTo>
                  <a:lnTo>
                    <a:pt x="116451" y="94615"/>
                  </a:lnTo>
                  <a:lnTo>
                    <a:pt x="116451" y="94615"/>
                  </a:lnTo>
                  <a:lnTo>
                    <a:pt x="116451" y="94615"/>
                  </a:lnTo>
                  <a:lnTo>
                    <a:pt x="115483" y="94615"/>
                  </a:lnTo>
                  <a:lnTo>
                    <a:pt x="114838" y="94615"/>
                  </a:lnTo>
                  <a:lnTo>
                    <a:pt x="113870" y="93461"/>
                  </a:lnTo>
                  <a:lnTo>
                    <a:pt x="113870" y="92692"/>
                  </a:lnTo>
                  <a:lnTo>
                    <a:pt x="112580" y="92692"/>
                  </a:lnTo>
                  <a:lnTo>
                    <a:pt x="111612" y="92692"/>
                  </a:lnTo>
                  <a:lnTo>
                    <a:pt x="110967" y="91923"/>
                  </a:lnTo>
                  <a:lnTo>
                    <a:pt x="110322" y="90769"/>
                  </a:lnTo>
                  <a:lnTo>
                    <a:pt x="109354" y="90000"/>
                  </a:lnTo>
                  <a:lnTo>
                    <a:pt x="108709" y="89230"/>
                  </a:lnTo>
                  <a:lnTo>
                    <a:pt x="108064" y="88076"/>
                  </a:lnTo>
                  <a:lnTo>
                    <a:pt x="107096" y="86538"/>
                  </a:lnTo>
                  <a:lnTo>
                    <a:pt x="107096" y="85384"/>
                  </a:lnTo>
                  <a:lnTo>
                    <a:pt x="107096" y="85384"/>
                  </a:lnTo>
                  <a:lnTo>
                    <a:pt x="105806" y="83461"/>
                  </a:lnTo>
                  <a:lnTo>
                    <a:pt x="104838" y="82692"/>
                  </a:lnTo>
                  <a:lnTo>
                    <a:pt x="103225" y="80769"/>
                  </a:lnTo>
                  <a:lnTo>
                    <a:pt x="104193" y="80769"/>
                  </a:lnTo>
                  <a:lnTo>
                    <a:pt x="104838" y="79230"/>
                  </a:lnTo>
                  <a:lnTo>
                    <a:pt x="105806" y="77307"/>
                  </a:lnTo>
                  <a:lnTo>
                    <a:pt x="107096" y="75384"/>
                  </a:lnTo>
                  <a:lnTo>
                    <a:pt x="108064" y="73461"/>
                  </a:lnTo>
                  <a:lnTo>
                    <a:pt x="108064" y="72692"/>
                  </a:lnTo>
                  <a:lnTo>
                    <a:pt x="108064" y="71923"/>
                  </a:lnTo>
                  <a:lnTo>
                    <a:pt x="107096" y="70000"/>
                  </a:lnTo>
                  <a:lnTo>
                    <a:pt x="107096" y="69230"/>
                  </a:lnTo>
                  <a:lnTo>
                    <a:pt x="104838" y="69230"/>
                  </a:lnTo>
                  <a:lnTo>
                    <a:pt x="103225" y="68076"/>
                  </a:lnTo>
                  <a:lnTo>
                    <a:pt x="101935" y="68076"/>
                  </a:lnTo>
                  <a:lnTo>
                    <a:pt x="101935" y="68076"/>
                  </a:lnTo>
                  <a:lnTo>
                    <a:pt x="101935" y="66538"/>
                  </a:lnTo>
                  <a:lnTo>
                    <a:pt x="101935" y="66538"/>
                  </a:lnTo>
                  <a:lnTo>
                    <a:pt x="100967" y="64615"/>
                  </a:lnTo>
                  <a:lnTo>
                    <a:pt x="100967" y="64615"/>
                  </a:lnTo>
                  <a:lnTo>
                    <a:pt x="100967" y="62692"/>
                  </a:lnTo>
                  <a:lnTo>
                    <a:pt x="100967" y="61923"/>
                  </a:lnTo>
                  <a:lnTo>
                    <a:pt x="100322" y="59230"/>
                  </a:lnTo>
                  <a:lnTo>
                    <a:pt x="99677" y="57307"/>
                  </a:lnTo>
                  <a:lnTo>
                    <a:pt x="98709" y="56538"/>
                  </a:lnTo>
                  <a:lnTo>
                    <a:pt x="98709" y="55384"/>
                  </a:lnTo>
                  <a:lnTo>
                    <a:pt x="98709" y="54615"/>
                  </a:lnTo>
                  <a:lnTo>
                    <a:pt x="99677" y="53461"/>
                  </a:lnTo>
                  <a:lnTo>
                    <a:pt x="99677" y="52692"/>
                  </a:lnTo>
                  <a:lnTo>
                    <a:pt x="100322" y="51923"/>
                  </a:lnTo>
                  <a:lnTo>
                    <a:pt x="100322" y="51923"/>
                  </a:lnTo>
                  <a:lnTo>
                    <a:pt x="100322" y="51923"/>
                  </a:lnTo>
                  <a:lnTo>
                    <a:pt x="99677" y="50769"/>
                  </a:lnTo>
                  <a:lnTo>
                    <a:pt x="98709" y="50769"/>
                  </a:lnTo>
                  <a:lnTo>
                    <a:pt x="98064" y="50769"/>
                  </a:lnTo>
                  <a:lnTo>
                    <a:pt x="98064" y="50769"/>
                  </a:lnTo>
                  <a:lnTo>
                    <a:pt x="98064" y="50000"/>
                  </a:lnTo>
                  <a:lnTo>
                    <a:pt x="98064" y="49230"/>
                  </a:lnTo>
                  <a:lnTo>
                    <a:pt x="97419" y="47307"/>
                  </a:lnTo>
                  <a:lnTo>
                    <a:pt x="98064" y="46538"/>
                  </a:lnTo>
                  <a:lnTo>
                    <a:pt x="98064" y="45384"/>
                  </a:lnTo>
                  <a:lnTo>
                    <a:pt x="99677" y="45384"/>
                  </a:lnTo>
                  <a:lnTo>
                    <a:pt x="98709" y="44615"/>
                  </a:lnTo>
                  <a:lnTo>
                    <a:pt x="98709" y="43461"/>
                  </a:lnTo>
                  <a:lnTo>
                    <a:pt x="98064" y="43461"/>
                  </a:lnTo>
                  <a:lnTo>
                    <a:pt x="98064" y="43461"/>
                  </a:lnTo>
                  <a:lnTo>
                    <a:pt x="98064" y="43461"/>
                  </a:lnTo>
                  <a:lnTo>
                    <a:pt x="98709" y="43461"/>
                  </a:lnTo>
                  <a:lnTo>
                    <a:pt x="98709" y="42692"/>
                  </a:lnTo>
                  <a:lnTo>
                    <a:pt x="98709" y="42692"/>
                  </a:lnTo>
                  <a:lnTo>
                    <a:pt x="99677" y="42692"/>
                  </a:lnTo>
                  <a:lnTo>
                    <a:pt x="99677" y="41923"/>
                  </a:lnTo>
                  <a:lnTo>
                    <a:pt x="99677" y="41923"/>
                  </a:lnTo>
                  <a:lnTo>
                    <a:pt x="99677" y="40769"/>
                  </a:lnTo>
                  <a:lnTo>
                    <a:pt x="99677" y="40769"/>
                  </a:lnTo>
                  <a:lnTo>
                    <a:pt x="99677" y="40000"/>
                  </a:lnTo>
                  <a:lnTo>
                    <a:pt x="99677" y="40000"/>
                  </a:lnTo>
                  <a:lnTo>
                    <a:pt x="99677" y="39230"/>
                  </a:lnTo>
                  <a:lnTo>
                    <a:pt x="100322" y="39230"/>
                  </a:lnTo>
                  <a:lnTo>
                    <a:pt x="99677" y="38076"/>
                  </a:lnTo>
                  <a:lnTo>
                    <a:pt x="99677" y="38076"/>
                  </a:lnTo>
                  <a:lnTo>
                    <a:pt x="99677" y="37307"/>
                  </a:lnTo>
                  <a:lnTo>
                    <a:pt x="99677" y="37307"/>
                  </a:lnTo>
                  <a:lnTo>
                    <a:pt x="99677" y="37307"/>
                  </a:lnTo>
                  <a:lnTo>
                    <a:pt x="99677" y="36153"/>
                  </a:lnTo>
                  <a:lnTo>
                    <a:pt x="100322" y="36153"/>
                  </a:lnTo>
                  <a:lnTo>
                    <a:pt x="100322" y="35384"/>
                  </a:lnTo>
                  <a:lnTo>
                    <a:pt x="100322" y="35384"/>
                  </a:lnTo>
                  <a:lnTo>
                    <a:pt x="100322" y="35384"/>
                  </a:lnTo>
                  <a:lnTo>
                    <a:pt x="100322" y="34615"/>
                  </a:lnTo>
                  <a:lnTo>
                    <a:pt x="99677" y="34615"/>
                  </a:lnTo>
                  <a:lnTo>
                    <a:pt x="99677" y="33461"/>
                  </a:lnTo>
                  <a:lnTo>
                    <a:pt x="99677" y="33461"/>
                  </a:lnTo>
                  <a:lnTo>
                    <a:pt x="99677" y="32692"/>
                  </a:lnTo>
                  <a:lnTo>
                    <a:pt x="99677" y="31923"/>
                  </a:lnTo>
                  <a:lnTo>
                    <a:pt x="98709" y="31923"/>
                  </a:lnTo>
                  <a:lnTo>
                    <a:pt x="98709" y="30769"/>
                  </a:lnTo>
                  <a:lnTo>
                    <a:pt x="98709" y="30769"/>
                  </a:lnTo>
                  <a:lnTo>
                    <a:pt x="98709" y="30769"/>
                  </a:lnTo>
                  <a:lnTo>
                    <a:pt x="98709" y="30000"/>
                  </a:lnTo>
                  <a:lnTo>
                    <a:pt x="98709" y="29230"/>
                  </a:lnTo>
                  <a:lnTo>
                    <a:pt x="98709" y="28076"/>
                  </a:lnTo>
                  <a:lnTo>
                    <a:pt x="98064" y="26153"/>
                  </a:lnTo>
                  <a:lnTo>
                    <a:pt x="98064" y="26153"/>
                  </a:lnTo>
                  <a:lnTo>
                    <a:pt x="95806" y="26153"/>
                  </a:lnTo>
                  <a:lnTo>
                    <a:pt x="93548" y="26153"/>
                  </a:lnTo>
                  <a:lnTo>
                    <a:pt x="93548" y="26153"/>
                  </a:lnTo>
                  <a:lnTo>
                    <a:pt x="92580" y="24615"/>
                  </a:lnTo>
                  <a:lnTo>
                    <a:pt x="91935" y="23461"/>
                  </a:lnTo>
                  <a:lnTo>
                    <a:pt x="91290" y="22692"/>
                  </a:lnTo>
                  <a:lnTo>
                    <a:pt x="89677" y="21923"/>
                  </a:lnTo>
                  <a:lnTo>
                    <a:pt x="89032" y="21923"/>
                  </a:lnTo>
                  <a:lnTo>
                    <a:pt x="88064" y="20769"/>
                  </a:lnTo>
                  <a:lnTo>
                    <a:pt x="87419" y="20000"/>
                  </a:lnTo>
                  <a:lnTo>
                    <a:pt x="87419" y="19230"/>
                  </a:lnTo>
                  <a:lnTo>
                    <a:pt x="86774" y="19230"/>
                  </a:lnTo>
                  <a:lnTo>
                    <a:pt x="86774" y="19230"/>
                  </a:lnTo>
                  <a:lnTo>
                    <a:pt x="86774" y="19230"/>
                  </a:lnTo>
                  <a:lnTo>
                    <a:pt x="86774" y="19230"/>
                  </a:lnTo>
                  <a:lnTo>
                    <a:pt x="84516" y="17307"/>
                  </a:lnTo>
                  <a:lnTo>
                    <a:pt x="83548" y="17307"/>
                  </a:lnTo>
                  <a:lnTo>
                    <a:pt x="82903" y="17307"/>
                  </a:lnTo>
                  <a:lnTo>
                    <a:pt x="82903" y="17307"/>
                  </a:lnTo>
                  <a:lnTo>
                    <a:pt x="81935" y="17307"/>
                  </a:lnTo>
                  <a:lnTo>
                    <a:pt x="81935" y="18076"/>
                  </a:lnTo>
                  <a:lnTo>
                    <a:pt x="81290" y="18076"/>
                  </a:lnTo>
                  <a:lnTo>
                    <a:pt x="81290" y="17307"/>
                  </a:lnTo>
                  <a:lnTo>
                    <a:pt x="80645" y="17307"/>
                  </a:lnTo>
                  <a:lnTo>
                    <a:pt x="79677" y="16153"/>
                  </a:lnTo>
                  <a:lnTo>
                    <a:pt x="79032" y="16153"/>
                  </a:lnTo>
                  <a:lnTo>
                    <a:pt x="78387" y="16153"/>
                  </a:lnTo>
                  <a:lnTo>
                    <a:pt x="77419" y="15384"/>
                  </a:lnTo>
                  <a:lnTo>
                    <a:pt x="76129" y="15384"/>
                  </a:lnTo>
                  <a:lnTo>
                    <a:pt x="76129" y="15384"/>
                  </a:lnTo>
                  <a:lnTo>
                    <a:pt x="75161" y="15384"/>
                  </a:lnTo>
                  <a:lnTo>
                    <a:pt x="75161" y="14615"/>
                  </a:lnTo>
                  <a:lnTo>
                    <a:pt x="75161" y="14615"/>
                  </a:lnTo>
                  <a:lnTo>
                    <a:pt x="75161" y="13461"/>
                  </a:lnTo>
                  <a:lnTo>
                    <a:pt x="74516" y="13461"/>
                  </a:lnTo>
                  <a:lnTo>
                    <a:pt x="74516" y="13461"/>
                  </a:lnTo>
                  <a:lnTo>
                    <a:pt x="73870" y="12692"/>
                  </a:lnTo>
                  <a:lnTo>
                    <a:pt x="73870" y="12692"/>
                  </a:lnTo>
                  <a:lnTo>
                    <a:pt x="72258" y="12692"/>
                  </a:lnTo>
                  <a:lnTo>
                    <a:pt x="71290" y="12692"/>
                  </a:lnTo>
                  <a:lnTo>
                    <a:pt x="71290" y="12692"/>
                  </a:lnTo>
                  <a:lnTo>
                    <a:pt x="70645" y="12692"/>
                  </a:lnTo>
                  <a:lnTo>
                    <a:pt x="70000" y="12692"/>
                  </a:lnTo>
                  <a:lnTo>
                    <a:pt x="69032" y="12692"/>
                  </a:lnTo>
                  <a:lnTo>
                    <a:pt x="69032" y="13461"/>
                  </a:lnTo>
                  <a:lnTo>
                    <a:pt x="69032" y="13461"/>
                  </a:lnTo>
                  <a:lnTo>
                    <a:pt x="69032" y="14615"/>
                  </a:lnTo>
                  <a:lnTo>
                    <a:pt x="69032" y="14615"/>
                  </a:lnTo>
                  <a:lnTo>
                    <a:pt x="68387" y="14615"/>
                  </a:lnTo>
                  <a:lnTo>
                    <a:pt x="67741" y="14615"/>
                  </a:lnTo>
                  <a:lnTo>
                    <a:pt x="66774" y="13461"/>
                  </a:lnTo>
                  <a:lnTo>
                    <a:pt x="65483" y="13461"/>
                  </a:lnTo>
                  <a:lnTo>
                    <a:pt x="63870" y="14615"/>
                  </a:lnTo>
                  <a:lnTo>
                    <a:pt x="63225" y="14615"/>
                  </a:lnTo>
                  <a:lnTo>
                    <a:pt x="62258" y="15384"/>
                  </a:lnTo>
                  <a:lnTo>
                    <a:pt x="61612" y="16153"/>
                  </a:lnTo>
                  <a:lnTo>
                    <a:pt x="61612" y="17307"/>
                  </a:lnTo>
                  <a:lnTo>
                    <a:pt x="61612" y="19230"/>
                  </a:lnTo>
                  <a:lnTo>
                    <a:pt x="60967" y="19230"/>
                  </a:lnTo>
                  <a:lnTo>
                    <a:pt x="60967" y="19230"/>
                  </a:lnTo>
                  <a:lnTo>
                    <a:pt x="60000" y="19230"/>
                  </a:lnTo>
                  <a:lnTo>
                    <a:pt x="60000" y="20000"/>
                  </a:lnTo>
                  <a:lnTo>
                    <a:pt x="59354" y="20000"/>
                  </a:lnTo>
                  <a:lnTo>
                    <a:pt x="58387" y="20000"/>
                  </a:lnTo>
                  <a:lnTo>
                    <a:pt x="57096" y="20000"/>
                  </a:lnTo>
                  <a:lnTo>
                    <a:pt x="57096" y="21923"/>
                  </a:lnTo>
                  <a:lnTo>
                    <a:pt x="57741" y="23461"/>
                  </a:lnTo>
                  <a:lnTo>
                    <a:pt x="57741" y="23461"/>
                  </a:lnTo>
                  <a:lnTo>
                    <a:pt x="57741" y="24615"/>
                  </a:lnTo>
                  <a:lnTo>
                    <a:pt x="57741" y="24615"/>
                  </a:lnTo>
                  <a:lnTo>
                    <a:pt x="57096" y="24615"/>
                  </a:lnTo>
                  <a:lnTo>
                    <a:pt x="56129" y="24615"/>
                  </a:lnTo>
                  <a:lnTo>
                    <a:pt x="56129" y="24615"/>
                  </a:lnTo>
                  <a:lnTo>
                    <a:pt x="57096" y="23461"/>
                  </a:lnTo>
                  <a:lnTo>
                    <a:pt x="57096" y="23461"/>
                  </a:lnTo>
                  <a:lnTo>
                    <a:pt x="56129" y="23461"/>
                  </a:lnTo>
                  <a:lnTo>
                    <a:pt x="53870" y="24615"/>
                  </a:lnTo>
                  <a:lnTo>
                    <a:pt x="47741" y="26153"/>
                  </a:lnTo>
                  <a:lnTo>
                    <a:pt x="45483" y="26153"/>
                  </a:lnTo>
                  <a:lnTo>
                    <a:pt x="41935" y="25384"/>
                  </a:lnTo>
                  <a:lnTo>
                    <a:pt x="40322" y="24615"/>
                  </a:lnTo>
                  <a:lnTo>
                    <a:pt x="38064" y="22692"/>
                  </a:lnTo>
                  <a:lnTo>
                    <a:pt x="37096" y="21923"/>
                  </a:lnTo>
                  <a:lnTo>
                    <a:pt x="35806" y="20000"/>
                  </a:lnTo>
                  <a:lnTo>
                    <a:pt x="35806" y="20000"/>
                  </a:lnTo>
                  <a:lnTo>
                    <a:pt x="35806" y="20000"/>
                  </a:lnTo>
                  <a:lnTo>
                    <a:pt x="34838" y="19230"/>
                  </a:lnTo>
                  <a:lnTo>
                    <a:pt x="33548" y="19230"/>
                  </a:lnTo>
                  <a:lnTo>
                    <a:pt x="31935" y="19230"/>
                  </a:lnTo>
                  <a:lnTo>
                    <a:pt x="31290" y="19230"/>
                  </a:lnTo>
                  <a:lnTo>
                    <a:pt x="29677" y="18076"/>
                  </a:lnTo>
                  <a:lnTo>
                    <a:pt x="29677" y="17307"/>
                  </a:lnTo>
                  <a:lnTo>
                    <a:pt x="29032" y="16153"/>
                  </a:lnTo>
                  <a:lnTo>
                    <a:pt x="29032" y="15384"/>
                  </a:lnTo>
                  <a:lnTo>
                    <a:pt x="28064" y="14615"/>
                  </a:lnTo>
                  <a:lnTo>
                    <a:pt x="28064" y="13461"/>
                  </a:lnTo>
                  <a:lnTo>
                    <a:pt x="27419" y="11923"/>
                  </a:lnTo>
                  <a:lnTo>
                    <a:pt x="27419" y="10769"/>
                  </a:lnTo>
                  <a:lnTo>
                    <a:pt x="27419" y="10769"/>
                  </a:lnTo>
                  <a:lnTo>
                    <a:pt x="25806" y="11923"/>
                  </a:lnTo>
                  <a:lnTo>
                    <a:pt x="25806" y="11923"/>
                  </a:lnTo>
                  <a:lnTo>
                    <a:pt x="25161" y="10000"/>
                  </a:lnTo>
                  <a:lnTo>
                    <a:pt x="24193" y="10000"/>
                  </a:lnTo>
                  <a:lnTo>
                    <a:pt x="24193" y="10000"/>
                  </a:lnTo>
                  <a:lnTo>
                    <a:pt x="23548" y="9230"/>
                  </a:lnTo>
                  <a:lnTo>
                    <a:pt x="23548" y="9230"/>
                  </a:lnTo>
                  <a:lnTo>
                    <a:pt x="23548" y="9230"/>
                  </a:lnTo>
                  <a:lnTo>
                    <a:pt x="21935" y="8076"/>
                  </a:lnTo>
                  <a:lnTo>
                    <a:pt x="21935" y="8076"/>
                  </a:lnTo>
                  <a:lnTo>
                    <a:pt x="21935" y="7307"/>
                  </a:lnTo>
                  <a:lnTo>
                    <a:pt x="21935" y="7307"/>
                  </a:lnTo>
                  <a:lnTo>
                    <a:pt x="22903" y="7307"/>
                  </a:lnTo>
                  <a:lnTo>
                    <a:pt x="22903" y="7307"/>
                  </a:lnTo>
                  <a:lnTo>
                    <a:pt x="23548" y="6153"/>
                  </a:lnTo>
                  <a:lnTo>
                    <a:pt x="23548" y="6153"/>
                  </a:lnTo>
                  <a:lnTo>
                    <a:pt x="23548" y="6153"/>
                  </a:lnTo>
                  <a:lnTo>
                    <a:pt x="23548" y="6153"/>
                  </a:lnTo>
                  <a:lnTo>
                    <a:pt x="23548" y="5384"/>
                  </a:lnTo>
                  <a:lnTo>
                    <a:pt x="22903" y="5384"/>
                  </a:lnTo>
                  <a:lnTo>
                    <a:pt x="22903" y="4615"/>
                  </a:lnTo>
                  <a:lnTo>
                    <a:pt x="22903" y="4615"/>
                  </a:lnTo>
                  <a:lnTo>
                    <a:pt x="22903" y="4615"/>
                  </a:lnTo>
                  <a:lnTo>
                    <a:pt x="22903" y="3461"/>
                  </a:lnTo>
                  <a:lnTo>
                    <a:pt x="22903" y="3461"/>
                  </a:lnTo>
                  <a:lnTo>
                    <a:pt x="23548" y="3461"/>
                  </a:lnTo>
                  <a:lnTo>
                    <a:pt x="23548" y="2692"/>
                  </a:lnTo>
                  <a:lnTo>
                    <a:pt x="21935" y="1923"/>
                  </a:lnTo>
                  <a:lnTo>
                    <a:pt x="21290" y="769"/>
                  </a:lnTo>
                  <a:lnTo>
                    <a:pt x="20645" y="769"/>
                  </a:lnTo>
                  <a:lnTo>
                    <a:pt x="20645" y="769"/>
                  </a:lnTo>
                  <a:lnTo>
                    <a:pt x="19032" y="1923"/>
                  </a:lnTo>
                  <a:lnTo>
                    <a:pt x="19032" y="2692"/>
                  </a:lnTo>
                  <a:lnTo>
                    <a:pt x="18387" y="2692"/>
                  </a:lnTo>
                  <a:lnTo>
                    <a:pt x="17419" y="3461"/>
                  </a:lnTo>
                  <a:lnTo>
                    <a:pt x="16774" y="4615"/>
                  </a:lnTo>
                  <a:lnTo>
                    <a:pt x="15806" y="5384"/>
                  </a:lnTo>
                  <a:lnTo>
                    <a:pt x="15161" y="5384"/>
                  </a:lnTo>
                  <a:lnTo>
                    <a:pt x="15161" y="5384"/>
                  </a:lnTo>
                  <a:lnTo>
                    <a:pt x="14516" y="7307"/>
                  </a:lnTo>
                  <a:lnTo>
                    <a:pt x="13548" y="7307"/>
                  </a:lnTo>
                  <a:lnTo>
                    <a:pt x="12903" y="7307"/>
                  </a:lnTo>
                  <a:lnTo>
                    <a:pt x="12258" y="7307"/>
                  </a:lnTo>
                  <a:lnTo>
                    <a:pt x="11290" y="7307"/>
                  </a:lnTo>
                  <a:lnTo>
                    <a:pt x="10645" y="7307"/>
                  </a:lnTo>
                  <a:lnTo>
                    <a:pt x="8387" y="7307"/>
                  </a:lnTo>
                  <a:lnTo>
                    <a:pt x="8387" y="6153"/>
                  </a:lnTo>
                  <a:lnTo>
                    <a:pt x="7741" y="5384"/>
                  </a:lnTo>
                  <a:lnTo>
                    <a:pt x="6774" y="5384"/>
                  </a:lnTo>
                  <a:lnTo>
                    <a:pt x="6774" y="5384"/>
                  </a:lnTo>
                  <a:lnTo>
                    <a:pt x="6129" y="4615"/>
                  </a:lnTo>
                  <a:lnTo>
                    <a:pt x="6129" y="4615"/>
                  </a:lnTo>
                  <a:lnTo>
                    <a:pt x="6129" y="3461"/>
                  </a:lnTo>
                  <a:lnTo>
                    <a:pt x="5161" y="3461"/>
                  </a:lnTo>
                  <a:lnTo>
                    <a:pt x="5161" y="2692"/>
                  </a:lnTo>
                  <a:lnTo>
                    <a:pt x="3870" y="1923"/>
                  </a:lnTo>
                  <a:lnTo>
                    <a:pt x="3870" y="769"/>
                  </a:lnTo>
                  <a:lnTo>
                    <a:pt x="3870" y="769"/>
                  </a:lnTo>
                  <a:lnTo>
                    <a:pt x="2903" y="769"/>
                  </a:lnTo>
                  <a:lnTo>
                    <a:pt x="2258" y="0"/>
                  </a:lnTo>
                  <a:lnTo>
                    <a:pt x="2258" y="769"/>
                  </a:lnTo>
                  <a:lnTo>
                    <a:pt x="1612" y="769"/>
                  </a:lnTo>
                  <a:lnTo>
                    <a:pt x="1612" y="2692"/>
                  </a:lnTo>
                  <a:lnTo>
                    <a:pt x="1612" y="3461"/>
                  </a:lnTo>
                  <a:lnTo>
                    <a:pt x="645" y="3461"/>
                  </a:lnTo>
                  <a:lnTo>
                    <a:pt x="0" y="3461"/>
                  </a:lnTo>
                  <a:lnTo>
                    <a:pt x="0" y="3461"/>
                  </a:lnTo>
                  <a:lnTo>
                    <a:pt x="0" y="3461"/>
                  </a:lnTo>
                  <a:lnTo>
                    <a:pt x="0" y="3461"/>
                  </a:lnTo>
                  <a:lnTo>
                    <a:pt x="0" y="3461"/>
                  </a:lnTo>
                  <a:lnTo>
                    <a:pt x="0" y="4615"/>
                  </a:lnTo>
                  <a:lnTo>
                    <a:pt x="0" y="4615"/>
                  </a:lnTo>
                  <a:lnTo>
                    <a:pt x="645" y="5384"/>
                  </a:lnTo>
                  <a:lnTo>
                    <a:pt x="645" y="5384"/>
                  </a:lnTo>
                  <a:lnTo>
                    <a:pt x="645" y="5384"/>
                  </a:lnTo>
                  <a:lnTo>
                    <a:pt x="645" y="6153"/>
                  </a:lnTo>
                  <a:lnTo>
                    <a:pt x="645" y="6153"/>
                  </a:lnTo>
                  <a:lnTo>
                    <a:pt x="645" y="6153"/>
                  </a:lnTo>
                  <a:lnTo>
                    <a:pt x="645" y="7307"/>
                  </a:lnTo>
                  <a:lnTo>
                    <a:pt x="1612" y="7307"/>
                  </a:lnTo>
                  <a:lnTo>
                    <a:pt x="1612" y="8076"/>
                  </a:lnTo>
                  <a:lnTo>
                    <a:pt x="1612" y="9230"/>
                  </a:lnTo>
                  <a:lnTo>
                    <a:pt x="1612" y="9230"/>
                  </a:lnTo>
                  <a:lnTo>
                    <a:pt x="2258" y="10000"/>
                  </a:lnTo>
                  <a:lnTo>
                    <a:pt x="2258" y="10769"/>
                  </a:lnTo>
                  <a:lnTo>
                    <a:pt x="2258" y="11923"/>
                  </a:lnTo>
                  <a:lnTo>
                    <a:pt x="2258" y="11923"/>
                  </a:lnTo>
                  <a:lnTo>
                    <a:pt x="2258" y="11923"/>
                  </a:lnTo>
                  <a:lnTo>
                    <a:pt x="2903" y="11923"/>
                  </a:lnTo>
                  <a:lnTo>
                    <a:pt x="2903" y="11923"/>
                  </a:lnTo>
                  <a:lnTo>
                    <a:pt x="2903" y="11923"/>
                  </a:lnTo>
                  <a:lnTo>
                    <a:pt x="2258" y="12692"/>
                  </a:lnTo>
                  <a:lnTo>
                    <a:pt x="2258" y="12692"/>
                  </a:lnTo>
                  <a:lnTo>
                    <a:pt x="2258" y="13461"/>
                  </a:lnTo>
                  <a:lnTo>
                    <a:pt x="2258" y="13461"/>
                  </a:lnTo>
                  <a:lnTo>
                    <a:pt x="2258" y="14615"/>
                  </a:lnTo>
                  <a:lnTo>
                    <a:pt x="2258" y="15384"/>
                  </a:lnTo>
                  <a:lnTo>
                    <a:pt x="2258" y="15384"/>
                  </a:lnTo>
                  <a:lnTo>
                    <a:pt x="2258" y="15384"/>
                  </a:lnTo>
                  <a:lnTo>
                    <a:pt x="2903" y="15384"/>
                  </a:lnTo>
                  <a:lnTo>
                    <a:pt x="2903" y="16153"/>
                  </a:lnTo>
                  <a:lnTo>
                    <a:pt x="3870" y="17307"/>
                  </a:lnTo>
                  <a:lnTo>
                    <a:pt x="4516" y="17307"/>
                  </a:lnTo>
                  <a:lnTo>
                    <a:pt x="3870" y="17307"/>
                  </a:lnTo>
                  <a:lnTo>
                    <a:pt x="3870" y="18076"/>
                  </a:lnTo>
                  <a:lnTo>
                    <a:pt x="4516" y="18076"/>
                  </a:lnTo>
                  <a:lnTo>
                    <a:pt x="4516" y="18076"/>
                  </a:lnTo>
                  <a:lnTo>
                    <a:pt x="4516" y="19230"/>
                  </a:lnTo>
                  <a:lnTo>
                    <a:pt x="4516" y="19230"/>
                  </a:lnTo>
                  <a:lnTo>
                    <a:pt x="4516" y="20000"/>
                  </a:lnTo>
                  <a:lnTo>
                    <a:pt x="5161" y="20000"/>
                  </a:lnTo>
                  <a:lnTo>
                    <a:pt x="6129" y="20769"/>
                  </a:lnTo>
                  <a:lnTo>
                    <a:pt x="6129" y="20769"/>
                  </a:lnTo>
                  <a:lnTo>
                    <a:pt x="5161" y="20769"/>
                  </a:lnTo>
                  <a:lnTo>
                    <a:pt x="6129" y="21923"/>
                  </a:lnTo>
                  <a:lnTo>
                    <a:pt x="6129" y="21923"/>
                  </a:lnTo>
                  <a:lnTo>
                    <a:pt x="6129" y="21923"/>
                  </a:lnTo>
                  <a:lnTo>
                    <a:pt x="6129" y="22692"/>
                  </a:lnTo>
                  <a:lnTo>
                    <a:pt x="6774" y="24615"/>
                  </a:lnTo>
                  <a:lnTo>
                    <a:pt x="6774" y="25384"/>
                  </a:lnTo>
                  <a:lnTo>
                    <a:pt x="7741" y="25384"/>
                  </a:lnTo>
                  <a:lnTo>
                    <a:pt x="7741" y="25384"/>
                  </a:lnTo>
                  <a:lnTo>
                    <a:pt x="7741" y="25384"/>
                  </a:lnTo>
                  <a:lnTo>
                    <a:pt x="7741" y="26153"/>
                  </a:lnTo>
                  <a:lnTo>
                    <a:pt x="7741" y="27307"/>
                  </a:lnTo>
                  <a:lnTo>
                    <a:pt x="7741" y="27307"/>
                  </a:lnTo>
                  <a:lnTo>
                    <a:pt x="8387" y="28076"/>
                  </a:lnTo>
                  <a:lnTo>
                    <a:pt x="8387" y="28076"/>
                  </a:lnTo>
                  <a:lnTo>
                    <a:pt x="8387" y="28076"/>
                  </a:lnTo>
                  <a:lnTo>
                    <a:pt x="9032" y="28076"/>
                  </a:lnTo>
                  <a:lnTo>
                    <a:pt x="9032" y="28076"/>
                  </a:lnTo>
                  <a:lnTo>
                    <a:pt x="10000" y="30769"/>
                  </a:lnTo>
                  <a:lnTo>
                    <a:pt x="10000" y="30769"/>
                  </a:lnTo>
                  <a:lnTo>
                    <a:pt x="10645" y="30769"/>
                  </a:lnTo>
                  <a:lnTo>
                    <a:pt x="10645" y="30769"/>
                  </a:lnTo>
                  <a:lnTo>
                    <a:pt x="11290" y="31923"/>
                  </a:lnTo>
                  <a:lnTo>
                    <a:pt x="11290" y="31923"/>
                  </a:lnTo>
                  <a:lnTo>
                    <a:pt x="12258" y="32692"/>
                  </a:lnTo>
                  <a:lnTo>
                    <a:pt x="12258" y="32692"/>
                  </a:lnTo>
                  <a:lnTo>
                    <a:pt x="13548" y="32692"/>
                  </a:lnTo>
                  <a:lnTo>
                    <a:pt x="14516" y="32692"/>
                  </a:lnTo>
                  <a:lnTo>
                    <a:pt x="15161" y="33461"/>
                  </a:lnTo>
                  <a:lnTo>
                    <a:pt x="15161" y="33461"/>
                  </a:lnTo>
                  <a:lnTo>
                    <a:pt x="15161" y="33461"/>
                  </a:lnTo>
                  <a:lnTo>
                    <a:pt x="14516" y="33461"/>
                  </a:lnTo>
                  <a:lnTo>
                    <a:pt x="13548" y="34615"/>
                  </a:lnTo>
                  <a:lnTo>
                    <a:pt x="13548" y="35384"/>
                  </a:lnTo>
                  <a:lnTo>
                    <a:pt x="13548" y="35384"/>
                  </a:lnTo>
                  <a:lnTo>
                    <a:pt x="14516" y="36153"/>
                  </a:lnTo>
                  <a:lnTo>
                    <a:pt x="15161" y="37307"/>
                  </a:lnTo>
                  <a:lnTo>
                    <a:pt x="15161" y="37307"/>
                  </a:lnTo>
                  <a:lnTo>
                    <a:pt x="15161" y="37307"/>
                  </a:lnTo>
                  <a:lnTo>
                    <a:pt x="15161" y="38076"/>
                  </a:lnTo>
                  <a:lnTo>
                    <a:pt x="15161" y="38076"/>
                  </a:lnTo>
                  <a:lnTo>
                    <a:pt x="14516" y="39230"/>
                  </a:lnTo>
                  <a:lnTo>
                    <a:pt x="13548" y="39230"/>
                  </a:lnTo>
                  <a:lnTo>
                    <a:pt x="12903" y="40769"/>
                  </a:lnTo>
                  <a:lnTo>
                    <a:pt x="12903" y="41923"/>
                  </a:lnTo>
                  <a:lnTo>
                    <a:pt x="12903" y="42692"/>
                  </a:lnTo>
                  <a:lnTo>
                    <a:pt x="12903" y="42692"/>
                  </a:lnTo>
                  <a:lnTo>
                    <a:pt x="12258" y="42692"/>
                  </a:lnTo>
                  <a:lnTo>
                    <a:pt x="12258" y="42692"/>
                  </a:lnTo>
                  <a:lnTo>
                    <a:pt x="12258" y="43461"/>
                  </a:lnTo>
                  <a:lnTo>
                    <a:pt x="12258" y="43461"/>
                  </a:lnTo>
                  <a:lnTo>
                    <a:pt x="11290" y="44615"/>
                  </a:lnTo>
                  <a:lnTo>
                    <a:pt x="12258" y="45384"/>
                  </a:lnTo>
                  <a:lnTo>
                    <a:pt x="12258" y="46538"/>
                  </a:lnTo>
                  <a:lnTo>
                    <a:pt x="12258" y="46538"/>
                  </a:lnTo>
                  <a:lnTo>
                    <a:pt x="12258" y="47307"/>
                  </a:lnTo>
                  <a:lnTo>
                    <a:pt x="12258" y="48076"/>
                  </a:lnTo>
                  <a:lnTo>
                    <a:pt x="12258" y="48076"/>
                  </a:lnTo>
                  <a:lnTo>
                    <a:pt x="12258" y="48076"/>
                  </a:lnTo>
                  <a:lnTo>
                    <a:pt x="13548" y="50000"/>
                  </a:lnTo>
                  <a:lnTo>
                    <a:pt x="13548" y="50769"/>
                  </a:lnTo>
                  <a:lnTo>
                    <a:pt x="14516" y="50769"/>
                  </a:lnTo>
                  <a:lnTo>
                    <a:pt x="14516" y="50769"/>
                  </a:lnTo>
                  <a:lnTo>
                    <a:pt x="15161" y="50769"/>
                  </a:lnTo>
                  <a:lnTo>
                    <a:pt x="15161" y="50769"/>
                  </a:lnTo>
                  <a:lnTo>
                    <a:pt x="15161" y="51923"/>
                  </a:lnTo>
                  <a:lnTo>
                    <a:pt x="15161" y="51923"/>
                  </a:lnTo>
                  <a:lnTo>
                    <a:pt x="15161" y="51923"/>
                  </a:lnTo>
                  <a:lnTo>
                    <a:pt x="15806" y="52692"/>
                  </a:lnTo>
                  <a:lnTo>
                    <a:pt x="16774" y="53461"/>
                  </a:lnTo>
                  <a:lnTo>
                    <a:pt x="16774" y="54615"/>
                  </a:lnTo>
                  <a:lnTo>
                    <a:pt x="16774" y="55384"/>
                  </a:lnTo>
                  <a:lnTo>
                    <a:pt x="16774" y="55384"/>
                  </a:lnTo>
                  <a:lnTo>
                    <a:pt x="16774" y="56538"/>
                  </a:lnTo>
                  <a:lnTo>
                    <a:pt x="16774" y="56538"/>
                  </a:lnTo>
                  <a:lnTo>
                    <a:pt x="17419" y="56538"/>
                  </a:lnTo>
                  <a:lnTo>
                    <a:pt x="18387" y="56538"/>
                  </a:lnTo>
                  <a:lnTo>
                    <a:pt x="19032" y="57307"/>
                  </a:lnTo>
                  <a:lnTo>
                    <a:pt x="20645" y="58076"/>
                  </a:lnTo>
                  <a:lnTo>
                    <a:pt x="21935" y="59230"/>
                  </a:lnTo>
                  <a:lnTo>
                    <a:pt x="22903" y="60000"/>
                  </a:lnTo>
                  <a:lnTo>
                    <a:pt x="23548" y="60000"/>
                  </a:lnTo>
                  <a:lnTo>
                    <a:pt x="24193" y="60000"/>
                  </a:lnTo>
                  <a:lnTo>
                    <a:pt x="24193" y="60769"/>
                  </a:lnTo>
                  <a:lnTo>
                    <a:pt x="24193" y="60769"/>
                  </a:lnTo>
                  <a:lnTo>
                    <a:pt x="25161" y="62692"/>
                  </a:lnTo>
                  <a:lnTo>
                    <a:pt x="25806" y="63461"/>
                  </a:lnTo>
                  <a:lnTo>
                    <a:pt x="26451" y="64615"/>
                  </a:lnTo>
                  <a:lnTo>
                    <a:pt x="27419" y="65384"/>
                  </a:lnTo>
                  <a:lnTo>
                    <a:pt x="27419" y="67307"/>
                  </a:lnTo>
                  <a:lnTo>
                    <a:pt x="26451" y="69230"/>
                  </a:lnTo>
                  <a:lnTo>
                    <a:pt x="26451" y="70769"/>
                  </a:lnTo>
                  <a:lnTo>
                    <a:pt x="27419" y="71923"/>
                  </a:lnTo>
                  <a:lnTo>
                    <a:pt x="28064" y="71923"/>
                  </a:lnTo>
                  <a:lnTo>
                    <a:pt x="29032" y="71923"/>
                  </a:lnTo>
                  <a:lnTo>
                    <a:pt x="29032" y="73461"/>
                  </a:lnTo>
                  <a:lnTo>
                    <a:pt x="29032" y="74615"/>
                  </a:lnTo>
                  <a:lnTo>
                    <a:pt x="29677" y="76538"/>
                  </a:lnTo>
                  <a:lnTo>
                    <a:pt x="29677" y="76538"/>
                  </a:lnTo>
                  <a:lnTo>
                    <a:pt x="30322" y="76538"/>
                  </a:lnTo>
                  <a:lnTo>
                    <a:pt x="30322" y="77307"/>
                  </a:lnTo>
                  <a:lnTo>
                    <a:pt x="30322" y="77307"/>
                  </a:lnTo>
                  <a:lnTo>
                    <a:pt x="31290" y="77307"/>
                  </a:lnTo>
                  <a:lnTo>
                    <a:pt x="31290" y="78076"/>
                  </a:lnTo>
                  <a:lnTo>
                    <a:pt x="31935" y="78076"/>
                  </a:lnTo>
                  <a:lnTo>
                    <a:pt x="31935" y="79230"/>
                  </a:lnTo>
                  <a:lnTo>
                    <a:pt x="31935" y="79230"/>
                  </a:lnTo>
                  <a:lnTo>
                    <a:pt x="31935" y="79230"/>
                  </a:lnTo>
                  <a:lnTo>
                    <a:pt x="31935" y="80000"/>
                  </a:lnTo>
                  <a:lnTo>
                    <a:pt x="32580" y="80000"/>
                  </a:lnTo>
                  <a:lnTo>
                    <a:pt x="32580" y="80769"/>
                  </a:lnTo>
                  <a:lnTo>
                    <a:pt x="32580" y="80000"/>
                  </a:lnTo>
                  <a:lnTo>
                    <a:pt x="33548" y="80000"/>
                  </a:lnTo>
                  <a:lnTo>
                    <a:pt x="34193" y="80000"/>
                  </a:lnTo>
                  <a:lnTo>
                    <a:pt x="34193" y="80000"/>
                  </a:lnTo>
                  <a:lnTo>
                    <a:pt x="34838" y="79230"/>
                  </a:lnTo>
                  <a:lnTo>
                    <a:pt x="34838" y="78076"/>
                  </a:lnTo>
                  <a:lnTo>
                    <a:pt x="34193" y="77307"/>
                  </a:lnTo>
                  <a:lnTo>
                    <a:pt x="34838" y="77307"/>
                  </a:lnTo>
                  <a:lnTo>
                    <a:pt x="34838" y="76538"/>
                  </a:lnTo>
                  <a:lnTo>
                    <a:pt x="34838" y="76538"/>
                  </a:lnTo>
                  <a:lnTo>
                    <a:pt x="35806" y="76538"/>
                  </a:lnTo>
                  <a:lnTo>
                    <a:pt x="36451" y="76538"/>
                  </a:lnTo>
                  <a:lnTo>
                    <a:pt x="36451" y="77307"/>
                  </a:lnTo>
                  <a:lnTo>
                    <a:pt x="36451" y="77307"/>
                  </a:lnTo>
                  <a:lnTo>
                    <a:pt x="35806" y="77307"/>
                  </a:lnTo>
                  <a:lnTo>
                    <a:pt x="35806" y="77307"/>
                  </a:lnTo>
                  <a:lnTo>
                    <a:pt x="34838" y="77307"/>
                  </a:lnTo>
                  <a:lnTo>
                    <a:pt x="34838" y="77307"/>
                  </a:lnTo>
                  <a:lnTo>
                    <a:pt x="35806" y="77307"/>
                  </a:lnTo>
                  <a:lnTo>
                    <a:pt x="38064" y="79230"/>
                  </a:lnTo>
                  <a:lnTo>
                    <a:pt x="38709" y="80000"/>
                  </a:lnTo>
                  <a:lnTo>
                    <a:pt x="40967" y="78076"/>
                  </a:lnTo>
                  <a:lnTo>
                    <a:pt x="40967" y="78076"/>
                  </a:lnTo>
                  <a:lnTo>
                    <a:pt x="41935" y="80000"/>
                  </a:lnTo>
                  <a:lnTo>
                    <a:pt x="41935" y="80769"/>
                  </a:lnTo>
                  <a:lnTo>
                    <a:pt x="42580" y="80769"/>
                  </a:lnTo>
                  <a:lnTo>
                    <a:pt x="43225" y="82692"/>
                  </a:lnTo>
                  <a:lnTo>
                    <a:pt x="44838" y="83461"/>
                  </a:lnTo>
                  <a:lnTo>
                    <a:pt x="45483" y="84615"/>
                  </a:lnTo>
                  <a:lnTo>
                    <a:pt x="45483" y="85384"/>
                  </a:lnTo>
                  <a:lnTo>
                    <a:pt x="45483" y="86538"/>
                  </a:lnTo>
                  <a:lnTo>
                    <a:pt x="45483" y="87307"/>
                  </a:lnTo>
                  <a:lnTo>
                    <a:pt x="46451" y="87307"/>
                  </a:lnTo>
                  <a:lnTo>
                    <a:pt x="47096" y="88076"/>
                  </a:lnTo>
                  <a:lnTo>
                    <a:pt x="47096" y="88076"/>
                  </a:lnTo>
                  <a:lnTo>
                    <a:pt x="46451" y="89230"/>
                  </a:lnTo>
                  <a:lnTo>
                    <a:pt x="47096" y="89230"/>
                  </a:lnTo>
                  <a:lnTo>
                    <a:pt x="47741" y="90000"/>
                  </a:lnTo>
                  <a:lnTo>
                    <a:pt x="47741" y="90769"/>
                  </a:lnTo>
                  <a:lnTo>
                    <a:pt x="48709" y="91923"/>
                  </a:lnTo>
                  <a:lnTo>
                    <a:pt x="48709" y="92692"/>
                  </a:lnTo>
                  <a:lnTo>
                    <a:pt x="49354" y="94615"/>
                  </a:lnTo>
                  <a:lnTo>
                    <a:pt x="49354" y="95384"/>
                  </a:lnTo>
                  <a:lnTo>
                    <a:pt x="50967" y="97307"/>
                  </a:lnTo>
                  <a:lnTo>
                    <a:pt x="51612" y="97307"/>
                  </a:lnTo>
                  <a:lnTo>
                    <a:pt x="52580" y="97307"/>
                  </a:lnTo>
                  <a:lnTo>
                    <a:pt x="53225" y="97307"/>
                  </a:lnTo>
                  <a:lnTo>
                    <a:pt x="53870" y="98076"/>
                  </a:lnTo>
                  <a:lnTo>
                    <a:pt x="55483" y="99230"/>
                  </a:lnTo>
                  <a:lnTo>
                    <a:pt x="57096" y="99230"/>
                  </a:lnTo>
                  <a:lnTo>
                    <a:pt x="57741" y="100769"/>
                  </a:lnTo>
                  <a:lnTo>
                    <a:pt x="57741" y="100769"/>
                  </a:lnTo>
                  <a:lnTo>
                    <a:pt x="58387" y="101923"/>
                  </a:lnTo>
                  <a:lnTo>
                    <a:pt x="60000" y="103461"/>
                  </a:lnTo>
                  <a:lnTo>
                    <a:pt x="62258" y="104615"/>
                  </a:lnTo>
                  <a:lnTo>
                    <a:pt x="63225" y="104615"/>
                  </a:lnTo>
                  <a:lnTo>
                    <a:pt x="63870" y="105384"/>
                  </a:lnTo>
                  <a:lnTo>
                    <a:pt x="64516" y="106538"/>
                  </a:lnTo>
                  <a:lnTo>
                    <a:pt x="65483" y="107307"/>
                  </a:lnTo>
                  <a:lnTo>
                    <a:pt x="66774" y="106538"/>
                  </a:lnTo>
                  <a:lnTo>
                    <a:pt x="67741" y="107307"/>
                  </a:lnTo>
                  <a:lnTo>
                    <a:pt x="70000" y="108076"/>
                  </a:lnTo>
                  <a:lnTo>
                    <a:pt x="70645" y="108076"/>
                  </a:lnTo>
                  <a:lnTo>
                    <a:pt x="70645" y="108076"/>
                  </a:lnTo>
                  <a:lnTo>
                    <a:pt x="71290" y="108076"/>
                  </a:lnTo>
                  <a:lnTo>
                    <a:pt x="72903" y="106538"/>
                  </a:lnTo>
                  <a:lnTo>
                    <a:pt x="73870" y="106538"/>
                  </a:lnTo>
                  <a:lnTo>
                    <a:pt x="74516" y="106538"/>
                  </a:lnTo>
                  <a:lnTo>
                    <a:pt x="75161" y="105384"/>
                  </a:lnTo>
                  <a:lnTo>
                    <a:pt x="75161" y="105384"/>
                  </a:lnTo>
                  <a:lnTo>
                    <a:pt x="76129" y="104615"/>
                  </a:lnTo>
                  <a:lnTo>
                    <a:pt x="77419" y="104615"/>
                  </a:lnTo>
                  <a:lnTo>
                    <a:pt x="78387" y="103461"/>
                  </a:lnTo>
                  <a:lnTo>
                    <a:pt x="79032" y="102692"/>
                  </a:lnTo>
                  <a:lnTo>
                    <a:pt x="79677" y="102692"/>
                  </a:lnTo>
                  <a:lnTo>
                    <a:pt x="81935" y="103461"/>
                  </a:lnTo>
                  <a:lnTo>
                    <a:pt x="82903" y="103461"/>
                  </a:lnTo>
                  <a:lnTo>
                    <a:pt x="82903" y="104615"/>
                  </a:lnTo>
                  <a:lnTo>
                    <a:pt x="83548" y="105384"/>
                  </a:lnTo>
                  <a:lnTo>
                    <a:pt x="84516" y="106538"/>
                  </a:lnTo>
                  <a:lnTo>
                    <a:pt x="84516" y="107307"/>
                  </a:lnTo>
                  <a:lnTo>
                    <a:pt x="84516" y="110000"/>
                  </a:lnTo>
                  <a:lnTo>
                    <a:pt x="85161" y="110769"/>
                  </a:lnTo>
                  <a:lnTo>
                    <a:pt x="85806" y="112692"/>
                  </a:lnTo>
                  <a:lnTo>
                    <a:pt x="85806" y="113461"/>
                  </a:lnTo>
                  <a:lnTo>
                    <a:pt x="86774" y="114615"/>
                  </a:lnTo>
                  <a:lnTo>
                    <a:pt x="89032" y="114615"/>
                  </a:lnTo>
                  <a:lnTo>
                    <a:pt x="89032" y="115384"/>
                  </a:lnTo>
                  <a:lnTo>
                    <a:pt x="89677" y="115384"/>
                  </a:lnTo>
                  <a:lnTo>
                    <a:pt x="90322" y="115384"/>
                  </a:lnTo>
                  <a:lnTo>
                    <a:pt x="91935" y="116538"/>
                  </a:lnTo>
                  <a:lnTo>
                    <a:pt x="91935" y="116538"/>
                  </a:lnTo>
                  <a:lnTo>
                    <a:pt x="93548" y="116538"/>
                  </a:lnTo>
                  <a:lnTo>
                    <a:pt x="95161" y="116538"/>
                  </a:lnTo>
                  <a:lnTo>
                    <a:pt x="96451" y="117307"/>
                  </a:lnTo>
                  <a:lnTo>
                    <a:pt x="98064" y="117307"/>
                  </a:lnTo>
                  <a:lnTo>
                    <a:pt x="98709" y="117307"/>
                  </a:lnTo>
                  <a:lnTo>
                    <a:pt x="100322" y="117307"/>
                  </a:lnTo>
                  <a:lnTo>
                    <a:pt x="100967" y="117307"/>
                  </a:lnTo>
                  <a:lnTo>
                    <a:pt x="101935" y="118076"/>
                  </a:lnTo>
                  <a:lnTo>
                    <a:pt x="102580" y="117307"/>
                  </a:lnTo>
                  <a:lnTo>
                    <a:pt x="104838" y="118076"/>
                  </a:lnTo>
                  <a:lnTo>
                    <a:pt x="104838" y="117307"/>
                  </a:lnTo>
                  <a:lnTo>
                    <a:pt x="105806" y="117307"/>
                  </a:lnTo>
                  <a:lnTo>
                    <a:pt x="105806" y="118076"/>
                  </a:lnTo>
                  <a:lnTo>
                    <a:pt x="106451" y="118076"/>
                  </a:lnTo>
                  <a:lnTo>
                    <a:pt x="108709" y="119230"/>
                  </a:lnTo>
                  <a:lnTo>
                    <a:pt x="109354" y="120000"/>
                  </a:lnTo>
                  <a:lnTo>
                    <a:pt x="110967" y="120000"/>
                  </a:lnTo>
                  <a:lnTo>
                    <a:pt x="110967" y="119230"/>
                  </a:lnTo>
                  <a:lnTo>
                    <a:pt x="110967" y="119230"/>
                  </a:lnTo>
                  <a:lnTo>
                    <a:pt x="111612" y="119230"/>
                  </a:lnTo>
                  <a:lnTo>
                    <a:pt x="111612" y="118076"/>
                  </a:lnTo>
                  <a:lnTo>
                    <a:pt x="111612" y="116538"/>
                  </a:lnTo>
                  <a:lnTo>
                    <a:pt x="111612" y="115384"/>
                  </a:lnTo>
                  <a:lnTo>
                    <a:pt x="111612" y="114615"/>
                  </a:lnTo>
                  <a:lnTo>
                    <a:pt x="111612" y="114615"/>
                  </a:lnTo>
                  <a:lnTo>
                    <a:pt x="111612" y="113461"/>
                  </a:lnTo>
                  <a:lnTo>
                    <a:pt x="112580" y="113461"/>
                  </a:lnTo>
                  <a:lnTo>
                    <a:pt x="112580" y="112692"/>
                  </a:lnTo>
                  <a:lnTo>
                    <a:pt x="112580" y="110769"/>
                  </a:lnTo>
                  <a:lnTo>
                    <a:pt x="112580" y="110769"/>
                  </a:lnTo>
                  <a:lnTo>
                    <a:pt x="112580" y="110769"/>
                  </a:lnTo>
                  <a:lnTo>
                    <a:pt x="113870" y="110000"/>
                  </a:lnTo>
                  <a:lnTo>
                    <a:pt x="113870" y="110000"/>
                  </a:lnTo>
                  <a:lnTo>
                    <a:pt x="114838" y="110000"/>
                  </a:lnTo>
                  <a:lnTo>
                    <a:pt x="114838" y="110000"/>
                  </a:lnTo>
                  <a:lnTo>
                    <a:pt x="114838" y="109230"/>
                  </a:lnTo>
                  <a:lnTo>
                    <a:pt x="114838" y="108076"/>
                  </a:lnTo>
                  <a:lnTo>
                    <a:pt x="115483" y="108076"/>
                  </a:lnTo>
                  <a:lnTo>
                    <a:pt x="115483" y="108076"/>
                  </a:lnTo>
                  <a:lnTo>
                    <a:pt x="117096" y="108076"/>
                  </a:lnTo>
                  <a:lnTo>
                    <a:pt x="117096" y="107307"/>
                  </a:lnTo>
                  <a:lnTo>
                    <a:pt x="117741" y="107307"/>
                  </a:lnTo>
                  <a:lnTo>
                    <a:pt x="119354" y="107307"/>
                  </a:lnTo>
                  <a:lnTo>
                    <a:pt x="120000" y="107307"/>
                  </a:lnTo>
                  <a:lnTo>
                    <a:pt x="120000" y="107307"/>
                  </a:lnTo>
                  <a:lnTo>
                    <a:pt x="120000" y="105384"/>
                  </a:lnTo>
                  <a:lnTo>
                    <a:pt x="120000" y="105384"/>
                  </a:lnTo>
                  <a:lnTo>
                    <a:pt x="120000" y="105384"/>
                  </a:lnTo>
                  <a:lnTo>
                    <a:pt x="120000" y="104615"/>
                  </a:lnTo>
                  <a:lnTo>
                    <a:pt x="120000" y="103461"/>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67" name="Shape 467"/>
            <p:cNvSpPr/>
            <p:nvPr/>
          </p:nvSpPr>
          <p:spPr>
            <a:xfrm>
              <a:off x="5421" y="2689"/>
              <a:ext cx="900" cy="300"/>
            </a:xfrm>
            <a:custGeom>
              <a:avLst/>
              <a:gdLst/>
              <a:ahLst/>
              <a:cxnLst/>
              <a:rect l="0" t="0" r="0" b="0"/>
              <a:pathLst>
                <a:path w="120000" h="120000" extrusionOk="0">
                  <a:moveTo>
                    <a:pt x="72590" y="117586"/>
                  </a:moveTo>
                  <a:lnTo>
                    <a:pt x="72590" y="117586"/>
                  </a:lnTo>
                  <a:lnTo>
                    <a:pt x="72590" y="117586"/>
                  </a:lnTo>
                  <a:lnTo>
                    <a:pt x="72590" y="117586"/>
                  </a:lnTo>
                  <a:lnTo>
                    <a:pt x="72168" y="117586"/>
                  </a:lnTo>
                  <a:lnTo>
                    <a:pt x="71887" y="118275"/>
                  </a:lnTo>
                  <a:lnTo>
                    <a:pt x="71606" y="119310"/>
                  </a:lnTo>
                  <a:lnTo>
                    <a:pt x="70902" y="119310"/>
                  </a:lnTo>
                  <a:lnTo>
                    <a:pt x="70902" y="120000"/>
                  </a:lnTo>
                  <a:lnTo>
                    <a:pt x="70902" y="120000"/>
                  </a:lnTo>
                  <a:lnTo>
                    <a:pt x="70902" y="120000"/>
                  </a:lnTo>
                  <a:lnTo>
                    <a:pt x="71184" y="120000"/>
                  </a:lnTo>
                  <a:lnTo>
                    <a:pt x="71606" y="120000"/>
                  </a:lnTo>
                  <a:lnTo>
                    <a:pt x="71887" y="120000"/>
                  </a:lnTo>
                  <a:lnTo>
                    <a:pt x="72168" y="119310"/>
                  </a:lnTo>
                  <a:lnTo>
                    <a:pt x="72590" y="118275"/>
                  </a:lnTo>
                  <a:lnTo>
                    <a:pt x="72590" y="118275"/>
                  </a:lnTo>
                  <a:lnTo>
                    <a:pt x="72590" y="117586"/>
                  </a:lnTo>
                  <a:close/>
                  <a:moveTo>
                    <a:pt x="68511" y="116896"/>
                  </a:moveTo>
                  <a:lnTo>
                    <a:pt x="68229" y="117586"/>
                  </a:lnTo>
                  <a:lnTo>
                    <a:pt x="68229" y="117586"/>
                  </a:lnTo>
                  <a:lnTo>
                    <a:pt x="68229" y="117586"/>
                  </a:lnTo>
                  <a:lnTo>
                    <a:pt x="68511" y="118275"/>
                  </a:lnTo>
                  <a:lnTo>
                    <a:pt x="68511" y="118275"/>
                  </a:lnTo>
                  <a:lnTo>
                    <a:pt x="68933" y="117586"/>
                  </a:lnTo>
                  <a:lnTo>
                    <a:pt x="68933" y="116896"/>
                  </a:lnTo>
                  <a:lnTo>
                    <a:pt x="68933" y="116896"/>
                  </a:lnTo>
                  <a:lnTo>
                    <a:pt x="68511" y="116896"/>
                  </a:lnTo>
                  <a:close/>
                  <a:moveTo>
                    <a:pt x="65556" y="112758"/>
                  </a:moveTo>
                  <a:lnTo>
                    <a:pt x="65556" y="112758"/>
                  </a:lnTo>
                  <a:lnTo>
                    <a:pt x="65275" y="111724"/>
                  </a:lnTo>
                  <a:lnTo>
                    <a:pt x="65275" y="111034"/>
                  </a:lnTo>
                  <a:lnTo>
                    <a:pt x="64853" y="111034"/>
                  </a:lnTo>
                  <a:lnTo>
                    <a:pt x="64853" y="111034"/>
                  </a:lnTo>
                  <a:lnTo>
                    <a:pt x="64572" y="111034"/>
                  </a:lnTo>
                  <a:lnTo>
                    <a:pt x="64572" y="111034"/>
                  </a:lnTo>
                  <a:lnTo>
                    <a:pt x="64572" y="110344"/>
                  </a:lnTo>
                  <a:lnTo>
                    <a:pt x="64572" y="110344"/>
                  </a:lnTo>
                  <a:lnTo>
                    <a:pt x="64290" y="109310"/>
                  </a:lnTo>
                  <a:lnTo>
                    <a:pt x="63868" y="109310"/>
                  </a:lnTo>
                  <a:lnTo>
                    <a:pt x="63868" y="108620"/>
                  </a:lnTo>
                  <a:lnTo>
                    <a:pt x="63868" y="108620"/>
                  </a:lnTo>
                  <a:lnTo>
                    <a:pt x="63587" y="109310"/>
                  </a:lnTo>
                  <a:lnTo>
                    <a:pt x="63305" y="109310"/>
                  </a:lnTo>
                  <a:lnTo>
                    <a:pt x="62883" y="109310"/>
                  </a:lnTo>
                  <a:lnTo>
                    <a:pt x="62602" y="109310"/>
                  </a:lnTo>
                  <a:lnTo>
                    <a:pt x="62321" y="109310"/>
                  </a:lnTo>
                  <a:lnTo>
                    <a:pt x="61899" y="109310"/>
                  </a:lnTo>
                  <a:lnTo>
                    <a:pt x="61336" y="109310"/>
                  </a:lnTo>
                  <a:lnTo>
                    <a:pt x="61336" y="110344"/>
                  </a:lnTo>
                  <a:lnTo>
                    <a:pt x="61336" y="110344"/>
                  </a:lnTo>
                  <a:lnTo>
                    <a:pt x="61336" y="111034"/>
                  </a:lnTo>
                  <a:lnTo>
                    <a:pt x="61336" y="111034"/>
                  </a:lnTo>
                  <a:lnTo>
                    <a:pt x="61336" y="111034"/>
                  </a:lnTo>
                  <a:lnTo>
                    <a:pt x="61617" y="111724"/>
                  </a:lnTo>
                  <a:lnTo>
                    <a:pt x="62321" y="111724"/>
                  </a:lnTo>
                  <a:lnTo>
                    <a:pt x="62321" y="111724"/>
                  </a:lnTo>
                  <a:lnTo>
                    <a:pt x="62602" y="111724"/>
                  </a:lnTo>
                  <a:lnTo>
                    <a:pt x="62883" y="111724"/>
                  </a:lnTo>
                  <a:lnTo>
                    <a:pt x="63305" y="113448"/>
                  </a:lnTo>
                  <a:lnTo>
                    <a:pt x="63587" y="113448"/>
                  </a:lnTo>
                  <a:lnTo>
                    <a:pt x="63868" y="114137"/>
                  </a:lnTo>
                  <a:lnTo>
                    <a:pt x="63868" y="114137"/>
                  </a:lnTo>
                  <a:lnTo>
                    <a:pt x="64290" y="115172"/>
                  </a:lnTo>
                  <a:lnTo>
                    <a:pt x="64290" y="115172"/>
                  </a:lnTo>
                  <a:lnTo>
                    <a:pt x="64853" y="115862"/>
                  </a:lnTo>
                  <a:lnTo>
                    <a:pt x="64853" y="115862"/>
                  </a:lnTo>
                  <a:lnTo>
                    <a:pt x="65275" y="115172"/>
                  </a:lnTo>
                  <a:lnTo>
                    <a:pt x="65556" y="115172"/>
                  </a:lnTo>
                  <a:lnTo>
                    <a:pt x="65556" y="115172"/>
                  </a:lnTo>
                  <a:lnTo>
                    <a:pt x="65978" y="114137"/>
                  </a:lnTo>
                  <a:lnTo>
                    <a:pt x="65978" y="114137"/>
                  </a:lnTo>
                  <a:lnTo>
                    <a:pt x="65978" y="113448"/>
                  </a:lnTo>
                  <a:lnTo>
                    <a:pt x="65556" y="112758"/>
                  </a:lnTo>
                  <a:close/>
                  <a:moveTo>
                    <a:pt x="77233" y="106206"/>
                  </a:moveTo>
                  <a:lnTo>
                    <a:pt x="76811" y="106896"/>
                  </a:lnTo>
                  <a:lnTo>
                    <a:pt x="76811" y="106896"/>
                  </a:lnTo>
                  <a:lnTo>
                    <a:pt x="76811" y="106896"/>
                  </a:lnTo>
                  <a:lnTo>
                    <a:pt x="76811" y="106206"/>
                  </a:lnTo>
                  <a:lnTo>
                    <a:pt x="76811" y="106206"/>
                  </a:lnTo>
                  <a:lnTo>
                    <a:pt x="76248" y="106896"/>
                  </a:lnTo>
                  <a:lnTo>
                    <a:pt x="76248" y="106896"/>
                  </a:lnTo>
                  <a:lnTo>
                    <a:pt x="75826" y="107931"/>
                  </a:lnTo>
                  <a:lnTo>
                    <a:pt x="75545" y="107931"/>
                  </a:lnTo>
                  <a:lnTo>
                    <a:pt x="75545" y="108620"/>
                  </a:lnTo>
                  <a:lnTo>
                    <a:pt x="75545" y="108620"/>
                  </a:lnTo>
                  <a:lnTo>
                    <a:pt x="75263" y="109310"/>
                  </a:lnTo>
                  <a:lnTo>
                    <a:pt x="75263" y="109310"/>
                  </a:lnTo>
                  <a:lnTo>
                    <a:pt x="75263" y="109310"/>
                  </a:lnTo>
                  <a:lnTo>
                    <a:pt x="74841" y="109310"/>
                  </a:lnTo>
                  <a:lnTo>
                    <a:pt x="74560" y="109310"/>
                  </a:lnTo>
                  <a:lnTo>
                    <a:pt x="74560" y="109310"/>
                  </a:lnTo>
                  <a:lnTo>
                    <a:pt x="74560" y="109310"/>
                  </a:lnTo>
                  <a:lnTo>
                    <a:pt x="74560" y="108620"/>
                  </a:lnTo>
                  <a:lnTo>
                    <a:pt x="74138" y="109310"/>
                  </a:lnTo>
                  <a:lnTo>
                    <a:pt x="73856" y="109310"/>
                  </a:lnTo>
                  <a:lnTo>
                    <a:pt x="73575" y="111034"/>
                  </a:lnTo>
                  <a:lnTo>
                    <a:pt x="73575" y="111724"/>
                  </a:lnTo>
                  <a:lnTo>
                    <a:pt x="73153" y="112758"/>
                  </a:lnTo>
                  <a:lnTo>
                    <a:pt x="73153" y="113448"/>
                  </a:lnTo>
                  <a:lnTo>
                    <a:pt x="73153" y="113448"/>
                  </a:lnTo>
                  <a:lnTo>
                    <a:pt x="73575" y="114137"/>
                  </a:lnTo>
                  <a:lnTo>
                    <a:pt x="73575" y="114137"/>
                  </a:lnTo>
                  <a:lnTo>
                    <a:pt x="73153" y="115172"/>
                  </a:lnTo>
                  <a:lnTo>
                    <a:pt x="73153" y="115172"/>
                  </a:lnTo>
                  <a:lnTo>
                    <a:pt x="73153" y="115862"/>
                  </a:lnTo>
                  <a:lnTo>
                    <a:pt x="73153" y="115862"/>
                  </a:lnTo>
                  <a:lnTo>
                    <a:pt x="73575" y="115862"/>
                  </a:lnTo>
                  <a:lnTo>
                    <a:pt x="73856" y="115862"/>
                  </a:lnTo>
                  <a:lnTo>
                    <a:pt x="74138" y="115862"/>
                  </a:lnTo>
                  <a:lnTo>
                    <a:pt x="74560" y="115172"/>
                  </a:lnTo>
                  <a:lnTo>
                    <a:pt x="75263" y="115172"/>
                  </a:lnTo>
                  <a:lnTo>
                    <a:pt x="75263" y="115172"/>
                  </a:lnTo>
                  <a:lnTo>
                    <a:pt x="75545" y="114137"/>
                  </a:lnTo>
                  <a:lnTo>
                    <a:pt x="75826" y="113448"/>
                  </a:lnTo>
                  <a:lnTo>
                    <a:pt x="76248" y="113448"/>
                  </a:lnTo>
                  <a:lnTo>
                    <a:pt x="76529" y="111724"/>
                  </a:lnTo>
                  <a:lnTo>
                    <a:pt x="76811" y="111034"/>
                  </a:lnTo>
                  <a:lnTo>
                    <a:pt x="76811" y="110344"/>
                  </a:lnTo>
                  <a:lnTo>
                    <a:pt x="77233" y="110344"/>
                  </a:lnTo>
                  <a:lnTo>
                    <a:pt x="77233" y="109310"/>
                  </a:lnTo>
                  <a:lnTo>
                    <a:pt x="76811" y="108620"/>
                  </a:lnTo>
                  <a:lnTo>
                    <a:pt x="76811" y="108620"/>
                  </a:lnTo>
                  <a:lnTo>
                    <a:pt x="76811" y="108620"/>
                  </a:lnTo>
                  <a:lnTo>
                    <a:pt x="76811" y="107931"/>
                  </a:lnTo>
                  <a:lnTo>
                    <a:pt x="76811" y="107931"/>
                  </a:lnTo>
                  <a:lnTo>
                    <a:pt x="77233" y="107931"/>
                  </a:lnTo>
                  <a:lnTo>
                    <a:pt x="77514" y="106896"/>
                  </a:lnTo>
                  <a:lnTo>
                    <a:pt x="77514" y="106896"/>
                  </a:lnTo>
                  <a:lnTo>
                    <a:pt x="77514" y="106896"/>
                  </a:lnTo>
                  <a:lnTo>
                    <a:pt x="77233" y="106206"/>
                  </a:lnTo>
                  <a:close/>
                  <a:moveTo>
                    <a:pt x="62883" y="103793"/>
                  </a:moveTo>
                  <a:lnTo>
                    <a:pt x="62883" y="102758"/>
                  </a:lnTo>
                  <a:lnTo>
                    <a:pt x="62883" y="102758"/>
                  </a:lnTo>
                  <a:lnTo>
                    <a:pt x="62883" y="102758"/>
                  </a:lnTo>
                  <a:lnTo>
                    <a:pt x="62883" y="102758"/>
                  </a:lnTo>
                  <a:lnTo>
                    <a:pt x="62883" y="102758"/>
                  </a:lnTo>
                  <a:lnTo>
                    <a:pt x="62883" y="102758"/>
                  </a:lnTo>
                  <a:lnTo>
                    <a:pt x="62602" y="102068"/>
                  </a:lnTo>
                  <a:lnTo>
                    <a:pt x="62602" y="102758"/>
                  </a:lnTo>
                  <a:lnTo>
                    <a:pt x="62602" y="102758"/>
                  </a:lnTo>
                  <a:lnTo>
                    <a:pt x="62602" y="103793"/>
                  </a:lnTo>
                  <a:lnTo>
                    <a:pt x="62602" y="103793"/>
                  </a:lnTo>
                  <a:lnTo>
                    <a:pt x="62602" y="104482"/>
                  </a:lnTo>
                  <a:lnTo>
                    <a:pt x="62602" y="104482"/>
                  </a:lnTo>
                  <a:lnTo>
                    <a:pt x="62602" y="104482"/>
                  </a:lnTo>
                  <a:lnTo>
                    <a:pt x="62602" y="103793"/>
                  </a:lnTo>
                  <a:lnTo>
                    <a:pt x="62883" y="103793"/>
                  </a:lnTo>
                  <a:lnTo>
                    <a:pt x="62883" y="103793"/>
                  </a:lnTo>
                  <a:close/>
                  <a:moveTo>
                    <a:pt x="72872" y="102068"/>
                  </a:moveTo>
                  <a:lnTo>
                    <a:pt x="72872" y="101379"/>
                  </a:lnTo>
                  <a:lnTo>
                    <a:pt x="72590" y="101379"/>
                  </a:lnTo>
                  <a:lnTo>
                    <a:pt x="72168" y="101379"/>
                  </a:lnTo>
                  <a:lnTo>
                    <a:pt x="72168" y="101379"/>
                  </a:lnTo>
                  <a:lnTo>
                    <a:pt x="72168" y="101379"/>
                  </a:lnTo>
                  <a:lnTo>
                    <a:pt x="71887" y="102068"/>
                  </a:lnTo>
                  <a:lnTo>
                    <a:pt x="72872" y="102068"/>
                  </a:lnTo>
                  <a:lnTo>
                    <a:pt x="72872" y="102068"/>
                  </a:lnTo>
                  <a:close/>
                  <a:moveTo>
                    <a:pt x="55568" y="102068"/>
                  </a:moveTo>
                  <a:lnTo>
                    <a:pt x="55568" y="101379"/>
                  </a:lnTo>
                  <a:lnTo>
                    <a:pt x="55568" y="101379"/>
                  </a:lnTo>
                  <a:lnTo>
                    <a:pt x="55287" y="101379"/>
                  </a:lnTo>
                  <a:lnTo>
                    <a:pt x="55005" y="100344"/>
                  </a:lnTo>
                  <a:lnTo>
                    <a:pt x="54583" y="101379"/>
                  </a:lnTo>
                  <a:lnTo>
                    <a:pt x="54302" y="101379"/>
                  </a:lnTo>
                  <a:lnTo>
                    <a:pt x="54021" y="102068"/>
                  </a:lnTo>
                  <a:lnTo>
                    <a:pt x="54021" y="103793"/>
                  </a:lnTo>
                  <a:lnTo>
                    <a:pt x="54021" y="104482"/>
                  </a:lnTo>
                  <a:lnTo>
                    <a:pt x="53599" y="104482"/>
                  </a:lnTo>
                  <a:lnTo>
                    <a:pt x="53317" y="104482"/>
                  </a:lnTo>
                  <a:lnTo>
                    <a:pt x="53317" y="104482"/>
                  </a:lnTo>
                  <a:lnTo>
                    <a:pt x="53317" y="104482"/>
                  </a:lnTo>
                  <a:lnTo>
                    <a:pt x="53317" y="105172"/>
                  </a:lnTo>
                  <a:lnTo>
                    <a:pt x="53599" y="105172"/>
                  </a:lnTo>
                  <a:lnTo>
                    <a:pt x="54302" y="106206"/>
                  </a:lnTo>
                  <a:lnTo>
                    <a:pt x="54302" y="106206"/>
                  </a:lnTo>
                  <a:lnTo>
                    <a:pt x="54583" y="106206"/>
                  </a:lnTo>
                  <a:lnTo>
                    <a:pt x="55287" y="105172"/>
                  </a:lnTo>
                  <a:lnTo>
                    <a:pt x="55005" y="105172"/>
                  </a:lnTo>
                  <a:lnTo>
                    <a:pt x="55005" y="105172"/>
                  </a:lnTo>
                  <a:lnTo>
                    <a:pt x="55287" y="103793"/>
                  </a:lnTo>
                  <a:lnTo>
                    <a:pt x="55568" y="102068"/>
                  </a:lnTo>
                  <a:close/>
                  <a:moveTo>
                    <a:pt x="74560" y="102068"/>
                  </a:moveTo>
                  <a:lnTo>
                    <a:pt x="74841" y="102758"/>
                  </a:lnTo>
                  <a:lnTo>
                    <a:pt x="74841" y="102758"/>
                  </a:lnTo>
                  <a:lnTo>
                    <a:pt x="75263" y="102758"/>
                  </a:lnTo>
                  <a:lnTo>
                    <a:pt x="75263" y="102068"/>
                  </a:lnTo>
                  <a:lnTo>
                    <a:pt x="75263" y="101379"/>
                  </a:lnTo>
                  <a:lnTo>
                    <a:pt x="75545" y="101379"/>
                  </a:lnTo>
                  <a:lnTo>
                    <a:pt x="75545" y="100344"/>
                  </a:lnTo>
                  <a:lnTo>
                    <a:pt x="75263" y="100344"/>
                  </a:lnTo>
                  <a:lnTo>
                    <a:pt x="75263" y="100344"/>
                  </a:lnTo>
                  <a:lnTo>
                    <a:pt x="74841" y="102068"/>
                  </a:lnTo>
                  <a:lnTo>
                    <a:pt x="74841" y="102068"/>
                  </a:lnTo>
                  <a:lnTo>
                    <a:pt x="74841" y="101379"/>
                  </a:lnTo>
                  <a:lnTo>
                    <a:pt x="74560" y="101379"/>
                  </a:lnTo>
                  <a:lnTo>
                    <a:pt x="74560" y="102068"/>
                  </a:lnTo>
                  <a:lnTo>
                    <a:pt x="74560" y="102068"/>
                  </a:lnTo>
                  <a:lnTo>
                    <a:pt x="74560" y="102068"/>
                  </a:lnTo>
                  <a:close/>
                  <a:moveTo>
                    <a:pt x="73575" y="103793"/>
                  </a:moveTo>
                  <a:lnTo>
                    <a:pt x="73575" y="102758"/>
                  </a:lnTo>
                  <a:lnTo>
                    <a:pt x="73575" y="102758"/>
                  </a:lnTo>
                  <a:lnTo>
                    <a:pt x="73575" y="102758"/>
                  </a:lnTo>
                  <a:lnTo>
                    <a:pt x="73575" y="102758"/>
                  </a:lnTo>
                  <a:lnTo>
                    <a:pt x="73575" y="102068"/>
                  </a:lnTo>
                  <a:lnTo>
                    <a:pt x="73856" y="102068"/>
                  </a:lnTo>
                  <a:lnTo>
                    <a:pt x="74138" y="101379"/>
                  </a:lnTo>
                  <a:lnTo>
                    <a:pt x="74560" y="101379"/>
                  </a:lnTo>
                  <a:lnTo>
                    <a:pt x="74138" y="101379"/>
                  </a:lnTo>
                  <a:lnTo>
                    <a:pt x="74138" y="100344"/>
                  </a:lnTo>
                  <a:lnTo>
                    <a:pt x="74138" y="100344"/>
                  </a:lnTo>
                  <a:lnTo>
                    <a:pt x="73575" y="101379"/>
                  </a:lnTo>
                  <a:lnTo>
                    <a:pt x="73575" y="101379"/>
                  </a:lnTo>
                  <a:lnTo>
                    <a:pt x="73575" y="101379"/>
                  </a:lnTo>
                  <a:lnTo>
                    <a:pt x="73153" y="101379"/>
                  </a:lnTo>
                  <a:lnTo>
                    <a:pt x="72872" y="101379"/>
                  </a:lnTo>
                  <a:lnTo>
                    <a:pt x="72872" y="101379"/>
                  </a:lnTo>
                  <a:lnTo>
                    <a:pt x="73153" y="101379"/>
                  </a:lnTo>
                  <a:lnTo>
                    <a:pt x="73153" y="101379"/>
                  </a:lnTo>
                  <a:lnTo>
                    <a:pt x="73153" y="102068"/>
                  </a:lnTo>
                  <a:lnTo>
                    <a:pt x="72872" y="102068"/>
                  </a:lnTo>
                  <a:lnTo>
                    <a:pt x="72590" y="102758"/>
                  </a:lnTo>
                  <a:lnTo>
                    <a:pt x="72590" y="102758"/>
                  </a:lnTo>
                  <a:lnTo>
                    <a:pt x="72872" y="102758"/>
                  </a:lnTo>
                  <a:lnTo>
                    <a:pt x="72872" y="103793"/>
                  </a:lnTo>
                  <a:lnTo>
                    <a:pt x="73153" y="103793"/>
                  </a:lnTo>
                  <a:lnTo>
                    <a:pt x="73153" y="102758"/>
                  </a:lnTo>
                  <a:lnTo>
                    <a:pt x="73575" y="103793"/>
                  </a:lnTo>
                  <a:close/>
                  <a:moveTo>
                    <a:pt x="112966" y="100344"/>
                  </a:moveTo>
                  <a:lnTo>
                    <a:pt x="112966" y="100344"/>
                  </a:lnTo>
                  <a:lnTo>
                    <a:pt x="112684" y="101379"/>
                  </a:lnTo>
                  <a:lnTo>
                    <a:pt x="112684" y="101379"/>
                  </a:lnTo>
                  <a:lnTo>
                    <a:pt x="112684" y="101379"/>
                  </a:lnTo>
                  <a:lnTo>
                    <a:pt x="112684" y="102068"/>
                  </a:lnTo>
                  <a:lnTo>
                    <a:pt x="113388" y="102068"/>
                  </a:lnTo>
                  <a:lnTo>
                    <a:pt x="113388" y="102068"/>
                  </a:lnTo>
                  <a:lnTo>
                    <a:pt x="113388" y="101379"/>
                  </a:lnTo>
                  <a:lnTo>
                    <a:pt x="113388" y="100344"/>
                  </a:lnTo>
                  <a:lnTo>
                    <a:pt x="112966" y="100344"/>
                  </a:lnTo>
                  <a:close/>
                  <a:moveTo>
                    <a:pt x="57678" y="102068"/>
                  </a:moveTo>
                  <a:lnTo>
                    <a:pt x="57960" y="102068"/>
                  </a:lnTo>
                  <a:lnTo>
                    <a:pt x="58241" y="100344"/>
                  </a:lnTo>
                  <a:lnTo>
                    <a:pt x="57960" y="100344"/>
                  </a:lnTo>
                  <a:lnTo>
                    <a:pt x="57960" y="100344"/>
                  </a:lnTo>
                  <a:lnTo>
                    <a:pt x="57678" y="100344"/>
                  </a:lnTo>
                  <a:lnTo>
                    <a:pt x="57678" y="101379"/>
                  </a:lnTo>
                  <a:lnTo>
                    <a:pt x="57678" y="101379"/>
                  </a:lnTo>
                  <a:lnTo>
                    <a:pt x="57678" y="102068"/>
                  </a:lnTo>
                  <a:lnTo>
                    <a:pt x="57678" y="102068"/>
                  </a:lnTo>
                  <a:close/>
                  <a:moveTo>
                    <a:pt x="77233" y="100344"/>
                  </a:moveTo>
                  <a:lnTo>
                    <a:pt x="76529" y="100344"/>
                  </a:lnTo>
                  <a:lnTo>
                    <a:pt x="76529" y="100344"/>
                  </a:lnTo>
                  <a:lnTo>
                    <a:pt x="76248" y="100344"/>
                  </a:lnTo>
                  <a:lnTo>
                    <a:pt x="76248" y="100344"/>
                  </a:lnTo>
                  <a:lnTo>
                    <a:pt x="75826" y="100344"/>
                  </a:lnTo>
                  <a:lnTo>
                    <a:pt x="75826" y="100344"/>
                  </a:lnTo>
                  <a:lnTo>
                    <a:pt x="75545" y="101379"/>
                  </a:lnTo>
                  <a:lnTo>
                    <a:pt x="75826" y="101379"/>
                  </a:lnTo>
                  <a:lnTo>
                    <a:pt x="75545" y="102068"/>
                  </a:lnTo>
                  <a:lnTo>
                    <a:pt x="75545" y="102068"/>
                  </a:lnTo>
                  <a:lnTo>
                    <a:pt x="75826" y="102068"/>
                  </a:lnTo>
                  <a:lnTo>
                    <a:pt x="77514" y="102068"/>
                  </a:lnTo>
                  <a:lnTo>
                    <a:pt x="77514" y="101379"/>
                  </a:lnTo>
                  <a:lnTo>
                    <a:pt x="77514" y="100344"/>
                  </a:lnTo>
                  <a:lnTo>
                    <a:pt x="77514" y="100344"/>
                  </a:lnTo>
                  <a:lnTo>
                    <a:pt x="77233" y="100344"/>
                  </a:lnTo>
                  <a:close/>
                  <a:moveTo>
                    <a:pt x="71184" y="103793"/>
                  </a:moveTo>
                  <a:lnTo>
                    <a:pt x="71606" y="103793"/>
                  </a:lnTo>
                  <a:lnTo>
                    <a:pt x="71606" y="102758"/>
                  </a:lnTo>
                  <a:lnTo>
                    <a:pt x="71606" y="102758"/>
                  </a:lnTo>
                  <a:lnTo>
                    <a:pt x="71887" y="102068"/>
                  </a:lnTo>
                  <a:lnTo>
                    <a:pt x="71887" y="102068"/>
                  </a:lnTo>
                  <a:lnTo>
                    <a:pt x="71887" y="102068"/>
                  </a:lnTo>
                  <a:lnTo>
                    <a:pt x="71887" y="101379"/>
                  </a:lnTo>
                  <a:lnTo>
                    <a:pt x="71887" y="100344"/>
                  </a:lnTo>
                  <a:lnTo>
                    <a:pt x="71887" y="99655"/>
                  </a:lnTo>
                  <a:lnTo>
                    <a:pt x="71606" y="99655"/>
                  </a:lnTo>
                  <a:lnTo>
                    <a:pt x="71606" y="100344"/>
                  </a:lnTo>
                  <a:lnTo>
                    <a:pt x="71606" y="100344"/>
                  </a:lnTo>
                  <a:lnTo>
                    <a:pt x="71887" y="100344"/>
                  </a:lnTo>
                  <a:lnTo>
                    <a:pt x="71606" y="101379"/>
                  </a:lnTo>
                  <a:lnTo>
                    <a:pt x="71184" y="102068"/>
                  </a:lnTo>
                  <a:lnTo>
                    <a:pt x="70902" y="102068"/>
                  </a:lnTo>
                  <a:lnTo>
                    <a:pt x="70902" y="102068"/>
                  </a:lnTo>
                  <a:lnTo>
                    <a:pt x="70621" y="102758"/>
                  </a:lnTo>
                  <a:lnTo>
                    <a:pt x="70621" y="102758"/>
                  </a:lnTo>
                  <a:lnTo>
                    <a:pt x="70621" y="103793"/>
                  </a:lnTo>
                  <a:lnTo>
                    <a:pt x="70621" y="103793"/>
                  </a:lnTo>
                  <a:lnTo>
                    <a:pt x="70199" y="103793"/>
                  </a:lnTo>
                  <a:lnTo>
                    <a:pt x="69917" y="103793"/>
                  </a:lnTo>
                  <a:lnTo>
                    <a:pt x="69495" y="102758"/>
                  </a:lnTo>
                  <a:lnTo>
                    <a:pt x="69495" y="102758"/>
                  </a:lnTo>
                  <a:lnTo>
                    <a:pt x="69214" y="102758"/>
                  </a:lnTo>
                  <a:lnTo>
                    <a:pt x="69214" y="102758"/>
                  </a:lnTo>
                  <a:lnTo>
                    <a:pt x="68933" y="102758"/>
                  </a:lnTo>
                  <a:lnTo>
                    <a:pt x="68511" y="102758"/>
                  </a:lnTo>
                  <a:lnTo>
                    <a:pt x="68511" y="102758"/>
                  </a:lnTo>
                  <a:lnTo>
                    <a:pt x="68229" y="102758"/>
                  </a:lnTo>
                  <a:lnTo>
                    <a:pt x="68229" y="103793"/>
                  </a:lnTo>
                  <a:lnTo>
                    <a:pt x="67948" y="103793"/>
                  </a:lnTo>
                  <a:lnTo>
                    <a:pt x="67948" y="103793"/>
                  </a:lnTo>
                  <a:lnTo>
                    <a:pt x="67526" y="102758"/>
                  </a:lnTo>
                  <a:lnTo>
                    <a:pt x="67526" y="102758"/>
                  </a:lnTo>
                  <a:lnTo>
                    <a:pt x="66963" y="102068"/>
                  </a:lnTo>
                  <a:lnTo>
                    <a:pt x="66963" y="102068"/>
                  </a:lnTo>
                  <a:lnTo>
                    <a:pt x="66541" y="101379"/>
                  </a:lnTo>
                  <a:lnTo>
                    <a:pt x="66260" y="101379"/>
                  </a:lnTo>
                  <a:lnTo>
                    <a:pt x="65978" y="101379"/>
                  </a:lnTo>
                  <a:lnTo>
                    <a:pt x="65978" y="101379"/>
                  </a:lnTo>
                  <a:lnTo>
                    <a:pt x="65556" y="101379"/>
                  </a:lnTo>
                  <a:lnTo>
                    <a:pt x="65556" y="101379"/>
                  </a:lnTo>
                  <a:lnTo>
                    <a:pt x="65275" y="101379"/>
                  </a:lnTo>
                  <a:lnTo>
                    <a:pt x="65275" y="101379"/>
                  </a:lnTo>
                  <a:lnTo>
                    <a:pt x="64853" y="101379"/>
                  </a:lnTo>
                  <a:lnTo>
                    <a:pt x="64572" y="102068"/>
                  </a:lnTo>
                  <a:lnTo>
                    <a:pt x="63868" y="102068"/>
                  </a:lnTo>
                  <a:lnTo>
                    <a:pt x="63868" y="102068"/>
                  </a:lnTo>
                  <a:lnTo>
                    <a:pt x="63868" y="102068"/>
                  </a:lnTo>
                  <a:lnTo>
                    <a:pt x="63868" y="102758"/>
                  </a:lnTo>
                  <a:lnTo>
                    <a:pt x="63587" y="102758"/>
                  </a:lnTo>
                  <a:lnTo>
                    <a:pt x="63587" y="103793"/>
                  </a:lnTo>
                  <a:lnTo>
                    <a:pt x="63587" y="103793"/>
                  </a:lnTo>
                  <a:lnTo>
                    <a:pt x="63587" y="104482"/>
                  </a:lnTo>
                  <a:lnTo>
                    <a:pt x="63587" y="104482"/>
                  </a:lnTo>
                  <a:lnTo>
                    <a:pt x="63868" y="105172"/>
                  </a:lnTo>
                  <a:lnTo>
                    <a:pt x="63868" y="105172"/>
                  </a:lnTo>
                  <a:lnTo>
                    <a:pt x="64290" y="105172"/>
                  </a:lnTo>
                  <a:lnTo>
                    <a:pt x="64290" y="104482"/>
                  </a:lnTo>
                  <a:lnTo>
                    <a:pt x="64853" y="105172"/>
                  </a:lnTo>
                  <a:lnTo>
                    <a:pt x="65556" y="105172"/>
                  </a:lnTo>
                  <a:lnTo>
                    <a:pt x="66260" y="105172"/>
                  </a:lnTo>
                  <a:lnTo>
                    <a:pt x="66541" y="106206"/>
                  </a:lnTo>
                  <a:lnTo>
                    <a:pt x="66963" y="106206"/>
                  </a:lnTo>
                  <a:lnTo>
                    <a:pt x="66963" y="106206"/>
                  </a:lnTo>
                  <a:lnTo>
                    <a:pt x="66963" y="106206"/>
                  </a:lnTo>
                  <a:lnTo>
                    <a:pt x="67245" y="105172"/>
                  </a:lnTo>
                  <a:lnTo>
                    <a:pt x="67526" y="106206"/>
                  </a:lnTo>
                  <a:lnTo>
                    <a:pt x="67948" y="105172"/>
                  </a:lnTo>
                  <a:lnTo>
                    <a:pt x="67948" y="105172"/>
                  </a:lnTo>
                  <a:lnTo>
                    <a:pt x="68229" y="105172"/>
                  </a:lnTo>
                  <a:lnTo>
                    <a:pt x="68229" y="105172"/>
                  </a:lnTo>
                  <a:lnTo>
                    <a:pt x="68229" y="105172"/>
                  </a:lnTo>
                  <a:lnTo>
                    <a:pt x="68511" y="105172"/>
                  </a:lnTo>
                  <a:lnTo>
                    <a:pt x="68933" y="105172"/>
                  </a:lnTo>
                  <a:lnTo>
                    <a:pt x="69495" y="104482"/>
                  </a:lnTo>
                  <a:lnTo>
                    <a:pt x="69917" y="104482"/>
                  </a:lnTo>
                  <a:lnTo>
                    <a:pt x="70199" y="104482"/>
                  </a:lnTo>
                  <a:lnTo>
                    <a:pt x="70621" y="104482"/>
                  </a:lnTo>
                  <a:lnTo>
                    <a:pt x="70621" y="104482"/>
                  </a:lnTo>
                  <a:lnTo>
                    <a:pt x="70902" y="104482"/>
                  </a:lnTo>
                  <a:lnTo>
                    <a:pt x="70902" y="103793"/>
                  </a:lnTo>
                  <a:lnTo>
                    <a:pt x="71184" y="103793"/>
                  </a:lnTo>
                  <a:close/>
                  <a:moveTo>
                    <a:pt x="60914" y="104482"/>
                  </a:moveTo>
                  <a:lnTo>
                    <a:pt x="60914" y="104482"/>
                  </a:lnTo>
                  <a:lnTo>
                    <a:pt x="60914" y="104482"/>
                  </a:lnTo>
                  <a:lnTo>
                    <a:pt x="61336" y="104482"/>
                  </a:lnTo>
                  <a:lnTo>
                    <a:pt x="61336" y="104482"/>
                  </a:lnTo>
                  <a:lnTo>
                    <a:pt x="61336" y="104482"/>
                  </a:lnTo>
                  <a:lnTo>
                    <a:pt x="61617" y="104482"/>
                  </a:lnTo>
                  <a:lnTo>
                    <a:pt x="61617" y="104482"/>
                  </a:lnTo>
                  <a:lnTo>
                    <a:pt x="61617" y="104482"/>
                  </a:lnTo>
                  <a:lnTo>
                    <a:pt x="61899" y="103793"/>
                  </a:lnTo>
                  <a:lnTo>
                    <a:pt x="61899" y="103793"/>
                  </a:lnTo>
                  <a:lnTo>
                    <a:pt x="61617" y="103793"/>
                  </a:lnTo>
                  <a:lnTo>
                    <a:pt x="61617" y="102758"/>
                  </a:lnTo>
                  <a:lnTo>
                    <a:pt x="61617" y="102758"/>
                  </a:lnTo>
                  <a:lnTo>
                    <a:pt x="61617" y="101379"/>
                  </a:lnTo>
                  <a:lnTo>
                    <a:pt x="61336" y="101379"/>
                  </a:lnTo>
                  <a:lnTo>
                    <a:pt x="61336" y="101379"/>
                  </a:lnTo>
                  <a:lnTo>
                    <a:pt x="60914" y="101379"/>
                  </a:lnTo>
                  <a:lnTo>
                    <a:pt x="60914" y="101379"/>
                  </a:lnTo>
                  <a:lnTo>
                    <a:pt x="60914" y="102068"/>
                  </a:lnTo>
                  <a:lnTo>
                    <a:pt x="60633" y="102068"/>
                  </a:lnTo>
                  <a:lnTo>
                    <a:pt x="60633" y="101379"/>
                  </a:lnTo>
                  <a:lnTo>
                    <a:pt x="60633" y="101379"/>
                  </a:lnTo>
                  <a:lnTo>
                    <a:pt x="60211" y="101379"/>
                  </a:lnTo>
                  <a:lnTo>
                    <a:pt x="60211" y="101379"/>
                  </a:lnTo>
                  <a:lnTo>
                    <a:pt x="59929" y="101379"/>
                  </a:lnTo>
                  <a:lnTo>
                    <a:pt x="59929" y="102068"/>
                  </a:lnTo>
                  <a:lnTo>
                    <a:pt x="59648" y="102068"/>
                  </a:lnTo>
                  <a:lnTo>
                    <a:pt x="59648" y="101379"/>
                  </a:lnTo>
                  <a:lnTo>
                    <a:pt x="59648" y="101379"/>
                  </a:lnTo>
                  <a:lnTo>
                    <a:pt x="59226" y="100344"/>
                  </a:lnTo>
                  <a:lnTo>
                    <a:pt x="59226" y="100344"/>
                  </a:lnTo>
                  <a:lnTo>
                    <a:pt x="58944" y="99655"/>
                  </a:lnTo>
                  <a:lnTo>
                    <a:pt x="58663" y="99655"/>
                  </a:lnTo>
                  <a:lnTo>
                    <a:pt x="58241" y="100344"/>
                  </a:lnTo>
                  <a:lnTo>
                    <a:pt x="58241" y="100344"/>
                  </a:lnTo>
                  <a:lnTo>
                    <a:pt x="58241" y="101379"/>
                  </a:lnTo>
                  <a:lnTo>
                    <a:pt x="58663" y="102068"/>
                  </a:lnTo>
                  <a:lnTo>
                    <a:pt x="58944" y="102758"/>
                  </a:lnTo>
                  <a:lnTo>
                    <a:pt x="58944" y="102758"/>
                  </a:lnTo>
                  <a:lnTo>
                    <a:pt x="58944" y="102758"/>
                  </a:lnTo>
                  <a:lnTo>
                    <a:pt x="59226" y="102758"/>
                  </a:lnTo>
                  <a:lnTo>
                    <a:pt x="59226" y="102758"/>
                  </a:lnTo>
                  <a:lnTo>
                    <a:pt x="59648" y="103793"/>
                  </a:lnTo>
                  <a:lnTo>
                    <a:pt x="59226" y="103793"/>
                  </a:lnTo>
                  <a:lnTo>
                    <a:pt x="59226" y="103793"/>
                  </a:lnTo>
                  <a:lnTo>
                    <a:pt x="58944" y="104482"/>
                  </a:lnTo>
                  <a:lnTo>
                    <a:pt x="58663" y="104482"/>
                  </a:lnTo>
                  <a:lnTo>
                    <a:pt x="58241" y="104482"/>
                  </a:lnTo>
                  <a:lnTo>
                    <a:pt x="58241" y="103793"/>
                  </a:lnTo>
                  <a:lnTo>
                    <a:pt x="57960" y="102758"/>
                  </a:lnTo>
                  <a:lnTo>
                    <a:pt x="57960" y="102758"/>
                  </a:lnTo>
                  <a:lnTo>
                    <a:pt x="57960" y="102758"/>
                  </a:lnTo>
                  <a:lnTo>
                    <a:pt x="57960" y="102068"/>
                  </a:lnTo>
                  <a:lnTo>
                    <a:pt x="57678" y="102068"/>
                  </a:lnTo>
                  <a:lnTo>
                    <a:pt x="57256" y="102068"/>
                  </a:lnTo>
                  <a:lnTo>
                    <a:pt x="56975" y="102068"/>
                  </a:lnTo>
                  <a:lnTo>
                    <a:pt x="56694" y="102068"/>
                  </a:lnTo>
                  <a:lnTo>
                    <a:pt x="56694" y="102068"/>
                  </a:lnTo>
                  <a:lnTo>
                    <a:pt x="56271" y="102758"/>
                  </a:lnTo>
                  <a:lnTo>
                    <a:pt x="55990" y="102758"/>
                  </a:lnTo>
                  <a:lnTo>
                    <a:pt x="55990" y="102758"/>
                  </a:lnTo>
                  <a:lnTo>
                    <a:pt x="55568" y="103793"/>
                  </a:lnTo>
                  <a:lnTo>
                    <a:pt x="55568" y="103793"/>
                  </a:lnTo>
                  <a:lnTo>
                    <a:pt x="55568" y="105172"/>
                  </a:lnTo>
                  <a:lnTo>
                    <a:pt x="55568" y="105172"/>
                  </a:lnTo>
                  <a:lnTo>
                    <a:pt x="55568" y="106206"/>
                  </a:lnTo>
                  <a:lnTo>
                    <a:pt x="55568" y="106206"/>
                  </a:lnTo>
                  <a:lnTo>
                    <a:pt x="55990" y="106896"/>
                  </a:lnTo>
                  <a:lnTo>
                    <a:pt x="55990" y="106896"/>
                  </a:lnTo>
                  <a:lnTo>
                    <a:pt x="56271" y="106896"/>
                  </a:lnTo>
                  <a:lnTo>
                    <a:pt x="56694" y="106896"/>
                  </a:lnTo>
                  <a:lnTo>
                    <a:pt x="56694" y="106896"/>
                  </a:lnTo>
                  <a:lnTo>
                    <a:pt x="56975" y="106896"/>
                  </a:lnTo>
                  <a:lnTo>
                    <a:pt x="56975" y="106896"/>
                  </a:lnTo>
                  <a:lnTo>
                    <a:pt x="57256" y="106896"/>
                  </a:lnTo>
                  <a:lnTo>
                    <a:pt x="57678" y="106206"/>
                  </a:lnTo>
                  <a:lnTo>
                    <a:pt x="58241" y="106206"/>
                  </a:lnTo>
                  <a:lnTo>
                    <a:pt x="58241" y="106206"/>
                  </a:lnTo>
                  <a:lnTo>
                    <a:pt x="58663" y="106206"/>
                  </a:lnTo>
                  <a:lnTo>
                    <a:pt x="58944" y="105172"/>
                  </a:lnTo>
                  <a:lnTo>
                    <a:pt x="59226" y="105172"/>
                  </a:lnTo>
                  <a:lnTo>
                    <a:pt x="59226" y="105172"/>
                  </a:lnTo>
                  <a:lnTo>
                    <a:pt x="59648" y="105172"/>
                  </a:lnTo>
                  <a:lnTo>
                    <a:pt x="59929" y="103793"/>
                  </a:lnTo>
                  <a:lnTo>
                    <a:pt x="59929" y="104482"/>
                  </a:lnTo>
                  <a:lnTo>
                    <a:pt x="59929" y="105172"/>
                  </a:lnTo>
                  <a:lnTo>
                    <a:pt x="59929" y="105172"/>
                  </a:lnTo>
                  <a:lnTo>
                    <a:pt x="59929" y="105172"/>
                  </a:lnTo>
                  <a:lnTo>
                    <a:pt x="60633" y="105172"/>
                  </a:lnTo>
                  <a:lnTo>
                    <a:pt x="60633" y="105172"/>
                  </a:lnTo>
                  <a:lnTo>
                    <a:pt x="60914" y="105172"/>
                  </a:lnTo>
                  <a:lnTo>
                    <a:pt x="60914" y="105172"/>
                  </a:lnTo>
                  <a:lnTo>
                    <a:pt x="60914" y="105172"/>
                  </a:lnTo>
                  <a:lnTo>
                    <a:pt x="60914" y="105172"/>
                  </a:lnTo>
                  <a:lnTo>
                    <a:pt x="60914" y="104482"/>
                  </a:lnTo>
                  <a:close/>
                  <a:moveTo>
                    <a:pt x="52614" y="100344"/>
                  </a:moveTo>
                  <a:lnTo>
                    <a:pt x="52332" y="100344"/>
                  </a:lnTo>
                  <a:lnTo>
                    <a:pt x="52051" y="99655"/>
                  </a:lnTo>
                  <a:lnTo>
                    <a:pt x="51629" y="99655"/>
                  </a:lnTo>
                  <a:lnTo>
                    <a:pt x="51629" y="99655"/>
                  </a:lnTo>
                  <a:lnTo>
                    <a:pt x="51348" y="100344"/>
                  </a:lnTo>
                  <a:lnTo>
                    <a:pt x="50926" y="100344"/>
                  </a:lnTo>
                  <a:lnTo>
                    <a:pt x="50644" y="100344"/>
                  </a:lnTo>
                  <a:lnTo>
                    <a:pt x="50363" y="100344"/>
                  </a:lnTo>
                  <a:lnTo>
                    <a:pt x="49941" y="99655"/>
                  </a:lnTo>
                  <a:lnTo>
                    <a:pt x="49660" y="100344"/>
                  </a:lnTo>
                  <a:lnTo>
                    <a:pt x="49660" y="100344"/>
                  </a:lnTo>
                  <a:lnTo>
                    <a:pt x="49660" y="100344"/>
                  </a:lnTo>
                  <a:lnTo>
                    <a:pt x="49941" y="101379"/>
                  </a:lnTo>
                  <a:lnTo>
                    <a:pt x="49941" y="102068"/>
                  </a:lnTo>
                  <a:lnTo>
                    <a:pt x="49941" y="102068"/>
                  </a:lnTo>
                  <a:lnTo>
                    <a:pt x="50363" y="102068"/>
                  </a:lnTo>
                  <a:lnTo>
                    <a:pt x="50644" y="102068"/>
                  </a:lnTo>
                  <a:lnTo>
                    <a:pt x="50926" y="102758"/>
                  </a:lnTo>
                  <a:lnTo>
                    <a:pt x="51348" y="103793"/>
                  </a:lnTo>
                  <a:lnTo>
                    <a:pt x="51348" y="103793"/>
                  </a:lnTo>
                  <a:lnTo>
                    <a:pt x="51348" y="104482"/>
                  </a:lnTo>
                  <a:lnTo>
                    <a:pt x="51348" y="104482"/>
                  </a:lnTo>
                  <a:lnTo>
                    <a:pt x="51348" y="105172"/>
                  </a:lnTo>
                  <a:lnTo>
                    <a:pt x="51348" y="105172"/>
                  </a:lnTo>
                  <a:lnTo>
                    <a:pt x="51629" y="105172"/>
                  </a:lnTo>
                  <a:lnTo>
                    <a:pt x="51629" y="105172"/>
                  </a:lnTo>
                  <a:lnTo>
                    <a:pt x="51629" y="105172"/>
                  </a:lnTo>
                  <a:lnTo>
                    <a:pt x="51629" y="104482"/>
                  </a:lnTo>
                  <a:lnTo>
                    <a:pt x="52051" y="103793"/>
                  </a:lnTo>
                  <a:lnTo>
                    <a:pt x="52051" y="103793"/>
                  </a:lnTo>
                  <a:lnTo>
                    <a:pt x="52614" y="102758"/>
                  </a:lnTo>
                  <a:lnTo>
                    <a:pt x="53036" y="102068"/>
                  </a:lnTo>
                  <a:lnTo>
                    <a:pt x="53036" y="102068"/>
                  </a:lnTo>
                  <a:lnTo>
                    <a:pt x="53036" y="102068"/>
                  </a:lnTo>
                  <a:lnTo>
                    <a:pt x="52614" y="100344"/>
                  </a:lnTo>
                  <a:close/>
                  <a:moveTo>
                    <a:pt x="81875" y="96206"/>
                  </a:moveTo>
                  <a:lnTo>
                    <a:pt x="81453" y="96206"/>
                  </a:lnTo>
                  <a:lnTo>
                    <a:pt x="81172" y="96206"/>
                  </a:lnTo>
                  <a:lnTo>
                    <a:pt x="80890" y="97241"/>
                  </a:lnTo>
                  <a:lnTo>
                    <a:pt x="80468" y="97241"/>
                  </a:lnTo>
                  <a:lnTo>
                    <a:pt x="80187" y="97241"/>
                  </a:lnTo>
                  <a:lnTo>
                    <a:pt x="79906" y="96206"/>
                  </a:lnTo>
                  <a:lnTo>
                    <a:pt x="79484" y="97931"/>
                  </a:lnTo>
                  <a:lnTo>
                    <a:pt x="79484" y="97931"/>
                  </a:lnTo>
                  <a:lnTo>
                    <a:pt x="79484" y="98965"/>
                  </a:lnTo>
                  <a:lnTo>
                    <a:pt x="79484" y="98965"/>
                  </a:lnTo>
                  <a:lnTo>
                    <a:pt x="79906" y="98965"/>
                  </a:lnTo>
                  <a:lnTo>
                    <a:pt x="80187" y="97931"/>
                  </a:lnTo>
                  <a:lnTo>
                    <a:pt x="80187" y="97931"/>
                  </a:lnTo>
                  <a:lnTo>
                    <a:pt x="80468" y="98965"/>
                  </a:lnTo>
                  <a:lnTo>
                    <a:pt x="80890" y="98965"/>
                  </a:lnTo>
                  <a:lnTo>
                    <a:pt x="81172" y="98965"/>
                  </a:lnTo>
                  <a:lnTo>
                    <a:pt x="81172" y="97931"/>
                  </a:lnTo>
                  <a:lnTo>
                    <a:pt x="81453" y="97931"/>
                  </a:lnTo>
                  <a:lnTo>
                    <a:pt x="81875" y="97241"/>
                  </a:lnTo>
                  <a:lnTo>
                    <a:pt x="82157" y="97241"/>
                  </a:lnTo>
                  <a:lnTo>
                    <a:pt x="82157" y="97241"/>
                  </a:lnTo>
                  <a:lnTo>
                    <a:pt x="82157" y="96206"/>
                  </a:lnTo>
                  <a:lnTo>
                    <a:pt x="81875" y="96206"/>
                  </a:lnTo>
                  <a:close/>
                  <a:moveTo>
                    <a:pt x="113388" y="99655"/>
                  </a:moveTo>
                  <a:lnTo>
                    <a:pt x="113669" y="97931"/>
                  </a:lnTo>
                  <a:lnTo>
                    <a:pt x="113669" y="97241"/>
                  </a:lnTo>
                  <a:lnTo>
                    <a:pt x="113669" y="96206"/>
                  </a:lnTo>
                  <a:lnTo>
                    <a:pt x="113669" y="95517"/>
                  </a:lnTo>
                  <a:lnTo>
                    <a:pt x="113388" y="94827"/>
                  </a:lnTo>
                  <a:lnTo>
                    <a:pt x="113388" y="94827"/>
                  </a:lnTo>
                  <a:lnTo>
                    <a:pt x="112684" y="94827"/>
                  </a:lnTo>
                  <a:lnTo>
                    <a:pt x="111981" y="94827"/>
                  </a:lnTo>
                  <a:lnTo>
                    <a:pt x="111699" y="95517"/>
                  </a:lnTo>
                  <a:lnTo>
                    <a:pt x="111277" y="96206"/>
                  </a:lnTo>
                  <a:lnTo>
                    <a:pt x="111277" y="96206"/>
                  </a:lnTo>
                  <a:lnTo>
                    <a:pt x="110715" y="98965"/>
                  </a:lnTo>
                  <a:lnTo>
                    <a:pt x="110293" y="101379"/>
                  </a:lnTo>
                  <a:lnTo>
                    <a:pt x="110011" y="102068"/>
                  </a:lnTo>
                  <a:lnTo>
                    <a:pt x="110293" y="102068"/>
                  </a:lnTo>
                  <a:lnTo>
                    <a:pt x="110715" y="102068"/>
                  </a:lnTo>
                  <a:lnTo>
                    <a:pt x="110996" y="102068"/>
                  </a:lnTo>
                  <a:lnTo>
                    <a:pt x="111981" y="102068"/>
                  </a:lnTo>
                  <a:lnTo>
                    <a:pt x="112684" y="101379"/>
                  </a:lnTo>
                  <a:lnTo>
                    <a:pt x="112684" y="100344"/>
                  </a:lnTo>
                  <a:lnTo>
                    <a:pt x="113388" y="99655"/>
                  </a:lnTo>
                  <a:close/>
                  <a:moveTo>
                    <a:pt x="94818" y="93103"/>
                  </a:moveTo>
                  <a:lnTo>
                    <a:pt x="94818" y="93103"/>
                  </a:lnTo>
                  <a:lnTo>
                    <a:pt x="94396" y="93103"/>
                  </a:lnTo>
                  <a:lnTo>
                    <a:pt x="94396" y="93103"/>
                  </a:lnTo>
                  <a:lnTo>
                    <a:pt x="94396" y="93103"/>
                  </a:lnTo>
                  <a:lnTo>
                    <a:pt x="94396" y="93793"/>
                  </a:lnTo>
                  <a:lnTo>
                    <a:pt x="94114" y="93793"/>
                  </a:lnTo>
                  <a:lnTo>
                    <a:pt x="94114" y="94827"/>
                  </a:lnTo>
                  <a:lnTo>
                    <a:pt x="94114" y="94827"/>
                  </a:lnTo>
                  <a:lnTo>
                    <a:pt x="93833" y="94827"/>
                  </a:lnTo>
                  <a:lnTo>
                    <a:pt x="93833" y="95517"/>
                  </a:lnTo>
                  <a:lnTo>
                    <a:pt x="93411" y="96206"/>
                  </a:lnTo>
                  <a:lnTo>
                    <a:pt x="93411" y="97241"/>
                  </a:lnTo>
                  <a:lnTo>
                    <a:pt x="93411" y="97241"/>
                  </a:lnTo>
                  <a:lnTo>
                    <a:pt x="93411" y="97931"/>
                  </a:lnTo>
                  <a:lnTo>
                    <a:pt x="93130" y="97931"/>
                  </a:lnTo>
                  <a:lnTo>
                    <a:pt x="93130" y="98965"/>
                  </a:lnTo>
                  <a:lnTo>
                    <a:pt x="93130" y="98965"/>
                  </a:lnTo>
                  <a:lnTo>
                    <a:pt x="93411" y="98965"/>
                  </a:lnTo>
                  <a:lnTo>
                    <a:pt x="93833" y="99655"/>
                  </a:lnTo>
                  <a:lnTo>
                    <a:pt x="93833" y="98965"/>
                  </a:lnTo>
                  <a:lnTo>
                    <a:pt x="93833" y="98965"/>
                  </a:lnTo>
                  <a:lnTo>
                    <a:pt x="93833" y="98965"/>
                  </a:lnTo>
                  <a:lnTo>
                    <a:pt x="93833" y="97931"/>
                  </a:lnTo>
                  <a:lnTo>
                    <a:pt x="94114" y="97241"/>
                  </a:lnTo>
                  <a:lnTo>
                    <a:pt x="94396" y="97241"/>
                  </a:lnTo>
                  <a:lnTo>
                    <a:pt x="94396" y="97241"/>
                  </a:lnTo>
                  <a:lnTo>
                    <a:pt x="94818" y="96206"/>
                  </a:lnTo>
                  <a:lnTo>
                    <a:pt x="94818" y="94827"/>
                  </a:lnTo>
                  <a:lnTo>
                    <a:pt x="94818" y="93793"/>
                  </a:lnTo>
                  <a:lnTo>
                    <a:pt x="95099" y="93103"/>
                  </a:lnTo>
                  <a:lnTo>
                    <a:pt x="94818" y="93103"/>
                  </a:lnTo>
                  <a:close/>
                  <a:moveTo>
                    <a:pt x="95099" y="93103"/>
                  </a:moveTo>
                  <a:lnTo>
                    <a:pt x="95099" y="93103"/>
                  </a:lnTo>
                  <a:lnTo>
                    <a:pt x="95099" y="93103"/>
                  </a:lnTo>
                  <a:lnTo>
                    <a:pt x="95381" y="93103"/>
                  </a:lnTo>
                  <a:lnTo>
                    <a:pt x="95381" y="93793"/>
                  </a:lnTo>
                  <a:lnTo>
                    <a:pt x="95803" y="93793"/>
                  </a:lnTo>
                  <a:lnTo>
                    <a:pt x="95803" y="93103"/>
                  </a:lnTo>
                  <a:lnTo>
                    <a:pt x="95381" y="92413"/>
                  </a:lnTo>
                  <a:lnTo>
                    <a:pt x="95099" y="93103"/>
                  </a:lnTo>
                  <a:close/>
                  <a:moveTo>
                    <a:pt x="46283" y="93103"/>
                  </a:moveTo>
                  <a:lnTo>
                    <a:pt x="46283" y="93793"/>
                  </a:lnTo>
                  <a:lnTo>
                    <a:pt x="46283" y="93103"/>
                  </a:lnTo>
                  <a:lnTo>
                    <a:pt x="46705" y="93103"/>
                  </a:lnTo>
                  <a:lnTo>
                    <a:pt x="46705" y="93103"/>
                  </a:lnTo>
                  <a:lnTo>
                    <a:pt x="47409" y="93103"/>
                  </a:lnTo>
                  <a:lnTo>
                    <a:pt x="47690" y="93103"/>
                  </a:lnTo>
                  <a:lnTo>
                    <a:pt x="47971" y="93103"/>
                  </a:lnTo>
                  <a:lnTo>
                    <a:pt x="48393" y="93103"/>
                  </a:lnTo>
                  <a:lnTo>
                    <a:pt x="48393" y="92413"/>
                  </a:lnTo>
                  <a:lnTo>
                    <a:pt x="48393" y="92413"/>
                  </a:lnTo>
                  <a:lnTo>
                    <a:pt x="48956" y="91379"/>
                  </a:lnTo>
                  <a:lnTo>
                    <a:pt x="48956" y="91379"/>
                  </a:lnTo>
                  <a:lnTo>
                    <a:pt x="48675" y="90689"/>
                  </a:lnTo>
                  <a:lnTo>
                    <a:pt x="46283" y="90689"/>
                  </a:lnTo>
                  <a:lnTo>
                    <a:pt x="45720" y="91379"/>
                  </a:lnTo>
                  <a:lnTo>
                    <a:pt x="45720" y="92413"/>
                  </a:lnTo>
                  <a:lnTo>
                    <a:pt x="45298" y="92413"/>
                  </a:lnTo>
                  <a:lnTo>
                    <a:pt x="45298" y="93103"/>
                  </a:lnTo>
                  <a:lnTo>
                    <a:pt x="46283" y="93103"/>
                  </a:lnTo>
                  <a:close/>
                  <a:moveTo>
                    <a:pt x="52332" y="90689"/>
                  </a:moveTo>
                  <a:lnTo>
                    <a:pt x="52332" y="90689"/>
                  </a:lnTo>
                  <a:lnTo>
                    <a:pt x="52051" y="90689"/>
                  </a:lnTo>
                  <a:lnTo>
                    <a:pt x="52051" y="91379"/>
                  </a:lnTo>
                  <a:lnTo>
                    <a:pt x="52051" y="91379"/>
                  </a:lnTo>
                  <a:lnTo>
                    <a:pt x="52051" y="91379"/>
                  </a:lnTo>
                  <a:lnTo>
                    <a:pt x="52332" y="91379"/>
                  </a:lnTo>
                  <a:lnTo>
                    <a:pt x="52614" y="91379"/>
                  </a:lnTo>
                  <a:lnTo>
                    <a:pt x="52614" y="91379"/>
                  </a:lnTo>
                  <a:lnTo>
                    <a:pt x="52614" y="91379"/>
                  </a:lnTo>
                  <a:lnTo>
                    <a:pt x="52614" y="90689"/>
                  </a:lnTo>
                  <a:lnTo>
                    <a:pt x="52332" y="90689"/>
                  </a:lnTo>
                  <a:close/>
                  <a:moveTo>
                    <a:pt x="26166" y="88965"/>
                  </a:moveTo>
                  <a:lnTo>
                    <a:pt x="26166" y="88275"/>
                  </a:lnTo>
                  <a:lnTo>
                    <a:pt x="25744" y="88275"/>
                  </a:lnTo>
                  <a:lnTo>
                    <a:pt x="25744" y="88275"/>
                  </a:lnTo>
                  <a:lnTo>
                    <a:pt x="25744" y="88965"/>
                  </a:lnTo>
                  <a:lnTo>
                    <a:pt x="25744" y="88965"/>
                  </a:lnTo>
                  <a:lnTo>
                    <a:pt x="25744" y="90000"/>
                  </a:lnTo>
                  <a:lnTo>
                    <a:pt x="26166" y="88965"/>
                  </a:lnTo>
                  <a:lnTo>
                    <a:pt x="26166" y="88965"/>
                  </a:lnTo>
                  <a:close/>
                  <a:moveTo>
                    <a:pt x="101992" y="86551"/>
                  </a:moveTo>
                  <a:lnTo>
                    <a:pt x="101711" y="86551"/>
                  </a:lnTo>
                  <a:lnTo>
                    <a:pt x="101430" y="85862"/>
                  </a:lnTo>
                  <a:lnTo>
                    <a:pt x="101430" y="85862"/>
                  </a:lnTo>
                  <a:lnTo>
                    <a:pt x="101430" y="86551"/>
                  </a:lnTo>
                  <a:lnTo>
                    <a:pt x="101430" y="87241"/>
                  </a:lnTo>
                  <a:lnTo>
                    <a:pt x="101430" y="88275"/>
                  </a:lnTo>
                  <a:lnTo>
                    <a:pt x="101430" y="88275"/>
                  </a:lnTo>
                  <a:lnTo>
                    <a:pt x="101430" y="88275"/>
                  </a:lnTo>
                  <a:lnTo>
                    <a:pt x="101430" y="88275"/>
                  </a:lnTo>
                  <a:lnTo>
                    <a:pt x="101008" y="90000"/>
                  </a:lnTo>
                  <a:lnTo>
                    <a:pt x="101008" y="90689"/>
                  </a:lnTo>
                  <a:lnTo>
                    <a:pt x="101430" y="91379"/>
                  </a:lnTo>
                  <a:lnTo>
                    <a:pt x="101711" y="90689"/>
                  </a:lnTo>
                  <a:lnTo>
                    <a:pt x="101992" y="90689"/>
                  </a:lnTo>
                  <a:lnTo>
                    <a:pt x="101992" y="90000"/>
                  </a:lnTo>
                  <a:lnTo>
                    <a:pt x="102415" y="88965"/>
                  </a:lnTo>
                  <a:lnTo>
                    <a:pt x="102415" y="88275"/>
                  </a:lnTo>
                  <a:lnTo>
                    <a:pt x="102415" y="88275"/>
                  </a:lnTo>
                  <a:lnTo>
                    <a:pt x="101992" y="87241"/>
                  </a:lnTo>
                  <a:lnTo>
                    <a:pt x="101992" y="86551"/>
                  </a:lnTo>
                  <a:close/>
                  <a:moveTo>
                    <a:pt x="49660" y="103793"/>
                  </a:moveTo>
                  <a:lnTo>
                    <a:pt x="49660" y="102758"/>
                  </a:lnTo>
                  <a:lnTo>
                    <a:pt x="49660" y="102068"/>
                  </a:lnTo>
                  <a:lnTo>
                    <a:pt x="49660" y="101379"/>
                  </a:lnTo>
                  <a:lnTo>
                    <a:pt x="49660" y="101379"/>
                  </a:lnTo>
                  <a:lnTo>
                    <a:pt x="49660" y="98965"/>
                  </a:lnTo>
                  <a:lnTo>
                    <a:pt x="49660" y="98965"/>
                  </a:lnTo>
                  <a:lnTo>
                    <a:pt x="49660" y="97931"/>
                  </a:lnTo>
                  <a:lnTo>
                    <a:pt x="49660" y="97241"/>
                  </a:lnTo>
                  <a:lnTo>
                    <a:pt x="48956" y="96206"/>
                  </a:lnTo>
                  <a:lnTo>
                    <a:pt x="48675" y="96206"/>
                  </a:lnTo>
                  <a:lnTo>
                    <a:pt x="48393" y="97241"/>
                  </a:lnTo>
                  <a:lnTo>
                    <a:pt x="47971" y="97241"/>
                  </a:lnTo>
                  <a:lnTo>
                    <a:pt x="47409" y="97241"/>
                  </a:lnTo>
                  <a:lnTo>
                    <a:pt x="46705" y="97241"/>
                  </a:lnTo>
                  <a:lnTo>
                    <a:pt x="46002" y="96206"/>
                  </a:lnTo>
                  <a:lnTo>
                    <a:pt x="45720" y="95517"/>
                  </a:lnTo>
                  <a:lnTo>
                    <a:pt x="45298" y="94827"/>
                  </a:lnTo>
                  <a:lnTo>
                    <a:pt x="45720" y="93793"/>
                  </a:lnTo>
                  <a:lnTo>
                    <a:pt x="45298" y="93793"/>
                  </a:lnTo>
                  <a:lnTo>
                    <a:pt x="45298" y="93793"/>
                  </a:lnTo>
                  <a:lnTo>
                    <a:pt x="45017" y="93103"/>
                  </a:lnTo>
                  <a:lnTo>
                    <a:pt x="45017" y="92413"/>
                  </a:lnTo>
                  <a:lnTo>
                    <a:pt x="45017" y="91379"/>
                  </a:lnTo>
                  <a:lnTo>
                    <a:pt x="44736" y="91379"/>
                  </a:lnTo>
                  <a:lnTo>
                    <a:pt x="44314" y="91379"/>
                  </a:lnTo>
                  <a:lnTo>
                    <a:pt x="44032" y="91379"/>
                  </a:lnTo>
                  <a:lnTo>
                    <a:pt x="43751" y="91379"/>
                  </a:lnTo>
                  <a:lnTo>
                    <a:pt x="43751" y="90689"/>
                  </a:lnTo>
                  <a:lnTo>
                    <a:pt x="43048" y="90689"/>
                  </a:lnTo>
                  <a:lnTo>
                    <a:pt x="42766" y="90000"/>
                  </a:lnTo>
                  <a:lnTo>
                    <a:pt x="42766" y="90000"/>
                  </a:lnTo>
                  <a:lnTo>
                    <a:pt x="42344" y="88965"/>
                  </a:lnTo>
                  <a:lnTo>
                    <a:pt x="42344" y="88965"/>
                  </a:lnTo>
                  <a:lnTo>
                    <a:pt x="42063" y="90000"/>
                  </a:lnTo>
                  <a:lnTo>
                    <a:pt x="41641" y="90000"/>
                  </a:lnTo>
                  <a:lnTo>
                    <a:pt x="41359" y="90000"/>
                  </a:lnTo>
                  <a:lnTo>
                    <a:pt x="41359" y="90000"/>
                  </a:lnTo>
                  <a:lnTo>
                    <a:pt x="41078" y="88275"/>
                  </a:lnTo>
                  <a:lnTo>
                    <a:pt x="41078" y="87241"/>
                  </a:lnTo>
                  <a:lnTo>
                    <a:pt x="40656" y="87241"/>
                  </a:lnTo>
                  <a:lnTo>
                    <a:pt x="40375" y="88275"/>
                  </a:lnTo>
                  <a:lnTo>
                    <a:pt x="40375" y="88275"/>
                  </a:lnTo>
                  <a:lnTo>
                    <a:pt x="40375" y="88275"/>
                  </a:lnTo>
                  <a:lnTo>
                    <a:pt x="40093" y="88965"/>
                  </a:lnTo>
                  <a:lnTo>
                    <a:pt x="40093" y="90000"/>
                  </a:lnTo>
                  <a:lnTo>
                    <a:pt x="39671" y="90689"/>
                  </a:lnTo>
                  <a:lnTo>
                    <a:pt x="39671" y="91379"/>
                  </a:lnTo>
                  <a:lnTo>
                    <a:pt x="39390" y="91379"/>
                  </a:lnTo>
                  <a:lnTo>
                    <a:pt x="39390" y="91379"/>
                  </a:lnTo>
                  <a:lnTo>
                    <a:pt x="39109" y="91379"/>
                  </a:lnTo>
                  <a:lnTo>
                    <a:pt x="39109" y="91379"/>
                  </a:lnTo>
                  <a:lnTo>
                    <a:pt x="38686" y="91379"/>
                  </a:lnTo>
                  <a:lnTo>
                    <a:pt x="38405" y="91379"/>
                  </a:lnTo>
                  <a:lnTo>
                    <a:pt x="38124" y="91379"/>
                  </a:lnTo>
                  <a:lnTo>
                    <a:pt x="37702" y="91379"/>
                  </a:lnTo>
                  <a:lnTo>
                    <a:pt x="37420" y="90689"/>
                  </a:lnTo>
                  <a:lnTo>
                    <a:pt x="36998" y="90689"/>
                  </a:lnTo>
                  <a:lnTo>
                    <a:pt x="36717" y="90689"/>
                  </a:lnTo>
                  <a:lnTo>
                    <a:pt x="36436" y="90689"/>
                  </a:lnTo>
                  <a:lnTo>
                    <a:pt x="35732" y="90689"/>
                  </a:lnTo>
                  <a:lnTo>
                    <a:pt x="35451" y="90689"/>
                  </a:lnTo>
                  <a:lnTo>
                    <a:pt x="35029" y="90689"/>
                  </a:lnTo>
                  <a:lnTo>
                    <a:pt x="34747" y="90689"/>
                  </a:lnTo>
                  <a:lnTo>
                    <a:pt x="34747" y="90000"/>
                  </a:lnTo>
                  <a:lnTo>
                    <a:pt x="34747" y="88275"/>
                  </a:lnTo>
                  <a:lnTo>
                    <a:pt x="34466" y="88275"/>
                  </a:lnTo>
                  <a:lnTo>
                    <a:pt x="34466" y="87241"/>
                  </a:lnTo>
                  <a:lnTo>
                    <a:pt x="34044" y="86551"/>
                  </a:lnTo>
                  <a:lnTo>
                    <a:pt x="34044" y="86551"/>
                  </a:lnTo>
                  <a:lnTo>
                    <a:pt x="33763" y="86551"/>
                  </a:lnTo>
                  <a:lnTo>
                    <a:pt x="33763" y="86551"/>
                  </a:lnTo>
                  <a:lnTo>
                    <a:pt x="33481" y="86551"/>
                  </a:lnTo>
                  <a:lnTo>
                    <a:pt x="33059" y="86551"/>
                  </a:lnTo>
                  <a:lnTo>
                    <a:pt x="32778" y="86551"/>
                  </a:lnTo>
                  <a:lnTo>
                    <a:pt x="32778" y="86551"/>
                  </a:lnTo>
                  <a:lnTo>
                    <a:pt x="32497" y="86551"/>
                  </a:lnTo>
                  <a:lnTo>
                    <a:pt x="32075" y="85862"/>
                  </a:lnTo>
                  <a:lnTo>
                    <a:pt x="31793" y="85862"/>
                  </a:lnTo>
                  <a:lnTo>
                    <a:pt x="31793" y="84827"/>
                  </a:lnTo>
                  <a:lnTo>
                    <a:pt x="31371" y="84137"/>
                  </a:lnTo>
                  <a:lnTo>
                    <a:pt x="31090" y="84137"/>
                  </a:lnTo>
                  <a:lnTo>
                    <a:pt x="30808" y="84137"/>
                  </a:lnTo>
                  <a:lnTo>
                    <a:pt x="30808" y="84827"/>
                  </a:lnTo>
                  <a:lnTo>
                    <a:pt x="30386" y="84827"/>
                  </a:lnTo>
                  <a:lnTo>
                    <a:pt x="30386" y="84827"/>
                  </a:lnTo>
                  <a:lnTo>
                    <a:pt x="30105" y="84827"/>
                  </a:lnTo>
                  <a:lnTo>
                    <a:pt x="29824" y="84827"/>
                  </a:lnTo>
                  <a:lnTo>
                    <a:pt x="29402" y="84827"/>
                  </a:lnTo>
                  <a:lnTo>
                    <a:pt x="29120" y="84827"/>
                  </a:lnTo>
                  <a:lnTo>
                    <a:pt x="28839" y="84137"/>
                  </a:lnTo>
                  <a:lnTo>
                    <a:pt x="28417" y="84137"/>
                  </a:lnTo>
                  <a:lnTo>
                    <a:pt x="28135" y="84137"/>
                  </a:lnTo>
                  <a:lnTo>
                    <a:pt x="28135" y="84137"/>
                  </a:lnTo>
                  <a:lnTo>
                    <a:pt x="27854" y="84827"/>
                  </a:lnTo>
                  <a:lnTo>
                    <a:pt x="27854" y="85862"/>
                  </a:lnTo>
                  <a:lnTo>
                    <a:pt x="27432" y="88275"/>
                  </a:lnTo>
                  <a:lnTo>
                    <a:pt x="27432" y="88275"/>
                  </a:lnTo>
                  <a:lnTo>
                    <a:pt x="27151" y="88275"/>
                  </a:lnTo>
                  <a:lnTo>
                    <a:pt x="27151" y="88275"/>
                  </a:lnTo>
                  <a:lnTo>
                    <a:pt x="26729" y="88965"/>
                  </a:lnTo>
                  <a:lnTo>
                    <a:pt x="26729" y="90000"/>
                  </a:lnTo>
                  <a:lnTo>
                    <a:pt x="26447" y="90689"/>
                  </a:lnTo>
                  <a:lnTo>
                    <a:pt x="26447" y="90689"/>
                  </a:lnTo>
                  <a:lnTo>
                    <a:pt x="26447" y="90000"/>
                  </a:lnTo>
                  <a:lnTo>
                    <a:pt x="26447" y="90000"/>
                  </a:lnTo>
                  <a:lnTo>
                    <a:pt x="26447" y="90000"/>
                  </a:lnTo>
                  <a:lnTo>
                    <a:pt x="26166" y="90000"/>
                  </a:lnTo>
                  <a:lnTo>
                    <a:pt x="26166" y="90000"/>
                  </a:lnTo>
                  <a:lnTo>
                    <a:pt x="25744" y="90689"/>
                  </a:lnTo>
                  <a:lnTo>
                    <a:pt x="26166" y="90689"/>
                  </a:lnTo>
                  <a:lnTo>
                    <a:pt x="26166" y="90689"/>
                  </a:lnTo>
                  <a:lnTo>
                    <a:pt x="26166" y="90689"/>
                  </a:lnTo>
                  <a:lnTo>
                    <a:pt x="26447" y="90689"/>
                  </a:lnTo>
                  <a:lnTo>
                    <a:pt x="26447" y="90689"/>
                  </a:lnTo>
                  <a:lnTo>
                    <a:pt x="26729" y="90689"/>
                  </a:lnTo>
                  <a:lnTo>
                    <a:pt x="27151" y="90689"/>
                  </a:lnTo>
                  <a:lnTo>
                    <a:pt x="27432" y="90689"/>
                  </a:lnTo>
                  <a:lnTo>
                    <a:pt x="27854" y="90689"/>
                  </a:lnTo>
                  <a:lnTo>
                    <a:pt x="28417" y="91379"/>
                  </a:lnTo>
                  <a:lnTo>
                    <a:pt x="29120" y="92413"/>
                  </a:lnTo>
                  <a:lnTo>
                    <a:pt x="29120" y="93103"/>
                  </a:lnTo>
                  <a:lnTo>
                    <a:pt x="29120" y="93103"/>
                  </a:lnTo>
                  <a:lnTo>
                    <a:pt x="28839" y="93793"/>
                  </a:lnTo>
                  <a:lnTo>
                    <a:pt x="28839" y="93793"/>
                  </a:lnTo>
                  <a:lnTo>
                    <a:pt x="29120" y="94827"/>
                  </a:lnTo>
                  <a:lnTo>
                    <a:pt x="29120" y="94827"/>
                  </a:lnTo>
                  <a:lnTo>
                    <a:pt x="29402" y="94827"/>
                  </a:lnTo>
                  <a:lnTo>
                    <a:pt x="30808" y="95517"/>
                  </a:lnTo>
                  <a:lnTo>
                    <a:pt x="31090" y="95517"/>
                  </a:lnTo>
                  <a:lnTo>
                    <a:pt x="31793" y="95517"/>
                  </a:lnTo>
                  <a:lnTo>
                    <a:pt x="32075" y="96206"/>
                  </a:lnTo>
                  <a:lnTo>
                    <a:pt x="32075" y="96206"/>
                  </a:lnTo>
                  <a:lnTo>
                    <a:pt x="32497" y="97241"/>
                  </a:lnTo>
                  <a:lnTo>
                    <a:pt x="32778" y="97241"/>
                  </a:lnTo>
                  <a:lnTo>
                    <a:pt x="33481" y="97931"/>
                  </a:lnTo>
                  <a:lnTo>
                    <a:pt x="33763" y="97931"/>
                  </a:lnTo>
                  <a:lnTo>
                    <a:pt x="34044" y="97931"/>
                  </a:lnTo>
                  <a:lnTo>
                    <a:pt x="34466" y="97241"/>
                  </a:lnTo>
                  <a:lnTo>
                    <a:pt x="34466" y="97241"/>
                  </a:lnTo>
                  <a:lnTo>
                    <a:pt x="35029" y="96206"/>
                  </a:lnTo>
                  <a:lnTo>
                    <a:pt x="35029" y="96206"/>
                  </a:lnTo>
                  <a:lnTo>
                    <a:pt x="35451" y="97241"/>
                  </a:lnTo>
                  <a:lnTo>
                    <a:pt x="36014" y="97241"/>
                  </a:lnTo>
                  <a:lnTo>
                    <a:pt x="36436" y="97241"/>
                  </a:lnTo>
                  <a:lnTo>
                    <a:pt x="37702" y="97931"/>
                  </a:lnTo>
                  <a:lnTo>
                    <a:pt x="38405" y="97931"/>
                  </a:lnTo>
                  <a:lnTo>
                    <a:pt x="39671" y="100344"/>
                  </a:lnTo>
                  <a:lnTo>
                    <a:pt x="40375" y="100344"/>
                  </a:lnTo>
                  <a:lnTo>
                    <a:pt x="40656" y="101379"/>
                  </a:lnTo>
                  <a:lnTo>
                    <a:pt x="41641" y="101379"/>
                  </a:lnTo>
                  <a:lnTo>
                    <a:pt x="42063" y="101379"/>
                  </a:lnTo>
                  <a:lnTo>
                    <a:pt x="43751" y="101379"/>
                  </a:lnTo>
                  <a:lnTo>
                    <a:pt x="44314" y="102068"/>
                  </a:lnTo>
                  <a:lnTo>
                    <a:pt x="44736" y="102068"/>
                  </a:lnTo>
                  <a:lnTo>
                    <a:pt x="45017" y="102068"/>
                  </a:lnTo>
                  <a:lnTo>
                    <a:pt x="45298" y="102068"/>
                  </a:lnTo>
                  <a:lnTo>
                    <a:pt x="45720" y="102068"/>
                  </a:lnTo>
                  <a:lnTo>
                    <a:pt x="46002" y="101379"/>
                  </a:lnTo>
                  <a:lnTo>
                    <a:pt x="46283" y="101379"/>
                  </a:lnTo>
                  <a:lnTo>
                    <a:pt x="46705" y="101379"/>
                  </a:lnTo>
                  <a:lnTo>
                    <a:pt x="47690" y="102758"/>
                  </a:lnTo>
                  <a:lnTo>
                    <a:pt x="48393" y="103793"/>
                  </a:lnTo>
                  <a:lnTo>
                    <a:pt x="48956" y="103793"/>
                  </a:lnTo>
                  <a:lnTo>
                    <a:pt x="49378" y="103793"/>
                  </a:lnTo>
                  <a:lnTo>
                    <a:pt x="49378" y="103793"/>
                  </a:lnTo>
                  <a:lnTo>
                    <a:pt x="49378" y="104482"/>
                  </a:lnTo>
                  <a:lnTo>
                    <a:pt x="49660" y="104482"/>
                  </a:lnTo>
                  <a:lnTo>
                    <a:pt x="49941" y="104482"/>
                  </a:lnTo>
                  <a:lnTo>
                    <a:pt x="49941" y="104482"/>
                  </a:lnTo>
                  <a:lnTo>
                    <a:pt x="49941" y="104482"/>
                  </a:lnTo>
                  <a:lnTo>
                    <a:pt x="49660" y="103793"/>
                  </a:lnTo>
                  <a:close/>
                  <a:moveTo>
                    <a:pt x="65978" y="88275"/>
                  </a:moveTo>
                  <a:lnTo>
                    <a:pt x="65978" y="86551"/>
                  </a:lnTo>
                  <a:lnTo>
                    <a:pt x="65978" y="84137"/>
                  </a:lnTo>
                  <a:lnTo>
                    <a:pt x="65978" y="84137"/>
                  </a:lnTo>
                  <a:lnTo>
                    <a:pt x="65978" y="83448"/>
                  </a:lnTo>
                  <a:lnTo>
                    <a:pt x="65978" y="83448"/>
                  </a:lnTo>
                  <a:lnTo>
                    <a:pt x="65556" y="84827"/>
                  </a:lnTo>
                  <a:lnTo>
                    <a:pt x="65556" y="85862"/>
                  </a:lnTo>
                  <a:lnTo>
                    <a:pt x="65556" y="86551"/>
                  </a:lnTo>
                  <a:lnTo>
                    <a:pt x="65556" y="87241"/>
                  </a:lnTo>
                  <a:lnTo>
                    <a:pt x="65978" y="88275"/>
                  </a:lnTo>
                  <a:close/>
                  <a:moveTo>
                    <a:pt x="103118" y="83448"/>
                  </a:moveTo>
                  <a:lnTo>
                    <a:pt x="103118" y="82413"/>
                  </a:lnTo>
                  <a:lnTo>
                    <a:pt x="103118" y="82413"/>
                  </a:lnTo>
                  <a:lnTo>
                    <a:pt x="103118" y="81724"/>
                  </a:lnTo>
                  <a:lnTo>
                    <a:pt x="103118" y="81724"/>
                  </a:lnTo>
                  <a:lnTo>
                    <a:pt x="103118" y="81034"/>
                  </a:lnTo>
                  <a:lnTo>
                    <a:pt x="103118" y="81034"/>
                  </a:lnTo>
                  <a:lnTo>
                    <a:pt x="102696" y="81034"/>
                  </a:lnTo>
                  <a:lnTo>
                    <a:pt x="102696" y="80000"/>
                  </a:lnTo>
                  <a:lnTo>
                    <a:pt x="102415" y="81034"/>
                  </a:lnTo>
                  <a:lnTo>
                    <a:pt x="102415" y="81034"/>
                  </a:lnTo>
                  <a:lnTo>
                    <a:pt x="102415" y="81724"/>
                  </a:lnTo>
                  <a:lnTo>
                    <a:pt x="101992" y="82413"/>
                  </a:lnTo>
                  <a:lnTo>
                    <a:pt x="101711" y="82413"/>
                  </a:lnTo>
                  <a:lnTo>
                    <a:pt x="101711" y="82413"/>
                  </a:lnTo>
                  <a:lnTo>
                    <a:pt x="101711" y="82413"/>
                  </a:lnTo>
                  <a:lnTo>
                    <a:pt x="101992" y="83448"/>
                  </a:lnTo>
                  <a:lnTo>
                    <a:pt x="101992" y="84137"/>
                  </a:lnTo>
                  <a:lnTo>
                    <a:pt x="101992" y="84827"/>
                  </a:lnTo>
                  <a:lnTo>
                    <a:pt x="101711" y="84827"/>
                  </a:lnTo>
                  <a:lnTo>
                    <a:pt x="101430" y="84827"/>
                  </a:lnTo>
                  <a:lnTo>
                    <a:pt x="101430" y="84827"/>
                  </a:lnTo>
                  <a:lnTo>
                    <a:pt x="101711" y="84827"/>
                  </a:lnTo>
                  <a:lnTo>
                    <a:pt x="101711" y="85862"/>
                  </a:lnTo>
                  <a:lnTo>
                    <a:pt x="101711" y="85862"/>
                  </a:lnTo>
                  <a:lnTo>
                    <a:pt x="101992" y="86551"/>
                  </a:lnTo>
                  <a:lnTo>
                    <a:pt x="102415" y="87241"/>
                  </a:lnTo>
                  <a:lnTo>
                    <a:pt x="102696" y="87241"/>
                  </a:lnTo>
                  <a:lnTo>
                    <a:pt x="102696" y="87241"/>
                  </a:lnTo>
                  <a:lnTo>
                    <a:pt x="102696" y="87241"/>
                  </a:lnTo>
                  <a:lnTo>
                    <a:pt x="103118" y="86551"/>
                  </a:lnTo>
                  <a:lnTo>
                    <a:pt x="103118" y="85862"/>
                  </a:lnTo>
                  <a:lnTo>
                    <a:pt x="103118" y="85862"/>
                  </a:lnTo>
                  <a:lnTo>
                    <a:pt x="103118" y="84827"/>
                  </a:lnTo>
                  <a:lnTo>
                    <a:pt x="103118" y="84827"/>
                  </a:lnTo>
                  <a:lnTo>
                    <a:pt x="103118" y="84137"/>
                  </a:lnTo>
                  <a:lnTo>
                    <a:pt x="103118" y="84137"/>
                  </a:lnTo>
                  <a:lnTo>
                    <a:pt x="103118" y="83448"/>
                  </a:lnTo>
                  <a:close/>
                  <a:moveTo>
                    <a:pt x="18147" y="79310"/>
                  </a:moveTo>
                  <a:lnTo>
                    <a:pt x="18147" y="79310"/>
                  </a:lnTo>
                  <a:lnTo>
                    <a:pt x="17866" y="80000"/>
                  </a:lnTo>
                  <a:lnTo>
                    <a:pt x="18147" y="80000"/>
                  </a:lnTo>
                  <a:lnTo>
                    <a:pt x="18569" y="81034"/>
                  </a:lnTo>
                  <a:lnTo>
                    <a:pt x="18569" y="81034"/>
                  </a:lnTo>
                  <a:lnTo>
                    <a:pt x="18851" y="80000"/>
                  </a:lnTo>
                  <a:lnTo>
                    <a:pt x="18569" y="80000"/>
                  </a:lnTo>
                  <a:lnTo>
                    <a:pt x="18147" y="79310"/>
                  </a:lnTo>
                  <a:close/>
                  <a:moveTo>
                    <a:pt x="69495" y="78275"/>
                  </a:moveTo>
                  <a:lnTo>
                    <a:pt x="69495" y="79310"/>
                  </a:lnTo>
                  <a:lnTo>
                    <a:pt x="69495" y="80000"/>
                  </a:lnTo>
                  <a:lnTo>
                    <a:pt x="69917" y="81034"/>
                  </a:lnTo>
                  <a:lnTo>
                    <a:pt x="69917" y="81034"/>
                  </a:lnTo>
                  <a:lnTo>
                    <a:pt x="70199" y="79310"/>
                  </a:lnTo>
                  <a:lnTo>
                    <a:pt x="69917" y="78275"/>
                  </a:lnTo>
                  <a:lnTo>
                    <a:pt x="69917" y="78275"/>
                  </a:lnTo>
                  <a:lnTo>
                    <a:pt x="69917" y="77586"/>
                  </a:lnTo>
                  <a:lnTo>
                    <a:pt x="69495" y="77586"/>
                  </a:lnTo>
                  <a:lnTo>
                    <a:pt x="69495" y="78275"/>
                  </a:lnTo>
                  <a:lnTo>
                    <a:pt x="69495" y="78275"/>
                  </a:lnTo>
                  <a:lnTo>
                    <a:pt x="69495" y="78275"/>
                  </a:lnTo>
                  <a:lnTo>
                    <a:pt x="69495" y="78275"/>
                  </a:lnTo>
                  <a:close/>
                  <a:moveTo>
                    <a:pt x="70621" y="80000"/>
                  </a:moveTo>
                  <a:lnTo>
                    <a:pt x="70621" y="80000"/>
                  </a:lnTo>
                  <a:lnTo>
                    <a:pt x="70902" y="80000"/>
                  </a:lnTo>
                  <a:lnTo>
                    <a:pt x="70902" y="80000"/>
                  </a:lnTo>
                  <a:lnTo>
                    <a:pt x="71184" y="80000"/>
                  </a:lnTo>
                  <a:lnTo>
                    <a:pt x="71184" y="80000"/>
                  </a:lnTo>
                  <a:lnTo>
                    <a:pt x="71184" y="80000"/>
                  </a:lnTo>
                  <a:lnTo>
                    <a:pt x="71606" y="80000"/>
                  </a:lnTo>
                  <a:lnTo>
                    <a:pt x="71606" y="79310"/>
                  </a:lnTo>
                  <a:lnTo>
                    <a:pt x="71606" y="78275"/>
                  </a:lnTo>
                  <a:lnTo>
                    <a:pt x="71887" y="76896"/>
                  </a:lnTo>
                  <a:lnTo>
                    <a:pt x="71887" y="75172"/>
                  </a:lnTo>
                  <a:lnTo>
                    <a:pt x="71887" y="74482"/>
                  </a:lnTo>
                  <a:lnTo>
                    <a:pt x="71887" y="74482"/>
                  </a:lnTo>
                  <a:lnTo>
                    <a:pt x="71184" y="75172"/>
                  </a:lnTo>
                  <a:lnTo>
                    <a:pt x="70902" y="75862"/>
                  </a:lnTo>
                  <a:lnTo>
                    <a:pt x="70902" y="75862"/>
                  </a:lnTo>
                  <a:lnTo>
                    <a:pt x="70902" y="77586"/>
                  </a:lnTo>
                  <a:lnTo>
                    <a:pt x="70902" y="77586"/>
                  </a:lnTo>
                  <a:lnTo>
                    <a:pt x="70902" y="78275"/>
                  </a:lnTo>
                  <a:lnTo>
                    <a:pt x="70621" y="80000"/>
                  </a:lnTo>
                  <a:close/>
                  <a:moveTo>
                    <a:pt x="72590" y="76896"/>
                  </a:moveTo>
                  <a:lnTo>
                    <a:pt x="72590" y="75862"/>
                  </a:lnTo>
                  <a:lnTo>
                    <a:pt x="72872" y="75172"/>
                  </a:lnTo>
                  <a:lnTo>
                    <a:pt x="72872" y="75172"/>
                  </a:lnTo>
                  <a:lnTo>
                    <a:pt x="72872" y="75172"/>
                  </a:lnTo>
                  <a:lnTo>
                    <a:pt x="72872" y="75172"/>
                  </a:lnTo>
                  <a:lnTo>
                    <a:pt x="72872" y="75172"/>
                  </a:lnTo>
                  <a:lnTo>
                    <a:pt x="73153" y="75862"/>
                  </a:lnTo>
                  <a:lnTo>
                    <a:pt x="73153" y="75862"/>
                  </a:lnTo>
                  <a:lnTo>
                    <a:pt x="73153" y="74482"/>
                  </a:lnTo>
                  <a:lnTo>
                    <a:pt x="72872" y="73448"/>
                  </a:lnTo>
                  <a:lnTo>
                    <a:pt x="72872" y="72758"/>
                  </a:lnTo>
                  <a:lnTo>
                    <a:pt x="72872" y="72758"/>
                  </a:lnTo>
                  <a:lnTo>
                    <a:pt x="72590" y="73448"/>
                  </a:lnTo>
                  <a:lnTo>
                    <a:pt x="72168" y="74482"/>
                  </a:lnTo>
                  <a:lnTo>
                    <a:pt x="72168" y="75862"/>
                  </a:lnTo>
                  <a:lnTo>
                    <a:pt x="72168" y="76896"/>
                  </a:lnTo>
                  <a:lnTo>
                    <a:pt x="71887" y="77586"/>
                  </a:lnTo>
                  <a:lnTo>
                    <a:pt x="71887" y="77586"/>
                  </a:lnTo>
                  <a:lnTo>
                    <a:pt x="71887" y="78275"/>
                  </a:lnTo>
                  <a:lnTo>
                    <a:pt x="71887" y="79310"/>
                  </a:lnTo>
                  <a:lnTo>
                    <a:pt x="71887" y="79310"/>
                  </a:lnTo>
                  <a:lnTo>
                    <a:pt x="71606" y="80000"/>
                  </a:lnTo>
                  <a:lnTo>
                    <a:pt x="71606" y="80000"/>
                  </a:lnTo>
                  <a:lnTo>
                    <a:pt x="71606" y="80000"/>
                  </a:lnTo>
                  <a:lnTo>
                    <a:pt x="71606" y="81034"/>
                  </a:lnTo>
                  <a:lnTo>
                    <a:pt x="71606" y="81724"/>
                  </a:lnTo>
                  <a:lnTo>
                    <a:pt x="71606" y="82413"/>
                  </a:lnTo>
                  <a:lnTo>
                    <a:pt x="71606" y="82413"/>
                  </a:lnTo>
                  <a:lnTo>
                    <a:pt x="71887" y="81724"/>
                  </a:lnTo>
                  <a:lnTo>
                    <a:pt x="71887" y="82413"/>
                  </a:lnTo>
                  <a:lnTo>
                    <a:pt x="72168" y="81724"/>
                  </a:lnTo>
                  <a:lnTo>
                    <a:pt x="72168" y="81034"/>
                  </a:lnTo>
                  <a:lnTo>
                    <a:pt x="72168" y="81034"/>
                  </a:lnTo>
                  <a:lnTo>
                    <a:pt x="72168" y="81034"/>
                  </a:lnTo>
                  <a:lnTo>
                    <a:pt x="72590" y="80000"/>
                  </a:lnTo>
                  <a:lnTo>
                    <a:pt x="72590" y="80000"/>
                  </a:lnTo>
                  <a:lnTo>
                    <a:pt x="72590" y="80000"/>
                  </a:lnTo>
                  <a:lnTo>
                    <a:pt x="72872" y="80000"/>
                  </a:lnTo>
                  <a:lnTo>
                    <a:pt x="72872" y="80000"/>
                  </a:lnTo>
                  <a:lnTo>
                    <a:pt x="73153" y="79310"/>
                  </a:lnTo>
                  <a:lnTo>
                    <a:pt x="72872" y="79310"/>
                  </a:lnTo>
                  <a:lnTo>
                    <a:pt x="72590" y="78275"/>
                  </a:lnTo>
                  <a:lnTo>
                    <a:pt x="72590" y="78275"/>
                  </a:lnTo>
                  <a:lnTo>
                    <a:pt x="72590" y="78275"/>
                  </a:lnTo>
                  <a:lnTo>
                    <a:pt x="72590" y="78275"/>
                  </a:lnTo>
                  <a:lnTo>
                    <a:pt x="72590" y="76896"/>
                  </a:lnTo>
                  <a:lnTo>
                    <a:pt x="72590" y="76896"/>
                  </a:lnTo>
                  <a:close/>
                  <a:moveTo>
                    <a:pt x="73153" y="70344"/>
                  </a:moveTo>
                  <a:lnTo>
                    <a:pt x="73153" y="70344"/>
                  </a:lnTo>
                  <a:lnTo>
                    <a:pt x="72872" y="70344"/>
                  </a:lnTo>
                  <a:lnTo>
                    <a:pt x="72590" y="70344"/>
                  </a:lnTo>
                  <a:lnTo>
                    <a:pt x="72590" y="70344"/>
                  </a:lnTo>
                  <a:lnTo>
                    <a:pt x="72590" y="71034"/>
                  </a:lnTo>
                  <a:lnTo>
                    <a:pt x="72872" y="72068"/>
                  </a:lnTo>
                  <a:lnTo>
                    <a:pt x="72872" y="72068"/>
                  </a:lnTo>
                  <a:lnTo>
                    <a:pt x="73153" y="71034"/>
                  </a:lnTo>
                  <a:lnTo>
                    <a:pt x="73153" y="70344"/>
                  </a:lnTo>
                  <a:close/>
                  <a:moveTo>
                    <a:pt x="86518" y="66206"/>
                  </a:moveTo>
                  <a:lnTo>
                    <a:pt x="86096" y="66896"/>
                  </a:lnTo>
                  <a:lnTo>
                    <a:pt x="85814" y="66896"/>
                  </a:lnTo>
                  <a:lnTo>
                    <a:pt x="85533" y="67931"/>
                  </a:lnTo>
                  <a:lnTo>
                    <a:pt x="85533" y="67931"/>
                  </a:lnTo>
                  <a:lnTo>
                    <a:pt x="85533" y="67931"/>
                  </a:lnTo>
                  <a:lnTo>
                    <a:pt x="85814" y="68620"/>
                  </a:lnTo>
                  <a:lnTo>
                    <a:pt x="85814" y="67931"/>
                  </a:lnTo>
                  <a:lnTo>
                    <a:pt x="86096" y="67931"/>
                  </a:lnTo>
                  <a:lnTo>
                    <a:pt x="86096" y="67931"/>
                  </a:lnTo>
                  <a:lnTo>
                    <a:pt x="86096" y="67931"/>
                  </a:lnTo>
                  <a:lnTo>
                    <a:pt x="86096" y="67931"/>
                  </a:lnTo>
                  <a:lnTo>
                    <a:pt x="86096" y="67931"/>
                  </a:lnTo>
                  <a:lnTo>
                    <a:pt x="86518" y="67931"/>
                  </a:lnTo>
                  <a:lnTo>
                    <a:pt x="86518" y="67931"/>
                  </a:lnTo>
                  <a:lnTo>
                    <a:pt x="86518" y="66896"/>
                  </a:lnTo>
                  <a:lnTo>
                    <a:pt x="86518" y="66896"/>
                  </a:lnTo>
                  <a:lnTo>
                    <a:pt x="86518" y="66896"/>
                  </a:lnTo>
                  <a:lnTo>
                    <a:pt x="86799" y="66206"/>
                  </a:lnTo>
                  <a:lnTo>
                    <a:pt x="86518" y="66206"/>
                  </a:lnTo>
                  <a:close/>
                  <a:moveTo>
                    <a:pt x="55287" y="66896"/>
                  </a:moveTo>
                  <a:lnTo>
                    <a:pt x="55287" y="67931"/>
                  </a:lnTo>
                  <a:lnTo>
                    <a:pt x="55568" y="66206"/>
                  </a:lnTo>
                  <a:lnTo>
                    <a:pt x="55568" y="65517"/>
                  </a:lnTo>
                  <a:lnTo>
                    <a:pt x="55568" y="66206"/>
                  </a:lnTo>
                  <a:lnTo>
                    <a:pt x="55287" y="66896"/>
                  </a:lnTo>
                  <a:close/>
                  <a:moveTo>
                    <a:pt x="55287" y="67931"/>
                  </a:moveTo>
                  <a:lnTo>
                    <a:pt x="55287" y="66896"/>
                  </a:lnTo>
                  <a:lnTo>
                    <a:pt x="55287" y="66206"/>
                  </a:lnTo>
                  <a:lnTo>
                    <a:pt x="55287" y="66206"/>
                  </a:lnTo>
                  <a:lnTo>
                    <a:pt x="55287" y="65517"/>
                  </a:lnTo>
                  <a:lnTo>
                    <a:pt x="55287" y="64482"/>
                  </a:lnTo>
                  <a:lnTo>
                    <a:pt x="55005" y="64482"/>
                  </a:lnTo>
                  <a:lnTo>
                    <a:pt x="54583" y="65517"/>
                  </a:lnTo>
                  <a:lnTo>
                    <a:pt x="54583" y="66206"/>
                  </a:lnTo>
                  <a:lnTo>
                    <a:pt x="54583" y="66896"/>
                  </a:lnTo>
                  <a:lnTo>
                    <a:pt x="54583" y="67931"/>
                  </a:lnTo>
                  <a:lnTo>
                    <a:pt x="54583" y="68620"/>
                  </a:lnTo>
                  <a:lnTo>
                    <a:pt x="54583" y="70344"/>
                  </a:lnTo>
                  <a:lnTo>
                    <a:pt x="54583" y="70344"/>
                  </a:lnTo>
                  <a:lnTo>
                    <a:pt x="55287" y="69310"/>
                  </a:lnTo>
                  <a:lnTo>
                    <a:pt x="55287" y="68620"/>
                  </a:lnTo>
                  <a:lnTo>
                    <a:pt x="55287" y="68620"/>
                  </a:lnTo>
                  <a:lnTo>
                    <a:pt x="55287" y="67931"/>
                  </a:lnTo>
                  <a:close/>
                  <a:moveTo>
                    <a:pt x="83845" y="65517"/>
                  </a:moveTo>
                  <a:lnTo>
                    <a:pt x="83423" y="65517"/>
                  </a:lnTo>
                  <a:lnTo>
                    <a:pt x="83423" y="64482"/>
                  </a:lnTo>
                  <a:lnTo>
                    <a:pt x="83423" y="64482"/>
                  </a:lnTo>
                  <a:lnTo>
                    <a:pt x="83141" y="63793"/>
                  </a:lnTo>
                  <a:lnTo>
                    <a:pt x="82860" y="63793"/>
                  </a:lnTo>
                  <a:lnTo>
                    <a:pt x="82860" y="63103"/>
                  </a:lnTo>
                  <a:lnTo>
                    <a:pt x="82157" y="63103"/>
                  </a:lnTo>
                  <a:lnTo>
                    <a:pt x="81453" y="63793"/>
                  </a:lnTo>
                  <a:lnTo>
                    <a:pt x="81172" y="63793"/>
                  </a:lnTo>
                  <a:lnTo>
                    <a:pt x="80890" y="63793"/>
                  </a:lnTo>
                  <a:lnTo>
                    <a:pt x="80890" y="63793"/>
                  </a:lnTo>
                  <a:lnTo>
                    <a:pt x="80890" y="63793"/>
                  </a:lnTo>
                  <a:lnTo>
                    <a:pt x="80890" y="65517"/>
                  </a:lnTo>
                  <a:lnTo>
                    <a:pt x="80890" y="66206"/>
                  </a:lnTo>
                  <a:lnTo>
                    <a:pt x="80890" y="66206"/>
                  </a:lnTo>
                  <a:lnTo>
                    <a:pt x="81172" y="66896"/>
                  </a:lnTo>
                  <a:lnTo>
                    <a:pt x="81172" y="66896"/>
                  </a:lnTo>
                  <a:lnTo>
                    <a:pt x="81453" y="67931"/>
                  </a:lnTo>
                  <a:lnTo>
                    <a:pt x="81875" y="68620"/>
                  </a:lnTo>
                  <a:lnTo>
                    <a:pt x="82438" y="68620"/>
                  </a:lnTo>
                  <a:lnTo>
                    <a:pt x="82438" y="68620"/>
                  </a:lnTo>
                  <a:lnTo>
                    <a:pt x="82438" y="68620"/>
                  </a:lnTo>
                  <a:lnTo>
                    <a:pt x="82860" y="68620"/>
                  </a:lnTo>
                  <a:lnTo>
                    <a:pt x="83141" y="68620"/>
                  </a:lnTo>
                  <a:lnTo>
                    <a:pt x="83423" y="67931"/>
                  </a:lnTo>
                  <a:lnTo>
                    <a:pt x="83423" y="67931"/>
                  </a:lnTo>
                  <a:lnTo>
                    <a:pt x="83845" y="66896"/>
                  </a:lnTo>
                  <a:lnTo>
                    <a:pt x="83845" y="66206"/>
                  </a:lnTo>
                  <a:lnTo>
                    <a:pt x="83845" y="65517"/>
                  </a:lnTo>
                  <a:lnTo>
                    <a:pt x="83845" y="65517"/>
                  </a:lnTo>
                  <a:close/>
                  <a:moveTo>
                    <a:pt x="93130" y="68620"/>
                  </a:moveTo>
                  <a:lnTo>
                    <a:pt x="93411" y="66896"/>
                  </a:lnTo>
                  <a:lnTo>
                    <a:pt x="93130" y="66896"/>
                  </a:lnTo>
                  <a:lnTo>
                    <a:pt x="93130" y="66206"/>
                  </a:lnTo>
                  <a:lnTo>
                    <a:pt x="92708" y="65517"/>
                  </a:lnTo>
                  <a:lnTo>
                    <a:pt x="92708" y="65517"/>
                  </a:lnTo>
                  <a:lnTo>
                    <a:pt x="92708" y="65517"/>
                  </a:lnTo>
                  <a:lnTo>
                    <a:pt x="92708" y="64482"/>
                  </a:lnTo>
                  <a:lnTo>
                    <a:pt x="92426" y="63793"/>
                  </a:lnTo>
                  <a:lnTo>
                    <a:pt x="92145" y="63103"/>
                  </a:lnTo>
                  <a:lnTo>
                    <a:pt x="91723" y="63103"/>
                  </a:lnTo>
                  <a:lnTo>
                    <a:pt x="91441" y="63103"/>
                  </a:lnTo>
                  <a:lnTo>
                    <a:pt x="91160" y="63103"/>
                  </a:lnTo>
                  <a:lnTo>
                    <a:pt x="90457" y="62068"/>
                  </a:lnTo>
                  <a:lnTo>
                    <a:pt x="90175" y="61379"/>
                  </a:lnTo>
                  <a:lnTo>
                    <a:pt x="89753" y="61379"/>
                  </a:lnTo>
                  <a:lnTo>
                    <a:pt x="89753" y="61379"/>
                  </a:lnTo>
                  <a:lnTo>
                    <a:pt x="89753" y="61379"/>
                  </a:lnTo>
                  <a:lnTo>
                    <a:pt x="89472" y="61379"/>
                  </a:lnTo>
                  <a:lnTo>
                    <a:pt x="89191" y="62068"/>
                  </a:lnTo>
                  <a:lnTo>
                    <a:pt x="88769" y="62068"/>
                  </a:lnTo>
                  <a:lnTo>
                    <a:pt x="88769" y="62068"/>
                  </a:lnTo>
                  <a:lnTo>
                    <a:pt x="88769" y="62068"/>
                  </a:lnTo>
                  <a:lnTo>
                    <a:pt x="88769" y="61379"/>
                  </a:lnTo>
                  <a:lnTo>
                    <a:pt x="88487" y="61379"/>
                  </a:lnTo>
                  <a:lnTo>
                    <a:pt x="88065" y="61379"/>
                  </a:lnTo>
                  <a:lnTo>
                    <a:pt x="87784" y="62068"/>
                  </a:lnTo>
                  <a:lnTo>
                    <a:pt x="87502" y="61379"/>
                  </a:lnTo>
                  <a:lnTo>
                    <a:pt x="86518" y="62068"/>
                  </a:lnTo>
                  <a:lnTo>
                    <a:pt x="86096" y="62068"/>
                  </a:lnTo>
                  <a:lnTo>
                    <a:pt x="85533" y="64482"/>
                  </a:lnTo>
                  <a:lnTo>
                    <a:pt x="85533" y="64482"/>
                  </a:lnTo>
                  <a:lnTo>
                    <a:pt x="85814" y="65517"/>
                  </a:lnTo>
                  <a:lnTo>
                    <a:pt x="85814" y="65517"/>
                  </a:lnTo>
                  <a:lnTo>
                    <a:pt x="85533" y="66206"/>
                  </a:lnTo>
                  <a:lnTo>
                    <a:pt x="85533" y="66206"/>
                  </a:lnTo>
                  <a:lnTo>
                    <a:pt x="85814" y="66206"/>
                  </a:lnTo>
                  <a:lnTo>
                    <a:pt x="85814" y="65517"/>
                  </a:lnTo>
                  <a:lnTo>
                    <a:pt x="85814" y="65517"/>
                  </a:lnTo>
                  <a:lnTo>
                    <a:pt x="86096" y="64482"/>
                  </a:lnTo>
                  <a:lnTo>
                    <a:pt x="86096" y="63793"/>
                  </a:lnTo>
                  <a:lnTo>
                    <a:pt x="86096" y="63793"/>
                  </a:lnTo>
                  <a:lnTo>
                    <a:pt x="86518" y="63793"/>
                  </a:lnTo>
                  <a:lnTo>
                    <a:pt x="86518" y="64482"/>
                  </a:lnTo>
                  <a:lnTo>
                    <a:pt x="86518" y="64482"/>
                  </a:lnTo>
                  <a:lnTo>
                    <a:pt x="86799" y="66206"/>
                  </a:lnTo>
                  <a:lnTo>
                    <a:pt x="87080" y="66206"/>
                  </a:lnTo>
                  <a:lnTo>
                    <a:pt x="87080" y="66206"/>
                  </a:lnTo>
                  <a:lnTo>
                    <a:pt x="87502" y="66206"/>
                  </a:lnTo>
                  <a:lnTo>
                    <a:pt x="87502" y="65517"/>
                  </a:lnTo>
                  <a:lnTo>
                    <a:pt x="87784" y="64482"/>
                  </a:lnTo>
                  <a:lnTo>
                    <a:pt x="87784" y="64482"/>
                  </a:lnTo>
                  <a:lnTo>
                    <a:pt x="88065" y="64482"/>
                  </a:lnTo>
                  <a:lnTo>
                    <a:pt x="88065" y="64482"/>
                  </a:lnTo>
                  <a:lnTo>
                    <a:pt x="88487" y="64482"/>
                  </a:lnTo>
                  <a:lnTo>
                    <a:pt x="88487" y="64482"/>
                  </a:lnTo>
                  <a:lnTo>
                    <a:pt x="88487" y="65517"/>
                  </a:lnTo>
                  <a:lnTo>
                    <a:pt x="88487" y="65517"/>
                  </a:lnTo>
                  <a:lnTo>
                    <a:pt x="88769" y="65517"/>
                  </a:lnTo>
                  <a:lnTo>
                    <a:pt x="89191" y="65517"/>
                  </a:lnTo>
                  <a:lnTo>
                    <a:pt x="89472" y="65517"/>
                  </a:lnTo>
                  <a:lnTo>
                    <a:pt x="89753" y="66206"/>
                  </a:lnTo>
                  <a:lnTo>
                    <a:pt x="89753" y="66206"/>
                  </a:lnTo>
                  <a:lnTo>
                    <a:pt x="89753" y="65517"/>
                  </a:lnTo>
                  <a:lnTo>
                    <a:pt x="89753" y="65517"/>
                  </a:lnTo>
                  <a:lnTo>
                    <a:pt x="89753" y="65517"/>
                  </a:lnTo>
                  <a:lnTo>
                    <a:pt x="90175" y="65517"/>
                  </a:lnTo>
                  <a:lnTo>
                    <a:pt x="90738" y="65517"/>
                  </a:lnTo>
                  <a:lnTo>
                    <a:pt x="90738" y="65517"/>
                  </a:lnTo>
                  <a:lnTo>
                    <a:pt x="91160" y="66206"/>
                  </a:lnTo>
                  <a:lnTo>
                    <a:pt x="91160" y="66206"/>
                  </a:lnTo>
                  <a:lnTo>
                    <a:pt x="91723" y="66896"/>
                  </a:lnTo>
                  <a:lnTo>
                    <a:pt x="92145" y="66896"/>
                  </a:lnTo>
                  <a:lnTo>
                    <a:pt x="92426" y="68620"/>
                  </a:lnTo>
                  <a:lnTo>
                    <a:pt x="93130" y="68620"/>
                  </a:lnTo>
                  <a:close/>
                  <a:moveTo>
                    <a:pt x="13223" y="61379"/>
                  </a:moveTo>
                  <a:lnTo>
                    <a:pt x="13223" y="61379"/>
                  </a:lnTo>
                  <a:lnTo>
                    <a:pt x="13223" y="61379"/>
                  </a:lnTo>
                  <a:lnTo>
                    <a:pt x="13223" y="63103"/>
                  </a:lnTo>
                  <a:lnTo>
                    <a:pt x="13223" y="63103"/>
                  </a:lnTo>
                  <a:lnTo>
                    <a:pt x="13505" y="63793"/>
                  </a:lnTo>
                  <a:lnTo>
                    <a:pt x="13505" y="63793"/>
                  </a:lnTo>
                  <a:lnTo>
                    <a:pt x="13505" y="64482"/>
                  </a:lnTo>
                  <a:lnTo>
                    <a:pt x="13927" y="65517"/>
                  </a:lnTo>
                  <a:lnTo>
                    <a:pt x="13927" y="63793"/>
                  </a:lnTo>
                  <a:lnTo>
                    <a:pt x="13927" y="63793"/>
                  </a:lnTo>
                  <a:lnTo>
                    <a:pt x="13927" y="63793"/>
                  </a:lnTo>
                  <a:lnTo>
                    <a:pt x="13927" y="63103"/>
                  </a:lnTo>
                  <a:lnTo>
                    <a:pt x="13927" y="63103"/>
                  </a:lnTo>
                  <a:lnTo>
                    <a:pt x="13223" y="61379"/>
                  </a:lnTo>
                  <a:close/>
                  <a:moveTo>
                    <a:pt x="32497" y="62068"/>
                  </a:moveTo>
                  <a:lnTo>
                    <a:pt x="32497" y="63103"/>
                  </a:lnTo>
                  <a:lnTo>
                    <a:pt x="32497" y="63103"/>
                  </a:lnTo>
                  <a:lnTo>
                    <a:pt x="32778" y="63793"/>
                  </a:lnTo>
                  <a:lnTo>
                    <a:pt x="32497" y="64482"/>
                  </a:lnTo>
                  <a:lnTo>
                    <a:pt x="32778" y="64482"/>
                  </a:lnTo>
                  <a:lnTo>
                    <a:pt x="33059" y="63793"/>
                  </a:lnTo>
                  <a:lnTo>
                    <a:pt x="33059" y="63793"/>
                  </a:lnTo>
                  <a:lnTo>
                    <a:pt x="33059" y="63793"/>
                  </a:lnTo>
                  <a:lnTo>
                    <a:pt x="33481" y="63793"/>
                  </a:lnTo>
                  <a:lnTo>
                    <a:pt x="33481" y="63793"/>
                  </a:lnTo>
                  <a:lnTo>
                    <a:pt x="33481" y="64482"/>
                  </a:lnTo>
                  <a:lnTo>
                    <a:pt x="33763" y="64482"/>
                  </a:lnTo>
                  <a:lnTo>
                    <a:pt x="33763" y="64482"/>
                  </a:lnTo>
                  <a:lnTo>
                    <a:pt x="34044" y="63793"/>
                  </a:lnTo>
                  <a:lnTo>
                    <a:pt x="34044" y="63793"/>
                  </a:lnTo>
                  <a:lnTo>
                    <a:pt x="34044" y="63103"/>
                  </a:lnTo>
                  <a:lnTo>
                    <a:pt x="34466" y="61379"/>
                  </a:lnTo>
                  <a:lnTo>
                    <a:pt x="34044" y="60344"/>
                  </a:lnTo>
                  <a:lnTo>
                    <a:pt x="33763" y="59655"/>
                  </a:lnTo>
                  <a:lnTo>
                    <a:pt x="33481" y="59655"/>
                  </a:lnTo>
                  <a:lnTo>
                    <a:pt x="33059" y="59655"/>
                  </a:lnTo>
                  <a:lnTo>
                    <a:pt x="32778" y="59655"/>
                  </a:lnTo>
                  <a:lnTo>
                    <a:pt x="32778" y="60344"/>
                  </a:lnTo>
                  <a:lnTo>
                    <a:pt x="32497" y="61379"/>
                  </a:lnTo>
                  <a:lnTo>
                    <a:pt x="32497" y="62068"/>
                  </a:lnTo>
                  <a:lnTo>
                    <a:pt x="32497" y="62068"/>
                  </a:lnTo>
                  <a:lnTo>
                    <a:pt x="32497" y="62068"/>
                  </a:lnTo>
                  <a:close/>
                  <a:moveTo>
                    <a:pt x="13223" y="60344"/>
                  </a:moveTo>
                  <a:lnTo>
                    <a:pt x="12801" y="58965"/>
                  </a:lnTo>
                  <a:lnTo>
                    <a:pt x="12520" y="59655"/>
                  </a:lnTo>
                  <a:lnTo>
                    <a:pt x="12520" y="59655"/>
                  </a:lnTo>
                  <a:lnTo>
                    <a:pt x="12520" y="59655"/>
                  </a:lnTo>
                  <a:lnTo>
                    <a:pt x="12520" y="60344"/>
                  </a:lnTo>
                  <a:lnTo>
                    <a:pt x="12520" y="61379"/>
                  </a:lnTo>
                  <a:lnTo>
                    <a:pt x="12801" y="61379"/>
                  </a:lnTo>
                  <a:lnTo>
                    <a:pt x="13223" y="61379"/>
                  </a:lnTo>
                  <a:lnTo>
                    <a:pt x="13223" y="61379"/>
                  </a:lnTo>
                  <a:lnTo>
                    <a:pt x="13223" y="60344"/>
                  </a:lnTo>
                  <a:close/>
                  <a:moveTo>
                    <a:pt x="12239" y="57241"/>
                  </a:moveTo>
                  <a:lnTo>
                    <a:pt x="12239" y="56551"/>
                  </a:lnTo>
                  <a:lnTo>
                    <a:pt x="11817" y="55517"/>
                  </a:lnTo>
                  <a:lnTo>
                    <a:pt x="11817" y="55517"/>
                  </a:lnTo>
                  <a:lnTo>
                    <a:pt x="11535" y="55517"/>
                  </a:lnTo>
                  <a:lnTo>
                    <a:pt x="11535" y="55517"/>
                  </a:lnTo>
                  <a:lnTo>
                    <a:pt x="11535" y="56551"/>
                  </a:lnTo>
                  <a:lnTo>
                    <a:pt x="11535" y="56551"/>
                  </a:lnTo>
                  <a:lnTo>
                    <a:pt x="11817" y="57241"/>
                  </a:lnTo>
                  <a:lnTo>
                    <a:pt x="11817" y="57241"/>
                  </a:lnTo>
                  <a:lnTo>
                    <a:pt x="12239" y="57931"/>
                  </a:lnTo>
                  <a:lnTo>
                    <a:pt x="12239" y="57931"/>
                  </a:lnTo>
                  <a:lnTo>
                    <a:pt x="12239" y="57241"/>
                  </a:lnTo>
                  <a:close/>
                  <a:moveTo>
                    <a:pt x="80468" y="55517"/>
                  </a:moveTo>
                  <a:lnTo>
                    <a:pt x="80468" y="55517"/>
                  </a:lnTo>
                  <a:lnTo>
                    <a:pt x="80468" y="55517"/>
                  </a:lnTo>
                  <a:lnTo>
                    <a:pt x="80468" y="56551"/>
                  </a:lnTo>
                  <a:lnTo>
                    <a:pt x="80468" y="57241"/>
                  </a:lnTo>
                  <a:lnTo>
                    <a:pt x="80468" y="57241"/>
                  </a:lnTo>
                  <a:lnTo>
                    <a:pt x="80468" y="58965"/>
                  </a:lnTo>
                  <a:lnTo>
                    <a:pt x="80890" y="58965"/>
                  </a:lnTo>
                  <a:lnTo>
                    <a:pt x="80890" y="58965"/>
                  </a:lnTo>
                  <a:lnTo>
                    <a:pt x="80890" y="57931"/>
                  </a:lnTo>
                  <a:lnTo>
                    <a:pt x="80468" y="56551"/>
                  </a:lnTo>
                  <a:lnTo>
                    <a:pt x="80890" y="55517"/>
                  </a:lnTo>
                  <a:lnTo>
                    <a:pt x="80468" y="55517"/>
                  </a:lnTo>
                  <a:close/>
                  <a:moveTo>
                    <a:pt x="80187" y="54827"/>
                  </a:moveTo>
                  <a:lnTo>
                    <a:pt x="80468" y="54827"/>
                  </a:lnTo>
                  <a:lnTo>
                    <a:pt x="81453" y="54827"/>
                  </a:lnTo>
                  <a:lnTo>
                    <a:pt x="81453" y="54137"/>
                  </a:lnTo>
                  <a:lnTo>
                    <a:pt x="80890" y="54137"/>
                  </a:lnTo>
                  <a:lnTo>
                    <a:pt x="80187" y="54137"/>
                  </a:lnTo>
                  <a:lnTo>
                    <a:pt x="79484" y="54137"/>
                  </a:lnTo>
                  <a:lnTo>
                    <a:pt x="79202" y="54137"/>
                  </a:lnTo>
                  <a:lnTo>
                    <a:pt x="79202" y="54137"/>
                  </a:lnTo>
                  <a:lnTo>
                    <a:pt x="79202" y="54827"/>
                  </a:lnTo>
                  <a:lnTo>
                    <a:pt x="79202" y="54827"/>
                  </a:lnTo>
                  <a:lnTo>
                    <a:pt x="79484" y="54827"/>
                  </a:lnTo>
                  <a:lnTo>
                    <a:pt x="80187" y="54827"/>
                  </a:lnTo>
                  <a:close/>
                  <a:moveTo>
                    <a:pt x="90738" y="55517"/>
                  </a:moveTo>
                  <a:lnTo>
                    <a:pt x="91441" y="55517"/>
                  </a:lnTo>
                  <a:lnTo>
                    <a:pt x="91441" y="55517"/>
                  </a:lnTo>
                  <a:lnTo>
                    <a:pt x="91723" y="55517"/>
                  </a:lnTo>
                  <a:lnTo>
                    <a:pt x="91723" y="55517"/>
                  </a:lnTo>
                  <a:lnTo>
                    <a:pt x="92145" y="55517"/>
                  </a:lnTo>
                  <a:lnTo>
                    <a:pt x="92145" y="55517"/>
                  </a:lnTo>
                  <a:lnTo>
                    <a:pt x="92426" y="55517"/>
                  </a:lnTo>
                  <a:lnTo>
                    <a:pt x="92145" y="54827"/>
                  </a:lnTo>
                  <a:lnTo>
                    <a:pt x="92145" y="54827"/>
                  </a:lnTo>
                  <a:lnTo>
                    <a:pt x="92145" y="54827"/>
                  </a:lnTo>
                  <a:lnTo>
                    <a:pt x="92426" y="54137"/>
                  </a:lnTo>
                  <a:lnTo>
                    <a:pt x="92145" y="54137"/>
                  </a:lnTo>
                  <a:lnTo>
                    <a:pt x="92145" y="53103"/>
                  </a:lnTo>
                  <a:lnTo>
                    <a:pt x="92145" y="53103"/>
                  </a:lnTo>
                  <a:lnTo>
                    <a:pt x="91723" y="53103"/>
                  </a:lnTo>
                  <a:lnTo>
                    <a:pt x="91441" y="53103"/>
                  </a:lnTo>
                  <a:lnTo>
                    <a:pt x="91160" y="54137"/>
                  </a:lnTo>
                  <a:lnTo>
                    <a:pt x="90457" y="54827"/>
                  </a:lnTo>
                  <a:lnTo>
                    <a:pt x="90457" y="54827"/>
                  </a:lnTo>
                  <a:lnTo>
                    <a:pt x="90738" y="55517"/>
                  </a:lnTo>
                  <a:close/>
                  <a:moveTo>
                    <a:pt x="78780" y="54137"/>
                  </a:moveTo>
                  <a:lnTo>
                    <a:pt x="78499" y="54137"/>
                  </a:lnTo>
                  <a:lnTo>
                    <a:pt x="78499" y="53103"/>
                  </a:lnTo>
                  <a:lnTo>
                    <a:pt x="78499" y="53103"/>
                  </a:lnTo>
                  <a:lnTo>
                    <a:pt x="78499" y="53103"/>
                  </a:lnTo>
                  <a:lnTo>
                    <a:pt x="78499" y="54137"/>
                  </a:lnTo>
                  <a:lnTo>
                    <a:pt x="78218" y="54137"/>
                  </a:lnTo>
                  <a:lnTo>
                    <a:pt x="78218" y="53103"/>
                  </a:lnTo>
                  <a:lnTo>
                    <a:pt x="77233" y="53103"/>
                  </a:lnTo>
                  <a:lnTo>
                    <a:pt x="76811" y="53103"/>
                  </a:lnTo>
                  <a:lnTo>
                    <a:pt x="76529" y="53103"/>
                  </a:lnTo>
                  <a:lnTo>
                    <a:pt x="76529" y="53103"/>
                  </a:lnTo>
                  <a:lnTo>
                    <a:pt x="76529" y="54827"/>
                  </a:lnTo>
                  <a:lnTo>
                    <a:pt x="76529" y="55517"/>
                  </a:lnTo>
                  <a:lnTo>
                    <a:pt x="76811" y="55517"/>
                  </a:lnTo>
                  <a:lnTo>
                    <a:pt x="77233" y="55517"/>
                  </a:lnTo>
                  <a:lnTo>
                    <a:pt x="77796" y="54827"/>
                  </a:lnTo>
                  <a:lnTo>
                    <a:pt x="78218" y="54827"/>
                  </a:lnTo>
                  <a:lnTo>
                    <a:pt x="78499" y="54827"/>
                  </a:lnTo>
                  <a:lnTo>
                    <a:pt x="78780" y="54827"/>
                  </a:lnTo>
                  <a:lnTo>
                    <a:pt x="78780" y="54137"/>
                  </a:lnTo>
                  <a:lnTo>
                    <a:pt x="78780" y="54137"/>
                  </a:lnTo>
                  <a:lnTo>
                    <a:pt x="78780" y="54137"/>
                  </a:lnTo>
                  <a:close/>
                  <a:moveTo>
                    <a:pt x="107338" y="53103"/>
                  </a:moveTo>
                  <a:lnTo>
                    <a:pt x="106635" y="53103"/>
                  </a:lnTo>
                  <a:lnTo>
                    <a:pt x="106635" y="53103"/>
                  </a:lnTo>
                  <a:lnTo>
                    <a:pt x="105650" y="52413"/>
                  </a:lnTo>
                  <a:lnTo>
                    <a:pt x="105369" y="52413"/>
                  </a:lnTo>
                  <a:lnTo>
                    <a:pt x="105650" y="53103"/>
                  </a:lnTo>
                  <a:lnTo>
                    <a:pt x="106635" y="54137"/>
                  </a:lnTo>
                  <a:lnTo>
                    <a:pt x="107057" y="54137"/>
                  </a:lnTo>
                  <a:lnTo>
                    <a:pt x="107338" y="54827"/>
                  </a:lnTo>
                  <a:lnTo>
                    <a:pt x="107338" y="54827"/>
                  </a:lnTo>
                  <a:lnTo>
                    <a:pt x="107620" y="54827"/>
                  </a:lnTo>
                  <a:lnTo>
                    <a:pt x="108042" y="54827"/>
                  </a:lnTo>
                  <a:lnTo>
                    <a:pt x="108745" y="54827"/>
                  </a:lnTo>
                  <a:lnTo>
                    <a:pt x="108745" y="54137"/>
                  </a:lnTo>
                  <a:lnTo>
                    <a:pt x="109308" y="54137"/>
                  </a:lnTo>
                  <a:lnTo>
                    <a:pt x="109026" y="54137"/>
                  </a:lnTo>
                  <a:lnTo>
                    <a:pt x="108745" y="54137"/>
                  </a:lnTo>
                  <a:lnTo>
                    <a:pt x="108042" y="53103"/>
                  </a:lnTo>
                  <a:lnTo>
                    <a:pt x="107338" y="53103"/>
                  </a:lnTo>
                  <a:close/>
                  <a:moveTo>
                    <a:pt x="26447" y="56551"/>
                  </a:moveTo>
                  <a:lnTo>
                    <a:pt x="26729" y="56551"/>
                  </a:lnTo>
                  <a:lnTo>
                    <a:pt x="27151" y="56551"/>
                  </a:lnTo>
                  <a:lnTo>
                    <a:pt x="27432" y="56551"/>
                  </a:lnTo>
                  <a:lnTo>
                    <a:pt x="27854" y="56551"/>
                  </a:lnTo>
                  <a:lnTo>
                    <a:pt x="27854" y="57241"/>
                  </a:lnTo>
                  <a:lnTo>
                    <a:pt x="27854" y="57931"/>
                  </a:lnTo>
                  <a:lnTo>
                    <a:pt x="28135" y="58965"/>
                  </a:lnTo>
                  <a:lnTo>
                    <a:pt x="28135" y="58965"/>
                  </a:lnTo>
                  <a:lnTo>
                    <a:pt x="28135" y="58965"/>
                  </a:lnTo>
                  <a:lnTo>
                    <a:pt x="28135" y="60344"/>
                  </a:lnTo>
                  <a:lnTo>
                    <a:pt x="28135" y="61379"/>
                  </a:lnTo>
                  <a:lnTo>
                    <a:pt x="28417" y="61379"/>
                  </a:lnTo>
                  <a:lnTo>
                    <a:pt x="28839" y="62068"/>
                  </a:lnTo>
                  <a:lnTo>
                    <a:pt x="29120" y="62068"/>
                  </a:lnTo>
                  <a:lnTo>
                    <a:pt x="29120" y="62068"/>
                  </a:lnTo>
                  <a:lnTo>
                    <a:pt x="29402" y="63103"/>
                  </a:lnTo>
                  <a:lnTo>
                    <a:pt x="29402" y="63103"/>
                  </a:lnTo>
                  <a:lnTo>
                    <a:pt x="29824" y="63103"/>
                  </a:lnTo>
                  <a:lnTo>
                    <a:pt x="29824" y="63103"/>
                  </a:lnTo>
                  <a:lnTo>
                    <a:pt x="30105" y="63103"/>
                  </a:lnTo>
                  <a:lnTo>
                    <a:pt x="30105" y="63103"/>
                  </a:lnTo>
                  <a:lnTo>
                    <a:pt x="30105" y="63103"/>
                  </a:lnTo>
                  <a:lnTo>
                    <a:pt x="30105" y="62068"/>
                  </a:lnTo>
                  <a:lnTo>
                    <a:pt x="30105" y="62068"/>
                  </a:lnTo>
                  <a:lnTo>
                    <a:pt x="30105" y="60344"/>
                  </a:lnTo>
                  <a:lnTo>
                    <a:pt x="30105" y="60344"/>
                  </a:lnTo>
                  <a:lnTo>
                    <a:pt x="30386" y="59655"/>
                  </a:lnTo>
                  <a:lnTo>
                    <a:pt x="30386" y="59655"/>
                  </a:lnTo>
                  <a:lnTo>
                    <a:pt x="29402" y="58965"/>
                  </a:lnTo>
                  <a:lnTo>
                    <a:pt x="29120" y="57241"/>
                  </a:lnTo>
                  <a:lnTo>
                    <a:pt x="28839" y="54827"/>
                  </a:lnTo>
                  <a:lnTo>
                    <a:pt x="28839" y="54137"/>
                  </a:lnTo>
                  <a:lnTo>
                    <a:pt x="28839" y="54137"/>
                  </a:lnTo>
                  <a:lnTo>
                    <a:pt x="28417" y="53103"/>
                  </a:lnTo>
                  <a:lnTo>
                    <a:pt x="28417" y="52413"/>
                  </a:lnTo>
                  <a:lnTo>
                    <a:pt x="28417" y="52413"/>
                  </a:lnTo>
                  <a:lnTo>
                    <a:pt x="28135" y="51379"/>
                  </a:lnTo>
                  <a:lnTo>
                    <a:pt x="28135" y="51379"/>
                  </a:lnTo>
                  <a:lnTo>
                    <a:pt x="27854" y="52413"/>
                  </a:lnTo>
                  <a:lnTo>
                    <a:pt x="27854" y="53103"/>
                  </a:lnTo>
                  <a:lnTo>
                    <a:pt x="27854" y="53103"/>
                  </a:lnTo>
                  <a:lnTo>
                    <a:pt x="27432" y="53103"/>
                  </a:lnTo>
                  <a:lnTo>
                    <a:pt x="27432" y="52413"/>
                  </a:lnTo>
                  <a:lnTo>
                    <a:pt x="27432" y="52413"/>
                  </a:lnTo>
                  <a:lnTo>
                    <a:pt x="27151" y="52413"/>
                  </a:lnTo>
                  <a:lnTo>
                    <a:pt x="26729" y="52413"/>
                  </a:lnTo>
                  <a:lnTo>
                    <a:pt x="26729" y="53103"/>
                  </a:lnTo>
                  <a:lnTo>
                    <a:pt x="26729" y="53103"/>
                  </a:lnTo>
                  <a:lnTo>
                    <a:pt x="26729" y="54137"/>
                  </a:lnTo>
                  <a:lnTo>
                    <a:pt x="26729" y="54137"/>
                  </a:lnTo>
                  <a:lnTo>
                    <a:pt x="26729" y="54827"/>
                  </a:lnTo>
                  <a:lnTo>
                    <a:pt x="26447" y="54827"/>
                  </a:lnTo>
                  <a:lnTo>
                    <a:pt x="26166" y="55517"/>
                  </a:lnTo>
                  <a:lnTo>
                    <a:pt x="26166" y="55517"/>
                  </a:lnTo>
                  <a:lnTo>
                    <a:pt x="26447" y="56551"/>
                  </a:lnTo>
                  <a:lnTo>
                    <a:pt x="26447" y="56551"/>
                  </a:lnTo>
                  <a:close/>
                  <a:moveTo>
                    <a:pt x="74560" y="53103"/>
                  </a:moveTo>
                  <a:lnTo>
                    <a:pt x="74560" y="53103"/>
                  </a:lnTo>
                  <a:lnTo>
                    <a:pt x="74560" y="52413"/>
                  </a:lnTo>
                  <a:lnTo>
                    <a:pt x="74560" y="52413"/>
                  </a:lnTo>
                  <a:lnTo>
                    <a:pt x="74138" y="51379"/>
                  </a:lnTo>
                  <a:lnTo>
                    <a:pt x="74138" y="51379"/>
                  </a:lnTo>
                  <a:lnTo>
                    <a:pt x="74138" y="52413"/>
                  </a:lnTo>
                  <a:lnTo>
                    <a:pt x="74138" y="53103"/>
                  </a:lnTo>
                  <a:lnTo>
                    <a:pt x="74138" y="53103"/>
                  </a:lnTo>
                  <a:lnTo>
                    <a:pt x="74560" y="53103"/>
                  </a:lnTo>
                  <a:close/>
                  <a:moveTo>
                    <a:pt x="84830" y="53103"/>
                  </a:moveTo>
                  <a:lnTo>
                    <a:pt x="85533" y="53103"/>
                  </a:lnTo>
                  <a:lnTo>
                    <a:pt x="85814" y="53103"/>
                  </a:lnTo>
                  <a:lnTo>
                    <a:pt x="86096" y="53103"/>
                  </a:lnTo>
                  <a:lnTo>
                    <a:pt x="86096" y="53103"/>
                  </a:lnTo>
                  <a:lnTo>
                    <a:pt x="86518" y="53103"/>
                  </a:lnTo>
                  <a:lnTo>
                    <a:pt x="86518" y="52413"/>
                  </a:lnTo>
                  <a:lnTo>
                    <a:pt x="86096" y="52413"/>
                  </a:lnTo>
                  <a:lnTo>
                    <a:pt x="85814" y="51379"/>
                  </a:lnTo>
                  <a:lnTo>
                    <a:pt x="85533" y="50689"/>
                  </a:lnTo>
                  <a:lnTo>
                    <a:pt x="85111" y="50689"/>
                  </a:lnTo>
                  <a:lnTo>
                    <a:pt x="84830" y="50689"/>
                  </a:lnTo>
                  <a:lnTo>
                    <a:pt x="84548" y="51379"/>
                  </a:lnTo>
                  <a:lnTo>
                    <a:pt x="84548" y="52413"/>
                  </a:lnTo>
                  <a:lnTo>
                    <a:pt x="84548" y="53103"/>
                  </a:lnTo>
                  <a:lnTo>
                    <a:pt x="84548" y="53103"/>
                  </a:lnTo>
                  <a:lnTo>
                    <a:pt x="84830" y="53103"/>
                  </a:lnTo>
                  <a:close/>
                  <a:moveTo>
                    <a:pt x="74138" y="50689"/>
                  </a:moveTo>
                  <a:lnTo>
                    <a:pt x="74138" y="50689"/>
                  </a:lnTo>
                  <a:lnTo>
                    <a:pt x="74138" y="50000"/>
                  </a:lnTo>
                  <a:lnTo>
                    <a:pt x="74138" y="50000"/>
                  </a:lnTo>
                  <a:lnTo>
                    <a:pt x="73856" y="50000"/>
                  </a:lnTo>
                  <a:lnTo>
                    <a:pt x="73575" y="50689"/>
                  </a:lnTo>
                  <a:lnTo>
                    <a:pt x="73575" y="50689"/>
                  </a:lnTo>
                  <a:lnTo>
                    <a:pt x="73575" y="50000"/>
                  </a:lnTo>
                  <a:lnTo>
                    <a:pt x="73575" y="48965"/>
                  </a:lnTo>
                  <a:lnTo>
                    <a:pt x="73153" y="48965"/>
                  </a:lnTo>
                  <a:lnTo>
                    <a:pt x="72872" y="50000"/>
                  </a:lnTo>
                  <a:lnTo>
                    <a:pt x="72590" y="50000"/>
                  </a:lnTo>
                  <a:lnTo>
                    <a:pt x="72590" y="50000"/>
                  </a:lnTo>
                  <a:lnTo>
                    <a:pt x="72590" y="51379"/>
                  </a:lnTo>
                  <a:lnTo>
                    <a:pt x="72590" y="52413"/>
                  </a:lnTo>
                  <a:lnTo>
                    <a:pt x="72590" y="52413"/>
                  </a:lnTo>
                  <a:lnTo>
                    <a:pt x="72872" y="52413"/>
                  </a:lnTo>
                  <a:lnTo>
                    <a:pt x="73153" y="50689"/>
                  </a:lnTo>
                  <a:lnTo>
                    <a:pt x="73153" y="50689"/>
                  </a:lnTo>
                  <a:lnTo>
                    <a:pt x="73575" y="51379"/>
                  </a:lnTo>
                  <a:lnTo>
                    <a:pt x="73153" y="52413"/>
                  </a:lnTo>
                  <a:lnTo>
                    <a:pt x="73153" y="52413"/>
                  </a:lnTo>
                  <a:lnTo>
                    <a:pt x="73153" y="52413"/>
                  </a:lnTo>
                  <a:lnTo>
                    <a:pt x="73575" y="52413"/>
                  </a:lnTo>
                  <a:lnTo>
                    <a:pt x="73575" y="52413"/>
                  </a:lnTo>
                  <a:lnTo>
                    <a:pt x="73575" y="51379"/>
                  </a:lnTo>
                  <a:lnTo>
                    <a:pt x="73856" y="51379"/>
                  </a:lnTo>
                  <a:lnTo>
                    <a:pt x="73856" y="51379"/>
                  </a:lnTo>
                  <a:lnTo>
                    <a:pt x="74138" y="51379"/>
                  </a:lnTo>
                  <a:lnTo>
                    <a:pt x="74138" y="51379"/>
                  </a:lnTo>
                  <a:lnTo>
                    <a:pt x="74138" y="50689"/>
                  </a:lnTo>
                  <a:close/>
                  <a:moveTo>
                    <a:pt x="38124" y="48275"/>
                  </a:moveTo>
                  <a:lnTo>
                    <a:pt x="37702" y="48275"/>
                  </a:lnTo>
                  <a:lnTo>
                    <a:pt x="37420" y="48275"/>
                  </a:lnTo>
                  <a:lnTo>
                    <a:pt x="37420" y="50000"/>
                  </a:lnTo>
                  <a:lnTo>
                    <a:pt x="37420" y="50000"/>
                  </a:lnTo>
                  <a:lnTo>
                    <a:pt x="37702" y="50000"/>
                  </a:lnTo>
                  <a:lnTo>
                    <a:pt x="38124" y="50000"/>
                  </a:lnTo>
                  <a:lnTo>
                    <a:pt x="38405" y="48965"/>
                  </a:lnTo>
                  <a:lnTo>
                    <a:pt x="38405" y="48965"/>
                  </a:lnTo>
                  <a:lnTo>
                    <a:pt x="38405" y="48275"/>
                  </a:lnTo>
                  <a:lnTo>
                    <a:pt x="38124" y="48275"/>
                  </a:lnTo>
                  <a:lnTo>
                    <a:pt x="38124" y="48275"/>
                  </a:lnTo>
                  <a:close/>
                  <a:moveTo>
                    <a:pt x="10550" y="52413"/>
                  </a:moveTo>
                  <a:lnTo>
                    <a:pt x="10550" y="51379"/>
                  </a:lnTo>
                  <a:lnTo>
                    <a:pt x="10550" y="51379"/>
                  </a:lnTo>
                  <a:lnTo>
                    <a:pt x="10550" y="50689"/>
                  </a:lnTo>
                  <a:lnTo>
                    <a:pt x="10550" y="50689"/>
                  </a:lnTo>
                  <a:lnTo>
                    <a:pt x="10269" y="50000"/>
                  </a:lnTo>
                  <a:lnTo>
                    <a:pt x="10269" y="48275"/>
                  </a:lnTo>
                  <a:lnTo>
                    <a:pt x="9847" y="48275"/>
                  </a:lnTo>
                  <a:lnTo>
                    <a:pt x="9847" y="47586"/>
                  </a:lnTo>
                  <a:lnTo>
                    <a:pt x="9284" y="48275"/>
                  </a:lnTo>
                  <a:lnTo>
                    <a:pt x="9284" y="50000"/>
                  </a:lnTo>
                  <a:lnTo>
                    <a:pt x="9284" y="50000"/>
                  </a:lnTo>
                  <a:lnTo>
                    <a:pt x="9566" y="52413"/>
                  </a:lnTo>
                  <a:lnTo>
                    <a:pt x="9566" y="52413"/>
                  </a:lnTo>
                  <a:lnTo>
                    <a:pt x="9847" y="53103"/>
                  </a:lnTo>
                  <a:lnTo>
                    <a:pt x="10269" y="54137"/>
                  </a:lnTo>
                  <a:lnTo>
                    <a:pt x="10550" y="54137"/>
                  </a:lnTo>
                  <a:lnTo>
                    <a:pt x="10832" y="54137"/>
                  </a:lnTo>
                  <a:lnTo>
                    <a:pt x="10832" y="53103"/>
                  </a:lnTo>
                  <a:lnTo>
                    <a:pt x="10550" y="52413"/>
                  </a:lnTo>
                  <a:close/>
                  <a:moveTo>
                    <a:pt x="93130" y="48965"/>
                  </a:moveTo>
                  <a:lnTo>
                    <a:pt x="93130" y="48965"/>
                  </a:lnTo>
                  <a:lnTo>
                    <a:pt x="93411" y="50000"/>
                  </a:lnTo>
                  <a:lnTo>
                    <a:pt x="93411" y="50689"/>
                  </a:lnTo>
                  <a:lnTo>
                    <a:pt x="93833" y="50689"/>
                  </a:lnTo>
                  <a:lnTo>
                    <a:pt x="93833" y="50689"/>
                  </a:lnTo>
                  <a:lnTo>
                    <a:pt x="94114" y="50000"/>
                  </a:lnTo>
                  <a:lnTo>
                    <a:pt x="94114" y="48275"/>
                  </a:lnTo>
                  <a:lnTo>
                    <a:pt x="94114" y="47586"/>
                  </a:lnTo>
                  <a:lnTo>
                    <a:pt x="93833" y="47586"/>
                  </a:lnTo>
                  <a:lnTo>
                    <a:pt x="93833" y="47586"/>
                  </a:lnTo>
                  <a:lnTo>
                    <a:pt x="93130" y="48275"/>
                  </a:lnTo>
                  <a:lnTo>
                    <a:pt x="93130" y="48275"/>
                  </a:lnTo>
                  <a:lnTo>
                    <a:pt x="93130" y="48275"/>
                  </a:lnTo>
                  <a:lnTo>
                    <a:pt x="93130" y="48965"/>
                  </a:lnTo>
                  <a:close/>
                  <a:moveTo>
                    <a:pt x="105369" y="46551"/>
                  </a:moveTo>
                  <a:lnTo>
                    <a:pt x="105650" y="46551"/>
                  </a:lnTo>
                  <a:lnTo>
                    <a:pt x="105650" y="46551"/>
                  </a:lnTo>
                  <a:lnTo>
                    <a:pt x="105650" y="46551"/>
                  </a:lnTo>
                  <a:lnTo>
                    <a:pt x="106072" y="47586"/>
                  </a:lnTo>
                  <a:lnTo>
                    <a:pt x="106354" y="46551"/>
                  </a:lnTo>
                  <a:lnTo>
                    <a:pt x="106354" y="48275"/>
                  </a:lnTo>
                  <a:lnTo>
                    <a:pt x="106354" y="48965"/>
                  </a:lnTo>
                  <a:lnTo>
                    <a:pt x="106635" y="50000"/>
                  </a:lnTo>
                  <a:lnTo>
                    <a:pt x="107057" y="48965"/>
                  </a:lnTo>
                  <a:lnTo>
                    <a:pt x="107338" y="50000"/>
                  </a:lnTo>
                  <a:lnTo>
                    <a:pt x="107338" y="50000"/>
                  </a:lnTo>
                  <a:lnTo>
                    <a:pt x="107620" y="50000"/>
                  </a:lnTo>
                  <a:lnTo>
                    <a:pt x="108042" y="48965"/>
                  </a:lnTo>
                  <a:lnTo>
                    <a:pt x="107620" y="48965"/>
                  </a:lnTo>
                  <a:lnTo>
                    <a:pt x="107338" y="48275"/>
                  </a:lnTo>
                  <a:lnTo>
                    <a:pt x="107057" y="47586"/>
                  </a:lnTo>
                  <a:lnTo>
                    <a:pt x="106635" y="46551"/>
                  </a:lnTo>
                  <a:lnTo>
                    <a:pt x="106635" y="45862"/>
                  </a:lnTo>
                  <a:lnTo>
                    <a:pt x="106354" y="46551"/>
                  </a:lnTo>
                  <a:lnTo>
                    <a:pt x="106072" y="45862"/>
                  </a:lnTo>
                  <a:lnTo>
                    <a:pt x="106072" y="45862"/>
                  </a:lnTo>
                  <a:lnTo>
                    <a:pt x="105369" y="45862"/>
                  </a:lnTo>
                  <a:lnTo>
                    <a:pt x="105369" y="45862"/>
                  </a:lnTo>
                  <a:lnTo>
                    <a:pt x="105369" y="46551"/>
                  </a:lnTo>
                  <a:close/>
                  <a:moveTo>
                    <a:pt x="83845" y="45862"/>
                  </a:moveTo>
                  <a:lnTo>
                    <a:pt x="83845" y="46551"/>
                  </a:lnTo>
                  <a:lnTo>
                    <a:pt x="83845" y="46551"/>
                  </a:lnTo>
                  <a:lnTo>
                    <a:pt x="84126" y="46551"/>
                  </a:lnTo>
                  <a:lnTo>
                    <a:pt x="84126" y="46551"/>
                  </a:lnTo>
                  <a:lnTo>
                    <a:pt x="84126" y="46551"/>
                  </a:lnTo>
                  <a:lnTo>
                    <a:pt x="84126" y="45862"/>
                  </a:lnTo>
                  <a:lnTo>
                    <a:pt x="83845" y="45862"/>
                  </a:lnTo>
                  <a:close/>
                  <a:moveTo>
                    <a:pt x="119296" y="59655"/>
                  </a:moveTo>
                  <a:lnTo>
                    <a:pt x="119296" y="58965"/>
                  </a:lnTo>
                  <a:lnTo>
                    <a:pt x="119015" y="58965"/>
                  </a:lnTo>
                  <a:lnTo>
                    <a:pt x="119015" y="58965"/>
                  </a:lnTo>
                  <a:lnTo>
                    <a:pt x="118030" y="58965"/>
                  </a:lnTo>
                  <a:lnTo>
                    <a:pt x="118030" y="58965"/>
                  </a:lnTo>
                  <a:lnTo>
                    <a:pt x="118030" y="57931"/>
                  </a:lnTo>
                  <a:lnTo>
                    <a:pt x="117608" y="57931"/>
                  </a:lnTo>
                  <a:lnTo>
                    <a:pt x="116905" y="57931"/>
                  </a:lnTo>
                  <a:lnTo>
                    <a:pt x="116623" y="57931"/>
                  </a:lnTo>
                  <a:lnTo>
                    <a:pt x="115920" y="57241"/>
                  </a:lnTo>
                  <a:lnTo>
                    <a:pt x="115357" y="56551"/>
                  </a:lnTo>
                  <a:lnTo>
                    <a:pt x="114935" y="55517"/>
                  </a:lnTo>
                  <a:lnTo>
                    <a:pt x="114935" y="55517"/>
                  </a:lnTo>
                  <a:lnTo>
                    <a:pt x="114654" y="55517"/>
                  </a:lnTo>
                  <a:lnTo>
                    <a:pt x="114372" y="54827"/>
                  </a:lnTo>
                  <a:lnTo>
                    <a:pt x="113950" y="54827"/>
                  </a:lnTo>
                  <a:lnTo>
                    <a:pt x="113950" y="54137"/>
                  </a:lnTo>
                  <a:lnTo>
                    <a:pt x="112262" y="52413"/>
                  </a:lnTo>
                  <a:lnTo>
                    <a:pt x="112262" y="52413"/>
                  </a:lnTo>
                  <a:lnTo>
                    <a:pt x="111981" y="51379"/>
                  </a:lnTo>
                  <a:lnTo>
                    <a:pt x="111699" y="51379"/>
                  </a:lnTo>
                  <a:lnTo>
                    <a:pt x="110996" y="52413"/>
                  </a:lnTo>
                  <a:lnTo>
                    <a:pt x="110715" y="53103"/>
                  </a:lnTo>
                  <a:lnTo>
                    <a:pt x="110011" y="54137"/>
                  </a:lnTo>
                  <a:lnTo>
                    <a:pt x="109730" y="54137"/>
                  </a:lnTo>
                  <a:lnTo>
                    <a:pt x="109730" y="54827"/>
                  </a:lnTo>
                  <a:lnTo>
                    <a:pt x="110011" y="55517"/>
                  </a:lnTo>
                  <a:lnTo>
                    <a:pt x="110011" y="55517"/>
                  </a:lnTo>
                  <a:lnTo>
                    <a:pt x="109730" y="56551"/>
                  </a:lnTo>
                  <a:lnTo>
                    <a:pt x="109026" y="57241"/>
                  </a:lnTo>
                  <a:lnTo>
                    <a:pt x="108323" y="57241"/>
                  </a:lnTo>
                  <a:lnTo>
                    <a:pt x="108042" y="57241"/>
                  </a:lnTo>
                  <a:lnTo>
                    <a:pt x="107620" y="57931"/>
                  </a:lnTo>
                  <a:lnTo>
                    <a:pt x="107620" y="58965"/>
                  </a:lnTo>
                  <a:lnTo>
                    <a:pt x="107620" y="59655"/>
                  </a:lnTo>
                  <a:lnTo>
                    <a:pt x="107338" y="59655"/>
                  </a:lnTo>
                  <a:lnTo>
                    <a:pt x="106635" y="60344"/>
                  </a:lnTo>
                  <a:lnTo>
                    <a:pt x="106635" y="61379"/>
                  </a:lnTo>
                  <a:lnTo>
                    <a:pt x="106635" y="62068"/>
                  </a:lnTo>
                  <a:lnTo>
                    <a:pt x="106354" y="63103"/>
                  </a:lnTo>
                  <a:lnTo>
                    <a:pt x="105650" y="63793"/>
                  </a:lnTo>
                  <a:lnTo>
                    <a:pt x="105650" y="64482"/>
                  </a:lnTo>
                  <a:lnTo>
                    <a:pt x="105369" y="65517"/>
                  </a:lnTo>
                  <a:lnTo>
                    <a:pt x="105087" y="65517"/>
                  </a:lnTo>
                  <a:lnTo>
                    <a:pt x="104665" y="65517"/>
                  </a:lnTo>
                  <a:lnTo>
                    <a:pt x="104384" y="65517"/>
                  </a:lnTo>
                  <a:lnTo>
                    <a:pt x="104384" y="65517"/>
                  </a:lnTo>
                  <a:lnTo>
                    <a:pt x="104103" y="64482"/>
                  </a:lnTo>
                  <a:lnTo>
                    <a:pt x="103681" y="64482"/>
                  </a:lnTo>
                  <a:lnTo>
                    <a:pt x="103681" y="63793"/>
                  </a:lnTo>
                  <a:lnTo>
                    <a:pt x="103681" y="63103"/>
                  </a:lnTo>
                  <a:lnTo>
                    <a:pt x="103681" y="62068"/>
                  </a:lnTo>
                  <a:lnTo>
                    <a:pt x="103681" y="62068"/>
                  </a:lnTo>
                  <a:lnTo>
                    <a:pt x="103399" y="62068"/>
                  </a:lnTo>
                  <a:lnTo>
                    <a:pt x="103399" y="60344"/>
                  </a:lnTo>
                  <a:lnTo>
                    <a:pt x="103399" y="59655"/>
                  </a:lnTo>
                  <a:lnTo>
                    <a:pt x="103399" y="59655"/>
                  </a:lnTo>
                  <a:lnTo>
                    <a:pt x="103118" y="58965"/>
                  </a:lnTo>
                  <a:lnTo>
                    <a:pt x="103118" y="59655"/>
                  </a:lnTo>
                  <a:lnTo>
                    <a:pt x="102696" y="59655"/>
                  </a:lnTo>
                  <a:lnTo>
                    <a:pt x="102696" y="60344"/>
                  </a:lnTo>
                  <a:lnTo>
                    <a:pt x="102696" y="61379"/>
                  </a:lnTo>
                  <a:lnTo>
                    <a:pt x="102415" y="59655"/>
                  </a:lnTo>
                  <a:lnTo>
                    <a:pt x="101992" y="57931"/>
                  </a:lnTo>
                  <a:lnTo>
                    <a:pt x="101992" y="57241"/>
                  </a:lnTo>
                  <a:lnTo>
                    <a:pt x="101992" y="56551"/>
                  </a:lnTo>
                  <a:lnTo>
                    <a:pt x="101992" y="55517"/>
                  </a:lnTo>
                  <a:lnTo>
                    <a:pt x="101992" y="54137"/>
                  </a:lnTo>
                  <a:lnTo>
                    <a:pt x="101992" y="53103"/>
                  </a:lnTo>
                  <a:lnTo>
                    <a:pt x="101992" y="53103"/>
                  </a:lnTo>
                  <a:lnTo>
                    <a:pt x="102415" y="52413"/>
                  </a:lnTo>
                  <a:lnTo>
                    <a:pt x="102415" y="51379"/>
                  </a:lnTo>
                  <a:lnTo>
                    <a:pt x="102415" y="50689"/>
                  </a:lnTo>
                  <a:lnTo>
                    <a:pt x="102415" y="50689"/>
                  </a:lnTo>
                  <a:lnTo>
                    <a:pt x="101992" y="50000"/>
                  </a:lnTo>
                  <a:lnTo>
                    <a:pt x="101992" y="48965"/>
                  </a:lnTo>
                  <a:lnTo>
                    <a:pt x="101992" y="48275"/>
                  </a:lnTo>
                  <a:lnTo>
                    <a:pt x="101992" y="47586"/>
                  </a:lnTo>
                  <a:lnTo>
                    <a:pt x="101992" y="47586"/>
                  </a:lnTo>
                  <a:lnTo>
                    <a:pt x="101711" y="46551"/>
                  </a:lnTo>
                  <a:lnTo>
                    <a:pt x="101711" y="46551"/>
                  </a:lnTo>
                  <a:lnTo>
                    <a:pt x="101430" y="46551"/>
                  </a:lnTo>
                  <a:lnTo>
                    <a:pt x="101008" y="46551"/>
                  </a:lnTo>
                  <a:lnTo>
                    <a:pt x="100445" y="46551"/>
                  </a:lnTo>
                  <a:lnTo>
                    <a:pt x="99742" y="45862"/>
                  </a:lnTo>
                  <a:lnTo>
                    <a:pt x="99460" y="44827"/>
                  </a:lnTo>
                  <a:lnTo>
                    <a:pt x="98757" y="44137"/>
                  </a:lnTo>
                  <a:lnTo>
                    <a:pt x="98053" y="43448"/>
                  </a:lnTo>
                  <a:lnTo>
                    <a:pt x="97772" y="43448"/>
                  </a:lnTo>
                  <a:lnTo>
                    <a:pt x="97350" y="43448"/>
                  </a:lnTo>
                  <a:lnTo>
                    <a:pt x="96787" y="44137"/>
                  </a:lnTo>
                  <a:lnTo>
                    <a:pt x="96787" y="44137"/>
                  </a:lnTo>
                  <a:lnTo>
                    <a:pt x="96787" y="44827"/>
                  </a:lnTo>
                  <a:lnTo>
                    <a:pt x="96365" y="44827"/>
                  </a:lnTo>
                  <a:lnTo>
                    <a:pt x="96084" y="45862"/>
                  </a:lnTo>
                  <a:lnTo>
                    <a:pt x="96084" y="45862"/>
                  </a:lnTo>
                  <a:lnTo>
                    <a:pt x="95099" y="46551"/>
                  </a:lnTo>
                  <a:lnTo>
                    <a:pt x="94818" y="46551"/>
                  </a:lnTo>
                  <a:lnTo>
                    <a:pt x="94396" y="47586"/>
                  </a:lnTo>
                  <a:lnTo>
                    <a:pt x="94396" y="47586"/>
                  </a:lnTo>
                  <a:lnTo>
                    <a:pt x="94396" y="48275"/>
                  </a:lnTo>
                  <a:lnTo>
                    <a:pt x="94396" y="48275"/>
                  </a:lnTo>
                  <a:lnTo>
                    <a:pt x="94396" y="48965"/>
                  </a:lnTo>
                  <a:lnTo>
                    <a:pt x="94114" y="50000"/>
                  </a:lnTo>
                  <a:lnTo>
                    <a:pt x="94114" y="50000"/>
                  </a:lnTo>
                  <a:lnTo>
                    <a:pt x="94114" y="50000"/>
                  </a:lnTo>
                  <a:lnTo>
                    <a:pt x="93833" y="50689"/>
                  </a:lnTo>
                  <a:lnTo>
                    <a:pt x="93833" y="51379"/>
                  </a:lnTo>
                  <a:lnTo>
                    <a:pt x="94114" y="51379"/>
                  </a:lnTo>
                  <a:lnTo>
                    <a:pt x="94114" y="51379"/>
                  </a:lnTo>
                  <a:lnTo>
                    <a:pt x="94396" y="51379"/>
                  </a:lnTo>
                  <a:lnTo>
                    <a:pt x="94396" y="51379"/>
                  </a:lnTo>
                  <a:lnTo>
                    <a:pt x="94818" y="50689"/>
                  </a:lnTo>
                  <a:lnTo>
                    <a:pt x="95803" y="52413"/>
                  </a:lnTo>
                  <a:lnTo>
                    <a:pt x="96084" y="52413"/>
                  </a:lnTo>
                  <a:lnTo>
                    <a:pt x="96365" y="52413"/>
                  </a:lnTo>
                  <a:lnTo>
                    <a:pt x="96365" y="53103"/>
                  </a:lnTo>
                  <a:lnTo>
                    <a:pt x="96365" y="54827"/>
                  </a:lnTo>
                  <a:lnTo>
                    <a:pt x="96365" y="55517"/>
                  </a:lnTo>
                  <a:lnTo>
                    <a:pt x="96787" y="55517"/>
                  </a:lnTo>
                  <a:lnTo>
                    <a:pt x="96787" y="56551"/>
                  </a:lnTo>
                  <a:lnTo>
                    <a:pt x="97069" y="56551"/>
                  </a:lnTo>
                  <a:lnTo>
                    <a:pt x="97069" y="57241"/>
                  </a:lnTo>
                  <a:lnTo>
                    <a:pt x="97350" y="57241"/>
                  </a:lnTo>
                  <a:lnTo>
                    <a:pt x="97772" y="57241"/>
                  </a:lnTo>
                  <a:lnTo>
                    <a:pt x="98053" y="57241"/>
                  </a:lnTo>
                  <a:lnTo>
                    <a:pt x="98757" y="57241"/>
                  </a:lnTo>
                  <a:lnTo>
                    <a:pt x="99038" y="57241"/>
                  </a:lnTo>
                  <a:lnTo>
                    <a:pt x="99742" y="57241"/>
                  </a:lnTo>
                  <a:lnTo>
                    <a:pt x="100023" y="57241"/>
                  </a:lnTo>
                  <a:lnTo>
                    <a:pt x="100445" y="57241"/>
                  </a:lnTo>
                  <a:lnTo>
                    <a:pt x="100726" y="57241"/>
                  </a:lnTo>
                  <a:lnTo>
                    <a:pt x="101430" y="56551"/>
                  </a:lnTo>
                  <a:lnTo>
                    <a:pt x="101430" y="56551"/>
                  </a:lnTo>
                  <a:lnTo>
                    <a:pt x="101430" y="57241"/>
                  </a:lnTo>
                  <a:lnTo>
                    <a:pt x="101430" y="57241"/>
                  </a:lnTo>
                  <a:lnTo>
                    <a:pt x="101008" y="57931"/>
                  </a:lnTo>
                  <a:lnTo>
                    <a:pt x="101430" y="57931"/>
                  </a:lnTo>
                  <a:lnTo>
                    <a:pt x="101430" y="57931"/>
                  </a:lnTo>
                  <a:lnTo>
                    <a:pt x="101430" y="58965"/>
                  </a:lnTo>
                  <a:lnTo>
                    <a:pt x="101008" y="58965"/>
                  </a:lnTo>
                  <a:lnTo>
                    <a:pt x="101008" y="58965"/>
                  </a:lnTo>
                  <a:lnTo>
                    <a:pt x="100726" y="59655"/>
                  </a:lnTo>
                  <a:lnTo>
                    <a:pt x="100726" y="59655"/>
                  </a:lnTo>
                  <a:lnTo>
                    <a:pt x="100726" y="59655"/>
                  </a:lnTo>
                  <a:lnTo>
                    <a:pt x="100726" y="59655"/>
                  </a:lnTo>
                  <a:lnTo>
                    <a:pt x="100445" y="59655"/>
                  </a:lnTo>
                  <a:lnTo>
                    <a:pt x="100023" y="58965"/>
                  </a:lnTo>
                  <a:lnTo>
                    <a:pt x="99742" y="58965"/>
                  </a:lnTo>
                  <a:lnTo>
                    <a:pt x="99460" y="58965"/>
                  </a:lnTo>
                  <a:lnTo>
                    <a:pt x="99460" y="58965"/>
                  </a:lnTo>
                  <a:lnTo>
                    <a:pt x="99038" y="58965"/>
                  </a:lnTo>
                  <a:lnTo>
                    <a:pt x="98757" y="60344"/>
                  </a:lnTo>
                  <a:lnTo>
                    <a:pt x="98475" y="61379"/>
                  </a:lnTo>
                  <a:lnTo>
                    <a:pt x="98053" y="61379"/>
                  </a:lnTo>
                  <a:lnTo>
                    <a:pt x="97772" y="60344"/>
                  </a:lnTo>
                  <a:lnTo>
                    <a:pt x="97069" y="60344"/>
                  </a:lnTo>
                  <a:lnTo>
                    <a:pt x="97069" y="60344"/>
                  </a:lnTo>
                  <a:lnTo>
                    <a:pt x="96365" y="61379"/>
                  </a:lnTo>
                  <a:lnTo>
                    <a:pt x="96365" y="61379"/>
                  </a:lnTo>
                  <a:lnTo>
                    <a:pt x="96365" y="62068"/>
                  </a:lnTo>
                  <a:lnTo>
                    <a:pt x="96365" y="62068"/>
                  </a:lnTo>
                  <a:lnTo>
                    <a:pt x="96787" y="62068"/>
                  </a:lnTo>
                  <a:lnTo>
                    <a:pt x="97069" y="62068"/>
                  </a:lnTo>
                  <a:lnTo>
                    <a:pt x="97350" y="63103"/>
                  </a:lnTo>
                  <a:lnTo>
                    <a:pt x="97772" y="63793"/>
                  </a:lnTo>
                  <a:lnTo>
                    <a:pt x="98475" y="64482"/>
                  </a:lnTo>
                  <a:lnTo>
                    <a:pt x="98475" y="66206"/>
                  </a:lnTo>
                  <a:lnTo>
                    <a:pt x="98475" y="66896"/>
                  </a:lnTo>
                  <a:lnTo>
                    <a:pt x="98053" y="67931"/>
                  </a:lnTo>
                  <a:lnTo>
                    <a:pt x="98475" y="68620"/>
                  </a:lnTo>
                  <a:lnTo>
                    <a:pt x="98475" y="69310"/>
                  </a:lnTo>
                  <a:lnTo>
                    <a:pt x="98475" y="70344"/>
                  </a:lnTo>
                  <a:lnTo>
                    <a:pt x="98757" y="70344"/>
                  </a:lnTo>
                  <a:lnTo>
                    <a:pt x="98757" y="71034"/>
                  </a:lnTo>
                  <a:lnTo>
                    <a:pt x="99038" y="70344"/>
                  </a:lnTo>
                  <a:lnTo>
                    <a:pt x="99460" y="70344"/>
                  </a:lnTo>
                  <a:lnTo>
                    <a:pt x="99460" y="70344"/>
                  </a:lnTo>
                  <a:lnTo>
                    <a:pt x="99742" y="69310"/>
                  </a:lnTo>
                  <a:lnTo>
                    <a:pt x="100023" y="68620"/>
                  </a:lnTo>
                  <a:lnTo>
                    <a:pt x="100023" y="68620"/>
                  </a:lnTo>
                  <a:lnTo>
                    <a:pt x="100023" y="67931"/>
                  </a:lnTo>
                  <a:lnTo>
                    <a:pt x="100023" y="66896"/>
                  </a:lnTo>
                  <a:lnTo>
                    <a:pt x="100445" y="66206"/>
                  </a:lnTo>
                  <a:lnTo>
                    <a:pt x="100445" y="65517"/>
                  </a:lnTo>
                  <a:lnTo>
                    <a:pt x="100445" y="66206"/>
                  </a:lnTo>
                  <a:lnTo>
                    <a:pt x="100726" y="65517"/>
                  </a:lnTo>
                  <a:lnTo>
                    <a:pt x="100726" y="63793"/>
                  </a:lnTo>
                  <a:lnTo>
                    <a:pt x="100726" y="63793"/>
                  </a:lnTo>
                  <a:lnTo>
                    <a:pt x="100726" y="63793"/>
                  </a:lnTo>
                  <a:lnTo>
                    <a:pt x="101008" y="63103"/>
                  </a:lnTo>
                  <a:lnTo>
                    <a:pt x="101008" y="63103"/>
                  </a:lnTo>
                  <a:lnTo>
                    <a:pt x="101008" y="63793"/>
                  </a:lnTo>
                  <a:lnTo>
                    <a:pt x="100726" y="64482"/>
                  </a:lnTo>
                  <a:lnTo>
                    <a:pt x="100726" y="65517"/>
                  </a:lnTo>
                  <a:lnTo>
                    <a:pt x="100726" y="66206"/>
                  </a:lnTo>
                  <a:lnTo>
                    <a:pt x="100726" y="66896"/>
                  </a:lnTo>
                  <a:lnTo>
                    <a:pt x="101008" y="67931"/>
                  </a:lnTo>
                  <a:lnTo>
                    <a:pt x="101008" y="67931"/>
                  </a:lnTo>
                  <a:lnTo>
                    <a:pt x="101008" y="67931"/>
                  </a:lnTo>
                  <a:lnTo>
                    <a:pt x="101430" y="68620"/>
                  </a:lnTo>
                  <a:lnTo>
                    <a:pt x="101430" y="68620"/>
                  </a:lnTo>
                  <a:lnTo>
                    <a:pt x="101711" y="68620"/>
                  </a:lnTo>
                  <a:lnTo>
                    <a:pt x="101711" y="68620"/>
                  </a:lnTo>
                  <a:lnTo>
                    <a:pt x="101711" y="68620"/>
                  </a:lnTo>
                  <a:lnTo>
                    <a:pt x="101992" y="68620"/>
                  </a:lnTo>
                  <a:lnTo>
                    <a:pt x="101992" y="69310"/>
                  </a:lnTo>
                  <a:lnTo>
                    <a:pt x="101992" y="69310"/>
                  </a:lnTo>
                  <a:lnTo>
                    <a:pt x="102415" y="69310"/>
                  </a:lnTo>
                  <a:lnTo>
                    <a:pt x="102696" y="69310"/>
                  </a:lnTo>
                  <a:lnTo>
                    <a:pt x="102696" y="70344"/>
                  </a:lnTo>
                  <a:lnTo>
                    <a:pt x="103118" y="70344"/>
                  </a:lnTo>
                  <a:lnTo>
                    <a:pt x="103399" y="69310"/>
                  </a:lnTo>
                  <a:lnTo>
                    <a:pt x="103399" y="69310"/>
                  </a:lnTo>
                  <a:lnTo>
                    <a:pt x="103681" y="69310"/>
                  </a:lnTo>
                  <a:lnTo>
                    <a:pt x="103399" y="69310"/>
                  </a:lnTo>
                  <a:lnTo>
                    <a:pt x="103399" y="70344"/>
                  </a:lnTo>
                  <a:lnTo>
                    <a:pt x="103118" y="70344"/>
                  </a:lnTo>
                  <a:lnTo>
                    <a:pt x="103399" y="71034"/>
                  </a:lnTo>
                  <a:lnTo>
                    <a:pt x="104384" y="73448"/>
                  </a:lnTo>
                  <a:lnTo>
                    <a:pt x="104665" y="73448"/>
                  </a:lnTo>
                  <a:lnTo>
                    <a:pt x="105087" y="73448"/>
                  </a:lnTo>
                  <a:lnTo>
                    <a:pt x="105087" y="73448"/>
                  </a:lnTo>
                  <a:lnTo>
                    <a:pt x="105650" y="73448"/>
                  </a:lnTo>
                  <a:lnTo>
                    <a:pt x="106635" y="73448"/>
                  </a:lnTo>
                  <a:lnTo>
                    <a:pt x="106635" y="74482"/>
                  </a:lnTo>
                  <a:lnTo>
                    <a:pt x="107057" y="75172"/>
                  </a:lnTo>
                  <a:lnTo>
                    <a:pt x="107620" y="75172"/>
                  </a:lnTo>
                  <a:lnTo>
                    <a:pt x="108042" y="75862"/>
                  </a:lnTo>
                  <a:lnTo>
                    <a:pt x="108745" y="76896"/>
                  </a:lnTo>
                  <a:lnTo>
                    <a:pt x="109026" y="76896"/>
                  </a:lnTo>
                  <a:lnTo>
                    <a:pt x="109026" y="76896"/>
                  </a:lnTo>
                  <a:lnTo>
                    <a:pt x="109308" y="76896"/>
                  </a:lnTo>
                  <a:lnTo>
                    <a:pt x="109308" y="76896"/>
                  </a:lnTo>
                  <a:lnTo>
                    <a:pt x="109308" y="76896"/>
                  </a:lnTo>
                  <a:lnTo>
                    <a:pt x="109730" y="77586"/>
                  </a:lnTo>
                  <a:lnTo>
                    <a:pt x="109730" y="76896"/>
                  </a:lnTo>
                  <a:lnTo>
                    <a:pt x="110011" y="76896"/>
                  </a:lnTo>
                  <a:lnTo>
                    <a:pt x="110011" y="77586"/>
                  </a:lnTo>
                  <a:lnTo>
                    <a:pt x="110996" y="79310"/>
                  </a:lnTo>
                  <a:lnTo>
                    <a:pt x="110996" y="79310"/>
                  </a:lnTo>
                  <a:lnTo>
                    <a:pt x="111277" y="80000"/>
                  </a:lnTo>
                  <a:lnTo>
                    <a:pt x="111277" y="80000"/>
                  </a:lnTo>
                  <a:lnTo>
                    <a:pt x="111277" y="80000"/>
                  </a:lnTo>
                  <a:lnTo>
                    <a:pt x="111699" y="80000"/>
                  </a:lnTo>
                  <a:lnTo>
                    <a:pt x="111699" y="81034"/>
                  </a:lnTo>
                  <a:lnTo>
                    <a:pt x="111981" y="81724"/>
                  </a:lnTo>
                  <a:lnTo>
                    <a:pt x="111699" y="81724"/>
                  </a:lnTo>
                  <a:lnTo>
                    <a:pt x="111699" y="82413"/>
                  </a:lnTo>
                  <a:lnTo>
                    <a:pt x="111981" y="82413"/>
                  </a:lnTo>
                  <a:lnTo>
                    <a:pt x="111981" y="82413"/>
                  </a:lnTo>
                  <a:lnTo>
                    <a:pt x="111981" y="82413"/>
                  </a:lnTo>
                  <a:lnTo>
                    <a:pt x="112262" y="82413"/>
                  </a:lnTo>
                  <a:lnTo>
                    <a:pt x="112684" y="82413"/>
                  </a:lnTo>
                  <a:lnTo>
                    <a:pt x="112262" y="82413"/>
                  </a:lnTo>
                  <a:lnTo>
                    <a:pt x="111981" y="83448"/>
                  </a:lnTo>
                  <a:lnTo>
                    <a:pt x="112262" y="83448"/>
                  </a:lnTo>
                  <a:lnTo>
                    <a:pt x="112684" y="83448"/>
                  </a:lnTo>
                  <a:lnTo>
                    <a:pt x="112262" y="84137"/>
                  </a:lnTo>
                  <a:lnTo>
                    <a:pt x="112262" y="84137"/>
                  </a:lnTo>
                  <a:lnTo>
                    <a:pt x="112684" y="85862"/>
                  </a:lnTo>
                  <a:lnTo>
                    <a:pt x="112684" y="87241"/>
                  </a:lnTo>
                  <a:lnTo>
                    <a:pt x="112966" y="88275"/>
                  </a:lnTo>
                  <a:lnTo>
                    <a:pt x="112966" y="88965"/>
                  </a:lnTo>
                  <a:lnTo>
                    <a:pt x="113388" y="88965"/>
                  </a:lnTo>
                  <a:lnTo>
                    <a:pt x="113388" y="90000"/>
                  </a:lnTo>
                  <a:lnTo>
                    <a:pt x="113669" y="90689"/>
                  </a:lnTo>
                  <a:lnTo>
                    <a:pt x="113669" y="90689"/>
                  </a:lnTo>
                  <a:lnTo>
                    <a:pt x="113388" y="91379"/>
                  </a:lnTo>
                  <a:lnTo>
                    <a:pt x="112966" y="91379"/>
                  </a:lnTo>
                  <a:lnTo>
                    <a:pt x="112966" y="91379"/>
                  </a:lnTo>
                  <a:lnTo>
                    <a:pt x="113388" y="92413"/>
                  </a:lnTo>
                  <a:lnTo>
                    <a:pt x="113669" y="93103"/>
                  </a:lnTo>
                  <a:lnTo>
                    <a:pt x="113950" y="93103"/>
                  </a:lnTo>
                  <a:lnTo>
                    <a:pt x="114372" y="93103"/>
                  </a:lnTo>
                  <a:lnTo>
                    <a:pt x="114372" y="93103"/>
                  </a:lnTo>
                  <a:lnTo>
                    <a:pt x="113950" y="93793"/>
                  </a:lnTo>
                  <a:lnTo>
                    <a:pt x="113950" y="93793"/>
                  </a:lnTo>
                  <a:lnTo>
                    <a:pt x="113669" y="93103"/>
                  </a:lnTo>
                  <a:lnTo>
                    <a:pt x="113669" y="93103"/>
                  </a:lnTo>
                  <a:lnTo>
                    <a:pt x="113388" y="93103"/>
                  </a:lnTo>
                  <a:lnTo>
                    <a:pt x="113388" y="93793"/>
                  </a:lnTo>
                  <a:lnTo>
                    <a:pt x="113388" y="93793"/>
                  </a:lnTo>
                  <a:lnTo>
                    <a:pt x="113669" y="94827"/>
                  </a:lnTo>
                  <a:lnTo>
                    <a:pt x="113669" y="94827"/>
                  </a:lnTo>
                  <a:lnTo>
                    <a:pt x="113669" y="95517"/>
                  </a:lnTo>
                  <a:lnTo>
                    <a:pt x="113950" y="95517"/>
                  </a:lnTo>
                  <a:lnTo>
                    <a:pt x="113950" y="95517"/>
                  </a:lnTo>
                  <a:lnTo>
                    <a:pt x="113950" y="96206"/>
                  </a:lnTo>
                  <a:lnTo>
                    <a:pt x="113950" y="96206"/>
                  </a:lnTo>
                  <a:lnTo>
                    <a:pt x="113950" y="97241"/>
                  </a:lnTo>
                  <a:lnTo>
                    <a:pt x="113950" y="97931"/>
                  </a:lnTo>
                  <a:lnTo>
                    <a:pt x="113669" y="98965"/>
                  </a:lnTo>
                  <a:lnTo>
                    <a:pt x="113669" y="99655"/>
                  </a:lnTo>
                  <a:lnTo>
                    <a:pt x="113388" y="99655"/>
                  </a:lnTo>
                  <a:lnTo>
                    <a:pt x="113388" y="100344"/>
                  </a:lnTo>
                  <a:lnTo>
                    <a:pt x="113388" y="100344"/>
                  </a:lnTo>
                  <a:lnTo>
                    <a:pt x="113388" y="101379"/>
                  </a:lnTo>
                  <a:lnTo>
                    <a:pt x="113669" y="101379"/>
                  </a:lnTo>
                  <a:lnTo>
                    <a:pt x="113950" y="100344"/>
                  </a:lnTo>
                  <a:lnTo>
                    <a:pt x="114372" y="99655"/>
                  </a:lnTo>
                  <a:lnTo>
                    <a:pt x="114372" y="98965"/>
                  </a:lnTo>
                  <a:lnTo>
                    <a:pt x="114372" y="99655"/>
                  </a:lnTo>
                  <a:lnTo>
                    <a:pt x="114372" y="99655"/>
                  </a:lnTo>
                  <a:lnTo>
                    <a:pt x="114654" y="100344"/>
                  </a:lnTo>
                  <a:lnTo>
                    <a:pt x="114654" y="100344"/>
                  </a:lnTo>
                  <a:lnTo>
                    <a:pt x="114935" y="100344"/>
                  </a:lnTo>
                  <a:lnTo>
                    <a:pt x="115357" y="100344"/>
                  </a:lnTo>
                  <a:lnTo>
                    <a:pt x="115920" y="99655"/>
                  </a:lnTo>
                  <a:lnTo>
                    <a:pt x="116342" y="99655"/>
                  </a:lnTo>
                  <a:lnTo>
                    <a:pt x="116342" y="99655"/>
                  </a:lnTo>
                  <a:lnTo>
                    <a:pt x="116623" y="98965"/>
                  </a:lnTo>
                  <a:lnTo>
                    <a:pt x="116342" y="99655"/>
                  </a:lnTo>
                  <a:lnTo>
                    <a:pt x="116342" y="100344"/>
                  </a:lnTo>
                  <a:lnTo>
                    <a:pt x="116342" y="100344"/>
                  </a:lnTo>
                  <a:lnTo>
                    <a:pt x="116342" y="100344"/>
                  </a:lnTo>
                  <a:lnTo>
                    <a:pt x="116623" y="101379"/>
                  </a:lnTo>
                  <a:lnTo>
                    <a:pt x="117608" y="103793"/>
                  </a:lnTo>
                  <a:lnTo>
                    <a:pt x="117608" y="104482"/>
                  </a:lnTo>
                  <a:lnTo>
                    <a:pt x="118030" y="105172"/>
                  </a:lnTo>
                  <a:lnTo>
                    <a:pt x="118311" y="106206"/>
                  </a:lnTo>
                  <a:lnTo>
                    <a:pt x="118593" y="106896"/>
                  </a:lnTo>
                  <a:lnTo>
                    <a:pt x="118593" y="106896"/>
                  </a:lnTo>
                  <a:lnTo>
                    <a:pt x="118593" y="106896"/>
                  </a:lnTo>
                  <a:lnTo>
                    <a:pt x="118593" y="106206"/>
                  </a:lnTo>
                  <a:lnTo>
                    <a:pt x="118593" y="104482"/>
                  </a:lnTo>
                  <a:lnTo>
                    <a:pt x="119015" y="102758"/>
                  </a:lnTo>
                  <a:lnTo>
                    <a:pt x="119015" y="101379"/>
                  </a:lnTo>
                  <a:lnTo>
                    <a:pt x="119015" y="99655"/>
                  </a:lnTo>
                  <a:lnTo>
                    <a:pt x="119015" y="97931"/>
                  </a:lnTo>
                  <a:lnTo>
                    <a:pt x="119015" y="97241"/>
                  </a:lnTo>
                  <a:lnTo>
                    <a:pt x="119015" y="95517"/>
                  </a:lnTo>
                  <a:lnTo>
                    <a:pt x="119015" y="93793"/>
                  </a:lnTo>
                  <a:lnTo>
                    <a:pt x="119296" y="92413"/>
                  </a:lnTo>
                  <a:lnTo>
                    <a:pt x="119296" y="91379"/>
                  </a:lnTo>
                  <a:lnTo>
                    <a:pt x="119015" y="90689"/>
                  </a:lnTo>
                  <a:lnTo>
                    <a:pt x="119015" y="90000"/>
                  </a:lnTo>
                  <a:lnTo>
                    <a:pt x="119015" y="88965"/>
                  </a:lnTo>
                  <a:lnTo>
                    <a:pt x="119296" y="88275"/>
                  </a:lnTo>
                  <a:lnTo>
                    <a:pt x="119296" y="87241"/>
                  </a:lnTo>
                  <a:lnTo>
                    <a:pt x="119296" y="86551"/>
                  </a:lnTo>
                  <a:lnTo>
                    <a:pt x="119296" y="84827"/>
                  </a:lnTo>
                  <a:lnTo>
                    <a:pt x="119296" y="83448"/>
                  </a:lnTo>
                  <a:lnTo>
                    <a:pt x="119296" y="81724"/>
                  </a:lnTo>
                  <a:lnTo>
                    <a:pt x="119296" y="81034"/>
                  </a:lnTo>
                  <a:lnTo>
                    <a:pt x="119577" y="79310"/>
                  </a:lnTo>
                  <a:lnTo>
                    <a:pt x="119577" y="77586"/>
                  </a:lnTo>
                  <a:lnTo>
                    <a:pt x="119577" y="75862"/>
                  </a:lnTo>
                  <a:lnTo>
                    <a:pt x="119577" y="74482"/>
                  </a:lnTo>
                  <a:lnTo>
                    <a:pt x="119577" y="73448"/>
                  </a:lnTo>
                  <a:lnTo>
                    <a:pt x="119577" y="72068"/>
                  </a:lnTo>
                  <a:lnTo>
                    <a:pt x="119577" y="70344"/>
                  </a:lnTo>
                  <a:lnTo>
                    <a:pt x="119577" y="68620"/>
                  </a:lnTo>
                  <a:lnTo>
                    <a:pt x="119577" y="66896"/>
                  </a:lnTo>
                  <a:lnTo>
                    <a:pt x="119577" y="66206"/>
                  </a:lnTo>
                  <a:lnTo>
                    <a:pt x="119577" y="64482"/>
                  </a:lnTo>
                  <a:lnTo>
                    <a:pt x="119577" y="63103"/>
                  </a:lnTo>
                  <a:lnTo>
                    <a:pt x="120000" y="61379"/>
                  </a:lnTo>
                  <a:lnTo>
                    <a:pt x="120000" y="59655"/>
                  </a:lnTo>
                  <a:lnTo>
                    <a:pt x="119296" y="59655"/>
                  </a:lnTo>
                  <a:close/>
                  <a:moveTo>
                    <a:pt x="84830" y="45862"/>
                  </a:moveTo>
                  <a:lnTo>
                    <a:pt x="84548" y="46551"/>
                  </a:lnTo>
                  <a:lnTo>
                    <a:pt x="84548" y="46551"/>
                  </a:lnTo>
                  <a:lnTo>
                    <a:pt x="84830" y="46551"/>
                  </a:lnTo>
                  <a:lnTo>
                    <a:pt x="85111" y="46551"/>
                  </a:lnTo>
                  <a:lnTo>
                    <a:pt x="85111" y="46551"/>
                  </a:lnTo>
                  <a:lnTo>
                    <a:pt x="85111" y="46551"/>
                  </a:lnTo>
                  <a:lnTo>
                    <a:pt x="85533" y="47586"/>
                  </a:lnTo>
                  <a:lnTo>
                    <a:pt x="85533" y="47586"/>
                  </a:lnTo>
                  <a:lnTo>
                    <a:pt x="85814" y="46551"/>
                  </a:lnTo>
                  <a:lnTo>
                    <a:pt x="85814" y="46551"/>
                  </a:lnTo>
                  <a:lnTo>
                    <a:pt x="85533" y="45862"/>
                  </a:lnTo>
                  <a:lnTo>
                    <a:pt x="85533" y="45862"/>
                  </a:lnTo>
                  <a:lnTo>
                    <a:pt x="85111" y="45862"/>
                  </a:lnTo>
                  <a:lnTo>
                    <a:pt x="85111" y="44827"/>
                  </a:lnTo>
                  <a:lnTo>
                    <a:pt x="85111" y="44137"/>
                  </a:lnTo>
                  <a:lnTo>
                    <a:pt x="84830" y="43448"/>
                  </a:lnTo>
                  <a:lnTo>
                    <a:pt x="84830" y="43448"/>
                  </a:lnTo>
                  <a:lnTo>
                    <a:pt x="84830" y="43448"/>
                  </a:lnTo>
                  <a:lnTo>
                    <a:pt x="84548" y="44137"/>
                  </a:lnTo>
                  <a:lnTo>
                    <a:pt x="84548" y="43448"/>
                  </a:lnTo>
                  <a:lnTo>
                    <a:pt x="84126" y="43448"/>
                  </a:lnTo>
                  <a:lnTo>
                    <a:pt x="84126" y="44137"/>
                  </a:lnTo>
                  <a:lnTo>
                    <a:pt x="84126" y="44137"/>
                  </a:lnTo>
                  <a:lnTo>
                    <a:pt x="84126" y="44137"/>
                  </a:lnTo>
                  <a:lnTo>
                    <a:pt x="84548" y="44827"/>
                  </a:lnTo>
                  <a:lnTo>
                    <a:pt x="84830" y="45862"/>
                  </a:lnTo>
                  <a:close/>
                  <a:moveTo>
                    <a:pt x="83845" y="44827"/>
                  </a:moveTo>
                  <a:lnTo>
                    <a:pt x="84126" y="44137"/>
                  </a:lnTo>
                  <a:lnTo>
                    <a:pt x="84126" y="44137"/>
                  </a:lnTo>
                  <a:lnTo>
                    <a:pt x="84126" y="43448"/>
                  </a:lnTo>
                  <a:lnTo>
                    <a:pt x="84126" y="43448"/>
                  </a:lnTo>
                  <a:lnTo>
                    <a:pt x="83845" y="42413"/>
                  </a:lnTo>
                  <a:lnTo>
                    <a:pt x="83845" y="43448"/>
                  </a:lnTo>
                  <a:lnTo>
                    <a:pt x="83845" y="44137"/>
                  </a:lnTo>
                  <a:lnTo>
                    <a:pt x="83845" y="44827"/>
                  </a:lnTo>
                  <a:lnTo>
                    <a:pt x="83845" y="44827"/>
                  </a:lnTo>
                  <a:close/>
                  <a:moveTo>
                    <a:pt x="22086" y="42413"/>
                  </a:moveTo>
                  <a:lnTo>
                    <a:pt x="21805" y="43448"/>
                  </a:lnTo>
                  <a:lnTo>
                    <a:pt x="21805" y="43448"/>
                  </a:lnTo>
                  <a:lnTo>
                    <a:pt x="22086" y="43448"/>
                  </a:lnTo>
                  <a:lnTo>
                    <a:pt x="22508" y="43448"/>
                  </a:lnTo>
                  <a:lnTo>
                    <a:pt x="22790" y="43448"/>
                  </a:lnTo>
                  <a:lnTo>
                    <a:pt x="22508" y="43448"/>
                  </a:lnTo>
                  <a:lnTo>
                    <a:pt x="22086" y="42413"/>
                  </a:lnTo>
                  <a:lnTo>
                    <a:pt x="22086" y="42413"/>
                  </a:lnTo>
                  <a:close/>
                  <a:moveTo>
                    <a:pt x="93833" y="43448"/>
                  </a:moveTo>
                  <a:lnTo>
                    <a:pt x="93411" y="43448"/>
                  </a:lnTo>
                  <a:lnTo>
                    <a:pt x="93411" y="43448"/>
                  </a:lnTo>
                  <a:lnTo>
                    <a:pt x="93411" y="43448"/>
                  </a:lnTo>
                  <a:lnTo>
                    <a:pt x="93130" y="42413"/>
                  </a:lnTo>
                  <a:lnTo>
                    <a:pt x="93130" y="41724"/>
                  </a:lnTo>
                  <a:lnTo>
                    <a:pt x="92708" y="41724"/>
                  </a:lnTo>
                  <a:lnTo>
                    <a:pt x="93130" y="41724"/>
                  </a:lnTo>
                  <a:lnTo>
                    <a:pt x="93411" y="42413"/>
                  </a:lnTo>
                  <a:lnTo>
                    <a:pt x="93833" y="42413"/>
                  </a:lnTo>
                  <a:lnTo>
                    <a:pt x="93833" y="43448"/>
                  </a:lnTo>
                  <a:lnTo>
                    <a:pt x="93833" y="43448"/>
                  </a:lnTo>
                  <a:lnTo>
                    <a:pt x="94114" y="43448"/>
                  </a:lnTo>
                  <a:lnTo>
                    <a:pt x="94396" y="43448"/>
                  </a:lnTo>
                  <a:lnTo>
                    <a:pt x="94396" y="43448"/>
                  </a:lnTo>
                  <a:lnTo>
                    <a:pt x="94396" y="43448"/>
                  </a:lnTo>
                  <a:lnTo>
                    <a:pt x="94818" y="43448"/>
                  </a:lnTo>
                  <a:lnTo>
                    <a:pt x="94818" y="42413"/>
                  </a:lnTo>
                  <a:lnTo>
                    <a:pt x="94818" y="42413"/>
                  </a:lnTo>
                  <a:lnTo>
                    <a:pt x="94818" y="41724"/>
                  </a:lnTo>
                  <a:lnTo>
                    <a:pt x="94114" y="41034"/>
                  </a:lnTo>
                  <a:lnTo>
                    <a:pt x="93833" y="41034"/>
                  </a:lnTo>
                  <a:lnTo>
                    <a:pt x="93411" y="41034"/>
                  </a:lnTo>
                  <a:lnTo>
                    <a:pt x="93130" y="41034"/>
                  </a:lnTo>
                  <a:lnTo>
                    <a:pt x="92708" y="41034"/>
                  </a:lnTo>
                  <a:lnTo>
                    <a:pt x="92708" y="41724"/>
                  </a:lnTo>
                  <a:lnTo>
                    <a:pt x="92426" y="41724"/>
                  </a:lnTo>
                  <a:lnTo>
                    <a:pt x="92426" y="41724"/>
                  </a:lnTo>
                  <a:lnTo>
                    <a:pt x="92145" y="41724"/>
                  </a:lnTo>
                  <a:lnTo>
                    <a:pt x="92145" y="41724"/>
                  </a:lnTo>
                  <a:lnTo>
                    <a:pt x="92145" y="41724"/>
                  </a:lnTo>
                  <a:lnTo>
                    <a:pt x="91723" y="42413"/>
                  </a:lnTo>
                  <a:lnTo>
                    <a:pt x="92145" y="42413"/>
                  </a:lnTo>
                  <a:lnTo>
                    <a:pt x="92426" y="42413"/>
                  </a:lnTo>
                  <a:lnTo>
                    <a:pt x="92708" y="43448"/>
                  </a:lnTo>
                  <a:lnTo>
                    <a:pt x="92708" y="43448"/>
                  </a:lnTo>
                  <a:lnTo>
                    <a:pt x="92708" y="43448"/>
                  </a:lnTo>
                  <a:lnTo>
                    <a:pt x="93130" y="43448"/>
                  </a:lnTo>
                  <a:lnTo>
                    <a:pt x="93833" y="43448"/>
                  </a:lnTo>
                  <a:close/>
                  <a:moveTo>
                    <a:pt x="8581" y="41034"/>
                  </a:moveTo>
                  <a:lnTo>
                    <a:pt x="8581" y="41034"/>
                  </a:lnTo>
                  <a:lnTo>
                    <a:pt x="8581" y="41034"/>
                  </a:lnTo>
                  <a:lnTo>
                    <a:pt x="8581" y="42413"/>
                  </a:lnTo>
                  <a:lnTo>
                    <a:pt x="8581" y="43448"/>
                  </a:lnTo>
                  <a:lnTo>
                    <a:pt x="8581" y="43448"/>
                  </a:lnTo>
                  <a:lnTo>
                    <a:pt x="8581" y="44137"/>
                  </a:lnTo>
                  <a:lnTo>
                    <a:pt x="8159" y="44827"/>
                  </a:lnTo>
                  <a:lnTo>
                    <a:pt x="8581" y="44827"/>
                  </a:lnTo>
                  <a:lnTo>
                    <a:pt x="8862" y="44827"/>
                  </a:lnTo>
                  <a:lnTo>
                    <a:pt x="8862" y="43448"/>
                  </a:lnTo>
                  <a:lnTo>
                    <a:pt x="8862" y="42413"/>
                  </a:lnTo>
                  <a:lnTo>
                    <a:pt x="8862" y="42413"/>
                  </a:lnTo>
                  <a:lnTo>
                    <a:pt x="8581" y="41034"/>
                  </a:lnTo>
                  <a:close/>
                  <a:moveTo>
                    <a:pt x="19132" y="34482"/>
                  </a:moveTo>
                  <a:lnTo>
                    <a:pt x="19132" y="34482"/>
                  </a:lnTo>
                  <a:lnTo>
                    <a:pt x="19132" y="34482"/>
                  </a:lnTo>
                  <a:lnTo>
                    <a:pt x="19554" y="35172"/>
                  </a:lnTo>
                  <a:lnTo>
                    <a:pt x="19835" y="35172"/>
                  </a:lnTo>
                  <a:lnTo>
                    <a:pt x="20117" y="35172"/>
                  </a:lnTo>
                  <a:lnTo>
                    <a:pt x="20539" y="35172"/>
                  </a:lnTo>
                  <a:lnTo>
                    <a:pt x="20820" y="35862"/>
                  </a:lnTo>
                  <a:lnTo>
                    <a:pt x="20820" y="35172"/>
                  </a:lnTo>
                  <a:lnTo>
                    <a:pt x="20539" y="34482"/>
                  </a:lnTo>
                  <a:lnTo>
                    <a:pt x="20539" y="34482"/>
                  </a:lnTo>
                  <a:lnTo>
                    <a:pt x="20117" y="33448"/>
                  </a:lnTo>
                  <a:lnTo>
                    <a:pt x="19835" y="33448"/>
                  </a:lnTo>
                  <a:lnTo>
                    <a:pt x="19835" y="33448"/>
                  </a:lnTo>
                  <a:lnTo>
                    <a:pt x="19554" y="32758"/>
                  </a:lnTo>
                  <a:lnTo>
                    <a:pt x="19554" y="32758"/>
                  </a:lnTo>
                  <a:lnTo>
                    <a:pt x="19132" y="33448"/>
                  </a:lnTo>
                  <a:lnTo>
                    <a:pt x="19132" y="34482"/>
                  </a:lnTo>
                  <a:close/>
                  <a:moveTo>
                    <a:pt x="18851" y="31034"/>
                  </a:moveTo>
                  <a:lnTo>
                    <a:pt x="18851" y="31034"/>
                  </a:lnTo>
                  <a:lnTo>
                    <a:pt x="18851" y="31034"/>
                  </a:lnTo>
                  <a:lnTo>
                    <a:pt x="18569" y="31034"/>
                  </a:lnTo>
                  <a:lnTo>
                    <a:pt x="18569" y="32068"/>
                  </a:lnTo>
                  <a:lnTo>
                    <a:pt x="18851" y="32758"/>
                  </a:lnTo>
                  <a:lnTo>
                    <a:pt x="18851" y="32758"/>
                  </a:lnTo>
                  <a:lnTo>
                    <a:pt x="18851" y="33448"/>
                  </a:lnTo>
                  <a:lnTo>
                    <a:pt x="19132" y="33448"/>
                  </a:lnTo>
                  <a:lnTo>
                    <a:pt x="19132" y="33448"/>
                  </a:lnTo>
                  <a:lnTo>
                    <a:pt x="19132" y="33448"/>
                  </a:lnTo>
                  <a:lnTo>
                    <a:pt x="19132" y="32758"/>
                  </a:lnTo>
                  <a:lnTo>
                    <a:pt x="19132" y="32068"/>
                  </a:lnTo>
                  <a:lnTo>
                    <a:pt x="19132" y="32068"/>
                  </a:lnTo>
                  <a:lnTo>
                    <a:pt x="18851" y="31034"/>
                  </a:lnTo>
                  <a:close/>
                  <a:moveTo>
                    <a:pt x="6893" y="32758"/>
                  </a:moveTo>
                  <a:lnTo>
                    <a:pt x="6893" y="32068"/>
                  </a:lnTo>
                  <a:lnTo>
                    <a:pt x="6189" y="30344"/>
                  </a:lnTo>
                  <a:lnTo>
                    <a:pt x="5908" y="29655"/>
                  </a:lnTo>
                  <a:lnTo>
                    <a:pt x="5908" y="29655"/>
                  </a:lnTo>
                  <a:lnTo>
                    <a:pt x="5908" y="30344"/>
                  </a:lnTo>
                  <a:lnTo>
                    <a:pt x="5627" y="30344"/>
                  </a:lnTo>
                  <a:lnTo>
                    <a:pt x="5205" y="30344"/>
                  </a:lnTo>
                  <a:lnTo>
                    <a:pt x="5627" y="32068"/>
                  </a:lnTo>
                  <a:lnTo>
                    <a:pt x="5908" y="33448"/>
                  </a:lnTo>
                  <a:lnTo>
                    <a:pt x="5908" y="34482"/>
                  </a:lnTo>
                  <a:lnTo>
                    <a:pt x="6189" y="34482"/>
                  </a:lnTo>
                  <a:lnTo>
                    <a:pt x="6611" y="35172"/>
                  </a:lnTo>
                  <a:lnTo>
                    <a:pt x="6893" y="35862"/>
                  </a:lnTo>
                  <a:lnTo>
                    <a:pt x="6893" y="36896"/>
                  </a:lnTo>
                  <a:lnTo>
                    <a:pt x="7174" y="36896"/>
                  </a:lnTo>
                  <a:lnTo>
                    <a:pt x="7174" y="35862"/>
                  </a:lnTo>
                  <a:lnTo>
                    <a:pt x="7174" y="34482"/>
                  </a:lnTo>
                  <a:lnTo>
                    <a:pt x="7174" y="33448"/>
                  </a:lnTo>
                  <a:lnTo>
                    <a:pt x="7174" y="33448"/>
                  </a:lnTo>
                  <a:lnTo>
                    <a:pt x="6893" y="32758"/>
                  </a:lnTo>
                  <a:close/>
                  <a:moveTo>
                    <a:pt x="18147" y="30344"/>
                  </a:moveTo>
                  <a:lnTo>
                    <a:pt x="18569" y="30344"/>
                  </a:lnTo>
                  <a:lnTo>
                    <a:pt x="18851" y="30344"/>
                  </a:lnTo>
                  <a:lnTo>
                    <a:pt x="18851" y="30344"/>
                  </a:lnTo>
                  <a:lnTo>
                    <a:pt x="19132" y="31034"/>
                  </a:lnTo>
                  <a:lnTo>
                    <a:pt x="19132" y="31034"/>
                  </a:lnTo>
                  <a:lnTo>
                    <a:pt x="19132" y="30344"/>
                  </a:lnTo>
                  <a:lnTo>
                    <a:pt x="19132" y="30344"/>
                  </a:lnTo>
                  <a:lnTo>
                    <a:pt x="18147" y="29655"/>
                  </a:lnTo>
                  <a:lnTo>
                    <a:pt x="18147" y="29655"/>
                  </a:lnTo>
                  <a:lnTo>
                    <a:pt x="18147" y="29655"/>
                  </a:lnTo>
                  <a:lnTo>
                    <a:pt x="18147" y="29655"/>
                  </a:lnTo>
                  <a:lnTo>
                    <a:pt x="18147" y="30344"/>
                  </a:lnTo>
                  <a:close/>
                  <a:moveTo>
                    <a:pt x="62321" y="60344"/>
                  </a:moveTo>
                  <a:lnTo>
                    <a:pt x="61899" y="60344"/>
                  </a:lnTo>
                  <a:lnTo>
                    <a:pt x="61899" y="60344"/>
                  </a:lnTo>
                  <a:lnTo>
                    <a:pt x="61899" y="60344"/>
                  </a:lnTo>
                  <a:lnTo>
                    <a:pt x="61899" y="61379"/>
                  </a:lnTo>
                  <a:lnTo>
                    <a:pt x="61899" y="61379"/>
                  </a:lnTo>
                  <a:lnTo>
                    <a:pt x="61899" y="62068"/>
                  </a:lnTo>
                  <a:lnTo>
                    <a:pt x="61899" y="63103"/>
                  </a:lnTo>
                  <a:lnTo>
                    <a:pt x="61899" y="63793"/>
                  </a:lnTo>
                  <a:lnTo>
                    <a:pt x="61899" y="64482"/>
                  </a:lnTo>
                  <a:lnTo>
                    <a:pt x="61899" y="65517"/>
                  </a:lnTo>
                  <a:lnTo>
                    <a:pt x="61899" y="66206"/>
                  </a:lnTo>
                  <a:lnTo>
                    <a:pt x="62321" y="66896"/>
                  </a:lnTo>
                  <a:lnTo>
                    <a:pt x="62883" y="66206"/>
                  </a:lnTo>
                  <a:lnTo>
                    <a:pt x="63305" y="66206"/>
                  </a:lnTo>
                  <a:lnTo>
                    <a:pt x="63305" y="66206"/>
                  </a:lnTo>
                  <a:lnTo>
                    <a:pt x="63587" y="66206"/>
                  </a:lnTo>
                  <a:lnTo>
                    <a:pt x="63587" y="66896"/>
                  </a:lnTo>
                  <a:lnTo>
                    <a:pt x="63587" y="66896"/>
                  </a:lnTo>
                  <a:lnTo>
                    <a:pt x="63587" y="67931"/>
                  </a:lnTo>
                  <a:lnTo>
                    <a:pt x="63587" y="67931"/>
                  </a:lnTo>
                  <a:lnTo>
                    <a:pt x="63587" y="68620"/>
                  </a:lnTo>
                  <a:lnTo>
                    <a:pt x="63868" y="70344"/>
                  </a:lnTo>
                  <a:lnTo>
                    <a:pt x="63868" y="70344"/>
                  </a:lnTo>
                  <a:lnTo>
                    <a:pt x="63868" y="73448"/>
                  </a:lnTo>
                  <a:lnTo>
                    <a:pt x="63587" y="73448"/>
                  </a:lnTo>
                  <a:lnTo>
                    <a:pt x="63587" y="74482"/>
                  </a:lnTo>
                  <a:lnTo>
                    <a:pt x="63587" y="75172"/>
                  </a:lnTo>
                  <a:lnTo>
                    <a:pt x="63587" y="76896"/>
                  </a:lnTo>
                  <a:lnTo>
                    <a:pt x="63305" y="77586"/>
                  </a:lnTo>
                  <a:lnTo>
                    <a:pt x="63305" y="78275"/>
                  </a:lnTo>
                  <a:lnTo>
                    <a:pt x="62883" y="79310"/>
                  </a:lnTo>
                  <a:lnTo>
                    <a:pt x="62883" y="80000"/>
                  </a:lnTo>
                  <a:lnTo>
                    <a:pt x="63305" y="81034"/>
                  </a:lnTo>
                  <a:lnTo>
                    <a:pt x="63587" y="81724"/>
                  </a:lnTo>
                  <a:lnTo>
                    <a:pt x="63868" y="82413"/>
                  </a:lnTo>
                  <a:lnTo>
                    <a:pt x="63868" y="82413"/>
                  </a:lnTo>
                  <a:lnTo>
                    <a:pt x="64290" y="82413"/>
                  </a:lnTo>
                  <a:lnTo>
                    <a:pt x="64290" y="81724"/>
                  </a:lnTo>
                  <a:lnTo>
                    <a:pt x="64572" y="81724"/>
                  </a:lnTo>
                  <a:lnTo>
                    <a:pt x="64853" y="81724"/>
                  </a:lnTo>
                  <a:lnTo>
                    <a:pt x="65275" y="81724"/>
                  </a:lnTo>
                  <a:lnTo>
                    <a:pt x="65275" y="81724"/>
                  </a:lnTo>
                  <a:lnTo>
                    <a:pt x="65556" y="81724"/>
                  </a:lnTo>
                  <a:lnTo>
                    <a:pt x="65978" y="81724"/>
                  </a:lnTo>
                  <a:lnTo>
                    <a:pt x="65556" y="81034"/>
                  </a:lnTo>
                  <a:lnTo>
                    <a:pt x="65556" y="80000"/>
                  </a:lnTo>
                  <a:lnTo>
                    <a:pt x="65556" y="78275"/>
                  </a:lnTo>
                  <a:lnTo>
                    <a:pt x="65556" y="77586"/>
                  </a:lnTo>
                  <a:lnTo>
                    <a:pt x="65556" y="76896"/>
                  </a:lnTo>
                  <a:lnTo>
                    <a:pt x="65978" y="75172"/>
                  </a:lnTo>
                  <a:lnTo>
                    <a:pt x="65978" y="74482"/>
                  </a:lnTo>
                  <a:lnTo>
                    <a:pt x="65978" y="72758"/>
                  </a:lnTo>
                  <a:lnTo>
                    <a:pt x="65978" y="71034"/>
                  </a:lnTo>
                  <a:lnTo>
                    <a:pt x="65978" y="68620"/>
                  </a:lnTo>
                  <a:lnTo>
                    <a:pt x="65978" y="67931"/>
                  </a:lnTo>
                  <a:lnTo>
                    <a:pt x="65978" y="67931"/>
                  </a:lnTo>
                  <a:lnTo>
                    <a:pt x="65978" y="65517"/>
                  </a:lnTo>
                  <a:lnTo>
                    <a:pt x="65978" y="64482"/>
                  </a:lnTo>
                  <a:lnTo>
                    <a:pt x="65556" y="63793"/>
                  </a:lnTo>
                  <a:lnTo>
                    <a:pt x="65556" y="63103"/>
                  </a:lnTo>
                  <a:lnTo>
                    <a:pt x="65556" y="62068"/>
                  </a:lnTo>
                  <a:lnTo>
                    <a:pt x="65978" y="62068"/>
                  </a:lnTo>
                  <a:lnTo>
                    <a:pt x="66260" y="60344"/>
                  </a:lnTo>
                  <a:lnTo>
                    <a:pt x="66541" y="60344"/>
                  </a:lnTo>
                  <a:lnTo>
                    <a:pt x="66963" y="60344"/>
                  </a:lnTo>
                  <a:lnTo>
                    <a:pt x="67245" y="60344"/>
                  </a:lnTo>
                  <a:lnTo>
                    <a:pt x="67526" y="60344"/>
                  </a:lnTo>
                  <a:lnTo>
                    <a:pt x="67948" y="61379"/>
                  </a:lnTo>
                  <a:lnTo>
                    <a:pt x="67948" y="62068"/>
                  </a:lnTo>
                  <a:lnTo>
                    <a:pt x="67948" y="63103"/>
                  </a:lnTo>
                  <a:lnTo>
                    <a:pt x="67526" y="63793"/>
                  </a:lnTo>
                  <a:lnTo>
                    <a:pt x="67526" y="64482"/>
                  </a:lnTo>
                  <a:lnTo>
                    <a:pt x="67245" y="65517"/>
                  </a:lnTo>
                  <a:lnTo>
                    <a:pt x="67245" y="66206"/>
                  </a:lnTo>
                  <a:lnTo>
                    <a:pt x="67245" y="66206"/>
                  </a:lnTo>
                  <a:lnTo>
                    <a:pt x="67245" y="66896"/>
                  </a:lnTo>
                  <a:lnTo>
                    <a:pt x="68229" y="69310"/>
                  </a:lnTo>
                  <a:lnTo>
                    <a:pt x="68511" y="70344"/>
                  </a:lnTo>
                  <a:lnTo>
                    <a:pt x="68933" y="70344"/>
                  </a:lnTo>
                  <a:lnTo>
                    <a:pt x="69214" y="71034"/>
                  </a:lnTo>
                  <a:lnTo>
                    <a:pt x="68933" y="71034"/>
                  </a:lnTo>
                  <a:lnTo>
                    <a:pt x="68933" y="72068"/>
                  </a:lnTo>
                  <a:lnTo>
                    <a:pt x="68933" y="72068"/>
                  </a:lnTo>
                  <a:lnTo>
                    <a:pt x="68933" y="72068"/>
                  </a:lnTo>
                  <a:lnTo>
                    <a:pt x="68511" y="74482"/>
                  </a:lnTo>
                  <a:lnTo>
                    <a:pt x="68511" y="75172"/>
                  </a:lnTo>
                  <a:lnTo>
                    <a:pt x="68933" y="75862"/>
                  </a:lnTo>
                  <a:lnTo>
                    <a:pt x="68933" y="75862"/>
                  </a:lnTo>
                  <a:lnTo>
                    <a:pt x="69214" y="75862"/>
                  </a:lnTo>
                  <a:lnTo>
                    <a:pt x="69917" y="75862"/>
                  </a:lnTo>
                  <a:lnTo>
                    <a:pt x="70199" y="75862"/>
                  </a:lnTo>
                  <a:lnTo>
                    <a:pt x="70199" y="75862"/>
                  </a:lnTo>
                  <a:lnTo>
                    <a:pt x="70199" y="75172"/>
                  </a:lnTo>
                  <a:lnTo>
                    <a:pt x="70199" y="74482"/>
                  </a:lnTo>
                  <a:lnTo>
                    <a:pt x="70199" y="74482"/>
                  </a:lnTo>
                  <a:lnTo>
                    <a:pt x="70621" y="73448"/>
                  </a:lnTo>
                  <a:lnTo>
                    <a:pt x="71184" y="73448"/>
                  </a:lnTo>
                  <a:lnTo>
                    <a:pt x="71606" y="72758"/>
                  </a:lnTo>
                  <a:lnTo>
                    <a:pt x="71887" y="73448"/>
                  </a:lnTo>
                  <a:lnTo>
                    <a:pt x="71887" y="72758"/>
                  </a:lnTo>
                  <a:lnTo>
                    <a:pt x="71887" y="72758"/>
                  </a:lnTo>
                  <a:lnTo>
                    <a:pt x="71887" y="72758"/>
                  </a:lnTo>
                  <a:lnTo>
                    <a:pt x="72168" y="72758"/>
                  </a:lnTo>
                  <a:lnTo>
                    <a:pt x="72168" y="72758"/>
                  </a:lnTo>
                  <a:lnTo>
                    <a:pt x="72590" y="72758"/>
                  </a:lnTo>
                  <a:lnTo>
                    <a:pt x="72590" y="72068"/>
                  </a:lnTo>
                  <a:lnTo>
                    <a:pt x="72590" y="71034"/>
                  </a:lnTo>
                  <a:lnTo>
                    <a:pt x="72168" y="71034"/>
                  </a:lnTo>
                  <a:lnTo>
                    <a:pt x="72168" y="70344"/>
                  </a:lnTo>
                  <a:lnTo>
                    <a:pt x="72168" y="70344"/>
                  </a:lnTo>
                  <a:lnTo>
                    <a:pt x="72168" y="70344"/>
                  </a:lnTo>
                  <a:lnTo>
                    <a:pt x="71887" y="71034"/>
                  </a:lnTo>
                  <a:lnTo>
                    <a:pt x="71887" y="70344"/>
                  </a:lnTo>
                  <a:lnTo>
                    <a:pt x="71887" y="70344"/>
                  </a:lnTo>
                  <a:lnTo>
                    <a:pt x="71606" y="70344"/>
                  </a:lnTo>
                  <a:lnTo>
                    <a:pt x="71606" y="69310"/>
                  </a:lnTo>
                  <a:lnTo>
                    <a:pt x="71606" y="69310"/>
                  </a:lnTo>
                  <a:lnTo>
                    <a:pt x="71606" y="68620"/>
                  </a:lnTo>
                  <a:lnTo>
                    <a:pt x="71184" y="67931"/>
                  </a:lnTo>
                  <a:lnTo>
                    <a:pt x="71184" y="67931"/>
                  </a:lnTo>
                  <a:lnTo>
                    <a:pt x="70902" y="67931"/>
                  </a:lnTo>
                  <a:lnTo>
                    <a:pt x="70902" y="67931"/>
                  </a:lnTo>
                  <a:lnTo>
                    <a:pt x="70902" y="66896"/>
                  </a:lnTo>
                  <a:lnTo>
                    <a:pt x="70902" y="66896"/>
                  </a:lnTo>
                  <a:lnTo>
                    <a:pt x="70902" y="66896"/>
                  </a:lnTo>
                  <a:lnTo>
                    <a:pt x="70902" y="65517"/>
                  </a:lnTo>
                  <a:lnTo>
                    <a:pt x="70902" y="64482"/>
                  </a:lnTo>
                  <a:lnTo>
                    <a:pt x="71184" y="64482"/>
                  </a:lnTo>
                  <a:lnTo>
                    <a:pt x="71184" y="63793"/>
                  </a:lnTo>
                  <a:lnTo>
                    <a:pt x="70902" y="63103"/>
                  </a:lnTo>
                  <a:lnTo>
                    <a:pt x="70902" y="63103"/>
                  </a:lnTo>
                  <a:lnTo>
                    <a:pt x="70902" y="62068"/>
                  </a:lnTo>
                  <a:lnTo>
                    <a:pt x="70902" y="62068"/>
                  </a:lnTo>
                  <a:lnTo>
                    <a:pt x="70621" y="61379"/>
                  </a:lnTo>
                  <a:lnTo>
                    <a:pt x="70199" y="60344"/>
                  </a:lnTo>
                  <a:lnTo>
                    <a:pt x="70199" y="59655"/>
                  </a:lnTo>
                  <a:lnTo>
                    <a:pt x="69917" y="57931"/>
                  </a:lnTo>
                  <a:lnTo>
                    <a:pt x="69495" y="57241"/>
                  </a:lnTo>
                  <a:lnTo>
                    <a:pt x="69495" y="57241"/>
                  </a:lnTo>
                  <a:lnTo>
                    <a:pt x="69214" y="56551"/>
                  </a:lnTo>
                  <a:lnTo>
                    <a:pt x="69214" y="56551"/>
                  </a:lnTo>
                  <a:lnTo>
                    <a:pt x="68933" y="55517"/>
                  </a:lnTo>
                  <a:lnTo>
                    <a:pt x="68511" y="55517"/>
                  </a:lnTo>
                  <a:lnTo>
                    <a:pt x="68511" y="54827"/>
                  </a:lnTo>
                  <a:lnTo>
                    <a:pt x="68511" y="54827"/>
                  </a:lnTo>
                  <a:lnTo>
                    <a:pt x="68511" y="54137"/>
                  </a:lnTo>
                  <a:lnTo>
                    <a:pt x="68933" y="54827"/>
                  </a:lnTo>
                  <a:lnTo>
                    <a:pt x="69214" y="54827"/>
                  </a:lnTo>
                  <a:lnTo>
                    <a:pt x="69214" y="54827"/>
                  </a:lnTo>
                  <a:lnTo>
                    <a:pt x="69495" y="54827"/>
                  </a:lnTo>
                  <a:lnTo>
                    <a:pt x="69495" y="54137"/>
                  </a:lnTo>
                  <a:lnTo>
                    <a:pt x="69917" y="53103"/>
                  </a:lnTo>
                  <a:lnTo>
                    <a:pt x="70621" y="52413"/>
                  </a:lnTo>
                  <a:lnTo>
                    <a:pt x="70902" y="52413"/>
                  </a:lnTo>
                  <a:lnTo>
                    <a:pt x="71184" y="51379"/>
                  </a:lnTo>
                  <a:lnTo>
                    <a:pt x="71606" y="50689"/>
                  </a:lnTo>
                  <a:lnTo>
                    <a:pt x="71887" y="50000"/>
                  </a:lnTo>
                  <a:lnTo>
                    <a:pt x="72168" y="48965"/>
                  </a:lnTo>
                  <a:lnTo>
                    <a:pt x="72590" y="48275"/>
                  </a:lnTo>
                  <a:lnTo>
                    <a:pt x="72590" y="47586"/>
                  </a:lnTo>
                  <a:lnTo>
                    <a:pt x="72590" y="47586"/>
                  </a:lnTo>
                  <a:lnTo>
                    <a:pt x="73153" y="47586"/>
                  </a:lnTo>
                  <a:lnTo>
                    <a:pt x="73153" y="47586"/>
                  </a:lnTo>
                  <a:lnTo>
                    <a:pt x="73575" y="48275"/>
                  </a:lnTo>
                  <a:lnTo>
                    <a:pt x="73856" y="48275"/>
                  </a:lnTo>
                  <a:lnTo>
                    <a:pt x="73856" y="48275"/>
                  </a:lnTo>
                  <a:lnTo>
                    <a:pt x="73856" y="48275"/>
                  </a:lnTo>
                  <a:lnTo>
                    <a:pt x="74138" y="46551"/>
                  </a:lnTo>
                  <a:lnTo>
                    <a:pt x="74138" y="45862"/>
                  </a:lnTo>
                  <a:lnTo>
                    <a:pt x="73856" y="45862"/>
                  </a:lnTo>
                  <a:lnTo>
                    <a:pt x="73575" y="44827"/>
                  </a:lnTo>
                  <a:lnTo>
                    <a:pt x="73575" y="44827"/>
                  </a:lnTo>
                  <a:lnTo>
                    <a:pt x="72872" y="44827"/>
                  </a:lnTo>
                  <a:lnTo>
                    <a:pt x="72590" y="45862"/>
                  </a:lnTo>
                  <a:lnTo>
                    <a:pt x="72590" y="45862"/>
                  </a:lnTo>
                  <a:lnTo>
                    <a:pt x="72590" y="45862"/>
                  </a:lnTo>
                  <a:lnTo>
                    <a:pt x="72590" y="45862"/>
                  </a:lnTo>
                  <a:lnTo>
                    <a:pt x="72590" y="46551"/>
                  </a:lnTo>
                  <a:lnTo>
                    <a:pt x="72168" y="46551"/>
                  </a:lnTo>
                  <a:lnTo>
                    <a:pt x="71887" y="46551"/>
                  </a:lnTo>
                  <a:lnTo>
                    <a:pt x="71184" y="46551"/>
                  </a:lnTo>
                  <a:lnTo>
                    <a:pt x="70902" y="46551"/>
                  </a:lnTo>
                  <a:lnTo>
                    <a:pt x="70621" y="47586"/>
                  </a:lnTo>
                  <a:lnTo>
                    <a:pt x="70621" y="47586"/>
                  </a:lnTo>
                  <a:lnTo>
                    <a:pt x="70199" y="47586"/>
                  </a:lnTo>
                  <a:lnTo>
                    <a:pt x="69917" y="47586"/>
                  </a:lnTo>
                  <a:lnTo>
                    <a:pt x="69495" y="47586"/>
                  </a:lnTo>
                  <a:lnTo>
                    <a:pt x="69495" y="47586"/>
                  </a:lnTo>
                  <a:lnTo>
                    <a:pt x="69214" y="47586"/>
                  </a:lnTo>
                  <a:lnTo>
                    <a:pt x="69214" y="46551"/>
                  </a:lnTo>
                  <a:lnTo>
                    <a:pt x="69214" y="47586"/>
                  </a:lnTo>
                  <a:lnTo>
                    <a:pt x="68933" y="47586"/>
                  </a:lnTo>
                  <a:lnTo>
                    <a:pt x="68511" y="48965"/>
                  </a:lnTo>
                  <a:lnTo>
                    <a:pt x="68229" y="50000"/>
                  </a:lnTo>
                  <a:lnTo>
                    <a:pt x="68229" y="50689"/>
                  </a:lnTo>
                  <a:lnTo>
                    <a:pt x="67948" y="51379"/>
                  </a:lnTo>
                  <a:lnTo>
                    <a:pt x="67526" y="50689"/>
                  </a:lnTo>
                  <a:lnTo>
                    <a:pt x="67245" y="50689"/>
                  </a:lnTo>
                  <a:lnTo>
                    <a:pt x="66963" y="50689"/>
                  </a:lnTo>
                  <a:lnTo>
                    <a:pt x="66963" y="50689"/>
                  </a:lnTo>
                  <a:lnTo>
                    <a:pt x="66541" y="50000"/>
                  </a:lnTo>
                  <a:lnTo>
                    <a:pt x="66541" y="48275"/>
                  </a:lnTo>
                  <a:lnTo>
                    <a:pt x="66260" y="48275"/>
                  </a:lnTo>
                  <a:lnTo>
                    <a:pt x="65978" y="47586"/>
                  </a:lnTo>
                  <a:lnTo>
                    <a:pt x="65556" y="47586"/>
                  </a:lnTo>
                  <a:lnTo>
                    <a:pt x="65275" y="45862"/>
                  </a:lnTo>
                  <a:lnTo>
                    <a:pt x="65275" y="44827"/>
                  </a:lnTo>
                  <a:lnTo>
                    <a:pt x="65275" y="44137"/>
                  </a:lnTo>
                  <a:lnTo>
                    <a:pt x="65275" y="43448"/>
                  </a:lnTo>
                  <a:lnTo>
                    <a:pt x="65275" y="42413"/>
                  </a:lnTo>
                  <a:lnTo>
                    <a:pt x="65275" y="41724"/>
                  </a:lnTo>
                  <a:lnTo>
                    <a:pt x="65275" y="41034"/>
                  </a:lnTo>
                  <a:lnTo>
                    <a:pt x="65556" y="40000"/>
                  </a:lnTo>
                  <a:lnTo>
                    <a:pt x="65556" y="39310"/>
                  </a:lnTo>
                  <a:lnTo>
                    <a:pt x="65978" y="37586"/>
                  </a:lnTo>
                  <a:lnTo>
                    <a:pt x="65978" y="37586"/>
                  </a:lnTo>
                  <a:lnTo>
                    <a:pt x="66260" y="36896"/>
                  </a:lnTo>
                  <a:lnTo>
                    <a:pt x="66541" y="36896"/>
                  </a:lnTo>
                  <a:lnTo>
                    <a:pt x="66963" y="36896"/>
                  </a:lnTo>
                  <a:lnTo>
                    <a:pt x="67526" y="37586"/>
                  </a:lnTo>
                  <a:lnTo>
                    <a:pt x="67948" y="37586"/>
                  </a:lnTo>
                  <a:lnTo>
                    <a:pt x="68933" y="37586"/>
                  </a:lnTo>
                  <a:lnTo>
                    <a:pt x="69214" y="37586"/>
                  </a:lnTo>
                  <a:lnTo>
                    <a:pt x="69214" y="37586"/>
                  </a:lnTo>
                  <a:lnTo>
                    <a:pt x="69495" y="37586"/>
                  </a:lnTo>
                  <a:lnTo>
                    <a:pt x="69917" y="37586"/>
                  </a:lnTo>
                  <a:lnTo>
                    <a:pt x="70621" y="37586"/>
                  </a:lnTo>
                  <a:lnTo>
                    <a:pt x="71184" y="37586"/>
                  </a:lnTo>
                  <a:lnTo>
                    <a:pt x="72872" y="37586"/>
                  </a:lnTo>
                  <a:lnTo>
                    <a:pt x="72872" y="37586"/>
                  </a:lnTo>
                  <a:lnTo>
                    <a:pt x="73153" y="37586"/>
                  </a:lnTo>
                  <a:lnTo>
                    <a:pt x="73575" y="37586"/>
                  </a:lnTo>
                  <a:lnTo>
                    <a:pt x="73575" y="38620"/>
                  </a:lnTo>
                  <a:lnTo>
                    <a:pt x="73856" y="38620"/>
                  </a:lnTo>
                  <a:lnTo>
                    <a:pt x="74138" y="38620"/>
                  </a:lnTo>
                  <a:lnTo>
                    <a:pt x="74560" y="38620"/>
                  </a:lnTo>
                  <a:lnTo>
                    <a:pt x="74841" y="38620"/>
                  </a:lnTo>
                  <a:lnTo>
                    <a:pt x="75826" y="38620"/>
                  </a:lnTo>
                  <a:lnTo>
                    <a:pt x="76248" y="38620"/>
                  </a:lnTo>
                  <a:lnTo>
                    <a:pt x="76248" y="37586"/>
                  </a:lnTo>
                  <a:lnTo>
                    <a:pt x="76529" y="37586"/>
                  </a:lnTo>
                  <a:lnTo>
                    <a:pt x="76811" y="37586"/>
                  </a:lnTo>
                  <a:lnTo>
                    <a:pt x="76811" y="36896"/>
                  </a:lnTo>
                  <a:lnTo>
                    <a:pt x="77233" y="35862"/>
                  </a:lnTo>
                  <a:lnTo>
                    <a:pt x="77233" y="35172"/>
                  </a:lnTo>
                  <a:lnTo>
                    <a:pt x="77514" y="35172"/>
                  </a:lnTo>
                  <a:lnTo>
                    <a:pt x="77796" y="33448"/>
                  </a:lnTo>
                  <a:lnTo>
                    <a:pt x="78218" y="32758"/>
                  </a:lnTo>
                  <a:lnTo>
                    <a:pt x="78218" y="32068"/>
                  </a:lnTo>
                  <a:lnTo>
                    <a:pt x="78499" y="31034"/>
                  </a:lnTo>
                  <a:lnTo>
                    <a:pt x="78499" y="30344"/>
                  </a:lnTo>
                  <a:lnTo>
                    <a:pt x="78780" y="30344"/>
                  </a:lnTo>
                  <a:lnTo>
                    <a:pt x="78780" y="30344"/>
                  </a:lnTo>
                  <a:lnTo>
                    <a:pt x="78499" y="28620"/>
                  </a:lnTo>
                  <a:lnTo>
                    <a:pt x="78499" y="28620"/>
                  </a:lnTo>
                  <a:lnTo>
                    <a:pt x="78218" y="28620"/>
                  </a:lnTo>
                  <a:lnTo>
                    <a:pt x="77796" y="28620"/>
                  </a:lnTo>
                  <a:lnTo>
                    <a:pt x="77796" y="29655"/>
                  </a:lnTo>
                  <a:lnTo>
                    <a:pt x="77514" y="30344"/>
                  </a:lnTo>
                  <a:lnTo>
                    <a:pt x="77514" y="30344"/>
                  </a:lnTo>
                  <a:lnTo>
                    <a:pt x="77233" y="30344"/>
                  </a:lnTo>
                  <a:lnTo>
                    <a:pt x="77233" y="31034"/>
                  </a:lnTo>
                  <a:lnTo>
                    <a:pt x="77233" y="31034"/>
                  </a:lnTo>
                  <a:lnTo>
                    <a:pt x="76811" y="32068"/>
                  </a:lnTo>
                  <a:lnTo>
                    <a:pt x="76529" y="32068"/>
                  </a:lnTo>
                  <a:lnTo>
                    <a:pt x="76248" y="33448"/>
                  </a:lnTo>
                  <a:lnTo>
                    <a:pt x="75545" y="34482"/>
                  </a:lnTo>
                  <a:lnTo>
                    <a:pt x="75263" y="35172"/>
                  </a:lnTo>
                  <a:lnTo>
                    <a:pt x="73575" y="34482"/>
                  </a:lnTo>
                  <a:lnTo>
                    <a:pt x="73153" y="34482"/>
                  </a:lnTo>
                  <a:lnTo>
                    <a:pt x="72872" y="34482"/>
                  </a:lnTo>
                  <a:lnTo>
                    <a:pt x="72872" y="34482"/>
                  </a:lnTo>
                  <a:lnTo>
                    <a:pt x="72590" y="34482"/>
                  </a:lnTo>
                  <a:lnTo>
                    <a:pt x="72590" y="34482"/>
                  </a:lnTo>
                  <a:lnTo>
                    <a:pt x="72590" y="34482"/>
                  </a:lnTo>
                  <a:lnTo>
                    <a:pt x="72168" y="34482"/>
                  </a:lnTo>
                  <a:lnTo>
                    <a:pt x="71887" y="33448"/>
                  </a:lnTo>
                  <a:lnTo>
                    <a:pt x="71606" y="33448"/>
                  </a:lnTo>
                  <a:lnTo>
                    <a:pt x="70621" y="33448"/>
                  </a:lnTo>
                  <a:lnTo>
                    <a:pt x="69917" y="32758"/>
                  </a:lnTo>
                  <a:lnTo>
                    <a:pt x="69214" y="32758"/>
                  </a:lnTo>
                  <a:lnTo>
                    <a:pt x="69214" y="32758"/>
                  </a:lnTo>
                  <a:lnTo>
                    <a:pt x="68933" y="32758"/>
                  </a:lnTo>
                  <a:lnTo>
                    <a:pt x="68933" y="32758"/>
                  </a:lnTo>
                  <a:lnTo>
                    <a:pt x="68933" y="32068"/>
                  </a:lnTo>
                  <a:lnTo>
                    <a:pt x="68933" y="32068"/>
                  </a:lnTo>
                  <a:lnTo>
                    <a:pt x="68511" y="32068"/>
                  </a:lnTo>
                  <a:lnTo>
                    <a:pt x="68511" y="32068"/>
                  </a:lnTo>
                  <a:lnTo>
                    <a:pt x="68229" y="32068"/>
                  </a:lnTo>
                  <a:lnTo>
                    <a:pt x="67948" y="31034"/>
                  </a:lnTo>
                  <a:lnTo>
                    <a:pt x="67948" y="31034"/>
                  </a:lnTo>
                  <a:lnTo>
                    <a:pt x="67526" y="31034"/>
                  </a:lnTo>
                  <a:lnTo>
                    <a:pt x="67526" y="32068"/>
                  </a:lnTo>
                  <a:lnTo>
                    <a:pt x="67245" y="32068"/>
                  </a:lnTo>
                  <a:lnTo>
                    <a:pt x="67245" y="32758"/>
                  </a:lnTo>
                  <a:lnTo>
                    <a:pt x="67245" y="33448"/>
                  </a:lnTo>
                  <a:lnTo>
                    <a:pt x="66963" y="33448"/>
                  </a:lnTo>
                  <a:lnTo>
                    <a:pt x="66963" y="34482"/>
                  </a:lnTo>
                  <a:lnTo>
                    <a:pt x="66963" y="34482"/>
                  </a:lnTo>
                  <a:lnTo>
                    <a:pt x="66541" y="34482"/>
                  </a:lnTo>
                  <a:lnTo>
                    <a:pt x="66541" y="35172"/>
                  </a:lnTo>
                  <a:lnTo>
                    <a:pt x="66260" y="34482"/>
                  </a:lnTo>
                  <a:lnTo>
                    <a:pt x="65978" y="34482"/>
                  </a:lnTo>
                  <a:lnTo>
                    <a:pt x="65978" y="33448"/>
                  </a:lnTo>
                  <a:lnTo>
                    <a:pt x="65978" y="33448"/>
                  </a:lnTo>
                  <a:lnTo>
                    <a:pt x="65978" y="33448"/>
                  </a:lnTo>
                  <a:lnTo>
                    <a:pt x="65556" y="34482"/>
                  </a:lnTo>
                  <a:lnTo>
                    <a:pt x="65556" y="35172"/>
                  </a:lnTo>
                  <a:lnTo>
                    <a:pt x="65275" y="35172"/>
                  </a:lnTo>
                  <a:lnTo>
                    <a:pt x="65275" y="35862"/>
                  </a:lnTo>
                  <a:lnTo>
                    <a:pt x="65275" y="36896"/>
                  </a:lnTo>
                  <a:lnTo>
                    <a:pt x="65275" y="36896"/>
                  </a:lnTo>
                  <a:lnTo>
                    <a:pt x="64853" y="37586"/>
                  </a:lnTo>
                  <a:lnTo>
                    <a:pt x="64572" y="39310"/>
                  </a:lnTo>
                  <a:lnTo>
                    <a:pt x="64572" y="39310"/>
                  </a:lnTo>
                  <a:lnTo>
                    <a:pt x="64853" y="41034"/>
                  </a:lnTo>
                  <a:lnTo>
                    <a:pt x="64572" y="41034"/>
                  </a:lnTo>
                  <a:lnTo>
                    <a:pt x="64572" y="41724"/>
                  </a:lnTo>
                  <a:lnTo>
                    <a:pt x="64572" y="41034"/>
                  </a:lnTo>
                  <a:lnTo>
                    <a:pt x="64290" y="41724"/>
                  </a:lnTo>
                  <a:lnTo>
                    <a:pt x="64572" y="44137"/>
                  </a:lnTo>
                  <a:lnTo>
                    <a:pt x="64572" y="45862"/>
                  </a:lnTo>
                  <a:lnTo>
                    <a:pt x="64572" y="46551"/>
                  </a:lnTo>
                  <a:lnTo>
                    <a:pt x="64572" y="47586"/>
                  </a:lnTo>
                  <a:lnTo>
                    <a:pt x="64572" y="46551"/>
                  </a:lnTo>
                  <a:lnTo>
                    <a:pt x="64290" y="45862"/>
                  </a:lnTo>
                  <a:lnTo>
                    <a:pt x="64290" y="46551"/>
                  </a:lnTo>
                  <a:lnTo>
                    <a:pt x="63868" y="47586"/>
                  </a:lnTo>
                  <a:lnTo>
                    <a:pt x="63305" y="50000"/>
                  </a:lnTo>
                  <a:lnTo>
                    <a:pt x="63305" y="51379"/>
                  </a:lnTo>
                  <a:lnTo>
                    <a:pt x="63305" y="51379"/>
                  </a:lnTo>
                  <a:lnTo>
                    <a:pt x="63305" y="52413"/>
                  </a:lnTo>
                  <a:lnTo>
                    <a:pt x="63305" y="53103"/>
                  </a:lnTo>
                  <a:lnTo>
                    <a:pt x="63305" y="54137"/>
                  </a:lnTo>
                  <a:lnTo>
                    <a:pt x="63305" y="54827"/>
                  </a:lnTo>
                  <a:lnTo>
                    <a:pt x="62883" y="55517"/>
                  </a:lnTo>
                  <a:lnTo>
                    <a:pt x="62883" y="56551"/>
                  </a:lnTo>
                  <a:lnTo>
                    <a:pt x="62883" y="57241"/>
                  </a:lnTo>
                  <a:lnTo>
                    <a:pt x="62602" y="57931"/>
                  </a:lnTo>
                  <a:lnTo>
                    <a:pt x="62602" y="58965"/>
                  </a:lnTo>
                  <a:lnTo>
                    <a:pt x="62321" y="59655"/>
                  </a:lnTo>
                  <a:lnTo>
                    <a:pt x="62321" y="60344"/>
                  </a:lnTo>
                  <a:close/>
                  <a:moveTo>
                    <a:pt x="16881" y="28620"/>
                  </a:moveTo>
                  <a:lnTo>
                    <a:pt x="16881" y="28620"/>
                  </a:lnTo>
                  <a:lnTo>
                    <a:pt x="17162" y="27931"/>
                  </a:lnTo>
                  <a:lnTo>
                    <a:pt x="17162" y="26896"/>
                  </a:lnTo>
                  <a:lnTo>
                    <a:pt x="17444" y="26896"/>
                  </a:lnTo>
                  <a:lnTo>
                    <a:pt x="17444" y="26206"/>
                  </a:lnTo>
                  <a:lnTo>
                    <a:pt x="17162" y="25517"/>
                  </a:lnTo>
                  <a:lnTo>
                    <a:pt x="17162" y="25517"/>
                  </a:lnTo>
                  <a:lnTo>
                    <a:pt x="16881" y="26206"/>
                  </a:lnTo>
                  <a:lnTo>
                    <a:pt x="16459" y="26206"/>
                  </a:lnTo>
                  <a:lnTo>
                    <a:pt x="16459" y="26206"/>
                  </a:lnTo>
                  <a:lnTo>
                    <a:pt x="16459" y="26896"/>
                  </a:lnTo>
                  <a:lnTo>
                    <a:pt x="16459" y="27931"/>
                  </a:lnTo>
                  <a:lnTo>
                    <a:pt x="16881" y="28620"/>
                  </a:lnTo>
                  <a:close/>
                  <a:moveTo>
                    <a:pt x="84548" y="32758"/>
                  </a:moveTo>
                  <a:lnTo>
                    <a:pt x="84830" y="34482"/>
                  </a:lnTo>
                  <a:lnTo>
                    <a:pt x="85111" y="34482"/>
                  </a:lnTo>
                  <a:lnTo>
                    <a:pt x="85111" y="35172"/>
                  </a:lnTo>
                  <a:lnTo>
                    <a:pt x="84830" y="35172"/>
                  </a:lnTo>
                  <a:lnTo>
                    <a:pt x="84830" y="35862"/>
                  </a:lnTo>
                  <a:lnTo>
                    <a:pt x="84830" y="36896"/>
                  </a:lnTo>
                  <a:lnTo>
                    <a:pt x="84830" y="37586"/>
                  </a:lnTo>
                  <a:lnTo>
                    <a:pt x="85111" y="38620"/>
                  </a:lnTo>
                  <a:lnTo>
                    <a:pt x="85111" y="38620"/>
                  </a:lnTo>
                  <a:lnTo>
                    <a:pt x="85111" y="38620"/>
                  </a:lnTo>
                  <a:lnTo>
                    <a:pt x="85111" y="40000"/>
                  </a:lnTo>
                  <a:lnTo>
                    <a:pt x="85111" y="41034"/>
                  </a:lnTo>
                  <a:lnTo>
                    <a:pt x="85111" y="41724"/>
                  </a:lnTo>
                  <a:lnTo>
                    <a:pt x="85111" y="41724"/>
                  </a:lnTo>
                  <a:lnTo>
                    <a:pt x="85111" y="42413"/>
                  </a:lnTo>
                  <a:lnTo>
                    <a:pt x="85533" y="43448"/>
                  </a:lnTo>
                  <a:lnTo>
                    <a:pt x="85814" y="43448"/>
                  </a:lnTo>
                  <a:lnTo>
                    <a:pt x="85814" y="44137"/>
                  </a:lnTo>
                  <a:lnTo>
                    <a:pt x="86096" y="45862"/>
                  </a:lnTo>
                  <a:lnTo>
                    <a:pt x="86096" y="45862"/>
                  </a:lnTo>
                  <a:lnTo>
                    <a:pt x="86799" y="46551"/>
                  </a:lnTo>
                  <a:lnTo>
                    <a:pt x="86799" y="47586"/>
                  </a:lnTo>
                  <a:lnTo>
                    <a:pt x="87080" y="47586"/>
                  </a:lnTo>
                  <a:lnTo>
                    <a:pt x="86799" y="46551"/>
                  </a:lnTo>
                  <a:lnTo>
                    <a:pt x="86799" y="46551"/>
                  </a:lnTo>
                  <a:lnTo>
                    <a:pt x="86096" y="44137"/>
                  </a:lnTo>
                  <a:lnTo>
                    <a:pt x="86096" y="42413"/>
                  </a:lnTo>
                  <a:lnTo>
                    <a:pt x="85814" y="41034"/>
                  </a:lnTo>
                  <a:lnTo>
                    <a:pt x="85814" y="40000"/>
                  </a:lnTo>
                  <a:lnTo>
                    <a:pt x="85814" y="39310"/>
                  </a:lnTo>
                  <a:lnTo>
                    <a:pt x="85814" y="38620"/>
                  </a:lnTo>
                  <a:lnTo>
                    <a:pt x="85814" y="38620"/>
                  </a:lnTo>
                  <a:lnTo>
                    <a:pt x="85814" y="37586"/>
                  </a:lnTo>
                  <a:lnTo>
                    <a:pt x="86096" y="37586"/>
                  </a:lnTo>
                  <a:lnTo>
                    <a:pt x="86518" y="37586"/>
                  </a:lnTo>
                  <a:lnTo>
                    <a:pt x="86518" y="37586"/>
                  </a:lnTo>
                  <a:lnTo>
                    <a:pt x="86799" y="37586"/>
                  </a:lnTo>
                  <a:lnTo>
                    <a:pt x="87080" y="38620"/>
                  </a:lnTo>
                  <a:lnTo>
                    <a:pt x="87502" y="38620"/>
                  </a:lnTo>
                  <a:lnTo>
                    <a:pt x="88487" y="39310"/>
                  </a:lnTo>
                  <a:lnTo>
                    <a:pt x="88487" y="39310"/>
                  </a:lnTo>
                  <a:lnTo>
                    <a:pt x="88065" y="38620"/>
                  </a:lnTo>
                  <a:lnTo>
                    <a:pt x="88065" y="38620"/>
                  </a:lnTo>
                  <a:lnTo>
                    <a:pt x="87784" y="38620"/>
                  </a:lnTo>
                  <a:lnTo>
                    <a:pt x="87784" y="37586"/>
                  </a:lnTo>
                  <a:lnTo>
                    <a:pt x="87784" y="36896"/>
                  </a:lnTo>
                  <a:lnTo>
                    <a:pt x="87784" y="36896"/>
                  </a:lnTo>
                  <a:lnTo>
                    <a:pt x="87080" y="35862"/>
                  </a:lnTo>
                  <a:lnTo>
                    <a:pt x="86799" y="35172"/>
                  </a:lnTo>
                  <a:lnTo>
                    <a:pt x="86799" y="35172"/>
                  </a:lnTo>
                  <a:lnTo>
                    <a:pt x="86799" y="34482"/>
                  </a:lnTo>
                  <a:lnTo>
                    <a:pt x="86799" y="34482"/>
                  </a:lnTo>
                  <a:lnTo>
                    <a:pt x="87502" y="33448"/>
                  </a:lnTo>
                  <a:lnTo>
                    <a:pt x="87784" y="32758"/>
                  </a:lnTo>
                  <a:lnTo>
                    <a:pt x="87784" y="32758"/>
                  </a:lnTo>
                  <a:lnTo>
                    <a:pt x="87784" y="31034"/>
                  </a:lnTo>
                  <a:lnTo>
                    <a:pt x="87784" y="30344"/>
                  </a:lnTo>
                  <a:lnTo>
                    <a:pt x="87784" y="29655"/>
                  </a:lnTo>
                  <a:lnTo>
                    <a:pt x="87784" y="29655"/>
                  </a:lnTo>
                  <a:lnTo>
                    <a:pt x="87502" y="29655"/>
                  </a:lnTo>
                  <a:lnTo>
                    <a:pt x="87080" y="29655"/>
                  </a:lnTo>
                  <a:lnTo>
                    <a:pt x="86518" y="31034"/>
                  </a:lnTo>
                  <a:lnTo>
                    <a:pt x="86518" y="31034"/>
                  </a:lnTo>
                  <a:lnTo>
                    <a:pt x="86518" y="32068"/>
                  </a:lnTo>
                  <a:lnTo>
                    <a:pt x="86518" y="32758"/>
                  </a:lnTo>
                  <a:lnTo>
                    <a:pt x="86518" y="32758"/>
                  </a:lnTo>
                  <a:lnTo>
                    <a:pt x="86096" y="32758"/>
                  </a:lnTo>
                  <a:lnTo>
                    <a:pt x="85814" y="33448"/>
                  </a:lnTo>
                  <a:lnTo>
                    <a:pt x="85814" y="34482"/>
                  </a:lnTo>
                  <a:lnTo>
                    <a:pt x="85814" y="34482"/>
                  </a:lnTo>
                  <a:lnTo>
                    <a:pt x="85814" y="35172"/>
                  </a:lnTo>
                  <a:lnTo>
                    <a:pt x="85533" y="35172"/>
                  </a:lnTo>
                  <a:lnTo>
                    <a:pt x="85533" y="34482"/>
                  </a:lnTo>
                  <a:lnTo>
                    <a:pt x="85111" y="34482"/>
                  </a:lnTo>
                  <a:lnTo>
                    <a:pt x="85111" y="34482"/>
                  </a:lnTo>
                  <a:lnTo>
                    <a:pt x="85111" y="33448"/>
                  </a:lnTo>
                  <a:lnTo>
                    <a:pt x="85111" y="33448"/>
                  </a:lnTo>
                  <a:lnTo>
                    <a:pt x="85814" y="32758"/>
                  </a:lnTo>
                  <a:lnTo>
                    <a:pt x="86096" y="32068"/>
                  </a:lnTo>
                  <a:lnTo>
                    <a:pt x="86096" y="31034"/>
                  </a:lnTo>
                  <a:lnTo>
                    <a:pt x="86096" y="30344"/>
                  </a:lnTo>
                  <a:lnTo>
                    <a:pt x="86096" y="29655"/>
                  </a:lnTo>
                  <a:lnTo>
                    <a:pt x="86096" y="28620"/>
                  </a:lnTo>
                  <a:lnTo>
                    <a:pt x="85814" y="27931"/>
                  </a:lnTo>
                  <a:lnTo>
                    <a:pt x="85814" y="27931"/>
                  </a:lnTo>
                  <a:lnTo>
                    <a:pt x="85814" y="26896"/>
                  </a:lnTo>
                  <a:lnTo>
                    <a:pt x="85814" y="26896"/>
                  </a:lnTo>
                  <a:lnTo>
                    <a:pt x="86096" y="25517"/>
                  </a:lnTo>
                  <a:lnTo>
                    <a:pt x="86096" y="25517"/>
                  </a:lnTo>
                  <a:lnTo>
                    <a:pt x="86096" y="24482"/>
                  </a:lnTo>
                  <a:lnTo>
                    <a:pt x="85814" y="25517"/>
                  </a:lnTo>
                  <a:lnTo>
                    <a:pt x="85814" y="25517"/>
                  </a:lnTo>
                  <a:lnTo>
                    <a:pt x="85111" y="26206"/>
                  </a:lnTo>
                  <a:lnTo>
                    <a:pt x="85111" y="27931"/>
                  </a:lnTo>
                  <a:lnTo>
                    <a:pt x="84830" y="28620"/>
                  </a:lnTo>
                  <a:lnTo>
                    <a:pt x="84830" y="28620"/>
                  </a:lnTo>
                  <a:lnTo>
                    <a:pt x="84830" y="29655"/>
                  </a:lnTo>
                  <a:lnTo>
                    <a:pt x="84830" y="30344"/>
                  </a:lnTo>
                  <a:lnTo>
                    <a:pt x="84548" y="32068"/>
                  </a:lnTo>
                  <a:lnTo>
                    <a:pt x="84548" y="32758"/>
                  </a:lnTo>
                  <a:close/>
                  <a:moveTo>
                    <a:pt x="86799" y="26206"/>
                  </a:moveTo>
                  <a:lnTo>
                    <a:pt x="87080" y="26206"/>
                  </a:lnTo>
                  <a:lnTo>
                    <a:pt x="87502" y="25517"/>
                  </a:lnTo>
                  <a:lnTo>
                    <a:pt x="87502" y="24482"/>
                  </a:lnTo>
                  <a:lnTo>
                    <a:pt x="87784" y="23103"/>
                  </a:lnTo>
                  <a:lnTo>
                    <a:pt x="87502" y="22068"/>
                  </a:lnTo>
                  <a:lnTo>
                    <a:pt x="87502" y="22068"/>
                  </a:lnTo>
                  <a:lnTo>
                    <a:pt x="87080" y="22068"/>
                  </a:lnTo>
                  <a:lnTo>
                    <a:pt x="86799" y="23103"/>
                  </a:lnTo>
                  <a:lnTo>
                    <a:pt x="86518" y="24482"/>
                  </a:lnTo>
                  <a:lnTo>
                    <a:pt x="86799" y="25517"/>
                  </a:lnTo>
                  <a:lnTo>
                    <a:pt x="86799" y="26206"/>
                  </a:lnTo>
                  <a:close/>
                  <a:moveTo>
                    <a:pt x="3516" y="23103"/>
                  </a:moveTo>
                  <a:lnTo>
                    <a:pt x="3235" y="23103"/>
                  </a:lnTo>
                  <a:lnTo>
                    <a:pt x="2532" y="21379"/>
                  </a:lnTo>
                  <a:lnTo>
                    <a:pt x="2532" y="21379"/>
                  </a:lnTo>
                  <a:lnTo>
                    <a:pt x="2532" y="21379"/>
                  </a:lnTo>
                  <a:lnTo>
                    <a:pt x="2250" y="20689"/>
                  </a:lnTo>
                  <a:lnTo>
                    <a:pt x="1969" y="19655"/>
                  </a:lnTo>
                  <a:lnTo>
                    <a:pt x="1547" y="19655"/>
                  </a:lnTo>
                  <a:lnTo>
                    <a:pt x="1547" y="20689"/>
                  </a:lnTo>
                  <a:lnTo>
                    <a:pt x="1547" y="20689"/>
                  </a:lnTo>
                  <a:lnTo>
                    <a:pt x="1547" y="20689"/>
                  </a:lnTo>
                  <a:lnTo>
                    <a:pt x="1547" y="21379"/>
                  </a:lnTo>
                  <a:lnTo>
                    <a:pt x="1969" y="21379"/>
                  </a:lnTo>
                  <a:lnTo>
                    <a:pt x="2250" y="22068"/>
                  </a:lnTo>
                  <a:lnTo>
                    <a:pt x="2250" y="22068"/>
                  </a:lnTo>
                  <a:lnTo>
                    <a:pt x="2954" y="23103"/>
                  </a:lnTo>
                  <a:lnTo>
                    <a:pt x="3235" y="23793"/>
                  </a:lnTo>
                  <a:lnTo>
                    <a:pt x="3235" y="23793"/>
                  </a:lnTo>
                  <a:lnTo>
                    <a:pt x="3516" y="23793"/>
                  </a:lnTo>
                  <a:lnTo>
                    <a:pt x="3516" y="23103"/>
                  </a:lnTo>
                  <a:lnTo>
                    <a:pt x="3516" y="23103"/>
                  </a:lnTo>
                  <a:close/>
                  <a:moveTo>
                    <a:pt x="58663" y="16551"/>
                  </a:moveTo>
                  <a:lnTo>
                    <a:pt x="58663" y="16551"/>
                  </a:lnTo>
                  <a:lnTo>
                    <a:pt x="58663" y="17241"/>
                  </a:lnTo>
                  <a:lnTo>
                    <a:pt x="58944" y="17241"/>
                  </a:lnTo>
                  <a:lnTo>
                    <a:pt x="58944" y="16551"/>
                  </a:lnTo>
                  <a:lnTo>
                    <a:pt x="58663" y="15517"/>
                  </a:lnTo>
                  <a:lnTo>
                    <a:pt x="58663" y="15517"/>
                  </a:lnTo>
                  <a:lnTo>
                    <a:pt x="58663" y="16551"/>
                  </a:lnTo>
                  <a:close/>
                  <a:moveTo>
                    <a:pt x="59226" y="11724"/>
                  </a:moveTo>
                  <a:lnTo>
                    <a:pt x="59226" y="11724"/>
                  </a:lnTo>
                  <a:lnTo>
                    <a:pt x="59226" y="10689"/>
                  </a:lnTo>
                  <a:lnTo>
                    <a:pt x="58944" y="10689"/>
                  </a:lnTo>
                  <a:lnTo>
                    <a:pt x="58663" y="10689"/>
                  </a:lnTo>
                  <a:lnTo>
                    <a:pt x="58663" y="10689"/>
                  </a:lnTo>
                  <a:lnTo>
                    <a:pt x="58944" y="11724"/>
                  </a:lnTo>
                  <a:lnTo>
                    <a:pt x="59226" y="11724"/>
                  </a:lnTo>
                  <a:close/>
                  <a:moveTo>
                    <a:pt x="36014" y="38620"/>
                  </a:moveTo>
                  <a:lnTo>
                    <a:pt x="36436" y="39310"/>
                  </a:lnTo>
                  <a:lnTo>
                    <a:pt x="36717" y="40000"/>
                  </a:lnTo>
                  <a:lnTo>
                    <a:pt x="36717" y="40000"/>
                  </a:lnTo>
                  <a:lnTo>
                    <a:pt x="36998" y="40000"/>
                  </a:lnTo>
                  <a:lnTo>
                    <a:pt x="36998" y="41034"/>
                  </a:lnTo>
                  <a:lnTo>
                    <a:pt x="36998" y="41034"/>
                  </a:lnTo>
                  <a:lnTo>
                    <a:pt x="36717" y="41034"/>
                  </a:lnTo>
                  <a:lnTo>
                    <a:pt x="36717" y="41724"/>
                  </a:lnTo>
                  <a:lnTo>
                    <a:pt x="36717" y="42413"/>
                  </a:lnTo>
                  <a:lnTo>
                    <a:pt x="36717" y="42413"/>
                  </a:lnTo>
                  <a:lnTo>
                    <a:pt x="36717" y="44137"/>
                  </a:lnTo>
                  <a:lnTo>
                    <a:pt x="36717" y="44137"/>
                  </a:lnTo>
                  <a:lnTo>
                    <a:pt x="36717" y="44137"/>
                  </a:lnTo>
                  <a:lnTo>
                    <a:pt x="36998" y="44827"/>
                  </a:lnTo>
                  <a:lnTo>
                    <a:pt x="37420" y="45862"/>
                  </a:lnTo>
                  <a:lnTo>
                    <a:pt x="37420" y="45862"/>
                  </a:lnTo>
                  <a:lnTo>
                    <a:pt x="36998" y="45862"/>
                  </a:lnTo>
                  <a:lnTo>
                    <a:pt x="36998" y="46551"/>
                  </a:lnTo>
                  <a:lnTo>
                    <a:pt x="36998" y="46551"/>
                  </a:lnTo>
                  <a:lnTo>
                    <a:pt x="36998" y="47586"/>
                  </a:lnTo>
                  <a:lnTo>
                    <a:pt x="36998" y="47586"/>
                  </a:lnTo>
                  <a:lnTo>
                    <a:pt x="37420" y="47586"/>
                  </a:lnTo>
                  <a:lnTo>
                    <a:pt x="38124" y="47586"/>
                  </a:lnTo>
                  <a:lnTo>
                    <a:pt x="38405" y="48275"/>
                  </a:lnTo>
                  <a:lnTo>
                    <a:pt x="38686" y="48965"/>
                  </a:lnTo>
                  <a:lnTo>
                    <a:pt x="38686" y="50000"/>
                  </a:lnTo>
                  <a:lnTo>
                    <a:pt x="39109" y="50000"/>
                  </a:lnTo>
                  <a:lnTo>
                    <a:pt x="39109" y="51379"/>
                  </a:lnTo>
                  <a:lnTo>
                    <a:pt x="39109" y="52413"/>
                  </a:lnTo>
                  <a:lnTo>
                    <a:pt x="39109" y="53103"/>
                  </a:lnTo>
                  <a:lnTo>
                    <a:pt x="38686" y="54137"/>
                  </a:lnTo>
                  <a:lnTo>
                    <a:pt x="38686" y="54827"/>
                  </a:lnTo>
                  <a:lnTo>
                    <a:pt x="39109" y="54827"/>
                  </a:lnTo>
                  <a:lnTo>
                    <a:pt x="39109" y="55517"/>
                  </a:lnTo>
                  <a:lnTo>
                    <a:pt x="39109" y="57241"/>
                  </a:lnTo>
                  <a:lnTo>
                    <a:pt x="39390" y="60344"/>
                  </a:lnTo>
                  <a:lnTo>
                    <a:pt x="39390" y="62068"/>
                  </a:lnTo>
                  <a:lnTo>
                    <a:pt x="39390" y="63103"/>
                  </a:lnTo>
                  <a:lnTo>
                    <a:pt x="39671" y="63103"/>
                  </a:lnTo>
                  <a:lnTo>
                    <a:pt x="39671" y="62068"/>
                  </a:lnTo>
                  <a:lnTo>
                    <a:pt x="39671" y="62068"/>
                  </a:lnTo>
                  <a:lnTo>
                    <a:pt x="40375" y="62068"/>
                  </a:lnTo>
                  <a:lnTo>
                    <a:pt x="40656" y="63103"/>
                  </a:lnTo>
                  <a:lnTo>
                    <a:pt x="40656" y="63103"/>
                  </a:lnTo>
                  <a:lnTo>
                    <a:pt x="40656" y="63103"/>
                  </a:lnTo>
                  <a:lnTo>
                    <a:pt x="41078" y="62068"/>
                  </a:lnTo>
                  <a:lnTo>
                    <a:pt x="41078" y="62068"/>
                  </a:lnTo>
                  <a:lnTo>
                    <a:pt x="41078" y="62068"/>
                  </a:lnTo>
                  <a:lnTo>
                    <a:pt x="41078" y="63103"/>
                  </a:lnTo>
                  <a:lnTo>
                    <a:pt x="41078" y="63103"/>
                  </a:lnTo>
                  <a:lnTo>
                    <a:pt x="41359" y="63103"/>
                  </a:lnTo>
                  <a:lnTo>
                    <a:pt x="41641" y="63103"/>
                  </a:lnTo>
                  <a:lnTo>
                    <a:pt x="42063" y="62068"/>
                  </a:lnTo>
                  <a:lnTo>
                    <a:pt x="42344" y="62068"/>
                  </a:lnTo>
                  <a:lnTo>
                    <a:pt x="42766" y="63103"/>
                  </a:lnTo>
                  <a:lnTo>
                    <a:pt x="43048" y="63103"/>
                  </a:lnTo>
                  <a:lnTo>
                    <a:pt x="43048" y="62068"/>
                  </a:lnTo>
                  <a:lnTo>
                    <a:pt x="43329" y="62068"/>
                  </a:lnTo>
                  <a:lnTo>
                    <a:pt x="43329" y="62068"/>
                  </a:lnTo>
                  <a:lnTo>
                    <a:pt x="43751" y="63103"/>
                  </a:lnTo>
                  <a:lnTo>
                    <a:pt x="43751" y="63103"/>
                  </a:lnTo>
                  <a:lnTo>
                    <a:pt x="43751" y="65517"/>
                  </a:lnTo>
                  <a:lnTo>
                    <a:pt x="43751" y="66206"/>
                  </a:lnTo>
                  <a:lnTo>
                    <a:pt x="43329" y="66896"/>
                  </a:lnTo>
                  <a:lnTo>
                    <a:pt x="43751" y="66896"/>
                  </a:lnTo>
                  <a:lnTo>
                    <a:pt x="43751" y="66896"/>
                  </a:lnTo>
                  <a:lnTo>
                    <a:pt x="44032" y="66896"/>
                  </a:lnTo>
                  <a:lnTo>
                    <a:pt x="44314" y="65517"/>
                  </a:lnTo>
                  <a:lnTo>
                    <a:pt x="44736" y="65517"/>
                  </a:lnTo>
                  <a:lnTo>
                    <a:pt x="45017" y="65517"/>
                  </a:lnTo>
                  <a:lnTo>
                    <a:pt x="45720" y="65517"/>
                  </a:lnTo>
                  <a:lnTo>
                    <a:pt x="46002" y="65517"/>
                  </a:lnTo>
                  <a:lnTo>
                    <a:pt x="46705" y="63793"/>
                  </a:lnTo>
                  <a:lnTo>
                    <a:pt x="46705" y="62068"/>
                  </a:lnTo>
                  <a:lnTo>
                    <a:pt x="47690" y="64482"/>
                  </a:lnTo>
                  <a:lnTo>
                    <a:pt x="47690" y="64482"/>
                  </a:lnTo>
                  <a:lnTo>
                    <a:pt x="47690" y="64482"/>
                  </a:lnTo>
                  <a:lnTo>
                    <a:pt x="47971" y="63793"/>
                  </a:lnTo>
                  <a:lnTo>
                    <a:pt x="47971" y="63793"/>
                  </a:lnTo>
                  <a:lnTo>
                    <a:pt x="48393" y="64482"/>
                  </a:lnTo>
                  <a:lnTo>
                    <a:pt x="48393" y="64482"/>
                  </a:lnTo>
                  <a:lnTo>
                    <a:pt x="48393" y="65517"/>
                  </a:lnTo>
                  <a:lnTo>
                    <a:pt x="48393" y="66206"/>
                  </a:lnTo>
                  <a:lnTo>
                    <a:pt x="48393" y="66206"/>
                  </a:lnTo>
                  <a:lnTo>
                    <a:pt x="48675" y="66206"/>
                  </a:lnTo>
                  <a:lnTo>
                    <a:pt x="48956" y="65517"/>
                  </a:lnTo>
                  <a:lnTo>
                    <a:pt x="49378" y="64482"/>
                  </a:lnTo>
                  <a:lnTo>
                    <a:pt x="49660" y="64482"/>
                  </a:lnTo>
                  <a:lnTo>
                    <a:pt x="49660" y="65517"/>
                  </a:lnTo>
                  <a:lnTo>
                    <a:pt x="49660" y="65517"/>
                  </a:lnTo>
                  <a:lnTo>
                    <a:pt x="49941" y="65517"/>
                  </a:lnTo>
                  <a:lnTo>
                    <a:pt x="49941" y="65517"/>
                  </a:lnTo>
                  <a:lnTo>
                    <a:pt x="49941" y="64482"/>
                  </a:lnTo>
                  <a:lnTo>
                    <a:pt x="49941" y="65517"/>
                  </a:lnTo>
                  <a:lnTo>
                    <a:pt x="49941" y="65517"/>
                  </a:lnTo>
                  <a:lnTo>
                    <a:pt x="49941" y="66206"/>
                  </a:lnTo>
                  <a:lnTo>
                    <a:pt x="50363" y="66206"/>
                  </a:lnTo>
                  <a:lnTo>
                    <a:pt x="50363" y="66206"/>
                  </a:lnTo>
                  <a:lnTo>
                    <a:pt x="50644" y="65517"/>
                  </a:lnTo>
                  <a:lnTo>
                    <a:pt x="50644" y="66206"/>
                  </a:lnTo>
                  <a:lnTo>
                    <a:pt x="50644" y="67931"/>
                  </a:lnTo>
                  <a:lnTo>
                    <a:pt x="50644" y="71034"/>
                  </a:lnTo>
                  <a:lnTo>
                    <a:pt x="50926" y="71034"/>
                  </a:lnTo>
                  <a:lnTo>
                    <a:pt x="50926" y="71034"/>
                  </a:lnTo>
                  <a:lnTo>
                    <a:pt x="52332" y="69310"/>
                  </a:lnTo>
                  <a:lnTo>
                    <a:pt x="54302" y="66896"/>
                  </a:lnTo>
                  <a:lnTo>
                    <a:pt x="54302" y="66206"/>
                  </a:lnTo>
                  <a:lnTo>
                    <a:pt x="54583" y="66206"/>
                  </a:lnTo>
                  <a:lnTo>
                    <a:pt x="54583" y="65517"/>
                  </a:lnTo>
                  <a:lnTo>
                    <a:pt x="55005" y="64482"/>
                  </a:lnTo>
                  <a:lnTo>
                    <a:pt x="55005" y="63793"/>
                  </a:lnTo>
                  <a:lnTo>
                    <a:pt x="55005" y="63793"/>
                  </a:lnTo>
                  <a:lnTo>
                    <a:pt x="55287" y="63793"/>
                  </a:lnTo>
                  <a:lnTo>
                    <a:pt x="55005" y="63103"/>
                  </a:lnTo>
                  <a:lnTo>
                    <a:pt x="55005" y="63103"/>
                  </a:lnTo>
                  <a:lnTo>
                    <a:pt x="55005" y="62068"/>
                  </a:lnTo>
                  <a:lnTo>
                    <a:pt x="55005" y="63103"/>
                  </a:lnTo>
                  <a:lnTo>
                    <a:pt x="55287" y="62068"/>
                  </a:lnTo>
                  <a:lnTo>
                    <a:pt x="55287" y="62068"/>
                  </a:lnTo>
                  <a:lnTo>
                    <a:pt x="55287" y="61379"/>
                  </a:lnTo>
                  <a:lnTo>
                    <a:pt x="55568" y="60344"/>
                  </a:lnTo>
                  <a:lnTo>
                    <a:pt x="55568" y="59655"/>
                  </a:lnTo>
                  <a:lnTo>
                    <a:pt x="55287" y="59655"/>
                  </a:lnTo>
                  <a:lnTo>
                    <a:pt x="55287" y="59655"/>
                  </a:lnTo>
                  <a:lnTo>
                    <a:pt x="55568" y="59655"/>
                  </a:lnTo>
                  <a:lnTo>
                    <a:pt x="55568" y="59655"/>
                  </a:lnTo>
                  <a:lnTo>
                    <a:pt x="55568" y="59655"/>
                  </a:lnTo>
                  <a:lnTo>
                    <a:pt x="55990" y="58965"/>
                  </a:lnTo>
                  <a:lnTo>
                    <a:pt x="55990" y="58965"/>
                  </a:lnTo>
                  <a:lnTo>
                    <a:pt x="55990" y="57931"/>
                  </a:lnTo>
                  <a:lnTo>
                    <a:pt x="55990" y="57241"/>
                  </a:lnTo>
                  <a:lnTo>
                    <a:pt x="55568" y="57241"/>
                  </a:lnTo>
                  <a:lnTo>
                    <a:pt x="55568" y="56551"/>
                  </a:lnTo>
                  <a:lnTo>
                    <a:pt x="55287" y="56551"/>
                  </a:lnTo>
                  <a:lnTo>
                    <a:pt x="55568" y="55517"/>
                  </a:lnTo>
                  <a:lnTo>
                    <a:pt x="55568" y="54827"/>
                  </a:lnTo>
                  <a:lnTo>
                    <a:pt x="55568" y="54827"/>
                  </a:lnTo>
                  <a:lnTo>
                    <a:pt x="55568" y="54137"/>
                  </a:lnTo>
                  <a:lnTo>
                    <a:pt x="55568" y="54137"/>
                  </a:lnTo>
                  <a:lnTo>
                    <a:pt x="55287" y="54137"/>
                  </a:lnTo>
                  <a:lnTo>
                    <a:pt x="55287" y="54137"/>
                  </a:lnTo>
                  <a:lnTo>
                    <a:pt x="55568" y="53103"/>
                  </a:lnTo>
                  <a:lnTo>
                    <a:pt x="55990" y="53103"/>
                  </a:lnTo>
                  <a:lnTo>
                    <a:pt x="55990" y="52413"/>
                  </a:lnTo>
                  <a:lnTo>
                    <a:pt x="55990" y="52413"/>
                  </a:lnTo>
                  <a:lnTo>
                    <a:pt x="55990" y="51379"/>
                  </a:lnTo>
                  <a:lnTo>
                    <a:pt x="56271" y="51379"/>
                  </a:lnTo>
                  <a:lnTo>
                    <a:pt x="56694" y="50689"/>
                  </a:lnTo>
                  <a:lnTo>
                    <a:pt x="56694" y="50689"/>
                  </a:lnTo>
                  <a:lnTo>
                    <a:pt x="56694" y="50000"/>
                  </a:lnTo>
                  <a:lnTo>
                    <a:pt x="56694" y="50000"/>
                  </a:lnTo>
                  <a:lnTo>
                    <a:pt x="56694" y="48965"/>
                  </a:lnTo>
                  <a:lnTo>
                    <a:pt x="56694" y="48965"/>
                  </a:lnTo>
                  <a:lnTo>
                    <a:pt x="56694" y="48275"/>
                  </a:lnTo>
                  <a:lnTo>
                    <a:pt x="56694" y="48965"/>
                  </a:lnTo>
                  <a:lnTo>
                    <a:pt x="56694" y="50000"/>
                  </a:lnTo>
                  <a:lnTo>
                    <a:pt x="56975" y="50000"/>
                  </a:lnTo>
                  <a:lnTo>
                    <a:pt x="56975" y="50000"/>
                  </a:lnTo>
                  <a:lnTo>
                    <a:pt x="57256" y="50000"/>
                  </a:lnTo>
                  <a:lnTo>
                    <a:pt x="57256" y="48965"/>
                  </a:lnTo>
                  <a:lnTo>
                    <a:pt x="57678" y="48275"/>
                  </a:lnTo>
                  <a:lnTo>
                    <a:pt x="57960" y="47586"/>
                  </a:lnTo>
                  <a:lnTo>
                    <a:pt x="58241" y="47586"/>
                  </a:lnTo>
                  <a:lnTo>
                    <a:pt x="58663" y="46551"/>
                  </a:lnTo>
                  <a:lnTo>
                    <a:pt x="58663" y="46551"/>
                  </a:lnTo>
                  <a:lnTo>
                    <a:pt x="58663" y="46551"/>
                  </a:lnTo>
                  <a:lnTo>
                    <a:pt x="58663" y="45862"/>
                  </a:lnTo>
                  <a:lnTo>
                    <a:pt x="58663" y="44827"/>
                  </a:lnTo>
                  <a:lnTo>
                    <a:pt x="58663" y="43448"/>
                  </a:lnTo>
                  <a:lnTo>
                    <a:pt x="58663" y="42413"/>
                  </a:lnTo>
                  <a:lnTo>
                    <a:pt x="58663" y="39310"/>
                  </a:lnTo>
                  <a:lnTo>
                    <a:pt x="58663" y="38620"/>
                  </a:lnTo>
                  <a:lnTo>
                    <a:pt x="59226" y="35862"/>
                  </a:lnTo>
                  <a:lnTo>
                    <a:pt x="59226" y="35172"/>
                  </a:lnTo>
                  <a:lnTo>
                    <a:pt x="59648" y="35172"/>
                  </a:lnTo>
                  <a:lnTo>
                    <a:pt x="59648" y="35172"/>
                  </a:lnTo>
                  <a:lnTo>
                    <a:pt x="59929" y="34482"/>
                  </a:lnTo>
                  <a:lnTo>
                    <a:pt x="59929" y="33448"/>
                  </a:lnTo>
                  <a:lnTo>
                    <a:pt x="59648" y="33448"/>
                  </a:lnTo>
                  <a:lnTo>
                    <a:pt x="59648" y="32758"/>
                  </a:lnTo>
                  <a:lnTo>
                    <a:pt x="59929" y="33448"/>
                  </a:lnTo>
                  <a:lnTo>
                    <a:pt x="60211" y="34482"/>
                  </a:lnTo>
                  <a:lnTo>
                    <a:pt x="60211" y="34482"/>
                  </a:lnTo>
                  <a:lnTo>
                    <a:pt x="60633" y="34482"/>
                  </a:lnTo>
                  <a:lnTo>
                    <a:pt x="61336" y="35172"/>
                  </a:lnTo>
                  <a:lnTo>
                    <a:pt x="61899" y="35172"/>
                  </a:lnTo>
                  <a:lnTo>
                    <a:pt x="62321" y="34482"/>
                  </a:lnTo>
                  <a:lnTo>
                    <a:pt x="62602" y="33448"/>
                  </a:lnTo>
                  <a:lnTo>
                    <a:pt x="62321" y="33448"/>
                  </a:lnTo>
                  <a:lnTo>
                    <a:pt x="61899" y="32758"/>
                  </a:lnTo>
                  <a:lnTo>
                    <a:pt x="61617" y="31034"/>
                  </a:lnTo>
                  <a:lnTo>
                    <a:pt x="60914" y="30344"/>
                  </a:lnTo>
                  <a:lnTo>
                    <a:pt x="60211" y="28620"/>
                  </a:lnTo>
                  <a:lnTo>
                    <a:pt x="59929" y="28620"/>
                  </a:lnTo>
                  <a:lnTo>
                    <a:pt x="59648" y="26896"/>
                  </a:lnTo>
                  <a:lnTo>
                    <a:pt x="59648" y="26206"/>
                  </a:lnTo>
                  <a:lnTo>
                    <a:pt x="59226" y="26206"/>
                  </a:lnTo>
                  <a:lnTo>
                    <a:pt x="59226" y="26206"/>
                  </a:lnTo>
                  <a:lnTo>
                    <a:pt x="59648" y="26206"/>
                  </a:lnTo>
                  <a:lnTo>
                    <a:pt x="59648" y="25517"/>
                  </a:lnTo>
                  <a:lnTo>
                    <a:pt x="59648" y="25517"/>
                  </a:lnTo>
                  <a:lnTo>
                    <a:pt x="59929" y="24482"/>
                  </a:lnTo>
                  <a:lnTo>
                    <a:pt x="59929" y="24482"/>
                  </a:lnTo>
                  <a:lnTo>
                    <a:pt x="59929" y="23793"/>
                  </a:lnTo>
                  <a:lnTo>
                    <a:pt x="59929" y="23793"/>
                  </a:lnTo>
                  <a:lnTo>
                    <a:pt x="59648" y="22068"/>
                  </a:lnTo>
                  <a:lnTo>
                    <a:pt x="59226" y="21379"/>
                  </a:lnTo>
                  <a:lnTo>
                    <a:pt x="59226" y="21379"/>
                  </a:lnTo>
                  <a:lnTo>
                    <a:pt x="58944" y="20689"/>
                  </a:lnTo>
                  <a:lnTo>
                    <a:pt x="58944" y="20689"/>
                  </a:lnTo>
                  <a:lnTo>
                    <a:pt x="58944" y="20689"/>
                  </a:lnTo>
                  <a:lnTo>
                    <a:pt x="58944" y="20689"/>
                  </a:lnTo>
                  <a:lnTo>
                    <a:pt x="58944" y="19655"/>
                  </a:lnTo>
                  <a:lnTo>
                    <a:pt x="58944" y="19655"/>
                  </a:lnTo>
                  <a:lnTo>
                    <a:pt x="58663" y="19655"/>
                  </a:lnTo>
                  <a:lnTo>
                    <a:pt x="58944" y="19655"/>
                  </a:lnTo>
                  <a:lnTo>
                    <a:pt x="58663" y="18965"/>
                  </a:lnTo>
                  <a:lnTo>
                    <a:pt x="58663" y="18965"/>
                  </a:lnTo>
                  <a:lnTo>
                    <a:pt x="58663" y="17931"/>
                  </a:lnTo>
                  <a:lnTo>
                    <a:pt x="58241" y="17931"/>
                  </a:lnTo>
                  <a:lnTo>
                    <a:pt x="58241" y="17931"/>
                  </a:lnTo>
                  <a:lnTo>
                    <a:pt x="57960" y="17931"/>
                  </a:lnTo>
                  <a:lnTo>
                    <a:pt x="57960" y="17241"/>
                  </a:lnTo>
                  <a:lnTo>
                    <a:pt x="57960" y="16551"/>
                  </a:lnTo>
                  <a:lnTo>
                    <a:pt x="57960" y="15517"/>
                  </a:lnTo>
                  <a:lnTo>
                    <a:pt x="57678" y="14827"/>
                  </a:lnTo>
                  <a:lnTo>
                    <a:pt x="57256" y="14827"/>
                  </a:lnTo>
                  <a:lnTo>
                    <a:pt x="57256" y="14827"/>
                  </a:lnTo>
                  <a:lnTo>
                    <a:pt x="57678" y="14827"/>
                  </a:lnTo>
                  <a:lnTo>
                    <a:pt x="57960" y="14827"/>
                  </a:lnTo>
                  <a:lnTo>
                    <a:pt x="58241" y="14827"/>
                  </a:lnTo>
                  <a:lnTo>
                    <a:pt x="58241" y="14137"/>
                  </a:lnTo>
                  <a:lnTo>
                    <a:pt x="58241" y="14137"/>
                  </a:lnTo>
                  <a:lnTo>
                    <a:pt x="58663" y="14137"/>
                  </a:lnTo>
                  <a:lnTo>
                    <a:pt x="58663" y="14827"/>
                  </a:lnTo>
                  <a:lnTo>
                    <a:pt x="58944" y="14137"/>
                  </a:lnTo>
                  <a:lnTo>
                    <a:pt x="58944" y="14137"/>
                  </a:lnTo>
                  <a:lnTo>
                    <a:pt x="58944" y="14137"/>
                  </a:lnTo>
                  <a:lnTo>
                    <a:pt x="58944" y="13103"/>
                  </a:lnTo>
                  <a:lnTo>
                    <a:pt x="58944" y="13103"/>
                  </a:lnTo>
                  <a:lnTo>
                    <a:pt x="58663" y="12413"/>
                  </a:lnTo>
                  <a:lnTo>
                    <a:pt x="58663" y="12413"/>
                  </a:lnTo>
                  <a:lnTo>
                    <a:pt x="58663" y="11724"/>
                  </a:lnTo>
                  <a:lnTo>
                    <a:pt x="58241" y="11724"/>
                  </a:lnTo>
                  <a:lnTo>
                    <a:pt x="58241" y="10689"/>
                  </a:lnTo>
                  <a:lnTo>
                    <a:pt x="58663" y="10689"/>
                  </a:lnTo>
                  <a:lnTo>
                    <a:pt x="58663" y="10689"/>
                  </a:lnTo>
                  <a:lnTo>
                    <a:pt x="58241" y="10689"/>
                  </a:lnTo>
                  <a:lnTo>
                    <a:pt x="58241" y="10689"/>
                  </a:lnTo>
                  <a:lnTo>
                    <a:pt x="57678" y="10000"/>
                  </a:lnTo>
                  <a:lnTo>
                    <a:pt x="57256" y="8965"/>
                  </a:lnTo>
                  <a:lnTo>
                    <a:pt x="56694" y="8965"/>
                  </a:lnTo>
                  <a:lnTo>
                    <a:pt x="56271" y="8965"/>
                  </a:lnTo>
                  <a:lnTo>
                    <a:pt x="55990" y="8965"/>
                  </a:lnTo>
                  <a:lnTo>
                    <a:pt x="55990" y="8965"/>
                  </a:lnTo>
                  <a:lnTo>
                    <a:pt x="55990" y="8965"/>
                  </a:lnTo>
                  <a:lnTo>
                    <a:pt x="55568" y="8965"/>
                  </a:lnTo>
                  <a:lnTo>
                    <a:pt x="55287" y="10000"/>
                  </a:lnTo>
                  <a:lnTo>
                    <a:pt x="55287" y="8965"/>
                  </a:lnTo>
                  <a:lnTo>
                    <a:pt x="55287" y="8965"/>
                  </a:lnTo>
                  <a:lnTo>
                    <a:pt x="55005" y="8965"/>
                  </a:lnTo>
                  <a:lnTo>
                    <a:pt x="54583" y="8965"/>
                  </a:lnTo>
                  <a:lnTo>
                    <a:pt x="54302" y="10000"/>
                  </a:lnTo>
                  <a:lnTo>
                    <a:pt x="54021" y="8965"/>
                  </a:lnTo>
                  <a:lnTo>
                    <a:pt x="54021" y="8965"/>
                  </a:lnTo>
                  <a:lnTo>
                    <a:pt x="54021" y="8965"/>
                  </a:lnTo>
                  <a:lnTo>
                    <a:pt x="53599" y="10000"/>
                  </a:lnTo>
                  <a:lnTo>
                    <a:pt x="53599" y="10689"/>
                  </a:lnTo>
                  <a:lnTo>
                    <a:pt x="53317" y="11724"/>
                  </a:lnTo>
                  <a:lnTo>
                    <a:pt x="53317" y="12413"/>
                  </a:lnTo>
                  <a:lnTo>
                    <a:pt x="53317" y="12413"/>
                  </a:lnTo>
                  <a:lnTo>
                    <a:pt x="53317" y="14137"/>
                  </a:lnTo>
                  <a:lnTo>
                    <a:pt x="53317" y="14827"/>
                  </a:lnTo>
                  <a:lnTo>
                    <a:pt x="53317" y="15517"/>
                  </a:lnTo>
                  <a:lnTo>
                    <a:pt x="53317" y="15517"/>
                  </a:lnTo>
                  <a:lnTo>
                    <a:pt x="53317" y="16551"/>
                  </a:lnTo>
                  <a:lnTo>
                    <a:pt x="53317" y="16551"/>
                  </a:lnTo>
                  <a:lnTo>
                    <a:pt x="53317" y="17241"/>
                  </a:lnTo>
                  <a:lnTo>
                    <a:pt x="53317" y="17931"/>
                  </a:lnTo>
                  <a:lnTo>
                    <a:pt x="53317" y="17931"/>
                  </a:lnTo>
                  <a:lnTo>
                    <a:pt x="53036" y="18965"/>
                  </a:lnTo>
                  <a:lnTo>
                    <a:pt x="53036" y="18965"/>
                  </a:lnTo>
                  <a:lnTo>
                    <a:pt x="52614" y="18965"/>
                  </a:lnTo>
                  <a:lnTo>
                    <a:pt x="52614" y="18965"/>
                  </a:lnTo>
                  <a:lnTo>
                    <a:pt x="52332" y="18965"/>
                  </a:lnTo>
                  <a:lnTo>
                    <a:pt x="52332" y="19655"/>
                  </a:lnTo>
                  <a:lnTo>
                    <a:pt x="52051" y="20689"/>
                  </a:lnTo>
                  <a:lnTo>
                    <a:pt x="52051" y="20689"/>
                  </a:lnTo>
                  <a:lnTo>
                    <a:pt x="52332" y="20689"/>
                  </a:lnTo>
                  <a:lnTo>
                    <a:pt x="52051" y="21379"/>
                  </a:lnTo>
                  <a:lnTo>
                    <a:pt x="52051" y="21379"/>
                  </a:lnTo>
                  <a:lnTo>
                    <a:pt x="52051" y="22068"/>
                  </a:lnTo>
                  <a:lnTo>
                    <a:pt x="52332" y="22068"/>
                  </a:lnTo>
                  <a:lnTo>
                    <a:pt x="52332" y="22068"/>
                  </a:lnTo>
                  <a:lnTo>
                    <a:pt x="52332" y="23103"/>
                  </a:lnTo>
                  <a:lnTo>
                    <a:pt x="52332" y="23103"/>
                  </a:lnTo>
                  <a:lnTo>
                    <a:pt x="52332" y="23103"/>
                  </a:lnTo>
                  <a:lnTo>
                    <a:pt x="52051" y="23793"/>
                  </a:lnTo>
                  <a:lnTo>
                    <a:pt x="51629" y="24482"/>
                  </a:lnTo>
                  <a:lnTo>
                    <a:pt x="51348" y="24482"/>
                  </a:lnTo>
                  <a:lnTo>
                    <a:pt x="51348" y="24482"/>
                  </a:lnTo>
                  <a:lnTo>
                    <a:pt x="51348" y="25517"/>
                  </a:lnTo>
                  <a:lnTo>
                    <a:pt x="51348" y="26206"/>
                  </a:lnTo>
                  <a:lnTo>
                    <a:pt x="51348" y="26206"/>
                  </a:lnTo>
                  <a:lnTo>
                    <a:pt x="51629" y="26206"/>
                  </a:lnTo>
                  <a:lnTo>
                    <a:pt x="51348" y="26896"/>
                  </a:lnTo>
                  <a:lnTo>
                    <a:pt x="51348" y="26896"/>
                  </a:lnTo>
                  <a:lnTo>
                    <a:pt x="51348" y="26896"/>
                  </a:lnTo>
                  <a:lnTo>
                    <a:pt x="51348" y="27931"/>
                  </a:lnTo>
                  <a:lnTo>
                    <a:pt x="51348" y="27931"/>
                  </a:lnTo>
                  <a:lnTo>
                    <a:pt x="50926" y="28620"/>
                  </a:lnTo>
                  <a:lnTo>
                    <a:pt x="50926" y="29655"/>
                  </a:lnTo>
                  <a:lnTo>
                    <a:pt x="50926" y="30344"/>
                  </a:lnTo>
                  <a:lnTo>
                    <a:pt x="50644" y="30344"/>
                  </a:lnTo>
                  <a:lnTo>
                    <a:pt x="50644" y="30344"/>
                  </a:lnTo>
                  <a:lnTo>
                    <a:pt x="50363" y="30344"/>
                  </a:lnTo>
                  <a:lnTo>
                    <a:pt x="49941" y="30344"/>
                  </a:lnTo>
                  <a:lnTo>
                    <a:pt x="49660" y="30344"/>
                  </a:lnTo>
                  <a:lnTo>
                    <a:pt x="49378" y="30344"/>
                  </a:lnTo>
                  <a:lnTo>
                    <a:pt x="48956" y="30344"/>
                  </a:lnTo>
                  <a:lnTo>
                    <a:pt x="48956" y="31034"/>
                  </a:lnTo>
                  <a:lnTo>
                    <a:pt x="48675" y="31034"/>
                  </a:lnTo>
                  <a:lnTo>
                    <a:pt x="48675" y="32068"/>
                  </a:lnTo>
                  <a:lnTo>
                    <a:pt x="48393" y="32068"/>
                  </a:lnTo>
                  <a:lnTo>
                    <a:pt x="47971" y="31034"/>
                  </a:lnTo>
                  <a:lnTo>
                    <a:pt x="47971" y="31034"/>
                  </a:lnTo>
                  <a:lnTo>
                    <a:pt x="47690" y="31034"/>
                  </a:lnTo>
                  <a:lnTo>
                    <a:pt x="46987" y="30344"/>
                  </a:lnTo>
                  <a:lnTo>
                    <a:pt x="46987" y="30344"/>
                  </a:lnTo>
                  <a:lnTo>
                    <a:pt x="46705" y="30344"/>
                  </a:lnTo>
                  <a:lnTo>
                    <a:pt x="46705" y="30344"/>
                  </a:lnTo>
                  <a:lnTo>
                    <a:pt x="46705" y="30344"/>
                  </a:lnTo>
                  <a:lnTo>
                    <a:pt x="46705" y="29655"/>
                  </a:lnTo>
                  <a:lnTo>
                    <a:pt x="46705" y="29655"/>
                  </a:lnTo>
                  <a:lnTo>
                    <a:pt x="45298" y="29655"/>
                  </a:lnTo>
                  <a:lnTo>
                    <a:pt x="45017" y="30344"/>
                  </a:lnTo>
                  <a:lnTo>
                    <a:pt x="44736" y="30344"/>
                  </a:lnTo>
                  <a:lnTo>
                    <a:pt x="44736" y="30344"/>
                  </a:lnTo>
                  <a:lnTo>
                    <a:pt x="44736" y="31034"/>
                  </a:lnTo>
                  <a:lnTo>
                    <a:pt x="44314" y="32068"/>
                  </a:lnTo>
                  <a:lnTo>
                    <a:pt x="44314" y="32758"/>
                  </a:lnTo>
                  <a:lnTo>
                    <a:pt x="44032" y="32758"/>
                  </a:lnTo>
                  <a:lnTo>
                    <a:pt x="43751" y="33448"/>
                  </a:lnTo>
                  <a:lnTo>
                    <a:pt x="43751" y="33448"/>
                  </a:lnTo>
                  <a:lnTo>
                    <a:pt x="43329" y="33448"/>
                  </a:lnTo>
                  <a:lnTo>
                    <a:pt x="43048" y="33448"/>
                  </a:lnTo>
                  <a:lnTo>
                    <a:pt x="43048" y="33448"/>
                  </a:lnTo>
                  <a:lnTo>
                    <a:pt x="42766" y="33448"/>
                  </a:lnTo>
                  <a:lnTo>
                    <a:pt x="42344" y="33448"/>
                  </a:lnTo>
                  <a:lnTo>
                    <a:pt x="41641" y="33448"/>
                  </a:lnTo>
                  <a:lnTo>
                    <a:pt x="41641" y="33448"/>
                  </a:lnTo>
                  <a:lnTo>
                    <a:pt x="41359" y="33448"/>
                  </a:lnTo>
                  <a:lnTo>
                    <a:pt x="40656" y="34482"/>
                  </a:lnTo>
                  <a:lnTo>
                    <a:pt x="40375" y="34482"/>
                  </a:lnTo>
                  <a:lnTo>
                    <a:pt x="40093" y="34482"/>
                  </a:lnTo>
                  <a:lnTo>
                    <a:pt x="40093" y="34482"/>
                  </a:lnTo>
                  <a:lnTo>
                    <a:pt x="39671" y="33448"/>
                  </a:lnTo>
                  <a:lnTo>
                    <a:pt x="39390" y="32068"/>
                  </a:lnTo>
                  <a:lnTo>
                    <a:pt x="39109" y="32068"/>
                  </a:lnTo>
                  <a:lnTo>
                    <a:pt x="39109" y="32068"/>
                  </a:lnTo>
                  <a:lnTo>
                    <a:pt x="38686" y="31034"/>
                  </a:lnTo>
                  <a:lnTo>
                    <a:pt x="38686" y="31034"/>
                  </a:lnTo>
                  <a:lnTo>
                    <a:pt x="38405" y="30344"/>
                  </a:lnTo>
                  <a:lnTo>
                    <a:pt x="38405" y="29655"/>
                  </a:lnTo>
                  <a:lnTo>
                    <a:pt x="38124" y="29655"/>
                  </a:lnTo>
                  <a:lnTo>
                    <a:pt x="38124" y="27931"/>
                  </a:lnTo>
                  <a:lnTo>
                    <a:pt x="37702" y="27931"/>
                  </a:lnTo>
                  <a:lnTo>
                    <a:pt x="37702" y="27931"/>
                  </a:lnTo>
                  <a:lnTo>
                    <a:pt x="37702" y="26896"/>
                  </a:lnTo>
                  <a:lnTo>
                    <a:pt x="38124" y="26206"/>
                  </a:lnTo>
                  <a:lnTo>
                    <a:pt x="37420" y="26896"/>
                  </a:lnTo>
                  <a:lnTo>
                    <a:pt x="36998" y="27931"/>
                  </a:lnTo>
                  <a:lnTo>
                    <a:pt x="36998" y="28620"/>
                  </a:lnTo>
                  <a:lnTo>
                    <a:pt x="36717" y="29655"/>
                  </a:lnTo>
                  <a:lnTo>
                    <a:pt x="36436" y="30344"/>
                  </a:lnTo>
                  <a:lnTo>
                    <a:pt x="36436" y="30344"/>
                  </a:lnTo>
                  <a:lnTo>
                    <a:pt x="36436" y="32068"/>
                  </a:lnTo>
                  <a:lnTo>
                    <a:pt x="36436" y="32068"/>
                  </a:lnTo>
                  <a:lnTo>
                    <a:pt x="36717" y="32068"/>
                  </a:lnTo>
                  <a:lnTo>
                    <a:pt x="36717" y="32068"/>
                  </a:lnTo>
                  <a:lnTo>
                    <a:pt x="36436" y="32068"/>
                  </a:lnTo>
                  <a:lnTo>
                    <a:pt x="36436" y="32068"/>
                  </a:lnTo>
                  <a:lnTo>
                    <a:pt x="36014" y="32758"/>
                  </a:lnTo>
                  <a:lnTo>
                    <a:pt x="36014" y="34482"/>
                  </a:lnTo>
                  <a:lnTo>
                    <a:pt x="36014" y="35172"/>
                  </a:lnTo>
                  <a:lnTo>
                    <a:pt x="36014" y="36896"/>
                  </a:lnTo>
                  <a:lnTo>
                    <a:pt x="36014" y="38620"/>
                  </a:lnTo>
                  <a:close/>
                  <a:moveTo>
                    <a:pt x="25744" y="82413"/>
                  </a:moveTo>
                  <a:lnTo>
                    <a:pt x="26166" y="81724"/>
                  </a:lnTo>
                  <a:lnTo>
                    <a:pt x="26447" y="81724"/>
                  </a:lnTo>
                  <a:lnTo>
                    <a:pt x="26729" y="82413"/>
                  </a:lnTo>
                  <a:lnTo>
                    <a:pt x="26729" y="82413"/>
                  </a:lnTo>
                  <a:lnTo>
                    <a:pt x="27151" y="82413"/>
                  </a:lnTo>
                  <a:lnTo>
                    <a:pt x="27151" y="83448"/>
                  </a:lnTo>
                  <a:lnTo>
                    <a:pt x="27151" y="83448"/>
                  </a:lnTo>
                  <a:lnTo>
                    <a:pt x="27432" y="83448"/>
                  </a:lnTo>
                  <a:lnTo>
                    <a:pt x="27432" y="82413"/>
                  </a:lnTo>
                  <a:lnTo>
                    <a:pt x="27432" y="82413"/>
                  </a:lnTo>
                  <a:lnTo>
                    <a:pt x="27854" y="77586"/>
                  </a:lnTo>
                  <a:lnTo>
                    <a:pt x="27854" y="75862"/>
                  </a:lnTo>
                  <a:lnTo>
                    <a:pt x="27854" y="75172"/>
                  </a:lnTo>
                  <a:lnTo>
                    <a:pt x="27854" y="74482"/>
                  </a:lnTo>
                  <a:lnTo>
                    <a:pt x="27854" y="71034"/>
                  </a:lnTo>
                  <a:lnTo>
                    <a:pt x="27854" y="71034"/>
                  </a:lnTo>
                  <a:lnTo>
                    <a:pt x="28135" y="69310"/>
                  </a:lnTo>
                  <a:lnTo>
                    <a:pt x="28135" y="68620"/>
                  </a:lnTo>
                  <a:lnTo>
                    <a:pt x="28135" y="68620"/>
                  </a:lnTo>
                  <a:lnTo>
                    <a:pt x="27854" y="67931"/>
                  </a:lnTo>
                  <a:lnTo>
                    <a:pt x="27854" y="66896"/>
                  </a:lnTo>
                  <a:lnTo>
                    <a:pt x="28135" y="66206"/>
                  </a:lnTo>
                  <a:lnTo>
                    <a:pt x="28135" y="65517"/>
                  </a:lnTo>
                  <a:lnTo>
                    <a:pt x="28417" y="64482"/>
                  </a:lnTo>
                  <a:lnTo>
                    <a:pt x="28417" y="64482"/>
                  </a:lnTo>
                  <a:lnTo>
                    <a:pt x="28417" y="63793"/>
                  </a:lnTo>
                  <a:lnTo>
                    <a:pt x="28417" y="63793"/>
                  </a:lnTo>
                  <a:lnTo>
                    <a:pt x="28135" y="62068"/>
                  </a:lnTo>
                  <a:lnTo>
                    <a:pt x="27432" y="58965"/>
                  </a:lnTo>
                  <a:lnTo>
                    <a:pt x="27151" y="58965"/>
                  </a:lnTo>
                  <a:lnTo>
                    <a:pt x="26729" y="57931"/>
                  </a:lnTo>
                  <a:lnTo>
                    <a:pt x="26447" y="57931"/>
                  </a:lnTo>
                  <a:lnTo>
                    <a:pt x="25744" y="57931"/>
                  </a:lnTo>
                  <a:lnTo>
                    <a:pt x="25744" y="57931"/>
                  </a:lnTo>
                  <a:lnTo>
                    <a:pt x="25463" y="57931"/>
                  </a:lnTo>
                  <a:lnTo>
                    <a:pt x="25463" y="58965"/>
                  </a:lnTo>
                  <a:lnTo>
                    <a:pt x="25181" y="59655"/>
                  </a:lnTo>
                  <a:lnTo>
                    <a:pt x="25181" y="59655"/>
                  </a:lnTo>
                  <a:lnTo>
                    <a:pt x="24759" y="59655"/>
                  </a:lnTo>
                  <a:lnTo>
                    <a:pt x="24759" y="59655"/>
                  </a:lnTo>
                  <a:lnTo>
                    <a:pt x="24759" y="58965"/>
                  </a:lnTo>
                  <a:lnTo>
                    <a:pt x="24759" y="57931"/>
                  </a:lnTo>
                  <a:lnTo>
                    <a:pt x="25181" y="57241"/>
                  </a:lnTo>
                  <a:lnTo>
                    <a:pt x="25463" y="57241"/>
                  </a:lnTo>
                  <a:lnTo>
                    <a:pt x="25463" y="56551"/>
                  </a:lnTo>
                  <a:lnTo>
                    <a:pt x="25463" y="56551"/>
                  </a:lnTo>
                  <a:lnTo>
                    <a:pt x="25181" y="55517"/>
                  </a:lnTo>
                  <a:lnTo>
                    <a:pt x="25181" y="55517"/>
                  </a:lnTo>
                  <a:lnTo>
                    <a:pt x="24759" y="54827"/>
                  </a:lnTo>
                  <a:lnTo>
                    <a:pt x="24478" y="54137"/>
                  </a:lnTo>
                  <a:lnTo>
                    <a:pt x="24478" y="53103"/>
                  </a:lnTo>
                  <a:lnTo>
                    <a:pt x="24478" y="52413"/>
                  </a:lnTo>
                  <a:lnTo>
                    <a:pt x="24478" y="50689"/>
                  </a:lnTo>
                  <a:lnTo>
                    <a:pt x="24478" y="50000"/>
                  </a:lnTo>
                  <a:lnTo>
                    <a:pt x="24196" y="48965"/>
                  </a:lnTo>
                  <a:lnTo>
                    <a:pt x="24196" y="48275"/>
                  </a:lnTo>
                  <a:lnTo>
                    <a:pt x="23774" y="48275"/>
                  </a:lnTo>
                  <a:lnTo>
                    <a:pt x="23774" y="48275"/>
                  </a:lnTo>
                  <a:lnTo>
                    <a:pt x="23493" y="48275"/>
                  </a:lnTo>
                  <a:lnTo>
                    <a:pt x="23212" y="48275"/>
                  </a:lnTo>
                  <a:lnTo>
                    <a:pt x="22508" y="47586"/>
                  </a:lnTo>
                  <a:lnTo>
                    <a:pt x="22086" y="46551"/>
                  </a:lnTo>
                  <a:lnTo>
                    <a:pt x="22086" y="46551"/>
                  </a:lnTo>
                  <a:lnTo>
                    <a:pt x="21805" y="44827"/>
                  </a:lnTo>
                  <a:lnTo>
                    <a:pt x="21805" y="44827"/>
                  </a:lnTo>
                  <a:lnTo>
                    <a:pt x="22086" y="44137"/>
                  </a:lnTo>
                  <a:lnTo>
                    <a:pt x="21805" y="44137"/>
                  </a:lnTo>
                  <a:lnTo>
                    <a:pt x="21805" y="43448"/>
                  </a:lnTo>
                  <a:lnTo>
                    <a:pt x="21805" y="42413"/>
                  </a:lnTo>
                  <a:lnTo>
                    <a:pt x="21805" y="42413"/>
                  </a:lnTo>
                  <a:lnTo>
                    <a:pt x="21805" y="42413"/>
                  </a:lnTo>
                  <a:lnTo>
                    <a:pt x="22086" y="41724"/>
                  </a:lnTo>
                  <a:lnTo>
                    <a:pt x="22508" y="41034"/>
                  </a:lnTo>
                  <a:lnTo>
                    <a:pt x="22790" y="41034"/>
                  </a:lnTo>
                  <a:lnTo>
                    <a:pt x="22508" y="39310"/>
                  </a:lnTo>
                  <a:lnTo>
                    <a:pt x="22508" y="38620"/>
                  </a:lnTo>
                  <a:lnTo>
                    <a:pt x="22086" y="38620"/>
                  </a:lnTo>
                  <a:lnTo>
                    <a:pt x="21805" y="37586"/>
                  </a:lnTo>
                  <a:lnTo>
                    <a:pt x="21805" y="37586"/>
                  </a:lnTo>
                  <a:lnTo>
                    <a:pt x="21524" y="36896"/>
                  </a:lnTo>
                  <a:lnTo>
                    <a:pt x="21524" y="37586"/>
                  </a:lnTo>
                  <a:lnTo>
                    <a:pt x="20820" y="37586"/>
                  </a:lnTo>
                  <a:lnTo>
                    <a:pt x="20820" y="38620"/>
                  </a:lnTo>
                  <a:lnTo>
                    <a:pt x="20539" y="39310"/>
                  </a:lnTo>
                  <a:lnTo>
                    <a:pt x="20117" y="39310"/>
                  </a:lnTo>
                  <a:lnTo>
                    <a:pt x="19554" y="39310"/>
                  </a:lnTo>
                  <a:lnTo>
                    <a:pt x="20117" y="38620"/>
                  </a:lnTo>
                  <a:lnTo>
                    <a:pt x="20820" y="37586"/>
                  </a:lnTo>
                  <a:lnTo>
                    <a:pt x="20820" y="37586"/>
                  </a:lnTo>
                  <a:lnTo>
                    <a:pt x="20820" y="36896"/>
                  </a:lnTo>
                  <a:lnTo>
                    <a:pt x="20539" y="35862"/>
                  </a:lnTo>
                  <a:lnTo>
                    <a:pt x="20117" y="35862"/>
                  </a:lnTo>
                  <a:lnTo>
                    <a:pt x="19554" y="35172"/>
                  </a:lnTo>
                  <a:lnTo>
                    <a:pt x="19132" y="35172"/>
                  </a:lnTo>
                  <a:lnTo>
                    <a:pt x="19132" y="35172"/>
                  </a:lnTo>
                  <a:lnTo>
                    <a:pt x="18569" y="33448"/>
                  </a:lnTo>
                  <a:lnTo>
                    <a:pt x="18569" y="33448"/>
                  </a:lnTo>
                  <a:lnTo>
                    <a:pt x="18569" y="32758"/>
                  </a:lnTo>
                  <a:lnTo>
                    <a:pt x="18569" y="32068"/>
                  </a:lnTo>
                  <a:lnTo>
                    <a:pt x="18147" y="31034"/>
                  </a:lnTo>
                  <a:lnTo>
                    <a:pt x="18147" y="30344"/>
                  </a:lnTo>
                  <a:lnTo>
                    <a:pt x="17444" y="29655"/>
                  </a:lnTo>
                  <a:lnTo>
                    <a:pt x="17162" y="28620"/>
                  </a:lnTo>
                  <a:lnTo>
                    <a:pt x="16881" y="28620"/>
                  </a:lnTo>
                  <a:lnTo>
                    <a:pt x="16459" y="28620"/>
                  </a:lnTo>
                  <a:lnTo>
                    <a:pt x="16459" y="27931"/>
                  </a:lnTo>
                  <a:lnTo>
                    <a:pt x="16178" y="26896"/>
                  </a:lnTo>
                  <a:lnTo>
                    <a:pt x="16178" y="26206"/>
                  </a:lnTo>
                  <a:lnTo>
                    <a:pt x="15896" y="25517"/>
                  </a:lnTo>
                  <a:lnTo>
                    <a:pt x="15474" y="24482"/>
                  </a:lnTo>
                  <a:lnTo>
                    <a:pt x="15193" y="24482"/>
                  </a:lnTo>
                  <a:lnTo>
                    <a:pt x="15193" y="24482"/>
                  </a:lnTo>
                  <a:lnTo>
                    <a:pt x="14912" y="24482"/>
                  </a:lnTo>
                  <a:lnTo>
                    <a:pt x="14912" y="24482"/>
                  </a:lnTo>
                  <a:lnTo>
                    <a:pt x="14912" y="25517"/>
                  </a:lnTo>
                  <a:lnTo>
                    <a:pt x="15193" y="26206"/>
                  </a:lnTo>
                  <a:lnTo>
                    <a:pt x="15193" y="26896"/>
                  </a:lnTo>
                  <a:lnTo>
                    <a:pt x="14912" y="26206"/>
                  </a:lnTo>
                  <a:lnTo>
                    <a:pt x="14490" y="25517"/>
                  </a:lnTo>
                  <a:lnTo>
                    <a:pt x="14208" y="25517"/>
                  </a:lnTo>
                  <a:lnTo>
                    <a:pt x="14208" y="24482"/>
                  </a:lnTo>
                  <a:lnTo>
                    <a:pt x="13927" y="24482"/>
                  </a:lnTo>
                  <a:lnTo>
                    <a:pt x="13927" y="23793"/>
                  </a:lnTo>
                  <a:lnTo>
                    <a:pt x="13505" y="23103"/>
                  </a:lnTo>
                  <a:lnTo>
                    <a:pt x="13505" y="23103"/>
                  </a:lnTo>
                  <a:lnTo>
                    <a:pt x="13223" y="21379"/>
                  </a:lnTo>
                  <a:lnTo>
                    <a:pt x="12801" y="20689"/>
                  </a:lnTo>
                  <a:lnTo>
                    <a:pt x="12520" y="19655"/>
                  </a:lnTo>
                  <a:lnTo>
                    <a:pt x="12520" y="18965"/>
                  </a:lnTo>
                  <a:lnTo>
                    <a:pt x="11817" y="17931"/>
                  </a:lnTo>
                  <a:lnTo>
                    <a:pt x="11535" y="16551"/>
                  </a:lnTo>
                  <a:lnTo>
                    <a:pt x="10550" y="14827"/>
                  </a:lnTo>
                  <a:lnTo>
                    <a:pt x="9566" y="14137"/>
                  </a:lnTo>
                  <a:lnTo>
                    <a:pt x="9566" y="13103"/>
                  </a:lnTo>
                  <a:lnTo>
                    <a:pt x="9284" y="13103"/>
                  </a:lnTo>
                  <a:lnTo>
                    <a:pt x="9284" y="12413"/>
                  </a:lnTo>
                  <a:lnTo>
                    <a:pt x="9284" y="12413"/>
                  </a:lnTo>
                  <a:lnTo>
                    <a:pt x="8862" y="11724"/>
                  </a:lnTo>
                  <a:lnTo>
                    <a:pt x="8159" y="10689"/>
                  </a:lnTo>
                  <a:lnTo>
                    <a:pt x="7878" y="10689"/>
                  </a:lnTo>
                  <a:lnTo>
                    <a:pt x="7878" y="8965"/>
                  </a:lnTo>
                  <a:lnTo>
                    <a:pt x="7878" y="8965"/>
                  </a:lnTo>
                  <a:lnTo>
                    <a:pt x="7174" y="7586"/>
                  </a:lnTo>
                  <a:lnTo>
                    <a:pt x="7174" y="6551"/>
                  </a:lnTo>
                  <a:lnTo>
                    <a:pt x="7174" y="5862"/>
                  </a:lnTo>
                  <a:lnTo>
                    <a:pt x="6893" y="5172"/>
                  </a:lnTo>
                  <a:lnTo>
                    <a:pt x="6611" y="4137"/>
                  </a:lnTo>
                  <a:lnTo>
                    <a:pt x="6189" y="3448"/>
                  </a:lnTo>
                  <a:lnTo>
                    <a:pt x="5908" y="3448"/>
                  </a:lnTo>
                  <a:lnTo>
                    <a:pt x="5908" y="2758"/>
                  </a:lnTo>
                  <a:lnTo>
                    <a:pt x="5908" y="2758"/>
                  </a:lnTo>
                  <a:lnTo>
                    <a:pt x="5205" y="3448"/>
                  </a:lnTo>
                  <a:lnTo>
                    <a:pt x="4923" y="2758"/>
                  </a:lnTo>
                  <a:lnTo>
                    <a:pt x="4642" y="2758"/>
                  </a:lnTo>
                  <a:lnTo>
                    <a:pt x="4220" y="2758"/>
                  </a:lnTo>
                  <a:lnTo>
                    <a:pt x="3516" y="2758"/>
                  </a:lnTo>
                  <a:lnTo>
                    <a:pt x="3235" y="2758"/>
                  </a:lnTo>
                  <a:lnTo>
                    <a:pt x="2532" y="2758"/>
                  </a:lnTo>
                  <a:lnTo>
                    <a:pt x="2250" y="2758"/>
                  </a:lnTo>
                  <a:lnTo>
                    <a:pt x="1969" y="1724"/>
                  </a:lnTo>
                  <a:lnTo>
                    <a:pt x="1547" y="1034"/>
                  </a:lnTo>
                  <a:lnTo>
                    <a:pt x="1266" y="0"/>
                  </a:lnTo>
                  <a:lnTo>
                    <a:pt x="984" y="0"/>
                  </a:lnTo>
                  <a:lnTo>
                    <a:pt x="562" y="0"/>
                  </a:lnTo>
                  <a:lnTo>
                    <a:pt x="281" y="0"/>
                  </a:lnTo>
                  <a:lnTo>
                    <a:pt x="0" y="0"/>
                  </a:lnTo>
                  <a:lnTo>
                    <a:pt x="0" y="0"/>
                  </a:lnTo>
                  <a:lnTo>
                    <a:pt x="0" y="1034"/>
                  </a:lnTo>
                  <a:lnTo>
                    <a:pt x="0" y="1034"/>
                  </a:lnTo>
                  <a:lnTo>
                    <a:pt x="0" y="1724"/>
                  </a:lnTo>
                  <a:lnTo>
                    <a:pt x="0" y="1724"/>
                  </a:lnTo>
                  <a:lnTo>
                    <a:pt x="0" y="2758"/>
                  </a:lnTo>
                  <a:lnTo>
                    <a:pt x="281" y="5172"/>
                  </a:lnTo>
                  <a:lnTo>
                    <a:pt x="562" y="5862"/>
                  </a:lnTo>
                  <a:lnTo>
                    <a:pt x="562" y="6551"/>
                  </a:lnTo>
                  <a:lnTo>
                    <a:pt x="984" y="6551"/>
                  </a:lnTo>
                  <a:lnTo>
                    <a:pt x="1969" y="10000"/>
                  </a:lnTo>
                  <a:lnTo>
                    <a:pt x="2532" y="11724"/>
                  </a:lnTo>
                  <a:lnTo>
                    <a:pt x="2954" y="11724"/>
                  </a:lnTo>
                  <a:lnTo>
                    <a:pt x="3235" y="13103"/>
                  </a:lnTo>
                  <a:lnTo>
                    <a:pt x="3516" y="13103"/>
                  </a:lnTo>
                  <a:lnTo>
                    <a:pt x="4220" y="14137"/>
                  </a:lnTo>
                  <a:lnTo>
                    <a:pt x="4642" y="14137"/>
                  </a:lnTo>
                  <a:lnTo>
                    <a:pt x="4642" y="14827"/>
                  </a:lnTo>
                  <a:lnTo>
                    <a:pt x="5205" y="17241"/>
                  </a:lnTo>
                  <a:lnTo>
                    <a:pt x="5627" y="17931"/>
                  </a:lnTo>
                  <a:lnTo>
                    <a:pt x="5627" y="18965"/>
                  </a:lnTo>
                  <a:lnTo>
                    <a:pt x="5908" y="18965"/>
                  </a:lnTo>
                  <a:lnTo>
                    <a:pt x="6189" y="20689"/>
                  </a:lnTo>
                  <a:lnTo>
                    <a:pt x="6611" y="20689"/>
                  </a:lnTo>
                  <a:lnTo>
                    <a:pt x="6611" y="21379"/>
                  </a:lnTo>
                  <a:lnTo>
                    <a:pt x="6611" y="23103"/>
                  </a:lnTo>
                  <a:lnTo>
                    <a:pt x="6611" y="23793"/>
                  </a:lnTo>
                  <a:lnTo>
                    <a:pt x="6893" y="24482"/>
                  </a:lnTo>
                  <a:lnTo>
                    <a:pt x="7174" y="24482"/>
                  </a:lnTo>
                  <a:lnTo>
                    <a:pt x="7596" y="24482"/>
                  </a:lnTo>
                  <a:lnTo>
                    <a:pt x="7878" y="24482"/>
                  </a:lnTo>
                  <a:lnTo>
                    <a:pt x="8862" y="26896"/>
                  </a:lnTo>
                  <a:lnTo>
                    <a:pt x="9284" y="26896"/>
                  </a:lnTo>
                  <a:lnTo>
                    <a:pt x="9284" y="28620"/>
                  </a:lnTo>
                  <a:lnTo>
                    <a:pt x="9566" y="30344"/>
                  </a:lnTo>
                  <a:lnTo>
                    <a:pt x="9847" y="33448"/>
                  </a:lnTo>
                  <a:lnTo>
                    <a:pt x="10269" y="35862"/>
                  </a:lnTo>
                  <a:lnTo>
                    <a:pt x="10550" y="37586"/>
                  </a:lnTo>
                  <a:lnTo>
                    <a:pt x="10550" y="38620"/>
                  </a:lnTo>
                  <a:lnTo>
                    <a:pt x="10832" y="39310"/>
                  </a:lnTo>
                  <a:lnTo>
                    <a:pt x="11254" y="39310"/>
                  </a:lnTo>
                  <a:lnTo>
                    <a:pt x="11817" y="40000"/>
                  </a:lnTo>
                  <a:lnTo>
                    <a:pt x="11817" y="41034"/>
                  </a:lnTo>
                  <a:lnTo>
                    <a:pt x="12239" y="41034"/>
                  </a:lnTo>
                  <a:lnTo>
                    <a:pt x="12520" y="43448"/>
                  </a:lnTo>
                  <a:lnTo>
                    <a:pt x="12520" y="44137"/>
                  </a:lnTo>
                  <a:lnTo>
                    <a:pt x="12801" y="44137"/>
                  </a:lnTo>
                  <a:lnTo>
                    <a:pt x="13223" y="44827"/>
                  </a:lnTo>
                  <a:lnTo>
                    <a:pt x="13505" y="46551"/>
                  </a:lnTo>
                  <a:lnTo>
                    <a:pt x="13505" y="46551"/>
                  </a:lnTo>
                  <a:lnTo>
                    <a:pt x="13927" y="48965"/>
                  </a:lnTo>
                  <a:lnTo>
                    <a:pt x="14208" y="50689"/>
                  </a:lnTo>
                  <a:lnTo>
                    <a:pt x="14912" y="54827"/>
                  </a:lnTo>
                  <a:lnTo>
                    <a:pt x="14912" y="56551"/>
                  </a:lnTo>
                  <a:lnTo>
                    <a:pt x="15193" y="57241"/>
                  </a:lnTo>
                  <a:lnTo>
                    <a:pt x="15193" y="57931"/>
                  </a:lnTo>
                  <a:lnTo>
                    <a:pt x="15474" y="59655"/>
                  </a:lnTo>
                  <a:lnTo>
                    <a:pt x="15896" y="60344"/>
                  </a:lnTo>
                  <a:lnTo>
                    <a:pt x="16178" y="60344"/>
                  </a:lnTo>
                  <a:lnTo>
                    <a:pt x="16178" y="61379"/>
                  </a:lnTo>
                  <a:lnTo>
                    <a:pt x="16459" y="62068"/>
                  </a:lnTo>
                  <a:lnTo>
                    <a:pt x="16881" y="63793"/>
                  </a:lnTo>
                  <a:lnTo>
                    <a:pt x="16881" y="64482"/>
                  </a:lnTo>
                  <a:lnTo>
                    <a:pt x="17444" y="65517"/>
                  </a:lnTo>
                  <a:lnTo>
                    <a:pt x="18147" y="66896"/>
                  </a:lnTo>
                  <a:lnTo>
                    <a:pt x="18569" y="67931"/>
                  </a:lnTo>
                  <a:lnTo>
                    <a:pt x="18851" y="69310"/>
                  </a:lnTo>
                  <a:lnTo>
                    <a:pt x="19132" y="71034"/>
                  </a:lnTo>
                  <a:lnTo>
                    <a:pt x="20117" y="73448"/>
                  </a:lnTo>
                  <a:lnTo>
                    <a:pt x="20820" y="74482"/>
                  </a:lnTo>
                  <a:lnTo>
                    <a:pt x="20820" y="75172"/>
                  </a:lnTo>
                  <a:lnTo>
                    <a:pt x="21101" y="75862"/>
                  </a:lnTo>
                  <a:lnTo>
                    <a:pt x="21524" y="75862"/>
                  </a:lnTo>
                  <a:lnTo>
                    <a:pt x="22508" y="77586"/>
                  </a:lnTo>
                  <a:lnTo>
                    <a:pt x="22508" y="77586"/>
                  </a:lnTo>
                  <a:lnTo>
                    <a:pt x="23212" y="80000"/>
                  </a:lnTo>
                  <a:lnTo>
                    <a:pt x="23212" y="81034"/>
                  </a:lnTo>
                  <a:lnTo>
                    <a:pt x="23493" y="81034"/>
                  </a:lnTo>
                  <a:lnTo>
                    <a:pt x="23774" y="82413"/>
                  </a:lnTo>
                  <a:lnTo>
                    <a:pt x="24196" y="83448"/>
                  </a:lnTo>
                  <a:lnTo>
                    <a:pt x="24478" y="84137"/>
                  </a:lnTo>
                  <a:lnTo>
                    <a:pt x="24478" y="84137"/>
                  </a:lnTo>
                  <a:lnTo>
                    <a:pt x="24478" y="84137"/>
                  </a:lnTo>
                  <a:lnTo>
                    <a:pt x="24478" y="83448"/>
                  </a:lnTo>
                  <a:lnTo>
                    <a:pt x="24478" y="81724"/>
                  </a:lnTo>
                  <a:lnTo>
                    <a:pt x="24478" y="81724"/>
                  </a:lnTo>
                  <a:lnTo>
                    <a:pt x="24478" y="81034"/>
                  </a:lnTo>
                  <a:lnTo>
                    <a:pt x="25181" y="82413"/>
                  </a:lnTo>
                  <a:lnTo>
                    <a:pt x="25463" y="82413"/>
                  </a:lnTo>
                  <a:lnTo>
                    <a:pt x="25744" y="82413"/>
                  </a:lnTo>
                  <a:lnTo>
                    <a:pt x="25744" y="82413"/>
                  </a:lnTo>
                  <a:close/>
                </a:path>
              </a:pathLst>
            </a:custGeom>
            <a:solidFill>
              <a:schemeClr val="lt2"/>
            </a:solidFill>
            <a:ln>
              <a:noFill/>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68" name="Shape 468"/>
            <p:cNvSpPr/>
            <p:nvPr/>
          </p:nvSpPr>
          <p:spPr>
            <a:xfrm>
              <a:off x="5421" y="2689"/>
              <a:ext cx="900" cy="300"/>
            </a:xfrm>
            <a:custGeom>
              <a:avLst/>
              <a:gdLst/>
              <a:ahLst/>
              <a:cxnLst/>
              <a:rect l="0" t="0" r="0" b="0"/>
              <a:pathLst>
                <a:path w="120000" h="120000" extrusionOk="0">
                  <a:moveTo>
                    <a:pt x="72590" y="117586"/>
                  </a:moveTo>
                  <a:lnTo>
                    <a:pt x="72590" y="117586"/>
                  </a:lnTo>
                  <a:lnTo>
                    <a:pt x="72590" y="117586"/>
                  </a:lnTo>
                  <a:lnTo>
                    <a:pt x="72590" y="117586"/>
                  </a:lnTo>
                  <a:lnTo>
                    <a:pt x="72168" y="117586"/>
                  </a:lnTo>
                  <a:lnTo>
                    <a:pt x="71887" y="118275"/>
                  </a:lnTo>
                  <a:lnTo>
                    <a:pt x="71606" y="119310"/>
                  </a:lnTo>
                  <a:lnTo>
                    <a:pt x="70902" y="119310"/>
                  </a:lnTo>
                  <a:lnTo>
                    <a:pt x="70902" y="120000"/>
                  </a:lnTo>
                  <a:lnTo>
                    <a:pt x="70902" y="120000"/>
                  </a:lnTo>
                  <a:lnTo>
                    <a:pt x="70902" y="120000"/>
                  </a:lnTo>
                  <a:lnTo>
                    <a:pt x="71184" y="120000"/>
                  </a:lnTo>
                  <a:lnTo>
                    <a:pt x="71606" y="120000"/>
                  </a:lnTo>
                  <a:lnTo>
                    <a:pt x="71887" y="120000"/>
                  </a:lnTo>
                  <a:lnTo>
                    <a:pt x="72168" y="119310"/>
                  </a:lnTo>
                  <a:lnTo>
                    <a:pt x="72590" y="118275"/>
                  </a:lnTo>
                  <a:lnTo>
                    <a:pt x="72590" y="118275"/>
                  </a:lnTo>
                  <a:lnTo>
                    <a:pt x="72590" y="117586"/>
                  </a:lnTo>
                  <a:moveTo>
                    <a:pt x="68511" y="116896"/>
                  </a:moveTo>
                  <a:lnTo>
                    <a:pt x="68229" y="117586"/>
                  </a:lnTo>
                  <a:lnTo>
                    <a:pt x="68229" y="117586"/>
                  </a:lnTo>
                  <a:lnTo>
                    <a:pt x="68229" y="117586"/>
                  </a:lnTo>
                  <a:lnTo>
                    <a:pt x="68511" y="118275"/>
                  </a:lnTo>
                  <a:lnTo>
                    <a:pt x="68511" y="118275"/>
                  </a:lnTo>
                  <a:lnTo>
                    <a:pt x="68933" y="117586"/>
                  </a:lnTo>
                  <a:lnTo>
                    <a:pt x="68933" y="116896"/>
                  </a:lnTo>
                  <a:lnTo>
                    <a:pt x="68933" y="116896"/>
                  </a:lnTo>
                  <a:lnTo>
                    <a:pt x="68511" y="116896"/>
                  </a:lnTo>
                  <a:moveTo>
                    <a:pt x="65556" y="112758"/>
                  </a:moveTo>
                  <a:lnTo>
                    <a:pt x="65556" y="112758"/>
                  </a:lnTo>
                  <a:lnTo>
                    <a:pt x="65275" y="111724"/>
                  </a:lnTo>
                  <a:lnTo>
                    <a:pt x="65275" y="111034"/>
                  </a:lnTo>
                  <a:lnTo>
                    <a:pt x="64853" y="111034"/>
                  </a:lnTo>
                  <a:lnTo>
                    <a:pt x="64853" y="111034"/>
                  </a:lnTo>
                  <a:lnTo>
                    <a:pt x="64572" y="111034"/>
                  </a:lnTo>
                  <a:lnTo>
                    <a:pt x="64572" y="111034"/>
                  </a:lnTo>
                  <a:lnTo>
                    <a:pt x="64572" y="110344"/>
                  </a:lnTo>
                  <a:lnTo>
                    <a:pt x="64572" y="110344"/>
                  </a:lnTo>
                  <a:lnTo>
                    <a:pt x="64290" y="109310"/>
                  </a:lnTo>
                  <a:lnTo>
                    <a:pt x="63868" y="109310"/>
                  </a:lnTo>
                  <a:lnTo>
                    <a:pt x="63868" y="108620"/>
                  </a:lnTo>
                  <a:lnTo>
                    <a:pt x="63868" y="108620"/>
                  </a:lnTo>
                  <a:lnTo>
                    <a:pt x="63587" y="109310"/>
                  </a:lnTo>
                  <a:lnTo>
                    <a:pt x="63305" y="109310"/>
                  </a:lnTo>
                  <a:lnTo>
                    <a:pt x="62883" y="109310"/>
                  </a:lnTo>
                  <a:lnTo>
                    <a:pt x="62602" y="109310"/>
                  </a:lnTo>
                  <a:lnTo>
                    <a:pt x="62321" y="109310"/>
                  </a:lnTo>
                  <a:lnTo>
                    <a:pt x="61899" y="109310"/>
                  </a:lnTo>
                  <a:lnTo>
                    <a:pt x="61336" y="109310"/>
                  </a:lnTo>
                  <a:lnTo>
                    <a:pt x="61336" y="110344"/>
                  </a:lnTo>
                  <a:lnTo>
                    <a:pt x="61336" y="110344"/>
                  </a:lnTo>
                  <a:lnTo>
                    <a:pt x="61336" y="111034"/>
                  </a:lnTo>
                  <a:lnTo>
                    <a:pt x="61336" y="111034"/>
                  </a:lnTo>
                  <a:lnTo>
                    <a:pt x="61336" y="111034"/>
                  </a:lnTo>
                  <a:lnTo>
                    <a:pt x="61617" y="111724"/>
                  </a:lnTo>
                  <a:lnTo>
                    <a:pt x="62321" y="111724"/>
                  </a:lnTo>
                  <a:lnTo>
                    <a:pt x="62321" y="111724"/>
                  </a:lnTo>
                  <a:lnTo>
                    <a:pt x="62602" y="111724"/>
                  </a:lnTo>
                  <a:lnTo>
                    <a:pt x="62883" y="111724"/>
                  </a:lnTo>
                  <a:lnTo>
                    <a:pt x="63305" y="113448"/>
                  </a:lnTo>
                  <a:lnTo>
                    <a:pt x="63587" y="113448"/>
                  </a:lnTo>
                  <a:lnTo>
                    <a:pt x="63868" y="114137"/>
                  </a:lnTo>
                  <a:lnTo>
                    <a:pt x="63868" y="114137"/>
                  </a:lnTo>
                  <a:lnTo>
                    <a:pt x="64290" y="115172"/>
                  </a:lnTo>
                  <a:lnTo>
                    <a:pt x="64290" y="115172"/>
                  </a:lnTo>
                  <a:lnTo>
                    <a:pt x="64853" y="115862"/>
                  </a:lnTo>
                  <a:lnTo>
                    <a:pt x="64853" y="115862"/>
                  </a:lnTo>
                  <a:lnTo>
                    <a:pt x="65275" y="115172"/>
                  </a:lnTo>
                  <a:lnTo>
                    <a:pt x="65556" y="115172"/>
                  </a:lnTo>
                  <a:lnTo>
                    <a:pt x="65556" y="115172"/>
                  </a:lnTo>
                  <a:lnTo>
                    <a:pt x="65978" y="114137"/>
                  </a:lnTo>
                  <a:lnTo>
                    <a:pt x="65978" y="114137"/>
                  </a:lnTo>
                  <a:lnTo>
                    <a:pt x="65978" y="113448"/>
                  </a:lnTo>
                  <a:lnTo>
                    <a:pt x="65556" y="112758"/>
                  </a:lnTo>
                  <a:moveTo>
                    <a:pt x="77233" y="106206"/>
                  </a:moveTo>
                  <a:lnTo>
                    <a:pt x="76811" y="106896"/>
                  </a:lnTo>
                  <a:lnTo>
                    <a:pt x="76811" y="106896"/>
                  </a:lnTo>
                  <a:lnTo>
                    <a:pt x="76811" y="106896"/>
                  </a:lnTo>
                  <a:lnTo>
                    <a:pt x="76811" y="106206"/>
                  </a:lnTo>
                  <a:lnTo>
                    <a:pt x="76811" y="106206"/>
                  </a:lnTo>
                  <a:lnTo>
                    <a:pt x="76248" y="106896"/>
                  </a:lnTo>
                  <a:lnTo>
                    <a:pt x="76248" y="106896"/>
                  </a:lnTo>
                  <a:lnTo>
                    <a:pt x="75826" y="107931"/>
                  </a:lnTo>
                  <a:lnTo>
                    <a:pt x="75545" y="107931"/>
                  </a:lnTo>
                  <a:lnTo>
                    <a:pt x="75545" y="108620"/>
                  </a:lnTo>
                  <a:lnTo>
                    <a:pt x="75545" y="108620"/>
                  </a:lnTo>
                  <a:lnTo>
                    <a:pt x="75263" y="109310"/>
                  </a:lnTo>
                  <a:lnTo>
                    <a:pt x="75263" y="109310"/>
                  </a:lnTo>
                  <a:lnTo>
                    <a:pt x="75263" y="109310"/>
                  </a:lnTo>
                  <a:lnTo>
                    <a:pt x="74841" y="109310"/>
                  </a:lnTo>
                  <a:lnTo>
                    <a:pt x="74560" y="109310"/>
                  </a:lnTo>
                  <a:lnTo>
                    <a:pt x="74560" y="109310"/>
                  </a:lnTo>
                  <a:lnTo>
                    <a:pt x="74560" y="109310"/>
                  </a:lnTo>
                  <a:lnTo>
                    <a:pt x="74560" y="108620"/>
                  </a:lnTo>
                  <a:lnTo>
                    <a:pt x="74138" y="109310"/>
                  </a:lnTo>
                  <a:lnTo>
                    <a:pt x="73856" y="109310"/>
                  </a:lnTo>
                  <a:lnTo>
                    <a:pt x="73575" y="111034"/>
                  </a:lnTo>
                  <a:lnTo>
                    <a:pt x="73575" y="111724"/>
                  </a:lnTo>
                  <a:lnTo>
                    <a:pt x="73153" y="112758"/>
                  </a:lnTo>
                  <a:lnTo>
                    <a:pt x="73153" y="113448"/>
                  </a:lnTo>
                  <a:lnTo>
                    <a:pt x="73153" y="113448"/>
                  </a:lnTo>
                  <a:lnTo>
                    <a:pt x="73575" y="114137"/>
                  </a:lnTo>
                  <a:lnTo>
                    <a:pt x="73575" y="114137"/>
                  </a:lnTo>
                  <a:lnTo>
                    <a:pt x="73153" y="115172"/>
                  </a:lnTo>
                  <a:lnTo>
                    <a:pt x="73153" y="115172"/>
                  </a:lnTo>
                  <a:lnTo>
                    <a:pt x="73153" y="115862"/>
                  </a:lnTo>
                  <a:lnTo>
                    <a:pt x="73153" y="115862"/>
                  </a:lnTo>
                  <a:lnTo>
                    <a:pt x="73575" y="115862"/>
                  </a:lnTo>
                  <a:lnTo>
                    <a:pt x="73856" y="115862"/>
                  </a:lnTo>
                  <a:lnTo>
                    <a:pt x="74138" y="115862"/>
                  </a:lnTo>
                  <a:lnTo>
                    <a:pt x="74560" y="115172"/>
                  </a:lnTo>
                  <a:lnTo>
                    <a:pt x="75263" y="115172"/>
                  </a:lnTo>
                  <a:lnTo>
                    <a:pt x="75263" y="115172"/>
                  </a:lnTo>
                  <a:lnTo>
                    <a:pt x="75545" y="114137"/>
                  </a:lnTo>
                  <a:lnTo>
                    <a:pt x="75826" y="113448"/>
                  </a:lnTo>
                  <a:lnTo>
                    <a:pt x="76248" y="113448"/>
                  </a:lnTo>
                  <a:lnTo>
                    <a:pt x="76529" y="111724"/>
                  </a:lnTo>
                  <a:lnTo>
                    <a:pt x="76811" y="111034"/>
                  </a:lnTo>
                  <a:lnTo>
                    <a:pt x="76811" y="110344"/>
                  </a:lnTo>
                  <a:lnTo>
                    <a:pt x="77233" y="110344"/>
                  </a:lnTo>
                  <a:lnTo>
                    <a:pt x="77233" y="109310"/>
                  </a:lnTo>
                  <a:lnTo>
                    <a:pt x="76811" y="108620"/>
                  </a:lnTo>
                  <a:lnTo>
                    <a:pt x="76811" y="108620"/>
                  </a:lnTo>
                  <a:lnTo>
                    <a:pt x="76811" y="108620"/>
                  </a:lnTo>
                  <a:lnTo>
                    <a:pt x="76811" y="107931"/>
                  </a:lnTo>
                  <a:lnTo>
                    <a:pt x="76811" y="107931"/>
                  </a:lnTo>
                  <a:lnTo>
                    <a:pt x="77233" y="107931"/>
                  </a:lnTo>
                  <a:lnTo>
                    <a:pt x="77514" y="106896"/>
                  </a:lnTo>
                  <a:lnTo>
                    <a:pt x="77514" y="106896"/>
                  </a:lnTo>
                  <a:lnTo>
                    <a:pt x="77514" y="106896"/>
                  </a:lnTo>
                  <a:lnTo>
                    <a:pt x="77233" y="106206"/>
                  </a:lnTo>
                  <a:moveTo>
                    <a:pt x="62883" y="103793"/>
                  </a:moveTo>
                  <a:lnTo>
                    <a:pt x="62883" y="102758"/>
                  </a:lnTo>
                  <a:lnTo>
                    <a:pt x="62883" y="102758"/>
                  </a:lnTo>
                  <a:lnTo>
                    <a:pt x="62883" y="102758"/>
                  </a:lnTo>
                  <a:lnTo>
                    <a:pt x="62883" y="102758"/>
                  </a:lnTo>
                  <a:lnTo>
                    <a:pt x="62883" y="102758"/>
                  </a:lnTo>
                  <a:lnTo>
                    <a:pt x="62883" y="102758"/>
                  </a:lnTo>
                  <a:lnTo>
                    <a:pt x="62602" y="102068"/>
                  </a:lnTo>
                  <a:lnTo>
                    <a:pt x="62602" y="102758"/>
                  </a:lnTo>
                  <a:lnTo>
                    <a:pt x="62602" y="102758"/>
                  </a:lnTo>
                  <a:lnTo>
                    <a:pt x="62602" y="103793"/>
                  </a:lnTo>
                  <a:lnTo>
                    <a:pt x="62602" y="103793"/>
                  </a:lnTo>
                  <a:lnTo>
                    <a:pt x="62602" y="104482"/>
                  </a:lnTo>
                  <a:lnTo>
                    <a:pt x="62602" y="104482"/>
                  </a:lnTo>
                  <a:lnTo>
                    <a:pt x="62602" y="104482"/>
                  </a:lnTo>
                  <a:lnTo>
                    <a:pt x="62602" y="103793"/>
                  </a:lnTo>
                  <a:lnTo>
                    <a:pt x="62883" y="103793"/>
                  </a:lnTo>
                  <a:lnTo>
                    <a:pt x="62883" y="103793"/>
                  </a:lnTo>
                  <a:moveTo>
                    <a:pt x="72872" y="102068"/>
                  </a:moveTo>
                  <a:lnTo>
                    <a:pt x="72872" y="101379"/>
                  </a:lnTo>
                  <a:lnTo>
                    <a:pt x="72590" y="101379"/>
                  </a:lnTo>
                  <a:lnTo>
                    <a:pt x="72168" y="101379"/>
                  </a:lnTo>
                  <a:lnTo>
                    <a:pt x="72168" y="101379"/>
                  </a:lnTo>
                  <a:lnTo>
                    <a:pt x="72168" y="101379"/>
                  </a:lnTo>
                  <a:lnTo>
                    <a:pt x="71887" y="102068"/>
                  </a:lnTo>
                  <a:lnTo>
                    <a:pt x="72872" y="102068"/>
                  </a:lnTo>
                  <a:lnTo>
                    <a:pt x="72872" y="102068"/>
                  </a:lnTo>
                  <a:moveTo>
                    <a:pt x="55568" y="102068"/>
                  </a:moveTo>
                  <a:lnTo>
                    <a:pt x="55568" y="101379"/>
                  </a:lnTo>
                  <a:lnTo>
                    <a:pt x="55568" y="101379"/>
                  </a:lnTo>
                  <a:lnTo>
                    <a:pt x="55287" y="101379"/>
                  </a:lnTo>
                  <a:lnTo>
                    <a:pt x="55005" y="100344"/>
                  </a:lnTo>
                  <a:lnTo>
                    <a:pt x="54583" y="101379"/>
                  </a:lnTo>
                  <a:lnTo>
                    <a:pt x="54302" y="101379"/>
                  </a:lnTo>
                  <a:lnTo>
                    <a:pt x="54021" y="102068"/>
                  </a:lnTo>
                  <a:lnTo>
                    <a:pt x="54021" y="103793"/>
                  </a:lnTo>
                  <a:lnTo>
                    <a:pt x="54021" y="104482"/>
                  </a:lnTo>
                  <a:lnTo>
                    <a:pt x="53599" y="104482"/>
                  </a:lnTo>
                  <a:lnTo>
                    <a:pt x="53317" y="104482"/>
                  </a:lnTo>
                  <a:lnTo>
                    <a:pt x="53317" y="104482"/>
                  </a:lnTo>
                  <a:lnTo>
                    <a:pt x="53317" y="104482"/>
                  </a:lnTo>
                  <a:lnTo>
                    <a:pt x="53317" y="105172"/>
                  </a:lnTo>
                  <a:lnTo>
                    <a:pt x="53599" y="105172"/>
                  </a:lnTo>
                  <a:lnTo>
                    <a:pt x="54302" y="106206"/>
                  </a:lnTo>
                  <a:lnTo>
                    <a:pt x="54302" y="106206"/>
                  </a:lnTo>
                  <a:lnTo>
                    <a:pt x="54583" y="106206"/>
                  </a:lnTo>
                  <a:lnTo>
                    <a:pt x="55287" y="105172"/>
                  </a:lnTo>
                  <a:lnTo>
                    <a:pt x="55005" y="105172"/>
                  </a:lnTo>
                  <a:lnTo>
                    <a:pt x="55005" y="105172"/>
                  </a:lnTo>
                  <a:lnTo>
                    <a:pt x="55287" y="103793"/>
                  </a:lnTo>
                  <a:lnTo>
                    <a:pt x="55568" y="102068"/>
                  </a:lnTo>
                  <a:moveTo>
                    <a:pt x="74560" y="102068"/>
                  </a:moveTo>
                  <a:lnTo>
                    <a:pt x="74841" y="102758"/>
                  </a:lnTo>
                  <a:lnTo>
                    <a:pt x="74841" y="102758"/>
                  </a:lnTo>
                  <a:lnTo>
                    <a:pt x="75263" y="102758"/>
                  </a:lnTo>
                  <a:lnTo>
                    <a:pt x="75263" y="102068"/>
                  </a:lnTo>
                  <a:lnTo>
                    <a:pt x="75263" y="101379"/>
                  </a:lnTo>
                  <a:lnTo>
                    <a:pt x="75545" y="101379"/>
                  </a:lnTo>
                  <a:lnTo>
                    <a:pt x="75545" y="100344"/>
                  </a:lnTo>
                  <a:lnTo>
                    <a:pt x="75263" y="100344"/>
                  </a:lnTo>
                  <a:lnTo>
                    <a:pt x="75263" y="100344"/>
                  </a:lnTo>
                  <a:lnTo>
                    <a:pt x="74841" y="102068"/>
                  </a:lnTo>
                  <a:lnTo>
                    <a:pt x="74841" y="102068"/>
                  </a:lnTo>
                  <a:lnTo>
                    <a:pt x="74841" y="101379"/>
                  </a:lnTo>
                  <a:lnTo>
                    <a:pt x="74560" y="101379"/>
                  </a:lnTo>
                  <a:lnTo>
                    <a:pt x="74560" y="102068"/>
                  </a:lnTo>
                  <a:lnTo>
                    <a:pt x="74560" y="102068"/>
                  </a:lnTo>
                  <a:lnTo>
                    <a:pt x="74560" y="102068"/>
                  </a:lnTo>
                  <a:moveTo>
                    <a:pt x="73575" y="103793"/>
                  </a:moveTo>
                  <a:lnTo>
                    <a:pt x="73575" y="102758"/>
                  </a:lnTo>
                  <a:lnTo>
                    <a:pt x="73575" y="102758"/>
                  </a:lnTo>
                  <a:lnTo>
                    <a:pt x="73575" y="102758"/>
                  </a:lnTo>
                  <a:lnTo>
                    <a:pt x="73575" y="102758"/>
                  </a:lnTo>
                  <a:lnTo>
                    <a:pt x="73575" y="102068"/>
                  </a:lnTo>
                  <a:lnTo>
                    <a:pt x="73856" y="102068"/>
                  </a:lnTo>
                  <a:lnTo>
                    <a:pt x="74138" y="101379"/>
                  </a:lnTo>
                  <a:lnTo>
                    <a:pt x="74560" y="101379"/>
                  </a:lnTo>
                  <a:lnTo>
                    <a:pt x="74138" y="101379"/>
                  </a:lnTo>
                  <a:lnTo>
                    <a:pt x="74138" y="100344"/>
                  </a:lnTo>
                  <a:lnTo>
                    <a:pt x="74138" y="100344"/>
                  </a:lnTo>
                  <a:lnTo>
                    <a:pt x="73575" y="101379"/>
                  </a:lnTo>
                  <a:lnTo>
                    <a:pt x="73575" y="101379"/>
                  </a:lnTo>
                  <a:lnTo>
                    <a:pt x="73575" y="101379"/>
                  </a:lnTo>
                  <a:lnTo>
                    <a:pt x="73153" y="101379"/>
                  </a:lnTo>
                  <a:lnTo>
                    <a:pt x="72872" y="101379"/>
                  </a:lnTo>
                  <a:lnTo>
                    <a:pt x="72872" y="101379"/>
                  </a:lnTo>
                  <a:lnTo>
                    <a:pt x="73153" y="101379"/>
                  </a:lnTo>
                  <a:lnTo>
                    <a:pt x="73153" y="101379"/>
                  </a:lnTo>
                  <a:lnTo>
                    <a:pt x="73153" y="102068"/>
                  </a:lnTo>
                  <a:lnTo>
                    <a:pt x="72872" y="102068"/>
                  </a:lnTo>
                  <a:lnTo>
                    <a:pt x="72590" y="102758"/>
                  </a:lnTo>
                  <a:lnTo>
                    <a:pt x="72590" y="102758"/>
                  </a:lnTo>
                  <a:lnTo>
                    <a:pt x="72872" y="102758"/>
                  </a:lnTo>
                  <a:lnTo>
                    <a:pt x="72872" y="103793"/>
                  </a:lnTo>
                  <a:lnTo>
                    <a:pt x="73153" y="103793"/>
                  </a:lnTo>
                  <a:lnTo>
                    <a:pt x="73153" y="102758"/>
                  </a:lnTo>
                  <a:lnTo>
                    <a:pt x="73575" y="103793"/>
                  </a:lnTo>
                  <a:moveTo>
                    <a:pt x="112966" y="100344"/>
                  </a:moveTo>
                  <a:lnTo>
                    <a:pt x="112966" y="100344"/>
                  </a:lnTo>
                  <a:lnTo>
                    <a:pt x="112684" y="101379"/>
                  </a:lnTo>
                  <a:lnTo>
                    <a:pt x="112684" y="101379"/>
                  </a:lnTo>
                  <a:lnTo>
                    <a:pt x="112684" y="101379"/>
                  </a:lnTo>
                  <a:lnTo>
                    <a:pt x="112684" y="102068"/>
                  </a:lnTo>
                  <a:lnTo>
                    <a:pt x="113388" y="102068"/>
                  </a:lnTo>
                  <a:lnTo>
                    <a:pt x="113388" y="102068"/>
                  </a:lnTo>
                  <a:lnTo>
                    <a:pt x="113388" y="101379"/>
                  </a:lnTo>
                  <a:lnTo>
                    <a:pt x="113388" y="100344"/>
                  </a:lnTo>
                  <a:lnTo>
                    <a:pt x="112966" y="100344"/>
                  </a:lnTo>
                  <a:moveTo>
                    <a:pt x="57678" y="102068"/>
                  </a:moveTo>
                  <a:lnTo>
                    <a:pt x="57960" y="102068"/>
                  </a:lnTo>
                  <a:lnTo>
                    <a:pt x="58241" y="100344"/>
                  </a:lnTo>
                  <a:lnTo>
                    <a:pt x="57960" y="100344"/>
                  </a:lnTo>
                  <a:lnTo>
                    <a:pt x="57960" y="100344"/>
                  </a:lnTo>
                  <a:lnTo>
                    <a:pt x="57678" y="100344"/>
                  </a:lnTo>
                  <a:lnTo>
                    <a:pt x="57678" y="101379"/>
                  </a:lnTo>
                  <a:lnTo>
                    <a:pt x="57678" y="101379"/>
                  </a:lnTo>
                  <a:lnTo>
                    <a:pt x="57678" y="102068"/>
                  </a:lnTo>
                  <a:lnTo>
                    <a:pt x="57678" y="102068"/>
                  </a:lnTo>
                  <a:moveTo>
                    <a:pt x="77233" y="100344"/>
                  </a:moveTo>
                  <a:lnTo>
                    <a:pt x="76529" y="100344"/>
                  </a:lnTo>
                  <a:lnTo>
                    <a:pt x="76529" y="100344"/>
                  </a:lnTo>
                  <a:lnTo>
                    <a:pt x="76248" y="100344"/>
                  </a:lnTo>
                  <a:lnTo>
                    <a:pt x="76248" y="100344"/>
                  </a:lnTo>
                  <a:lnTo>
                    <a:pt x="75826" y="100344"/>
                  </a:lnTo>
                  <a:lnTo>
                    <a:pt x="75826" y="100344"/>
                  </a:lnTo>
                  <a:lnTo>
                    <a:pt x="75545" y="101379"/>
                  </a:lnTo>
                  <a:lnTo>
                    <a:pt x="75826" y="101379"/>
                  </a:lnTo>
                  <a:lnTo>
                    <a:pt x="75545" y="102068"/>
                  </a:lnTo>
                  <a:lnTo>
                    <a:pt x="75545" y="102068"/>
                  </a:lnTo>
                  <a:lnTo>
                    <a:pt x="75826" y="102068"/>
                  </a:lnTo>
                  <a:lnTo>
                    <a:pt x="77514" y="102068"/>
                  </a:lnTo>
                  <a:lnTo>
                    <a:pt x="77514" y="101379"/>
                  </a:lnTo>
                  <a:lnTo>
                    <a:pt x="77514" y="100344"/>
                  </a:lnTo>
                  <a:lnTo>
                    <a:pt x="77514" y="100344"/>
                  </a:lnTo>
                  <a:lnTo>
                    <a:pt x="77233" y="100344"/>
                  </a:lnTo>
                  <a:moveTo>
                    <a:pt x="71184" y="103793"/>
                  </a:moveTo>
                  <a:lnTo>
                    <a:pt x="71606" y="103793"/>
                  </a:lnTo>
                  <a:lnTo>
                    <a:pt x="71606" y="102758"/>
                  </a:lnTo>
                  <a:lnTo>
                    <a:pt x="71606" y="102758"/>
                  </a:lnTo>
                  <a:lnTo>
                    <a:pt x="71887" y="102068"/>
                  </a:lnTo>
                  <a:lnTo>
                    <a:pt x="71887" y="102068"/>
                  </a:lnTo>
                  <a:lnTo>
                    <a:pt x="71887" y="102068"/>
                  </a:lnTo>
                  <a:lnTo>
                    <a:pt x="71887" y="101379"/>
                  </a:lnTo>
                  <a:lnTo>
                    <a:pt x="71887" y="100344"/>
                  </a:lnTo>
                  <a:lnTo>
                    <a:pt x="71887" y="99655"/>
                  </a:lnTo>
                  <a:lnTo>
                    <a:pt x="71606" y="99655"/>
                  </a:lnTo>
                  <a:lnTo>
                    <a:pt x="71606" y="100344"/>
                  </a:lnTo>
                  <a:lnTo>
                    <a:pt x="71606" y="100344"/>
                  </a:lnTo>
                  <a:lnTo>
                    <a:pt x="71887" y="100344"/>
                  </a:lnTo>
                  <a:lnTo>
                    <a:pt x="71606" y="101379"/>
                  </a:lnTo>
                  <a:lnTo>
                    <a:pt x="71184" y="102068"/>
                  </a:lnTo>
                  <a:lnTo>
                    <a:pt x="70902" y="102068"/>
                  </a:lnTo>
                  <a:lnTo>
                    <a:pt x="70902" y="102068"/>
                  </a:lnTo>
                  <a:lnTo>
                    <a:pt x="70621" y="102758"/>
                  </a:lnTo>
                  <a:lnTo>
                    <a:pt x="70621" y="102758"/>
                  </a:lnTo>
                  <a:lnTo>
                    <a:pt x="70621" y="103793"/>
                  </a:lnTo>
                  <a:lnTo>
                    <a:pt x="70621" y="103793"/>
                  </a:lnTo>
                  <a:lnTo>
                    <a:pt x="70199" y="103793"/>
                  </a:lnTo>
                  <a:lnTo>
                    <a:pt x="69917" y="103793"/>
                  </a:lnTo>
                  <a:lnTo>
                    <a:pt x="69495" y="102758"/>
                  </a:lnTo>
                  <a:lnTo>
                    <a:pt x="69495" y="102758"/>
                  </a:lnTo>
                  <a:lnTo>
                    <a:pt x="69214" y="102758"/>
                  </a:lnTo>
                  <a:lnTo>
                    <a:pt x="69214" y="102758"/>
                  </a:lnTo>
                  <a:lnTo>
                    <a:pt x="68933" y="102758"/>
                  </a:lnTo>
                  <a:lnTo>
                    <a:pt x="68511" y="102758"/>
                  </a:lnTo>
                  <a:lnTo>
                    <a:pt x="68511" y="102758"/>
                  </a:lnTo>
                  <a:lnTo>
                    <a:pt x="68229" y="102758"/>
                  </a:lnTo>
                  <a:lnTo>
                    <a:pt x="68229" y="103793"/>
                  </a:lnTo>
                  <a:lnTo>
                    <a:pt x="67948" y="103793"/>
                  </a:lnTo>
                  <a:lnTo>
                    <a:pt x="67948" y="103793"/>
                  </a:lnTo>
                  <a:lnTo>
                    <a:pt x="67526" y="102758"/>
                  </a:lnTo>
                  <a:lnTo>
                    <a:pt x="67526" y="102758"/>
                  </a:lnTo>
                  <a:lnTo>
                    <a:pt x="66963" y="102068"/>
                  </a:lnTo>
                  <a:lnTo>
                    <a:pt x="66963" y="102068"/>
                  </a:lnTo>
                  <a:lnTo>
                    <a:pt x="66541" y="101379"/>
                  </a:lnTo>
                  <a:lnTo>
                    <a:pt x="66260" y="101379"/>
                  </a:lnTo>
                  <a:lnTo>
                    <a:pt x="65978" y="101379"/>
                  </a:lnTo>
                  <a:lnTo>
                    <a:pt x="65978" y="101379"/>
                  </a:lnTo>
                  <a:lnTo>
                    <a:pt x="65556" y="101379"/>
                  </a:lnTo>
                  <a:lnTo>
                    <a:pt x="65556" y="101379"/>
                  </a:lnTo>
                  <a:lnTo>
                    <a:pt x="65275" y="101379"/>
                  </a:lnTo>
                  <a:lnTo>
                    <a:pt x="65275" y="101379"/>
                  </a:lnTo>
                  <a:lnTo>
                    <a:pt x="64853" y="101379"/>
                  </a:lnTo>
                  <a:lnTo>
                    <a:pt x="64572" y="102068"/>
                  </a:lnTo>
                  <a:lnTo>
                    <a:pt x="63868" y="102068"/>
                  </a:lnTo>
                  <a:lnTo>
                    <a:pt x="63868" y="102068"/>
                  </a:lnTo>
                  <a:lnTo>
                    <a:pt x="63868" y="102068"/>
                  </a:lnTo>
                  <a:lnTo>
                    <a:pt x="63868" y="102758"/>
                  </a:lnTo>
                  <a:lnTo>
                    <a:pt x="63587" y="102758"/>
                  </a:lnTo>
                  <a:lnTo>
                    <a:pt x="63587" y="103793"/>
                  </a:lnTo>
                  <a:lnTo>
                    <a:pt x="63587" y="103793"/>
                  </a:lnTo>
                  <a:lnTo>
                    <a:pt x="63587" y="104482"/>
                  </a:lnTo>
                  <a:lnTo>
                    <a:pt x="63587" y="104482"/>
                  </a:lnTo>
                  <a:lnTo>
                    <a:pt x="63868" y="105172"/>
                  </a:lnTo>
                  <a:lnTo>
                    <a:pt x="63868" y="105172"/>
                  </a:lnTo>
                  <a:lnTo>
                    <a:pt x="64290" y="105172"/>
                  </a:lnTo>
                  <a:lnTo>
                    <a:pt x="64290" y="104482"/>
                  </a:lnTo>
                  <a:lnTo>
                    <a:pt x="64853" y="105172"/>
                  </a:lnTo>
                  <a:lnTo>
                    <a:pt x="65556" y="105172"/>
                  </a:lnTo>
                  <a:lnTo>
                    <a:pt x="66260" y="105172"/>
                  </a:lnTo>
                  <a:lnTo>
                    <a:pt x="66541" y="106206"/>
                  </a:lnTo>
                  <a:lnTo>
                    <a:pt x="66963" y="106206"/>
                  </a:lnTo>
                  <a:lnTo>
                    <a:pt x="66963" y="106206"/>
                  </a:lnTo>
                  <a:lnTo>
                    <a:pt x="66963" y="106206"/>
                  </a:lnTo>
                  <a:lnTo>
                    <a:pt x="67245" y="105172"/>
                  </a:lnTo>
                  <a:lnTo>
                    <a:pt x="67526" y="106206"/>
                  </a:lnTo>
                  <a:lnTo>
                    <a:pt x="67948" y="105172"/>
                  </a:lnTo>
                  <a:lnTo>
                    <a:pt x="67948" y="105172"/>
                  </a:lnTo>
                  <a:lnTo>
                    <a:pt x="68229" y="105172"/>
                  </a:lnTo>
                  <a:lnTo>
                    <a:pt x="68229" y="105172"/>
                  </a:lnTo>
                  <a:lnTo>
                    <a:pt x="68229" y="105172"/>
                  </a:lnTo>
                  <a:lnTo>
                    <a:pt x="68511" y="105172"/>
                  </a:lnTo>
                  <a:lnTo>
                    <a:pt x="68933" y="105172"/>
                  </a:lnTo>
                  <a:lnTo>
                    <a:pt x="69495" y="104482"/>
                  </a:lnTo>
                  <a:lnTo>
                    <a:pt x="69917" y="104482"/>
                  </a:lnTo>
                  <a:lnTo>
                    <a:pt x="70199" y="104482"/>
                  </a:lnTo>
                  <a:lnTo>
                    <a:pt x="70621" y="104482"/>
                  </a:lnTo>
                  <a:lnTo>
                    <a:pt x="70621" y="104482"/>
                  </a:lnTo>
                  <a:lnTo>
                    <a:pt x="70902" y="104482"/>
                  </a:lnTo>
                  <a:lnTo>
                    <a:pt x="70902" y="103793"/>
                  </a:lnTo>
                  <a:lnTo>
                    <a:pt x="71184" y="103793"/>
                  </a:lnTo>
                  <a:moveTo>
                    <a:pt x="60914" y="104482"/>
                  </a:moveTo>
                  <a:lnTo>
                    <a:pt x="60914" y="104482"/>
                  </a:lnTo>
                  <a:lnTo>
                    <a:pt x="60914" y="104482"/>
                  </a:lnTo>
                  <a:lnTo>
                    <a:pt x="61336" y="104482"/>
                  </a:lnTo>
                  <a:lnTo>
                    <a:pt x="61336" y="104482"/>
                  </a:lnTo>
                  <a:lnTo>
                    <a:pt x="61336" y="104482"/>
                  </a:lnTo>
                  <a:lnTo>
                    <a:pt x="61617" y="104482"/>
                  </a:lnTo>
                  <a:lnTo>
                    <a:pt x="61617" y="104482"/>
                  </a:lnTo>
                  <a:lnTo>
                    <a:pt x="61617" y="104482"/>
                  </a:lnTo>
                  <a:lnTo>
                    <a:pt x="61899" y="103793"/>
                  </a:lnTo>
                  <a:lnTo>
                    <a:pt x="61899" y="103793"/>
                  </a:lnTo>
                  <a:lnTo>
                    <a:pt x="61617" y="103793"/>
                  </a:lnTo>
                  <a:lnTo>
                    <a:pt x="61617" y="102758"/>
                  </a:lnTo>
                  <a:lnTo>
                    <a:pt x="61617" y="102758"/>
                  </a:lnTo>
                  <a:lnTo>
                    <a:pt x="61617" y="101379"/>
                  </a:lnTo>
                  <a:lnTo>
                    <a:pt x="61336" y="101379"/>
                  </a:lnTo>
                  <a:lnTo>
                    <a:pt x="61336" y="101379"/>
                  </a:lnTo>
                  <a:lnTo>
                    <a:pt x="60914" y="101379"/>
                  </a:lnTo>
                  <a:lnTo>
                    <a:pt x="60914" y="101379"/>
                  </a:lnTo>
                  <a:lnTo>
                    <a:pt x="60914" y="102068"/>
                  </a:lnTo>
                  <a:lnTo>
                    <a:pt x="60633" y="102068"/>
                  </a:lnTo>
                  <a:lnTo>
                    <a:pt x="60633" y="101379"/>
                  </a:lnTo>
                  <a:lnTo>
                    <a:pt x="60633" y="101379"/>
                  </a:lnTo>
                  <a:lnTo>
                    <a:pt x="60211" y="101379"/>
                  </a:lnTo>
                  <a:lnTo>
                    <a:pt x="60211" y="101379"/>
                  </a:lnTo>
                  <a:lnTo>
                    <a:pt x="59929" y="101379"/>
                  </a:lnTo>
                  <a:lnTo>
                    <a:pt x="59929" y="102068"/>
                  </a:lnTo>
                  <a:lnTo>
                    <a:pt x="59648" y="102068"/>
                  </a:lnTo>
                  <a:lnTo>
                    <a:pt x="59648" y="101379"/>
                  </a:lnTo>
                  <a:lnTo>
                    <a:pt x="59648" y="101379"/>
                  </a:lnTo>
                  <a:lnTo>
                    <a:pt x="59226" y="100344"/>
                  </a:lnTo>
                  <a:lnTo>
                    <a:pt x="59226" y="100344"/>
                  </a:lnTo>
                  <a:lnTo>
                    <a:pt x="58944" y="99655"/>
                  </a:lnTo>
                  <a:lnTo>
                    <a:pt x="58663" y="99655"/>
                  </a:lnTo>
                  <a:lnTo>
                    <a:pt x="58241" y="100344"/>
                  </a:lnTo>
                  <a:lnTo>
                    <a:pt x="58241" y="100344"/>
                  </a:lnTo>
                  <a:lnTo>
                    <a:pt x="58241" y="101379"/>
                  </a:lnTo>
                  <a:lnTo>
                    <a:pt x="58663" y="102068"/>
                  </a:lnTo>
                  <a:lnTo>
                    <a:pt x="58944" y="102758"/>
                  </a:lnTo>
                  <a:lnTo>
                    <a:pt x="58944" y="102758"/>
                  </a:lnTo>
                  <a:lnTo>
                    <a:pt x="58944" y="102758"/>
                  </a:lnTo>
                  <a:lnTo>
                    <a:pt x="59226" y="102758"/>
                  </a:lnTo>
                  <a:lnTo>
                    <a:pt x="59226" y="102758"/>
                  </a:lnTo>
                  <a:lnTo>
                    <a:pt x="59648" y="103793"/>
                  </a:lnTo>
                  <a:lnTo>
                    <a:pt x="59226" y="103793"/>
                  </a:lnTo>
                  <a:lnTo>
                    <a:pt x="59226" y="103793"/>
                  </a:lnTo>
                  <a:lnTo>
                    <a:pt x="58944" y="104482"/>
                  </a:lnTo>
                  <a:lnTo>
                    <a:pt x="58663" y="104482"/>
                  </a:lnTo>
                  <a:lnTo>
                    <a:pt x="58241" y="104482"/>
                  </a:lnTo>
                  <a:lnTo>
                    <a:pt x="58241" y="103793"/>
                  </a:lnTo>
                  <a:lnTo>
                    <a:pt x="57960" y="102758"/>
                  </a:lnTo>
                  <a:lnTo>
                    <a:pt x="57960" y="102758"/>
                  </a:lnTo>
                  <a:lnTo>
                    <a:pt x="57960" y="102758"/>
                  </a:lnTo>
                  <a:lnTo>
                    <a:pt x="57960" y="102068"/>
                  </a:lnTo>
                  <a:lnTo>
                    <a:pt x="57678" y="102068"/>
                  </a:lnTo>
                  <a:lnTo>
                    <a:pt x="57256" y="102068"/>
                  </a:lnTo>
                  <a:lnTo>
                    <a:pt x="56975" y="102068"/>
                  </a:lnTo>
                  <a:lnTo>
                    <a:pt x="56694" y="102068"/>
                  </a:lnTo>
                  <a:lnTo>
                    <a:pt x="56694" y="102068"/>
                  </a:lnTo>
                  <a:lnTo>
                    <a:pt x="56271" y="102758"/>
                  </a:lnTo>
                  <a:lnTo>
                    <a:pt x="55990" y="102758"/>
                  </a:lnTo>
                  <a:lnTo>
                    <a:pt x="55990" y="102758"/>
                  </a:lnTo>
                  <a:lnTo>
                    <a:pt x="55568" y="103793"/>
                  </a:lnTo>
                  <a:lnTo>
                    <a:pt x="55568" y="103793"/>
                  </a:lnTo>
                  <a:lnTo>
                    <a:pt x="55568" y="105172"/>
                  </a:lnTo>
                  <a:lnTo>
                    <a:pt x="55568" y="105172"/>
                  </a:lnTo>
                  <a:lnTo>
                    <a:pt x="55568" y="106206"/>
                  </a:lnTo>
                  <a:lnTo>
                    <a:pt x="55568" y="106206"/>
                  </a:lnTo>
                  <a:lnTo>
                    <a:pt x="55990" y="106896"/>
                  </a:lnTo>
                  <a:lnTo>
                    <a:pt x="55990" y="106896"/>
                  </a:lnTo>
                  <a:lnTo>
                    <a:pt x="56271" y="106896"/>
                  </a:lnTo>
                  <a:lnTo>
                    <a:pt x="56694" y="106896"/>
                  </a:lnTo>
                  <a:lnTo>
                    <a:pt x="56694" y="106896"/>
                  </a:lnTo>
                  <a:lnTo>
                    <a:pt x="56975" y="106896"/>
                  </a:lnTo>
                  <a:lnTo>
                    <a:pt x="56975" y="106896"/>
                  </a:lnTo>
                  <a:lnTo>
                    <a:pt x="57256" y="106896"/>
                  </a:lnTo>
                  <a:lnTo>
                    <a:pt x="57678" y="106206"/>
                  </a:lnTo>
                  <a:lnTo>
                    <a:pt x="58241" y="106206"/>
                  </a:lnTo>
                  <a:lnTo>
                    <a:pt x="58241" y="106206"/>
                  </a:lnTo>
                  <a:lnTo>
                    <a:pt x="58663" y="106206"/>
                  </a:lnTo>
                  <a:lnTo>
                    <a:pt x="58944" y="105172"/>
                  </a:lnTo>
                  <a:lnTo>
                    <a:pt x="59226" y="105172"/>
                  </a:lnTo>
                  <a:lnTo>
                    <a:pt x="59226" y="105172"/>
                  </a:lnTo>
                  <a:lnTo>
                    <a:pt x="59648" y="105172"/>
                  </a:lnTo>
                  <a:lnTo>
                    <a:pt x="59929" y="103793"/>
                  </a:lnTo>
                  <a:lnTo>
                    <a:pt x="59929" y="104482"/>
                  </a:lnTo>
                  <a:lnTo>
                    <a:pt x="59929" y="105172"/>
                  </a:lnTo>
                  <a:lnTo>
                    <a:pt x="59929" y="105172"/>
                  </a:lnTo>
                  <a:lnTo>
                    <a:pt x="59929" y="105172"/>
                  </a:lnTo>
                  <a:lnTo>
                    <a:pt x="60633" y="105172"/>
                  </a:lnTo>
                  <a:lnTo>
                    <a:pt x="60633" y="105172"/>
                  </a:lnTo>
                  <a:lnTo>
                    <a:pt x="60914" y="105172"/>
                  </a:lnTo>
                  <a:lnTo>
                    <a:pt x="60914" y="105172"/>
                  </a:lnTo>
                  <a:lnTo>
                    <a:pt x="60914" y="105172"/>
                  </a:lnTo>
                  <a:lnTo>
                    <a:pt x="60914" y="105172"/>
                  </a:lnTo>
                  <a:lnTo>
                    <a:pt x="60914" y="104482"/>
                  </a:lnTo>
                  <a:moveTo>
                    <a:pt x="52614" y="100344"/>
                  </a:moveTo>
                  <a:lnTo>
                    <a:pt x="52332" y="100344"/>
                  </a:lnTo>
                  <a:lnTo>
                    <a:pt x="52051" y="99655"/>
                  </a:lnTo>
                  <a:lnTo>
                    <a:pt x="51629" y="99655"/>
                  </a:lnTo>
                  <a:lnTo>
                    <a:pt x="51629" y="99655"/>
                  </a:lnTo>
                  <a:lnTo>
                    <a:pt x="51348" y="100344"/>
                  </a:lnTo>
                  <a:lnTo>
                    <a:pt x="50926" y="100344"/>
                  </a:lnTo>
                  <a:lnTo>
                    <a:pt x="50644" y="100344"/>
                  </a:lnTo>
                  <a:lnTo>
                    <a:pt x="50363" y="100344"/>
                  </a:lnTo>
                  <a:lnTo>
                    <a:pt x="49941" y="99655"/>
                  </a:lnTo>
                  <a:lnTo>
                    <a:pt x="49660" y="100344"/>
                  </a:lnTo>
                  <a:lnTo>
                    <a:pt x="49660" y="100344"/>
                  </a:lnTo>
                  <a:lnTo>
                    <a:pt x="49660" y="100344"/>
                  </a:lnTo>
                  <a:lnTo>
                    <a:pt x="49941" y="101379"/>
                  </a:lnTo>
                  <a:lnTo>
                    <a:pt x="49941" y="102068"/>
                  </a:lnTo>
                  <a:lnTo>
                    <a:pt x="49941" y="102068"/>
                  </a:lnTo>
                  <a:lnTo>
                    <a:pt x="50363" y="102068"/>
                  </a:lnTo>
                  <a:lnTo>
                    <a:pt x="50644" y="102068"/>
                  </a:lnTo>
                  <a:lnTo>
                    <a:pt x="50926" y="102758"/>
                  </a:lnTo>
                  <a:lnTo>
                    <a:pt x="51348" y="103793"/>
                  </a:lnTo>
                  <a:lnTo>
                    <a:pt x="51348" y="103793"/>
                  </a:lnTo>
                  <a:lnTo>
                    <a:pt x="51348" y="104482"/>
                  </a:lnTo>
                  <a:lnTo>
                    <a:pt x="51348" y="104482"/>
                  </a:lnTo>
                  <a:lnTo>
                    <a:pt x="51348" y="105172"/>
                  </a:lnTo>
                  <a:lnTo>
                    <a:pt x="51348" y="105172"/>
                  </a:lnTo>
                  <a:lnTo>
                    <a:pt x="51629" y="105172"/>
                  </a:lnTo>
                  <a:lnTo>
                    <a:pt x="51629" y="105172"/>
                  </a:lnTo>
                  <a:lnTo>
                    <a:pt x="51629" y="105172"/>
                  </a:lnTo>
                  <a:lnTo>
                    <a:pt x="51629" y="104482"/>
                  </a:lnTo>
                  <a:lnTo>
                    <a:pt x="52051" y="103793"/>
                  </a:lnTo>
                  <a:lnTo>
                    <a:pt x="52051" y="103793"/>
                  </a:lnTo>
                  <a:lnTo>
                    <a:pt x="52614" y="102758"/>
                  </a:lnTo>
                  <a:lnTo>
                    <a:pt x="53036" y="102068"/>
                  </a:lnTo>
                  <a:lnTo>
                    <a:pt x="53036" y="102068"/>
                  </a:lnTo>
                  <a:lnTo>
                    <a:pt x="53036" y="102068"/>
                  </a:lnTo>
                  <a:lnTo>
                    <a:pt x="52614" y="100344"/>
                  </a:lnTo>
                  <a:moveTo>
                    <a:pt x="81875" y="96206"/>
                  </a:moveTo>
                  <a:lnTo>
                    <a:pt x="81453" y="96206"/>
                  </a:lnTo>
                  <a:lnTo>
                    <a:pt x="81172" y="96206"/>
                  </a:lnTo>
                  <a:lnTo>
                    <a:pt x="80890" y="97241"/>
                  </a:lnTo>
                  <a:lnTo>
                    <a:pt x="80468" y="97241"/>
                  </a:lnTo>
                  <a:lnTo>
                    <a:pt x="80187" y="97241"/>
                  </a:lnTo>
                  <a:lnTo>
                    <a:pt x="79906" y="96206"/>
                  </a:lnTo>
                  <a:lnTo>
                    <a:pt x="79484" y="97931"/>
                  </a:lnTo>
                  <a:lnTo>
                    <a:pt x="79484" y="97931"/>
                  </a:lnTo>
                  <a:lnTo>
                    <a:pt x="79484" y="98965"/>
                  </a:lnTo>
                  <a:lnTo>
                    <a:pt x="79484" y="98965"/>
                  </a:lnTo>
                  <a:lnTo>
                    <a:pt x="79906" y="98965"/>
                  </a:lnTo>
                  <a:lnTo>
                    <a:pt x="80187" y="97931"/>
                  </a:lnTo>
                  <a:lnTo>
                    <a:pt x="80187" y="97931"/>
                  </a:lnTo>
                  <a:lnTo>
                    <a:pt x="80468" y="98965"/>
                  </a:lnTo>
                  <a:lnTo>
                    <a:pt x="80890" y="98965"/>
                  </a:lnTo>
                  <a:lnTo>
                    <a:pt x="81172" y="98965"/>
                  </a:lnTo>
                  <a:lnTo>
                    <a:pt x="81172" y="97931"/>
                  </a:lnTo>
                  <a:lnTo>
                    <a:pt x="81453" y="97931"/>
                  </a:lnTo>
                  <a:lnTo>
                    <a:pt x="81875" y="97241"/>
                  </a:lnTo>
                  <a:lnTo>
                    <a:pt x="82157" y="97241"/>
                  </a:lnTo>
                  <a:lnTo>
                    <a:pt x="82157" y="97241"/>
                  </a:lnTo>
                  <a:lnTo>
                    <a:pt x="82157" y="96206"/>
                  </a:lnTo>
                  <a:lnTo>
                    <a:pt x="81875" y="96206"/>
                  </a:lnTo>
                  <a:moveTo>
                    <a:pt x="113388" y="99655"/>
                  </a:moveTo>
                  <a:lnTo>
                    <a:pt x="113669" y="97931"/>
                  </a:lnTo>
                  <a:lnTo>
                    <a:pt x="113669" y="97241"/>
                  </a:lnTo>
                  <a:lnTo>
                    <a:pt x="113669" y="96206"/>
                  </a:lnTo>
                  <a:lnTo>
                    <a:pt x="113669" y="95517"/>
                  </a:lnTo>
                  <a:lnTo>
                    <a:pt x="113388" y="94827"/>
                  </a:lnTo>
                  <a:lnTo>
                    <a:pt x="113388" y="94827"/>
                  </a:lnTo>
                  <a:lnTo>
                    <a:pt x="112684" y="94827"/>
                  </a:lnTo>
                  <a:lnTo>
                    <a:pt x="111981" y="94827"/>
                  </a:lnTo>
                  <a:lnTo>
                    <a:pt x="111699" y="95517"/>
                  </a:lnTo>
                  <a:lnTo>
                    <a:pt x="111277" y="96206"/>
                  </a:lnTo>
                  <a:lnTo>
                    <a:pt x="111277" y="96206"/>
                  </a:lnTo>
                  <a:lnTo>
                    <a:pt x="110715" y="98965"/>
                  </a:lnTo>
                  <a:lnTo>
                    <a:pt x="110293" y="101379"/>
                  </a:lnTo>
                  <a:lnTo>
                    <a:pt x="110011" y="102068"/>
                  </a:lnTo>
                  <a:lnTo>
                    <a:pt x="110293" y="102068"/>
                  </a:lnTo>
                  <a:lnTo>
                    <a:pt x="110715" y="102068"/>
                  </a:lnTo>
                  <a:lnTo>
                    <a:pt x="110996" y="102068"/>
                  </a:lnTo>
                  <a:lnTo>
                    <a:pt x="111981" y="102068"/>
                  </a:lnTo>
                  <a:lnTo>
                    <a:pt x="112684" y="101379"/>
                  </a:lnTo>
                  <a:lnTo>
                    <a:pt x="112684" y="100344"/>
                  </a:lnTo>
                  <a:lnTo>
                    <a:pt x="113388" y="99655"/>
                  </a:lnTo>
                  <a:moveTo>
                    <a:pt x="94818" y="93103"/>
                  </a:moveTo>
                  <a:lnTo>
                    <a:pt x="94818" y="93103"/>
                  </a:lnTo>
                  <a:lnTo>
                    <a:pt x="94396" y="93103"/>
                  </a:lnTo>
                  <a:lnTo>
                    <a:pt x="94396" y="93103"/>
                  </a:lnTo>
                  <a:lnTo>
                    <a:pt x="94396" y="93103"/>
                  </a:lnTo>
                  <a:lnTo>
                    <a:pt x="94396" y="93793"/>
                  </a:lnTo>
                  <a:lnTo>
                    <a:pt x="94114" y="93793"/>
                  </a:lnTo>
                  <a:lnTo>
                    <a:pt x="94114" y="94827"/>
                  </a:lnTo>
                  <a:lnTo>
                    <a:pt x="94114" y="94827"/>
                  </a:lnTo>
                  <a:lnTo>
                    <a:pt x="93833" y="94827"/>
                  </a:lnTo>
                  <a:lnTo>
                    <a:pt x="93833" y="95517"/>
                  </a:lnTo>
                  <a:lnTo>
                    <a:pt x="93411" y="96206"/>
                  </a:lnTo>
                  <a:lnTo>
                    <a:pt x="93411" y="97241"/>
                  </a:lnTo>
                  <a:lnTo>
                    <a:pt x="93411" y="97241"/>
                  </a:lnTo>
                  <a:lnTo>
                    <a:pt x="93411" y="97931"/>
                  </a:lnTo>
                  <a:lnTo>
                    <a:pt x="93130" y="97931"/>
                  </a:lnTo>
                  <a:lnTo>
                    <a:pt x="93130" y="98965"/>
                  </a:lnTo>
                  <a:lnTo>
                    <a:pt x="93130" y="98965"/>
                  </a:lnTo>
                  <a:lnTo>
                    <a:pt x="93411" y="98965"/>
                  </a:lnTo>
                  <a:lnTo>
                    <a:pt x="93833" y="99655"/>
                  </a:lnTo>
                  <a:lnTo>
                    <a:pt x="93833" y="98965"/>
                  </a:lnTo>
                  <a:lnTo>
                    <a:pt x="93833" y="98965"/>
                  </a:lnTo>
                  <a:lnTo>
                    <a:pt x="93833" y="98965"/>
                  </a:lnTo>
                  <a:lnTo>
                    <a:pt x="93833" y="97931"/>
                  </a:lnTo>
                  <a:lnTo>
                    <a:pt x="94114" y="97241"/>
                  </a:lnTo>
                  <a:lnTo>
                    <a:pt x="94396" y="97241"/>
                  </a:lnTo>
                  <a:lnTo>
                    <a:pt x="94396" y="97241"/>
                  </a:lnTo>
                  <a:lnTo>
                    <a:pt x="94818" y="96206"/>
                  </a:lnTo>
                  <a:lnTo>
                    <a:pt x="94818" y="94827"/>
                  </a:lnTo>
                  <a:lnTo>
                    <a:pt x="94818" y="93793"/>
                  </a:lnTo>
                  <a:lnTo>
                    <a:pt x="95099" y="93103"/>
                  </a:lnTo>
                  <a:lnTo>
                    <a:pt x="94818" y="93103"/>
                  </a:lnTo>
                  <a:moveTo>
                    <a:pt x="95099" y="93103"/>
                  </a:moveTo>
                  <a:lnTo>
                    <a:pt x="95099" y="93103"/>
                  </a:lnTo>
                  <a:lnTo>
                    <a:pt x="95099" y="93103"/>
                  </a:lnTo>
                  <a:lnTo>
                    <a:pt x="95381" y="93103"/>
                  </a:lnTo>
                  <a:lnTo>
                    <a:pt x="95381" y="93793"/>
                  </a:lnTo>
                  <a:lnTo>
                    <a:pt x="95803" y="93793"/>
                  </a:lnTo>
                  <a:lnTo>
                    <a:pt x="95803" y="93103"/>
                  </a:lnTo>
                  <a:lnTo>
                    <a:pt x="95381" y="92413"/>
                  </a:lnTo>
                  <a:lnTo>
                    <a:pt x="95099" y="93103"/>
                  </a:lnTo>
                  <a:moveTo>
                    <a:pt x="46283" y="93103"/>
                  </a:moveTo>
                  <a:lnTo>
                    <a:pt x="46283" y="93793"/>
                  </a:lnTo>
                  <a:lnTo>
                    <a:pt x="46283" y="93103"/>
                  </a:lnTo>
                  <a:lnTo>
                    <a:pt x="46705" y="93103"/>
                  </a:lnTo>
                  <a:lnTo>
                    <a:pt x="46705" y="93103"/>
                  </a:lnTo>
                  <a:lnTo>
                    <a:pt x="47409" y="93103"/>
                  </a:lnTo>
                  <a:lnTo>
                    <a:pt x="47690" y="93103"/>
                  </a:lnTo>
                  <a:lnTo>
                    <a:pt x="47971" y="93103"/>
                  </a:lnTo>
                  <a:lnTo>
                    <a:pt x="48393" y="93103"/>
                  </a:lnTo>
                  <a:lnTo>
                    <a:pt x="48393" y="92413"/>
                  </a:lnTo>
                  <a:lnTo>
                    <a:pt x="48393" y="92413"/>
                  </a:lnTo>
                  <a:lnTo>
                    <a:pt x="48956" y="91379"/>
                  </a:lnTo>
                  <a:lnTo>
                    <a:pt x="48956" y="91379"/>
                  </a:lnTo>
                  <a:lnTo>
                    <a:pt x="48675" y="90689"/>
                  </a:lnTo>
                  <a:lnTo>
                    <a:pt x="46283" y="90689"/>
                  </a:lnTo>
                  <a:lnTo>
                    <a:pt x="45720" y="91379"/>
                  </a:lnTo>
                  <a:lnTo>
                    <a:pt x="45720" y="92413"/>
                  </a:lnTo>
                  <a:lnTo>
                    <a:pt x="45298" y="92413"/>
                  </a:lnTo>
                  <a:lnTo>
                    <a:pt x="45298" y="93103"/>
                  </a:lnTo>
                  <a:lnTo>
                    <a:pt x="46283" y="93103"/>
                  </a:lnTo>
                  <a:moveTo>
                    <a:pt x="52332" y="90689"/>
                  </a:moveTo>
                  <a:lnTo>
                    <a:pt x="52332" y="90689"/>
                  </a:lnTo>
                  <a:lnTo>
                    <a:pt x="52051" y="90689"/>
                  </a:lnTo>
                  <a:lnTo>
                    <a:pt x="52051" y="91379"/>
                  </a:lnTo>
                  <a:lnTo>
                    <a:pt x="52051" y="91379"/>
                  </a:lnTo>
                  <a:lnTo>
                    <a:pt x="52051" y="91379"/>
                  </a:lnTo>
                  <a:lnTo>
                    <a:pt x="52332" y="91379"/>
                  </a:lnTo>
                  <a:lnTo>
                    <a:pt x="52614" y="91379"/>
                  </a:lnTo>
                  <a:lnTo>
                    <a:pt x="52614" y="91379"/>
                  </a:lnTo>
                  <a:lnTo>
                    <a:pt x="52614" y="91379"/>
                  </a:lnTo>
                  <a:lnTo>
                    <a:pt x="52614" y="90689"/>
                  </a:lnTo>
                  <a:lnTo>
                    <a:pt x="52332" y="90689"/>
                  </a:lnTo>
                  <a:moveTo>
                    <a:pt x="26166" y="88965"/>
                  </a:moveTo>
                  <a:lnTo>
                    <a:pt x="26166" y="88275"/>
                  </a:lnTo>
                  <a:lnTo>
                    <a:pt x="25744" y="88275"/>
                  </a:lnTo>
                  <a:lnTo>
                    <a:pt x="25744" y="88275"/>
                  </a:lnTo>
                  <a:lnTo>
                    <a:pt x="25744" y="88965"/>
                  </a:lnTo>
                  <a:lnTo>
                    <a:pt x="25744" y="88965"/>
                  </a:lnTo>
                  <a:lnTo>
                    <a:pt x="25744" y="90000"/>
                  </a:lnTo>
                  <a:lnTo>
                    <a:pt x="26166" y="88965"/>
                  </a:lnTo>
                  <a:lnTo>
                    <a:pt x="26166" y="88965"/>
                  </a:lnTo>
                  <a:moveTo>
                    <a:pt x="101992" y="86551"/>
                  </a:moveTo>
                  <a:lnTo>
                    <a:pt x="101711" y="86551"/>
                  </a:lnTo>
                  <a:lnTo>
                    <a:pt x="101430" y="85862"/>
                  </a:lnTo>
                  <a:lnTo>
                    <a:pt x="101430" y="85862"/>
                  </a:lnTo>
                  <a:lnTo>
                    <a:pt x="101430" y="86551"/>
                  </a:lnTo>
                  <a:lnTo>
                    <a:pt x="101430" y="87241"/>
                  </a:lnTo>
                  <a:lnTo>
                    <a:pt x="101430" y="88275"/>
                  </a:lnTo>
                  <a:lnTo>
                    <a:pt x="101430" y="88275"/>
                  </a:lnTo>
                  <a:lnTo>
                    <a:pt x="101430" y="88275"/>
                  </a:lnTo>
                  <a:lnTo>
                    <a:pt x="101430" y="88275"/>
                  </a:lnTo>
                  <a:lnTo>
                    <a:pt x="101008" y="90000"/>
                  </a:lnTo>
                  <a:lnTo>
                    <a:pt x="101008" y="90689"/>
                  </a:lnTo>
                  <a:lnTo>
                    <a:pt x="101430" y="91379"/>
                  </a:lnTo>
                  <a:lnTo>
                    <a:pt x="101711" y="90689"/>
                  </a:lnTo>
                  <a:lnTo>
                    <a:pt x="101992" y="90689"/>
                  </a:lnTo>
                  <a:lnTo>
                    <a:pt x="101992" y="90000"/>
                  </a:lnTo>
                  <a:lnTo>
                    <a:pt x="102415" y="88965"/>
                  </a:lnTo>
                  <a:lnTo>
                    <a:pt x="102415" y="88275"/>
                  </a:lnTo>
                  <a:lnTo>
                    <a:pt x="102415" y="88275"/>
                  </a:lnTo>
                  <a:lnTo>
                    <a:pt x="101992" y="87241"/>
                  </a:lnTo>
                  <a:lnTo>
                    <a:pt x="101992" y="86551"/>
                  </a:lnTo>
                  <a:moveTo>
                    <a:pt x="49660" y="103793"/>
                  </a:moveTo>
                  <a:lnTo>
                    <a:pt x="49660" y="102758"/>
                  </a:lnTo>
                  <a:lnTo>
                    <a:pt x="49660" y="102068"/>
                  </a:lnTo>
                  <a:lnTo>
                    <a:pt x="49660" y="101379"/>
                  </a:lnTo>
                  <a:lnTo>
                    <a:pt x="49660" y="101379"/>
                  </a:lnTo>
                  <a:lnTo>
                    <a:pt x="49660" y="98965"/>
                  </a:lnTo>
                  <a:lnTo>
                    <a:pt x="49660" y="98965"/>
                  </a:lnTo>
                  <a:lnTo>
                    <a:pt x="49660" y="97931"/>
                  </a:lnTo>
                  <a:lnTo>
                    <a:pt x="49660" y="97241"/>
                  </a:lnTo>
                  <a:lnTo>
                    <a:pt x="48956" y="96206"/>
                  </a:lnTo>
                  <a:lnTo>
                    <a:pt x="48675" y="96206"/>
                  </a:lnTo>
                  <a:lnTo>
                    <a:pt x="48393" y="97241"/>
                  </a:lnTo>
                  <a:lnTo>
                    <a:pt x="47971" y="97241"/>
                  </a:lnTo>
                  <a:lnTo>
                    <a:pt x="47409" y="97241"/>
                  </a:lnTo>
                  <a:lnTo>
                    <a:pt x="46705" y="97241"/>
                  </a:lnTo>
                  <a:lnTo>
                    <a:pt x="46002" y="96206"/>
                  </a:lnTo>
                  <a:lnTo>
                    <a:pt x="45720" y="95517"/>
                  </a:lnTo>
                  <a:lnTo>
                    <a:pt x="45298" y="94827"/>
                  </a:lnTo>
                  <a:lnTo>
                    <a:pt x="45720" y="93793"/>
                  </a:lnTo>
                  <a:lnTo>
                    <a:pt x="45298" y="93793"/>
                  </a:lnTo>
                  <a:lnTo>
                    <a:pt x="45298" y="93793"/>
                  </a:lnTo>
                  <a:lnTo>
                    <a:pt x="45017" y="93103"/>
                  </a:lnTo>
                  <a:lnTo>
                    <a:pt x="45017" y="92413"/>
                  </a:lnTo>
                  <a:lnTo>
                    <a:pt x="45017" y="91379"/>
                  </a:lnTo>
                  <a:lnTo>
                    <a:pt x="44736" y="91379"/>
                  </a:lnTo>
                  <a:lnTo>
                    <a:pt x="44314" y="91379"/>
                  </a:lnTo>
                  <a:lnTo>
                    <a:pt x="44032" y="91379"/>
                  </a:lnTo>
                  <a:lnTo>
                    <a:pt x="43751" y="91379"/>
                  </a:lnTo>
                  <a:lnTo>
                    <a:pt x="43751" y="90689"/>
                  </a:lnTo>
                  <a:lnTo>
                    <a:pt x="43048" y="90689"/>
                  </a:lnTo>
                  <a:lnTo>
                    <a:pt x="42766" y="90000"/>
                  </a:lnTo>
                  <a:lnTo>
                    <a:pt x="42766" y="90000"/>
                  </a:lnTo>
                  <a:lnTo>
                    <a:pt x="42344" y="88965"/>
                  </a:lnTo>
                  <a:lnTo>
                    <a:pt x="42344" y="88965"/>
                  </a:lnTo>
                  <a:lnTo>
                    <a:pt x="42063" y="90000"/>
                  </a:lnTo>
                  <a:lnTo>
                    <a:pt x="41641" y="90000"/>
                  </a:lnTo>
                  <a:lnTo>
                    <a:pt x="41359" y="90000"/>
                  </a:lnTo>
                  <a:lnTo>
                    <a:pt x="41359" y="90000"/>
                  </a:lnTo>
                  <a:lnTo>
                    <a:pt x="41078" y="88275"/>
                  </a:lnTo>
                  <a:lnTo>
                    <a:pt x="41078" y="87241"/>
                  </a:lnTo>
                  <a:lnTo>
                    <a:pt x="40656" y="87241"/>
                  </a:lnTo>
                  <a:lnTo>
                    <a:pt x="40375" y="88275"/>
                  </a:lnTo>
                  <a:lnTo>
                    <a:pt x="40375" y="88275"/>
                  </a:lnTo>
                  <a:lnTo>
                    <a:pt x="40375" y="88275"/>
                  </a:lnTo>
                  <a:lnTo>
                    <a:pt x="40093" y="88965"/>
                  </a:lnTo>
                  <a:lnTo>
                    <a:pt x="40093" y="90000"/>
                  </a:lnTo>
                  <a:lnTo>
                    <a:pt x="39671" y="90689"/>
                  </a:lnTo>
                  <a:lnTo>
                    <a:pt x="39671" y="91379"/>
                  </a:lnTo>
                  <a:lnTo>
                    <a:pt x="39390" y="91379"/>
                  </a:lnTo>
                  <a:lnTo>
                    <a:pt x="39390" y="91379"/>
                  </a:lnTo>
                  <a:lnTo>
                    <a:pt x="39109" y="91379"/>
                  </a:lnTo>
                  <a:lnTo>
                    <a:pt x="39109" y="91379"/>
                  </a:lnTo>
                  <a:lnTo>
                    <a:pt x="38686" y="91379"/>
                  </a:lnTo>
                  <a:lnTo>
                    <a:pt x="38405" y="91379"/>
                  </a:lnTo>
                  <a:lnTo>
                    <a:pt x="38124" y="91379"/>
                  </a:lnTo>
                  <a:lnTo>
                    <a:pt x="37702" y="91379"/>
                  </a:lnTo>
                  <a:lnTo>
                    <a:pt x="37420" y="90689"/>
                  </a:lnTo>
                  <a:lnTo>
                    <a:pt x="36998" y="90689"/>
                  </a:lnTo>
                  <a:lnTo>
                    <a:pt x="36717" y="90689"/>
                  </a:lnTo>
                  <a:lnTo>
                    <a:pt x="36436" y="90689"/>
                  </a:lnTo>
                  <a:lnTo>
                    <a:pt x="35732" y="90689"/>
                  </a:lnTo>
                  <a:lnTo>
                    <a:pt x="35451" y="90689"/>
                  </a:lnTo>
                  <a:lnTo>
                    <a:pt x="35029" y="90689"/>
                  </a:lnTo>
                  <a:lnTo>
                    <a:pt x="34747" y="90689"/>
                  </a:lnTo>
                  <a:lnTo>
                    <a:pt x="34747" y="90000"/>
                  </a:lnTo>
                  <a:lnTo>
                    <a:pt x="34747" y="88275"/>
                  </a:lnTo>
                  <a:lnTo>
                    <a:pt x="34466" y="88275"/>
                  </a:lnTo>
                  <a:lnTo>
                    <a:pt x="34466" y="87241"/>
                  </a:lnTo>
                  <a:lnTo>
                    <a:pt x="34044" y="86551"/>
                  </a:lnTo>
                  <a:lnTo>
                    <a:pt x="34044" y="86551"/>
                  </a:lnTo>
                  <a:lnTo>
                    <a:pt x="33763" y="86551"/>
                  </a:lnTo>
                  <a:lnTo>
                    <a:pt x="33763" y="86551"/>
                  </a:lnTo>
                  <a:lnTo>
                    <a:pt x="33481" y="86551"/>
                  </a:lnTo>
                  <a:lnTo>
                    <a:pt x="33059" y="86551"/>
                  </a:lnTo>
                  <a:lnTo>
                    <a:pt x="32778" y="86551"/>
                  </a:lnTo>
                  <a:lnTo>
                    <a:pt x="32778" y="86551"/>
                  </a:lnTo>
                  <a:lnTo>
                    <a:pt x="32497" y="86551"/>
                  </a:lnTo>
                  <a:lnTo>
                    <a:pt x="32075" y="85862"/>
                  </a:lnTo>
                  <a:lnTo>
                    <a:pt x="31793" y="85862"/>
                  </a:lnTo>
                  <a:lnTo>
                    <a:pt x="31793" y="84827"/>
                  </a:lnTo>
                  <a:lnTo>
                    <a:pt x="31371" y="84137"/>
                  </a:lnTo>
                  <a:lnTo>
                    <a:pt x="31090" y="84137"/>
                  </a:lnTo>
                  <a:lnTo>
                    <a:pt x="30808" y="84137"/>
                  </a:lnTo>
                  <a:lnTo>
                    <a:pt x="30808" y="84827"/>
                  </a:lnTo>
                  <a:lnTo>
                    <a:pt x="30386" y="84827"/>
                  </a:lnTo>
                  <a:lnTo>
                    <a:pt x="30386" y="84827"/>
                  </a:lnTo>
                  <a:lnTo>
                    <a:pt x="30105" y="84827"/>
                  </a:lnTo>
                  <a:lnTo>
                    <a:pt x="29824" y="84827"/>
                  </a:lnTo>
                  <a:lnTo>
                    <a:pt x="29402" y="84827"/>
                  </a:lnTo>
                  <a:lnTo>
                    <a:pt x="29120" y="84827"/>
                  </a:lnTo>
                  <a:lnTo>
                    <a:pt x="28839" y="84137"/>
                  </a:lnTo>
                  <a:lnTo>
                    <a:pt x="28417" y="84137"/>
                  </a:lnTo>
                  <a:lnTo>
                    <a:pt x="28135" y="84137"/>
                  </a:lnTo>
                  <a:lnTo>
                    <a:pt x="28135" y="84137"/>
                  </a:lnTo>
                  <a:lnTo>
                    <a:pt x="27854" y="84827"/>
                  </a:lnTo>
                  <a:lnTo>
                    <a:pt x="27854" y="85862"/>
                  </a:lnTo>
                  <a:lnTo>
                    <a:pt x="27432" y="88275"/>
                  </a:lnTo>
                  <a:lnTo>
                    <a:pt x="27432" y="88275"/>
                  </a:lnTo>
                  <a:lnTo>
                    <a:pt x="27151" y="88275"/>
                  </a:lnTo>
                  <a:lnTo>
                    <a:pt x="27151" y="88275"/>
                  </a:lnTo>
                  <a:lnTo>
                    <a:pt x="26729" y="88965"/>
                  </a:lnTo>
                  <a:lnTo>
                    <a:pt x="26729" y="90000"/>
                  </a:lnTo>
                  <a:lnTo>
                    <a:pt x="26447" y="90689"/>
                  </a:lnTo>
                  <a:lnTo>
                    <a:pt x="26447" y="90689"/>
                  </a:lnTo>
                  <a:lnTo>
                    <a:pt x="26447" y="90000"/>
                  </a:lnTo>
                  <a:lnTo>
                    <a:pt x="26447" y="90000"/>
                  </a:lnTo>
                  <a:lnTo>
                    <a:pt x="26447" y="90000"/>
                  </a:lnTo>
                  <a:lnTo>
                    <a:pt x="26166" y="90000"/>
                  </a:lnTo>
                  <a:lnTo>
                    <a:pt x="26166" y="90000"/>
                  </a:lnTo>
                  <a:lnTo>
                    <a:pt x="25744" y="90689"/>
                  </a:lnTo>
                  <a:lnTo>
                    <a:pt x="26166" y="90689"/>
                  </a:lnTo>
                  <a:lnTo>
                    <a:pt x="26166" y="90689"/>
                  </a:lnTo>
                  <a:lnTo>
                    <a:pt x="26166" y="90689"/>
                  </a:lnTo>
                  <a:lnTo>
                    <a:pt x="26447" y="90689"/>
                  </a:lnTo>
                  <a:lnTo>
                    <a:pt x="26447" y="90689"/>
                  </a:lnTo>
                  <a:lnTo>
                    <a:pt x="26729" y="90689"/>
                  </a:lnTo>
                  <a:lnTo>
                    <a:pt x="27151" y="90689"/>
                  </a:lnTo>
                  <a:lnTo>
                    <a:pt x="27432" y="90689"/>
                  </a:lnTo>
                  <a:lnTo>
                    <a:pt x="27854" y="90689"/>
                  </a:lnTo>
                  <a:lnTo>
                    <a:pt x="28417" y="91379"/>
                  </a:lnTo>
                  <a:lnTo>
                    <a:pt x="29120" y="92413"/>
                  </a:lnTo>
                  <a:lnTo>
                    <a:pt x="29120" y="93103"/>
                  </a:lnTo>
                  <a:lnTo>
                    <a:pt x="29120" y="93103"/>
                  </a:lnTo>
                  <a:lnTo>
                    <a:pt x="28839" y="93793"/>
                  </a:lnTo>
                  <a:lnTo>
                    <a:pt x="28839" y="93793"/>
                  </a:lnTo>
                  <a:lnTo>
                    <a:pt x="29120" y="94827"/>
                  </a:lnTo>
                  <a:lnTo>
                    <a:pt x="29120" y="94827"/>
                  </a:lnTo>
                  <a:lnTo>
                    <a:pt x="29402" y="94827"/>
                  </a:lnTo>
                  <a:lnTo>
                    <a:pt x="30808" y="95517"/>
                  </a:lnTo>
                  <a:lnTo>
                    <a:pt x="31090" y="95517"/>
                  </a:lnTo>
                  <a:lnTo>
                    <a:pt x="31793" y="95517"/>
                  </a:lnTo>
                  <a:lnTo>
                    <a:pt x="32075" y="96206"/>
                  </a:lnTo>
                  <a:lnTo>
                    <a:pt x="32075" y="96206"/>
                  </a:lnTo>
                  <a:lnTo>
                    <a:pt x="32497" y="97241"/>
                  </a:lnTo>
                  <a:lnTo>
                    <a:pt x="32778" y="97241"/>
                  </a:lnTo>
                  <a:lnTo>
                    <a:pt x="33481" y="97931"/>
                  </a:lnTo>
                  <a:lnTo>
                    <a:pt x="33763" y="97931"/>
                  </a:lnTo>
                  <a:lnTo>
                    <a:pt x="34044" y="97931"/>
                  </a:lnTo>
                  <a:lnTo>
                    <a:pt x="34466" y="97241"/>
                  </a:lnTo>
                  <a:lnTo>
                    <a:pt x="34466" y="97241"/>
                  </a:lnTo>
                  <a:lnTo>
                    <a:pt x="35029" y="96206"/>
                  </a:lnTo>
                  <a:lnTo>
                    <a:pt x="35029" y="96206"/>
                  </a:lnTo>
                  <a:lnTo>
                    <a:pt x="35451" y="97241"/>
                  </a:lnTo>
                  <a:lnTo>
                    <a:pt x="36014" y="97241"/>
                  </a:lnTo>
                  <a:lnTo>
                    <a:pt x="36436" y="97241"/>
                  </a:lnTo>
                  <a:lnTo>
                    <a:pt x="37702" y="97931"/>
                  </a:lnTo>
                  <a:lnTo>
                    <a:pt x="38405" y="97931"/>
                  </a:lnTo>
                  <a:lnTo>
                    <a:pt x="39671" y="100344"/>
                  </a:lnTo>
                  <a:lnTo>
                    <a:pt x="40375" y="100344"/>
                  </a:lnTo>
                  <a:lnTo>
                    <a:pt x="40656" y="101379"/>
                  </a:lnTo>
                  <a:lnTo>
                    <a:pt x="41641" y="101379"/>
                  </a:lnTo>
                  <a:lnTo>
                    <a:pt x="42063" y="101379"/>
                  </a:lnTo>
                  <a:lnTo>
                    <a:pt x="43751" y="101379"/>
                  </a:lnTo>
                  <a:lnTo>
                    <a:pt x="44314" y="102068"/>
                  </a:lnTo>
                  <a:lnTo>
                    <a:pt x="44736" y="102068"/>
                  </a:lnTo>
                  <a:lnTo>
                    <a:pt x="45017" y="102068"/>
                  </a:lnTo>
                  <a:lnTo>
                    <a:pt x="45298" y="102068"/>
                  </a:lnTo>
                  <a:lnTo>
                    <a:pt x="45720" y="102068"/>
                  </a:lnTo>
                  <a:lnTo>
                    <a:pt x="46002" y="101379"/>
                  </a:lnTo>
                  <a:lnTo>
                    <a:pt x="46283" y="101379"/>
                  </a:lnTo>
                  <a:lnTo>
                    <a:pt x="46705" y="101379"/>
                  </a:lnTo>
                  <a:lnTo>
                    <a:pt x="47690" y="102758"/>
                  </a:lnTo>
                  <a:lnTo>
                    <a:pt x="48393" y="103793"/>
                  </a:lnTo>
                  <a:lnTo>
                    <a:pt x="48956" y="103793"/>
                  </a:lnTo>
                  <a:lnTo>
                    <a:pt x="49378" y="103793"/>
                  </a:lnTo>
                  <a:lnTo>
                    <a:pt x="49378" y="103793"/>
                  </a:lnTo>
                  <a:lnTo>
                    <a:pt x="49378" y="104482"/>
                  </a:lnTo>
                  <a:lnTo>
                    <a:pt x="49660" y="104482"/>
                  </a:lnTo>
                  <a:lnTo>
                    <a:pt x="49941" y="104482"/>
                  </a:lnTo>
                  <a:lnTo>
                    <a:pt x="49941" y="104482"/>
                  </a:lnTo>
                  <a:lnTo>
                    <a:pt x="49941" y="104482"/>
                  </a:lnTo>
                  <a:lnTo>
                    <a:pt x="49660" y="103793"/>
                  </a:lnTo>
                  <a:moveTo>
                    <a:pt x="65978" y="88275"/>
                  </a:moveTo>
                  <a:lnTo>
                    <a:pt x="65978" y="86551"/>
                  </a:lnTo>
                  <a:lnTo>
                    <a:pt x="65978" y="84137"/>
                  </a:lnTo>
                  <a:lnTo>
                    <a:pt x="65978" y="84137"/>
                  </a:lnTo>
                  <a:lnTo>
                    <a:pt x="65978" y="83448"/>
                  </a:lnTo>
                  <a:lnTo>
                    <a:pt x="65978" y="83448"/>
                  </a:lnTo>
                  <a:lnTo>
                    <a:pt x="65556" y="84827"/>
                  </a:lnTo>
                  <a:lnTo>
                    <a:pt x="65556" y="85862"/>
                  </a:lnTo>
                  <a:lnTo>
                    <a:pt x="65556" y="86551"/>
                  </a:lnTo>
                  <a:lnTo>
                    <a:pt x="65556" y="87241"/>
                  </a:lnTo>
                  <a:lnTo>
                    <a:pt x="65978" y="88275"/>
                  </a:lnTo>
                  <a:moveTo>
                    <a:pt x="103118" y="83448"/>
                  </a:moveTo>
                  <a:lnTo>
                    <a:pt x="103118" y="82413"/>
                  </a:lnTo>
                  <a:lnTo>
                    <a:pt x="103118" y="82413"/>
                  </a:lnTo>
                  <a:lnTo>
                    <a:pt x="103118" y="81724"/>
                  </a:lnTo>
                  <a:lnTo>
                    <a:pt x="103118" y="81724"/>
                  </a:lnTo>
                  <a:lnTo>
                    <a:pt x="103118" y="81034"/>
                  </a:lnTo>
                  <a:lnTo>
                    <a:pt x="103118" y="81034"/>
                  </a:lnTo>
                  <a:lnTo>
                    <a:pt x="102696" y="81034"/>
                  </a:lnTo>
                  <a:lnTo>
                    <a:pt x="102696" y="80000"/>
                  </a:lnTo>
                  <a:lnTo>
                    <a:pt x="102415" y="81034"/>
                  </a:lnTo>
                  <a:lnTo>
                    <a:pt x="102415" y="81034"/>
                  </a:lnTo>
                  <a:lnTo>
                    <a:pt x="102415" y="81724"/>
                  </a:lnTo>
                  <a:lnTo>
                    <a:pt x="101992" y="82413"/>
                  </a:lnTo>
                  <a:lnTo>
                    <a:pt x="101711" y="82413"/>
                  </a:lnTo>
                  <a:lnTo>
                    <a:pt x="101711" y="82413"/>
                  </a:lnTo>
                  <a:lnTo>
                    <a:pt x="101711" y="82413"/>
                  </a:lnTo>
                  <a:lnTo>
                    <a:pt x="101992" y="83448"/>
                  </a:lnTo>
                  <a:lnTo>
                    <a:pt x="101992" y="84137"/>
                  </a:lnTo>
                  <a:lnTo>
                    <a:pt x="101992" y="84827"/>
                  </a:lnTo>
                  <a:lnTo>
                    <a:pt x="101711" y="84827"/>
                  </a:lnTo>
                  <a:lnTo>
                    <a:pt x="101430" y="84827"/>
                  </a:lnTo>
                  <a:lnTo>
                    <a:pt x="101430" y="84827"/>
                  </a:lnTo>
                  <a:lnTo>
                    <a:pt x="101711" y="84827"/>
                  </a:lnTo>
                  <a:lnTo>
                    <a:pt x="101711" y="85862"/>
                  </a:lnTo>
                  <a:lnTo>
                    <a:pt x="101711" y="85862"/>
                  </a:lnTo>
                  <a:lnTo>
                    <a:pt x="101992" y="86551"/>
                  </a:lnTo>
                  <a:lnTo>
                    <a:pt x="102415" y="87241"/>
                  </a:lnTo>
                  <a:lnTo>
                    <a:pt x="102696" y="87241"/>
                  </a:lnTo>
                  <a:lnTo>
                    <a:pt x="102696" y="87241"/>
                  </a:lnTo>
                  <a:lnTo>
                    <a:pt x="102696" y="87241"/>
                  </a:lnTo>
                  <a:lnTo>
                    <a:pt x="103118" y="86551"/>
                  </a:lnTo>
                  <a:lnTo>
                    <a:pt x="103118" y="85862"/>
                  </a:lnTo>
                  <a:lnTo>
                    <a:pt x="103118" y="85862"/>
                  </a:lnTo>
                  <a:lnTo>
                    <a:pt x="103118" y="84827"/>
                  </a:lnTo>
                  <a:lnTo>
                    <a:pt x="103118" y="84827"/>
                  </a:lnTo>
                  <a:lnTo>
                    <a:pt x="103118" y="84137"/>
                  </a:lnTo>
                  <a:lnTo>
                    <a:pt x="103118" y="84137"/>
                  </a:lnTo>
                  <a:lnTo>
                    <a:pt x="103118" y="83448"/>
                  </a:lnTo>
                  <a:moveTo>
                    <a:pt x="18147" y="79310"/>
                  </a:moveTo>
                  <a:lnTo>
                    <a:pt x="18147" y="79310"/>
                  </a:lnTo>
                  <a:lnTo>
                    <a:pt x="17866" y="80000"/>
                  </a:lnTo>
                  <a:lnTo>
                    <a:pt x="18147" y="80000"/>
                  </a:lnTo>
                  <a:lnTo>
                    <a:pt x="18569" y="81034"/>
                  </a:lnTo>
                  <a:lnTo>
                    <a:pt x="18569" y="81034"/>
                  </a:lnTo>
                  <a:lnTo>
                    <a:pt x="18851" y="80000"/>
                  </a:lnTo>
                  <a:lnTo>
                    <a:pt x="18569" y="80000"/>
                  </a:lnTo>
                  <a:lnTo>
                    <a:pt x="18147" y="79310"/>
                  </a:lnTo>
                  <a:moveTo>
                    <a:pt x="69495" y="78275"/>
                  </a:moveTo>
                  <a:lnTo>
                    <a:pt x="69495" y="79310"/>
                  </a:lnTo>
                  <a:lnTo>
                    <a:pt x="69495" y="80000"/>
                  </a:lnTo>
                  <a:lnTo>
                    <a:pt x="69917" y="81034"/>
                  </a:lnTo>
                  <a:lnTo>
                    <a:pt x="69917" y="81034"/>
                  </a:lnTo>
                  <a:lnTo>
                    <a:pt x="70199" y="79310"/>
                  </a:lnTo>
                  <a:lnTo>
                    <a:pt x="69917" y="78275"/>
                  </a:lnTo>
                  <a:lnTo>
                    <a:pt x="69917" y="78275"/>
                  </a:lnTo>
                  <a:lnTo>
                    <a:pt x="69917" y="77586"/>
                  </a:lnTo>
                  <a:lnTo>
                    <a:pt x="69495" y="77586"/>
                  </a:lnTo>
                  <a:lnTo>
                    <a:pt x="69495" y="78275"/>
                  </a:lnTo>
                  <a:lnTo>
                    <a:pt x="69495" y="78275"/>
                  </a:lnTo>
                  <a:lnTo>
                    <a:pt x="69495" y="78275"/>
                  </a:lnTo>
                  <a:lnTo>
                    <a:pt x="69495" y="78275"/>
                  </a:lnTo>
                  <a:moveTo>
                    <a:pt x="70621" y="80000"/>
                  </a:moveTo>
                  <a:lnTo>
                    <a:pt x="70621" y="80000"/>
                  </a:lnTo>
                  <a:lnTo>
                    <a:pt x="70902" y="80000"/>
                  </a:lnTo>
                  <a:lnTo>
                    <a:pt x="70902" y="80000"/>
                  </a:lnTo>
                  <a:lnTo>
                    <a:pt x="71184" y="80000"/>
                  </a:lnTo>
                  <a:lnTo>
                    <a:pt x="71184" y="80000"/>
                  </a:lnTo>
                  <a:lnTo>
                    <a:pt x="71184" y="80000"/>
                  </a:lnTo>
                  <a:lnTo>
                    <a:pt x="71606" y="80000"/>
                  </a:lnTo>
                  <a:lnTo>
                    <a:pt x="71606" y="79310"/>
                  </a:lnTo>
                  <a:lnTo>
                    <a:pt x="71606" y="78275"/>
                  </a:lnTo>
                  <a:lnTo>
                    <a:pt x="71887" y="76896"/>
                  </a:lnTo>
                  <a:lnTo>
                    <a:pt x="71887" y="75172"/>
                  </a:lnTo>
                  <a:lnTo>
                    <a:pt x="71887" y="74482"/>
                  </a:lnTo>
                  <a:lnTo>
                    <a:pt x="71887" y="74482"/>
                  </a:lnTo>
                  <a:lnTo>
                    <a:pt x="71184" y="75172"/>
                  </a:lnTo>
                  <a:lnTo>
                    <a:pt x="70902" y="75862"/>
                  </a:lnTo>
                  <a:lnTo>
                    <a:pt x="70902" y="75862"/>
                  </a:lnTo>
                  <a:lnTo>
                    <a:pt x="70902" y="77586"/>
                  </a:lnTo>
                  <a:lnTo>
                    <a:pt x="70902" y="77586"/>
                  </a:lnTo>
                  <a:lnTo>
                    <a:pt x="70902" y="78275"/>
                  </a:lnTo>
                  <a:lnTo>
                    <a:pt x="70621" y="80000"/>
                  </a:lnTo>
                  <a:moveTo>
                    <a:pt x="72590" y="76896"/>
                  </a:moveTo>
                  <a:lnTo>
                    <a:pt x="72590" y="75862"/>
                  </a:lnTo>
                  <a:lnTo>
                    <a:pt x="72872" y="75172"/>
                  </a:lnTo>
                  <a:lnTo>
                    <a:pt x="72872" y="75172"/>
                  </a:lnTo>
                  <a:lnTo>
                    <a:pt x="72872" y="75172"/>
                  </a:lnTo>
                  <a:lnTo>
                    <a:pt x="72872" y="75172"/>
                  </a:lnTo>
                  <a:lnTo>
                    <a:pt x="72872" y="75172"/>
                  </a:lnTo>
                  <a:lnTo>
                    <a:pt x="73153" y="75862"/>
                  </a:lnTo>
                  <a:lnTo>
                    <a:pt x="73153" y="75862"/>
                  </a:lnTo>
                  <a:lnTo>
                    <a:pt x="73153" y="74482"/>
                  </a:lnTo>
                  <a:lnTo>
                    <a:pt x="72872" y="73448"/>
                  </a:lnTo>
                  <a:lnTo>
                    <a:pt x="72872" y="72758"/>
                  </a:lnTo>
                  <a:lnTo>
                    <a:pt x="72872" y="72758"/>
                  </a:lnTo>
                  <a:lnTo>
                    <a:pt x="72590" y="73448"/>
                  </a:lnTo>
                  <a:lnTo>
                    <a:pt x="72168" y="74482"/>
                  </a:lnTo>
                  <a:lnTo>
                    <a:pt x="72168" y="75862"/>
                  </a:lnTo>
                  <a:lnTo>
                    <a:pt x="72168" y="76896"/>
                  </a:lnTo>
                  <a:lnTo>
                    <a:pt x="71887" y="77586"/>
                  </a:lnTo>
                  <a:lnTo>
                    <a:pt x="71887" y="77586"/>
                  </a:lnTo>
                  <a:lnTo>
                    <a:pt x="71887" y="78275"/>
                  </a:lnTo>
                  <a:lnTo>
                    <a:pt x="71887" y="79310"/>
                  </a:lnTo>
                  <a:lnTo>
                    <a:pt x="71887" y="79310"/>
                  </a:lnTo>
                  <a:lnTo>
                    <a:pt x="71606" y="80000"/>
                  </a:lnTo>
                  <a:lnTo>
                    <a:pt x="71606" y="80000"/>
                  </a:lnTo>
                  <a:lnTo>
                    <a:pt x="71606" y="80000"/>
                  </a:lnTo>
                  <a:lnTo>
                    <a:pt x="71606" y="81034"/>
                  </a:lnTo>
                  <a:lnTo>
                    <a:pt x="71606" y="81724"/>
                  </a:lnTo>
                  <a:lnTo>
                    <a:pt x="71606" y="82413"/>
                  </a:lnTo>
                  <a:lnTo>
                    <a:pt x="71606" y="82413"/>
                  </a:lnTo>
                  <a:lnTo>
                    <a:pt x="71887" y="81724"/>
                  </a:lnTo>
                  <a:lnTo>
                    <a:pt x="71887" y="82413"/>
                  </a:lnTo>
                  <a:lnTo>
                    <a:pt x="72168" y="81724"/>
                  </a:lnTo>
                  <a:lnTo>
                    <a:pt x="72168" y="81034"/>
                  </a:lnTo>
                  <a:lnTo>
                    <a:pt x="72168" y="81034"/>
                  </a:lnTo>
                  <a:lnTo>
                    <a:pt x="72168" y="81034"/>
                  </a:lnTo>
                  <a:lnTo>
                    <a:pt x="72590" y="80000"/>
                  </a:lnTo>
                  <a:lnTo>
                    <a:pt x="72590" y="80000"/>
                  </a:lnTo>
                  <a:lnTo>
                    <a:pt x="72590" y="80000"/>
                  </a:lnTo>
                  <a:lnTo>
                    <a:pt x="72872" y="80000"/>
                  </a:lnTo>
                  <a:lnTo>
                    <a:pt x="72872" y="80000"/>
                  </a:lnTo>
                  <a:lnTo>
                    <a:pt x="73153" y="79310"/>
                  </a:lnTo>
                  <a:lnTo>
                    <a:pt x="72872" y="79310"/>
                  </a:lnTo>
                  <a:lnTo>
                    <a:pt x="72590" y="78275"/>
                  </a:lnTo>
                  <a:lnTo>
                    <a:pt x="72590" y="78275"/>
                  </a:lnTo>
                  <a:lnTo>
                    <a:pt x="72590" y="78275"/>
                  </a:lnTo>
                  <a:lnTo>
                    <a:pt x="72590" y="78275"/>
                  </a:lnTo>
                  <a:lnTo>
                    <a:pt x="72590" y="76896"/>
                  </a:lnTo>
                  <a:lnTo>
                    <a:pt x="72590" y="76896"/>
                  </a:lnTo>
                  <a:moveTo>
                    <a:pt x="73153" y="70344"/>
                  </a:moveTo>
                  <a:lnTo>
                    <a:pt x="73153" y="70344"/>
                  </a:lnTo>
                  <a:lnTo>
                    <a:pt x="72872" y="70344"/>
                  </a:lnTo>
                  <a:lnTo>
                    <a:pt x="72590" y="70344"/>
                  </a:lnTo>
                  <a:lnTo>
                    <a:pt x="72590" y="70344"/>
                  </a:lnTo>
                  <a:lnTo>
                    <a:pt x="72590" y="71034"/>
                  </a:lnTo>
                  <a:lnTo>
                    <a:pt x="72872" y="72068"/>
                  </a:lnTo>
                  <a:lnTo>
                    <a:pt x="72872" y="72068"/>
                  </a:lnTo>
                  <a:lnTo>
                    <a:pt x="73153" y="71034"/>
                  </a:lnTo>
                  <a:lnTo>
                    <a:pt x="73153" y="70344"/>
                  </a:lnTo>
                  <a:moveTo>
                    <a:pt x="86518" y="66206"/>
                  </a:moveTo>
                  <a:lnTo>
                    <a:pt x="86096" y="66896"/>
                  </a:lnTo>
                  <a:lnTo>
                    <a:pt x="85814" y="66896"/>
                  </a:lnTo>
                  <a:lnTo>
                    <a:pt x="85533" y="67931"/>
                  </a:lnTo>
                  <a:lnTo>
                    <a:pt x="85533" y="67931"/>
                  </a:lnTo>
                  <a:lnTo>
                    <a:pt x="85533" y="67931"/>
                  </a:lnTo>
                  <a:lnTo>
                    <a:pt x="85814" y="68620"/>
                  </a:lnTo>
                  <a:lnTo>
                    <a:pt x="85814" y="67931"/>
                  </a:lnTo>
                  <a:lnTo>
                    <a:pt x="86096" y="67931"/>
                  </a:lnTo>
                  <a:lnTo>
                    <a:pt x="86096" y="67931"/>
                  </a:lnTo>
                  <a:lnTo>
                    <a:pt x="86096" y="67931"/>
                  </a:lnTo>
                  <a:lnTo>
                    <a:pt x="86096" y="67931"/>
                  </a:lnTo>
                  <a:lnTo>
                    <a:pt x="86096" y="67931"/>
                  </a:lnTo>
                  <a:lnTo>
                    <a:pt x="86518" y="67931"/>
                  </a:lnTo>
                  <a:lnTo>
                    <a:pt x="86518" y="67931"/>
                  </a:lnTo>
                  <a:lnTo>
                    <a:pt x="86518" y="66896"/>
                  </a:lnTo>
                  <a:lnTo>
                    <a:pt x="86518" y="66896"/>
                  </a:lnTo>
                  <a:lnTo>
                    <a:pt x="86518" y="66896"/>
                  </a:lnTo>
                  <a:lnTo>
                    <a:pt x="86799" y="66206"/>
                  </a:lnTo>
                  <a:lnTo>
                    <a:pt x="86518" y="66206"/>
                  </a:lnTo>
                  <a:moveTo>
                    <a:pt x="55287" y="66896"/>
                  </a:moveTo>
                  <a:lnTo>
                    <a:pt x="55287" y="67931"/>
                  </a:lnTo>
                  <a:lnTo>
                    <a:pt x="55568" y="66206"/>
                  </a:lnTo>
                  <a:lnTo>
                    <a:pt x="55568" y="65517"/>
                  </a:lnTo>
                  <a:lnTo>
                    <a:pt x="55568" y="66206"/>
                  </a:lnTo>
                  <a:lnTo>
                    <a:pt x="55287" y="66896"/>
                  </a:lnTo>
                  <a:moveTo>
                    <a:pt x="55287" y="67931"/>
                  </a:moveTo>
                  <a:lnTo>
                    <a:pt x="55287" y="66896"/>
                  </a:lnTo>
                  <a:lnTo>
                    <a:pt x="55287" y="66206"/>
                  </a:lnTo>
                  <a:lnTo>
                    <a:pt x="55287" y="66206"/>
                  </a:lnTo>
                  <a:lnTo>
                    <a:pt x="55287" y="65517"/>
                  </a:lnTo>
                  <a:lnTo>
                    <a:pt x="55287" y="64482"/>
                  </a:lnTo>
                  <a:lnTo>
                    <a:pt x="55005" y="64482"/>
                  </a:lnTo>
                  <a:lnTo>
                    <a:pt x="54583" y="65517"/>
                  </a:lnTo>
                  <a:lnTo>
                    <a:pt x="54583" y="66206"/>
                  </a:lnTo>
                  <a:lnTo>
                    <a:pt x="54583" y="66896"/>
                  </a:lnTo>
                  <a:lnTo>
                    <a:pt x="54583" y="67931"/>
                  </a:lnTo>
                  <a:lnTo>
                    <a:pt x="54583" y="68620"/>
                  </a:lnTo>
                  <a:lnTo>
                    <a:pt x="54583" y="70344"/>
                  </a:lnTo>
                  <a:lnTo>
                    <a:pt x="54583" y="70344"/>
                  </a:lnTo>
                  <a:lnTo>
                    <a:pt x="55287" y="69310"/>
                  </a:lnTo>
                  <a:lnTo>
                    <a:pt x="55287" y="68620"/>
                  </a:lnTo>
                  <a:lnTo>
                    <a:pt x="55287" y="68620"/>
                  </a:lnTo>
                  <a:lnTo>
                    <a:pt x="55287" y="67931"/>
                  </a:lnTo>
                  <a:moveTo>
                    <a:pt x="83845" y="65517"/>
                  </a:moveTo>
                  <a:lnTo>
                    <a:pt x="83423" y="65517"/>
                  </a:lnTo>
                  <a:lnTo>
                    <a:pt x="83423" y="64482"/>
                  </a:lnTo>
                  <a:lnTo>
                    <a:pt x="83423" y="64482"/>
                  </a:lnTo>
                  <a:lnTo>
                    <a:pt x="83141" y="63793"/>
                  </a:lnTo>
                  <a:lnTo>
                    <a:pt x="82860" y="63793"/>
                  </a:lnTo>
                  <a:lnTo>
                    <a:pt x="82860" y="63103"/>
                  </a:lnTo>
                  <a:lnTo>
                    <a:pt x="82157" y="63103"/>
                  </a:lnTo>
                  <a:lnTo>
                    <a:pt x="81453" y="63793"/>
                  </a:lnTo>
                  <a:lnTo>
                    <a:pt x="81172" y="63793"/>
                  </a:lnTo>
                  <a:lnTo>
                    <a:pt x="80890" y="63793"/>
                  </a:lnTo>
                  <a:lnTo>
                    <a:pt x="80890" y="63793"/>
                  </a:lnTo>
                  <a:lnTo>
                    <a:pt x="80890" y="63793"/>
                  </a:lnTo>
                  <a:lnTo>
                    <a:pt x="80890" y="65517"/>
                  </a:lnTo>
                  <a:lnTo>
                    <a:pt x="80890" y="66206"/>
                  </a:lnTo>
                  <a:lnTo>
                    <a:pt x="80890" y="66206"/>
                  </a:lnTo>
                  <a:lnTo>
                    <a:pt x="81172" y="66896"/>
                  </a:lnTo>
                  <a:lnTo>
                    <a:pt x="81172" y="66896"/>
                  </a:lnTo>
                  <a:lnTo>
                    <a:pt x="81453" y="67931"/>
                  </a:lnTo>
                  <a:lnTo>
                    <a:pt x="81875" y="68620"/>
                  </a:lnTo>
                  <a:lnTo>
                    <a:pt x="82438" y="68620"/>
                  </a:lnTo>
                  <a:lnTo>
                    <a:pt x="82438" y="68620"/>
                  </a:lnTo>
                  <a:lnTo>
                    <a:pt x="82438" y="68620"/>
                  </a:lnTo>
                  <a:lnTo>
                    <a:pt x="82860" y="68620"/>
                  </a:lnTo>
                  <a:lnTo>
                    <a:pt x="83141" y="68620"/>
                  </a:lnTo>
                  <a:lnTo>
                    <a:pt x="83423" y="67931"/>
                  </a:lnTo>
                  <a:lnTo>
                    <a:pt x="83423" y="67931"/>
                  </a:lnTo>
                  <a:lnTo>
                    <a:pt x="83845" y="66896"/>
                  </a:lnTo>
                  <a:lnTo>
                    <a:pt x="83845" y="66206"/>
                  </a:lnTo>
                  <a:lnTo>
                    <a:pt x="83845" y="65517"/>
                  </a:lnTo>
                  <a:lnTo>
                    <a:pt x="83845" y="65517"/>
                  </a:lnTo>
                  <a:moveTo>
                    <a:pt x="93130" y="68620"/>
                  </a:moveTo>
                  <a:lnTo>
                    <a:pt x="93411" y="66896"/>
                  </a:lnTo>
                  <a:lnTo>
                    <a:pt x="93130" y="66896"/>
                  </a:lnTo>
                  <a:lnTo>
                    <a:pt x="93130" y="66206"/>
                  </a:lnTo>
                  <a:lnTo>
                    <a:pt x="92708" y="65517"/>
                  </a:lnTo>
                  <a:lnTo>
                    <a:pt x="92708" y="65517"/>
                  </a:lnTo>
                  <a:lnTo>
                    <a:pt x="92708" y="65517"/>
                  </a:lnTo>
                  <a:lnTo>
                    <a:pt x="92708" y="64482"/>
                  </a:lnTo>
                  <a:lnTo>
                    <a:pt x="92426" y="63793"/>
                  </a:lnTo>
                  <a:lnTo>
                    <a:pt x="92145" y="63103"/>
                  </a:lnTo>
                  <a:lnTo>
                    <a:pt x="91723" y="63103"/>
                  </a:lnTo>
                  <a:lnTo>
                    <a:pt x="91441" y="63103"/>
                  </a:lnTo>
                  <a:lnTo>
                    <a:pt x="91160" y="63103"/>
                  </a:lnTo>
                  <a:lnTo>
                    <a:pt x="90457" y="62068"/>
                  </a:lnTo>
                  <a:lnTo>
                    <a:pt x="90175" y="61379"/>
                  </a:lnTo>
                  <a:lnTo>
                    <a:pt x="89753" y="61379"/>
                  </a:lnTo>
                  <a:lnTo>
                    <a:pt x="89753" y="61379"/>
                  </a:lnTo>
                  <a:lnTo>
                    <a:pt x="89753" y="61379"/>
                  </a:lnTo>
                  <a:lnTo>
                    <a:pt x="89472" y="61379"/>
                  </a:lnTo>
                  <a:lnTo>
                    <a:pt x="89191" y="62068"/>
                  </a:lnTo>
                  <a:lnTo>
                    <a:pt x="88769" y="62068"/>
                  </a:lnTo>
                  <a:lnTo>
                    <a:pt x="88769" y="62068"/>
                  </a:lnTo>
                  <a:lnTo>
                    <a:pt x="88769" y="62068"/>
                  </a:lnTo>
                  <a:lnTo>
                    <a:pt x="88769" y="61379"/>
                  </a:lnTo>
                  <a:lnTo>
                    <a:pt x="88487" y="61379"/>
                  </a:lnTo>
                  <a:lnTo>
                    <a:pt x="88065" y="61379"/>
                  </a:lnTo>
                  <a:lnTo>
                    <a:pt x="87784" y="62068"/>
                  </a:lnTo>
                  <a:lnTo>
                    <a:pt x="87502" y="61379"/>
                  </a:lnTo>
                  <a:lnTo>
                    <a:pt x="86518" y="62068"/>
                  </a:lnTo>
                  <a:lnTo>
                    <a:pt x="86096" y="62068"/>
                  </a:lnTo>
                  <a:lnTo>
                    <a:pt x="85533" y="64482"/>
                  </a:lnTo>
                  <a:lnTo>
                    <a:pt x="85533" y="64482"/>
                  </a:lnTo>
                  <a:lnTo>
                    <a:pt x="85814" y="65517"/>
                  </a:lnTo>
                  <a:lnTo>
                    <a:pt x="85814" y="65517"/>
                  </a:lnTo>
                  <a:lnTo>
                    <a:pt x="85533" y="66206"/>
                  </a:lnTo>
                  <a:lnTo>
                    <a:pt x="85533" y="66206"/>
                  </a:lnTo>
                  <a:lnTo>
                    <a:pt x="85814" y="66206"/>
                  </a:lnTo>
                  <a:lnTo>
                    <a:pt x="85814" y="65517"/>
                  </a:lnTo>
                  <a:lnTo>
                    <a:pt x="85814" y="65517"/>
                  </a:lnTo>
                  <a:lnTo>
                    <a:pt x="86096" y="64482"/>
                  </a:lnTo>
                  <a:lnTo>
                    <a:pt x="86096" y="63793"/>
                  </a:lnTo>
                  <a:lnTo>
                    <a:pt x="86096" y="63793"/>
                  </a:lnTo>
                  <a:lnTo>
                    <a:pt x="86518" y="63793"/>
                  </a:lnTo>
                  <a:lnTo>
                    <a:pt x="86518" y="64482"/>
                  </a:lnTo>
                  <a:lnTo>
                    <a:pt x="86518" y="64482"/>
                  </a:lnTo>
                  <a:lnTo>
                    <a:pt x="86799" y="66206"/>
                  </a:lnTo>
                  <a:lnTo>
                    <a:pt x="87080" y="66206"/>
                  </a:lnTo>
                  <a:lnTo>
                    <a:pt x="87080" y="66206"/>
                  </a:lnTo>
                  <a:lnTo>
                    <a:pt x="87502" y="66206"/>
                  </a:lnTo>
                  <a:lnTo>
                    <a:pt x="87502" y="65517"/>
                  </a:lnTo>
                  <a:lnTo>
                    <a:pt x="87784" y="64482"/>
                  </a:lnTo>
                  <a:lnTo>
                    <a:pt x="87784" y="64482"/>
                  </a:lnTo>
                  <a:lnTo>
                    <a:pt x="88065" y="64482"/>
                  </a:lnTo>
                  <a:lnTo>
                    <a:pt x="88065" y="64482"/>
                  </a:lnTo>
                  <a:lnTo>
                    <a:pt x="88487" y="64482"/>
                  </a:lnTo>
                  <a:lnTo>
                    <a:pt x="88487" y="64482"/>
                  </a:lnTo>
                  <a:lnTo>
                    <a:pt x="88487" y="65517"/>
                  </a:lnTo>
                  <a:lnTo>
                    <a:pt x="88487" y="65517"/>
                  </a:lnTo>
                  <a:lnTo>
                    <a:pt x="88769" y="65517"/>
                  </a:lnTo>
                  <a:lnTo>
                    <a:pt x="89191" y="65517"/>
                  </a:lnTo>
                  <a:lnTo>
                    <a:pt x="89472" y="65517"/>
                  </a:lnTo>
                  <a:lnTo>
                    <a:pt x="89753" y="66206"/>
                  </a:lnTo>
                  <a:lnTo>
                    <a:pt x="89753" y="66206"/>
                  </a:lnTo>
                  <a:lnTo>
                    <a:pt x="89753" y="65517"/>
                  </a:lnTo>
                  <a:lnTo>
                    <a:pt x="89753" y="65517"/>
                  </a:lnTo>
                  <a:lnTo>
                    <a:pt x="89753" y="65517"/>
                  </a:lnTo>
                  <a:lnTo>
                    <a:pt x="90175" y="65517"/>
                  </a:lnTo>
                  <a:lnTo>
                    <a:pt x="90738" y="65517"/>
                  </a:lnTo>
                  <a:lnTo>
                    <a:pt x="90738" y="65517"/>
                  </a:lnTo>
                  <a:lnTo>
                    <a:pt x="91160" y="66206"/>
                  </a:lnTo>
                  <a:lnTo>
                    <a:pt x="91160" y="66206"/>
                  </a:lnTo>
                  <a:lnTo>
                    <a:pt x="91723" y="66896"/>
                  </a:lnTo>
                  <a:lnTo>
                    <a:pt x="92145" y="66896"/>
                  </a:lnTo>
                  <a:lnTo>
                    <a:pt x="92426" y="68620"/>
                  </a:lnTo>
                  <a:lnTo>
                    <a:pt x="93130" y="68620"/>
                  </a:lnTo>
                  <a:moveTo>
                    <a:pt x="13223" y="61379"/>
                  </a:moveTo>
                  <a:lnTo>
                    <a:pt x="13223" y="61379"/>
                  </a:lnTo>
                  <a:lnTo>
                    <a:pt x="13223" y="61379"/>
                  </a:lnTo>
                  <a:lnTo>
                    <a:pt x="13223" y="63103"/>
                  </a:lnTo>
                  <a:lnTo>
                    <a:pt x="13223" y="63103"/>
                  </a:lnTo>
                  <a:lnTo>
                    <a:pt x="13505" y="63793"/>
                  </a:lnTo>
                  <a:lnTo>
                    <a:pt x="13505" y="63793"/>
                  </a:lnTo>
                  <a:lnTo>
                    <a:pt x="13505" y="64482"/>
                  </a:lnTo>
                  <a:lnTo>
                    <a:pt x="13927" y="65517"/>
                  </a:lnTo>
                  <a:lnTo>
                    <a:pt x="13927" y="63793"/>
                  </a:lnTo>
                  <a:lnTo>
                    <a:pt x="13927" y="63793"/>
                  </a:lnTo>
                  <a:lnTo>
                    <a:pt x="13927" y="63793"/>
                  </a:lnTo>
                  <a:lnTo>
                    <a:pt x="13927" y="63103"/>
                  </a:lnTo>
                  <a:lnTo>
                    <a:pt x="13927" y="63103"/>
                  </a:lnTo>
                  <a:lnTo>
                    <a:pt x="13223" y="61379"/>
                  </a:lnTo>
                  <a:moveTo>
                    <a:pt x="32497" y="62068"/>
                  </a:moveTo>
                  <a:lnTo>
                    <a:pt x="32497" y="63103"/>
                  </a:lnTo>
                  <a:lnTo>
                    <a:pt x="32497" y="63103"/>
                  </a:lnTo>
                  <a:lnTo>
                    <a:pt x="32778" y="63793"/>
                  </a:lnTo>
                  <a:lnTo>
                    <a:pt x="32497" y="64482"/>
                  </a:lnTo>
                  <a:lnTo>
                    <a:pt x="32778" y="64482"/>
                  </a:lnTo>
                  <a:lnTo>
                    <a:pt x="33059" y="63793"/>
                  </a:lnTo>
                  <a:lnTo>
                    <a:pt x="33059" y="63793"/>
                  </a:lnTo>
                  <a:lnTo>
                    <a:pt x="33059" y="63793"/>
                  </a:lnTo>
                  <a:lnTo>
                    <a:pt x="33481" y="63793"/>
                  </a:lnTo>
                  <a:lnTo>
                    <a:pt x="33481" y="63793"/>
                  </a:lnTo>
                  <a:lnTo>
                    <a:pt x="33481" y="64482"/>
                  </a:lnTo>
                  <a:lnTo>
                    <a:pt x="33763" y="64482"/>
                  </a:lnTo>
                  <a:lnTo>
                    <a:pt x="33763" y="64482"/>
                  </a:lnTo>
                  <a:lnTo>
                    <a:pt x="34044" y="63793"/>
                  </a:lnTo>
                  <a:lnTo>
                    <a:pt x="34044" y="63793"/>
                  </a:lnTo>
                  <a:lnTo>
                    <a:pt x="34044" y="63103"/>
                  </a:lnTo>
                  <a:lnTo>
                    <a:pt x="34466" y="61379"/>
                  </a:lnTo>
                  <a:lnTo>
                    <a:pt x="34044" y="60344"/>
                  </a:lnTo>
                  <a:lnTo>
                    <a:pt x="33763" y="59655"/>
                  </a:lnTo>
                  <a:lnTo>
                    <a:pt x="33481" y="59655"/>
                  </a:lnTo>
                  <a:lnTo>
                    <a:pt x="33059" y="59655"/>
                  </a:lnTo>
                  <a:lnTo>
                    <a:pt x="32778" y="59655"/>
                  </a:lnTo>
                  <a:lnTo>
                    <a:pt x="32778" y="60344"/>
                  </a:lnTo>
                  <a:lnTo>
                    <a:pt x="32497" y="61379"/>
                  </a:lnTo>
                  <a:lnTo>
                    <a:pt x="32497" y="62068"/>
                  </a:lnTo>
                  <a:lnTo>
                    <a:pt x="32497" y="62068"/>
                  </a:lnTo>
                  <a:lnTo>
                    <a:pt x="32497" y="62068"/>
                  </a:lnTo>
                  <a:moveTo>
                    <a:pt x="13223" y="60344"/>
                  </a:moveTo>
                  <a:lnTo>
                    <a:pt x="12801" y="58965"/>
                  </a:lnTo>
                  <a:lnTo>
                    <a:pt x="12520" y="59655"/>
                  </a:lnTo>
                  <a:lnTo>
                    <a:pt x="12520" y="59655"/>
                  </a:lnTo>
                  <a:lnTo>
                    <a:pt x="12520" y="59655"/>
                  </a:lnTo>
                  <a:lnTo>
                    <a:pt x="12520" y="60344"/>
                  </a:lnTo>
                  <a:lnTo>
                    <a:pt x="12520" y="61379"/>
                  </a:lnTo>
                  <a:lnTo>
                    <a:pt x="12801" y="61379"/>
                  </a:lnTo>
                  <a:lnTo>
                    <a:pt x="13223" y="61379"/>
                  </a:lnTo>
                  <a:lnTo>
                    <a:pt x="13223" y="61379"/>
                  </a:lnTo>
                  <a:lnTo>
                    <a:pt x="13223" y="60344"/>
                  </a:lnTo>
                  <a:moveTo>
                    <a:pt x="12239" y="57241"/>
                  </a:moveTo>
                  <a:lnTo>
                    <a:pt x="12239" y="56551"/>
                  </a:lnTo>
                  <a:lnTo>
                    <a:pt x="11817" y="55517"/>
                  </a:lnTo>
                  <a:lnTo>
                    <a:pt x="11817" y="55517"/>
                  </a:lnTo>
                  <a:lnTo>
                    <a:pt x="11535" y="55517"/>
                  </a:lnTo>
                  <a:lnTo>
                    <a:pt x="11535" y="55517"/>
                  </a:lnTo>
                  <a:lnTo>
                    <a:pt x="11535" y="56551"/>
                  </a:lnTo>
                  <a:lnTo>
                    <a:pt x="11535" y="56551"/>
                  </a:lnTo>
                  <a:lnTo>
                    <a:pt x="11817" y="57241"/>
                  </a:lnTo>
                  <a:lnTo>
                    <a:pt x="11817" y="57241"/>
                  </a:lnTo>
                  <a:lnTo>
                    <a:pt x="12239" y="57931"/>
                  </a:lnTo>
                  <a:lnTo>
                    <a:pt x="12239" y="57931"/>
                  </a:lnTo>
                  <a:lnTo>
                    <a:pt x="12239" y="57241"/>
                  </a:lnTo>
                  <a:moveTo>
                    <a:pt x="80468" y="55517"/>
                  </a:moveTo>
                  <a:lnTo>
                    <a:pt x="80468" y="55517"/>
                  </a:lnTo>
                  <a:lnTo>
                    <a:pt x="80468" y="55517"/>
                  </a:lnTo>
                  <a:lnTo>
                    <a:pt x="80468" y="56551"/>
                  </a:lnTo>
                  <a:lnTo>
                    <a:pt x="80468" y="57241"/>
                  </a:lnTo>
                  <a:lnTo>
                    <a:pt x="80468" y="57241"/>
                  </a:lnTo>
                  <a:lnTo>
                    <a:pt x="80468" y="58965"/>
                  </a:lnTo>
                  <a:lnTo>
                    <a:pt x="80890" y="58965"/>
                  </a:lnTo>
                  <a:lnTo>
                    <a:pt x="80890" y="58965"/>
                  </a:lnTo>
                  <a:lnTo>
                    <a:pt x="80890" y="57931"/>
                  </a:lnTo>
                  <a:lnTo>
                    <a:pt x="80468" y="56551"/>
                  </a:lnTo>
                  <a:lnTo>
                    <a:pt x="80890" y="55517"/>
                  </a:lnTo>
                  <a:lnTo>
                    <a:pt x="80468" y="55517"/>
                  </a:lnTo>
                  <a:moveTo>
                    <a:pt x="80187" y="54827"/>
                  </a:moveTo>
                  <a:lnTo>
                    <a:pt x="80468" y="54827"/>
                  </a:lnTo>
                  <a:lnTo>
                    <a:pt x="81453" y="54827"/>
                  </a:lnTo>
                  <a:lnTo>
                    <a:pt x="81453" y="54137"/>
                  </a:lnTo>
                  <a:lnTo>
                    <a:pt x="80890" y="54137"/>
                  </a:lnTo>
                  <a:lnTo>
                    <a:pt x="80187" y="54137"/>
                  </a:lnTo>
                  <a:lnTo>
                    <a:pt x="79484" y="54137"/>
                  </a:lnTo>
                  <a:lnTo>
                    <a:pt x="79202" y="54137"/>
                  </a:lnTo>
                  <a:lnTo>
                    <a:pt x="79202" y="54137"/>
                  </a:lnTo>
                  <a:lnTo>
                    <a:pt x="79202" y="54827"/>
                  </a:lnTo>
                  <a:lnTo>
                    <a:pt x="79202" y="54827"/>
                  </a:lnTo>
                  <a:lnTo>
                    <a:pt x="79484" y="54827"/>
                  </a:lnTo>
                  <a:lnTo>
                    <a:pt x="80187" y="54827"/>
                  </a:lnTo>
                  <a:moveTo>
                    <a:pt x="90738" y="55517"/>
                  </a:moveTo>
                  <a:lnTo>
                    <a:pt x="91441" y="55517"/>
                  </a:lnTo>
                  <a:lnTo>
                    <a:pt x="91441" y="55517"/>
                  </a:lnTo>
                  <a:lnTo>
                    <a:pt x="91723" y="55517"/>
                  </a:lnTo>
                  <a:lnTo>
                    <a:pt x="91723" y="55517"/>
                  </a:lnTo>
                  <a:lnTo>
                    <a:pt x="92145" y="55517"/>
                  </a:lnTo>
                  <a:lnTo>
                    <a:pt x="92145" y="55517"/>
                  </a:lnTo>
                  <a:lnTo>
                    <a:pt x="92426" y="55517"/>
                  </a:lnTo>
                  <a:lnTo>
                    <a:pt x="92145" y="54827"/>
                  </a:lnTo>
                  <a:lnTo>
                    <a:pt x="92145" y="54827"/>
                  </a:lnTo>
                  <a:lnTo>
                    <a:pt x="92145" y="54827"/>
                  </a:lnTo>
                  <a:lnTo>
                    <a:pt x="92426" y="54137"/>
                  </a:lnTo>
                  <a:lnTo>
                    <a:pt x="92145" y="54137"/>
                  </a:lnTo>
                  <a:lnTo>
                    <a:pt x="92145" y="53103"/>
                  </a:lnTo>
                  <a:lnTo>
                    <a:pt x="92145" y="53103"/>
                  </a:lnTo>
                  <a:lnTo>
                    <a:pt x="91723" y="53103"/>
                  </a:lnTo>
                  <a:lnTo>
                    <a:pt x="91441" y="53103"/>
                  </a:lnTo>
                  <a:lnTo>
                    <a:pt x="91160" y="54137"/>
                  </a:lnTo>
                  <a:lnTo>
                    <a:pt x="90457" y="54827"/>
                  </a:lnTo>
                  <a:lnTo>
                    <a:pt x="90457" y="54827"/>
                  </a:lnTo>
                  <a:lnTo>
                    <a:pt x="90738" y="55517"/>
                  </a:lnTo>
                  <a:moveTo>
                    <a:pt x="78780" y="54137"/>
                  </a:moveTo>
                  <a:lnTo>
                    <a:pt x="78499" y="54137"/>
                  </a:lnTo>
                  <a:lnTo>
                    <a:pt x="78499" y="53103"/>
                  </a:lnTo>
                  <a:lnTo>
                    <a:pt x="78499" y="53103"/>
                  </a:lnTo>
                  <a:lnTo>
                    <a:pt x="78499" y="53103"/>
                  </a:lnTo>
                  <a:lnTo>
                    <a:pt x="78499" y="54137"/>
                  </a:lnTo>
                  <a:lnTo>
                    <a:pt x="78218" y="54137"/>
                  </a:lnTo>
                  <a:lnTo>
                    <a:pt x="78218" y="53103"/>
                  </a:lnTo>
                  <a:lnTo>
                    <a:pt x="77233" y="53103"/>
                  </a:lnTo>
                  <a:lnTo>
                    <a:pt x="76811" y="53103"/>
                  </a:lnTo>
                  <a:lnTo>
                    <a:pt x="76529" y="53103"/>
                  </a:lnTo>
                  <a:lnTo>
                    <a:pt x="76529" y="53103"/>
                  </a:lnTo>
                  <a:lnTo>
                    <a:pt x="76529" y="54827"/>
                  </a:lnTo>
                  <a:lnTo>
                    <a:pt x="76529" y="55517"/>
                  </a:lnTo>
                  <a:lnTo>
                    <a:pt x="76811" y="55517"/>
                  </a:lnTo>
                  <a:lnTo>
                    <a:pt x="77233" y="55517"/>
                  </a:lnTo>
                  <a:lnTo>
                    <a:pt x="77796" y="54827"/>
                  </a:lnTo>
                  <a:lnTo>
                    <a:pt x="78218" y="54827"/>
                  </a:lnTo>
                  <a:lnTo>
                    <a:pt x="78499" y="54827"/>
                  </a:lnTo>
                  <a:lnTo>
                    <a:pt x="78780" y="54827"/>
                  </a:lnTo>
                  <a:lnTo>
                    <a:pt x="78780" y="54137"/>
                  </a:lnTo>
                  <a:lnTo>
                    <a:pt x="78780" y="54137"/>
                  </a:lnTo>
                  <a:lnTo>
                    <a:pt x="78780" y="54137"/>
                  </a:lnTo>
                  <a:moveTo>
                    <a:pt x="107338" y="53103"/>
                  </a:moveTo>
                  <a:lnTo>
                    <a:pt x="106635" y="53103"/>
                  </a:lnTo>
                  <a:lnTo>
                    <a:pt x="106635" y="53103"/>
                  </a:lnTo>
                  <a:lnTo>
                    <a:pt x="105650" y="52413"/>
                  </a:lnTo>
                  <a:lnTo>
                    <a:pt x="105369" y="52413"/>
                  </a:lnTo>
                  <a:lnTo>
                    <a:pt x="105650" y="53103"/>
                  </a:lnTo>
                  <a:lnTo>
                    <a:pt x="106635" y="54137"/>
                  </a:lnTo>
                  <a:lnTo>
                    <a:pt x="107057" y="54137"/>
                  </a:lnTo>
                  <a:lnTo>
                    <a:pt x="107338" y="54827"/>
                  </a:lnTo>
                  <a:lnTo>
                    <a:pt x="107338" y="54827"/>
                  </a:lnTo>
                  <a:lnTo>
                    <a:pt x="107620" y="54827"/>
                  </a:lnTo>
                  <a:lnTo>
                    <a:pt x="108042" y="54827"/>
                  </a:lnTo>
                  <a:lnTo>
                    <a:pt x="108745" y="54827"/>
                  </a:lnTo>
                  <a:lnTo>
                    <a:pt x="108745" y="54137"/>
                  </a:lnTo>
                  <a:lnTo>
                    <a:pt x="109308" y="54137"/>
                  </a:lnTo>
                  <a:lnTo>
                    <a:pt x="109026" y="54137"/>
                  </a:lnTo>
                  <a:lnTo>
                    <a:pt x="108745" y="54137"/>
                  </a:lnTo>
                  <a:lnTo>
                    <a:pt x="108042" y="53103"/>
                  </a:lnTo>
                  <a:lnTo>
                    <a:pt x="107338" y="53103"/>
                  </a:lnTo>
                  <a:moveTo>
                    <a:pt x="26447" y="56551"/>
                  </a:moveTo>
                  <a:lnTo>
                    <a:pt x="26729" y="56551"/>
                  </a:lnTo>
                  <a:lnTo>
                    <a:pt x="27151" y="56551"/>
                  </a:lnTo>
                  <a:lnTo>
                    <a:pt x="27432" y="56551"/>
                  </a:lnTo>
                  <a:lnTo>
                    <a:pt x="27854" y="56551"/>
                  </a:lnTo>
                  <a:lnTo>
                    <a:pt x="27854" y="57241"/>
                  </a:lnTo>
                  <a:lnTo>
                    <a:pt x="27854" y="57931"/>
                  </a:lnTo>
                  <a:lnTo>
                    <a:pt x="28135" y="58965"/>
                  </a:lnTo>
                  <a:lnTo>
                    <a:pt x="28135" y="58965"/>
                  </a:lnTo>
                  <a:lnTo>
                    <a:pt x="28135" y="58965"/>
                  </a:lnTo>
                  <a:lnTo>
                    <a:pt x="28135" y="60344"/>
                  </a:lnTo>
                  <a:lnTo>
                    <a:pt x="28135" y="61379"/>
                  </a:lnTo>
                  <a:lnTo>
                    <a:pt x="28417" y="61379"/>
                  </a:lnTo>
                  <a:lnTo>
                    <a:pt x="28839" y="62068"/>
                  </a:lnTo>
                  <a:lnTo>
                    <a:pt x="29120" y="62068"/>
                  </a:lnTo>
                  <a:lnTo>
                    <a:pt x="29120" y="62068"/>
                  </a:lnTo>
                  <a:lnTo>
                    <a:pt x="29402" y="63103"/>
                  </a:lnTo>
                  <a:lnTo>
                    <a:pt x="29402" y="63103"/>
                  </a:lnTo>
                  <a:lnTo>
                    <a:pt x="29824" y="63103"/>
                  </a:lnTo>
                  <a:lnTo>
                    <a:pt x="29824" y="63103"/>
                  </a:lnTo>
                  <a:lnTo>
                    <a:pt x="30105" y="63103"/>
                  </a:lnTo>
                  <a:lnTo>
                    <a:pt x="30105" y="63103"/>
                  </a:lnTo>
                  <a:lnTo>
                    <a:pt x="30105" y="63103"/>
                  </a:lnTo>
                  <a:lnTo>
                    <a:pt x="30105" y="62068"/>
                  </a:lnTo>
                  <a:lnTo>
                    <a:pt x="30105" y="62068"/>
                  </a:lnTo>
                  <a:lnTo>
                    <a:pt x="30105" y="60344"/>
                  </a:lnTo>
                  <a:lnTo>
                    <a:pt x="30105" y="60344"/>
                  </a:lnTo>
                  <a:lnTo>
                    <a:pt x="30386" y="59655"/>
                  </a:lnTo>
                  <a:lnTo>
                    <a:pt x="30386" y="59655"/>
                  </a:lnTo>
                  <a:lnTo>
                    <a:pt x="29402" y="58965"/>
                  </a:lnTo>
                  <a:lnTo>
                    <a:pt x="29120" y="57241"/>
                  </a:lnTo>
                  <a:lnTo>
                    <a:pt x="28839" y="54827"/>
                  </a:lnTo>
                  <a:lnTo>
                    <a:pt x="28839" y="54137"/>
                  </a:lnTo>
                  <a:lnTo>
                    <a:pt x="28839" y="54137"/>
                  </a:lnTo>
                  <a:lnTo>
                    <a:pt x="28417" y="53103"/>
                  </a:lnTo>
                  <a:lnTo>
                    <a:pt x="28417" y="52413"/>
                  </a:lnTo>
                  <a:lnTo>
                    <a:pt x="28417" y="52413"/>
                  </a:lnTo>
                  <a:lnTo>
                    <a:pt x="28135" y="51379"/>
                  </a:lnTo>
                  <a:lnTo>
                    <a:pt x="28135" y="51379"/>
                  </a:lnTo>
                  <a:lnTo>
                    <a:pt x="27854" y="52413"/>
                  </a:lnTo>
                  <a:lnTo>
                    <a:pt x="27854" y="53103"/>
                  </a:lnTo>
                  <a:lnTo>
                    <a:pt x="27854" y="53103"/>
                  </a:lnTo>
                  <a:lnTo>
                    <a:pt x="27432" y="53103"/>
                  </a:lnTo>
                  <a:lnTo>
                    <a:pt x="27432" y="52413"/>
                  </a:lnTo>
                  <a:lnTo>
                    <a:pt x="27432" y="52413"/>
                  </a:lnTo>
                  <a:lnTo>
                    <a:pt x="27151" y="52413"/>
                  </a:lnTo>
                  <a:lnTo>
                    <a:pt x="26729" y="52413"/>
                  </a:lnTo>
                  <a:lnTo>
                    <a:pt x="26729" y="53103"/>
                  </a:lnTo>
                  <a:lnTo>
                    <a:pt x="26729" y="53103"/>
                  </a:lnTo>
                  <a:lnTo>
                    <a:pt x="26729" y="54137"/>
                  </a:lnTo>
                  <a:lnTo>
                    <a:pt x="26729" y="54137"/>
                  </a:lnTo>
                  <a:lnTo>
                    <a:pt x="26729" y="54827"/>
                  </a:lnTo>
                  <a:lnTo>
                    <a:pt x="26447" y="54827"/>
                  </a:lnTo>
                  <a:lnTo>
                    <a:pt x="26166" y="55517"/>
                  </a:lnTo>
                  <a:lnTo>
                    <a:pt x="26166" y="55517"/>
                  </a:lnTo>
                  <a:lnTo>
                    <a:pt x="26447" y="56551"/>
                  </a:lnTo>
                  <a:lnTo>
                    <a:pt x="26447" y="56551"/>
                  </a:lnTo>
                  <a:moveTo>
                    <a:pt x="74560" y="53103"/>
                  </a:moveTo>
                  <a:lnTo>
                    <a:pt x="74560" y="53103"/>
                  </a:lnTo>
                  <a:lnTo>
                    <a:pt x="74560" y="52413"/>
                  </a:lnTo>
                  <a:lnTo>
                    <a:pt x="74560" y="52413"/>
                  </a:lnTo>
                  <a:lnTo>
                    <a:pt x="74138" y="51379"/>
                  </a:lnTo>
                  <a:lnTo>
                    <a:pt x="74138" y="51379"/>
                  </a:lnTo>
                  <a:lnTo>
                    <a:pt x="74138" y="52413"/>
                  </a:lnTo>
                  <a:lnTo>
                    <a:pt x="74138" y="53103"/>
                  </a:lnTo>
                  <a:lnTo>
                    <a:pt x="74138" y="53103"/>
                  </a:lnTo>
                  <a:lnTo>
                    <a:pt x="74560" y="53103"/>
                  </a:lnTo>
                  <a:moveTo>
                    <a:pt x="84830" y="53103"/>
                  </a:moveTo>
                  <a:lnTo>
                    <a:pt x="85533" y="53103"/>
                  </a:lnTo>
                  <a:lnTo>
                    <a:pt x="85814" y="53103"/>
                  </a:lnTo>
                  <a:lnTo>
                    <a:pt x="86096" y="53103"/>
                  </a:lnTo>
                  <a:lnTo>
                    <a:pt x="86096" y="53103"/>
                  </a:lnTo>
                  <a:lnTo>
                    <a:pt x="86518" y="53103"/>
                  </a:lnTo>
                  <a:lnTo>
                    <a:pt x="86518" y="52413"/>
                  </a:lnTo>
                  <a:lnTo>
                    <a:pt x="86096" y="52413"/>
                  </a:lnTo>
                  <a:lnTo>
                    <a:pt x="85814" y="51379"/>
                  </a:lnTo>
                  <a:lnTo>
                    <a:pt x="85533" y="50689"/>
                  </a:lnTo>
                  <a:lnTo>
                    <a:pt x="85111" y="50689"/>
                  </a:lnTo>
                  <a:lnTo>
                    <a:pt x="84830" y="50689"/>
                  </a:lnTo>
                  <a:lnTo>
                    <a:pt x="84548" y="51379"/>
                  </a:lnTo>
                  <a:lnTo>
                    <a:pt x="84548" y="52413"/>
                  </a:lnTo>
                  <a:lnTo>
                    <a:pt x="84548" y="53103"/>
                  </a:lnTo>
                  <a:lnTo>
                    <a:pt x="84548" y="53103"/>
                  </a:lnTo>
                  <a:lnTo>
                    <a:pt x="84830" y="53103"/>
                  </a:lnTo>
                  <a:moveTo>
                    <a:pt x="74138" y="50689"/>
                  </a:moveTo>
                  <a:lnTo>
                    <a:pt x="74138" y="50689"/>
                  </a:lnTo>
                  <a:lnTo>
                    <a:pt x="74138" y="50000"/>
                  </a:lnTo>
                  <a:lnTo>
                    <a:pt x="74138" y="50000"/>
                  </a:lnTo>
                  <a:lnTo>
                    <a:pt x="73856" y="50000"/>
                  </a:lnTo>
                  <a:lnTo>
                    <a:pt x="73575" y="50689"/>
                  </a:lnTo>
                  <a:lnTo>
                    <a:pt x="73575" y="50689"/>
                  </a:lnTo>
                  <a:lnTo>
                    <a:pt x="73575" y="50000"/>
                  </a:lnTo>
                  <a:lnTo>
                    <a:pt x="73575" y="48965"/>
                  </a:lnTo>
                  <a:lnTo>
                    <a:pt x="73153" y="48965"/>
                  </a:lnTo>
                  <a:lnTo>
                    <a:pt x="72872" y="50000"/>
                  </a:lnTo>
                  <a:lnTo>
                    <a:pt x="72590" y="50000"/>
                  </a:lnTo>
                  <a:lnTo>
                    <a:pt x="72590" y="50000"/>
                  </a:lnTo>
                  <a:lnTo>
                    <a:pt x="72590" y="51379"/>
                  </a:lnTo>
                  <a:lnTo>
                    <a:pt x="72590" y="52413"/>
                  </a:lnTo>
                  <a:lnTo>
                    <a:pt x="72590" y="52413"/>
                  </a:lnTo>
                  <a:lnTo>
                    <a:pt x="72872" y="52413"/>
                  </a:lnTo>
                  <a:lnTo>
                    <a:pt x="73153" y="50689"/>
                  </a:lnTo>
                  <a:lnTo>
                    <a:pt x="73153" y="50689"/>
                  </a:lnTo>
                  <a:lnTo>
                    <a:pt x="73575" y="51379"/>
                  </a:lnTo>
                  <a:lnTo>
                    <a:pt x="73153" y="52413"/>
                  </a:lnTo>
                  <a:lnTo>
                    <a:pt x="73153" y="52413"/>
                  </a:lnTo>
                  <a:lnTo>
                    <a:pt x="73153" y="52413"/>
                  </a:lnTo>
                  <a:lnTo>
                    <a:pt x="73575" y="52413"/>
                  </a:lnTo>
                  <a:lnTo>
                    <a:pt x="73575" y="52413"/>
                  </a:lnTo>
                  <a:lnTo>
                    <a:pt x="73575" y="51379"/>
                  </a:lnTo>
                  <a:lnTo>
                    <a:pt x="73856" y="51379"/>
                  </a:lnTo>
                  <a:lnTo>
                    <a:pt x="73856" y="51379"/>
                  </a:lnTo>
                  <a:lnTo>
                    <a:pt x="74138" y="51379"/>
                  </a:lnTo>
                  <a:lnTo>
                    <a:pt x="74138" y="51379"/>
                  </a:lnTo>
                  <a:lnTo>
                    <a:pt x="74138" y="50689"/>
                  </a:lnTo>
                  <a:moveTo>
                    <a:pt x="38124" y="48275"/>
                  </a:moveTo>
                  <a:lnTo>
                    <a:pt x="37702" y="48275"/>
                  </a:lnTo>
                  <a:lnTo>
                    <a:pt x="37420" y="48275"/>
                  </a:lnTo>
                  <a:lnTo>
                    <a:pt x="37420" y="50000"/>
                  </a:lnTo>
                  <a:lnTo>
                    <a:pt x="37420" y="50000"/>
                  </a:lnTo>
                  <a:lnTo>
                    <a:pt x="37702" y="50000"/>
                  </a:lnTo>
                  <a:lnTo>
                    <a:pt x="38124" y="50000"/>
                  </a:lnTo>
                  <a:lnTo>
                    <a:pt x="38405" y="48965"/>
                  </a:lnTo>
                  <a:lnTo>
                    <a:pt x="38405" y="48965"/>
                  </a:lnTo>
                  <a:lnTo>
                    <a:pt x="38405" y="48275"/>
                  </a:lnTo>
                  <a:lnTo>
                    <a:pt x="38124" y="48275"/>
                  </a:lnTo>
                  <a:lnTo>
                    <a:pt x="38124" y="48275"/>
                  </a:lnTo>
                  <a:moveTo>
                    <a:pt x="10550" y="52413"/>
                  </a:moveTo>
                  <a:lnTo>
                    <a:pt x="10550" y="51379"/>
                  </a:lnTo>
                  <a:lnTo>
                    <a:pt x="10550" y="51379"/>
                  </a:lnTo>
                  <a:lnTo>
                    <a:pt x="10550" y="50689"/>
                  </a:lnTo>
                  <a:lnTo>
                    <a:pt x="10550" y="50689"/>
                  </a:lnTo>
                  <a:lnTo>
                    <a:pt x="10269" y="50000"/>
                  </a:lnTo>
                  <a:lnTo>
                    <a:pt x="10269" y="48275"/>
                  </a:lnTo>
                  <a:lnTo>
                    <a:pt x="9847" y="48275"/>
                  </a:lnTo>
                  <a:lnTo>
                    <a:pt x="9847" y="47586"/>
                  </a:lnTo>
                  <a:lnTo>
                    <a:pt x="9284" y="48275"/>
                  </a:lnTo>
                  <a:lnTo>
                    <a:pt x="9284" y="50000"/>
                  </a:lnTo>
                  <a:lnTo>
                    <a:pt x="9284" y="50000"/>
                  </a:lnTo>
                  <a:lnTo>
                    <a:pt x="9566" y="52413"/>
                  </a:lnTo>
                  <a:lnTo>
                    <a:pt x="9566" y="52413"/>
                  </a:lnTo>
                  <a:lnTo>
                    <a:pt x="9847" y="53103"/>
                  </a:lnTo>
                  <a:lnTo>
                    <a:pt x="10269" y="54137"/>
                  </a:lnTo>
                  <a:lnTo>
                    <a:pt x="10550" y="54137"/>
                  </a:lnTo>
                  <a:lnTo>
                    <a:pt x="10832" y="54137"/>
                  </a:lnTo>
                  <a:lnTo>
                    <a:pt x="10832" y="53103"/>
                  </a:lnTo>
                  <a:lnTo>
                    <a:pt x="10550" y="52413"/>
                  </a:lnTo>
                  <a:moveTo>
                    <a:pt x="93130" y="48965"/>
                  </a:moveTo>
                  <a:lnTo>
                    <a:pt x="93130" y="48965"/>
                  </a:lnTo>
                  <a:lnTo>
                    <a:pt x="93411" y="50000"/>
                  </a:lnTo>
                  <a:lnTo>
                    <a:pt x="93411" y="50689"/>
                  </a:lnTo>
                  <a:lnTo>
                    <a:pt x="93833" y="50689"/>
                  </a:lnTo>
                  <a:lnTo>
                    <a:pt x="93833" y="50689"/>
                  </a:lnTo>
                  <a:lnTo>
                    <a:pt x="94114" y="50000"/>
                  </a:lnTo>
                  <a:lnTo>
                    <a:pt x="94114" y="48275"/>
                  </a:lnTo>
                  <a:lnTo>
                    <a:pt x="94114" y="47586"/>
                  </a:lnTo>
                  <a:lnTo>
                    <a:pt x="93833" y="47586"/>
                  </a:lnTo>
                  <a:lnTo>
                    <a:pt x="93833" y="47586"/>
                  </a:lnTo>
                  <a:lnTo>
                    <a:pt x="93130" y="48275"/>
                  </a:lnTo>
                  <a:lnTo>
                    <a:pt x="93130" y="48275"/>
                  </a:lnTo>
                  <a:lnTo>
                    <a:pt x="93130" y="48275"/>
                  </a:lnTo>
                  <a:lnTo>
                    <a:pt x="93130" y="48965"/>
                  </a:lnTo>
                  <a:moveTo>
                    <a:pt x="105369" y="46551"/>
                  </a:moveTo>
                  <a:lnTo>
                    <a:pt x="105650" y="46551"/>
                  </a:lnTo>
                  <a:lnTo>
                    <a:pt x="105650" y="46551"/>
                  </a:lnTo>
                  <a:lnTo>
                    <a:pt x="105650" y="46551"/>
                  </a:lnTo>
                  <a:lnTo>
                    <a:pt x="106072" y="47586"/>
                  </a:lnTo>
                  <a:lnTo>
                    <a:pt x="106354" y="46551"/>
                  </a:lnTo>
                  <a:lnTo>
                    <a:pt x="106354" y="48275"/>
                  </a:lnTo>
                  <a:lnTo>
                    <a:pt x="106354" y="48965"/>
                  </a:lnTo>
                  <a:lnTo>
                    <a:pt x="106635" y="50000"/>
                  </a:lnTo>
                  <a:lnTo>
                    <a:pt x="107057" y="48965"/>
                  </a:lnTo>
                  <a:lnTo>
                    <a:pt x="107338" y="50000"/>
                  </a:lnTo>
                  <a:lnTo>
                    <a:pt x="107338" y="50000"/>
                  </a:lnTo>
                  <a:lnTo>
                    <a:pt x="107620" y="50000"/>
                  </a:lnTo>
                  <a:lnTo>
                    <a:pt x="108042" y="48965"/>
                  </a:lnTo>
                  <a:lnTo>
                    <a:pt x="107620" y="48965"/>
                  </a:lnTo>
                  <a:lnTo>
                    <a:pt x="107338" y="48275"/>
                  </a:lnTo>
                  <a:lnTo>
                    <a:pt x="107057" y="47586"/>
                  </a:lnTo>
                  <a:lnTo>
                    <a:pt x="106635" y="46551"/>
                  </a:lnTo>
                  <a:lnTo>
                    <a:pt x="106635" y="45862"/>
                  </a:lnTo>
                  <a:lnTo>
                    <a:pt x="106354" y="46551"/>
                  </a:lnTo>
                  <a:lnTo>
                    <a:pt x="106072" y="45862"/>
                  </a:lnTo>
                  <a:lnTo>
                    <a:pt x="106072" y="45862"/>
                  </a:lnTo>
                  <a:lnTo>
                    <a:pt x="105369" y="45862"/>
                  </a:lnTo>
                  <a:lnTo>
                    <a:pt x="105369" y="45862"/>
                  </a:lnTo>
                  <a:lnTo>
                    <a:pt x="105369" y="46551"/>
                  </a:lnTo>
                  <a:moveTo>
                    <a:pt x="83845" y="45862"/>
                  </a:moveTo>
                  <a:lnTo>
                    <a:pt x="83845" y="46551"/>
                  </a:lnTo>
                  <a:lnTo>
                    <a:pt x="83845" y="46551"/>
                  </a:lnTo>
                  <a:lnTo>
                    <a:pt x="84126" y="46551"/>
                  </a:lnTo>
                  <a:lnTo>
                    <a:pt x="84126" y="46551"/>
                  </a:lnTo>
                  <a:lnTo>
                    <a:pt x="84126" y="46551"/>
                  </a:lnTo>
                  <a:lnTo>
                    <a:pt x="84126" y="45862"/>
                  </a:lnTo>
                  <a:lnTo>
                    <a:pt x="83845" y="45862"/>
                  </a:lnTo>
                  <a:moveTo>
                    <a:pt x="119296" y="59655"/>
                  </a:moveTo>
                  <a:lnTo>
                    <a:pt x="119296" y="58965"/>
                  </a:lnTo>
                  <a:lnTo>
                    <a:pt x="119015" y="58965"/>
                  </a:lnTo>
                  <a:lnTo>
                    <a:pt x="119015" y="58965"/>
                  </a:lnTo>
                  <a:lnTo>
                    <a:pt x="118030" y="58965"/>
                  </a:lnTo>
                  <a:lnTo>
                    <a:pt x="118030" y="58965"/>
                  </a:lnTo>
                  <a:lnTo>
                    <a:pt x="118030" y="57931"/>
                  </a:lnTo>
                  <a:lnTo>
                    <a:pt x="117608" y="57931"/>
                  </a:lnTo>
                  <a:lnTo>
                    <a:pt x="116905" y="57931"/>
                  </a:lnTo>
                  <a:lnTo>
                    <a:pt x="116623" y="57931"/>
                  </a:lnTo>
                  <a:lnTo>
                    <a:pt x="115920" y="57241"/>
                  </a:lnTo>
                  <a:lnTo>
                    <a:pt x="115357" y="56551"/>
                  </a:lnTo>
                  <a:lnTo>
                    <a:pt x="114935" y="55517"/>
                  </a:lnTo>
                  <a:lnTo>
                    <a:pt x="114935" y="55517"/>
                  </a:lnTo>
                  <a:lnTo>
                    <a:pt x="114654" y="55517"/>
                  </a:lnTo>
                  <a:lnTo>
                    <a:pt x="114372" y="54827"/>
                  </a:lnTo>
                  <a:lnTo>
                    <a:pt x="113950" y="54827"/>
                  </a:lnTo>
                  <a:lnTo>
                    <a:pt x="113950" y="54137"/>
                  </a:lnTo>
                  <a:lnTo>
                    <a:pt x="112262" y="52413"/>
                  </a:lnTo>
                  <a:lnTo>
                    <a:pt x="112262" y="52413"/>
                  </a:lnTo>
                  <a:lnTo>
                    <a:pt x="111981" y="51379"/>
                  </a:lnTo>
                  <a:lnTo>
                    <a:pt x="111699" y="51379"/>
                  </a:lnTo>
                  <a:lnTo>
                    <a:pt x="110996" y="52413"/>
                  </a:lnTo>
                  <a:lnTo>
                    <a:pt x="110715" y="53103"/>
                  </a:lnTo>
                  <a:lnTo>
                    <a:pt x="110011" y="54137"/>
                  </a:lnTo>
                  <a:lnTo>
                    <a:pt x="109730" y="54137"/>
                  </a:lnTo>
                  <a:lnTo>
                    <a:pt x="109730" y="54827"/>
                  </a:lnTo>
                  <a:lnTo>
                    <a:pt x="110011" y="55517"/>
                  </a:lnTo>
                  <a:lnTo>
                    <a:pt x="110011" y="55517"/>
                  </a:lnTo>
                  <a:lnTo>
                    <a:pt x="109730" y="56551"/>
                  </a:lnTo>
                  <a:lnTo>
                    <a:pt x="109026" y="57241"/>
                  </a:lnTo>
                  <a:lnTo>
                    <a:pt x="108323" y="57241"/>
                  </a:lnTo>
                  <a:lnTo>
                    <a:pt x="108042" y="57241"/>
                  </a:lnTo>
                  <a:lnTo>
                    <a:pt x="107620" y="57931"/>
                  </a:lnTo>
                  <a:lnTo>
                    <a:pt x="107620" y="58965"/>
                  </a:lnTo>
                  <a:lnTo>
                    <a:pt x="107620" y="59655"/>
                  </a:lnTo>
                  <a:lnTo>
                    <a:pt x="107338" y="59655"/>
                  </a:lnTo>
                  <a:lnTo>
                    <a:pt x="106635" y="60344"/>
                  </a:lnTo>
                  <a:lnTo>
                    <a:pt x="106635" y="61379"/>
                  </a:lnTo>
                  <a:lnTo>
                    <a:pt x="106635" y="62068"/>
                  </a:lnTo>
                  <a:lnTo>
                    <a:pt x="106354" y="63103"/>
                  </a:lnTo>
                  <a:lnTo>
                    <a:pt x="105650" y="63793"/>
                  </a:lnTo>
                  <a:lnTo>
                    <a:pt x="105650" y="64482"/>
                  </a:lnTo>
                  <a:lnTo>
                    <a:pt x="105369" y="65517"/>
                  </a:lnTo>
                  <a:lnTo>
                    <a:pt x="105087" y="65517"/>
                  </a:lnTo>
                  <a:lnTo>
                    <a:pt x="104665" y="65517"/>
                  </a:lnTo>
                  <a:lnTo>
                    <a:pt x="104384" y="65517"/>
                  </a:lnTo>
                  <a:lnTo>
                    <a:pt x="104384" y="65517"/>
                  </a:lnTo>
                  <a:lnTo>
                    <a:pt x="104103" y="64482"/>
                  </a:lnTo>
                  <a:lnTo>
                    <a:pt x="103681" y="64482"/>
                  </a:lnTo>
                  <a:lnTo>
                    <a:pt x="103681" y="63793"/>
                  </a:lnTo>
                  <a:lnTo>
                    <a:pt x="103681" y="63103"/>
                  </a:lnTo>
                  <a:lnTo>
                    <a:pt x="103681" y="62068"/>
                  </a:lnTo>
                  <a:lnTo>
                    <a:pt x="103681" y="62068"/>
                  </a:lnTo>
                  <a:lnTo>
                    <a:pt x="103399" y="62068"/>
                  </a:lnTo>
                  <a:lnTo>
                    <a:pt x="103399" y="60344"/>
                  </a:lnTo>
                  <a:lnTo>
                    <a:pt x="103399" y="59655"/>
                  </a:lnTo>
                  <a:lnTo>
                    <a:pt x="103399" y="59655"/>
                  </a:lnTo>
                  <a:lnTo>
                    <a:pt x="103118" y="58965"/>
                  </a:lnTo>
                  <a:lnTo>
                    <a:pt x="103118" y="59655"/>
                  </a:lnTo>
                  <a:lnTo>
                    <a:pt x="102696" y="59655"/>
                  </a:lnTo>
                  <a:lnTo>
                    <a:pt x="102696" y="60344"/>
                  </a:lnTo>
                  <a:lnTo>
                    <a:pt x="102696" y="61379"/>
                  </a:lnTo>
                  <a:lnTo>
                    <a:pt x="102415" y="59655"/>
                  </a:lnTo>
                  <a:lnTo>
                    <a:pt x="101992" y="57931"/>
                  </a:lnTo>
                  <a:lnTo>
                    <a:pt x="101992" y="57241"/>
                  </a:lnTo>
                  <a:lnTo>
                    <a:pt x="101992" y="56551"/>
                  </a:lnTo>
                  <a:lnTo>
                    <a:pt x="101992" y="55517"/>
                  </a:lnTo>
                  <a:lnTo>
                    <a:pt x="101992" y="54137"/>
                  </a:lnTo>
                  <a:lnTo>
                    <a:pt x="101992" y="53103"/>
                  </a:lnTo>
                  <a:lnTo>
                    <a:pt x="101992" y="53103"/>
                  </a:lnTo>
                  <a:lnTo>
                    <a:pt x="102415" y="52413"/>
                  </a:lnTo>
                  <a:lnTo>
                    <a:pt x="102415" y="51379"/>
                  </a:lnTo>
                  <a:lnTo>
                    <a:pt x="102415" y="50689"/>
                  </a:lnTo>
                  <a:lnTo>
                    <a:pt x="102415" y="50689"/>
                  </a:lnTo>
                  <a:lnTo>
                    <a:pt x="101992" y="50000"/>
                  </a:lnTo>
                  <a:lnTo>
                    <a:pt x="101992" y="48965"/>
                  </a:lnTo>
                  <a:lnTo>
                    <a:pt x="101992" y="48275"/>
                  </a:lnTo>
                  <a:lnTo>
                    <a:pt x="101992" y="47586"/>
                  </a:lnTo>
                  <a:lnTo>
                    <a:pt x="101992" y="47586"/>
                  </a:lnTo>
                  <a:lnTo>
                    <a:pt x="101711" y="46551"/>
                  </a:lnTo>
                  <a:lnTo>
                    <a:pt x="101711" y="46551"/>
                  </a:lnTo>
                  <a:lnTo>
                    <a:pt x="101430" y="46551"/>
                  </a:lnTo>
                  <a:lnTo>
                    <a:pt x="101008" y="46551"/>
                  </a:lnTo>
                  <a:lnTo>
                    <a:pt x="100445" y="46551"/>
                  </a:lnTo>
                  <a:lnTo>
                    <a:pt x="99742" y="45862"/>
                  </a:lnTo>
                  <a:lnTo>
                    <a:pt x="99460" y="44827"/>
                  </a:lnTo>
                  <a:lnTo>
                    <a:pt x="98757" y="44137"/>
                  </a:lnTo>
                  <a:lnTo>
                    <a:pt x="98053" y="43448"/>
                  </a:lnTo>
                  <a:lnTo>
                    <a:pt x="97772" y="43448"/>
                  </a:lnTo>
                  <a:lnTo>
                    <a:pt x="97350" y="43448"/>
                  </a:lnTo>
                  <a:lnTo>
                    <a:pt x="96787" y="44137"/>
                  </a:lnTo>
                  <a:lnTo>
                    <a:pt x="96787" y="44137"/>
                  </a:lnTo>
                  <a:lnTo>
                    <a:pt x="96787" y="44827"/>
                  </a:lnTo>
                  <a:lnTo>
                    <a:pt x="96365" y="44827"/>
                  </a:lnTo>
                  <a:lnTo>
                    <a:pt x="96084" y="45862"/>
                  </a:lnTo>
                  <a:lnTo>
                    <a:pt x="96084" y="45862"/>
                  </a:lnTo>
                  <a:lnTo>
                    <a:pt x="95099" y="46551"/>
                  </a:lnTo>
                  <a:lnTo>
                    <a:pt x="94818" y="46551"/>
                  </a:lnTo>
                  <a:lnTo>
                    <a:pt x="94396" y="47586"/>
                  </a:lnTo>
                  <a:lnTo>
                    <a:pt x="94396" y="47586"/>
                  </a:lnTo>
                  <a:lnTo>
                    <a:pt x="94396" y="48275"/>
                  </a:lnTo>
                  <a:lnTo>
                    <a:pt x="94396" y="48275"/>
                  </a:lnTo>
                  <a:lnTo>
                    <a:pt x="94396" y="48965"/>
                  </a:lnTo>
                  <a:lnTo>
                    <a:pt x="94114" y="50000"/>
                  </a:lnTo>
                  <a:lnTo>
                    <a:pt x="94114" y="50000"/>
                  </a:lnTo>
                  <a:lnTo>
                    <a:pt x="94114" y="50000"/>
                  </a:lnTo>
                  <a:lnTo>
                    <a:pt x="93833" y="50689"/>
                  </a:lnTo>
                  <a:lnTo>
                    <a:pt x="93833" y="51379"/>
                  </a:lnTo>
                  <a:lnTo>
                    <a:pt x="94114" y="51379"/>
                  </a:lnTo>
                  <a:lnTo>
                    <a:pt x="94114" y="51379"/>
                  </a:lnTo>
                  <a:lnTo>
                    <a:pt x="94396" y="51379"/>
                  </a:lnTo>
                  <a:lnTo>
                    <a:pt x="94396" y="51379"/>
                  </a:lnTo>
                  <a:lnTo>
                    <a:pt x="94818" y="50689"/>
                  </a:lnTo>
                  <a:lnTo>
                    <a:pt x="95803" y="52413"/>
                  </a:lnTo>
                  <a:lnTo>
                    <a:pt x="96084" y="52413"/>
                  </a:lnTo>
                  <a:lnTo>
                    <a:pt x="96365" y="52413"/>
                  </a:lnTo>
                  <a:lnTo>
                    <a:pt x="96365" y="53103"/>
                  </a:lnTo>
                  <a:lnTo>
                    <a:pt x="96365" y="54827"/>
                  </a:lnTo>
                  <a:lnTo>
                    <a:pt x="96365" y="55517"/>
                  </a:lnTo>
                  <a:lnTo>
                    <a:pt x="96787" y="55517"/>
                  </a:lnTo>
                  <a:lnTo>
                    <a:pt x="96787" y="56551"/>
                  </a:lnTo>
                  <a:lnTo>
                    <a:pt x="97069" y="56551"/>
                  </a:lnTo>
                  <a:lnTo>
                    <a:pt x="97069" y="57241"/>
                  </a:lnTo>
                  <a:lnTo>
                    <a:pt x="97350" y="57241"/>
                  </a:lnTo>
                  <a:lnTo>
                    <a:pt x="97772" y="57241"/>
                  </a:lnTo>
                  <a:lnTo>
                    <a:pt x="98053" y="57241"/>
                  </a:lnTo>
                  <a:lnTo>
                    <a:pt x="98757" y="57241"/>
                  </a:lnTo>
                  <a:lnTo>
                    <a:pt x="99038" y="57241"/>
                  </a:lnTo>
                  <a:lnTo>
                    <a:pt x="99742" y="57241"/>
                  </a:lnTo>
                  <a:lnTo>
                    <a:pt x="100023" y="57241"/>
                  </a:lnTo>
                  <a:lnTo>
                    <a:pt x="100445" y="57241"/>
                  </a:lnTo>
                  <a:lnTo>
                    <a:pt x="100726" y="57241"/>
                  </a:lnTo>
                  <a:lnTo>
                    <a:pt x="101430" y="56551"/>
                  </a:lnTo>
                  <a:lnTo>
                    <a:pt x="101430" y="56551"/>
                  </a:lnTo>
                  <a:lnTo>
                    <a:pt x="101430" y="57241"/>
                  </a:lnTo>
                  <a:lnTo>
                    <a:pt x="101430" y="57241"/>
                  </a:lnTo>
                  <a:lnTo>
                    <a:pt x="101008" y="57931"/>
                  </a:lnTo>
                  <a:lnTo>
                    <a:pt x="101430" y="57931"/>
                  </a:lnTo>
                  <a:lnTo>
                    <a:pt x="101430" y="57931"/>
                  </a:lnTo>
                  <a:lnTo>
                    <a:pt x="101430" y="58965"/>
                  </a:lnTo>
                  <a:lnTo>
                    <a:pt x="101008" y="58965"/>
                  </a:lnTo>
                  <a:lnTo>
                    <a:pt x="101008" y="58965"/>
                  </a:lnTo>
                  <a:lnTo>
                    <a:pt x="100726" y="59655"/>
                  </a:lnTo>
                  <a:lnTo>
                    <a:pt x="100726" y="59655"/>
                  </a:lnTo>
                  <a:lnTo>
                    <a:pt x="100726" y="59655"/>
                  </a:lnTo>
                  <a:lnTo>
                    <a:pt x="100726" y="59655"/>
                  </a:lnTo>
                  <a:lnTo>
                    <a:pt x="100445" y="59655"/>
                  </a:lnTo>
                  <a:lnTo>
                    <a:pt x="100023" y="58965"/>
                  </a:lnTo>
                  <a:lnTo>
                    <a:pt x="99742" y="58965"/>
                  </a:lnTo>
                  <a:lnTo>
                    <a:pt x="99460" y="58965"/>
                  </a:lnTo>
                  <a:lnTo>
                    <a:pt x="99460" y="58965"/>
                  </a:lnTo>
                  <a:lnTo>
                    <a:pt x="99038" y="58965"/>
                  </a:lnTo>
                  <a:lnTo>
                    <a:pt x="98757" y="60344"/>
                  </a:lnTo>
                  <a:lnTo>
                    <a:pt x="98475" y="61379"/>
                  </a:lnTo>
                  <a:lnTo>
                    <a:pt x="98053" y="61379"/>
                  </a:lnTo>
                  <a:lnTo>
                    <a:pt x="97772" y="60344"/>
                  </a:lnTo>
                  <a:lnTo>
                    <a:pt x="97069" y="60344"/>
                  </a:lnTo>
                  <a:lnTo>
                    <a:pt x="97069" y="60344"/>
                  </a:lnTo>
                  <a:lnTo>
                    <a:pt x="96365" y="61379"/>
                  </a:lnTo>
                  <a:lnTo>
                    <a:pt x="96365" y="61379"/>
                  </a:lnTo>
                  <a:lnTo>
                    <a:pt x="96365" y="62068"/>
                  </a:lnTo>
                  <a:lnTo>
                    <a:pt x="96365" y="62068"/>
                  </a:lnTo>
                  <a:lnTo>
                    <a:pt x="96787" y="62068"/>
                  </a:lnTo>
                  <a:lnTo>
                    <a:pt x="97069" y="62068"/>
                  </a:lnTo>
                  <a:lnTo>
                    <a:pt x="97350" y="63103"/>
                  </a:lnTo>
                  <a:lnTo>
                    <a:pt x="97772" y="63793"/>
                  </a:lnTo>
                  <a:lnTo>
                    <a:pt x="98475" y="64482"/>
                  </a:lnTo>
                  <a:lnTo>
                    <a:pt x="98475" y="66206"/>
                  </a:lnTo>
                  <a:lnTo>
                    <a:pt x="98475" y="66896"/>
                  </a:lnTo>
                  <a:lnTo>
                    <a:pt x="98053" y="67931"/>
                  </a:lnTo>
                  <a:lnTo>
                    <a:pt x="98475" y="68620"/>
                  </a:lnTo>
                  <a:lnTo>
                    <a:pt x="98475" y="69310"/>
                  </a:lnTo>
                  <a:lnTo>
                    <a:pt x="98475" y="70344"/>
                  </a:lnTo>
                  <a:lnTo>
                    <a:pt x="98757" y="70344"/>
                  </a:lnTo>
                  <a:lnTo>
                    <a:pt x="98757" y="71034"/>
                  </a:lnTo>
                  <a:lnTo>
                    <a:pt x="99038" y="70344"/>
                  </a:lnTo>
                  <a:lnTo>
                    <a:pt x="99460" y="70344"/>
                  </a:lnTo>
                  <a:lnTo>
                    <a:pt x="99460" y="70344"/>
                  </a:lnTo>
                  <a:lnTo>
                    <a:pt x="99742" y="69310"/>
                  </a:lnTo>
                  <a:lnTo>
                    <a:pt x="100023" y="68620"/>
                  </a:lnTo>
                  <a:lnTo>
                    <a:pt x="100023" y="68620"/>
                  </a:lnTo>
                  <a:lnTo>
                    <a:pt x="100023" y="67931"/>
                  </a:lnTo>
                  <a:lnTo>
                    <a:pt x="100023" y="66896"/>
                  </a:lnTo>
                  <a:lnTo>
                    <a:pt x="100445" y="66206"/>
                  </a:lnTo>
                  <a:lnTo>
                    <a:pt x="100445" y="65517"/>
                  </a:lnTo>
                  <a:lnTo>
                    <a:pt x="100445" y="66206"/>
                  </a:lnTo>
                  <a:lnTo>
                    <a:pt x="100726" y="65517"/>
                  </a:lnTo>
                  <a:lnTo>
                    <a:pt x="100726" y="63793"/>
                  </a:lnTo>
                  <a:lnTo>
                    <a:pt x="100726" y="63793"/>
                  </a:lnTo>
                  <a:lnTo>
                    <a:pt x="100726" y="63793"/>
                  </a:lnTo>
                  <a:lnTo>
                    <a:pt x="101008" y="63103"/>
                  </a:lnTo>
                  <a:lnTo>
                    <a:pt x="101008" y="63103"/>
                  </a:lnTo>
                  <a:lnTo>
                    <a:pt x="101008" y="63793"/>
                  </a:lnTo>
                  <a:lnTo>
                    <a:pt x="100726" y="64482"/>
                  </a:lnTo>
                  <a:lnTo>
                    <a:pt x="100726" y="65517"/>
                  </a:lnTo>
                  <a:lnTo>
                    <a:pt x="100726" y="66206"/>
                  </a:lnTo>
                  <a:lnTo>
                    <a:pt x="100726" y="66896"/>
                  </a:lnTo>
                  <a:lnTo>
                    <a:pt x="101008" y="67931"/>
                  </a:lnTo>
                  <a:lnTo>
                    <a:pt x="101008" y="67931"/>
                  </a:lnTo>
                  <a:lnTo>
                    <a:pt x="101008" y="67931"/>
                  </a:lnTo>
                  <a:lnTo>
                    <a:pt x="101430" y="68620"/>
                  </a:lnTo>
                  <a:lnTo>
                    <a:pt x="101430" y="68620"/>
                  </a:lnTo>
                  <a:lnTo>
                    <a:pt x="101711" y="68620"/>
                  </a:lnTo>
                  <a:lnTo>
                    <a:pt x="101711" y="68620"/>
                  </a:lnTo>
                  <a:lnTo>
                    <a:pt x="101711" y="68620"/>
                  </a:lnTo>
                  <a:lnTo>
                    <a:pt x="101992" y="68620"/>
                  </a:lnTo>
                  <a:lnTo>
                    <a:pt x="101992" y="69310"/>
                  </a:lnTo>
                  <a:lnTo>
                    <a:pt x="101992" y="69310"/>
                  </a:lnTo>
                  <a:lnTo>
                    <a:pt x="102415" y="69310"/>
                  </a:lnTo>
                  <a:lnTo>
                    <a:pt x="102696" y="69310"/>
                  </a:lnTo>
                  <a:lnTo>
                    <a:pt x="102696" y="70344"/>
                  </a:lnTo>
                  <a:lnTo>
                    <a:pt x="103118" y="70344"/>
                  </a:lnTo>
                  <a:lnTo>
                    <a:pt x="103399" y="69310"/>
                  </a:lnTo>
                  <a:lnTo>
                    <a:pt x="103399" y="69310"/>
                  </a:lnTo>
                  <a:lnTo>
                    <a:pt x="103681" y="69310"/>
                  </a:lnTo>
                  <a:lnTo>
                    <a:pt x="103399" y="69310"/>
                  </a:lnTo>
                  <a:lnTo>
                    <a:pt x="103399" y="70344"/>
                  </a:lnTo>
                  <a:lnTo>
                    <a:pt x="103118" y="70344"/>
                  </a:lnTo>
                  <a:lnTo>
                    <a:pt x="103399" y="71034"/>
                  </a:lnTo>
                  <a:lnTo>
                    <a:pt x="104384" y="73448"/>
                  </a:lnTo>
                  <a:lnTo>
                    <a:pt x="104665" y="73448"/>
                  </a:lnTo>
                  <a:lnTo>
                    <a:pt x="105087" y="73448"/>
                  </a:lnTo>
                  <a:lnTo>
                    <a:pt x="105087" y="73448"/>
                  </a:lnTo>
                  <a:lnTo>
                    <a:pt x="105650" y="73448"/>
                  </a:lnTo>
                  <a:lnTo>
                    <a:pt x="106635" y="73448"/>
                  </a:lnTo>
                  <a:lnTo>
                    <a:pt x="106635" y="74482"/>
                  </a:lnTo>
                  <a:lnTo>
                    <a:pt x="107057" y="75172"/>
                  </a:lnTo>
                  <a:lnTo>
                    <a:pt x="107620" y="75172"/>
                  </a:lnTo>
                  <a:lnTo>
                    <a:pt x="108042" y="75862"/>
                  </a:lnTo>
                  <a:lnTo>
                    <a:pt x="108745" y="76896"/>
                  </a:lnTo>
                  <a:lnTo>
                    <a:pt x="109026" y="76896"/>
                  </a:lnTo>
                  <a:lnTo>
                    <a:pt x="109026" y="76896"/>
                  </a:lnTo>
                  <a:lnTo>
                    <a:pt x="109308" y="76896"/>
                  </a:lnTo>
                  <a:lnTo>
                    <a:pt x="109308" y="76896"/>
                  </a:lnTo>
                  <a:lnTo>
                    <a:pt x="109308" y="76896"/>
                  </a:lnTo>
                  <a:lnTo>
                    <a:pt x="109730" y="77586"/>
                  </a:lnTo>
                  <a:lnTo>
                    <a:pt x="109730" y="76896"/>
                  </a:lnTo>
                  <a:lnTo>
                    <a:pt x="110011" y="76896"/>
                  </a:lnTo>
                  <a:lnTo>
                    <a:pt x="110011" y="77586"/>
                  </a:lnTo>
                  <a:lnTo>
                    <a:pt x="110996" y="79310"/>
                  </a:lnTo>
                  <a:lnTo>
                    <a:pt x="110996" y="79310"/>
                  </a:lnTo>
                  <a:lnTo>
                    <a:pt x="111277" y="80000"/>
                  </a:lnTo>
                  <a:lnTo>
                    <a:pt x="111277" y="80000"/>
                  </a:lnTo>
                  <a:lnTo>
                    <a:pt x="111277" y="80000"/>
                  </a:lnTo>
                  <a:lnTo>
                    <a:pt x="111699" y="80000"/>
                  </a:lnTo>
                  <a:lnTo>
                    <a:pt x="111699" y="81034"/>
                  </a:lnTo>
                  <a:lnTo>
                    <a:pt x="111981" y="81724"/>
                  </a:lnTo>
                  <a:lnTo>
                    <a:pt x="111699" y="81724"/>
                  </a:lnTo>
                  <a:lnTo>
                    <a:pt x="111699" y="82413"/>
                  </a:lnTo>
                  <a:lnTo>
                    <a:pt x="111981" y="82413"/>
                  </a:lnTo>
                  <a:lnTo>
                    <a:pt x="111981" y="82413"/>
                  </a:lnTo>
                  <a:lnTo>
                    <a:pt x="111981" y="82413"/>
                  </a:lnTo>
                  <a:lnTo>
                    <a:pt x="112262" y="82413"/>
                  </a:lnTo>
                  <a:lnTo>
                    <a:pt x="112684" y="82413"/>
                  </a:lnTo>
                  <a:lnTo>
                    <a:pt x="112262" y="82413"/>
                  </a:lnTo>
                  <a:lnTo>
                    <a:pt x="111981" y="83448"/>
                  </a:lnTo>
                  <a:lnTo>
                    <a:pt x="112262" y="83448"/>
                  </a:lnTo>
                  <a:lnTo>
                    <a:pt x="112684" y="83448"/>
                  </a:lnTo>
                  <a:lnTo>
                    <a:pt x="112262" y="84137"/>
                  </a:lnTo>
                  <a:lnTo>
                    <a:pt x="112262" y="84137"/>
                  </a:lnTo>
                  <a:lnTo>
                    <a:pt x="112684" y="85862"/>
                  </a:lnTo>
                  <a:lnTo>
                    <a:pt x="112684" y="87241"/>
                  </a:lnTo>
                  <a:lnTo>
                    <a:pt x="112966" y="88275"/>
                  </a:lnTo>
                  <a:lnTo>
                    <a:pt x="112966" y="88965"/>
                  </a:lnTo>
                  <a:lnTo>
                    <a:pt x="113388" y="88965"/>
                  </a:lnTo>
                  <a:lnTo>
                    <a:pt x="113388" y="90000"/>
                  </a:lnTo>
                  <a:lnTo>
                    <a:pt x="113669" y="90689"/>
                  </a:lnTo>
                  <a:lnTo>
                    <a:pt x="113669" y="90689"/>
                  </a:lnTo>
                  <a:lnTo>
                    <a:pt x="113388" y="91379"/>
                  </a:lnTo>
                  <a:lnTo>
                    <a:pt x="112966" y="91379"/>
                  </a:lnTo>
                  <a:lnTo>
                    <a:pt x="112966" y="91379"/>
                  </a:lnTo>
                  <a:lnTo>
                    <a:pt x="113388" y="92413"/>
                  </a:lnTo>
                  <a:lnTo>
                    <a:pt x="113669" y="93103"/>
                  </a:lnTo>
                  <a:lnTo>
                    <a:pt x="113950" y="93103"/>
                  </a:lnTo>
                  <a:lnTo>
                    <a:pt x="114372" y="93103"/>
                  </a:lnTo>
                  <a:lnTo>
                    <a:pt x="114372" y="93103"/>
                  </a:lnTo>
                  <a:lnTo>
                    <a:pt x="113950" y="93793"/>
                  </a:lnTo>
                  <a:lnTo>
                    <a:pt x="113950" y="93793"/>
                  </a:lnTo>
                  <a:lnTo>
                    <a:pt x="113669" y="93103"/>
                  </a:lnTo>
                  <a:lnTo>
                    <a:pt x="113669" y="93103"/>
                  </a:lnTo>
                  <a:lnTo>
                    <a:pt x="113388" y="93103"/>
                  </a:lnTo>
                  <a:lnTo>
                    <a:pt x="113388" y="93793"/>
                  </a:lnTo>
                  <a:lnTo>
                    <a:pt x="113388" y="93793"/>
                  </a:lnTo>
                  <a:lnTo>
                    <a:pt x="113669" y="94827"/>
                  </a:lnTo>
                  <a:lnTo>
                    <a:pt x="113669" y="94827"/>
                  </a:lnTo>
                  <a:lnTo>
                    <a:pt x="113669" y="95517"/>
                  </a:lnTo>
                  <a:lnTo>
                    <a:pt x="113950" y="95517"/>
                  </a:lnTo>
                  <a:lnTo>
                    <a:pt x="113950" y="95517"/>
                  </a:lnTo>
                  <a:lnTo>
                    <a:pt x="113950" y="96206"/>
                  </a:lnTo>
                  <a:lnTo>
                    <a:pt x="113950" y="96206"/>
                  </a:lnTo>
                  <a:lnTo>
                    <a:pt x="113950" y="97241"/>
                  </a:lnTo>
                  <a:lnTo>
                    <a:pt x="113950" y="97931"/>
                  </a:lnTo>
                  <a:lnTo>
                    <a:pt x="113669" y="98965"/>
                  </a:lnTo>
                  <a:lnTo>
                    <a:pt x="113669" y="99655"/>
                  </a:lnTo>
                  <a:lnTo>
                    <a:pt x="113388" y="99655"/>
                  </a:lnTo>
                  <a:lnTo>
                    <a:pt x="113388" y="100344"/>
                  </a:lnTo>
                  <a:lnTo>
                    <a:pt x="113388" y="100344"/>
                  </a:lnTo>
                  <a:lnTo>
                    <a:pt x="113388" y="101379"/>
                  </a:lnTo>
                  <a:lnTo>
                    <a:pt x="113669" y="101379"/>
                  </a:lnTo>
                  <a:lnTo>
                    <a:pt x="113950" y="100344"/>
                  </a:lnTo>
                  <a:lnTo>
                    <a:pt x="114372" y="99655"/>
                  </a:lnTo>
                  <a:lnTo>
                    <a:pt x="114372" y="98965"/>
                  </a:lnTo>
                  <a:lnTo>
                    <a:pt x="114372" y="99655"/>
                  </a:lnTo>
                  <a:lnTo>
                    <a:pt x="114372" y="99655"/>
                  </a:lnTo>
                  <a:lnTo>
                    <a:pt x="114654" y="100344"/>
                  </a:lnTo>
                  <a:lnTo>
                    <a:pt x="114654" y="100344"/>
                  </a:lnTo>
                  <a:lnTo>
                    <a:pt x="114935" y="100344"/>
                  </a:lnTo>
                  <a:lnTo>
                    <a:pt x="115357" y="100344"/>
                  </a:lnTo>
                  <a:lnTo>
                    <a:pt x="115920" y="99655"/>
                  </a:lnTo>
                  <a:lnTo>
                    <a:pt x="116342" y="99655"/>
                  </a:lnTo>
                  <a:lnTo>
                    <a:pt x="116342" y="99655"/>
                  </a:lnTo>
                  <a:lnTo>
                    <a:pt x="116623" y="98965"/>
                  </a:lnTo>
                  <a:lnTo>
                    <a:pt x="116342" y="99655"/>
                  </a:lnTo>
                  <a:lnTo>
                    <a:pt x="116342" y="100344"/>
                  </a:lnTo>
                  <a:lnTo>
                    <a:pt x="116342" y="100344"/>
                  </a:lnTo>
                  <a:lnTo>
                    <a:pt x="116342" y="100344"/>
                  </a:lnTo>
                  <a:lnTo>
                    <a:pt x="116623" y="101379"/>
                  </a:lnTo>
                  <a:lnTo>
                    <a:pt x="117608" y="103793"/>
                  </a:lnTo>
                  <a:lnTo>
                    <a:pt x="117608" y="104482"/>
                  </a:lnTo>
                  <a:lnTo>
                    <a:pt x="118030" y="105172"/>
                  </a:lnTo>
                  <a:lnTo>
                    <a:pt x="118311" y="106206"/>
                  </a:lnTo>
                  <a:lnTo>
                    <a:pt x="118593" y="106896"/>
                  </a:lnTo>
                  <a:lnTo>
                    <a:pt x="118593" y="106896"/>
                  </a:lnTo>
                  <a:lnTo>
                    <a:pt x="118593" y="106896"/>
                  </a:lnTo>
                  <a:lnTo>
                    <a:pt x="118593" y="106206"/>
                  </a:lnTo>
                  <a:lnTo>
                    <a:pt x="118593" y="104482"/>
                  </a:lnTo>
                  <a:lnTo>
                    <a:pt x="119015" y="102758"/>
                  </a:lnTo>
                  <a:lnTo>
                    <a:pt x="119015" y="101379"/>
                  </a:lnTo>
                  <a:lnTo>
                    <a:pt x="119015" y="99655"/>
                  </a:lnTo>
                  <a:lnTo>
                    <a:pt x="119015" y="97931"/>
                  </a:lnTo>
                  <a:lnTo>
                    <a:pt x="119015" y="97241"/>
                  </a:lnTo>
                  <a:lnTo>
                    <a:pt x="119015" y="95517"/>
                  </a:lnTo>
                  <a:lnTo>
                    <a:pt x="119015" y="93793"/>
                  </a:lnTo>
                  <a:lnTo>
                    <a:pt x="119296" y="92413"/>
                  </a:lnTo>
                  <a:lnTo>
                    <a:pt x="119296" y="91379"/>
                  </a:lnTo>
                  <a:lnTo>
                    <a:pt x="119015" y="90689"/>
                  </a:lnTo>
                  <a:lnTo>
                    <a:pt x="119015" y="90000"/>
                  </a:lnTo>
                  <a:lnTo>
                    <a:pt x="119015" y="88965"/>
                  </a:lnTo>
                  <a:lnTo>
                    <a:pt x="119296" y="88275"/>
                  </a:lnTo>
                  <a:lnTo>
                    <a:pt x="119296" y="87241"/>
                  </a:lnTo>
                  <a:lnTo>
                    <a:pt x="119296" y="86551"/>
                  </a:lnTo>
                  <a:lnTo>
                    <a:pt x="119296" y="84827"/>
                  </a:lnTo>
                  <a:lnTo>
                    <a:pt x="119296" y="83448"/>
                  </a:lnTo>
                  <a:lnTo>
                    <a:pt x="119296" y="81724"/>
                  </a:lnTo>
                  <a:lnTo>
                    <a:pt x="119296" y="81034"/>
                  </a:lnTo>
                  <a:lnTo>
                    <a:pt x="119577" y="79310"/>
                  </a:lnTo>
                  <a:lnTo>
                    <a:pt x="119577" y="77586"/>
                  </a:lnTo>
                  <a:lnTo>
                    <a:pt x="119577" y="75862"/>
                  </a:lnTo>
                  <a:lnTo>
                    <a:pt x="119577" y="74482"/>
                  </a:lnTo>
                  <a:lnTo>
                    <a:pt x="119577" y="73448"/>
                  </a:lnTo>
                  <a:lnTo>
                    <a:pt x="119577" y="72068"/>
                  </a:lnTo>
                  <a:lnTo>
                    <a:pt x="119577" y="70344"/>
                  </a:lnTo>
                  <a:lnTo>
                    <a:pt x="119577" y="68620"/>
                  </a:lnTo>
                  <a:lnTo>
                    <a:pt x="119577" y="66896"/>
                  </a:lnTo>
                  <a:lnTo>
                    <a:pt x="119577" y="66206"/>
                  </a:lnTo>
                  <a:lnTo>
                    <a:pt x="119577" y="64482"/>
                  </a:lnTo>
                  <a:lnTo>
                    <a:pt x="119577" y="63103"/>
                  </a:lnTo>
                  <a:lnTo>
                    <a:pt x="120000" y="61379"/>
                  </a:lnTo>
                  <a:lnTo>
                    <a:pt x="120000" y="59655"/>
                  </a:lnTo>
                  <a:lnTo>
                    <a:pt x="119296" y="59655"/>
                  </a:lnTo>
                  <a:moveTo>
                    <a:pt x="84830" y="45862"/>
                  </a:moveTo>
                  <a:lnTo>
                    <a:pt x="84548" y="46551"/>
                  </a:lnTo>
                  <a:lnTo>
                    <a:pt x="84548" y="46551"/>
                  </a:lnTo>
                  <a:lnTo>
                    <a:pt x="84830" y="46551"/>
                  </a:lnTo>
                  <a:lnTo>
                    <a:pt x="85111" y="46551"/>
                  </a:lnTo>
                  <a:lnTo>
                    <a:pt x="85111" y="46551"/>
                  </a:lnTo>
                  <a:lnTo>
                    <a:pt x="85111" y="46551"/>
                  </a:lnTo>
                  <a:lnTo>
                    <a:pt x="85533" y="47586"/>
                  </a:lnTo>
                  <a:lnTo>
                    <a:pt x="85533" y="47586"/>
                  </a:lnTo>
                  <a:lnTo>
                    <a:pt x="85814" y="46551"/>
                  </a:lnTo>
                  <a:lnTo>
                    <a:pt x="85814" y="46551"/>
                  </a:lnTo>
                  <a:lnTo>
                    <a:pt x="85533" y="45862"/>
                  </a:lnTo>
                  <a:lnTo>
                    <a:pt x="85533" y="45862"/>
                  </a:lnTo>
                  <a:lnTo>
                    <a:pt x="85111" y="45862"/>
                  </a:lnTo>
                  <a:lnTo>
                    <a:pt x="85111" y="44827"/>
                  </a:lnTo>
                  <a:lnTo>
                    <a:pt x="85111" y="44137"/>
                  </a:lnTo>
                  <a:lnTo>
                    <a:pt x="84830" y="43448"/>
                  </a:lnTo>
                  <a:lnTo>
                    <a:pt x="84830" y="43448"/>
                  </a:lnTo>
                  <a:lnTo>
                    <a:pt x="84830" y="43448"/>
                  </a:lnTo>
                  <a:lnTo>
                    <a:pt x="84548" y="44137"/>
                  </a:lnTo>
                  <a:lnTo>
                    <a:pt x="84548" y="43448"/>
                  </a:lnTo>
                  <a:lnTo>
                    <a:pt x="84126" y="43448"/>
                  </a:lnTo>
                  <a:lnTo>
                    <a:pt x="84126" y="44137"/>
                  </a:lnTo>
                  <a:lnTo>
                    <a:pt x="84126" y="44137"/>
                  </a:lnTo>
                  <a:lnTo>
                    <a:pt x="84126" y="44137"/>
                  </a:lnTo>
                  <a:lnTo>
                    <a:pt x="84548" y="44827"/>
                  </a:lnTo>
                  <a:lnTo>
                    <a:pt x="84830" y="45862"/>
                  </a:lnTo>
                  <a:moveTo>
                    <a:pt x="83845" y="44827"/>
                  </a:moveTo>
                  <a:lnTo>
                    <a:pt x="84126" y="44137"/>
                  </a:lnTo>
                  <a:lnTo>
                    <a:pt x="84126" y="44137"/>
                  </a:lnTo>
                  <a:lnTo>
                    <a:pt x="84126" y="43448"/>
                  </a:lnTo>
                  <a:lnTo>
                    <a:pt x="84126" y="43448"/>
                  </a:lnTo>
                  <a:lnTo>
                    <a:pt x="83845" y="42413"/>
                  </a:lnTo>
                  <a:lnTo>
                    <a:pt x="83845" y="43448"/>
                  </a:lnTo>
                  <a:lnTo>
                    <a:pt x="83845" y="44137"/>
                  </a:lnTo>
                  <a:lnTo>
                    <a:pt x="83845" y="44827"/>
                  </a:lnTo>
                  <a:lnTo>
                    <a:pt x="83845" y="44827"/>
                  </a:lnTo>
                  <a:moveTo>
                    <a:pt x="22086" y="42413"/>
                  </a:moveTo>
                  <a:lnTo>
                    <a:pt x="21805" y="43448"/>
                  </a:lnTo>
                  <a:lnTo>
                    <a:pt x="21805" y="43448"/>
                  </a:lnTo>
                  <a:lnTo>
                    <a:pt x="22086" y="43448"/>
                  </a:lnTo>
                  <a:lnTo>
                    <a:pt x="22508" y="43448"/>
                  </a:lnTo>
                  <a:lnTo>
                    <a:pt x="22790" y="43448"/>
                  </a:lnTo>
                  <a:lnTo>
                    <a:pt x="22508" y="43448"/>
                  </a:lnTo>
                  <a:lnTo>
                    <a:pt x="22086" y="42413"/>
                  </a:lnTo>
                  <a:lnTo>
                    <a:pt x="22086" y="42413"/>
                  </a:lnTo>
                  <a:moveTo>
                    <a:pt x="93833" y="43448"/>
                  </a:moveTo>
                  <a:lnTo>
                    <a:pt x="93411" y="43448"/>
                  </a:lnTo>
                  <a:lnTo>
                    <a:pt x="93411" y="43448"/>
                  </a:lnTo>
                  <a:lnTo>
                    <a:pt x="93411" y="43448"/>
                  </a:lnTo>
                  <a:lnTo>
                    <a:pt x="93130" y="42413"/>
                  </a:lnTo>
                  <a:lnTo>
                    <a:pt x="93130" y="41724"/>
                  </a:lnTo>
                  <a:lnTo>
                    <a:pt x="92708" y="41724"/>
                  </a:lnTo>
                  <a:lnTo>
                    <a:pt x="93130" y="41724"/>
                  </a:lnTo>
                  <a:lnTo>
                    <a:pt x="93411" y="42413"/>
                  </a:lnTo>
                  <a:lnTo>
                    <a:pt x="93833" y="42413"/>
                  </a:lnTo>
                  <a:lnTo>
                    <a:pt x="93833" y="43448"/>
                  </a:lnTo>
                  <a:lnTo>
                    <a:pt x="93833" y="43448"/>
                  </a:lnTo>
                  <a:lnTo>
                    <a:pt x="94114" y="43448"/>
                  </a:lnTo>
                  <a:lnTo>
                    <a:pt x="94396" y="43448"/>
                  </a:lnTo>
                  <a:lnTo>
                    <a:pt x="94396" y="43448"/>
                  </a:lnTo>
                  <a:lnTo>
                    <a:pt x="94396" y="43448"/>
                  </a:lnTo>
                  <a:lnTo>
                    <a:pt x="94818" y="43448"/>
                  </a:lnTo>
                  <a:lnTo>
                    <a:pt x="94818" y="42413"/>
                  </a:lnTo>
                  <a:lnTo>
                    <a:pt x="94818" y="42413"/>
                  </a:lnTo>
                  <a:lnTo>
                    <a:pt x="94818" y="41724"/>
                  </a:lnTo>
                  <a:lnTo>
                    <a:pt x="94114" y="41034"/>
                  </a:lnTo>
                  <a:lnTo>
                    <a:pt x="93833" y="41034"/>
                  </a:lnTo>
                  <a:lnTo>
                    <a:pt x="93411" y="41034"/>
                  </a:lnTo>
                  <a:lnTo>
                    <a:pt x="93130" y="41034"/>
                  </a:lnTo>
                  <a:lnTo>
                    <a:pt x="92708" y="41034"/>
                  </a:lnTo>
                  <a:lnTo>
                    <a:pt x="92708" y="41724"/>
                  </a:lnTo>
                  <a:lnTo>
                    <a:pt x="92426" y="41724"/>
                  </a:lnTo>
                  <a:lnTo>
                    <a:pt x="92426" y="41724"/>
                  </a:lnTo>
                  <a:lnTo>
                    <a:pt x="92145" y="41724"/>
                  </a:lnTo>
                  <a:lnTo>
                    <a:pt x="92145" y="41724"/>
                  </a:lnTo>
                  <a:lnTo>
                    <a:pt x="92145" y="41724"/>
                  </a:lnTo>
                  <a:lnTo>
                    <a:pt x="91723" y="42413"/>
                  </a:lnTo>
                  <a:lnTo>
                    <a:pt x="92145" y="42413"/>
                  </a:lnTo>
                  <a:lnTo>
                    <a:pt x="92426" y="42413"/>
                  </a:lnTo>
                  <a:lnTo>
                    <a:pt x="92708" y="43448"/>
                  </a:lnTo>
                  <a:lnTo>
                    <a:pt x="92708" y="43448"/>
                  </a:lnTo>
                  <a:lnTo>
                    <a:pt x="92708" y="43448"/>
                  </a:lnTo>
                  <a:lnTo>
                    <a:pt x="93130" y="43448"/>
                  </a:lnTo>
                  <a:moveTo>
                    <a:pt x="8581" y="41034"/>
                  </a:moveTo>
                  <a:lnTo>
                    <a:pt x="8581" y="41034"/>
                  </a:lnTo>
                  <a:lnTo>
                    <a:pt x="8581" y="41034"/>
                  </a:lnTo>
                  <a:lnTo>
                    <a:pt x="8581" y="42413"/>
                  </a:lnTo>
                  <a:lnTo>
                    <a:pt x="8581" y="43448"/>
                  </a:lnTo>
                  <a:lnTo>
                    <a:pt x="8581" y="43448"/>
                  </a:lnTo>
                  <a:lnTo>
                    <a:pt x="8581" y="44137"/>
                  </a:lnTo>
                  <a:lnTo>
                    <a:pt x="8159" y="44827"/>
                  </a:lnTo>
                  <a:lnTo>
                    <a:pt x="8581" y="44827"/>
                  </a:lnTo>
                  <a:lnTo>
                    <a:pt x="8862" y="44827"/>
                  </a:lnTo>
                  <a:lnTo>
                    <a:pt x="8862" y="43448"/>
                  </a:lnTo>
                  <a:lnTo>
                    <a:pt x="8862" y="42413"/>
                  </a:lnTo>
                  <a:lnTo>
                    <a:pt x="8862" y="42413"/>
                  </a:lnTo>
                  <a:lnTo>
                    <a:pt x="8581" y="41034"/>
                  </a:lnTo>
                  <a:moveTo>
                    <a:pt x="19132" y="34482"/>
                  </a:moveTo>
                  <a:lnTo>
                    <a:pt x="19132" y="34482"/>
                  </a:lnTo>
                  <a:lnTo>
                    <a:pt x="19132" y="34482"/>
                  </a:lnTo>
                  <a:lnTo>
                    <a:pt x="19554" y="35172"/>
                  </a:lnTo>
                  <a:lnTo>
                    <a:pt x="19835" y="35172"/>
                  </a:lnTo>
                  <a:lnTo>
                    <a:pt x="20117" y="35172"/>
                  </a:lnTo>
                  <a:lnTo>
                    <a:pt x="20539" y="35172"/>
                  </a:lnTo>
                  <a:lnTo>
                    <a:pt x="20820" y="35862"/>
                  </a:lnTo>
                  <a:lnTo>
                    <a:pt x="20820" y="35172"/>
                  </a:lnTo>
                  <a:lnTo>
                    <a:pt x="20539" y="34482"/>
                  </a:lnTo>
                  <a:lnTo>
                    <a:pt x="20539" y="34482"/>
                  </a:lnTo>
                  <a:lnTo>
                    <a:pt x="20117" y="33448"/>
                  </a:lnTo>
                  <a:lnTo>
                    <a:pt x="19835" y="33448"/>
                  </a:lnTo>
                  <a:lnTo>
                    <a:pt x="19835" y="33448"/>
                  </a:lnTo>
                  <a:lnTo>
                    <a:pt x="19554" y="32758"/>
                  </a:lnTo>
                  <a:lnTo>
                    <a:pt x="19554" y="32758"/>
                  </a:lnTo>
                  <a:lnTo>
                    <a:pt x="19132" y="33448"/>
                  </a:lnTo>
                  <a:lnTo>
                    <a:pt x="19132" y="34482"/>
                  </a:lnTo>
                  <a:moveTo>
                    <a:pt x="18851" y="31034"/>
                  </a:moveTo>
                  <a:lnTo>
                    <a:pt x="18851" y="31034"/>
                  </a:lnTo>
                  <a:lnTo>
                    <a:pt x="18851" y="31034"/>
                  </a:lnTo>
                  <a:lnTo>
                    <a:pt x="18569" y="31034"/>
                  </a:lnTo>
                  <a:lnTo>
                    <a:pt x="18569" y="32068"/>
                  </a:lnTo>
                  <a:lnTo>
                    <a:pt x="18851" y="32758"/>
                  </a:lnTo>
                  <a:lnTo>
                    <a:pt x="18851" y="32758"/>
                  </a:lnTo>
                  <a:lnTo>
                    <a:pt x="18851" y="33448"/>
                  </a:lnTo>
                  <a:lnTo>
                    <a:pt x="19132" y="33448"/>
                  </a:lnTo>
                  <a:lnTo>
                    <a:pt x="19132" y="33448"/>
                  </a:lnTo>
                  <a:lnTo>
                    <a:pt x="19132" y="33448"/>
                  </a:lnTo>
                  <a:lnTo>
                    <a:pt x="19132" y="32758"/>
                  </a:lnTo>
                  <a:lnTo>
                    <a:pt x="19132" y="32068"/>
                  </a:lnTo>
                  <a:lnTo>
                    <a:pt x="19132" y="32068"/>
                  </a:lnTo>
                  <a:lnTo>
                    <a:pt x="18851" y="31034"/>
                  </a:lnTo>
                  <a:moveTo>
                    <a:pt x="6893" y="32758"/>
                  </a:moveTo>
                  <a:lnTo>
                    <a:pt x="6893" y="32068"/>
                  </a:lnTo>
                  <a:lnTo>
                    <a:pt x="6189" y="30344"/>
                  </a:lnTo>
                  <a:lnTo>
                    <a:pt x="5908" y="29655"/>
                  </a:lnTo>
                  <a:lnTo>
                    <a:pt x="5908" y="29655"/>
                  </a:lnTo>
                  <a:lnTo>
                    <a:pt x="5908" y="30344"/>
                  </a:lnTo>
                  <a:lnTo>
                    <a:pt x="5627" y="30344"/>
                  </a:lnTo>
                  <a:lnTo>
                    <a:pt x="5205" y="30344"/>
                  </a:lnTo>
                  <a:lnTo>
                    <a:pt x="5627" y="32068"/>
                  </a:lnTo>
                  <a:lnTo>
                    <a:pt x="5908" y="33448"/>
                  </a:lnTo>
                  <a:lnTo>
                    <a:pt x="5908" y="34482"/>
                  </a:lnTo>
                  <a:lnTo>
                    <a:pt x="6189" y="34482"/>
                  </a:lnTo>
                  <a:lnTo>
                    <a:pt x="6611" y="35172"/>
                  </a:lnTo>
                  <a:lnTo>
                    <a:pt x="6893" y="35862"/>
                  </a:lnTo>
                  <a:lnTo>
                    <a:pt x="6893" y="36896"/>
                  </a:lnTo>
                  <a:lnTo>
                    <a:pt x="7174" y="36896"/>
                  </a:lnTo>
                  <a:lnTo>
                    <a:pt x="7174" y="35862"/>
                  </a:lnTo>
                  <a:lnTo>
                    <a:pt x="7174" y="34482"/>
                  </a:lnTo>
                  <a:lnTo>
                    <a:pt x="7174" y="33448"/>
                  </a:lnTo>
                  <a:lnTo>
                    <a:pt x="7174" y="33448"/>
                  </a:lnTo>
                  <a:lnTo>
                    <a:pt x="6893" y="32758"/>
                  </a:lnTo>
                  <a:moveTo>
                    <a:pt x="18147" y="30344"/>
                  </a:moveTo>
                  <a:lnTo>
                    <a:pt x="18569" y="30344"/>
                  </a:lnTo>
                  <a:lnTo>
                    <a:pt x="18851" y="30344"/>
                  </a:lnTo>
                  <a:lnTo>
                    <a:pt x="18851" y="30344"/>
                  </a:lnTo>
                  <a:lnTo>
                    <a:pt x="19132" y="31034"/>
                  </a:lnTo>
                  <a:lnTo>
                    <a:pt x="19132" y="31034"/>
                  </a:lnTo>
                  <a:lnTo>
                    <a:pt x="19132" y="30344"/>
                  </a:lnTo>
                  <a:lnTo>
                    <a:pt x="19132" y="30344"/>
                  </a:lnTo>
                  <a:lnTo>
                    <a:pt x="18147" y="29655"/>
                  </a:lnTo>
                  <a:lnTo>
                    <a:pt x="18147" y="29655"/>
                  </a:lnTo>
                  <a:lnTo>
                    <a:pt x="18147" y="29655"/>
                  </a:lnTo>
                  <a:lnTo>
                    <a:pt x="18147" y="29655"/>
                  </a:lnTo>
                  <a:lnTo>
                    <a:pt x="18147" y="30344"/>
                  </a:lnTo>
                  <a:moveTo>
                    <a:pt x="62321" y="60344"/>
                  </a:moveTo>
                  <a:lnTo>
                    <a:pt x="61899" y="60344"/>
                  </a:lnTo>
                  <a:lnTo>
                    <a:pt x="61899" y="60344"/>
                  </a:lnTo>
                  <a:lnTo>
                    <a:pt x="61899" y="60344"/>
                  </a:lnTo>
                  <a:lnTo>
                    <a:pt x="61899" y="61379"/>
                  </a:lnTo>
                  <a:lnTo>
                    <a:pt x="61899" y="61379"/>
                  </a:lnTo>
                  <a:lnTo>
                    <a:pt x="61899" y="62068"/>
                  </a:lnTo>
                  <a:lnTo>
                    <a:pt x="61899" y="63103"/>
                  </a:lnTo>
                  <a:lnTo>
                    <a:pt x="61899" y="63793"/>
                  </a:lnTo>
                  <a:lnTo>
                    <a:pt x="61899" y="64482"/>
                  </a:lnTo>
                  <a:lnTo>
                    <a:pt x="61899" y="65517"/>
                  </a:lnTo>
                  <a:lnTo>
                    <a:pt x="61899" y="66206"/>
                  </a:lnTo>
                  <a:lnTo>
                    <a:pt x="62321" y="66896"/>
                  </a:lnTo>
                  <a:lnTo>
                    <a:pt x="62883" y="66206"/>
                  </a:lnTo>
                  <a:lnTo>
                    <a:pt x="63305" y="66206"/>
                  </a:lnTo>
                  <a:lnTo>
                    <a:pt x="63305" y="66206"/>
                  </a:lnTo>
                  <a:lnTo>
                    <a:pt x="63587" y="66206"/>
                  </a:lnTo>
                  <a:lnTo>
                    <a:pt x="63587" y="66896"/>
                  </a:lnTo>
                  <a:lnTo>
                    <a:pt x="63587" y="66896"/>
                  </a:lnTo>
                  <a:lnTo>
                    <a:pt x="63587" y="67931"/>
                  </a:lnTo>
                  <a:lnTo>
                    <a:pt x="63587" y="67931"/>
                  </a:lnTo>
                  <a:lnTo>
                    <a:pt x="63587" y="68620"/>
                  </a:lnTo>
                  <a:lnTo>
                    <a:pt x="63868" y="70344"/>
                  </a:lnTo>
                  <a:lnTo>
                    <a:pt x="63868" y="70344"/>
                  </a:lnTo>
                  <a:lnTo>
                    <a:pt x="63868" y="73448"/>
                  </a:lnTo>
                  <a:lnTo>
                    <a:pt x="63587" y="73448"/>
                  </a:lnTo>
                  <a:lnTo>
                    <a:pt x="63587" y="74482"/>
                  </a:lnTo>
                  <a:lnTo>
                    <a:pt x="63587" y="75172"/>
                  </a:lnTo>
                  <a:lnTo>
                    <a:pt x="63587" y="76896"/>
                  </a:lnTo>
                  <a:lnTo>
                    <a:pt x="63305" y="77586"/>
                  </a:lnTo>
                  <a:lnTo>
                    <a:pt x="63305" y="78275"/>
                  </a:lnTo>
                  <a:lnTo>
                    <a:pt x="62883" y="79310"/>
                  </a:lnTo>
                  <a:lnTo>
                    <a:pt x="62883" y="80000"/>
                  </a:lnTo>
                  <a:lnTo>
                    <a:pt x="63305" y="81034"/>
                  </a:lnTo>
                  <a:lnTo>
                    <a:pt x="63587" y="81724"/>
                  </a:lnTo>
                  <a:lnTo>
                    <a:pt x="63868" y="82413"/>
                  </a:lnTo>
                  <a:lnTo>
                    <a:pt x="63868" y="82413"/>
                  </a:lnTo>
                  <a:lnTo>
                    <a:pt x="64290" y="82413"/>
                  </a:lnTo>
                  <a:lnTo>
                    <a:pt x="64290" y="81724"/>
                  </a:lnTo>
                  <a:lnTo>
                    <a:pt x="64572" y="81724"/>
                  </a:lnTo>
                  <a:lnTo>
                    <a:pt x="64853" y="81724"/>
                  </a:lnTo>
                  <a:lnTo>
                    <a:pt x="65275" y="81724"/>
                  </a:lnTo>
                  <a:lnTo>
                    <a:pt x="65275" y="81724"/>
                  </a:lnTo>
                  <a:lnTo>
                    <a:pt x="65556" y="81724"/>
                  </a:lnTo>
                  <a:lnTo>
                    <a:pt x="65978" y="81724"/>
                  </a:lnTo>
                  <a:lnTo>
                    <a:pt x="65556" y="81034"/>
                  </a:lnTo>
                  <a:lnTo>
                    <a:pt x="65556" y="80000"/>
                  </a:lnTo>
                  <a:lnTo>
                    <a:pt x="65556" y="78275"/>
                  </a:lnTo>
                  <a:lnTo>
                    <a:pt x="65556" y="77586"/>
                  </a:lnTo>
                  <a:lnTo>
                    <a:pt x="65556" y="76896"/>
                  </a:lnTo>
                  <a:lnTo>
                    <a:pt x="65978" y="75172"/>
                  </a:lnTo>
                  <a:lnTo>
                    <a:pt x="65978" y="74482"/>
                  </a:lnTo>
                  <a:lnTo>
                    <a:pt x="65978" y="72758"/>
                  </a:lnTo>
                  <a:lnTo>
                    <a:pt x="65978" y="71034"/>
                  </a:lnTo>
                  <a:lnTo>
                    <a:pt x="65978" y="68620"/>
                  </a:lnTo>
                  <a:lnTo>
                    <a:pt x="65978" y="67931"/>
                  </a:lnTo>
                  <a:lnTo>
                    <a:pt x="65978" y="67931"/>
                  </a:lnTo>
                  <a:lnTo>
                    <a:pt x="65978" y="65517"/>
                  </a:lnTo>
                  <a:lnTo>
                    <a:pt x="65978" y="64482"/>
                  </a:lnTo>
                  <a:lnTo>
                    <a:pt x="65556" y="63793"/>
                  </a:lnTo>
                  <a:lnTo>
                    <a:pt x="65556" y="63103"/>
                  </a:lnTo>
                  <a:lnTo>
                    <a:pt x="65556" y="62068"/>
                  </a:lnTo>
                  <a:lnTo>
                    <a:pt x="65978" y="62068"/>
                  </a:lnTo>
                  <a:lnTo>
                    <a:pt x="66260" y="60344"/>
                  </a:lnTo>
                  <a:lnTo>
                    <a:pt x="66541" y="60344"/>
                  </a:lnTo>
                  <a:lnTo>
                    <a:pt x="66963" y="60344"/>
                  </a:lnTo>
                  <a:lnTo>
                    <a:pt x="67245" y="60344"/>
                  </a:lnTo>
                  <a:lnTo>
                    <a:pt x="67526" y="60344"/>
                  </a:lnTo>
                  <a:lnTo>
                    <a:pt x="67948" y="61379"/>
                  </a:lnTo>
                  <a:lnTo>
                    <a:pt x="67948" y="62068"/>
                  </a:lnTo>
                  <a:lnTo>
                    <a:pt x="67948" y="63103"/>
                  </a:lnTo>
                  <a:lnTo>
                    <a:pt x="67526" y="63793"/>
                  </a:lnTo>
                  <a:lnTo>
                    <a:pt x="67526" y="64482"/>
                  </a:lnTo>
                  <a:lnTo>
                    <a:pt x="67245" y="65517"/>
                  </a:lnTo>
                  <a:lnTo>
                    <a:pt x="67245" y="66206"/>
                  </a:lnTo>
                  <a:lnTo>
                    <a:pt x="67245" y="66206"/>
                  </a:lnTo>
                  <a:lnTo>
                    <a:pt x="67245" y="66896"/>
                  </a:lnTo>
                  <a:lnTo>
                    <a:pt x="68229" y="69310"/>
                  </a:lnTo>
                  <a:lnTo>
                    <a:pt x="68511" y="70344"/>
                  </a:lnTo>
                  <a:lnTo>
                    <a:pt x="68933" y="70344"/>
                  </a:lnTo>
                  <a:lnTo>
                    <a:pt x="69214" y="71034"/>
                  </a:lnTo>
                  <a:lnTo>
                    <a:pt x="68933" y="71034"/>
                  </a:lnTo>
                  <a:lnTo>
                    <a:pt x="68933" y="72068"/>
                  </a:lnTo>
                  <a:lnTo>
                    <a:pt x="68933" y="72068"/>
                  </a:lnTo>
                  <a:lnTo>
                    <a:pt x="68933" y="72068"/>
                  </a:lnTo>
                  <a:lnTo>
                    <a:pt x="68511" y="74482"/>
                  </a:lnTo>
                  <a:lnTo>
                    <a:pt x="68511" y="75172"/>
                  </a:lnTo>
                  <a:lnTo>
                    <a:pt x="68933" y="75862"/>
                  </a:lnTo>
                  <a:lnTo>
                    <a:pt x="68933" y="75862"/>
                  </a:lnTo>
                  <a:lnTo>
                    <a:pt x="69214" y="75862"/>
                  </a:lnTo>
                  <a:lnTo>
                    <a:pt x="69917" y="75862"/>
                  </a:lnTo>
                  <a:lnTo>
                    <a:pt x="70199" y="75862"/>
                  </a:lnTo>
                  <a:lnTo>
                    <a:pt x="70199" y="75862"/>
                  </a:lnTo>
                  <a:lnTo>
                    <a:pt x="70199" y="75172"/>
                  </a:lnTo>
                  <a:lnTo>
                    <a:pt x="70199" y="74482"/>
                  </a:lnTo>
                  <a:lnTo>
                    <a:pt x="70199" y="74482"/>
                  </a:lnTo>
                  <a:lnTo>
                    <a:pt x="70621" y="73448"/>
                  </a:lnTo>
                  <a:lnTo>
                    <a:pt x="71184" y="73448"/>
                  </a:lnTo>
                  <a:lnTo>
                    <a:pt x="71606" y="72758"/>
                  </a:lnTo>
                  <a:lnTo>
                    <a:pt x="71887" y="73448"/>
                  </a:lnTo>
                  <a:lnTo>
                    <a:pt x="71887" y="72758"/>
                  </a:lnTo>
                  <a:lnTo>
                    <a:pt x="71887" y="72758"/>
                  </a:lnTo>
                  <a:lnTo>
                    <a:pt x="71887" y="72758"/>
                  </a:lnTo>
                  <a:lnTo>
                    <a:pt x="72168" y="72758"/>
                  </a:lnTo>
                  <a:lnTo>
                    <a:pt x="72168" y="72758"/>
                  </a:lnTo>
                  <a:lnTo>
                    <a:pt x="72590" y="72758"/>
                  </a:lnTo>
                  <a:lnTo>
                    <a:pt x="72590" y="72068"/>
                  </a:lnTo>
                  <a:lnTo>
                    <a:pt x="72590" y="71034"/>
                  </a:lnTo>
                  <a:lnTo>
                    <a:pt x="72168" y="71034"/>
                  </a:lnTo>
                  <a:lnTo>
                    <a:pt x="72168" y="70344"/>
                  </a:lnTo>
                  <a:lnTo>
                    <a:pt x="72168" y="70344"/>
                  </a:lnTo>
                  <a:lnTo>
                    <a:pt x="72168" y="70344"/>
                  </a:lnTo>
                  <a:lnTo>
                    <a:pt x="71887" y="71034"/>
                  </a:lnTo>
                  <a:lnTo>
                    <a:pt x="71887" y="70344"/>
                  </a:lnTo>
                  <a:lnTo>
                    <a:pt x="71887" y="70344"/>
                  </a:lnTo>
                  <a:lnTo>
                    <a:pt x="71606" y="70344"/>
                  </a:lnTo>
                  <a:lnTo>
                    <a:pt x="71606" y="69310"/>
                  </a:lnTo>
                  <a:lnTo>
                    <a:pt x="71606" y="69310"/>
                  </a:lnTo>
                  <a:lnTo>
                    <a:pt x="71606" y="68620"/>
                  </a:lnTo>
                  <a:lnTo>
                    <a:pt x="71184" y="67931"/>
                  </a:lnTo>
                  <a:lnTo>
                    <a:pt x="71184" y="67931"/>
                  </a:lnTo>
                  <a:lnTo>
                    <a:pt x="70902" y="67931"/>
                  </a:lnTo>
                  <a:lnTo>
                    <a:pt x="70902" y="67931"/>
                  </a:lnTo>
                  <a:lnTo>
                    <a:pt x="70902" y="66896"/>
                  </a:lnTo>
                  <a:lnTo>
                    <a:pt x="70902" y="66896"/>
                  </a:lnTo>
                  <a:lnTo>
                    <a:pt x="70902" y="66896"/>
                  </a:lnTo>
                  <a:lnTo>
                    <a:pt x="70902" y="65517"/>
                  </a:lnTo>
                  <a:lnTo>
                    <a:pt x="70902" y="64482"/>
                  </a:lnTo>
                  <a:lnTo>
                    <a:pt x="71184" y="64482"/>
                  </a:lnTo>
                  <a:lnTo>
                    <a:pt x="71184" y="63793"/>
                  </a:lnTo>
                  <a:lnTo>
                    <a:pt x="70902" y="63103"/>
                  </a:lnTo>
                  <a:lnTo>
                    <a:pt x="70902" y="63103"/>
                  </a:lnTo>
                  <a:lnTo>
                    <a:pt x="70902" y="62068"/>
                  </a:lnTo>
                  <a:lnTo>
                    <a:pt x="70902" y="62068"/>
                  </a:lnTo>
                  <a:lnTo>
                    <a:pt x="70621" y="61379"/>
                  </a:lnTo>
                  <a:lnTo>
                    <a:pt x="70199" y="60344"/>
                  </a:lnTo>
                  <a:lnTo>
                    <a:pt x="70199" y="59655"/>
                  </a:lnTo>
                  <a:lnTo>
                    <a:pt x="69917" y="57931"/>
                  </a:lnTo>
                  <a:lnTo>
                    <a:pt x="69495" y="57241"/>
                  </a:lnTo>
                  <a:lnTo>
                    <a:pt x="69495" y="57241"/>
                  </a:lnTo>
                  <a:lnTo>
                    <a:pt x="69214" y="56551"/>
                  </a:lnTo>
                  <a:lnTo>
                    <a:pt x="69214" y="56551"/>
                  </a:lnTo>
                  <a:lnTo>
                    <a:pt x="68933" y="55517"/>
                  </a:lnTo>
                  <a:lnTo>
                    <a:pt x="68511" y="55517"/>
                  </a:lnTo>
                  <a:lnTo>
                    <a:pt x="68511" y="54827"/>
                  </a:lnTo>
                  <a:lnTo>
                    <a:pt x="68511" y="54827"/>
                  </a:lnTo>
                  <a:lnTo>
                    <a:pt x="68511" y="54137"/>
                  </a:lnTo>
                  <a:lnTo>
                    <a:pt x="68933" y="54827"/>
                  </a:lnTo>
                  <a:lnTo>
                    <a:pt x="69214" y="54827"/>
                  </a:lnTo>
                  <a:lnTo>
                    <a:pt x="69214" y="54827"/>
                  </a:lnTo>
                  <a:lnTo>
                    <a:pt x="69495" y="54827"/>
                  </a:lnTo>
                  <a:lnTo>
                    <a:pt x="69495" y="54137"/>
                  </a:lnTo>
                  <a:lnTo>
                    <a:pt x="69917" y="53103"/>
                  </a:lnTo>
                  <a:lnTo>
                    <a:pt x="70621" y="52413"/>
                  </a:lnTo>
                  <a:lnTo>
                    <a:pt x="70902" y="52413"/>
                  </a:lnTo>
                  <a:lnTo>
                    <a:pt x="71184" y="51379"/>
                  </a:lnTo>
                  <a:lnTo>
                    <a:pt x="71606" y="50689"/>
                  </a:lnTo>
                  <a:lnTo>
                    <a:pt x="71887" y="50000"/>
                  </a:lnTo>
                  <a:lnTo>
                    <a:pt x="72168" y="48965"/>
                  </a:lnTo>
                  <a:lnTo>
                    <a:pt x="72590" y="48275"/>
                  </a:lnTo>
                  <a:lnTo>
                    <a:pt x="72590" y="47586"/>
                  </a:lnTo>
                  <a:lnTo>
                    <a:pt x="72590" y="47586"/>
                  </a:lnTo>
                  <a:lnTo>
                    <a:pt x="73153" y="47586"/>
                  </a:lnTo>
                  <a:lnTo>
                    <a:pt x="73153" y="47586"/>
                  </a:lnTo>
                  <a:lnTo>
                    <a:pt x="73575" y="48275"/>
                  </a:lnTo>
                  <a:lnTo>
                    <a:pt x="73856" y="48275"/>
                  </a:lnTo>
                  <a:lnTo>
                    <a:pt x="73856" y="48275"/>
                  </a:lnTo>
                  <a:lnTo>
                    <a:pt x="73856" y="48275"/>
                  </a:lnTo>
                  <a:lnTo>
                    <a:pt x="74138" y="46551"/>
                  </a:lnTo>
                  <a:lnTo>
                    <a:pt x="74138" y="45862"/>
                  </a:lnTo>
                  <a:lnTo>
                    <a:pt x="73856" y="45862"/>
                  </a:lnTo>
                  <a:lnTo>
                    <a:pt x="73575" y="44827"/>
                  </a:lnTo>
                  <a:lnTo>
                    <a:pt x="73575" y="44827"/>
                  </a:lnTo>
                  <a:lnTo>
                    <a:pt x="72872" y="44827"/>
                  </a:lnTo>
                  <a:lnTo>
                    <a:pt x="72590" y="45862"/>
                  </a:lnTo>
                  <a:lnTo>
                    <a:pt x="72590" y="45862"/>
                  </a:lnTo>
                  <a:lnTo>
                    <a:pt x="72590" y="45862"/>
                  </a:lnTo>
                  <a:lnTo>
                    <a:pt x="72590" y="45862"/>
                  </a:lnTo>
                  <a:lnTo>
                    <a:pt x="72590" y="46551"/>
                  </a:lnTo>
                  <a:lnTo>
                    <a:pt x="72168" y="46551"/>
                  </a:lnTo>
                  <a:lnTo>
                    <a:pt x="71887" y="46551"/>
                  </a:lnTo>
                  <a:lnTo>
                    <a:pt x="71184" y="46551"/>
                  </a:lnTo>
                  <a:lnTo>
                    <a:pt x="70902" y="46551"/>
                  </a:lnTo>
                  <a:lnTo>
                    <a:pt x="70621" y="47586"/>
                  </a:lnTo>
                  <a:lnTo>
                    <a:pt x="70621" y="47586"/>
                  </a:lnTo>
                  <a:lnTo>
                    <a:pt x="70199" y="47586"/>
                  </a:lnTo>
                  <a:lnTo>
                    <a:pt x="69917" y="47586"/>
                  </a:lnTo>
                  <a:lnTo>
                    <a:pt x="69495" y="47586"/>
                  </a:lnTo>
                  <a:lnTo>
                    <a:pt x="69495" y="47586"/>
                  </a:lnTo>
                  <a:lnTo>
                    <a:pt x="69214" y="47586"/>
                  </a:lnTo>
                  <a:lnTo>
                    <a:pt x="69214" y="46551"/>
                  </a:lnTo>
                  <a:lnTo>
                    <a:pt x="69214" y="47586"/>
                  </a:lnTo>
                  <a:lnTo>
                    <a:pt x="68933" y="47586"/>
                  </a:lnTo>
                  <a:lnTo>
                    <a:pt x="68511" y="48965"/>
                  </a:lnTo>
                  <a:lnTo>
                    <a:pt x="68229" y="50000"/>
                  </a:lnTo>
                  <a:lnTo>
                    <a:pt x="68229" y="50689"/>
                  </a:lnTo>
                  <a:lnTo>
                    <a:pt x="67948" y="51379"/>
                  </a:lnTo>
                  <a:lnTo>
                    <a:pt x="67526" y="50689"/>
                  </a:lnTo>
                  <a:lnTo>
                    <a:pt x="67245" y="50689"/>
                  </a:lnTo>
                  <a:lnTo>
                    <a:pt x="66963" y="50689"/>
                  </a:lnTo>
                  <a:lnTo>
                    <a:pt x="66963" y="50689"/>
                  </a:lnTo>
                  <a:lnTo>
                    <a:pt x="66541" y="50000"/>
                  </a:lnTo>
                  <a:lnTo>
                    <a:pt x="66541" y="48275"/>
                  </a:lnTo>
                  <a:lnTo>
                    <a:pt x="66260" y="48275"/>
                  </a:lnTo>
                  <a:lnTo>
                    <a:pt x="65978" y="47586"/>
                  </a:lnTo>
                  <a:lnTo>
                    <a:pt x="65556" y="47586"/>
                  </a:lnTo>
                  <a:lnTo>
                    <a:pt x="65275" y="45862"/>
                  </a:lnTo>
                  <a:lnTo>
                    <a:pt x="65275" y="44827"/>
                  </a:lnTo>
                  <a:lnTo>
                    <a:pt x="65275" y="44137"/>
                  </a:lnTo>
                  <a:lnTo>
                    <a:pt x="65275" y="43448"/>
                  </a:lnTo>
                  <a:lnTo>
                    <a:pt x="65275" y="42413"/>
                  </a:lnTo>
                  <a:lnTo>
                    <a:pt x="65275" y="41724"/>
                  </a:lnTo>
                  <a:lnTo>
                    <a:pt x="65275" y="41034"/>
                  </a:lnTo>
                  <a:lnTo>
                    <a:pt x="65556" y="40000"/>
                  </a:lnTo>
                  <a:lnTo>
                    <a:pt x="65556" y="39310"/>
                  </a:lnTo>
                  <a:lnTo>
                    <a:pt x="65978" y="37586"/>
                  </a:lnTo>
                  <a:lnTo>
                    <a:pt x="65978" y="37586"/>
                  </a:lnTo>
                  <a:lnTo>
                    <a:pt x="66260" y="36896"/>
                  </a:lnTo>
                  <a:lnTo>
                    <a:pt x="66541" y="36896"/>
                  </a:lnTo>
                  <a:lnTo>
                    <a:pt x="66963" y="36896"/>
                  </a:lnTo>
                  <a:lnTo>
                    <a:pt x="67526" y="37586"/>
                  </a:lnTo>
                  <a:lnTo>
                    <a:pt x="67948" y="37586"/>
                  </a:lnTo>
                  <a:lnTo>
                    <a:pt x="68933" y="37586"/>
                  </a:lnTo>
                  <a:lnTo>
                    <a:pt x="69214" y="37586"/>
                  </a:lnTo>
                  <a:lnTo>
                    <a:pt x="69214" y="37586"/>
                  </a:lnTo>
                  <a:lnTo>
                    <a:pt x="69495" y="37586"/>
                  </a:lnTo>
                  <a:lnTo>
                    <a:pt x="69917" y="37586"/>
                  </a:lnTo>
                  <a:lnTo>
                    <a:pt x="70621" y="37586"/>
                  </a:lnTo>
                  <a:lnTo>
                    <a:pt x="71184" y="37586"/>
                  </a:lnTo>
                  <a:lnTo>
                    <a:pt x="72872" y="37586"/>
                  </a:lnTo>
                  <a:lnTo>
                    <a:pt x="72872" y="37586"/>
                  </a:lnTo>
                  <a:lnTo>
                    <a:pt x="73153" y="37586"/>
                  </a:lnTo>
                  <a:lnTo>
                    <a:pt x="73575" y="37586"/>
                  </a:lnTo>
                  <a:lnTo>
                    <a:pt x="73575" y="38620"/>
                  </a:lnTo>
                  <a:lnTo>
                    <a:pt x="73856" y="38620"/>
                  </a:lnTo>
                  <a:lnTo>
                    <a:pt x="74138" y="38620"/>
                  </a:lnTo>
                  <a:lnTo>
                    <a:pt x="74560" y="38620"/>
                  </a:lnTo>
                  <a:lnTo>
                    <a:pt x="74841" y="38620"/>
                  </a:lnTo>
                  <a:lnTo>
                    <a:pt x="75826" y="38620"/>
                  </a:lnTo>
                  <a:lnTo>
                    <a:pt x="76248" y="38620"/>
                  </a:lnTo>
                  <a:lnTo>
                    <a:pt x="76248" y="37586"/>
                  </a:lnTo>
                  <a:lnTo>
                    <a:pt x="76529" y="37586"/>
                  </a:lnTo>
                  <a:lnTo>
                    <a:pt x="76811" y="37586"/>
                  </a:lnTo>
                  <a:lnTo>
                    <a:pt x="76811" y="36896"/>
                  </a:lnTo>
                  <a:lnTo>
                    <a:pt x="77233" y="35862"/>
                  </a:lnTo>
                  <a:lnTo>
                    <a:pt x="77233" y="35172"/>
                  </a:lnTo>
                  <a:lnTo>
                    <a:pt x="77514" y="35172"/>
                  </a:lnTo>
                  <a:lnTo>
                    <a:pt x="77796" y="33448"/>
                  </a:lnTo>
                  <a:lnTo>
                    <a:pt x="78218" y="32758"/>
                  </a:lnTo>
                  <a:lnTo>
                    <a:pt x="78218" y="32068"/>
                  </a:lnTo>
                  <a:lnTo>
                    <a:pt x="78499" y="31034"/>
                  </a:lnTo>
                  <a:lnTo>
                    <a:pt x="78499" y="30344"/>
                  </a:lnTo>
                  <a:lnTo>
                    <a:pt x="78780" y="30344"/>
                  </a:lnTo>
                  <a:lnTo>
                    <a:pt x="78780" y="30344"/>
                  </a:lnTo>
                  <a:lnTo>
                    <a:pt x="78499" y="28620"/>
                  </a:lnTo>
                  <a:lnTo>
                    <a:pt x="78499" y="28620"/>
                  </a:lnTo>
                  <a:lnTo>
                    <a:pt x="78218" y="28620"/>
                  </a:lnTo>
                  <a:lnTo>
                    <a:pt x="77796" y="28620"/>
                  </a:lnTo>
                  <a:lnTo>
                    <a:pt x="77796" y="29655"/>
                  </a:lnTo>
                  <a:lnTo>
                    <a:pt x="77514" y="30344"/>
                  </a:lnTo>
                  <a:lnTo>
                    <a:pt x="77514" y="30344"/>
                  </a:lnTo>
                  <a:lnTo>
                    <a:pt x="77233" y="30344"/>
                  </a:lnTo>
                  <a:lnTo>
                    <a:pt x="77233" y="31034"/>
                  </a:lnTo>
                  <a:lnTo>
                    <a:pt x="77233" y="31034"/>
                  </a:lnTo>
                  <a:lnTo>
                    <a:pt x="76811" y="32068"/>
                  </a:lnTo>
                  <a:lnTo>
                    <a:pt x="76529" y="32068"/>
                  </a:lnTo>
                  <a:lnTo>
                    <a:pt x="76248" y="33448"/>
                  </a:lnTo>
                  <a:lnTo>
                    <a:pt x="75545" y="34482"/>
                  </a:lnTo>
                  <a:lnTo>
                    <a:pt x="75263" y="35172"/>
                  </a:lnTo>
                  <a:lnTo>
                    <a:pt x="73575" y="34482"/>
                  </a:lnTo>
                  <a:lnTo>
                    <a:pt x="73153" y="34482"/>
                  </a:lnTo>
                  <a:lnTo>
                    <a:pt x="72872" y="34482"/>
                  </a:lnTo>
                  <a:lnTo>
                    <a:pt x="72872" y="34482"/>
                  </a:lnTo>
                  <a:lnTo>
                    <a:pt x="72590" y="34482"/>
                  </a:lnTo>
                  <a:lnTo>
                    <a:pt x="72590" y="34482"/>
                  </a:lnTo>
                  <a:lnTo>
                    <a:pt x="72590" y="34482"/>
                  </a:lnTo>
                  <a:lnTo>
                    <a:pt x="72168" y="34482"/>
                  </a:lnTo>
                  <a:lnTo>
                    <a:pt x="71887" y="33448"/>
                  </a:lnTo>
                  <a:lnTo>
                    <a:pt x="71606" y="33448"/>
                  </a:lnTo>
                  <a:lnTo>
                    <a:pt x="70621" y="33448"/>
                  </a:lnTo>
                  <a:lnTo>
                    <a:pt x="69917" y="32758"/>
                  </a:lnTo>
                  <a:lnTo>
                    <a:pt x="69214" y="32758"/>
                  </a:lnTo>
                  <a:lnTo>
                    <a:pt x="69214" y="32758"/>
                  </a:lnTo>
                  <a:lnTo>
                    <a:pt x="68933" y="32758"/>
                  </a:lnTo>
                  <a:lnTo>
                    <a:pt x="68933" y="32758"/>
                  </a:lnTo>
                  <a:lnTo>
                    <a:pt x="68933" y="32068"/>
                  </a:lnTo>
                  <a:lnTo>
                    <a:pt x="68933" y="32068"/>
                  </a:lnTo>
                  <a:lnTo>
                    <a:pt x="68511" y="32068"/>
                  </a:lnTo>
                  <a:lnTo>
                    <a:pt x="68511" y="32068"/>
                  </a:lnTo>
                  <a:lnTo>
                    <a:pt x="68229" y="32068"/>
                  </a:lnTo>
                  <a:lnTo>
                    <a:pt x="67948" y="31034"/>
                  </a:lnTo>
                  <a:lnTo>
                    <a:pt x="67948" y="31034"/>
                  </a:lnTo>
                  <a:lnTo>
                    <a:pt x="67526" y="31034"/>
                  </a:lnTo>
                  <a:lnTo>
                    <a:pt x="67526" y="32068"/>
                  </a:lnTo>
                  <a:lnTo>
                    <a:pt x="67245" y="32068"/>
                  </a:lnTo>
                  <a:lnTo>
                    <a:pt x="67245" y="32758"/>
                  </a:lnTo>
                  <a:lnTo>
                    <a:pt x="67245" y="33448"/>
                  </a:lnTo>
                  <a:lnTo>
                    <a:pt x="66963" y="33448"/>
                  </a:lnTo>
                  <a:lnTo>
                    <a:pt x="66963" y="34482"/>
                  </a:lnTo>
                  <a:lnTo>
                    <a:pt x="66963" y="34482"/>
                  </a:lnTo>
                  <a:lnTo>
                    <a:pt x="66541" y="34482"/>
                  </a:lnTo>
                  <a:lnTo>
                    <a:pt x="66541" y="35172"/>
                  </a:lnTo>
                  <a:lnTo>
                    <a:pt x="66260" y="34482"/>
                  </a:lnTo>
                  <a:lnTo>
                    <a:pt x="65978" y="34482"/>
                  </a:lnTo>
                  <a:lnTo>
                    <a:pt x="65978" y="33448"/>
                  </a:lnTo>
                  <a:lnTo>
                    <a:pt x="65978" y="33448"/>
                  </a:lnTo>
                  <a:lnTo>
                    <a:pt x="65978" y="33448"/>
                  </a:lnTo>
                  <a:lnTo>
                    <a:pt x="65556" y="34482"/>
                  </a:lnTo>
                  <a:lnTo>
                    <a:pt x="65556" y="35172"/>
                  </a:lnTo>
                  <a:lnTo>
                    <a:pt x="65275" y="35172"/>
                  </a:lnTo>
                  <a:lnTo>
                    <a:pt x="65275" y="35862"/>
                  </a:lnTo>
                  <a:lnTo>
                    <a:pt x="65275" y="36896"/>
                  </a:lnTo>
                  <a:lnTo>
                    <a:pt x="65275" y="36896"/>
                  </a:lnTo>
                  <a:lnTo>
                    <a:pt x="64853" y="37586"/>
                  </a:lnTo>
                  <a:lnTo>
                    <a:pt x="64572" y="39310"/>
                  </a:lnTo>
                  <a:lnTo>
                    <a:pt x="64572" y="39310"/>
                  </a:lnTo>
                  <a:lnTo>
                    <a:pt x="64853" y="41034"/>
                  </a:lnTo>
                  <a:lnTo>
                    <a:pt x="64572" y="41034"/>
                  </a:lnTo>
                  <a:lnTo>
                    <a:pt x="64572" y="41724"/>
                  </a:lnTo>
                  <a:lnTo>
                    <a:pt x="64572" y="41034"/>
                  </a:lnTo>
                  <a:lnTo>
                    <a:pt x="64290" y="41724"/>
                  </a:lnTo>
                  <a:lnTo>
                    <a:pt x="64572" y="44137"/>
                  </a:lnTo>
                  <a:lnTo>
                    <a:pt x="64572" y="45862"/>
                  </a:lnTo>
                  <a:lnTo>
                    <a:pt x="64572" y="46551"/>
                  </a:lnTo>
                  <a:lnTo>
                    <a:pt x="64572" y="47586"/>
                  </a:lnTo>
                  <a:lnTo>
                    <a:pt x="64572" y="46551"/>
                  </a:lnTo>
                  <a:lnTo>
                    <a:pt x="64290" y="45862"/>
                  </a:lnTo>
                  <a:lnTo>
                    <a:pt x="64290" y="46551"/>
                  </a:lnTo>
                  <a:lnTo>
                    <a:pt x="63868" y="47586"/>
                  </a:lnTo>
                  <a:lnTo>
                    <a:pt x="63305" y="50000"/>
                  </a:lnTo>
                  <a:lnTo>
                    <a:pt x="63305" y="51379"/>
                  </a:lnTo>
                  <a:lnTo>
                    <a:pt x="63305" y="51379"/>
                  </a:lnTo>
                  <a:lnTo>
                    <a:pt x="63305" y="52413"/>
                  </a:lnTo>
                  <a:lnTo>
                    <a:pt x="63305" y="53103"/>
                  </a:lnTo>
                  <a:lnTo>
                    <a:pt x="63305" y="54137"/>
                  </a:lnTo>
                  <a:lnTo>
                    <a:pt x="63305" y="54827"/>
                  </a:lnTo>
                  <a:lnTo>
                    <a:pt x="62883" y="55517"/>
                  </a:lnTo>
                  <a:lnTo>
                    <a:pt x="62883" y="56551"/>
                  </a:lnTo>
                  <a:lnTo>
                    <a:pt x="62883" y="57241"/>
                  </a:lnTo>
                  <a:lnTo>
                    <a:pt x="62602" y="57931"/>
                  </a:lnTo>
                  <a:lnTo>
                    <a:pt x="62602" y="58965"/>
                  </a:lnTo>
                  <a:lnTo>
                    <a:pt x="62321" y="59655"/>
                  </a:lnTo>
                  <a:lnTo>
                    <a:pt x="62321" y="60344"/>
                  </a:lnTo>
                  <a:moveTo>
                    <a:pt x="16881" y="28620"/>
                  </a:moveTo>
                  <a:lnTo>
                    <a:pt x="16881" y="28620"/>
                  </a:lnTo>
                  <a:lnTo>
                    <a:pt x="17162" y="27931"/>
                  </a:lnTo>
                  <a:lnTo>
                    <a:pt x="17162" y="26896"/>
                  </a:lnTo>
                  <a:lnTo>
                    <a:pt x="17444" y="26896"/>
                  </a:lnTo>
                  <a:lnTo>
                    <a:pt x="17444" y="26206"/>
                  </a:lnTo>
                  <a:lnTo>
                    <a:pt x="17162" y="25517"/>
                  </a:lnTo>
                  <a:lnTo>
                    <a:pt x="17162" y="25517"/>
                  </a:lnTo>
                  <a:lnTo>
                    <a:pt x="16881" y="26206"/>
                  </a:lnTo>
                  <a:lnTo>
                    <a:pt x="16459" y="26206"/>
                  </a:lnTo>
                  <a:lnTo>
                    <a:pt x="16459" y="26206"/>
                  </a:lnTo>
                  <a:lnTo>
                    <a:pt x="16459" y="26896"/>
                  </a:lnTo>
                  <a:lnTo>
                    <a:pt x="16459" y="27931"/>
                  </a:lnTo>
                  <a:lnTo>
                    <a:pt x="16881" y="28620"/>
                  </a:lnTo>
                  <a:moveTo>
                    <a:pt x="84548" y="32758"/>
                  </a:moveTo>
                  <a:lnTo>
                    <a:pt x="84830" y="34482"/>
                  </a:lnTo>
                  <a:lnTo>
                    <a:pt x="85111" y="34482"/>
                  </a:lnTo>
                  <a:lnTo>
                    <a:pt x="85111" y="35172"/>
                  </a:lnTo>
                  <a:lnTo>
                    <a:pt x="84830" y="35172"/>
                  </a:lnTo>
                  <a:lnTo>
                    <a:pt x="84830" y="35862"/>
                  </a:lnTo>
                  <a:lnTo>
                    <a:pt x="84830" y="36896"/>
                  </a:lnTo>
                  <a:lnTo>
                    <a:pt x="84830" y="37586"/>
                  </a:lnTo>
                  <a:lnTo>
                    <a:pt x="85111" y="38620"/>
                  </a:lnTo>
                  <a:lnTo>
                    <a:pt x="85111" y="38620"/>
                  </a:lnTo>
                  <a:lnTo>
                    <a:pt x="85111" y="38620"/>
                  </a:lnTo>
                  <a:lnTo>
                    <a:pt x="85111" y="40000"/>
                  </a:lnTo>
                  <a:lnTo>
                    <a:pt x="85111" y="41034"/>
                  </a:lnTo>
                  <a:lnTo>
                    <a:pt x="85111" y="41724"/>
                  </a:lnTo>
                  <a:lnTo>
                    <a:pt x="85111" y="41724"/>
                  </a:lnTo>
                  <a:lnTo>
                    <a:pt x="85111" y="42413"/>
                  </a:lnTo>
                  <a:lnTo>
                    <a:pt x="85533" y="43448"/>
                  </a:lnTo>
                  <a:lnTo>
                    <a:pt x="85814" y="43448"/>
                  </a:lnTo>
                  <a:lnTo>
                    <a:pt x="85814" y="44137"/>
                  </a:lnTo>
                  <a:lnTo>
                    <a:pt x="86096" y="45862"/>
                  </a:lnTo>
                  <a:lnTo>
                    <a:pt x="86096" y="45862"/>
                  </a:lnTo>
                  <a:lnTo>
                    <a:pt x="86799" y="46551"/>
                  </a:lnTo>
                  <a:lnTo>
                    <a:pt x="86799" y="47586"/>
                  </a:lnTo>
                  <a:lnTo>
                    <a:pt x="87080" y="47586"/>
                  </a:lnTo>
                  <a:lnTo>
                    <a:pt x="86799" y="46551"/>
                  </a:lnTo>
                  <a:lnTo>
                    <a:pt x="86799" y="46551"/>
                  </a:lnTo>
                  <a:lnTo>
                    <a:pt x="86096" y="44137"/>
                  </a:lnTo>
                  <a:lnTo>
                    <a:pt x="86096" y="42413"/>
                  </a:lnTo>
                  <a:lnTo>
                    <a:pt x="85814" y="41034"/>
                  </a:lnTo>
                  <a:lnTo>
                    <a:pt x="85814" y="40000"/>
                  </a:lnTo>
                  <a:lnTo>
                    <a:pt x="85814" y="39310"/>
                  </a:lnTo>
                  <a:lnTo>
                    <a:pt x="85814" y="38620"/>
                  </a:lnTo>
                  <a:lnTo>
                    <a:pt x="85814" y="38620"/>
                  </a:lnTo>
                  <a:lnTo>
                    <a:pt x="85814" y="37586"/>
                  </a:lnTo>
                  <a:lnTo>
                    <a:pt x="86096" y="37586"/>
                  </a:lnTo>
                  <a:lnTo>
                    <a:pt x="86518" y="37586"/>
                  </a:lnTo>
                  <a:lnTo>
                    <a:pt x="86518" y="37586"/>
                  </a:lnTo>
                  <a:lnTo>
                    <a:pt x="86799" y="37586"/>
                  </a:lnTo>
                  <a:lnTo>
                    <a:pt x="87080" y="38620"/>
                  </a:lnTo>
                  <a:lnTo>
                    <a:pt x="87502" y="38620"/>
                  </a:lnTo>
                  <a:lnTo>
                    <a:pt x="88487" y="39310"/>
                  </a:lnTo>
                  <a:lnTo>
                    <a:pt x="88487" y="39310"/>
                  </a:lnTo>
                  <a:lnTo>
                    <a:pt x="88065" y="38620"/>
                  </a:lnTo>
                  <a:lnTo>
                    <a:pt x="88065" y="38620"/>
                  </a:lnTo>
                  <a:lnTo>
                    <a:pt x="87784" y="38620"/>
                  </a:lnTo>
                  <a:lnTo>
                    <a:pt x="87784" y="37586"/>
                  </a:lnTo>
                  <a:lnTo>
                    <a:pt x="87784" y="36896"/>
                  </a:lnTo>
                  <a:lnTo>
                    <a:pt x="87784" y="36896"/>
                  </a:lnTo>
                  <a:lnTo>
                    <a:pt x="87080" y="35862"/>
                  </a:lnTo>
                  <a:lnTo>
                    <a:pt x="86799" y="35172"/>
                  </a:lnTo>
                  <a:lnTo>
                    <a:pt x="86799" y="35172"/>
                  </a:lnTo>
                  <a:lnTo>
                    <a:pt x="86799" y="34482"/>
                  </a:lnTo>
                  <a:lnTo>
                    <a:pt x="86799" y="34482"/>
                  </a:lnTo>
                  <a:lnTo>
                    <a:pt x="87502" y="33448"/>
                  </a:lnTo>
                  <a:lnTo>
                    <a:pt x="87784" y="32758"/>
                  </a:lnTo>
                  <a:lnTo>
                    <a:pt x="87784" y="32758"/>
                  </a:lnTo>
                  <a:lnTo>
                    <a:pt x="87784" y="31034"/>
                  </a:lnTo>
                  <a:lnTo>
                    <a:pt x="87784" y="30344"/>
                  </a:lnTo>
                  <a:lnTo>
                    <a:pt x="87784" y="29655"/>
                  </a:lnTo>
                  <a:lnTo>
                    <a:pt x="87784" y="29655"/>
                  </a:lnTo>
                  <a:lnTo>
                    <a:pt x="87502" y="29655"/>
                  </a:lnTo>
                  <a:lnTo>
                    <a:pt x="87080" y="29655"/>
                  </a:lnTo>
                  <a:lnTo>
                    <a:pt x="86518" y="31034"/>
                  </a:lnTo>
                  <a:lnTo>
                    <a:pt x="86518" y="31034"/>
                  </a:lnTo>
                  <a:lnTo>
                    <a:pt x="86518" y="32068"/>
                  </a:lnTo>
                  <a:lnTo>
                    <a:pt x="86518" y="32758"/>
                  </a:lnTo>
                  <a:lnTo>
                    <a:pt x="86518" y="32758"/>
                  </a:lnTo>
                  <a:lnTo>
                    <a:pt x="86096" y="32758"/>
                  </a:lnTo>
                  <a:lnTo>
                    <a:pt x="85814" y="33448"/>
                  </a:lnTo>
                  <a:lnTo>
                    <a:pt x="85814" y="34482"/>
                  </a:lnTo>
                  <a:lnTo>
                    <a:pt x="85814" y="34482"/>
                  </a:lnTo>
                  <a:lnTo>
                    <a:pt x="85814" y="35172"/>
                  </a:lnTo>
                  <a:lnTo>
                    <a:pt x="85533" y="35172"/>
                  </a:lnTo>
                  <a:lnTo>
                    <a:pt x="85533" y="34482"/>
                  </a:lnTo>
                  <a:lnTo>
                    <a:pt x="85111" y="34482"/>
                  </a:lnTo>
                  <a:lnTo>
                    <a:pt x="85111" y="34482"/>
                  </a:lnTo>
                  <a:lnTo>
                    <a:pt x="85111" y="33448"/>
                  </a:lnTo>
                  <a:lnTo>
                    <a:pt x="85111" y="33448"/>
                  </a:lnTo>
                  <a:lnTo>
                    <a:pt x="85814" y="32758"/>
                  </a:lnTo>
                  <a:lnTo>
                    <a:pt x="86096" y="32068"/>
                  </a:lnTo>
                  <a:lnTo>
                    <a:pt x="86096" y="31034"/>
                  </a:lnTo>
                  <a:lnTo>
                    <a:pt x="86096" y="30344"/>
                  </a:lnTo>
                  <a:lnTo>
                    <a:pt x="86096" y="29655"/>
                  </a:lnTo>
                  <a:lnTo>
                    <a:pt x="86096" y="28620"/>
                  </a:lnTo>
                  <a:lnTo>
                    <a:pt x="85814" y="27931"/>
                  </a:lnTo>
                  <a:lnTo>
                    <a:pt x="85814" y="27931"/>
                  </a:lnTo>
                  <a:lnTo>
                    <a:pt x="85814" y="26896"/>
                  </a:lnTo>
                  <a:lnTo>
                    <a:pt x="85814" y="26896"/>
                  </a:lnTo>
                  <a:lnTo>
                    <a:pt x="86096" y="25517"/>
                  </a:lnTo>
                  <a:lnTo>
                    <a:pt x="86096" y="25517"/>
                  </a:lnTo>
                  <a:lnTo>
                    <a:pt x="86096" y="24482"/>
                  </a:lnTo>
                  <a:lnTo>
                    <a:pt x="85814" y="25517"/>
                  </a:lnTo>
                  <a:lnTo>
                    <a:pt x="85814" y="25517"/>
                  </a:lnTo>
                  <a:lnTo>
                    <a:pt x="85111" y="26206"/>
                  </a:lnTo>
                  <a:lnTo>
                    <a:pt x="85111" y="27931"/>
                  </a:lnTo>
                  <a:lnTo>
                    <a:pt x="84830" y="28620"/>
                  </a:lnTo>
                  <a:lnTo>
                    <a:pt x="84830" y="28620"/>
                  </a:lnTo>
                  <a:lnTo>
                    <a:pt x="84830" y="29655"/>
                  </a:lnTo>
                  <a:lnTo>
                    <a:pt x="84830" y="30344"/>
                  </a:lnTo>
                  <a:lnTo>
                    <a:pt x="84548" y="32068"/>
                  </a:lnTo>
                  <a:lnTo>
                    <a:pt x="84548" y="32758"/>
                  </a:lnTo>
                  <a:moveTo>
                    <a:pt x="86799" y="26206"/>
                  </a:moveTo>
                  <a:lnTo>
                    <a:pt x="87080" y="26206"/>
                  </a:lnTo>
                  <a:lnTo>
                    <a:pt x="87502" y="25517"/>
                  </a:lnTo>
                  <a:lnTo>
                    <a:pt x="87502" y="24482"/>
                  </a:lnTo>
                  <a:lnTo>
                    <a:pt x="87784" y="23103"/>
                  </a:lnTo>
                  <a:lnTo>
                    <a:pt x="87502" y="22068"/>
                  </a:lnTo>
                  <a:lnTo>
                    <a:pt x="87502" y="22068"/>
                  </a:lnTo>
                  <a:lnTo>
                    <a:pt x="87080" y="22068"/>
                  </a:lnTo>
                  <a:lnTo>
                    <a:pt x="86799" y="23103"/>
                  </a:lnTo>
                  <a:lnTo>
                    <a:pt x="86518" y="24482"/>
                  </a:lnTo>
                  <a:lnTo>
                    <a:pt x="86799" y="25517"/>
                  </a:lnTo>
                  <a:lnTo>
                    <a:pt x="86799" y="26206"/>
                  </a:lnTo>
                  <a:moveTo>
                    <a:pt x="3516" y="23103"/>
                  </a:moveTo>
                  <a:lnTo>
                    <a:pt x="3235" y="23103"/>
                  </a:lnTo>
                  <a:lnTo>
                    <a:pt x="2532" y="21379"/>
                  </a:lnTo>
                  <a:lnTo>
                    <a:pt x="2532" y="21379"/>
                  </a:lnTo>
                  <a:lnTo>
                    <a:pt x="2532" y="21379"/>
                  </a:lnTo>
                  <a:lnTo>
                    <a:pt x="2250" y="20689"/>
                  </a:lnTo>
                  <a:lnTo>
                    <a:pt x="1969" y="19655"/>
                  </a:lnTo>
                  <a:lnTo>
                    <a:pt x="1547" y="19655"/>
                  </a:lnTo>
                  <a:lnTo>
                    <a:pt x="1547" y="20689"/>
                  </a:lnTo>
                  <a:lnTo>
                    <a:pt x="1547" y="20689"/>
                  </a:lnTo>
                  <a:lnTo>
                    <a:pt x="1547" y="20689"/>
                  </a:lnTo>
                  <a:lnTo>
                    <a:pt x="1547" y="21379"/>
                  </a:lnTo>
                  <a:lnTo>
                    <a:pt x="1969" y="21379"/>
                  </a:lnTo>
                  <a:lnTo>
                    <a:pt x="2250" y="22068"/>
                  </a:lnTo>
                  <a:lnTo>
                    <a:pt x="2250" y="22068"/>
                  </a:lnTo>
                  <a:lnTo>
                    <a:pt x="2954" y="23103"/>
                  </a:lnTo>
                  <a:lnTo>
                    <a:pt x="3235" y="23793"/>
                  </a:lnTo>
                  <a:lnTo>
                    <a:pt x="3235" y="23793"/>
                  </a:lnTo>
                  <a:lnTo>
                    <a:pt x="3516" y="23793"/>
                  </a:lnTo>
                  <a:lnTo>
                    <a:pt x="3516" y="23103"/>
                  </a:lnTo>
                  <a:lnTo>
                    <a:pt x="3516" y="23103"/>
                  </a:lnTo>
                  <a:moveTo>
                    <a:pt x="58663" y="16551"/>
                  </a:moveTo>
                  <a:lnTo>
                    <a:pt x="58663" y="16551"/>
                  </a:lnTo>
                  <a:lnTo>
                    <a:pt x="58663" y="17241"/>
                  </a:lnTo>
                  <a:lnTo>
                    <a:pt x="58944" y="17241"/>
                  </a:lnTo>
                  <a:lnTo>
                    <a:pt x="58944" y="16551"/>
                  </a:lnTo>
                  <a:lnTo>
                    <a:pt x="58663" y="15517"/>
                  </a:lnTo>
                  <a:lnTo>
                    <a:pt x="58663" y="15517"/>
                  </a:lnTo>
                  <a:lnTo>
                    <a:pt x="58663" y="16551"/>
                  </a:lnTo>
                  <a:moveTo>
                    <a:pt x="59226" y="11724"/>
                  </a:moveTo>
                  <a:lnTo>
                    <a:pt x="59226" y="11724"/>
                  </a:lnTo>
                  <a:lnTo>
                    <a:pt x="59226" y="10689"/>
                  </a:lnTo>
                  <a:lnTo>
                    <a:pt x="58944" y="10689"/>
                  </a:lnTo>
                  <a:lnTo>
                    <a:pt x="58663" y="10689"/>
                  </a:lnTo>
                  <a:lnTo>
                    <a:pt x="58663" y="10689"/>
                  </a:lnTo>
                  <a:lnTo>
                    <a:pt x="58944" y="11724"/>
                  </a:lnTo>
                  <a:lnTo>
                    <a:pt x="59226" y="11724"/>
                  </a:lnTo>
                  <a:moveTo>
                    <a:pt x="36014" y="38620"/>
                  </a:moveTo>
                  <a:lnTo>
                    <a:pt x="36436" y="39310"/>
                  </a:lnTo>
                  <a:lnTo>
                    <a:pt x="36717" y="40000"/>
                  </a:lnTo>
                  <a:lnTo>
                    <a:pt x="36717" y="40000"/>
                  </a:lnTo>
                  <a:lnTo>
                    <a:pt x="36998" y="40000"/>
                  </a:lnTo>
                  <a:lnTo>
                    <a:pt x="36998" y="41034"/>
                  </a:lnTo>
                  <a:lnTo>
                    <a:pt x="36998" y="41034"/>
                  </a:lnTo>
                  <a:lnTo>
                    <a:pt x="36717" y="41034"/>
                  </a:lnTo>
                  <a:lnTo>
                    <a:pt x="36717" y="41724"/>
                  </a:lnTo>
                  <a:lnTo>
                    <a:pt x="36717" y="42413"/>
                  </a:lnTo>
                  <a:lnTo>
                    <a:pt x="36717" y="42413"/>
                  </a:lnTo>
                  <a:lnTo>
                    <a:pt x="36717" y="44137"/>
                  </a:lnTo>
                  <a:lnTo>
                    <a:pt x="36717" y="44137"/>
                  </a:lnTo>
                  <a:lnTo>
                    <a:pt x="36717" y="44137"/>
                  </a:lnTo>
                  <a:lnTo>
                    <a:pt x="36998" y="44827"/>
                  </a:lnTo>
                  <a:lnTo>
                    <a:pt x="37420" y="45862"/>
                  </a:lnTo>
                  <a:lnTo>
                    <a:pt x="37420" y="45862"/>
                  </a:lnTo>
                  <a:lnTo>
                    <a:pt x="36998" y="45862"/>
                  </a:lnTo>
                  <a:lnTo>
                    <a:pt x="36998" y="46551"/>
                  </a:lnTo>
                  <a:lnTo>
                    <a:pt x="36998" y="46551"/>
                  </a:lnTo>
                  <a:lnTo>
                    <a:pt x="36998" y="47586"/>
                  </a:lnTo>
                  <a:lnTo>
                    <a:pt x="36998" y="47586"/>
                  </a:lnTo>
                  <a:lnTo>
                    <a:pt x="37420" y="47586"/>
                  </a:lnTo>
                  <a:lnTo>
                    <a:pt x="38124" y="47586"/>
                  </a:lnTo>
                  <a:lnTo>
                    <a:pt x="38405" y="48275"/>
                  </a:lnTo>
                  <a:lnTo>
                    <a:pt x="38686" y="48965"/>
                  </a:lnTo>
                  <a:lnTo>
                    <a:pt x="38686" y="50000"/>
                  </a:lnTo>
                  <a:lnTo>
                    <a:pt x="39109" y="50000"/>
                  </a:lnTo>
                  <a:lnTo>
                    <a:pt x="39109" y="51379"/>
                  </a:lnTo>
                  <a:lnTo>
                    <a:pt x="39109" y="52413"/>
                  </a:lnTo>
                  <a:lnTo>
                    <a:pt x="39109" y="53103"/>
                  </a:lnTo>
                  <a:lnTo>
                    <a:pt x="38686" y="54137"/>
                  </a:lnTo>
                  <a:lnTo>
                    <a:pt x="38686" y="54827"/>
                  </a:lnTo>
                  <a:lnTo>
                    <a:pt x="39109" y="54827"/>
                  </a:lnTo>
                  <a:lnTo>
                    <a:pt x="39109" y="55517"/>
                  </a:lnTo>
                  <a:lnTo>
                    <a:pt x="39109" y="57241"/>
                  </a:lnTo>
                  <a:lnTo>
                    <a:pt x="39390" y="60344"/>
                  </a:lnTo>
                  <a:lnTo>
                    <a:pt x="39390" y="62068"/>
                  </a:lnTo>
                  <a:lnTo>
                    <a:pt x="39390" y="63103"/>
                  </a:lnTo>
                  <a:lnTo>
                    <a:pt x="39671" y="63103"/>
                  </a:lnTo>
                  <a:lnTo>
                    <a:pt x="39671" y="62068"/>
                  </a:lnTo>
                  <a:lnTo>
                    <a:pt x="39671" y="62068"/>
                  </a:lnTo>
                  <a:lnTo>
                    <a:pt x="40375" y="62068"/>
                  </a:lnTo>
                  <a:lnTo>
                    <a:pt x="40656" y="63103"/>
                  </a:lnTo>
                  <a:lnTo>
                    <a:pt x="40656" y="63103"/>
                  </a:lnTo>
                  <a:lnTo>
                    <a:pt x="40656" y="63103"/>
                  </a:lnTo>
                  <a:lnTo>
                    <a:pt x="41078" y="62068"/>
                  </a:lnTo>
                  <a:lnTo>
                    <a:pt x="41078" y="62068"/>
                  </a:lnTo>
                  <a:lnTo>
                    <a:pt x="41078" y="62068"/>
                  </a:lnTo>
                  <a:lnTo>
                    <a:pt x="41078" y="63103"/>
                  </a:lnTo>
                  <a:lnTo>
                    <a:pt x="41078" y="63103"/>
                  </a:lnTo>
                  <a:lnTo>
                    <a:pt x="41359" y="63103"/>
                  </a:lnTo>
                  <a:lnTo>
                    <a:pt x="41641" y="63103"/>
                  </a:lnTo>
                  <a:lnTo>
                    <a:pt x="42063" y="62068"/>
                  </a:lnTo>
                  <a:lnTo>
                    <a:pt x="42344" y="62068"/>
                  </a:lnTo>
                  <a:lnTo>
                    <a:pt x="42766" y="63103"/>
                  </a:lnTo>
                  <a:lnTo>
                    <a:pt x="43048" y="63103"/>
                  </a:lnTo>
                  <a:lnTo>
                    <a:pt x="43048" y="62068"/>
                  </a:lnTo>
                  <a:lnTo>
                    <a:pt x="43329" y="62068"/>
                  </a:lnTo>
                  <a:lnTo>
                    <a:pt x="43329" y="62068"/>
                  </a:lnTo>
                  <a:lnTo>
                    <a:pt x="43751" y="63103"/>
                  </a:lnTo>
                  <a:lnTo>
                    <a:pt x="43751" y="63103"/>
                  </a:lnTo>
                  <a:lnTo>
                    <a:pt x="43751" y="65517"/>
                  </a:lnTo>
                  <a:lnTo>
                    <a:pt x="43751" y="66206"/>
                  </a:lnTo>
                  <a:lnTo>
                    <a:pt x="43329" y="66896"/>
                  </a:lnTo>
                  <a:lnTo>
                    <a:pt x="43751" y="66896"/>
                  </a:lnTo>
                  <a:lnTo>
                    <a:pt x="43751" y="66896"/>
                  </a:lnTo>
                  <a:lnTo>
                    <a:pt x="44032" y="66896"/>
                  </a:lnTo>
                  <a:lnTo>
                    <a:pt x="44314" y="65517"/>
                  </a:lnTo>
                  <a:lnTo>
                    <a:pt x="44736" y="65517"/>
                  </a:lnTo>
                  <a:lnTo>
                    <a:pt x="45017" y="65517"/>
                  </a:lnTo>
                  <a:lnTo>
                    <a:pt x="45720" y="65517"/>
                  </a:lnTo>
                  <a:lnTo>
                    <a:pt x="46002" y="65517"/>
                  </a:lnTo>
                  <a:lnTo>
                    <a:pt x="46705" y="63793"/>
                  </a:lnTo>
                  <a:lnTo>
                    <a:pt x="46705" y="62068"/>
                  </a:lnTo>
                  <a:lnTo>
                    <a:pt x="47690" y="64482"/>
                  </a:lnTo>
                  <a:lnTo>
                    <a:pt x="47690" y="64482"/>
                  </a:lnTo>
                  <a:lnTo>
                    <a:pt x="47690" y="64482"/>
                  </a:lnTo>
                  <a:lnTo>
                    <a:pt x="47971" y="63793"/>
                  </a:lnTo>
                  <a:lnTo>
                    <a:pt x="47971" y="63793"/>
                  </a:lnTo>
                  <a:lnTo>
                    <a:pt x="48393" y="64482"/>
                  </a:lnTo>
                  <a:lnTo>
                    <a:pt x="48393" y="64482"/>
                  </a:lnTo>
                  <a:lnTo>
                    <a:pt x="48393" y="65517"/>
                  </a:lnTo>
                  <a:lnTo>
                    <a:pt x="48393" y="66206"/>
                  </a:lnTo>
                  <a:lnTo>
                    <a:pt x="48393" y="66206"/>
                  </a:lnTo>
                  <a:lnTo>
                    <a:pt x="48675" y="66206"/>
                  </a:lnTo>
                  <a:lnTo>
                    <a:pt x="48956" y="65517"/>
                  </a:lnTo>
                  <a:lnTo>
                    <a:pt x="49378" y="64482"/>
                  </a:lnTo>
                  <a:lnTo>
                    <a:pt x="49660" y="64482"/>
                  </a:lnTo>
                  <a:lnTo>
                    <a:pt x="49660" y="65517"/>
                  </a:lnTo>
                  <a:lnTo>
                    <a:pt x="49660" y="65517"/>
                  </a:lnTo>
                  <a:lnTo>
                    <a:pt x="49941" y="65517"/>
                  </a:lnTo>
                  <a:lnTo>
                    <a:pt x="49941" y="65517"/>
                  </a:lnTo>
                  <a:lnTo>
                    <a:pt x="49941" y="64482"/>
                  </a:lnTo>
                  <a:lnTo>
                    <a:pt x="49941" y="65517"/>
                  </a:lnTo>
                  <a:lnTo>
                    <a:pt x="49941" y="65517"/>
                  </a:lnTo>
                  <a:lnTo>
                    <a:pt x="49941" y="66206"/>
                  </a:lnTo>
                  <a:lnTo>
                    <a:pt x="50363" y="66206"/>
                  </a:lnTo>
                  <a:lnTo>
                    <a:pt x="50363" y="66206"/>
                  </a:lnTo>
                  <a:lnTo>
                    <a:pt x="50644" y="65517"/>
                  </a:lnTo>
                  <a:lnTo>
                    <a:pt x="50644" y="66206"/>
                  </a:lnTo>
                  <a:lnTo>
                    <a:pt x="50644" y="67931"/>
                  </a:lnTo>
                  <a:lnTo>
                    <a:pt x="50644" y="71034"/>
                  </a:lnTo>
                  <a:lnTo>
                    <a:pt x="50926" y="71034"/>
                  </a:lnTo>
                  <a:lnTo>
                    <a:pt x="50926" y="71034"/>
                  </a:lnTo>
                  <a:lnTo>
                    <a:pt x="52332" y="69310"/>
                  </a:lnTo>
                  <a:lnTo>
                    <a:pt x="54302" y="66896"/>
                  </a:lnTo>
                  <a:lnTo>
                    <a:pt x="54302" y="66206"/>
                  </a:lnTo>
                  <a:lnTo>
                    <a:pt x="54583" y="66206"/>
                  </a:lnTo>
                  <a:lnTo>
                    <a:pt x="54583" y="65517"/>
                  </a:lnTo>
                  <a:lnTo>
                    <a:pt x="55005" y="64482"/>
                  </a:lnTo>
                  <a:lnTo>
                    <a:pt x="55005" y="63793"/>
                  </a:lnTo>
                  <a:lnTo>
                    <a:pt x="55005" y="63793"/>
                  </a:lnTo>
                  <a:lnTo>
                    <a:pt x="55287" y="63793"/>
                  </a:lnTo>
                  <a:lnTo>
                    <a:pt x="55005" y="63103"/>
                  </a:lnTo>
                  <a:lnTo>
                    <a:pt x="55005" y="63103"/>
                  </a:lnTo>
                  <a:lnTo>
                    <a:pt x="55005" y="62068"/>
                  </a:lnTo>
                  <a:lnTo>
                    <a:pt x="55005" y="63103"/>
                  </a:lnTo>
                  <a:lnTo>
                    <a:pt x="55287" y="62068"/>
                  </a:lnTo>
                  <a:lnTo>
                    <a:pt x="55287" y="62068"/>
                  </a:lnTo>
                  <a:lnTo>
                    <a:pt x="55287" y="61379"/>
                  </a:lnTo>
                  <a:lnTo>
                    <a:pt x="55568" y="60344"/>
                  </a:lnTo>
                  <a:lnTo>
                    <a:pt x="55568" y="59655"/>
                  </a:lnTo>
                  <a:lnTo>
                    <a:pt x="55287" y="59655"/>
                  </a:lnTo>
                  <a:lnTo>
                    <a:pt x="55287" y="59655"/>
                  </a:lnTo>
                  <a:lnTo>
                    <a:pt x="55568" y="59655"/>
                  </a:lnTo>
                  <a:lnTo>
                    <a:pt x="55568" y="59655"/>
                  </a:lnTo>
                  <a:lnTo>
                    <a:pt x="55568" y="59655"/>
                  </a:lnTo>
                  <a:lnTo>
                    <a:pt x="55990" y="58965"/>
                  </a:lnTo>
                  <a:lnTo>
                    <a:pt x="55990" y="58965"/>
                  </a:lnTo>
                  <a:lnTo>
                    <a:pt x="55990" y="57931"/>
                  </a:lnTo>
                  <a:lnTo>
                    <a:pt x="55990" y="57241"/>
                  </a:lnTo>
                  <a:lnTo>
                    <a:pt x="55568" y="57241"/>
                  </a:lnTo>
                  <a:lnTo>
                    <a:pt x="55568" y="56551"/>
                  </a:lnTo>
                  <a:lnTo>
                    <a:pt x="55287" y="56551"/>
                  </a:lnTo>
                  <a:lnTo>
                    <a:pt x="55568" y="55517"/>
                  </a:lnTo>
                  <a:lnTo>
                    <a:pt x="55568" y="54827"/>
                  </a:lnTo>
                  <a:lnTo>
                    <a:pt x="55568" y="54827"/>
                  </a:lnTo>
                  <a:lnTo>
                    <a:pt x="55568" y="54137"/>
                  </a:lnTo>
                  <a:lnTo>
                    <a:pt x="55568" y="54137"/>
                  </a:lnTo>
                  <a:lnTo>
                    <a:pt x="55287" y="54137"/>
                  </a:lnTo>
                  <a:lnTo>
                    <a:pt x="55287" y="54137"/>
                  </a:lnTo>
                  <a:lnTo>
                    <a:pt x="55568" y="53103"/>
                  </a:lnTo>
                  <a:lnTo>
                    <a:pt x="55990" y="53103"/>
                  </a:lnTo>
                  <a:lnTo>
                    <a:pt x="55990" y="52413"/>
                  </a:lnTo>
                  <a:lnTo>
                    <a:pt x="55990" y="52413"/>
                  </a:lnTo>
                  <a:lnTo>
                    <a:pt x="55990" y="51379"/>
                  </a:lnTo>
                  <a:lnTo>
                    <a:pt x="56271" y="51379"/>
                  </a:lnTo>
                  <a:lnTo>
                    <a:pt x="56694" y="50689"/>
                  </a:lnTo>
                  <a:lnTo>
                    <a:pt x="56694" y="50689"/>
                  </a:lnTo>
                  <a:lnTo>
                    <a:pt x="56694" y="50000"/>
                  </a:lnTo>
                  <a:lnTo>
                    <a:pt x="56694" y="50000"/>
                  </a:lnTo>
                  <a:lnTo>
                    <a:pt x="56694" y="48965"/>
                  </a:lnTo>
                  <a:lnTo>
                    <a:pt x="56694" y="48965"/>
                  </a:lnTo>
                  <a:lnTo>
                    <a:pt x="56694" y="48275"/>
                  </a:lnTo>
                  <a:lnTo>
                    <a:pt x="56694" y="48965"/>
                  </a:lnTo>
                  <a:lnTo>
                    <a:pt x="56694" y="50000"/>
                  </a:lnTo>
                  <a:lnTo>
                    <a:pt x="56975" y="50000"/>
                  </a:lnTo>
                  <a:lnTo>
                    <a:pt x="56975" y="50000"/>
                  </a:lnTo>
                  <a:lnTo>
                    <a:pt x="57256" y="50000"/>
                  </a:lnTo>
                  <a:lnTo>
                    <a:pt x="57256" y="48965"/>
                  </a:lnTo>
                  <a:lnTo>
                    <a:pt x="57678" y="48275"/>
                  </a:lnTo>
                  <a:lnTo>
                    <a:pt x="57960" y="47586"/>
                  </a:lnTo>
                  <a:lnTo>
                    <a:pt x="58241" y="47586"/>
                  </a:lnTo>
                  <a:lnTo>
                    <a:pt x="58663" y="46551"/>
                  </a:lnTo>
                  <a:lnTo>
                    <a:pt x="58663" y="46551"/>
                  </a:lnTo>
                  <a:lnTo>
                    <a:pt x="58663" y="46551"/>
                  </a:lnTo>
                  <a:lnTo>
                    <a:pt x="58663" y="45862"/>
                  </a:lnTo>
                  <a:lnTo>
                    <a:pt x="58663" y="44827"/>
                  </a:lnTo>
                  <a:lnTo>
                    <a:pt x="58663" y="43448"/>
                  </a:lnTo>
                  <a:lnTo>
                    <a:pt x="58663" y="42413"/>
                  </a:lnTo>
                  <a:lnTo>
                    <a:pt x="58663" y="39310"/>
                  </a:lnTo>
                  <a:lnTo>
                    <a:pt x="58663" y="38620"/>
                  </a:lnTo>
                  <a:lnTo>
                    <a:pt x="59226" y="35862"/>
                  </a:lnTo>
                  <a:lnTo>
                    <a:pt x="59226" y="35172"/>
                  </a:lnTo>
                  <a:lnTo>
                    <a:pt x="59648" y="35172"/>
                  </a:lnTo>
                  <a:lnTo>
                    <a:pt x="59648" y="35172"/>
                  </a:lnTo>
                  <a:lnTo>
                    <a:pt x="59929" y="34482"/>
                  </a:lnTo>
                  <a:lnTo>
                    <a:pt x="59929" y="33448"/>
                  </a:lnTo>
                  <a:lnTo>
                    <a:pt x="59648" y="33448"/>
                  </a:lnTo>
                  <a:lnTo>
                    <a:pt x="59648" y="32758"/>
                  </a:lnTo>
                  <a:lnTo>
                    <a:pt x="59929" y="33448"/>
                  </a:lnTo>
                  <a:lnTo>
                    <a:pt x="60211" y="34482"/>
                  </a:lnTo>
                  <a:lnTo>
                    <a:pt x="60211" y="34482"/>
                  </a:lnTo>
                  <a:lnTo>
                    <a:pt x="60633" y="34482"/>
                  </a:lnTo>
                  <a:lnTo>
                    <a:pt x="61336" y="35172"/>
                  </a:lnTo>
                  <a:lnTo>
                    <a:pt x="61899" y="35172"/>
                  </a:lnTo>
                  <a:lnTo>
                    <a:pt x="62321" y="34482"/>
                  </a:lnTo>
                  <a:lnTo>
                    <a:pt x="62602" y="33448"/>
                  </a:lnTo>
                  <a:lnTo>
                    <a:pt x="62321" y="33448"/>
                  </a:lnTo>
                  <a:lnTo>
                    <a:pt x="61899" y="32758"/>
                  </a:lnTo>
                  <a:lnTo>
                    <a:pt x="61617" y="31034"/>
                  </a:lnTo>
                  <a:lnTo>
                    <a:pt x="60914" y="30344"/>
                  </a:lnTo>
                  <a:lnTo>
                    <a:pt x="60211" y="28620"/>
                  </a:lnTo>
                  <a:lnTo>
                    <a:pt x="59929" y="28620"/>
                  </a:lnTo>
                  <a:lnTo>
                    <a:pt x="59648" y="26896"/>
                  </a:lnTo>
                  <a:lnTo>
                    <a:pt x="59648" y="26206"/>
                  </a:lnTo>
                  <a:lnTo>
                    <a:pt x="59226" y="26206"/>
                  </a:lnTo>
                  <a:lnTo>
                    <a:pt x="59226" y="26206"/>
                  </a:lnTo>
                  <a:lnTo>
                    <a:pt x="59648" y="26206"/>
                  </a:lnTo>
                  <a:lnTo>
                    <a:pt x="59648" y="25517"/>
                  </a:lnTo>
                  <a:lnTo>
                    <a:pt x="59648" y="25517"/>
                  </a:lnTo>
                  <a:lnTo>
                    <a:pt x="59929" y="24482"/>
                  </a:lnTo>
                  <a:lnTo>
                    <a:pt x="59929" y="24482"/>
                  </a:lnTo>
                  <a:lnTo>
                    <a:pt x="59929" y="23793"/>
                  </a:lnTo>
                  <a:lnTo>
                    <a:pt x="59929" y="23793"/>
                  </a:lnTo>
                  <a:lnTo>
                    <a:pt x="59648" y="22068"/>
                  </a:lnTo>
                  <a:lnTo>
                    <a:pt x="59226" y="21379"/>
                  </a:lnTo>
                  <a:lnTo>
                    <a:pt x="59226" y="21379"/>
                  </a:lnTo>
                  <a:lnTo>
                    <a:pt x="58944" y="20689"/>
                  </a:lnTo>
                  <a:lnTo>
                    <a:pt x="58944" y="20689"/>
                  </a:lnTo>
                  <a:lnTo>
                    <a:pt x="58944" y="20689"/>
                  </a:lnTo>
                  <a:lnTo>
                    <a:pt x="58944" y="20689"/>
                  </a:lnTo>
                  <a:lnTo>
                    <a:pt x="58944" y="19655"/>
                  </a:lnTo>
                  <a:lnTo>
                    <a:pt x="58944" y="19655"/>
                  </a:lnTo>
                  <a:lnTo>
                    <a:pt x="58663" y="19655"/>
                  </a:lnTo>
                  <a:lnTo>
                    <a:pt x="58944" y="19655"/>
                  </a:lnTo>
                  <a:lnTo>
                    <a:pt x="58663" y="18965"/>
                  </a:lnTo>
                  <a:lnTo>
                    <a:pt x="58663" y="18965"/>
                  </a:lnTo>
                  <a:lnTo>
                    <a:pt x="58663" y="17931"/>
                  </a:lnTo>
                  <a:lnTo>
                    <a:pt x="58241" y="17931"/>
                  </a:lnTo>
                  <a:lnTo>
                    <a:pt x="58241" y="17931"/>
                  </a:lnTo>
                  <a:lnTo>
                    <a:pt x="57960" y="17931"/>
                  </a:lnTo>
                  <a:lnTo>
                    <a:pt x="57960" y="17241"/>
                  </a:lnTo>
                  <a:lnTo>
                    <a:pt x="57960" y="16551"/>
                  </a:lnTo>
                  <a:lnTo>
                    <a:pt x="57960" y="15517"/>
                  </a:lnTo>
                  <a:lnTo>
                    <a:pt x="57678" y="14827"/>
                  </a:lnTo>
                  <a:lnTo>
                    <a:pt x="57256" y="14827"/>
                  </a:lnTo>
                  <a:lnTo>
                    <a:pt x="57256" y="14827"/>
                  </a:lnTo>
                  <a:lnTo>
                    <a:pt x="57678" y="14827"/>
                  </a:lnTo>
                  <a:lnTo>
                    <a:pt x="57960" y="14827"/>
                  </a:lnTo>
                  <a:lnTo>
                    <a:pt x="58241" y="14827"/>
                  </a:lnTo>
                  <a:lnTo>
                    <a:pt x="58241" y="14137"/>
                  </a:lnTo>
                  <a:lnTo>
                    <a:pt x="58241" y="14137"/>
                  </a:lnTo>
                  <a:lnTo>
                    <a:pt x="58663" y="14137"/>
                  </a:lnTo>
                  <a:lnTo>
                    <a:pt x="58663" y="14827"/>
                  </a:lnTo>
                  <a:lnTo>
                    <a:pt x="58944" y="14137"/>
                  </a:lnTo>
                  <a:lnTo>
                    <a:pt x="58944" y="14137"/>
                  </a:lnTo>
                  <a:lnTo>
                    <a:pt x="58944" y="14137"/>
                  </a:lnTo>
                  <a:lnTo>
                    <a:pt x="58944" y="13103"/>
                  </a:lnTo>
                  <a:lnTo>
                    <a:pt x="58944" y="13103"/>
                  </a:lnTo>
                  <a:lnTo>
                    <a:pt x="58663" y="12413"/>
                  </a:lnTo>
                  <a:lnTo>
                    <a:pt x="58663" y="12413"/>
                  </a:lnTo>
                  <a:lnTo>
                    <a:pt x="58663" y="11724"/>
                  </a:lnTo>
                  <a:lnTo>
                    <a:pt x="58241" y="11724"/>
                  </a:lnTo>
                  <a:lnTo>
                    <a:pt x="58241" y="10689"/>
                  </a:lnTo>
                  <a:lnTo>
                    <a:pt x="58663" y="10689"/>
                  </a:lnTo>
                  <a:lnTo>
                    <a:pt x="58663" y="10689"/>
                  </a:lnTo>
                  <a:lnTo>
                    <a:pt x="58241" y="10689"/>
                  </a:lnTo>
                  <a:lnTo>
                    <a:pt x="58241" y="10689"/>
                  </a:lnTo>
                  <a:lnTo>
                    <a:pt x="57678" y="10000"/>
                  </a:lnTo>
                  <a:lnTo>
                    <a:pt x="57256" y="8965"/>
                  </a:lnTo>
                  <a:lnTo>
                    <a:pt x="56694" y="8965"/>
                  </a:lnTo>
                  <a:lnTo>
                    <a:pt x="56271" y="8965"/>
                  </a:lnTo>
                  <a:lnTo>
                    <a:pt x="55990" y="8965"/>
                  </a:lnTo>
                  <a:lnTo>
                    <a:pt x="55990" y="8965"/>
                  </a:lnTo>
                  <a:lnTo>
                    <a:pt x="55990" y="8965"/>
                  </a:lnTo>
                  <a:lnTo>
                    <a:pt x="55568" y="8965"/>
                  </a:lnTo>
                  <a:lnTo>
                    <a:pt x="55287" y="10000"/>
                  </a:lnTo>
                  <a:lnTo>
                    <a:pt x="55287" y="8965"/>
                  </a:lnTo>
                  <a:lnTo>
                    <a:pt x="55287" y="8965"/>
                  </a:lnTo>
                  <a:lnTo>
                    <a:pt x="55005" y="8965"/>
                  </a:lnTo>
                  <a:lnTo>
                    <a:pt x="54583" y="8965"/>
                  </a:lnTo>
                  <a:lnTo>
                    <a:pt x="54302" y="10000"/>
                  </a:lnTo>
                  <a:lnTo>
                    <a:pt x="54021" y="8965"/>
                  </a:lnTo>
                  <a:lnTo>
                    <a:pt x="54021" y="8965"/>
                  </a:lnTo>
                  <a:lnTo>
                    <a:pt x="54021" y="8965"/>
                  </a:lnTo>
                  <a:lnTo>
                    <a:pt x="53599" y="10000"/>
                  </a:lnTo>
                  <a:lnTo>
                    <a:pt x="53599" y="10689"/>
                  </a:lnTo>
                  <a:lnTo>
                    <a:pt x="53317" y="11724"/>
                  </a:lnTo>
                  <a:lnTo>
                    <a:pt x="53317" y="12413"/>
                  </a:lnTo>
                  <a:lnTo>
                    <a:pt x="53317" y="12413"/>
                  </a:lnTo>
                  <a:lnTo>
                    <a:pt x="53317" y="14137"/>
                  </a:lnTo>
                  <a:lnTo>
                    <a:pt x="53317" y="14827"/>
                  </a:lnTo>
                  <a:lnTo>
                    <a:pt x="53317" y="15517"/>
                  </a:lnTo>
                  <a:lnTo>
                    <a:pt x="53317" y="15517"/>
                  </a:lnTo>
                  <a:lnTo>
                    <a:pt x="53317" y="16551"/>
                  </a:lnTo>
                  <a:lnTo>
                    <a:pt x="53317" y="16551"/>
                  </a:lnTo>
                  <a:lnTo>
                    <a:pt x="53317" y="17241"/>
                  </a:lnTo>
                  <a:lnTo>
                    <a:pt x="53317" y="17931"/>
                  </a:lnTo>
                  <a:lnTo>
                    <a:pt x="53317" y="17931"/>
                  </a:lnTo>
                  <a:lnTo>
                    <a:pt x="53036" y="18965"/>
                  </a:lnTo>
                  <a:lnTo>
                    <a:pt x="53036" y="18965"/>
                  </a:lnTo>
                  <a:lnTo>
                    <a:pt x="52614" y="18965"/>
                  </a:lnTo>
                  <a:lnTo>
                    <a:pt x="52614" y="18965"/>
                  </a:lnTo>
                  <a:lnTo>
                    <a:pt x="52332" y="18965"/>
                  </a:lnTo>
                  <a:lnTo>
                    <a:pt x="52332" y="19655"/>
                  </a:lnTo>
                  <a:lnTo>
                    <a:pt x="52051" y="20689"/>
                  </a:lnTo>
                  <a:lnTo>
                    <a:pt x="52051" y="20689"/>
                  </a:lnTo>
                  <a:lnTo>
                    <a:pt x="52332" y="20689"/>
                  </a:lnTo>
                  <a:lnTo>
                    <a:pt x="52051" y="21379"/>
                  </a:lnTo>
                  <a:lnTo>
                    <a:pt x="52051" y="21379"/>
                  </a:lnTo>
                  <a:lnTo>
                    <a:pt x="52051" y="22068"/>
                  </a:lnTo>
                  <a:lnTo>
                    <a:pt x="52332" y="22068"/>
                  </a:lnTo>
                  <a:lnTo>
                    <a:pt x="52332" y="22068"/>
                  </a:lnTo>
                  <a:lnTo>
                    <a:pt x="52332" y="23103"/>
                  </a:lnTo>
                  <a:lnTo>
                    <a:pt x="52332" y="23103"/>
                  </a:lnTo>
                  <a:lnTo>
                    <a:pt x="52332" y="23103"/>
                  </a:lnTo>
                  <a:lnTo>
                    <a:pt x="52051" y="23793"/>
                  </a:lnTo>
                  <a:lnTo>
                    <a:pt x="51629" y="24482"/>
                  </a:lnTo>
                  <a:lnTo>
                    <a:pt x="51348" y="24482"/>
                  </a:lnTo>
                  <a:lnTo>
                    <a:pt x="51348" y="24482"/>
                  </a:lnTo>
                  <a:lnTo>
                    <a:pt x="51348" y="25517"/>
                  </a:lnTo>
                  <a:lnTo>
                    <a:pt x="51348" y="26206"/>
                  </a:lnTo>
                  <a:lnTo>
                    <a:pt x="51348" y="26206"/>
                  </a:lnTo>
                  <a:lnTo>
                    <a:pt x="51629" y="26206"/>
                  </a:lnTo>
                  <a:lnTo>
                    <a:pt x="51348" y="26896"/>
                  </a:lnTo>
                  <a:lnTo>
                    <a:pt x="51348" y="26896"/>
                  </a:lnTo>
                  <a:lnTo>
                    <a:pt x="51348" y="26896"/>
                  </a:lnTo>
                  <a:lnTo>
                    <a:pt x="51348" y="27931"/>
                  </a:lnTo>
                  <a:lnTo>
                    <a:pt x="51348" y="27931"/>
                  </a:lnTo>
                  <a:lnTo>
                    <a:pt x="50926" y="28620"/>
                  </a:lnTo>
                  <a:lnTo>
                    <a:pt x="50926" y="29655"/>
                  </a:lnTo>
                  <a:lnTo>
                    <a:pt x="50926" y="30344"/>
                  </a:lnTo>
                  <a:lnTo>
                    <a:pt x="50644" y="30344"/>
                  </a:lnTo>
                  <a:lnTo>
                    <a:pt x="50644" y="30344"/>
                  </a:lnTo>
                  <a:lnTo>
                    <a:pt x="50363" y="30344"/>
                  </a:lnTo>
                  <a:lnTo>
                    <a:pt x="49941" y="30344"/>
                  </a:lnTo>
                  <a:lnTo>
                    <a:pt x="49660" y="30344"/>
                  </a:lnTo>
                  <a:lnTo>
                    <a:pt x="49378" y="30344"/>
                  </a:lnTo>
                  <a:lnTo>
                    <a:pt x="48956" y="30344"/>
                  </a:lnTo>
                  <a:lnTo>
                    <a:pt x="48956" y="31034"/>
                  </a:lnTo>
                  <a:lnTo>
                    <a:pt x="48675" y="31034"/>
                  </a:lnTo>
                  <a:lnTo>
                    <a:pt x="48675" y="32068"/>
                  </a:lnTo>
                  <a:lnTo>
                    <a:pt x="48393" y="32068"/>
                  </a:lnTo>
                  <a:lnTo>
                    <a:pt x="47971" y="31034"/>
                  </a:lnTo>
                  <a:lnTo>
                    <a:pt x="47971" y="31034"/>
                  </a:lnTo>
                  <a:lnTo>
                    <a:pt x="47690" y="31034"/>
                  </a:lnTo>
                  <a:lnTo>
                    <a:pt x="46987" y="30344"/>
                  </a:lnTo>
                  <a:lnTo>
                    <a:pt x="46987" y="30344"/>
                  </a:lnTo>
                  <a:lnTo>
                    <a:pt x="46705" y="30344"/>
                  </a:lnTo>
                  <a:lnTo>
                    <a:pt x="46705" y="30344"/>
                  </a:lnTo>
                  <a:lnTo>
                    <a:pt x="46705" y="30344"/>
                  </a:lnTo>
                  <a:lnTo>
                    <a:pt x="46705" y="29655"/>
                  </a:lnTo>
                  <a:lnTo>
                    <a:pt x="46705" y="29655"/>
                  </a:lnTo>
                  <a:lnTo>
                    <a:pt x="45298" y="29655"/>
                  </a:lnTo>
                  <a:lnTo>
                    <a:pt x="45017" y="30344"/>
                  </a:lnTo>
                  <a:lnTo>
                    <a:pt x="44736" y="30344"/>
                  </a:lnTo>
                  <a:lnTo>
                    <a:pt x="44736" y="30344"/>
                  </a:lnTo>
                  <a:lnTo>
                    <a:pt x="44736" y="31034"/>
                  </a:lnTo>
                  <a:lnTo>
                    <a:pt x="44314" y="32068"/>
                  </a:lnTo>
                  <a:lnTo>
                    <a:pt x="44314" y="32758"/>
                  </a:lnTo>
                  <a:lnTo>
                    <a:pt x="44032" y="32758"/>
                  </a:lnTo>
                  <a:lnTo>
                    <a:pt x="43751" y="33448"/>
                  </a:lnTo>
                  <a:lnTo>
                    <a:pt x="43751" y="33448"/>
                  </a:lnTo>
                  <a:lnTo>
                    <a:pt x="43329" y="33448"/>
                  </a:lnTo>
                  <a:lnTo>
                    <a:pt x="43048" y="33448"/>
                  </a:lnTo>
                  <a:lnTo>
                    <a:pt x="43048" y="33448"/>
                  </a:lnTo>
                  <a:lnTo>
                    <a:pt x="42766" y="33448"/>
                  </a:lnTo>
                  <a:lnTo>
                    <a:pt x="42344" y="33448"/>
                  </a:lnTo>
                  <a:lnTo>
                    <a:pt x="41641" y="33448"/>
                  </a:lnTo>
                  <a:lnTo>
                    <a:pt x="41641" y="33448"/>
                  </a:lnTo>
                  <a:lnTo>
                    <a:pt x="41359" y="33448"/>
                  </a:lnTo>
                  <a:lnTo>
                    <a:pt x="40656" y="34482"/>
                  </a:lnTo>
                  <a:lnTo>
                    <a:pt x="40375" y="34482"/>
                  </a:lnTo>
                  <a:lnTo>
                    <a:pt x="40093" y="34482"/>
                  </a:lnTo>
                  <a:lnTo>
                    <a:pt x="40093" y="34482"/>
                  </a:lnTo>
                  <a:lnTo>
                    <a:pt x="39671" y="33448"/>
                  </a:lnTo>
                  <a:lnTo>
                    <a:pt x="39390" y="32068"/>
                  </a:lnTo>
                  <a:lnTo>
                    <a:pt x="39109" y="32068"/>
                  </a:lnTo>
                  <a:lnTo>
                    <a:pt x="39109" y="32068"/>
                  </a:lnTo>
                  <a:lnTo>
                    <a:pt x="38686" y="31034"/>
                  </a:lnTo>
                  <a:lnTo>
                    <a:pt x="38686" y="31034"/>
                  </a:lnTo>
                  <a:lnTo>
                    <a:pt x="38405" y="30344"/>
                  </a:lnTo>
                  <a:lnTo>
                    <a:pt x="38405" y="29655"/>
                  </a:lnTo>
                  <a:lnTo>
                    <a:pt x="38124" y="29655"/>
                  </a:lnTo>
                  <a:lnTo>
                    <a:pt x="38124" y="27931"/>
                  </a:lnTo>
                  <a:lnTo>
                    <a:pt x="37702" y="27931"/>
                  </a:lnTo>
                  <a:lnTo>
                    <a:pt x="37702" y="27931"/>
                  </a:lnTo>
                  <a:lnTo>
                    <a:pt x="37702" y="26896"/>
                  </a:lnTo>
                  <a:lnTo>
                    <a:pt x="38124" y="26206"/>
                  </a:lnTo>
                  <a:lnTo>
                    <a:pt x="37420" y="26896"/>
                  </a:lnTo>
                  <a:lnTo>
                    <a:pt x="36998" y="27931"/>
                  </a:lnTo>
                  <a:lnTo>
                    <a:pt x="36998" y="28620"/>
                  </a:lnTo>
                  <a:lnTo>
                    <a:pt x="36717" y="29655"/>
                  </a:lnTo>
                  <a:lnTo>
                    <a:pt x="36436" y="30344"/>
                  </a:lnTo>
                  <a:lnTo>
                    <a:pt x="36436" y="30344"/>
                  </a:lnTo>
                  <a:lnTo>
                    <a:pt x="36436" y="32068"/>
                  </a:lnTo>
                  <a:lnTo>
                    <a:pt x="36436" y="32068"/>
                  </a:lnTo>
                  <a:lnTo>
                    <a:pt x="36717" y="32068"/>
                  </a:lnTo>
                  <a:lnTo>
                    <a:pt x="36717" y="32068"/>
                  </a:lnTo>
                  <a:lnTo>
                    <a:pt x="36436" y="32068"/>
                  </a:lnTo>
                  <a:lnTo>
                    <a:pt x="36436" y="32068"/>
                  </a:lnTo>
                  <a:lnTo>
                    <a:pt x="36014" y="32758"/>
                  </a:lnTo>
                  <a:lnTo>
                    <a:pt x="36014" y="34482"/>
                  </a:lnTo>
                  <a:lnTo>
                    <a:pt x="36014" y="35172"/>
                  </a:lnTo>
                  <a:lnTo>
                    <a:pt x="36014" y="36896"/>
                  </a:lnTo>
                  <a:lnTo>
                    <a:pt x="36014" y="38620"/>
                  </a:lnTo>
                  <a:moveTo>
                    <a:pt x="25744" y="82413"/>
                  </a:moveTo>
                  <a:lnTo>
                    <a:pt x="26166" y="81724"/>
                  </a:lnTo>
                  <a:lnTo>
                    <a:pt x="26447" y="81724"/>
                  </a:lnTo>
                  <a:lnTo>
                    <a:pt x="26729" y="82413"/>
                  </a:lnTo>
                  <a:lnTo>
                    <a:pt x="26729" y="82413"/>
                  </a:lnTo>
                  <a:lnTo>
                    <a:pt x="27151" y="82413"/>
                  </a:lnTo>
                  <a:lnTo>
                    <a:pt x="27151" y="83448"/>
                  </a:lnTo>
                  <a:lnTo>
                    <a:pt x="27151" y="83448"/>
                  </a:lnTo>
                  <a:lnTo>
                    <a:pt x="27432" y="83448"/>
                  </a:lnTo>
                  <a:lnTo>
                    <a:pt x="27432" y="82413"/>
                  </a:lnTo>
                  <a:lnTo>
                    <a:pt x="27432" y="82413"/>
                  </a:lnTo>
                  <a:lnTo>
                    <a:pt x="27854" y="77586"/>
                  </a:lnTo>
                  <a:lnTo>
                    <a:pt x="27854" y="75862"/>
                  </a:lnTo>
                  <a:lnTo>
                    <a:pt x="27854" y="75172"/>
                  </a:lnTo>
                  <a:lnTo>
                    <a:pt x="27854" y="74482"/>
                  </a:lnTo>
                  <a:lnTo>
                    <a:pt x="27854" y="71034"/>
                  </a:lnTo>
                  <a:lnTo>
                    <a:pt x="27854" y="71034"/>
                  </a:lnTo>
                  <a:lnTo>
                    <a:pt x="28135" y="69310"/>
                  </a:lnTo>
                  <a:lnTo>
                    <a:pt x="28135" y="68620"/>
                  </a:lnTo>
                  <a:lnTo>
                    <a:pt x="28135" y="68620"/>
                  </a:lnTo>
                  <a:lnTo>
                    <a:pt x="27854" y="67931"/>
                  </a:lnTo>
                  <a:lnTo>
                    <a:pt x="27854" y="66896"/>
                  </a:lnTo>
                  <a:lnTo>
                    <a:pt x="28135" y="66206"/>
                  </a:lnTo>
                  <a:lnTo>
                    <a:pt x="28135" y="65517"/>
                  </a:lnTo>
                  <a:lnTo>
                    <a:pt x="28417" y="64482"/>
                  </a:lnTo>
                  <a:lnTo>
                    <a:pt x="28417" y="64482"/>
                  </a:lnTo>
                  <a:lnTo>
                    <a:pt x="28417" y="63793"/>
                  </a:lnTo>
                  <a:lnTo>
                    <a:pt x="28417" y="63793"/>
                  </a:lnTo>
                  <a:lnTo>
                    <a:pt x="28135" y="62068"/>
                  </a:lnTo>
                  <a:lnTo>
                    <a:pt x="27432" y="58965"/>
                  </a:lnTo>
                  <a:lnTo>
                    <a:pt x="27151" y="58965"/>
                  </a:lnTo>
                  <a:lnTo>
                    <a:pt x="26729" y="57931"/>
                  </a:lnTo>
                  <a:lnTo>
                    <a:pt x="26447" y="57931"/>
                  </a:lnTo>
                  <a:lnTo>
                    <a:pt x="25744" y="57931"/>
                  </a:lnTo>
                  <a:lnTo>
                    <a:pt x="25744" y="57931"/>
                  </a:lnTo>
                  <a:lnTo>
                    <a:pt x="25463" y="57931"/>
                  </a:lnTo>
                  <a:lnTo>
                    <a:pt x="25463" y="58965"/>
                  </a:lnTo>
                  <a:lnTo>
                    <a:pt x="25181" y="59655"/>
                  </a:lnTo>
                  <a:lnTo>
                    <a:pt x="25181" y="59655"/>
                  </a:lnTo>
                  <a:lnTo>
                    <a:pt x="24759" y="59655"/>
                  </a:lnTo>
                  <a:lnTo>
                    <a:pt x="24759" y="59655"/>
                  </a:lnTo>
                  <a:lnTo>
                    <a:pt x="24759" y="58965"/>
                  </a:lnTo>
                  <a:lnTo>
                    <a:pt x="24759" y="57931"/>
                  </a:lnTo>
                  <a:lnTo>
                    <a:pt x="25181" y="57241"/>
                  </a:lnTo>
                  <a:lnTo>
                    <a:pt x="25463" y="57241"/>
                  </a:lnTo>
                  <a:lnTo>
                    <a:pt x="25463" y="56551"/>
                  </a:lnTo>
                  <a:lnTo>
                    <a:pt x="25463" y="56551"/>
                  </a:lnTo>
                  <a:lnTo>
                    <a:pt x="25181" y="55517"/>
                  </a:lnTo>
                  <a:lnTo>
                    <a:pt x="25181" y="55517"/>
                  </a:lnTo>
                  <a:lnTo>
                    <a:pt x="24759" y="54827"/>
                  </a:lnTo>
                  <a:lnTo>
                    <a:pt x="24478" y="54137"/>
                  </a:lnTo>
                  <a:lnTo>
                    <a:pt x="24478" y="53103"/>
                  </a:lnTo>
                  <a:lnTo>
                    <a:pt x="24478" y="52413"/>
                  </a:lnTo>
                  <a:lnTo>
                    <a:pt x="24478" y="50689"/>
                  </a:lnTo>
                  <a:lnTo>
                    <a:pt x="24478" y="50000"/>
                  </a:lnTo>
                  <a:lnTo>
                    <a:pt x="24196" y="48965"/>
                  </a:lnTo>
                  <a:lnTo>
                    <a:pt x="24196" y="48275"/>
                  </a:lnTo>
                  <a:lnTo>
                    <a:pt x="23774" y="48275"/>
                  </a:lnTo>
                  <a:lnTo>
                    <a:pt x="23774" y="48275"/>
                  </a:lnTo>
                  <a:lnTo>
                    <a:pt x="23493" y="48275"/>
                  </a:lnTo>
                  <a:lnTo>
                    <a:pt x="23212" y="48275"/>
                  </a:lnTo>
                  <a:lnTo>
                    <a:pt x="22508" y="47586"/>
                  </a:lnTo>
                  <a:lnTo>
                    <a:pt x="22086" y="46551"/>
                  </a:lnTo>
                  <a:lnTo>
                    <a:pt x="22086" y="46551"/>
                  </a:lnTo>
                  <a:lnTo>
                    <a:pt x="21805" y="44827"/>
                  </a:lnTo>
                  <a:lnTo>
                    <a:pt x="21805" y="44827"/>
                  </a:lnTo>
                  <a:lnTo>
                    <a:pt x="22086" y="44137"/>
                  </a:lnTo>
                  <a:lnTo>
                    <a:pt x="21805" y="44137"/>
                  </a:lnTo>
                  <a:lnTo>
                    <a:pt x="21805" y="43448"/>
                  </a:lnTo>
                  <a:lnTo>
                    <a:pt x="21805" y="42413"/>
                  </a:lnTo>
                  <a:lnTo>
                    <a:pt x="21805" y="42413"/>
                  </a:lnTo>
                  <a:lnTo>
                    <a:pt x="21805" y="42413"/>
                  </a:lnTo>
                  <a:lnTo>
                    <a:pt x="22086" y="41724"/>
                  </a:lnTo>
                  <a:lnTo>
                    <a:pt x="22508" y="41034"/>
                  </a:lnTo>
                  <a:lnTo>
                    <a:pt x="22790" y="41034"/>
                  </a:lnTo>
                  <a:lnTo>
                    <a:pt x="22508" y="39310"/>
                  </a:lnTo>
                  <a:lnTo>
                    <a:pt x="22508" y="38620"/>
                  </a:lnTo>
                  <a:lnTo>
                    <a:pt x="22086" y="38620"/>
                  </a:lnTo>
                  <a:lnTo>
                    <a:pt x="21805" y="37586"/>
                  </a:lnTo>
                  <a:lnTo>
                    <a:pt x="21805" y="37586"/>
                  </a:lnTo>
                  <a:lnTo>
                    <a:pt x="21524" y="36896"/>
                  </a:lnTo>
                  <a:lnTo>
                    <a:pt x="21524" y="37586"/>
                  </a:lnTo>
                  <a:lnTo>
                    <a:pt x="20820" y="37586"/>
                  </a:lnTo>
                  <a:lnTo>
                    <a:pt x="20820" y="38620"/>
                  </a:lnTo>
                  <a:lnTo>
                    <a:pt x="20539" y="39310"/>
                  </a:lnTo>
                  <a:lnTo>
                    <a:pt x="20117" y="39310"/>
                  </a:lnTo>
                  <a:lnTo>
                    <a:pt x="19554" y="39310"/>
                  </a:lnTo>
                  <a:lnTo>
                    <a:pt x="20117" y="38620"/>
                  </a:lnTo>
                  <a:lnTo>
                    <a:pt x="20820" y="37586"/>
                  </a:lnTo>
                  <a:lnTo>
                    <a:pt x="20820" y="37586"/>
                  </a:lnTo>
                  <a:lnTo>
                    <a:pt x="20820" y="36896"/>
                  </a:lnTo>
                  <a:lnTo>
                    <a:pt x="20539" y="35862"/>
                  </a:lnTo>
                  <a:lnTo>
                    <a:pt x="20117" y="35862"/>
                  </a:lnTo>
                  <a:lnTo>
                    <a:pt x="19554" y="35172"/>
                  </a:lnTo>
                  <a:lnTo>
                    <a:pt x="19132" y="35172"/>
                  </a:lnTo>
                  <a:lnTo>
                    <a:pt x="19132" y="35172"/>
                  </a:lnTo>
                  <a:lnTo>
                    <a:pt x="18569" y="33448"/>
                  </a:lnTo>
                  <a:lnTo>
                    <a:pt x="18569" y="33448"/>
                  </a:lnTo>
                  <a:lnTo>
                    <a:pt x="18569" y="32758"/>
                  </a:lnTo>
                  <a:lnTo>
                    <a:pt x="18569" y="32068"/>
                  </a:lnTo>
                  <a:lnTo>
                    <a:pt x="18147" y="31034"/>
                  </a:lnTo>
                  <a:lnTo>
                    <a:pt x="18147" y="30344"/>
                  </a:lnTo>
                  <a:lnTo>
                    <a:pt x="17444" y="29655"/>
                  </a:lnTo>
                  <a:lnTo>
                    <a:pt x="17162" y="28620"/>
                  </a:lnTo>
                  <a:lnTo>
                    <a:pt x="16881" y="28620"/>
                  </a:lnTo>
                  <a:lnTo>
                    <a:pt x="16459" y="28620"/>
                  </a:lnTo>
                  <a:lnTo>
                    <a:pt x="16459" y="27931"/>
                  </a:lnTo>
                  <a:lnTo>
                    <a:pt x="16178" y="26896"/>
                  </a:lnTo>
                  <a:lnTo>
                    <a:pt x="16178" y="26206"/>
                  </a:lnTo>
                  <a:lnTo>
                    <a:pt x="15896" y="25517"/>
                  </a:lnTo>
                  <a:lnTo>
                    <a:pt x="15474" y="24482"/>
                  </a:lnTo>
                  <a:lnTo>
                    <a:pt x="15193" y="24482"/>
                  </a:lnTo>
                  <a:lnTo>
                    <a:pt x="15193" y="24482"/>
                  </a:lnTo>
                  <a:lnTo>
                    <a:pt x="14912" y="24482"/>
                  </a:lnTo>
                  <a:lnTo>
                    <a:pt x="14912" y="24482"/>
                  </a:lnTo>
                  <a:lnTo>
                    <a:pt x="14912" y="25517"/>
                  </a:lnTo>
                  <a:lnTo>
                    <a:pt x="15193" y="26206"/>
                  </a:lnTo>
                  <a:lnTo>
                    <a:pt x="15193" y="26896"/>
                  </a:lnTo>
                  <a:lnTo>
                    <a:pt x="14912" y="26206"/>
                  </a:lnTo>
                  <a:lnTo>
                    <a:pt x="14490" y="25517"/>
                  </a:lnTo>
                  <a:lnTo>
                    <a:pt x="14208" y="25517"/>
                  </a:lnTo>
                  <a:lnTo>
                    <a:pt x="14208" y="24482"/>
                  </a:lnTo>
                  <a:lnTo>
                    <a:pt x="13927" y="24482"/>
                  </a:lnTo>
                  <a:lnTo>
                    <a:pt x="13927" y="23793"/>
                  </a:lnTo>
                  <a:lnTo>
                    <a:pt x="13505" y="23103"/>
                  </a:lnTo>
                  <a:lnTo>
                    <a:pt x="13505" y="23103"/>
                  </a:lnTo>
                  <a:lnTo>
                    <a:pt x="13223" y="21379"/>
                  </a:lnTo>
                  <a:lnTo>
                    <a:pt x="12801" y="20689"/>
                  </a:lnTo>
                  <a:lnTo>
                    <a:pt x="12520" y="19655"/>
                  </a:lnTo>
                  <a:lnTo>
                    <a:pt x="12520" y="18965"/>
                  </a:lnTo>
                  <a:lnTo>
                    <a:pt x="11817" y="17931"/>
                  </a:lnTo>
                  <a:lnTo>
                    <a:pt x="11535" y="16551"/>
                  </a:lnTo>
                  <a:lnTo>
                    <a:pt x="10550" y="14827"/>
                  </a:lnTo>
                  <a:lnTo>
                    <a:pt x="9566" y="14137"/>
                  </a:lnTo>
                  <a:lnTo>
                    <a:pt x="9566" y="13103"/>
                  </a:lnTo>
                  <a:lnTo>
                    <a:pt x="9284" y="13103"/>
                  </a:lnTo>
                  <a:lnTo>
                    <a:pt x="9284" y="12413"/>
                  </a:lnTo>
                  <a:lnTo>
                    <a:pt x="9284" y="12413"/>
                  </a:lnTo>
                  <a:lnTo>
                    <a:pt x="8862" y="11724"/>
                  </a:lnTo>
                  <a:lnTo>
                    <a:pt x="8159" y="10689"/>
                  </a:lnTo>
                  <a:lnTo>
                    <a:pt x="7878" y="10689"/>
                  </a:lnTo>
                  <a:lnTo>
                    <a:pt x="7878" y="8965"/>
                  </a:lnTo>
                  <a:lnTo>
                    <a:pt x="7878" y="8965"/>
                  </a:lnTo>
                  <a:lnTo>
                    <a:pt x="7174" y="7586"/>
                  </a:lnTo>
                  <a:lnTo>
                    <a:pt x="7174" y="6551"/>
                  </a:lnTo>
                  <a:lnTo>
                    <a:pt x="7174" y="5862"/>
                  </a:lnTo>
                  <a:lnTo>
                    <a:pt x="6893" y="5172"/>
                  </a:lnTo>
                  <a:lnTo>
                    <a:pt x="6611" y="4137"/>
                  </a:lnTo>
                  <a:lnTo>
                    <a:pt x="6189" y="3448"/>
                  </a:lnTo>
                  <a:lnTo>
                    <a:pt x="5908" y="3448"/>
                  </a:lnTo>
                  <a:lnTo>
                    <a:pt x="5908" y="2758"/>
                  </a:lnTo>
                  <a:lnTo>
                    <a:pt x="5908" y="2758"/>
                  </a:lnTo>
                  <a:lnTo>
                    <a:pt x="5205" y="3448"/>
                  </a:lnTo>
                  <a:lnTo>
                    <a:pt x="4923" y="2758"/>
                  </a:lnTo>
                  <a:lnTo>
                    <a:pt x="4642" y="2758"/>
                  </a:lnTo>
                  <a:lnTo>
                    <a:pt x="4220" y="2758"/>
                  </a:lnTo>
                  <a:lnTo>
                    <a:pt x="3516" y="2758"/>
                  </a:lnTo>
                  <a:lnTo>
                    <a:pt x="3235" y="2758"/>
                  </a:lnTo>
                  <a:lnTo>
                    <a:pt x="2532" y="2758"/>
                  </a:lnTo>
                  <a:lnTo>
                    <a:pt x="2250" y="2758"/>
                  </a:lnTo>
                  <a:lnTo>
                    <a:pt x="1969" y="1724"/>
                  </a:lnTo>
                  <a:lnTo>
                    <a:pt x="1547" y="1034"/>
                  </a:lnTo>
                  <a:lnTo>
                    <a:pt x="1266" y="0"/>
                  </a:lnTo>
                  <a:lnTo>
                    <a:pt x="984" y="0"/>
                  </a:lnTo>
                  <a:lnTo>
                    <a:pt x="562" y="0"/>
                  </a:lnTo>
                  <a:lnTo>
                    <a:pt x="281" y="0"/>
                  </a:lnTo>
                  <a:lnTo>
                    <a:pt x="0" y="0"/>
                  </a:lnTo>
                  <a:lnTo>
                    <a:pt x="0" y="0"/>
                  </a:lnTo>
                  <a:lnTo>
                    <a:pt x="0" y="1034"/>
                  </a:lnTo>
                  <a:lnTo>
                    <a:pt x="0" y="1034"/>
                  </a:lnTo>
                  <a:lnTo>
                    <a:pt x="0" y="1724"/>
                  </a:lnTo>
                  <a:lnTo>
                    <a:pt x="0" y="1724"/>
                  </a:lnTo>
                  <a:lnTo>
                    <a:pt x="0" y="2758"/>
                  </a:lnTo>
                  <a:lnTo>
                    <a:pt x="281" y="5172"/>
                  </a:lnTo>
                  <a:lnTo>
                    <a:pt x="562" y="5862"/>
                  </a:lnTo>
                  <a:lnTo>
                    <a:pt x="562" y="6551"/>
                  </a:lnTo>
                  <a:lnTo>
                    <a:pt x="984" y="6551"/>
                  </a:lnTo>
                  <a:lnTo>
                    <a:pt x="1969" y="10000"/>
                  </a:lnTo>
                  <a:lnTo>
                    <a:pt x="2532" y="11724"/>
                  </a:lnTo>
                  <a:lnTo>
                    <a:pt x="2954" y="11724"/>
                  </a:lnTo>
                  <a:lnTo>
                    <a:pt x="3235" y="13103"/>
                  </a:lnTo>
                  <a:lnTo>
                    <a:pt x="3516" y="13103"/>
                  </a:lnTo>
                  <a:lnTo>
                    <a:pt x="4220" y="14137"/>
                  </a:lnTo>
                  <a:lnTo>
                    <a:pt x="4642" y="14137"/>
                  </a:lnTo>
                  <a:lnTo>
                    <a:pt x="4642" y="14827"/>
                  </a:lnTo>
                  <a:lnTo>
                    <a:pt x="5205" y="17241"/>
                  </a:lnTo>
                  <a:lnTo>
                    <a:pt x="5627" y="17931"/>
                  </a:lnTo>
                  <a:lnTo>
                    <a:pt x="5627" y="18965"/>
                  </a:lnTo>
                  <a:lnTo>
                    <a:pt x="5908" y="18965"/>
                  </a:lnTo>
                  <a:lnTo>
                    <a:pt x="6189" y="20689"/>
                  </a:lnTo>
                  <a:lnTo>
                    <a:pt x="6611" y="20689"/>
                  </a:lnTo>
                  <a:lnTo>
                    <a:pt x="6611" y="21379"/>
                  </a:lnTo>
                  <a:lnTo>
                    <a:pt x="6611" y="23103"/>
                  </a:lnTo>
                  <a:lnTo>
                    <a:pt x="6611" y="23793"/>
                  </a:lnTo>
                  <a:lnTo>
                    <a:pt x="6893" y="24482"/>
                  </a:lnTo>
                  <a:lnTo>
                    <a:pt x="7174" y="24482"/>
                  </a:lnTo>
                  <a:lnTo>
                    <a:pt x="7596" y="24482"/>
                  </a:lnTo>
                  <a:lnTo>
                    <a:pt x="7878" y="24482"/>
                  </a:lnTo>
                  <a:lnTo>
                    <a:pt x="8862" y="26896"/>
                  </a:lnTo>
                  <a:lnTo>
                    <a:pt x="9284" y="26896"/>
                  </a:lnTo>
                  <a:lnTo>
                    <a:pt x="9284" y="28620"/>
                  </a:lnTo>
                  <a:lnTo>
                    <a:pt x="9566" y="30344"/>
                  </a:lnTo>
                  <a:lnTo>
                    <a:pt x="9847" y="33448"/>
                  </a:lnTo>
                  <a:lnTo>
                    <a:pt x="10269" y="35862"/>
                  </a:lnTo>
                  <a:lnTo>
                    <a:pt x="10550" y="37586"/>
                  </a:lnTo>
                  <a:lnTo>
                    <a:pt x="10550" y="38620"/>
                  </a:lnTo>
                  <a:lnTo>
                    <a:pt x="10832" y="39310"/>
                  </a:lnTo>
                  <a:lnTo>
                    <a:pt x="11254" y="39310"/>
                  </a:lnTo>
                  <a:lnTo>
                    <a:pt x="11817" y="40000"/>
                  </a:lnTo>
                  <a:lnTo>
                    <a:pt x="11817" y="41034"/>
                  </a:lnTo>
                  <a:lnTo>
                    <a:pt x="12239" y="41034"/>
                  </a:lnTo>
                  <a:lnTo>
                    <a:pt x="12520" y="43448"/>
                  </a:lnTo>
                  <a:lnTo>
                    <a:pt x="12520" y="44137"/>
                  </a:lnTo>
                  <a:lnTo>
                    <a:pt x="12801" y="44137"/>
                  </a:lnTo>
                  <a:lnTo>
                    <a:pt x="13223" y="44827"/>
                  </a:lnTo>
                  <a:lnTo>
                    <a:pt x="13505" y="46551"/>
                  </a:lnTo>
                  <a:lnTo>
                    <a:pt x="13505" y="46551"/>
                  </a:lnTo>
                  <a:lnTo>
                    <a:pt x="13927" y="48965"/>
                  </a:lnTo>
                  <a:lnTo>
                    <a:pt x="14208" y="50689"/>
                  </a:lnTo>
                  <a:lnTo>
                    <a:pt x="14912" y="54827"/>
                  </a:lnTo>
                  <a:lnTo>
                    <a:pt x="14912" y="56551"/>
                  </a:lnTo>
                  <a:lnTo>
                    <a:pt x="15193" y="57241"/>
                  </a:lnTo>
                  <a:lnTo>
                    <a:pt x="15193" y="57931"/>
                  </a:lnTo>
                  <a:lnTo>
                    <a:pt x="15474" y="59655"/>
                  </a:lnTo>
                  <a:lnTo>
                    <a:pt x="15896" y="60344"/>
                  </a:lnTo>
                  <a:lnTo>
                    <a:pt x="16178" y="60344"/>
                  </a:lnTo>
                  <a:lnTo>
                    <a:pt x="16178" y="61379"/>
                  </a:lnTo>
                  <a:lnTo>
                    <a:pt x="16459" y="62068"/>
                  </a:lnTo>
                  <a:lnTo>
                    <a:pt x="16881" y="63793"/>
                  </a:lnTo>
                  <a:lnTo>
                    <a:pt x="16881" y="64482"/>
                  </a:lnTo>
                  <a:lnTo>
                    <a:pt x="17444" y="65517"/>
                  </a:lnTo>
                  <a:lnTo>
                    <a:pt x="18147" y="66896"/>
                  </a:lnTo>
                  <a:lnTo>
                    <a:pt x="18569" y="67931"/>
                  </a:lnTo>
                  <a:lnTo>
                    <a:pt x="18851" y="69310"/>
                  </a:lnTo>
                  <a:lnTo>
                    <a:pt x="19132" y="71034"/>
                  </a:lnTo>
                  <a:lnTo>
                    <a:pt x="20117" y="73448"/>
                  </a:lnTo>
                  <a:lnTo>
                    <a:pt x="20820" y="74482"/>
                  </a:lnTo>
                  <a:lnTo>
                    <a:pt x="20820" y="75172"/>
                  </a:lnTo>
                  <a:lnTo>
                    <a:pt x="21101" y="75862"/>
                  </a:lnTo>
                  <a:lnTo>
                    <a:pt x="21524" y="75862"/>
                  </a:lnTo>
                  <a:lnTo>
                    <a:pt x="22508" y="77586"/>
                  </a:lnTo>
                  <a:lnTo>
                    <a:pt x="22508" y="77586"/>
                  </a:lnTo>
                  <a:lnTo>
                    <a:pt x="23212" y="80000"/>
                  </a:lnTo>
                  <a:lnTo>
                    <a:pt x="23212" y="81034"/>
                  </a:lnTo>
                  <a:lnTo>
                    <a:pt x="23493" y="81034"/>
                  </a:lnTo>
                  <a:lnTo>
                    <a:pt x="23774" y="82413"/>
                  </a:lnTo>
                  <a:lnTo>
                    <a:pt x="24196" y="83448"/>
                  </a:lnTo>
                  <a:lnTo>
                    <a:pt x="24478" y="84137"/>
                  </a:lnTo>
                  <a:lnTo>
                    <a:pt x="24478" y="84137"/>
                  </a:lnTo>
                  <a:lnTo>
                    <a:pt x="24478" y="84137"/>
                  </a:lnTo>
                  <a:lnTo>
                    <a:pt x="24478" y="83448"/>
                  </a:lnTo>
                  <a:lnTo>
                    <a:pt x="24478" y="81724"/>
                  </a:lnTo>
                  <a:lnTo>
                    <a:pt x="24478" y="81724"/>
                  </a:lnTo>
                  <a:lnTo>
                    <a:pt x="24478" y="81034"/>
                  </a:lnTo>
                  <a:lnTo>
                    <a:pt x="25181" y="82413"/>
                  </a:lnTo>
                  <a:lnTo>
                    <a:pt x="25463" y="82413"/>
                  </a:lnTo>
                  <a:lnTo>
                    <a:pt x="25744" y="82413"/>
                  </a:lnTo>
                  <a:lnTo>
                    <a:pt x="25744" y="82413"/>
                  </a:lnTo>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69" name="Shape 469"/>
            <p:cNvSpPr/>
            <p:nvPr/>
          </p:nvSpPr>
          <p:spPr>
            <a:xfrm>
              <a:off x="4895" y="2056"/>
              <a:ext cx="600" cy="600"/>
            </a:xfrm>
            <a:custGeom>
              <a:avLst/>
              <a:gdLst/>
              <a:ahLst/>
              <a:cxnLst/>
              <a:rect l="0" t="0" r="0" b="0"/>
              <a:pathLst>
                <a:path w="120000" h="120000" extrusionOk="0">
                  <a:moveTo>
                    <a:pt x="118365" y="34698"/>
                  </a:moveTo>
                  <a:lnTo>
                    <a:pt x="118832" y="34079"/>
                  </a:lnTo>
                  <a:lnTo>
                    <a:pt x="118832" y="33666"/>
                  </a:lnTo>
                  <a:lnTo>
                    <a:pt x="119299" y="33666"/>
                  </a:lnTo>
                  <a:lnTo>
                    <a:pt x="119299" y="33666"/>
                  </a:lnTo>
                  <a:lnTo>
                    <a:pt x="120000" y="33666"/>
                  </a:lnTo>
                  <a:lnTo>
                    <a:pt x="120000" y="33253"/>
                  </a:lnTo>
                  <a:lnTo>
                    <a:pt x="119299" y="33253"/>
                  </a:lnTo>
                  <a:lnTo>
                    <a:pt x="119299" y="32633"/>
                  </a:lnTo>
                  <a:lnTo>
                    <a:pt x="119299" y="32633"/>
                  </a:lnTo>
                  <a:lnTo>
                    <a:pt x="119299" y="32220"/>
                  </a:lnTo>
                  <a:lnTo>
                    <a:pt x="119299" y="32220"/>
                  </a:lnTo>
                  <a:lnTo>
                    <a:pt x="118365" y="31600"/>
                  </a:lnTo>
                  <a:lnTo>
                    <a:pt x="118365" y="31600"/>
                  </a:lnTo>
                  <a:lnTo>
                    <a:pt x="117665" y="31600"/>
                  </a:lnTo>
                  <a:lnTo>
                    <a:pt x="117198" y="31600"/>
                  </a:lnTo>
                  <a:lnTo>
                    <a:pt x="117198" y="31600"/>
                  </a:lnTo>
                  <a:lnTo>
                    <a:pt x="116031" y="31187"/>
                  </a:lnTo>
                  <a:lnTo>
                    <a:pt x="116031" y="31187"/>
                  </a:lnTo>
                  <a:lnTo>
                    <a:pt x="115564" y="31187"/>
                  </a:lnTo>
                  <a:lnTo>
                    <a:pt x="115564" y="31600"/>
                  </a:lnTo>
                  <a:lnTo>
                    <a:pt x="115097" y="31600"/>
                  </a:lnTo>
                  <a:lnTo>
                    <a:pt x="115097" y="31600"/>
                  </a:lnTo>
                  <a:lnTo>
                    <a:pt x="115097" y="31187"/>
                  </a:lnTo>
                  <a:lnTo>
                    <a:pt x="115097" y="31187"/>
                  </a:lnTo>
                  <a:lnTo>
                    <a:pt x="115097" y="31187"/>
                  </a:lnTo>
                  <a:lnTo>
                    <a:pt x="115097" y="31187"/>
                  </a:lnTo>
                  <a:lnTo>
                    <a:pt x="115097" y="30774"/>
                  </a:lnTo>
                  <a:lnTo>
                    <a:pt x="115097" y="30774"/>
                  </a:lnTo>
                  <a:lnTo>
                    <a:pt x="115564" y="29741"/>
                  </a:lnTo>
                  <a:lnTo>
                    <a:pt x="115564" y="29741"/>
                  </a:lnTo>
                  <a:lnTo>
                    <a:pt x="115097" y="28709"/>
                  </a:lnTo>
                  <a:lnTo>
                    <a:pt x="115097" y="28709"/>
                  </a:lnTo>
                  <a:lnTo>
                    <a:pt x="115097" y="28709"/>
                  </a:lnTo>
                  <a:lnTo>
                    <a:pt x="114396" y="28709"/>
                  </a:lnTo>
                  <a:lnTo>
                    <a:pt x="113929" y="29328"/>
                  </a:lnTo>
                  <a:lnTo>
                    <a:pt x="113929" y="29328"/>
                  </a:lnTo>
                  <a:lnTo>
                    <a:pt x="113929" y="28709"/>
                  </a:lnTo>
                  <a:lnTo>
                    <a:pt x="113229" y="28296"/>
                  </a:lnTo>
                  <a:lnTo>
                    <a:pt x="113929" y="28296"/>
                  </a:lnTo>
                  <a:lnTo>
                    <a:pt x="113929" y="28296"/>
                  </a:lnTo>
                  <a:lnTo>
                    <a:pt x="114396" y="27882"/>
                  </a:lnTo>
                  <a:lnTo>
                    <a:pt x="114396" y="27882"/>
                  </a:lnTo>
                  <a:lnTo>
                    <a:pt x="113929" y="27882"/>
                  </a:lnTo>
                  <a:lnTo>
                    <a:pt x="113929" y="27882"/>
                  </a:lnTo>
                  <a:lnTo>
                    <a:pt x="113229" y="27882"/>
                  </a:lnTo>
                  <a:lnTo>
                    <a:pt x="113229" y="27263"/>
                  </a:lnTo>
                  <a:lnTo>
                    <a:pt x="112762" y="26850"/>
                  </a:lnTo>
                  <a:lnTo>
                    <a:pt x="112762" y="26850"/>
                  </a:lnTo>
                  <a:lnTo>
                    <a:pt x="112295" y="27263"/>
                  </a:lnTo>
                  <a:lnTo>
                    <a:pt x="111595" y="27263"/>
                  </a:lnTo>
                  <a:lnTo>
                    <a:pt x="110661" y="27882"/>
                  </a:lnTo>
                  <a:lnTo>
                    <a:pt x="110661" y="28296"/>
                  </a:lnTo>
                  <a:lnTo>
                    <a:pt x="110661" y="28296"/>
                  </a:lnTo>
                  <a:lnTo>
                    <a:pt x="110661" y="28296"/>
                  </a:lnTo>
                  <a:lnTo>
                    <a:pt x="110661" y="28709"/>
                  </a:lnTo>
                  <a:lnTo>
                    <a:pt x="110661" y="28709"/>
                  </a:lnTo>
                  <a:lnTo>
                    <a:pt x="109961" y="28709"/>
                  </a:lnTo>
                  <a:lnTo>
                    <a:pt x="109961" y="28709"/>
                  </a:lnTo>
                  <a:lnTo>
                    <a:pt x="109494" y="28296"/>
                  </a:lnTo>
                  <a:lnTo>
                    <a:pt x="109027" y="28296"/>
                  </a:lnTo>
                  <a:lnTo>
                    <a:pt x="108326" y="28296"/>
                  </a:lnTo>
                  <a:lnTo>
                    <a:pt x="107859" y="28296"/>
                  </a:lnTo>
                  <a:lnTo>
                    <a:pt x="107859" y="27882"/>
                  </a:lnTo>
                  <a:lnTo>
                    <a:pt x="107392" y="27882"/>
                  </a:lnTo>
                  <a:lnTo>
                    <a:pt x="107392" y="27263"/>
                  </a:lnTo>
                  <a:lnTo>
                    <a:pt x="106692" y="27263"/>
                  </a:lnTo>
                  <a:lnTo>
                    <a:pt x="106225" y="27882"/>
                  </a:lnTo>
                  <a:lnTo>
                    <a:pt x="105525" y="28296"/>
                  </a:lnTo>
                  <a:lnTo>
                    <a:pt x="105525" y="28709"/>
                  </a:lnTo>
                  <a:lnTo>
                    <a:pt x="105058" y="28709"/>
                  </a:lnTo>
                  <a:lnTo>
                    <a:pt x="104591" y="28709"/>
                  </a:lnTo>
                  <a:lnTo>
                    <a:pt x="105058" y="29328"/>
                  </a:lnTo>
                  <a:lnTo>
                    <a:pt x="104591" y="29328"/>
                  </a:lnTo>
                  <a:lnTo>
                    <a:pt x="104591" y="29741"/>
                  </a:lnTo>
                  <a:lnTo>
                    <a:pt x="103891" y="29741"/>
                  </a:lnTo>
                  <a:lnTo>
                    <a:pt x="103424" y="30154"/>
                  </a:lnTo>
                  <a:lnTo>
                    <a:pt x="102256" y="30154"/>
                  </a:lnTo>
                  <a:lnTo>
                    <a:pt x="101789" y="30154"/>
                  </a:lnTo>
                  <a:lnTo>
                    <a:pt x="101789" y="30774"/>
                  </a:lnTo>
                  <a:lnTo>
                    <a:pt x="101789" y="31187"/>
                  </a:lnTo>
                  <a:lnTo>
                    <a:pt x="101789" y="31187"/>
                  </a:lnTo>
                  <a:lnTo>
                    <a:pt x="101322" y="31600"/>
                  </a:lnTo>
                  <a:lnTo>
                    <a:pt x="100622" y="32220"/>
                  </a:lnTo>
                  <a:lnTo>
                    <a:pt x="100155" y="32633"/>
                  </a:lnTo>
                  <a:lnTo>
                    <a:pt x="100155" y="32633"/>
                  </a:lnTo>
                  <a:lnTo>
                    <a:pt x="100155" y="32633"/>
                  </a:lnTo>
                  <a:lnTo>
                    <a:pt x="100155" y="33253"/>
                  </a:lnTo>
                  <a:lnTo>
                    <a:pt x="100155" y="33253"/>
                  </a:lnTo>
                  <a:lnTo>
                    <a:pt x="100155" y="33253"/>
                  </a:lnTo>
                  <a:lnTo>
                    <a:pt x="100155" y="33253"/>
                  </a:lnTo>
                  <a:lnTo>
                    <a:pt x="99688" y="33666"/>
                  </a:lnTo>
                  <a:lnTo>
                    <a:pt x="99688" y="33666"/>
                  </a:lnTo>
                  <a:lnTo>
                    <a:pt x="98988" y="34079"/>
                  </a:lnTo>
                  <a:lnTo>
                    <a:pt x="98988" y="34079"/>
                  </a:lnTo>
                  <a:lnTo>
                    <a:pt x="98521" y="34079"/>
                  </a:lnTo>
                  <a:lnTo>
                    <a:pt x="98521" y="33666"/>
                  </a:lnTo>
                  <a:lnTo>
                    <a:pt x="98521" y="34079"/>
                  </a:lnTo>
                  <a:lnTo>
                    <a:pt x="97821" y="34079"/>
                  </a:lnTo>
                  <a:lnTo>
                    <a:pt x="97821" y="34079"/>
                  </a:lnTo>
                  <a:lnTo>
                    <a:pt x="97354" y="34079"/>
                  </a:lnTo>
                  <a:lnTo>
                    <a:pt x="97354" y="34079"/>
                  </a:lnTo>
                  <a:lnTo>
                    <a:pt x="96887" y="34079"/>
                  </a:lnTo>
                  <a:lnTo>
                    <a:pt x="96186" y="34079"/>
                  </a:lnTo>
                  <a:lnTo>
                    <a:pt x="95719" y="34079"/>
                  </a:lnTo>
                  <a:lnTo>
                    <a:pt x="95719" y="34079"/>
                  </a:lnTo>
                  <a:lnTo>
                    <a:pt x="95719" y="34698"/>
                  </a:lnTo>
                  <a:lnTo>
                    <a:pt x="95719" y="34698"/>
                  </a:lnTo>
                  <a:lnTo>
                    <a:pt x="95719" y="35111"/>
                  </a:lnTo>
                  <a:lnTo>
                    <a:pt x="96186" y="35524"/>
                  </a:lnTo>
                  <a:lnTo>
                    <a:pt x="96887" y="35524"/>
                  </a:lnTo>
                  <a:lnTo>
                    <a:pt x="97354" y="35524"/>
                  </a:lnTo>
                  <a:lnTo>
                    <a:pt x="97354" y="35524"/>
                  </a:lnTo>
                  <a:lnTo>
                    <a:pt x="97821" y="35524"/>
                  </a:lnTo>
                  <a:lnTo>
                    <a:pt x="97821" y="36144"/>
                  </a:lnTo>
                  <a:lnTo>
                    <a:pt x="98521" y="36144"/>
                  </a:lnTo>
                  <a:lnTo>
                    <a:pt x="97821" y="36557"/>
                  </a:lnTo>
                  <a:lnTo>
                    <a:pt x="97821" y="36970"/>
                  </a:lnTo>
                  <a:lnTo>
                    <a:pt x="97821" y="36970"/>
                  </a:lnTo>
                  <a:lnTo>
                    <a:pt x="97821" y="36970"/>
                  </a:lnTo>
                  <a:lnTo>
                    <a:pt x="98521" y="37590"/>
                  </a:lnTo>
                  <a:lnTo>
                    <a:pt x="98521" y="37590"/>
                  </a:lnTo>
                  <a:lnTo>
                    <a:pt x="98521" y="38003"/>
                  </a:lnTo>
                  <a:lnTo>
                    <a:pt x="98521" y="38003"/>
                  </a:lnTo>
                  <a:lnTo>
                    <a:pt x="98521" y="38003"/>
                  </a:lnTo>
                  <a:lnTo>
                    <a:pt x="97821" y="38003"/>
                  </a:lnTo>
                  <a:lnTo>
                    <a:pt x="97821" y="38003"/>
                  </a:lnTo>
                  <a:lnTo>
                    <a:pt x="97821" y="38003"/>
                  </a:lnTo>
                  <a:lnTo>
                    <a:pt x="97354" y="38003"/>
                  </a:lnTo>
                  <a:lnTo>
                    <a:pt x="96887" y="38623"/>
                  </a:lnTo>
                  <a:lnTo>
                    <a:pt x="96186" y="38623"/>
                  </a:lnTo>
                  <a:lnTo>
                    <a:pt x="96186" y="38003"/>
                  </a:lnTo>
                  <a:lnTo>
                    <a:pt x="95719" y="38003"/>
                  </a:lnTo>
                  <a:lnTo>
                    <a:pt x="95252" y="38623"/>
                  </a:lnTo>
                  <a:lnTo>
                    <a:pt x="94552" y="38623"/>
                  </a:lnTo>
                  <a:lnTo>
                    <a:pt x="93618" y="38623"/>
                  </a:lnTo>
                  <a:lnTo>
                    <a:pt x="92918" y="38623"/>
                  </a:lnTo>
                  <a:lnTo>
                    <a:pt x="92451" y="38623"/>
                  </a:lnTo>
                  <a:lnTo>
                    <a:pt x="92451" y="38623"/>
                  </a:lnTo>
                  <a:lnTo>
                    <a:pt x="91984" y="38003"/>
                  </a:lnTo>
                  <a:lnTo>
                    <a:pt x="91284" y="38003"/>
                  </a:lnTo>
                  <a:lnTo>
                    <a:pt x="90817" y="38003"/>
                  </a:lnTo>
                  <a:lnTo>
                    <a:pt x="90817" y="38003"/>
                  </a:lnTo>
                  <a:lnTo>
                    <a:pt x="90817" y="38623"/>
                  </a:lnTo>
                  <a:lnTo>
                    <a:pt x="89649" y="38623"/>
                  </a:lnTo>
                  <a:lnTo>
                    <a:pt x="89182" y="39036"/>
                  </a:lnTo>
                  <a:lnTo>
                    <a:pt x="88482" y="39036"/>
                  </a:lnTo>
                  <a:lnTo>
                    <a:pt x="88482" y="38623"/>
                  </a:lnTo>
                  <a:lnTo>
                    <a:pt x="88482" y="38623"/>
                  </a:lnTo>
                  <a:lnTo>
                    <a:pt x="88482" y="38623"/>
                  </a:lnTo>
                  <a:lnTo>
                    <a:pt x="88015" y="38623"/>
                  </a:lnTo>
                  <a:lnTo>
                    <a:pt x="88015" y="38623"/>
                  </a:lnTo>
                  <a:lnTo>
                    <a:pt x="88015" y="38623"/>
                  </a:lnTo>
                  <a:lnTo>
                    <a:pt x="87548" y="38003"/>
                  </a:lnTo>
                  <a:lnTo>
                    <a:pt x="86848" y="38003"/>
                  </a:lnTo>
                  <a:lnTo>
                    <a:pt x="86381" y="38623"/>
                  </a:lnTo>
                  <a:lnTo>
                    <a:pt x="85914" y="38003"/>
                  </a:lnTo>
                  <a:lnTo>
                    <a:pt x="85214" y="38003"/>
                  </a:lnTo>
                  <a:lnTo>
                    <a:pt x="85214" y="37590"/>
                  </a:lnTo>
                  <a:lnTo>
                    <a:pt x="84747" y="36970"/>
                  </a:lnTo>
                  <a:lnTo>
                    <a:pt x="84747" y="36970"/>
                  </a:lnTo>
                  <a:lnTo>
                    <a:pt x="84747" y="36970"/>
                  </a:lnTo>
                  <a:lnTo>
                    <a:pt x="84280" y="36557"/>
                  </a:lnTo>
                  <a:lnTo>
                    <a:pt x="84280" y="36557"/>
                  </a:lnTo>
                  <a:lnTo>
                    <a:pt x="84747" y="36144"/>
                  </a:lnTo>
                  <a:lnTo>
                    <a:pt x="84747" y="36144"/>
                  </a:lnTo>
                  <a:lnTo>
                    <a:pt x="84747" y="36144"/>
                  </a:lnTo>
                  <a:lnTo>
                    <a:pt x="84280" y="35524"/>
                  </a:lnTo>
                  <a:lnTo>
                    <a:pt x="84280" y="35111"/>
                  </a:lnTo>
                  <a:lnTo>
                    <a:pt x="84280" y="34079"/>
                  </a:lnTo>
                  <a:lnTo>
                    <a:pt x="84280" y="33666"/>
                  </a:lnTo>
                  <a:lnTo>
                    <a:pt x="84280" y="33666"/>
                  </a:lnTo>
                  <a:lnTo>
                    <a:pt x="83579" y="33253"/>
                  </a:lnTo>
                  <a:lnTo>
                    <a:pt x="83579" y="33253"/>
                  </a:lnTo>
                  <a:lnTo>
                    <a:pt x="83112" y="32633"/>
                  </a:lnTo>
                  <a:lnTo>
                    <a:pt x="83112" y="32633"/>
                  </a:lnTo>
                  <a:lnTo>
                    <a:pt x="82412" y="33253"/>
                  </a:lnTo>
                  <a:lnTo>
                    <a:pt x="82412" y="33253"/>
                  </a:lnTo>
                  <a:lnTo>
                    <a:pt x="82412" y="33253"/>
                  </a:lnTo>
                  <a:lnTo>
                    <a:pt x="81945" y="33253"/>
                  </a:lnTo>
                  <a:lnTo>
                    <a:pt x="81478" y="33253"/>
                  </a:lnTo>
                  <a:lnTo>
                    <a:pt x="80778" y="33666"/>
                  </a:lnTo>
                  <a:lnTo>
                    <a:pt x="80778" y="33666"/>
                  </a:lnTo>
                  <a:lnTo>
                    <a:pt x="80778" y="33666"/>
                  </a:lnTo>
                  <a:lnTo>
                    <a:pt x="81478" y="33666"/>
                  </a:lnTo>
                  <a:lnTo>
                    <a:pt x="81478" y="34079"/>
                  </a:lnTo>
                  <a:lnTo>
                    <a:pt x="81478" y="34079"/>
                  </a:lnTo>
                  <a:lnTo>
                    <a:pt x="81478" y="34698"/>
                  </a:lnTo>
                  <a:lnTo>
                    <a:pt x="81478" y="35111"/>
                  </a:lnTo>
                  <a:lnTo>
                    <a:pt x="80778" y="35524"/>
                  </a:lnTo>
                  <a:lnTo>
                    <a:pt x="81478" y="36970"/>
                  </a:lnTo>
                  <a:lnTo>
                    <a:pt x="81478" y="36970"/>
                  </a:lnTo>
                  <a:lnTo>
                    <a:pt x="81945" y="38003"/>
                  </a:lnTo>
                  <a:lnTo>
                    <a:pt x="81945" y="38623"/>
                  </a:lnTo>
                  <a:lnTo>
                    <a:pt x="82412" y="38623"/>
                  </a:lnTo>
                  <a:lnTo>
                    <a:pt x="81945" y="39449"/>
                  </a:lnTo>
                  <a:lnTo>
                    <a:pt x="81945" y="40068"/>
                  </a:lnTo>
                  <a:lnTo>
                    <a:pt x="81945" y="40068"/>
                  </a:lnTo>
                  <a:lnTo>
                    <a:pt x="81945" y="40068"/>
                  </a:lnTo>
                  <a:lnTo>
                    <a:pt x="81478" y="40068"/>
                  </a:lnTo>
                  <a:lnTo>
                    <a:pt x="80778" y="40068"/>
                  </a:lnTo>
                  <a:lnTo>
                    <a:pt x="80311" y="40068"/>
                  </a:lnTo>
                  <a:lnTo>
                    <a:pt x="79844" y="40068"/>
                  </a:lnTo>
                  <a:lnTo>
                    <a:pt x="79143" y="40068"/>
                  </a:lnTo>
                  <a:lnTo>
                    <a:pt x="78677" y="40481"/>
                  </a:lnTo>
                  <a:lnTo>
                    <a:pt x="78210" y="40068"/>
                  </a:lnTo>
                  <a:lnTo>
                    <a:pt x="78210" y="40068"/>
                  </a:lnTo>
                  <a:lnTo>
                    <a:pt x="77509" y="39449"/>
                  </a:lnTo>
                  <a:lnTo>
                    <a:pt x="77509" y="39449"/>
                  </a:lnTo>
                  <a:lnTo>
                    <a:pt x="76575" y="40068"/>
                  </a:lnTo>
                  <a:lnTo>
                    <a:pt x="76575" y="40068"/>
                  </a:lnTo>
                  <a:lnTo>
                    <a:pt x="75875" y="39449"/>
                  </a:lnTo>
                  <a:lnTo>
                    <a:pt x="74708" y="39449"/>
                  </a:lnTo>
                  <a:lnTo>
                    <a:pt x="74708" y="39449"/>
                  </a:lnTo>
                  <a:lnTo>
                    <a:pt x="74241" y="39449"/>
                  </a:lnTo>
                  <a:lnTo>
                    <a:pt x="73774" y="39036"/>
                  </a:lnTo>
                  <a:lnTo>
                    <a:pt x="73073" y="39036"/>
                  </a:lnTo>
                  <a:lnTo>
                    <a:pt x="72607" y="39449"/>
                  </a:lnTo>
                  <a:lnTo>
                    <a:pt x="72607" y="39036"/>
                  </a:lnTo>
                  <a:lnTo>
                    <a:pt x="72140" y="39036"/>
                  </a:lnTo>
                  <a:lnTo>
                    <a:pt x="72140" y="39036"/>
                  </a:lnTo>
                  <a:lnTo>
                    <a:pt x="72140" y="38623"/>
                  </a:lnTo>
                  <a:lnTo>
                    <a:pt x="71439" y="38003"/>
                  </a:lnTo>
                  <a:lnTo>
                    <a:pt x="71439" y="38003"/>
                  </a:lnTo>
                  <a:lnTo>
                    <a:pt x="70972" y="38623"/>
                  </a:lnTo>
                  <a:lnTo>
                    <a:pt x="70505" y="38623"/>
                  </a:lnTo>
                  <a:lnTo>
                    <a:pt x="69805" y="38623"/>
                  </a:lnTo>
                  <a:lnTo>
                    <a:pt x="69805" y="38623"/>
                  </a:lnTo>
                  <a:lnTo>
                    <a:pt x="69805" y="38623"/>
                  </a:lnTo>
                  <a:lnTo>
                    <a:pt x="69338" y="38003"/>
                  </a:lnTo>
                  <a:lnTo>
                    <a:pt x="69338" y="38003"/>
                  </a:lnTo>
                  <a:lnTo>
                    <a:pt x="69338" y="38003"/>
                  </a:lnTo>
                  <a:lnTo>
                    <a:pt x="68871" y="38003"/>
                  </a:lnTo>
                  <a:lnTo>
                    <a:pt x="68871" y="38003"/>
                  </a:lnTo>
                  <a:lnTo>
                    <a:pt x="67704" y="37590"/>
                  </a:lnTo>
                  <a:lnTo>
                    <a:pt x="67003" y="36970"/>
                  </a:lnTo>
                  <a:lnTo>
                    <a:pt x="67003" y="36557"/>
                  </a:lnTo>
                  <a:lnTo>
                    <a:pt x="67003" y="36557"/>
                  </a:lnTo>
                  <a:lnTo>
                    <a:pt x="67003" y="36144"/>
                  </a:lnTo>
                  <a:lnTo>
                    <a:pt x="66536" y="36144"/>
                  </a:lnTo>
                  <a:lnTo>
                    <a:pt x="65369" y="35524"/>
                  </a:lnTo>
                  <a:lnTo>
                    <a:pt x="64435" y="35524"/>
                  </a:lnTo>
                  <a:lnTo>
                    <a:pt x="64435" y="35524"/>
                  </a:lnTo>
                  <a:lnTo>
                    <a:pt x="63735" y="35524"/>
                  </a:lnTo>
                  <a:lnTo>
                    <a:pt x="63735" y="36144"/>
                  </a:lnTo>
                  <a:lnTo>
                    <a:pt x="63268" y="35524"/>
                  </a:lnTo>
                  <a:lnTo>
                    <a:pt x="62101" y="35524"/>
                  </a:lnTo>
                  <a:lnTo>
                    <a:pt x="61634" y="35524"/>
                  </a:lnTo>
                  <a:lnTo>
                    <a:pt x="61634" y="35524"/>
                  </a:lnTo>
                  <a:lnTo>
                    <a:pt x="61634" y="35524"/>
                  </a:lnTo>
                  <a:lnTo>
                    <a:pt x="61167" y="36144"/>
                  </a:lnTo>
                  <a:lnTo>
                    <a:pt x="61167" y="35524"/>
                  </a:lnTo>
                  <a:lnTo>
                    <a:pt x="60466" y="35524"/>
                  </a:lnTo>
                  <a:lnTo>
                    <a:pt x="60000" y="35524"/>
                  </a:lnTo>
                  <a:lnTo>
                    <a:pt x="58832" y="35111"/>
                  </a:lnTo>
                  <a:lnTo>
                    <a:pt x="58832" y="35111"/>
                  </a:lnTo>
                  <a:lnTo>
                    <a:pt x="58365" y="34698"/>
                  </a:lnTo>
                  <a:lnTo>
                    <a:pt x="58365" y="34698"/>
                  </a:lnTo>
                  <a:lnTo>
                    <a:pt x="57665" y="34698"/>
                  </a:lnTo>
                  <a:lnTo>
                    <a:pt x="56731" y="34079"/>
                  </a:lnTo>
                  <a:lnTo>
                    <a:pt x="56031" y="33666"/>
                  </a:lnTo>
                  <a:lnTo>
                    <a:pt x="55564" y="33666"/>
                  </a:lnTo>
                  <a:lnTo>
                    <a:pt x="55564" y="33666"/>
                  </a:lnTo>
                  <a:lnTo>
                    <a:pt x="55097" y="33666"/>
                  </a:lnTo>
                  <a:lnTo>
                    <a:pt x="55097" y="33666"/>
                  </a:lnTo>
                  <a:lnTo>
                    <a:pt x="55097" y="33666"/>
                  </a:lnTo>
                  <a:lnTo>
                    <a:pt x="54396" y="33666"/>
                  </a:lnTo>
                  <a:lnTo>
                    <a:pt x="53929" y="33253"/>
                  </a:lnTo>
                  <a:lnTo>
                    <a:pt x="53463" y="32633"/>
                  </a:lnTo>
                  <a:lnTo>
                    <a:pt x="52295" y="32220"/>
                  </a:lnTo>
                  <a:lnTo>
                    <a:pt x="51828" y="32220"/>
                  </a:lnTo>
                  <a:lnTo>
                    <a:pt x="51828" y="31600"/>
                  </a:lnTo>
                  <a:lnTo>
                    <a:pt x="51828" y="31600"/>
                  </a:lnTo>
                  <a:lnTo>
                    <a:pt x="51128" y="31187"/>
                  </a:lnTo>
                  <a:lnTo>
                    <a:pt x="50661" y="31187"/>
                  </a:lnTo>
                  <a:lnTo>
                    <a:pt x="49494" y="30774"/>
                  </a:lnTo>
                  <a:lnTo>
                    <a:pt x="49494" y="30774"/>
                  </a:lnTo>
                  <a:lnTo>
                    <a:pt x="49494" y="30774"/>
                  </a:lnTo>
                  <a:lnTo>
                    <a:pt x="49027" y="30154"/>
                  </a:lnTo>
                  <a:lnTo>
                    <a:pt x="48326" y="30154"/>
                  </a:lnTo>
                  <a:lnTo>
                    <a:pt x="48326" y="30154"/>
                  </a:lnTo>
                  <a:lnTo>
                    <a:pt x="48326" y="30774"/>
                  </a:lnTo>
                  <a:lnTo>
                    <a:pt x="48326" y="30774"/>
                  </a:lnTo>
                  <a:lnTo>
                    <a:pt x="47859" y="30154"/>
                  </a:lnTo>
                  <a:lnTo>
                    <a:pt x="47392" y="30154"/>
                  </a:lnTo>
                  <a:lnTo>
                    <a:pt x="46692" y="29741"/>
                  </a:lnTo>
                  <a:lnTo>
                    <a:pt x="46692" y="29741"/>
                  </a:lnTo>
                  <a:lnTo>
                    <a:pt x="46225" y="29328"/>
                  </a:lnTo>
                  <a:lnTo>
                    <a:pt x="46692" y="28709"/>
                  </a:lnTo>
                  <a:lnTo>
                    <a:pt x="46692" y="28296"/>
                  </a:lnTo>
                  <a:lnTo>
                    <a:pt x="46692" y="28296"/>
                  </a:lnTo>
                  <a:lnTo>
                    <a:pt x="46692" y="27882"/>
                  </a:lnTo>
                  <a:lnTo>
                    <a:pt x="46692" y="27263"/>
                  </a:lnTo>
                  <a:lnTo>
                    <a:pt x="46692" y="26850"/>
                  </a:lnTo>
                  <a:lnTo>
                    <a:pt x="46692" y="26230"/>
                  </a:lnTo>
                  <a:lnTo>
                    <a:pt x="47392" y="25817"/>
                  </a:lnTo>
                  <a:lnTo>
                    <a:pt x="47859" y="24784"/>
                  </a:lnTo>
                  <a:lnTo>
                    <a:pt x="47859" y="24784"/>
                  </a:lnTo>
                  <a:lnTo>
                    <a:pt x="47859" y="24371"/>
                  </a:lnTo>
                  <a:lnTo>
                    <a:pt x="48326" y="23958"/>
                  </a:lnTo>
                  <a:lnTo>
                    <a:pt x="48326" y="23958"/>
                  </a:lnTo>
                  <a:lnTo>
                    <a:pt x="49027" y="23958"/>
                  </a:lnTo>
                  <a:lnTo>
                    <a:pt x="49027" y="23958"/>
                  </a:lnTo>
                  <a:lnTo>
                    <a:pt x="49494" y="23958"/>
                  </a:lnTo>
                  <a:lnTo>
                    <a:pt x="49027" y="23339"/>
                  </a:lnTo>
                  <a:lnTo>
                    <a:pt x="48326" y="23339"/>
                  </a:lnTo>
                  <a:lnTo>
                    <a:pt x="47859" y="22925"/>
                  </a:lnTo>
                  <a:lnTo>
                    <a:pt x="47859" y="22512"/>
                  </a:lnTo>
                  <a:lnTo>
                    <a:pt x="47392" y="22512"/>
                  </a:lnTo>
                  <a:lnTo>
                    <a:pt x="47392" y="22512"/>
                  </a:lnTo>
                  <a:lnTo>
                    <a:pt x="46692" y="22512"/>
                  </a:lnTo>
                  <a:lnTo>
                    <a:pt x="45758" y="21893"/>
                  </a:lnTo>
                  <a:lnTo>
                    <a:pt x="45758" y="21893"/>
                  </a:lnTo>
                  <a:lnTo>
                    <a:pt x="45758" y="21893"/>
                  </a:lnTo>
                  <a:lnTo>
                    <a:pt x="45758" y="21480"/>
                  </a:lnTo>
                  <a:lnTo>
                    <a:pt x="45058" y="20860"/>
                  </a:lnTo>
                  <a:lnTo>
                    <a:pt x="45058" y="20860"/>
                  </a:lnTo>
                  <a:lnTo>
                    <a:pt x="45058" y="20860"/>
                  </a:lnTo>
                  <a:lnTo>
                    <a:pt x="44124" y="20447"/>
                  </a:lnTo>
                  <a:lnTo>
                    <a:pt x="44124" y="20447"/>
                  </a:lnTo>
                  <a:lnTo>
                    <a:pt x="44124" y="20447"/>
                  </a:lnTo>
                  <a:lnTo>
                    <a:pt x="44124" y="20447"/>
                  </a:lnTo>
                  <a:lnTo>
                    <a:pt x="44124" y="20447"/>
                  </a:lnTo>
                  <a:lnTo>
                    <a:pt x="43424" y="20447"/>
                  </a:lnTo>
                  <a:lnTo>
                    <a:pt x="42957" y="20447"/>
                  </a:lnTo>
                  <a:lnTo>
                    <a:pt x="42256" y="20447"/>
                  </a:lnTo>
                  <a:lnTo>
                    <a:pt x="42256" y="20034"/>
                  </a:lnTo>
                  <a:lnTo>
                    <a:pt x="41789" y="20034"/>
                  </a:lnTo>
                  <a:lnTo>
                    <a:pt x="41789" y="20034"/>
                  </a:lnTo>
                  <a:lnTo>
                    <a:pt x="41789" y="20034"/>
                  </a:lnTo>
                  <a:lnTo>
                    <a:pt x="41322" y="19414"/>
                  </a:lnTo>
                  <a:lnTo>
                    <a:pt x="40622" y="19001"/>
                  </a:lnTo>
                  <a:lnTo>
                    <a:pt x="40155" y="18588"/>
                  </a:lnTo>
                  <a:lnTo>
                    <a:pt x="40155" y="17969"/>
                  </a:lnTo>
                  <a:lnTo>
                    <a:pt x="39688" y="18588"/>
                  </a:lnTo>
                  <a:lnTo>
                    <a:pt x="39688" y="18588"/>
                  </a:lnTo>
                  <a:lnTo>
                    <a:pt x="39688" y="18588"/>
                  </a:lnTo>
                  <a:lnTo>
                    <a:pt x="39688" y="18588"/>
                  </a:lnTo>
                  <a:lnTo>
                    <a:pt x="38988" y="19001"/>
                  </a:lnTo>
                  <a:lnTo>
                    <a:pt x="38988" y="19001"/>
                  </a:lnTo>
                  <a:lnTo>
                    <a:pt x="38988" y="19001"/>
                  </a:lnTo>
                  <a:lnTo>
                    <a:pt x="38988" y="18588"/>
                  </a:lnTo>
                  <a:lnTo>
                    <a:pt x="38521" y="17969"/>
                  </a:lnTo>
                  <a:lnTo>
                    <a:pt x="38521" y="17969"/>
                  </a:lnTo>
                  <a:lnTo>
                    <a:pt x="38521" y="17555"/>
                  </a:lnTo>
                  <a:lnTo>
                    <a:pt x="38521" y="17555"/>
                  </a:lnTo>
                  <a:lnTo>
                    <a:pt x="38521" y="17142"/>
                  </a:lnTo>
                  <a:lnTo>
                    <a:pt x="38054" y="17142"/>
                  </a:lnTo>
                  <a:lnTo>
                    <a:pt x="38054" y="16523"/>
                  </a:lnTo>
                  <a:lnTo>
                    <a:pt x="38054" y="16110"/>
                  </a:lnTo>
                  <a:lnTo>
                    <a:pt x="38054" y="16110"/>
                  </a:lnTo>
                  <a:lnTo>
                    <a:pt x="38054" y="16110"/>
                  </a:lnTo>
                  <a:lnTo>
                    <a:pt x="38054" y="16110"/>
                  </a:lnTo>
                  <a:lnTo>
                    <a:pt x="38054" y="16110"/>
                  </a:lnTo>
                  <a:lnTo>
                    <a:pt x="38054" y="16110"/>
                  </a:lnTo>
                  <a:lnTo>
                    <a:pt x="38054" y="15490"/>
                  </a:lnTo>
                  <a:lnTo>
                    <a:pt x="36887" y="14664"/>
                  </a:lnTo>
                  <a:lnTo>
                    <a:pt x="36887" y="14664"/>
                  </a:lnTo>
                  <a:lnTo>
                    <a:pt x="36887" y="14664"/>
                  </a:lnTo>
                  <a:lnTo>
                    <a:pt x="36420" y="14044"/>
                  </a:lnTo>
                  <a:lnTo>
                    <a:pt x="36420" y="13631"/>
                  </a:lnTo>
                  <a:lnTo>
                    <a:pt x="36420" y="13631"/>
                  </a:lnTo>
                  <a:lnTo>
                    <a:pt x="36420" y="13631"/>
                  </a:lnTo>
                  <a:lnTo>
                    <a:pt x="36420" y="13218"/>
                  </a:lnTo>
                  <a:lnTo>
                    <a:pt x="36887" y="13218"/>
                  </a:lnTo>
                  <a:lnTo>
                    <a:pt x="36887" y="13218"/>
                  </a:lnTo>
                  <a:lnTo>
                    <a:pt x="37354" y="13218"/>
                  </a:lnTo>
                  <a:lnTo>
                    <a:pt x="37354" y="13218"/>
                  </a:lnTo>
                  <a:lnTo>
                    <a:pt x="37354" y="13631"/>
                  </a:lnTo>
                  <a:lnTo>
                    <a:pt x="38054" y="13631"/>
                  </a:lnTo>
                  <a:lnTo>
                    <a:pt x="38054" y="14044"/>
                  </a:lnTo>
                  <a:lnTo>
                    <a:pt x="38521" y="14044"/>
                  </a:lnTo>
                  <a:lnTo>
                    <a:pt x="38988" y="14044"/>
                  </a:lnTo>
                  <a:lnTo>
                    <a:pt x="38988" y="14044"/>
                  </a:lnTo>
                  <a:lnTo>
                    <a:pt x="38988" y="13631"/>
                  </a:lnTo>
                  <a:lnTo>
                    <a:pt x="39688" y="13631"/>
                  </a:lnTo>
                  <a:lnTo>
                    <a:pt x="39688" y="13631"/>
                  </a:lnTo>
                  <a:lnTo>
                    <a:pt x="39688" y="13218"/>
                  </a:lnTo>
                  <a:lnTo>
                    <a:pt x="39688" y="12598"/>
                  </a:lnTo>
                  <a:lnTo>
                    <a:pt x="39688" y="12598"/>
                  </a:lnTo>
                  <a:lnTo>
                    <a:pt x="38988" y="12185"/>
                  </a:lnTo>
                  <a:lnTo>
                    <a:pt x="38988" y="12185"/>
                  </a:lnTo>
                  <a:lnTo>
                    <a:pt x="38988" y="11772"/>
                  </a:lnTo>
                  <a:lnTo>
                    <a:pt x="38521" y="11153"/>
                  </a:lnTo>
                  <a:lnTo>
                    <a:pt x="38521" y="11153"/>
                  </a:lnTo>
                  <a:lnTo>
                    <a:pt x="38521" y="11153"/>
                  </a:lnTo>
                  <a:lnTo>
                    <a:pt x="38521" y="11153"/>
                  </a:lnTo>
                  <a:lnTo>
                    <a:pt x="38521" y="10740"/>
                  </a:lnTo>
                  <a:lnTo>
                    <a:pt x="38521" y="10120"/>
                  </a:lnTo>
                  <a:lnTo>
                    <a:pt x="38054" y="10120"/>
                  </a:lnTo>
                  <a:lnTo>
                    <a:pt x="38054" y="10120"/>
                  </a:lnTo>
                  <a:lnTo>
                    <a:pt x="37354" y="9707"/>
                  </a:lnTo>
                  <a:lnTo>
                    <a:pt x="37354" y="9707"/>
                  </a:lnTo>
                  <a:lnTo>
                    <a:pt x="37354" y="9707"/>
                  </a:lnTo>
                  <a:lnTo>
                    <a:pt x="36887" y="9294"/>
                  </a:lnTo>
                  <a:lnTo>
                    <a:pt x="36887" y="8674"/>
                  </a:lnTo>
                  <a:lnTo>
                    <a:pt x="36420" y="7848"/>
                  </a:lnTo>
                  <a:lnTo>
                    <a:pt x="36420" y="7848"/>
                  </a:lnTo>
                  <a:lnTo>
                    <a:pt x="35719" y="6815"/>
                  </a:lnTo>
                  <a:lnTo>
                    <a:pt x="35719" y="6815"/>
                  </a:lnTo>
                  <a:lnTo>
                    <a:pt x="35719" y="6815"/>
                  </a:lnTo>
                  <a:lnTo>
                    <a:pt x="36887" y="6402"/>
                  </a:lnTo>
                  <a:lnTo>
                    <a:pt x="36887" y="5783"/>
                  </a:lnTo>
                  <a:lnTo>
                    <a:pt x="36887" y="5783"/>
                  </a:lnTo>
                  <a:lnTo>
                    <a:pt x="36887" y="5783"/>
                  </a:lnTo>
                  <a:lnTo>
                    <a:pt x="36420" y="5370"/>
                  </a:lnTo>
                  <a:lnTo>
                    <a:pt x="36420" y="5370"/>
                  </a:lnTo>
                  <a:lnTo>
                    <a:pt x="35719" y="4750"/>
                  </a:lnTo>
                  <a:lnTo>
                    <a:pt x="35252" y="4750"/>
                  </a:lnTo>
                  <a:lnTo>
                    <a:pt x="34552" y="4750"/>
                  </a:lnTo>
                  <a:lnTo>
                    <a:pt x="33618" y="4337"/>
                  </a:lnTo>
                  <a:lnTo>
                    <a:pt x="33618" y="4337"/>
                  </a:lnTo>
                  <a:lnTo>
                    <a:pt x="32918" y="3924"/>
                  </a:lnTo>
                  <a:lnTo>
                    <a:pt x="32451" y="2891"/>
                  </a:lnTo>
                  <a:lnTo>
                    <a:pt x="31984" y="1858"/>
                  </a:lnTo>
                  <a:lnTo>
                    <a:pt x="31984" y="1445"/>
                  </a:lnTo>
                  <a:lnTo>
                    <a:pt x="31284" y="1445"/>
                  </a:lnTo>
                  <a:lnTo>
                    <a:pt x="31284" y="413"/>
                  </a:lnTo>
                  <a:lnTo>
                    <a:pt x="31284" y="413"/>
                  </a:lnTo>
                  <a:lnTo>
                    <a:pt x="31284" y="413"/>
                  </a:lnTo>
                  <a:lnTo>
                    <a:pt x="31284" y="413"/>
                  </a:lnTo>
                  <a:lnTo>
                    <a:pt x="30817" y="413"/>
                  </a:lnTo>
                  <a:lnTo>
                    <a:pt x="30817" y="413"/>
                  </a:lnTo>
                  <a:lnTo>
                    <a:pt x="30817" y="413"/>
                  </a:lnTo>
                  <a:lnTo>
                    <a:pt x="30350" y="413"/>
                  </a:lnTo>
                  <a:lnTo>
                    <a:pt x="30350" y="413"/>
                  </a:lnTo>
                  <a:lnTo>
                    <a:pt x="29649" y="413"/>
                  </a:lnTo>
                  <a:lnTo>
                    <a:pt x="29182" y="413"/>
                  </a:lnTo>
                  <a:lnTo>
                    <a:pt x="29182" y="413"/>
                  </a:lnTo>
                  <a:lnTo>
                    <a:pt x="28715" y="413"/>
                  </a:lnTo>
                  <a:lnTo>
                    <a:pt x="27548" y="413"/>
                  </a:lnTo>
                  <a:lnTo>
                    <a:pt x="26381" y="0"/>
                  </a:lnTo>
                  <a:lnTo>
                    <a:pt x="25914" y="0"/>
                  </a:lnTo>
                  <a:lnTo>
                    <a:pt x="26381" y="0"/>
                  </a:lnTo>
                  <a:lnTo>
                    <a:pt x="26848" y="826"/>
                  </a:lnTo>
                  <a:lnTo>
                    <a:pt x="26848" y="826"/>
                  </a:lnTo>
                  <a:lnTo>
                    <a:pt x="27548" y="1445"/>
                  </a:lnTo>
                  <a:lnTo>
                    <a:pt x="27548" y="1858"/>
                  </a:lnTo>
                  <a:lnTo>
                    <a:pt x="28015" y="2478"/>
                  </a:lnTo>
                  <a:lnTo>
                    <a:pt x="28015" y="2478"/>
                  </a:lnTo>
                  <a:lnTo>
                    <a:pt x="28015" y="2891"/>
                  </a:lnTo>
                  <a:lnTo>
                    <a:pt x="27548" y="2891"/>
                  </a:lnTo>
                  <a:lnTo>
                    <a:pt x="26848" y="2891"/>
                  </a:lnTo>
                  <a:lnTo>
                    <a:pt x="26848" y="3304"/>
                  </a:lnTo>
                  <a:lnTo>
                    <a:pt x="26848" y="3304"/>
                  </a:lnTo>
                  <a:lnTo>
                    <a:pt x="26848" y="3304"/>
                  </a:lnTo>
                  <a:lnTo>
                    <a:pt x="26381" y="3924"/>
                  </a:lnTo>
                  <a:lnTo>
                    <a:pt x="25914" y="3924"/>
                  </a:lnTo>
                  <a:lnTo>
                    <a:pt x="25914" y="3924"/>
                  </a:lnTo>
                  <a:lnTo>
                    <a:pt x="24747" y="4337"/>
                  </a:lnTo>
                  <a:lnTo>
                    <a:pt x="24280" y="4337"/>
                  </a:lnTo>
                  <a:lnTo>
                    <a:pt x="23579" y="4337"/>
                  </a:lnTo>
                  <a:lnTo>
                    <a:pt x="23579" y="4750"/>
                  </a:lnTo>
                  <a:lnTo>
                    <a:pt x="23112" y="4750"/>
                  </a:lnTo>
                  <a:lnTo>
                    <a:pt x="22645" y="4750"/>
                  </a:lnTo>
                  <a:lnTo>
                    <a:pt x="21945" y="4750"/>
                  </a:lnTo>
                  <a:lnTo>
                    <a:pt x="21011" y="4337"/>
                  </a:lnTo>
                  <a:lnTo>
                    <a:pt x="21011" y="4337"/>
                  </a:lnTo>
                  <a:lnTo>
                    <a:pt x="20311" y="4337"/>
                  </a:lnTo>
                  <a:lnTo>
                    <a:pt x="19844" y="4337"/>
                  </a:lnTo>
                  <a:lnTo>
                    <a:pt x="19143" y="3924"/>
                  </a:lnTo>
                  <a:lnTo>
                    <a:pt x="18210" y="3924"/>
                  </a:lnTo>
                  <a:lnTo>
                    <a:pt x="17509" y="3924"/>
                  </a:lnTo>
                  <a:lnTo>
                    <a:pt x="17042" y="3924"/>
                  </a:lnTo>
                  <a:lnTo>
                    <a:pt x="16575" y="3924"/>
                  </a:lnTo>
                  <a:lnTo>
                    <a:pt x="15875" y="3924"/>
                  </a:lnTo>
                  <a:lnTo>
                    <a:pt x="15875" y="4337"/>
                  </a:lnTo>
                  <a:lnTo>
                    <a:pt x="15408" y="4750"/>
                  </a:lnTo>
                  <a:lnTo>
                    <a:pt x="15408" y="4750"/>
                  </a:lnTo>
                  <a:lnTo>
                    <a:pt x="15408" y="5370"/>
                  </a:lnTo>
                  <a:lnTo>
                    <a:pt x="15408" y="5370"/>
                  </a:lnTo>
                  <a:lnTo>
                    <a:pt x="15408" y="5783"/>
                  </a:lnTo>
                  <a:lnTo>
                    <a:pt x="15875" y="5783"/>
                  </a:lnTo>
                  <a:lnTo>
                    <a:pt x="15875" y="5783"/>
                  </a:lnTo>
                  <a:lnTo>
                    <a:pt x="16575" y="6402"/>
                  </a:lnTo>
                  <a:lnTo>
                    <a:pt x="15875" y="6402"/>
                  </a:lnTo>
                  <a:lnTo>
                    <a:pt x="15875" y="6815"/>
                  </a:lnTo>
                  <a:lnTo>
                    <a:pt x="15875" y="6815"/>
                  </a:lnTo>
                  <a:lnTo>
                    <a:pt x="15875" y="6815"/>
                  </a:lnTo>
                  <a:lnTo>
                    <a:pt x="16575" y="6815"/>
                  </a:lnTo>
                  <a:lnTo>
                    <a:pt x="17042" y="7228"/>
                  </a:lnTo>
                  <a:lnTo>
                    <a:pt x="17509" y="7228"/>
                  </a:lnTo>
                  <a:lnTo>
                    <a:pt x="17509" y="7228"/>
                  </a:lnTo>
                  <a:lnTo>
                    <a:pt x="17509" y="7228"/>
                  </a:lnTo>
                  <a:lnTo>
                    <a:pt x="17509" y="7848"/>
                  </a:lnTo>
                  <a:lnTo>
                    <a:pt x="17042" y="7848"/>
                  </a:lnTo>
                  <a:lnTo>
                    <a:pt x="17042" y="7848"/>
                  </a:lnTo>
                  <a:lnTo>
                    <a:pt x="16575" y="8261"/>
                  </a:lnTo>
                  <a:lnTo>
                    <a:pt x="17042" y="8674"/>
                  </a:lnTo>
                  <a:lnTo>
                    <a:pt x="17042" y="8674"/>
                  </a:lnTo>
                  <a:lnTo>
                    <a:pt x="17042" y="8674"/>
                  </a:lnTo>
                  <a:lnTo>
                    <a:pt x="17509" y="9294"/>
                  </a:lnTo>
                  <a:lnTo>
                    <a:pt x="17509" y="9294"/>
                  </a:lnTo>
                  <a:lnTo>
                    <a:pt x="17509" y="9294"/>
                  </a:lnTo>
                  <a:lnTo>
                    <a:pt x="17509" y="9707"/>
                  </a:lnTo>
                  <a:lnTo>
                    <a:pt x="17509" y="10120"/>
                  </a:lnTo>
                  <a:lnTo>
                    <a:pt x="17042" y="10120"/>
                  </a:lnTo>
                  <a:lnTo>
                    <a:pt x="17042" y="10740"/>
                  </a:lnTo>
                  <a:lnTo>
                    <a:pt x="17509" y="10740"/>
                  </a:lnTo>
                  <a:lnTo>
                    <a:pt x="17509" y="10740"/>
                  </a:lnTo>
                  <a:lnTo>
                    <a:pt x="18210" y="11153"/>
                  </a:lnTo>
                  <a:lnTo>
                    <a:pt x="18677" y="11153"/>
                  </a:lnTo>
                  <a:lnTo>
                    <a:pt x="18677" y="11153"/>
                  </a:lnTo>
                  <a:lnTo>
                    <a:pt x="18677" y="11772"/>
                  </a:lnTo>
                  <a:lnTo>
                    <a:pt x="18677" y="11772"/>
                  </a:lnTo>
                  <a:lnTo>
                    <a:pt x="19143" y="12185"/>
                  </a:lnTo>
                  <a:lnTo>
                    <a:pt x="19143" y="12185"/>
                  </a:lnTo>
                  <a:lnTo>
                    <a:pt x="19143" y="12598"/>
                  </a:lnTo>
                  <a:lnTo>
                    <a:pt x="19844" y="12598"/>
                  </a:lnTo>
                  <a:lnTo>
                    <a:pt x="20311" y="12598"/>
                  </a:lnTo>
                  <a:lnTo>
                    <a:pt x="20311" y="12598"/>
                  </a:lnTo>
                  <a:lnTo>
                    <a:pt x="20311" y="12598"/>
                  </a:lnTo>
                  <a:lnTo>
                    <a:pt x="20311" y="13218"/>
                  </a:lnTo>
                  <a:lnTo>
                    <a:pt x="21011" y="13631"/>
                  </a:lnTo>
                  <a:lnTo>
                    <a:pt x="21011" y="13631"/>
                  </a:lnTo>
                  <a:lnTo>
                    <a:pt x="21478" y="13631"/>
                  </a:lnTo>
                  <a:lnTo>
                    <a:pt x="21945" y="13631"/>
                  </a:lnTo>
                  <a:lnTo>
                    <a:pt x="22645" y="14044"/>
                  </a:lnTo>
                  <a:lnTo>
                    <a:pt x="23112" y="14044"/>
                  </a:lnTo>
                  <a:lnTo>
                    <a:pt x="23579" y="14664"/>
                  </a:lnTo>
                  <a:lnTo>
                    <a:pt x="23579" y="14664"/>
                  </a:lnTo>
                  <a:lnTo>
                    <a:pt x="23579" y="14664"/>
                  </a:lnTo>
                  <a:lnTo>
                    <a:pt x="23579" y="15077"/>
                  </a:lnTo>
                  <a:lnTo>
                    <a:pt x="23112" y="15077"/>
                  </a:lnTo>
                  <a:lnTo>
                    <a:pt x="23112" y="15490"/>
                  </a:lnTo>
                  <a:lnTo>
                    <a:pt x="21478" y="16110"/>
                  </a:lnTo>
                  <a:lnTo>
                    <a:pt x="21478" y="16110"/>
                  </a:lnTo>
                  <a:lnTo>
                    <a:pt x="21011" y="16523"/>
                  </a:lnTo>
                  <a:lnTo>
                    <a:pt x="21011" y="16523"/>
                  </a:lnTo>
                  <a:lnTo>
                    <a:pt x="21011" y="17142"/>
                  </a:lnTo>
                  <a:lnTo>
                    <a:pt x="21478" y="17969"/>
                  </a:lnTo>
                  <a:lnTo>
                    <a:pt x="21478" y="17969"/>
                  </a:lnTo>
                  <a:lnTo>
                    <a:pt x="21478" y="19001"/>
                  </a:lnTo>
                  <a:lnTo>
                    <a:pt x="21478" y="19414"/>
                  </a:lnTo>
                  <a:lnTo>
                    <a:pt x="21478" y="19414"/>
                  </a:lnTo>
                  <a:lnTo>
                    <a:pt x="21945" y="19414"/>
                  </a:lnTo>
                  <a:lnTo>
                    <a:pt x="21945" y="20034"/>
                  </a:lnTo>
                  <a:lnTo>
                    <a:pt x="21945" y="20034"/>
                  </a:lnTo>
                  <a:lnTo>
                    <a:pt x="21478" y="20447"/>
                  </a:lnTo>
                  <a:lnTo>
                    <a:pt x="21011" y="20447"/>
                  </a:lnTo>
                  <a:lnTo>
                    <a:pt x="21011" y="20447"/>
                  </a:lnTo>
                  <a:lnTo>
                    <a:pt x="20311" y="20860"/>
                  </a:lnTo>
                  <a:lnTo>
                    <a:pt x="19844" y="22512"/>
                  </a:lnTo>
                  <a:lnTo>
                    <a:pt x="19143" y="22512"/>
                  </a:lnTo>
                  <a:lnTo>
                    <a:pt x="19143" y="22925"/>
                  </a:lnTo>
                  <a:lnTo>
                    <a:pt x="19143" y="22925"/>
                  </a:lnTo>
                  <a:lnTo>
                    <a:pt x="19844" y="23339"/>
                  </a:lnTo>
                  <a:lnTo>
                    <a:pt x="19844" y="23339"/>
                  </a:lnTo>
                  <a:lnTo>
                    <a:pt x="19844" y="23958"/>
                  </a:lnTo>
                  <a:lnTo>
                    <a:pt x="19143" y="23958"/>
                  </a:lnTo>
                  <a:lnTo>
                    <a:pt x="18677" y="24371"/>
                  </a:lnTo>
                  <a:lnTo>
                    <a:pt x="18210" y="24371"/>
                  </a:lnTo>
                  <a:lnTo>
                    <a:pt x="17509" y="24784"/>
                  </a:lnTo>
                  <a:lnTo>
                    <a:pt x="17509" y="25404"/>
                  </a:lnTo>
                  <a:lnTo>
                    <a:pt x="17509" y="26230"/>
                  </a:lnTo>
                  <a:lnTo>
                    <a:pt x="17509" y="26230"/>
                  </a:lnTo>
                  <a:lnTo>
                    <a:pt x="17042" y="27263"/>
                  </a:lnTo>
                  <a:lnTo>
                    <a:pt x="16575" y="28296"/>
                  </a:lnTo>
                  <a:lnTo>
                    <a:pt x="16575" y="28709"/>
                  </a:lnTo>
                  <a:lnTo>
                    <a:pt x="15408" y="29328"/>
                  </a:lnTo>
                  <a:lnTo>
                    <a:pt x="14241" y="29741"/>
                  </a:lnTo>
                  <a:lnTo>
                    <a:pt x="14241" y="30154"/>
                  </a:lnTo>
                  <a:lnTo>
                    <a:pt x="13774" y="30774"/>
                  </a:lnTo>
                  <a:lnTo>
                    <a:pt x="13774" y="31187"/>
                  </a:lnTo>
                  <a:lnTo>
                    <a:pt x="13774" y="31600"/>
                  </a:lnTo>
                  <a:lnTo>
                    <a:pt x="13307" y="32220"/>
                  </a:lnTo>
                  <a:lnTo>
                    <a:pt x="13307" y="33253"/>
                  </a:lnTo>
                  <a:lnTo>
                    <a:pt x="13307" y="33253"/>
                  </a:lnTo>
                  <a:lnTo>
                    <a:pt x="12140" y="33666"/>
                  </a:lnTo>
                  <a:lnTo>
                    <a:pt x="11439" y="33666"/>
                  </a:lnTo>
                  <a:lnTo>
                    <a:pt x="10505" y="33666"/>
                  </a:lnTo>
                  <a:lnTo>
                    <a:pt x="9805" y="34079"/>
                  </a:lnTo>
                  <a:lnTo>
                    <a:pt x="8871" y="34698"/>
                  </a:lnTo>
                  <a:lnTo>
                    <a:pt x="8871" y="34698"/>
                  </a:lnTo>
                  <a:lnTo>
                    <a:pt x="8171" y="34079"/>
                  </a:lnTo>
                  <a:lnTo>
                    <a:pt x="8171" y="34079"/>
                  </a:lnTo>
                  <a:lnTo>
                    <a:pt x="7704" y="33666"/>
                  </a:lnTo>
                  <a:lnTo>
                    <a:pt x="7704" y="33666"/>
                  </a:lnTo>
                  <a:lnTo>
                    <a:pt x="7704" y="33253"/>
                  </a:lnTo>
                  <a:lnTo>
                    <a:pt x="7237" y="33253"/>
                  </a:lnTo>
                  <a:lnTo>
                    <a:pt x="6536" y="33253"/>
                  </a:lnTo>
                  <a:lnTo>
                    <a:pt x="6536" y="33253"/>
                  </a:lnTo>
                  <a:lnTo>
                    <a:pt x="6070" y="33666"/>
                  </a:lnTo>
                  <a:lnTo>
                    <a:pt x="6070" y="33666"/>
                  </a:lnTo>
                  <a:lnTo>
                    <a:pt x="6070" y="33666"/>
                  </a:lnTo>
                  <a:lnTo>
                    <a:pt x="5603" y="34698"/>
                  </a:lnTo>
                  <a:lnTo>
                    <a:pt x="4902" y="35524"/>
                  </a:lnTo>
                  <a:lnTo>
                    <a:pt x="4435" y="36144"/>
                  </a:lnTo>
                  <a:lnTo>
                    <a:pt x="4435" y="36557"/>
                  </a:lnTo>
                  <a:lnTo>
                    <a:pt x="3735" y="36557"/>
                  </a:lnTo>
                  <a:lnTo>
                    <a:pt x="3735" y="36557"/>
                  </a:lnTo>
                  <a:lnTo>
                    <a:pt x="3735" y="36970"/>
                  </a:lnTo>
                  <a:lnTo>
                    <a:pt x="3735" y="37590"/>
                  </a:lnTo>
                  <a:lnTo>
                    <a:pt x="3735" y="38623"/>
                  </a:lnTo>
                  <a:lnTo>
                    <a:pt x="3735" y="38623"/>
                  </a:lnTo>
                  <a:lnTo>
                    <a:pt x="3735" y="38623"/>
                  </a:lnTo>
                  <a:lnTo>
                    <a:pt x="4435" y="39036"/>
                  </a:lnTo>
                  <a:lnTo>
                    <a:pt x="4902" y="39036"/>
                  </a:lnTo>
                  <a:lnTo>
                    <a:pt x="5603" y="39449"/>
                  </a:lnTo>
                  <a:lnTo>
                    <a:pt x="6070" y="39449"/>
                  </a:lnTo>
                  <a:lnTo>
                    <a:pt x="6536" y="39449"/>
                  </a:lnTo>
                  <a:lnTo>
                    <a:pt x="6536" y="39449"/>
                  </a:lnTo>
                  <a:lnTo>
                    <a:pt x="6536" y="40068"/>
                  </a:lnTo>
                  <a:lnTo>
                    <a:pt x="6536" y="40481"/>
                  </a:lnTo>
                  <a:lnTo>
                    <a:pt x="6536" y="40895"/>
                  </a:lnTo>
                  <a:lnTo>
                    <a:pt x="6536" y="41514"/>
                  </a:lnTo>
                  <a:lnTo>
                    <a:pt x="6536" y="41927"/>
                  </a:lnTo>
                  <a:lnTo>
                    <a:pt x="6536" y="42340"/>
                  </a:lnTo>
                  <a:lnTo>
                    <a:pt x="7704" y="43373"/>
                  </a:lnTo>
                  <a:lnTo>
                    <a:pt x="7704" y="43373"/>
                  </a:lnTo>
                  <a:lnTo>
                    <a:pt x="8171" y="43373"/>
                  </a:lnTo>
                  <a:lnTo>
                    <a:pt x="8871" y="43373"/>
                  </a:lnTo>
                  <a:lnTo>
                    <a:pt x="8871" y="43373"/>
                  </a:lnTo>
                  <a:lnTo>
                    <a:pt x="9338" y="43373"/>
                  </a:lnTo>
                  <a:lnTo>
                    <a:pt x="9338" y="43373"/>
                  </a:lnTo>
                  <a:lnTo>
                    <a:pt x="9338" y="43373"/>
                  </a:lnTo>
                  <a:lnTo>
                    <a:pt x="9338" y="44406"/>
                  </a:lnTo>
                  <a:lnTo>
                    <a:pt x="9805" y="44819"/>
                  </a:lnTo>
                  <a:lnTo>
                    <a:pt x="10505" y="45438"/>
                  </a:lnTo>
                  <a:lnTo>
                    <a:pt x="10505" y="45851"/>
                  </a:lnTo>
                  <a:lnTo>
                    <a:pt x="10972" y="46884"/>
                  </a:lnTo>
                  <a:lnTo>
                    <a:pt x="11439" y="47297"/>
                  </a:lnTo>
                  <a:lnTo>
                    <a:pt x="11439" y="47710"/>
                  </a:lnTo>
                  <a:lnTo>
                    <a:pt x="11439" y="47710"/>
                  </a:lnTo>
                  <a:lnTo>
                    <a:pt x="10972" y="47710"/>
                  </a:lnTo>
                  <a:lnTo>
                    <a:pt x="10972" y="48330"/>
                  </a:lnTo>
                  <a:lnTo>
                    <a:pt x="11439" y="48330"/>
                  </a:lnTo>
                  <a:lnTo>
                    <a:pt x="11439" y="48330"/>
                  </a:lnTo>
                  <a:lnTo>
                    <a:pt x="11439" y="48743"/>
                  </a:lnTo>
                  <a:lnTo>
                    <a:pt x="11439" y="48743"/>
                  </a:lnTo>
                  <a:lnTo>
                    <a:pt x="11439" y="48743"/>
                  </a:lnTo>
                  <a:lnTo>
                    <a:pt x="11439" y="49363"/>
                  </a:lnTo>
                  <a:lnTo>
                    <a:pt x="10972" y="49363"/>
                  </a:lnTo>
                  <a:lnTo>
                    <a:pt x="10972" y="49363"/>
                  </a:lnTo>
                  <a:lnTo>
                    <a:pt x="10972" y="49363"/>
                  </a:lnTo>
                  <a:lnTo>
                    <a:pt x="10505" y="49776"/>
                  </a:lnTo>
                  <a:lnTo>
                    <a:pt x="10505" y="49776"/>
                  </a:lnTo>
                  <a:lnTo>
                    <a:pt x="9805" y="49776"/>
                  </a:lnTo>
                  <a:lnTo>
                    <a:pt x="9805" y="49363"/>
                  </a:lnTo>
                  <a:lnTo>
                    <a:pt x="9805" y="49363"/>
                  </a:lnTo>
                  <a:lnTo>
                    <a:pt x="9805" y="48743"/>
                  </a:lnTo>
                  <a:lnTo>
                    <a:pt x="9338" y="48743"/>
                  </a:lnTo>
                  <a:lnTo>
                    <a:pt x="9338" y="48743"/>
                  </a:lnTo>
                  <a:lnTo>
                    <a:pt x="8171" y="49363"/>
                  </a:lnTo>
                  <a:lnTo>
                    <a:pt x="7704" y="49363"/>
                  </a:lnTo>
                  <a:lnTo>
                    <a:pt x="7704" y="49776"/>
                  </a:lnTo>
                  <a:lnTo>
                    <a:pt x="7704" y="49776"/>
                  </a:lnTo>
                  <a:lnTo>
                    <a:pt x="7237" y="49776"/>
                  </a:lnTo>
                  <a:lnTo>
                    <a:pt x="6536" y="49776"/>
                  </a:lnTo>
                  <a:lnTo>
                    <a:pt x="6070" y="49776"/>
                  </a:lnTo>
                  <a:lnTo>
                    <a:pt x="6070" y="49776"/>
                  </a:lnTo>
                  <a:lnTo>
                    <a:pt x="5603" y="49363"/>
                  </a:lnTo>
                  <a:lnTo>
                    <a:pt x="4902" y="49363"/>
                  </a:lnTo>
                  <a:lnTo>
                    <a:pt x="3735" y="49363"/>
                  </a:lnTo>
                  <a:lnTo>
                    <a:pt x="3735" y="49363"/>
                  </a:lnTo>
                  <a:lnTo>
                    <a:pt x="3268" y="49363"/>
                  </a:lnTo>
                  <a:lnTo>
                    <a:pt x="2801" y="49363"/>
                  </a:lnTo>
                  <a:lnTo>
                    <a:pt x="2801" y="49363"/>
                  </a:lnTo>
                  <a:lnTo>
                    <a:pt x="2801" y="49363"/>
                  </a:lnTo>
                  <a:lnTo>
                    <a:pt x="2101" y="49363"/>
                  </a:lnTo>
                  <a:lnTo>
                    <a:pt x="2101" y="49363"/>
                  </a:lnTo>
                  <a:lnTo>
                    <a:pt x="2101" y="49363"/>
                  </a:lnTo>
                  <a:lnTo>
                    <a:pt x="2101" y="49363"/>
                  </a:lnTo>
                  <a:lnTo>
                    <a:pt x="2101" y="49363"/>
                  </a:lnTo>
                  <a:lnTo>
                    <a:pt x="2101" y="49363"/>
                  </a:lnTo>
                  <a:lnTo>
                    <a:pt x="2101" y="50808"/>
                  </a:lnTo>
                  <a:lnTo>
                    <a:pt x="1634" y="50808"/>
                  </a:lnTo>
                  <a:lnTo>
                    <a:pt x="1167" y="50808"/>
                  </a:lnTo>
                  <a:lnTo>
                    <a:pt x="466" y="50808"/>
                  </a:lnTo>
                  <a:lnTo>
                    <a:pt x="0" y="50808"/>
                  </a:lnTo>
                  <a:lnTo>
                    <a:pt x="0" y="51222"/>
                  </a:lnTo>
                  <a:lnTo>
                    <a:pt x="0" y="51222"/>
                  </a:lnTo>
                  <a:lnTo>
                    <a:pt x="0" y="51635"/>
                  </a:lnTo>
                  <a:lnTo>
                    <a:pt x="0" y="52254"/>
                  </a:lnTo>
                  <a:lnTo>
                    <a:pt x="466" y="52254"/>
                  </a:lnTo>
                  <a:lnTo>
                    <a:pt x="1167" y="51635"/>
                  </a:lnTo>
                  <a:lnTo>
                    <a:pt x="1167" y="51635"/>
                  </a:lnTo>
                  <a:lnTo>
                    <a:pt x="1634" y="51222"/>
                  </a:lnTo>
                  <a:lnTo>
                    <a:pt x="2101" y="51222"/>
                  </a:lnTo>
                  <a:lnTo>
                    <a:pt x="1634" y="51635"/>
                  </a:lnTo>
                  <a:lnTo>
                    <a:pt x="1167" y="52254"/>
                  </a:lnTo>
                  <a:lnTo>
                    <a:pt x="1167" y="52667"/>
                  </a:lnTo>
                  <a:lnTo>
                    <a:pt x="1634" y="53080"/>
                  </a:lnTo>
                  <a:lnTo>
                    <a:pt x="2101" y="54113"/>
                  </a:lnTo>
                  <a:lnTo>
                    <a:pt x="2801" y="54733"/>
                  </a:lnTo>
                  <a:lnTo>
                    <a:pt x="4902" y="55559"/>
                  </a:lnTo>
                  <a:lnTo>
                    <a:pt x="6536" y="56179"/>
                  </a:lnTo>
                  <a:lnTo>
                    <a:pt x="7237" y="56179"/>
                  </a:lnTo>
                  <a:lnTo>
                    <a:pt x="7237" y="55559"/>
                  </a:lnTo>
                  <a:lnTo>
                    <a:pt x="8171" y="55146"/>
                  </a:lnTo>
                  <a:lnTo>
                    <a:pt x="8871" y="55146"/>
                  </a:lnTo>
                  <a:lnTo>
                    <a:pt x="8871" y="55146"/>
                  </a:lnTo>
                  <a:lnTo>
                    <a:pt x="9338" y="55146"/>
                  </a:lnTo>
                  <a:lnTo>
                    <a:pt x="9338" y="55146"/>
                  </a:lnTo>
                  <a:lnTo>
                    <a:pt x="9338" y="54733"/>
                  </a:lnTo>
                  <a:lnTo>
                    <a:pt x="9805" y="54733"/>
                  </a:lnTo>
                  <a:lnTo>
                    <a:pt x="9805" y="54733"/>
                  </a:lnTo>
                  <a:lnTo>
                    <a:pt x="9805" y="54733"/>
                  </a:lnTo>
                  <a:lnTo>
                    <a:pt x="9805" y="55146"/>
                  </a:lnTo>
                  <a:lnTo>
                    <a:pt x="9805" y="55146"/>
                  </a:lnTo>
                  <a:lnTo>
                    <a:pt x="9338" y="55559"/>
                  </a:lnTo>
                  <a:lnTo>
                    <a:pt x="8871" y="56592"/>
                  </a:lnTo>
                  <a:lnTo>
                    <a:pt x="8171" y="57005"/>
                  </a:lnTo>
                  <a:lnTo>
                    <a:pt x="8171" y="57005"/>
                  </a:lnTo>
                  <a:lnTo>
                    <a:pt x="7704" y="57624"/>
                  </a:lnTo>
                  <a:lnTo>
                    <a:pt x="7237" y="57005"/>
                  </a:lnTo>
                  <a:lnTo>
                    <a:pt x="6536" y="57624"/>
                  </a:lnTo>
                  <a:lnTo>
                    <a:pt x="6070" y="57624"/>
                  </a:lnTo>
                  <a:lnTo>
                    <a:pt x="4902" y="58037"/>
                  </a:lnTo>
                  <a:lnTo>
                    <a:pt x="4902" y="58037"/>
                  </a:lnTo>
                  <a:lnTo>
                    <a:pt x="4902" y="58037"/>
                  </a:lnTo>
                  <a:lnTo>
                    <a:pt x="4435" y="57624"/>
                  </a:lnTo>
                  <a:lnTo>
                    <a:pt x="4435" y="57624"/>
                  </a:lnTo>
                  <a:lnTo>
                    <a:pt x="3735" y="57624"/>
                  </a:lnTo>
                  <a:lnTo>
                    <a:pt x="3735" y="58037"/>
                  </a:lnTo>
                  <a:lnTo>
                    <a:pt x="3735" y="58657"/>
                  </a:lnTo>
                  <a:lnTo>
                    <a:pt x="4902" y="59483"/>
                  </a:lnTo>
                  <a:lnTo>
                    <a:pt x="6070" y="60103"/>
                  </a:lnTo>
                  <a:lnTo>
                    <a:pt x="6536" y="60516"/>
                  </a:lnTo>
                  <a:lnTo>
                    <a:pt x="7704" y="61549"/>
                  </a:lnTo>
                  <a:lnTo>
                    <a:pt x="8871" y="62994"/>
                  </a:lnTo>
                  <a:lnTo>
                    <a:pt x="9338" y="63407"/>
                  </a:lnTo>
                  <a:lnTo>
                    <a:pt x="10972" y="64440"/>
                  </a:lnTo>
                  <a:lnTo>
                    <a:pt x="12140" y="64853"/>
                  </a:lnTo>
                  <a:lnTo>
                    <a:pt x="12607" y="64853"/>
                  </a:lnTo>
                  <a:lnTo>
                    <a:pt x="13307" y="64853"/>
                  </a:lnTo>
                  <a:lnTo>
                    <a:pt x="14941" y="64440"/>
                  </a:lnTo>
                  <a:lnTo>
                    <a:pt x="15408" y="64027"/>
                  </a:lnTo>
                  <a:lnTo>
                    <a:pt x="17509" y="62994"/>
                  </a:lnTo>
                  <a:lnTo>
                    <a:pt x="17509" y="62994"/>
                  </a:lnTo>
                  <a:lnTo>
                    <a:pt x="18210" y="61549"/>
                  </a:lnTo>
                  <a:lnTo>
                    <a:pt x="18210" y="60929"/>
                  </a:lnTo>
                  <a:lnTo>
                    <a:pt x="18210" y="60516"/>
                  </a:lnTo>
                  <a:lnTo>
                    <a:pt x="17509" y="60516"/>
                  </a:lnTo>
                  <a:lnTo>
                    <a:pt x="17509" y="60103"/>
                  </a:lnTo>
                  <a:lnTo>
                    <a:pt x="17042" y="60103"/>
                  </a:lnTo>
                  <a:lnTo>
                    <a:pt x="17042" y="60103"/>
                  </a:lnTo>
                  <a:lnTo>
                    <a:pt x="17509" y="59483"/>
                  </a:lnTo>
                  <a:lnTo>
                    <a:pt x="17509" y="59483"/>
                  </a:lnTo>
                  <a:lnTo>
                    <a:pt x="18210" y="59070"/>
                  </a:lnTo>
                  <a:lnTo>
                    <a:pt x="18210" y="59070"/>
                  </a:lnTo>
                  <a:lnTo>
                    <a:pt x="18210" y="58657"/>
                  </a:lnTo>
                  <a:lnTo>
                    <a:pt x="17509" y="58037"/>
                  </a:lnTo>
                  <a:lnTo>
                    <a:pt x="17509" y="58037"/>
                  </a:lnTo>
                  <a:lnTo>
                    <a:pt x="18210" y="58037"/>
                  </a:lnTo>
                  <a:lnTo>
                    <a:pt x="18677" y="58037"/>
                  </a:lnTo>
                  <a:lnTo>
                    <a:pt x="19143" y="58037"/>
                  </a:lnTo>
                  <a:lnTo>
                    <a:pt x="19844" y="58037"/>
                  </a:lnTo>
                  <a:lnTo>
                    <a:pt x="20311" y="58657"/>
                  </a:lnTo>
                  <a:lnTo>
                    <a:pt x="19844" y="58657"/>
                  </a:lnTo>
                  <a:lnTo>
                    <a:pt x="19143" y="58657"/>
                  </a:lnTo>
                  <a:lnTo>
                    <a:pt x="19143" y="58657"/>
                  </a:lnTo>
                  <a:lnTo>
                    <a:pt x="19143" y="59483"/>
                  </a:lnTo>
                  <a:lnTo>
                    <a:pt x="19844" y="59483"/>
                  </a:lnTo>
                  <a:lnTo>
                    <a:pt x="19844" y="59483"/>
                  </a:lnTo>
                  <a:lnTo>
                    <a:pt x="19844" y="59483"/>
                  </a:lnTo>
                  <a:lnTo>
                    <a:pt x="19143" y="60103"/>
                  </a:lnTo>
                  <a:lnTo>
                    <a:pt x="19143" y="60516"/>
                  </a:lnTo>
                  <a:lnTo>
                    <a:pt x="20311" y="60516"/>
                  </a:lnTo>
                  <a:lnTo>
                    <a:pt x="21478" y="60516"/>
                  </a:lnTo>
                  <a:lnTo>
                    <a:pt x="21945" y="60516"/>
                  </a:lnTo>
                  <a:lnTo>
                    <a:pt x="21478" y="60516"/>
                  </a:lnTo>
                  <a:lnTo>
                    <a:pt x="20311" y="60929"/>
                  </a:lnTo>
                  <a:lnTo>
                    <a:pt x="20311" y="61549"/>
                  </a:lnTo>
                  <a:lnTo>
                    <a:pt x="19844" y="61549"/>
                  </a:lnTo>
                  <a:lnTo>
                    <a:pt x="19844" y="61549"/>
                  </a:lnTo>
                  <a:lnTo>
                    <a:pt x="20311" y="61549"/>
                  </a:lnTo>
                  <a:lnTo>
                    <a:pt x="20311" y="61962"/>
                  </a:lnTo>
                  <a:lnTo>
                    <a:pt x="19844" y="61962"/>
                  </a:lnTo>
                  <a:lnTo>
                    <a:pt x="20311" y="62994"/>
                  </a:lnTo>
                  <a:lnTo>
                    <a:pt x="20311" y="62994"/>
                  </a:lnTo>
                  <a:lnTo>
                    <a:pt x="21011" y="62994"/>
                  </a:lnTo>
                  <a:lnTo>
                    <a:pt x="21011" y="63407"/>
                  </a:lnTo>
                  <a:lnTo>
                    <a:pt x="21011" y="64027"/>
                  </a:lnTo>
                  <a:lnTo>
                    <a:pt x="21478" y="64440"/>
                  </a:lnTo>
                  <a:lnTo>
                    <a:pt x="21478" y="64853"/>
                  </a:lnTo>
                  <a:lnTo>
                    <a:pt x="21478" y="65473"/>
                  </a:lnTo>
                  <a:lnTo>
                    <a:pt x="21011" y="67745"/>
                  </a:lnTo>
                  <a:lnTo>
                    <a:pt x="21011" y="68777"/>
                  </a:lnTo>
                  <a:lnTo>
                    <a:pt x="21011" y="68777"/>
                  </a:lnTo>
                  <a:lnTo>
                    <a:pt x="21011" y="69397"/>
                  </a:lnTo>
                  <a:lnTo>
                    <a:pt x="21011" y="69810"/>
                  </a:lnTo>
                  <a:lnTo>
                    <a:pt x="21478" y="70223"/>
                  </a:lnTo>
                  <a:lnTo>
                    <a:pt x="21478" y="70223"/>
                  </a:lnTo>
                  <a:lnTo>
                    <a:pt x="21478" y="70843"/>
                  </a:lnTo>
                  <a:lnTo>
                    <a:pt x="21478" y="70843"/>
                  </a:lnTo>
                  <a:lnTo>
                    <a:pt x="22645" y="71256"/>
                  </a:lnTo>
                  <a:lnTo>
                    <a:pt x="21478" y="71256"/>
                  </a:lnTo>
                  <a:lnTo>
                    <a:pt x="21478" y="71256"/>
                  </a:lnTo>
                  <a:lnTo>
                    <a:pt x="21478" y="71256"/>
                  </a:lnTo>
                  <a:lnTo>
                    <a:pt x="21478" y="72289"/>
                  </a:lnTo>
                  <a:lnTo>
                    <a:pt x="21945" y="72702"/>
                  </a:lnTo>
                  <a:lnTo>
                    <a:pt x="21945" y="72289"/>
                  </a:lnTo>
                  <a:lnTo>
                    <a:pt x="22645" y="71669"/>
                  </a:lnTo>
                  <a:lnTo>
                    <a:pt x="22645" y="72289"/>
                  </a:lnTo>
                  <a:lnTo>
                    <a:pt x="22645" y="72702"/>
                  </a:lnTo>
                  <a:lnTo>
                    <a:pt x="21945" y="73115"/>
                  </a:lnTo>
                  <a:lnTo>
                    <a:pt x="21945" y="73734"/>
                  </a:lnTo>
                  <a:lnTo>
                    <a:pt x="21945" y="74148"/>
                  </a:lnTo>
                  <a:lnTo>
                    <a:pt x="22645" y="74148"/>
                  </a:lnTo>
                  <a:lnTo>
                    <a:pt x="22645" y="75180"/>
                  </a:lnTo>
                  <a:lnTo>
                    <a:pt x="22645" y="75593"/>
                  </a:lnTo>
                  <a:lnTo>
                    <a:pt x="23112" y="76213"/>
                  </a:lnTo>
                  <a:lnTo>
                    <a:pt x="23112" y="77039"/>
                  </a:lnTo>
                  <a:lnTo>
                    <a:pt x="23579" y="78485"/>
                  </a:lnTo>
                  <a:lnTo>
                    <a:pt x="23579" y="79104"/>
                  </a:lnTo>
                  <a:lnTo>
                    <a:pt x="24280" y="80137"/>
                  </a:lnTo>
                  <a:lnTo>
                    <a:pt x="25214" y="83442"/>
                  </a:lnTo>
                  <a:lnTo>
                    <a:pt x="25914" y="84888"/>
                  </a:lnTo>
                  <a:lnTo>
                    <a:pt x="25914" y="85507"/>
                  </a:lnTo>
                  <a:lnTo>
                    <a:pt x="26381" y="85920"/>
                  </a:lnTo>
                  <a:lnTo>
                    <a:pt x="26848" y="86953"/>
                  </a:lnTo>
                  <a:lnTo>
                    <a:pt x="26848" y="86953"/>
                  </a:lnTo>
                  <a:lnTo>
                    <a:pt x="27548" y="86953"/>
                  </a:lnTo>
                  <a:lnTo>
                    <a:pt x="27548" y="87366"/>
                  </a:lnTo>
                  <a:lnTo>
                    <a:pt x="27548" y="87366"/>
                  </a:lnTo>
                  <a:lnTo>
                    <a:pt x="27548" y="87779"/>
                  </a:lnTo>
                  <a:lnTo>
                    <a:pt x="28015" y="88399"/>
                  </a:lnTo>
                  <a:lnTo>
                    <a:pt x="27548" y="88399"/>
                  </a:lnTo>
                  <a:lnTo>
                    <a:pt x="28015" y="88399"/>
                  </a:lnTo>
                  <a:lnTo>
                    <a:pt x="28015" y="89225"/>
                  </a:lnTo>
                  <a:lnTo>
                    <a:pt x="28715" y="90258"/>
                  </a:lnTo>
                  <a:lnTo>
                    <a:pt x="29182" y="90258"/>
                  </a:lnTo>
                  <a:lnTo>
                    <a:pt x="29649" y="91290"/>
                  </a:lnTo>
                  <a:lnTo>
                    <a:pt x="29649" y="91290"/>
                  </a:lnTo>
                  <a:lnTo>
                    <a:pt x="30350" y="91703"/>
                  </a:lnTo>
                  <a:lnTo>
                    <a:pt x="30350" y="92323"/>
                  </a:lnTo>
                  <a:lnTo>
                    <a:pt x="30350" y="92323"/>
                  </a:lnTo>
                  <a:lnTo>
                    <a:pt x="30817" y="93149"/>
                  </a:lnTo>
                  <a:lnTo>
                    <a:pt x="30817" y="93769"/>
                  </a:lnTo>
                  <a:lnTo>
                    <a:pt x="30817" y="94182"/>
                  </a:lnTo>
                  <a:lnTo>
                    <a:pt x="31284" y="94595"/>
                  </a:lnTo>
                  <a:lnTo>
                    <a:pt x="31984" y="95628"/>
                  </a:lnTo>
                  <a:lnTo>
                    <a:pt x="31984" y="96247"/>
                  </a:lnTo>
                  <a:lnTo>
                    <a:pt x="31984" y="96247"/>
                  </a:lnTo>
                  <a:lnTo>
                    <a:pt x="32451" y="98106"/>
                  </a:lnTo>
                  <a:lnTo>
                    <a:pt x="32451" y="98519"/>
                  </a:lnTo>
                  <a:lnTo>
                    <a:pt x="32918" y="99139"/>
                  </a:lnTo>
                  <a:lnTo>
                    <a:pt x="33618" y="100585"/>
                  </a:lnTo>
                  <a:lnTo>
                    <a:pt x="34552" y="102444"/>
                  </a:lnTo>
                  <a:lnTo>
                    <a:pt x="34552" y="103063"/>
                  </a:lnTo>
                  <a:lnTo>
                    <a:pt x="35252" y="103063"/>
                  </a:lnTo>
                  <a:lnTo>
                    <a:pt x="35719" y="103889"/>
                  </a:lnTo>
                  <a:lnTo>
                    <a:pt x="36420" y="104509"/>
                  </a:lnTo>
                  <a:lnTo>
                    <a:pt x="36887" y="105335"/>
                  </a:lnTo>
                  <a:lnTo>
                    <a:pt x="36887" y="105955"/>
                  </a:lnTo>
                  <a:lnTo>
                    <a:pt x="37354" y="106987"/>
                  </a:lnTo>
                  <a:lnTo>
                    <a:pt x="38054" y="108433"/>
                  </a:lnTo>
                  <a:lnTo>
                    <a:pt x="38988" y="109879"/>
                  </a:lnTo>
                  <a:lnTo>
                    <a:pt x="38988" y="110292"/>
                  </a:lnTo>
                  <a:lnTo>
                    <a:pt x="39688" y="110912"/>
                  </a:lnTo>
                  <a:lnTo>
                    <a:pt x="39688" y="110912"/>
                  </a:lnTo>
                  <a:lnTo>
                    <a:pt x="39688" y="111325"/>
                  </a:lnTo>
                  <a:lnTo>
                    <a:pt x="39688" y="111738"/>
                  </a:lnTo>
                  <a:lnTo>
                    <a:pt x="39688" y="111738"/>
                  </a:lnTo>
                  <a:lnTo>
                    <a:pt x="40155" y="111738"/>
                  </a:lnTo>
                  <a:lnTo>
                    <a:pt x="40622" y="113803"/>
                  </a:lnTo>
                  <a:lnTo>
                    <a:pt x="40622" y="113803"/>
                  </a:lnTo>
                  <a:lnTo>
                    <a:pt x="40155" y="113803"/>
                  </a:lnTo>
                  <a:lnTo>
                    <a:pt x="40155" y="112771"/>
                  </a:lnTo>
                  <a:lnTo>
                    <a:pt x="40155" y="112358"/>
                  </a:lnTo>
                  <a:lnTo>
                    <a:pt x="39688" y="112358"/>
                  </a:lnTo>
                  <a:lnTo>
                    <a:pt x="39688" y="111738"/>
                  </a:lnTo>
                  <a:lnTo>
                    <a:pt x="40155" y="113184"/>
                  </a:lnTo>
                  <a:lnTo>
                    <a:pt x="40155" y="114216"/>
                  </a:lnTo>
                  <a:lnTo>
                    <a:pt x="40622" y="115249"/>
                  </a:lnTo>
                  <a:lnTo>
                    <a:pt x="40622" y="115249"/>
                  </a:lnTo>
                  <a:lnTo>
                    <a:pt x="40622" y="115249"/>
                  </a:lnTo>
                  <a:lnTo>
                    <a:pt x="40622" y="115249"/>
                  </a:lnTo>
                  <a:lnTo>
                    <a:pt x="40622" y="115662"/>
                  </a:lnTo>
                  <a:lnTo>
                    <a:pt x="41322" y="116695"/>
                  </a:lnTo>
                  <a:lnTo>
                    <a:pt x="41322" y="116695"/>
                  </a:lnTo>
                  <a:lnTo>
                    <a:pt x="42957" y="118554"/>
                  </a:lnTo>
                  <a:lnTo>
                    <a:pt x="43424" y="119173"/>
                  </a:lnTo>
                  <a:lnTo>
                    <a:pt x="44591" y="119586"/>
                  </a:lnTo>
                  <a:lnTo>
                    <a:pt x="45758" y="120000"/>
                  </a:lnTo>
                  <a:lnTo>
                    <a:pt x="45758" y="119586"/>
                  </a:lnTo>
                  <a:lnTo>
                    <a:pt x="46692" y="119586"/>
                  </a:lnTo>
                  <a:lnTo>
                    <a:pt x="47859" y="118554"/>
                  </a:lnTo>
                  <a:lnTo>
                    <a:pt x="47859" y="118141"/>
                  </a:lnTo>
                  <a:lnTo>
                    <a:pt x="47859" y="117728"/>
                  </a:lnTo>
                  <a:lnTo>
                    <a:pt x="48326" y="116695"/>
                  </a:lnTo>
                  <a:lnTo>
                    <a:pt x="48326" y="116282"/>
                  </a:lnTo>
                  <a:lnTo>
                    <a:pt x="49494" y="115662"/>
                  </a:lnTo>
                  <a:lnTo>
                    <a:pt x="51828" y="114629"/>
                  </a:lnTo>
                  <a:lnTo>
                    <a:pt x="52762" y="114629"/>
                  </a:lnTo>
                  <a:lnTo>
                    <a:pt x="53463" y="115249"/>
                  </a:lnTo>
                  <a:lnTo>
                    <a:pt x="53463" y="114629"/>
                  </a:lnTo>
                  <a:lnTo>
                    <a:pt x="52762" y="114629"/>
                  </a:lnTo>
                  <a:lnTo>
                    <a:pt x="52295" y="114629"/>
                  </a:lnTo>
                  <a:lnTo>
                    <a:pt x="51828" y="114629"/>
                  </a:lnTo>
                  <a:lnTo>
                    <a:pt x="51828" y="114216"/>
                  </a:lnTo>
                  <a:lnTo>
                    <a:pt x="51128" y="114216"/>
                  </a:lnTo>
                  <a:lnTo>
                    <a:pt x="51128" y="113803"/>
                  </a:lnTo>
                  <a:lnTo>
                    <a:pt x="51828" y="113184"/>
                  </a:lnTo>
                  <a:lnTo>
                    <a:pt x="52762" y="111325"/>
                  </a:lnTo>
                  <a:lnTo>
                    <a:pt x="52762" y="110912"/>
                  </a:lnTo>
                  <a:lnTo>
                    <a:pt x="52762" y="110292"/>
                  </a:lnTo>
                  <a:lnTo>
                    <a:pt x="53463" y="110292"/>
                  </a:lnTo>
                  <a:lnTo>
                    <a:pt x="53929" y="110292"/>
                  </a:lnTo>
                  <a:lnTo>
                    <a:pt x="53929" y="110292"/>
                  </a:lnTo>
                  <a:lnTo>
                    <a:pt x="54396" y="110292"/>
                  </a:lnTo>
                  <a:lnTo>
                    <a:pt x="55097" y="110292"/>
                  </a:lnTo>
                  <a:lnTo>
                    <a:pt x="55097" y="110292"/>
                  </a:lnTo>
                  <a:lnTo>
                    <a:pt x="55097" y="108433"/>
                  </a:lnTo>
                  <a:lnTo>
                    <a:pt x="55097" y="106368"/>
                  </a:lnTo>
                  <a:lnTo>
                    <a:pt x="55097" y="105955"/>
                  </a:lnTo>
                  <a:lnTo>
                    <a:pt x="54396" y="105955"/>
                  </a:lnTo>
                  <a:lnTo>
                    <a:pt x="54396" y="105955"/>
                  </a:lnTo>
                  <a:lnTo>
                    <a:pt x="54396" y="105955"/>
                  </a:lnTo>
                  <a:lnTo>
                    <a:pt x="54396" y="105335"/>
                  </a:lnTo>
                  <a:lnTo>
                    <a:pt x="54396" y="104922"/>
                  </a:lnTo>
                  <a:lnTo>
                    <a:pt x="54396" y="104509"/>
                  </a:lnTo>
                  <a:lnTo>
                    <a:pt x="54396" y="103063"/>
                  </a:lnTo>
                  <a:lnTo>
                    <a:pt x="55097" y="102030"/>
                  </a:lnTo>
                  <a:lnTo>
                    <a:pt x="55564" y="101617"/>
                  </a:lnTo>
                  <a:lnTo>
                    <a:pt x="55564" y="100998"/>
                  </a:lnTo>
                  <a:lnTo>
                    <a:pt x="56031" y="99965"/>
                  </a:lnTo>
                  <a:lnTo>
                    <a:pt x="56031" y="97074"/>
                  </a:lnTo>
                  <a:lnTo>
                    <a:pt x="56031" y="96660"/>
                  </a:lnTo>
                  <a:lnTo>
                    <a:pt x="55564" y="96247"/>
                  </a:lnTo>
                  <a:lnTo>
                    <a:pt x="55097" y="96247"/>
                  </a:lnTo>
                  <a:lnTo>
                    <a:pt x="55564" y="95628"/>
                  </a:lnTo>
                  <a:lnTo>
                    <a:pt x="55564" y="96247"/>
                  </a:lnTo>
                  <a:lnTo>
                    <a:pt x="56031" y="96247"/>
                  </a:lnTo>
                  <a:lnTo>
                    <a:pt x="56031" y="96660"/>
                  </a:lnTo>
                  <a:lnTo>
                    <a:pt x="55564" y="95628"/>
                  </a:lnTo>
                  <a:lnTo>
                    <a:pt x="55564" y="95215"/>
                  </a:lnTo>
                  <a:lnTo>
                    <a:pt x="55564" y="94595"/>
                  </a:lnTo>
                  <a:lnTo>
                    <a:pt x="55097" y="94182"/>
                  </a:lnTo>
                  <a:lnTo>
                    <a:pt x="55097" y="93149"/>
                  </a:lnTo>
                  <a:lnTo>
                    <a:pt x="55097" y="92736"/>
                  </a:lnTo>
                  <a:lnTo>
                    <a:pt x="55097" y="92736"/>
                  </a:lnTo>
                  <a:lnTo>
                    <a:pt x="55097" y="92323"/>
                  </a:lnTo>
                  <a:lnTo>
                    <a:pt x="55097" y="91703"/>
                  </a:lnTo>
                  <a:lnTo>
                    <a:pt x="55097" y="90877"/>
                  </a:lnTo>
                  <a:lnTo>
                    <a:pt x="54396" y="89225"/>
                  </a:lnTo>
                  <a:lnTo>
                    <a:pt x="54396" y="88399"/>
                  </a:lnTo>
                  <a:lnTo>
                    <a:pt x="55097" y="86953"/>
                  </a:lnTo>
                  <a:lnTo>
                    <a:pt x="55564" y="86333"/>
                  </a:lnTo>
                  <a:lnTo>
                    <a:pt x="56731" y="85920"/>
                  </a:lnTo>
                  <a:lnTo>
                    <a:pt x="56731" y="85920"/>
                  </a:lnTo>
                  <a:lnTo>
                    <a:pt x="57198" y="85920"/>
                  </a:lnTo>
                  <a:lnTo>
                    <a:pt x="57198" y="86333"/>
                  </a:lnTo>
                  <a:lnTo>
                    <a:pt x="57665" y="86333"/>
                  </a:lnTo>
                  <a:lnTo>
                    <a:pt x="57665" y="86333"/>
                  </a:lnTo>
                  <a:lnTo>
                    <a:pt x="58365" y="86333"/>
                  </a:lnTo>
                  <a:lnTo>
                    <a:pt x="58365" y="86333"/>
                  </a:lnTo>
                  <a:lnTo>
                    <a:pt x="58365" y="85920"/>
                  </a:lnTo>
                  <a:lnTo>
                    <a:pt x="58832" y="85920"/>
                  </a:lnTo>
                  <a:lnTo>
                    <a:pt x="58832" y="84475"/>
                  </a:lnTo>
                  <a:lnTo>
                    <a:pt x="59299" y="83855"/>
                  </a:lnTo>
                  <a:lnTo>
                    <a:pt x="59299" y="83855"/>
                  </a:lnTo>
                  <a:lnTo>
                    <a:pt x="61167" y="83855"/>
                  </a:lnTo>
                  <a:lnTo>
                    <a:pt x="61167" y="83855"/>
                  </a:lnTo>
                  <a:lnTo>
                    <a:pt x="62801" y="83442"/>
                  </a:lnTo>
                  <a:lnTo>
                    <a:pt x="63268" y="83029"/>
                  </a:lnTo>
                  <a:lnTo>
                    <a:pt x="63268" y="82409"/>
                  </a:lnTo>
                  <a:lnTo>
                    <a:pt x="63268" y="82409"/>
                  </a:lnTo>
                  <a:lnTo>
                    <a:pt x="63735" y="81996"/>
                  </a:lnTo>
                  <a:lnTo>
                    <a:pt x="63268" y="81996"/>
                  </a:lnTo>
                  <a:lnTo>
                    <a:pt x="63268" y="81583"/>
                  </a:lnTo>
                  <a:lnTo>
                    <a:pt x="63268" y="81583"/>
                  </a:lnTo>
                  <a:lnTo>
                    <a:pt x="63268" y="80963"/>
                  </a:lnTo>
                  <a:lnTo>
                    <a:pt x="63268" y="80550"/>
                  </a:lnTo>
                  <a:lnTo>
                    <a:pt x="64435" y="80137"/>
                  </a:lnTo>
                  <a:lnTo>
                    <a:pt x="66070" y="79104"/>
                  </a:lnTo>
                  <a:lnTo>
                    <a:pt x="66536" y="78485"/>
                  </a:lnTo>
                  <a:lnTo>
                    <a:pt x="67704" y="77659"/>
                  </a:lnTo>
                  <a:lnTo>
                    <a:pt x="68171" y="76626"/>
                  </a:lnTo>
                  <a:lnTo>
                    <a:pt x="68871" y="76626"/>
                  </a:lnTo>
                  <a:lnTo>
                    <a:pt x="70505" y="75593"/>
                  </a:lnTo>
                  <a:lnTo>
                    <a:pt x="70505" y="75180"/>
                  </a:lnTo>
                  <a:lnTo>
                    <a:pt x="71439" y="73734"/>
                  </a:lnTo>
                  <a:lnTo>
                    <a:pt x="72140" y="72702"/>
                  </a:lnTo>
                  <a:lnTo>
                    <a:pt x="72607" y="72702"/>
                  </a:lnTo>
                  <a:lnTo>
                    <a:pt x="72607" y="72289"/>
                  </a:lnTo>
                  <a:lnTo>
                    <a:pt x="72607" y="71669"/>
                  </a:lnTo>
                  <a:lnTo>
                    <a:pt x="74241" y="70223"/>
                  </a:lnTo>
                  <a:lnTo>
                    <a:pt x="75408" y="69810"/>
                  </a:lnTo>
                  <a:lnTo>
                    <a:pt x="75408" y="69810"/>
                  </a:lnTo>
                  <a:lnTo>
                    <a:pt x="74708" y="69397"/>
                  </a:lnTo>
                  <a:lnTo>
                    <a:pt x="74241" y="69810"/>
                  </a:lnTo>
                  <a:lnTo>
                    <a:pt x="74241" y="69810"/>
                  </a:lnTo>
                  <a:lnTo>
                    <a:pt x="74241" y="69810"/>
                  </a:lnTo>
                  <a:lnTo>
                    <a:pt x="74241" y="69397"/>
                  </a:lnTo>
                  <a:lnTo>
                    <a:pt x="75408" y="68364"/>
                  </a:lnTo>
                  <a:lnTo>
                    <a:pt x="75408" y="68364"/>
                  </a:lnTo>
                  <a:lnTo>
                    <a:pt x="75875" y="68777"/>
                  </a:lnTo>
                  <a:lnTo>
                    <a:pt x="75875" y="69397"/>
                  </a:lnTo>
                  <a:lnTo>
                    <a:pt x="75408" y="69397"/>
                  </a:lnTo>
                  <a:lnTo>
                    <a:pt x="75408" y="69397"/>
                  </a:lnTo>
                  <a:lnTo>
                    <a:pt x="75875" y="69397"/>
                  </a:lnTo>
                  <a:lnTo>
                    <a:pt x="77042" y="68777"/>
                  </a:lnTo>
                  <a:lnTo>
                    <a:pt x="78677" y="68364"/>
                  </a:lnTo>
                  <a:lnTo>
                    <a:pt x="78677" y="68364"/>
                  </a:lnTo>
                  <a:lnTo>
                    <a:pt x="78677" y="68364"/>
                  </a:lnTo>
                  <a:lnTo>
                    <a:pt x="78677" y="68364"/>
                  </a:lnTo>
                  <a:lnTo>
                    <a:pt x="78677" y="67745"/>
                  </a:lnTo>
                  <a:lnTo>
                    <a:pt x="78677" y="67745"/>
                  </a:lnTo>
                  <a:lnTo>
                    <a:pt x="79143" y="67745"/>
                  </a:lnTo>
                  <a:lnTo>
                    <a:pt x="79143" y="67745"/>
                  </a:lnTo>
                  <a:lnTo>
                    <a:pt x="79844" y="67332"/>
                  </a:lnTo>
                  <a:lnTo>
                    <a:pt x="80311" y="66919"/>
                  </a:lnTo>
                  <a:lnTo>
                    <a:pt x="80311" y="66299"/>
                  </a:lnTo>
                  <a:lnTo>
                    <a:pt x="80311" y="66299"/>
                  </a:lnTo>
                  <a:lnTo>
                    <a:pt x="80778" y="65886"/>
                  </a:lnTo>
                  <a:lnTo>
                    <a:pt x="80778" y="65473"/>
                  </a:lnTo>
                  <a:lnTo>
                    <a:pt x="81478" y="64853"/>
                  </a:lnTo>
                  <a:lnTo>
                    <a:pt x="80778" y="64853"/>
                  </a:lnTo>
                  <a:lnTo>
                    <a:pt x="80778" y="64027"/>
                  </a:lnTo>
                  <a:lnTo>
                    <a:pt x="80311" y="63407"/>
                  </a:lnTo>
                  <a:lnTo>
                    <a:pt x="80311" y="62375"/>
                  </a:lnTo>
                  <a:lnTo>
                    <a:pt x="80778" y="61962"/>
                  </a:lnTo>
                  <a:lnTo>
                    <a:pt x="81478" y="61549"/>
                  </a:lnTo>
                  <a:lnTo>
                    <a:pt x="81945" y="61549"/>
                  </a:lnTo>
                  <a:lnTo>
                    <a:pt x="83579" y="60929"/>
                  </a:lnTo>
                  <a:lnTo>
                    <a:pt x="84280" y="60516"/>
                  </a:lnTo>
                  <a:lnTo>
                    <a:pt x="84747" y="60103"/>
                  </a:lnTo>
                  <a:lnTo>
                    <a:pt x="85214" y="59483"/>
                  </a:lnTo>
                  <a:lnTo>
                    <a:pt x="85214" y="59070"/>
                  </a:lnTo>
                  <a:lnTo>
                    <a:pt x="85214" y="59070"/>
                  </a:lnTo>
                  <a:lnTo>
                    <a:pt x="85214" y="58657"/>
                  </a:lnTo>
                  <a:lnTo>
                    <a:pt x="84747" y="58657"/>
                  </a:lnTo>
                  <a:lnTo>
                    <a:pt x="84747" y="58037"/>
                  </a:lnTo>
                  <a:lnTo>
                    <a:pt x="84280" y="57624"/>
                  </a:lnTo>
                  <a:lnTo>
                    <a:pt x="84747" y="58037"/>
                  </a:lnTo>
                  <a:lnTo>
                    <a:pt x="85214" y="58657"/>
                  </a:lnTo>
                  <a:lnTo>
                    <a:pt x="85914" y="58657"/>
                  </a:lnTo>
                  <a:lnTo>
                    <a:pt x="85914" y="59070"/>
                  </a:lnTo>
                  <a:lnTo>
                    <a:pt x="85214" y="60103"/>
                  </a:lnTo>
                  <a:lnTo>
                    <a:pt x="85214" y="60516"/>
                  </a:lnTo>
                  <a:lnTo>
                    <a:pt x="85914" y="60929"/>
                  </a:lnTo>
                  <a:lnTo>
                    <a:pt x="86381" y="60929"/>
                  </a:lnTo>
                  <a:lnTo>
                    <a:pt x="86381" y="60516"/>
                  </a:lnTo>
                  <a:lnTo>
                    <a:pt x="86381" y="60516"/>
                  </a:lnTo>
                  <a:lnTo>
                    <a:pt x="86381" y="60516"/>
                  </a:lnTo>
                  <a:lnTo>
                    <a:pt x="86848" y="60929"/>
                  </a:lnTo>
                  <a:lnTo>
                    <a:pt x="87548" y="60929"/>
                  </a:lnTo>
                  <a:lnTo>
                    <a:pt x="87548" y="60516"/>
                  </a:lnTo>
                  <a:lnTo>
                    <a:pt x="87548" y="60103"/>
                  </a:lnTo>
                  <a:lnTo>
                    <a:pt x="87548" y="59070"/>
                  </a:lnTo>
                  <a:lnTo>
                    <a:pt x="87548" y="59070"/>
                  </a:lnTo>
                  <a:lnTo>
                    <a:pt x="88015" y="59070"/>
                  </a:lnTo>
                  <a:lnTo>
                    <a:pt x="88015" y="59070"/>
                  </a:lnTo>
                  <a:lnTo>
                    <a:pt x="88015" y="59483"/>
                  </a:lnTo>
                  <a:lnTo>
                    <a:pt x="88015" y="60516"/>
                  </a:lnTo>
                  <a:lnTo>
                    <a:pt x="88015" y="60929"/>
                  </a:lnTo>
                  <a:lnTo>
                    <a:pt x="88015" y="60929"/>
                  </a:lnTo>
                  <a:lnTo>
                    <a:pt x="88015" y="60929"/>
                  </a:lnTo>
                  <a:lnTo>
                    <a:pt x="88482" y="60929"/>
                  </a:lnTo>
                  <a:lnTo>
                    <a:pt x="88482" y="60516"/>
                  </a:lnTo>
                  <a:lnTo>
                    <a:pt x="89182" y="60929"/>
                  </a:lnTo>
                  <a:lnTo>
                    <a:pt x="89182" y="60929"/>
                  </a:lnTo>
                  <a:lnTo>
                    <a:pt x="89649" y="60929"/>
                  </a:lnTo>
                  <a:lnTo>
                    <a:pt x="89649" y="60516"/>
                  </a:lnTo>
                  <a:lnTo>
                    <a:pt x="89182" y="60103"/>
                  </a:lnTo>
                  <a:lnTo>
                    <a:pt x="89182" y="59483"/>
                  </a:lnTo>
                  <a:lnTo>
                    <a:pt x="89182" y="59483"/>
                  </a:lnTo>
                  <a:lnTo>
                    <a:pt x="89182" y="59070"/>
                  </a:lnTo>
                  <a:lnTo>
                    <a:pt x="89182" y="58657"/>
                  </a:lnTo>
                  <a:lnTo>
                    <a:pt x="89182" y="58037"/>
                  </a:lnTo>
                  <a:lnTo>
                    <a:pt x="88482" y="57005"/>
                  </a:lnTo>
                  <a:lnTo>
                    <a:pt x="88482" y="56592"/>
                  </a:lnTo>
                  <a:lnTo>
                    <a:pt x="88482" y="56592"/>
                  </a:lnTo>
                  <a:lnTo>
                    <a:pt x="88482" y="56179"/>
                  </a:lnTo>
                  <a:lnTo>
                    <a:pt x="88015" y="55559"/>
                  </a:lnTo>
                  <a:lnTo>
                    <a:pt x="88015" y="55146"/>
                  </a:lnTo>
                  <a:lnTo>
                    <a:pt x="88015" y="54733"/>
                  </a:lnTo>
                  <a:lnTo>
                    <a:pt x="88015" y="54113"/>
                  </a:lnTo>
                  <a:lnTo>
                    <a:pt x="88015" y="54113"/>
                  </a:lnTo>
                  <a:lnTo>
                    <a:pt x="87548" y="54113"/>
                  </a:lnTo>
                  <a:lnTo>
                    <a:pt x="86848" y="53700"/>
                  </a:lnTo>
                  <a:lnTo>
                    <a:pt x="86848" y="53700"/>
                  </a:lnTo>
                  <a:lnTo>
                    <a:pt x="86848" y="53080"/>
                  </a:lnTo>
                  <a:lnTo>
                    <a:pt x="86848" y="52667"/>
                  </a:lnTo>
                  <a:lnTo>
                    <a:pt x="86381" y="52667"/>
                  </a:lnTo>
                  <a:lnTo>
                    <a:pt x="86381" y="52667"/>
                  </a:lnTo>
                  <a:lnTo>
                    <a:pt x="86381" y="52254"/>
                  </a:lnTo>
                  <a:lnTo>
                    <a:pt x="86381" y="52254"/>
                  </a:lnTo>
                  <a:lnTo>
                    <a:pt x="86381" y="51222"/>
                  </a:lnTo>
                  <a:lnTo>
                    <a:pt x="86381" y="50808"/>
                  </a:lnTo>
                  <a:lnTo>
                    <a:pt x="86381" y="50189"/>
                  </a:lnTo>
                  <a:lnTo>
                    <a:pt x="86381" y="49776"/>
                  </a:lnTo>
                  <a:lnTo>
                    <a:pt x="86381" y="49776"/>
                  </a:lnTo>
                  <a:lnTo>
                    <a:pt x="86381" y="49363"/>
                  </a:lnTo>
                  <a:lnTo>
                    <a:pt x="86381" y="49363"/>
                  </a:lnTo>
                  <a:lnTo>
                    <a:pt x="85214" y="49363"/>
                  </a:lnTo>
                  <a:lnTo>
                    <a:pt x="85214" y="48743"/>
                  </a:lnTo>
                  <a:lnTo>
                    <a:pt x="84747" y="48743"/>
                  </a:lnTo>
                  <a:lnTo>
                    <a:pt x="84747" y="48330"/>
                  </a:lnTo>
                  <a:lnTo>
                    <a:pt x="84280" y="48743"/>
                  </a:lnTo>
                  <a:lnTo>
                    <a:pt x="84280" y="48330"/>
                  </a:lnTo>
                  <a:lnTo>
                    <a:pt x="83579" y="48330"/>
                  </a:lnTo>
                  <a:lnTo>
                    <a:pt x="83112" y="47710"/>
                  </a:lnTo>
                  <a:lnTo>
                    <a:pt x="83112" y="47710"/>
                  </a:lnTo>
                  <a:lnTo>
                    <a:pt x="83112" y="47297"/>
                  </a:lnTo>
                  <a:lnTo>
                    <a:pt x="83579" y="46884"/>
                  </a:lnTo>
                  <a:lnTo>
                    <a:pt x="83579" y="46884"/>
                  </a:lnTo>
                  <a:lnTo>
                    <a:pt x="84280" y="46884"/>
                  </a:lnTo>
                  <a:lnTo>
                    <a:pt x="84280" y="46884"/>
                  </a:lnTo>
                  <a:lnTo>
                    <a:pt x="84747" y="46265"/>
                  </a:lnTo>
                  <a:lnTo>
                    <a:pt x="84747" y="45438"/>
                  </a:lnTo>
                  <a:lnTo>
                    <a:pt x="85214" y="45438"/>
                  </a:lnTo>
                  <a:lnTo>
                    <a:pt x="85914" y="45438"/>
                  </a:lnTo>
                  <a:lnTo>
                    <a:pt x="85914" y="45438"/>
                  </a:lnTo>
                  <a:lnTo>
                    <a:pt x="86381" y="45438"/>
                  </a:lnTo>
                  <a:lnTo>
                    <a:pt x="86381" y="45438"/>
                  </a:lnTo>
                  <a:lnTo>
                    <a:pt x="86848" y="45438"/>
                  </a:lnTo>
                  <a:lnTo>
                    <a:pt x="86848" y="45438"/>
                  </a:lnTo>
                  <a:lnTo>
                    <a:pt x="86848" y="44819"/>
                  </a:lnTo>
                  <a:lnTo>
                    <a:pt x="86381" y="44819"/>
                  </a:lnTo>
                  <a:lnTo>
                    <a:pt x="86381" y="44819"/>
                  </a:lnTo>
                  <a:lnTo>
                    <a:pt x="85914" y="44406"/>
                  </a:lnTo>
                  <a:lnTo>
                    <a:pt x="85914" y="43993"/>
                  </a:lnTo>
                  <a:lnTo>
                    <a:pt x="85214" y="43993"/>
                  </a:lnTo>
                  <a:lnTo>
                    <a:pt x="84747" y="43993"/>
                  </a:lnTo>
                  <a:lnTo>
                    <a:pt x="84280" y="43993"/>
                  </a:lnTo>
                  <a:lnTo>
                    <a:pt x="84280" y="43373"/>
                  </a:lnTo>
                  <a:lnTo>
                    <a:pt x="83579" y="42960"/>
                  </a:lnTo>
                  <a:lnTo>
                    <a:pt x="83112" y="42960"/>
                  </a:lnTo>
                  <a:lnTo>
                    <a:pt x="82412" y="42340"/>
                  </a:lnTo>
                  <a:lnTo>
                    <a:pt x="82412" y="42340"/>
                  </a:lnTo>
                  <a:lnTo>
                    <a:pt x="82412" y="41927"/>
                  </a:lnTo>
                  <a:lnTo>
                    <a:pt x="82412" y="41927"/>
                  </a:lnTo>
                  <a:lnTo>
                    <a:pt x="82412" y="41514"/>
                  </a:lnTo>
                  <a:lnTo>
                    <a:pt x="83112" y="40895"/>
                  </a:lnTo>
                  <a:lnTo>
                    <a:pt x="83579" y="40895"/>
                  </a:lnTo>
                  <a:lnTo>
                    <a:pt x="83579" y="40481"/>
                  </a:lnTo>
                  <a:lnTo>
                    <a:pt x="83579" y="40481"/>
                  </a:lnTo>
                  <a:lnTo>
                    <a:pt x="83579" y="40068"/>
                  </a:lnTo>
                  <a:lnTo>
                    <a:pt x="83579" y="40068"/>
                  </a:lnTo>
                  <a:lnTo>
                    <a:pt x="83579" y="40068"/>
                  </a:lnTo>
                  <a:lnTo>
                    <a:pt x="83112" y="40068"/>
                  </a:lnTo>
                  <a:lnTo>
                    <a:pt x="83112" y="39449"/>
                  </a:lnTo>
                  <a:lnTo>
                    <a:pt x="83112" y="39449"/>
                  </a:lnTo>
                  <a:lnTo>
                    <a:pt x="83579" y="39449"/>
                  </a:lnTo>
                  <a:lnTo>
                    <a:pt x="84280" y="39449"/>
                  </a:lnTo>
                  <a:lnTo>
                    <a:pt x="84747" y="40068"/>
                  </a:lnTo>
                  <a:lnTo>
                    <a:pt x="84747" y="40481"/>
                  </a:lnTo>
                  <a:lnTo>
                    <a:pt x="84747" y="40481"/>
                  </a:lnTo>
                  <a:lnTo>
                    <a:pt x="85214" y="40481"/>
                  </a:lnTo>
                  <a:lnTo>
                    <a:pt x="85214" y="40481"/>
                  </a:lnTo>
                  <a:lnTo>
                    <a:pt x="85214" y="40895"/>
                  </a:lnTo>
                  <a:lnTo>
                    <a:pt x="85914" y="40895"/>
                  </a:lnTo>
                  <a:lnTo>
                    <a:pt x="85914" y="40895"/>
                  </a:lnTo>
                  <a:lnTo>
                    <a:pt x="85914" y="40895"/>
                  </a:lnTo>
                  <a:lnTo>
                    <a:pt x="86381" y="40481"/>
                  </a:lnTo>
                  <a:lnTo>
                    <a:pt x="85914" y="40481"/>
                  </a:lnTo>
                  <a:lnTo>
                    <a:pt x="85914" y="40481"/>
                  </a:lnTo>
                  <a:lnTo>
                    <a:pt x="85914" y="40068"/>
                  </a:lnTo>
                  <a:lnTo>
                    <a:pt x="85914" y="40068"/>
                  </a:lnTo>
                  <a:lnTo>
                    <a:pt x="86381" y="40068"/>
                  </a:lnTo>
                  <a:lnTo>
                    <a:pt x="86381" y="40481"/>
                  </a:lnTo>
                  <a:lnTo>
                    <a:pt x="86381" y="40481"/>
                  </a:lnTo>
                  <a:lnTo>
                    <a:pt x="86848" y="40895"/>
                  </a:lnTo>
                  <a:lnTo>
                    <a:pt x="86848" y="41514"/>
                  </a:lnTo>
                  <a:lnTo>
                    <a:pt x="87548" y="41927"/>
                  </a:lnTo>
                  <a:lnTo>
                    <a:pt x="88015" y="41927"/>
                  </a:lnTo>
                  <a:lnTo>
                    <a:pt x="88482" y="41927"/>
                  </a:lnTo>
                  <a:lnTo>
                    <a:pt x="88482" y="41927"/>
                  </a:lnTo>
                  <a:lnTo>
                    <a:pt x="88482" y="41514"/>
                  </a:lnTo>
                  <a:lnTo>
                    <a:pt x="88482" y="41514"/>
                  </a:lnTo>
                  <a:lnTo>
                    <a:pt x="88482" y="40895"/>
                  </a:lnTo>
                  <a:lnTo>
                    <a:pt x="88482" y="40895"/>
                  </a:lnTo>
                  <a:lnTo>
                    <a:pt x="89182" y="40895"/>
                  </a:lnTo>
                  <a:lnTo>
                    <a:pt x="89182" y="40895"/>
                  </a:lnTo>
                  <a:lnTo>
                    <a:pt x="89649" y="41927"/>
                  </a:lnTo>
                  <a:lnTo>
                    <a:pt x="89649" y="42340"/>
                  </a:lnTo>
                  <a:lnTo>
                    <a:pt x="90116" y="43993"/>
                  </a:lnTo>
                  <a:lnTo>
                    <a:pt x="90116" y="44406"/>
                  </a:lnTo>
                  <a:lnTo>
                    <a:pt x="90116" y="44819"/>
                  </a:lnTo>
                  <a:lnTo>
                    <a:pt x="90116" y="44819"/>
                  </a:lnTo>
                  <a:lnTo>
                    <a:pt x="90116" y="44819"/>
                  </a:lnTo>
                  <a:lnTo>
                    <a:pt x="90817" y="44819"/>
                  </a:lnTo>
                  <a:lnTo>
                    <a:pt x="91284" y="45438"/>
                  </a:lnTo>
                  <a:lnTo>
                    <a:pt x="91984" y="45438"/>
                  </a:lnTo>
                  <a:lnTo>
                    <a:pt x="92451" y="45438"/>
                  </a:lnTo>
                  <a:lnTo>
                    <a:pt x="92918" y="45438"/>
                  </a:lnTo>
                  <a:lnTo>
                    <a:pt x="93618" y="45438"/>
                  </a:lnTo>
                  <a:lnTo>
                    <a:pt x="94085" y="45438"/>
                  </a:lnTo>
                  <a:lnTo>
                    <a:pt x="94552" y="45438"/>
                  </a:lnTo>
                  <a:lnTo>
                    <a:pt x="95719" y="45438"/>
                  </a:lnTo>
                  <a:lnTo>
                    <a:pt x="96887" y="45438"/>
                  </a:lnTo>
                  <a:lnTo>
                    <a:pt x="97354" y="45438"/>
                  </a:lnTo>
                  <a:lnTo>
                    <a:pt x="97354" y="45851"/>
                  </a:lnTo>
                  <a:lnTo>
                    <a:pt x="98521" y="45438"/>
                  </a:lnTo>
                  <a:lnTo>
                    <a:pt x="100155" y="45438"/>
                  </a:lnTo>
                  <a:lnTo>
                    <a:pt x="100622" y="45851"/>
                  </a:lnTo>
                  <a:lnTo>
                    <a:pt x="101322" y="46265"/>
                  </a:lnTo>
                  <a:lnTo>
                    <a:pt x="101789" y="46265"/>
                  </a:lnTo>
                  <a:lnTo>
                    <a:pt x="101789" y="46884"/>
                  </a:lnTo>
                  <a:lnTo>
                    <a:pt x="101789" y="46884"/>
                  </a:lnTo>
                  <a:lnTo>
                    <a:pt x="101789" y="46884"/>
                  </a:lnTo>
                  <a:lnTo>
                    <a:pt x="101789" y="46884"/>
                  </a:lnTo>
                  <a:lnTo>
                    <a:pt x="101322" y="46884"/>
                  </a:lnTo>
                  <a:lnTo>
                    <a:pt x="100622" y="46884"/>
                  </a:lnTo>
                  <a:lnTo>
                    <a:pt x="101322" y="47297"/>
                  </a:lnTo>
                  <a:lnTo>
                    <a:pt x="101322" y="47297"/>
                  </a:lnTo>
                  <a:lnTo>
                    <a:pt x="100622" y="47710"/>
                  </a:lnTo>
                  <a:lnTo>
                    <a:pt x="100622" y="48330"/>
                  </a:lnTo>
                  <a:lnTo>
                    <a:pt x="100622" y="48743"/>
                  </a:lnTo>
                  <a:lnTo>
                    <a:pt x="100622" y="48743"/>
                  </a:lnTo>
                  <a:lnTo>
                    <a:pt x="100622" y="48743"/>
                  </a:lnTo>
                  <a:lnTo>
                    <a:pt x="100155" y="48743"/>
                  </a:lnTo>
                  <a:lnTo>
                    <a:pt x="100155" y="49363"/>
                  </a:lnTo>
                  <a:lnTo>
                    <a:pt x="100155" y="49363"/>
                  </a:lnTo>
                  <a:lnTo>
                    <a:pt x="100155" y="49363"/>
                  </a:lnTo>
                  <a:lnTo>
                    <a:pt x="100155" y="49776"/>
                  </a:lnTo>
                  <a:lnTo>
                    <a:pt x="99688" y="49776"/>
                  </a:lnTo>
                  <a:lnTo>
                    <a:pt x="99688" y="49776"/>
                  </a:lnTo>
                  <a:lnTo>
                    <a:pt x="98988" y="49776"/>
                  </a:lnTo>
                  <a:lnTo>
                    <a:pt x="98988" y="49776"/>
                  </a:lnTo>
                  <a:lnTo>
                    <a:pt x="98988" y="49776"/>
                  </a:lnTo>
                  <a:lnTo>
                    <a:pt x="98521" y="50189"/>
                  </a:lnTo>
                  <a:lnTo>
                    <a:pt x="98521" y="50189"/>
                  </a:lnTo>
                  <a:lnTo>
                    <a:pt x="97821" y="50189"/>
                  </a:lnTo>
                  <a:lnTo>
                    <a:pt x="97821" y="50189"/>
                  </a:lnTo>
                  <a:lnTo>
                    <a:pt x="97821" y="50189"/>
                  </a:lnTo>
                  <a:lnTo>
                    <a:pt x="97821" y="50808"/>
                  </a:lnTo>
                  <a:lnTo>
                    <a:pt x="97354" y="50808"/>
                  </a:lnTo>
                  <a:lnTo>
                    <a:pt x="97354" y="51635"/>
                  </a:lnTo>
                  <a:lnTo>
                    <a:pt x="97354" y="52254"/>
                  </a:lnTo>
                  <a:lnTo>
                    <a:pt x="97354" y="52254"/>
                  </a:lnTo>
                  <a:lnTo>
                    <a:pt x="97821" y="53080"/>
                  </a:lnTo>
                  <a:lnTo>
                    <a:pt x="98521" y="54733"/>
                  </a:lnTo>
                  <a:lnTo>
                    <a:pt x="98521" y="54733"/>
                  </a:lnTo>
                  <a:lnTo>
                    <a:pt x="98521" y="54733"/>
                  </a:lnTo>
                  <a:lnTo>
                    <a:pt x="98521" y="54733"/>
                  </a:lnTo>
                  <a:lnTo>
                    <a:pt x="98521" y="54733"/>
                  </a:lnTo>
                  <a:lnTo>
                    <a:pt x="98521" y="54113"/>
                  </a:lnTo>
                  <a:lnTo>
                    <a:pt x="98521" y="54113"/>
                  </a:lnTo>
                  <a:lnTo>
                    <a:pt x="98521" y="54113"/>
                  </a:lnTo>
                  <a:lnTo>
                    <a:pt x="98988" y="54113"/>
                  </a:lnTo>
                  <a:lnTo>
                    <a:pt x="98988" y="54733"/>
                  </a:lnTo>
                  <a:lnTo>
                    <a:pt x="99688" y="55146"/>
                  </a:lnTo>
                  <a:lnTo>
                    <a:pt x="99688" y="55146"/>
                  </a:lnTo>
                  <a:lnTo>
                    <a:pt x="100155" y="55146"/>
                  </a:lnTo>
                  <a:lnTo>
                    <a:pt x="100155" y="54733"/>
                  </a:lnTo>
                  <a:lnTo>
                    <a:pt x="100155" y="54733"/>
                  </a:lnTo>
                  <a:lnTo>
                    <a:pt x="100155" y="54113"/>
                  </a:lnTo>
                  <a:lnTo>
                    <a:pt x="100155" y="53700"/>
                  </a:lnTo>
                  <a:lnTo>
                    <a:pt x="100155" y="53080"/>
                  </a:lnTo>
                  <a:lnTo>
                    <a:pt x="100622" y="52667"/>
                  </a:lnTo>
                  <a:lnTo>
                    <a:pt x="100622" y="52667"/>
                  </a:lnTo>
                  <a:lnTo>
                    <a:pt x="100622" y="52254"/>
                  </a:lnTo>
                  <a:lnTo>
                    <a:pt x="100622" y="52254"/>
                  </a:lnTo>
                  <a:lnTo>
                    <a:pt x="100622" y="52254"/>
                  </a:lnTo>
                  <a:lnTo>
                    <a:pt x="101322" y="52254"/>
                  </a:lnTo>
                  <a:lnTo>
                    <a:pt x="101322" y="51635"/>
                  </a:lnTo>
                  <a:lnTo>
                    <a:pt x="101322" y="51635"/>
                  </a:lnTo>
                  <a:lnTo>
                    <a:pt x="101789" y="52254"/>
                  </a:lnTo>
                  <a:lnTo>
                    <a:pt x="101789" y="52254"/>
                  </a:lnTo>
                  <a:lnTo>
                    <a:pt x="102256" y="52667"/>
                  </a:lnTo>
                  <a:lnTo>
                    <a:pt x="102256" y="53700"/>
                  </a:lnTo>
                  <a:lnTo>
                    <a:pt x="102256" y="54113"/>
                  </a:lnTo>
                  <a:lnTo>
                    <a:pt x="102957" y="54733"/>
                  </a:lnTo>
                  <a:lnTo>
                    <a:pt x="102957" y="55146"/>
                  </a:lnTo>
                  <a:lnTo>
                    <a:pt x="102957" y="55559"/>
                  </a:lnTo>
                  <a:lnTo>
                    <a:pt x="103424" y="55559"/>
                  </a:lnTo>
                  <a:lnTo>
                    <a:pt x="103424" y="56179"/>
                  </a:lnTo>
                  <a:lnTo>
                    <a:pt x="103424" y="56179"/>
                  </a:lnTo>
                  <a:lnTo>
                    <a:pt x="103891" y="57005"/>
                  </a:lnTo>
                  <a:lnTo>
                    <a:pt x="103891" y="57624"/>
                  </a:lnTo>
                  <a:lnTo>
                    <a:pt x="103891" y="59070"/>
                  </a:lnTo>
                  <a:lnTo>
                    <a:pt x="104591" y="59483"/>
                  </a:lnTo>
                  <a:lnTo>
                    <a:pt x="104591" y="59483"/>
                  </a:lnTo>
                  <a:lnTo>
                    <a:pt x="104591" y="59070"/>
                  </a:lnTo>
                  <a:lnTo>
                    <a:pt x="104591" y="59070"/>
                  </a:lnTo>
                  <a:lnTo>
                    <a:pt x="104591" y="58657"/>
                  </a:lnTo>
                  <a:lnTo>
                    <a:pt x="105058" y="58657"/>
                  </a:lnTo>
                  <a:lnTo>
                    <a:pt x="105058" y="59070"/>
                  </a:lnTo>
                  <a:lnTo>
                    <a:pt x="105525" y="59483"/>
                  </a:lnTo>
                  <a:lnTo>
                    <a:pt x="105525" y="59483"/>
                  </a:lnTo>
                  <a:lnTo>
                    <a:pt x="106225" y="59483"/>
                  </a:lnTo>
                  <a:lnTo>
                    <a:pt x="106225" y="58657"/>
                  </a:lnTo>
                  <a:lnTo>
                    <a:pt x="106225" y="58657"/>
                  </a:lnTo>
                  <a:lnTo>
                    <a:pt x="106225" y="58657"/>
                  </a:lnTo>
                  <a:lnTo>
                    <a:pt x="106692" y="58657"/>
                  </a:lnTo>
                  <a:lnTo>
                    <a:pt x="106692" y="58657"/>
                  </a:lnTo>
                  <a:lnTo>
                    <a:pt x="106692" y="58037"/>
                  </a:lnTo>
                  <a:lnTo>
                    <a:pt x="106692" y="57624"/>
                  </a:lnTo>
                  <a:lnTo>
                    <a:pt x="106225" y="57005"/>
                  </a:lnTo>
                  <a:lnTo>
                    <a:pt x="106225" y="56592"/>
                  </a:lnTo>
                  <a:lnTo>
                    <a:pt x="106225" y="56179"/>
                  </a:lnTo>
                  <a:lnTo>
                    <a:pt x="106225" y="55559"/>
                  </a:lnTo>
                  <a:lnTo>
                    <a:pt x="106225" y="55559"/>
                  </a:lnTo>
                  <a:lnTo>
                    <a:pt x="106225" y="55146"/>
                  </a:lnTo>
                  <a:lnTo>
                    <a:pt x="106225" y="54733"/>
                  </a:lnTo>
                  <a:lnTo>
                    <a:pt x="106225" y="54733"/>
                  </a:lnTo>
                  <a:lnTo>
                    <a:pt x="106692" y="55146"/>
                  </a:lnTo>
                  <a:lnTo>
                    <a:pt x="106692" y="54733"/>
                  </a:lnTo>
                  <a:lnTo>
                    <a:pt x="106692" y="54733"/>
                  </a:lnTo>
                  <a:lnTo>
                    <a:pt x="106692" y="54733"/>
                  </a:lnTo>
                  <a:lnTo>
                    <a:pt x="106692" y="53700"/>
                  </a:lnTo>
                  <a:lnTo>
                    <a:pt x="106692" y="52667"/>
                  </a:lnTo>
                  <a:lnTo>
                    <a:pt x="106692" y="52254"/>
                  </a:lnTo>
                  <a:lnTo>
                    <a:pt x="106692" y="51635"/>
                  </a:lnTo>
                  <a:lnTo>
                    <a:pt x="106225" y="50808"/>
                  </a:lnTo>
                  <a:lnTo>
                    <a:pt x="106225" y="50189"/>
                  </a:lnTo>
                  <a:lnTo>
                    <a:pt x="106225" y="50189"/>
                  </a:lnTo>
                  <a:lnTo>
                    <a:pt x="106692" y="50808"/>
                  </a:lnTo>
                  <a:lnTo>
                    <a:pt x="106692" y="50808"/>
                  </a:lnTo>
                  <a:lnTo>
                    <a:pt x="107392" y="50808"/>
                  </a:lnTo>
                  <a:lnTo>
                    <a:pt x="107392" y="50808"/>
                  </a:lnTo>
                  <a:lnTo>
                    <a:pt x="107859" y="50808"/>
                  </a:lnTo>
                  <a:lnTo>
                    <a:pt x="107859" y="50808"/>
                  </a:lnTo>
                  <a:lnTo>
                    <a:pt x="108326" y="50808"/>
                  </a:lnTo>
                  <a:lnTo>
                    <a:pt x="109027" y="51222"/>
                  </a:lnTo>
                  <a:lnTo>
                    <a:pt x="109494" y="51222"/>
                  </a:lnTo>
                  <a:lnTo>
                    <a:pt x="109494" y="51222"/>
                  </a:lnTo>
                  <a:lnTo>
                    <a:pt x="109961" y="50808"/>
                  </a:lnTo>
                  <a:lnTo>
                    <a:pt x="109961" y="50189"/>
                  </a:lnTo>
                  <a:lnTo>
                    <a:pt x="109961" y="49363"/>
                  </a:lnTo>
                  <a:lnTo>
                    <a:pt x="109961" y="48743"/>
                  </a:lnTo>
                  <a:lnTo>
                    <a:pt x="110661" y="48330"/>
                  </a:lnTo>
                  <a:lnTo>
                    <a:pt x="110661" y="47710"/>
                  </a:lnTo>
                  <a:lnTo>
                    <a:pt x="111128" y="47297"/>
                  </a:lnTo>
                  <a:lnTo>
                    <a:pt x="111128" y="46265"/>
                  </a:lnTo>
                  <a:lnTo>
                    <a:pt x="111128" y="45851"/>
                  </a:lnTo>
                  <a:lnTo>
                    <a:pt x="111128" y="45851"/>
                  </a:lnTo>
                  <a:lnTo>
                    <a:pt x="111128" y="45851"/>
                  </a:lnTo>
                  <a:lnTo>
                    <a:pt x="110661" y="45438"/>
                  </a:lnTo>
                  <a:lnTo>
                    <a:pt x="110661" y="45438"/>
                  </a:lnTo>
                  <a:lnTo>
                    <a:pt x="110661" y="45438"/>
                  </a:lnTo>
                  <a:lnTo>
                    <a:pt x="110661" y="45438"/>
                  </a:lnTo>
                  <a:lnTo>
                    <a:pt x="110661" y="44819"/>
                  </a:lnTo>
                  <a:lnTo>
                    <a:pt x="110661" y="44406"/>
                  </a:lnTo>
                  <a:lnTo>
                    <a:pt x="110661" y="44406"/>
                  </a:lnTo>
                  <a:lnTo>
                    <a:pt x="111128" y="43993"/>
                  </a:lnTo>
                  <a:lnTo>
                    <a:pt x="111595" y="43373"/>
                  </a:lnTo>
                  <a:lnTo>
                    <a:pt x="111595" y="43373"/>
                  </a:lnTo>
                  <a:lnTo>
                    <a:pt x="111595" y="42960"/>
                  </a:lnTo>
                  <a:lnTo>
                    <a:pt x="111595" y="42340"/>
                  </a:lnTo>
                  <a:lnTo>
                    <a:pt x="111595" y="41927"/>
                  </a:lnTo>
                  <a:lnTo>
                    <a:pt x="112295" y="41927"/>
                  </a:lnTo>
                  <a:lnTo>
                    <a:pt x="112295" y="41927"/>
                  </a:lnTo>
                  <a:lnTo>
                    <a:pt x="112295" y="41514"/>
                  </a:lnTo>
                  <a:lnTo>
                    <a:pt x="112295" y="41514"/>
                  </a:lnTo>
                  <a:lnTo>
                    <a:pt x="111595" y="40895"/>
                  </a:lnTo>
                  <a:lnTo>
                    <a:pt x="111595" y="40481"/>
                  </a:lnTo>
                  <a:lnTo>
                    <a:pt x="111595" y="40068"/>
                  </a:lnTo>
                  <a:lnTo>
                    <a:pt x="111595" y="39449"/>
                  </a:lnTo>
                  <a:lnTo>
                    <a:pt x="111595" y="39449"/>
                  </a:lnTo>
                  <a:lnTo>
                    <a:pt x="112295" y="39036"/>
                  </a:lnTo>
                  <a:lnTo>
                    <a:pt x="112295" y="39036"/>
                  </a:lnTo>
                  <a:lnTo>
                    <a:pt x="112762" y="38623"/>
                  </a:lnTo>
                  <a:lnTo>
                    <a:pt x="113929" y="37590"/>
                  </a:lnTo>
                  <a:lnTo>
                    <a:pt x="114396" y="37590"/>
                  </a:lnTo>
                  <a:lnTo>
                    <a:pt x="114396" y="37590"/>
                  </a:lnTo>
                  <a:lnTo>
                    <a:pt x="115097" y="36970"/>
                  </a:lnTo>
                  <a:lnTo>
                    <a:pt x="115097" y="36557"/>
                  </a:lnTo>
                  <a:lnTo>
                    <a:pt x="115564" y="36557"/>
                  </a:lnTo>
                  <a:lnTo>
                    <a:pt x="116031" y="36144"/>
                  </a:lnTo>
                  <a:lnTo>
                    <a:pt x="117665" y="36144"/>
                  </a:lnTo>
                  <a:lnTo>
                    <a:pt x="117665" y="36144"/>
                  </a:lnTo>
                  <a:lnTo>
                    <a:pt x="118365" y="36144"/>
                  </a:lnTo>
                  <a:lnTo>
                    <a:pt x="118365" y="36557"/>
                  </a:lnTo>
                  <a:lnTo>
                    <a:pt x="118832" y="36970"/>
                  </a:lnTo>
                  <a:lnTo>
                    <a:pt x="119299" y="36970"/>
                  </a:lnTo>
                  <a:lnTo>
                    <a:pt x="119299" y="36970"/>
                  </a:lnTo>
                  <a:lnTo>
                    <a:pt x="119299" y="36557"/>
                  </a:lnTo>
                  <a:lnTo>
                    <a:pt x="118365" y="35524"/>
                  </a:lnTo>
                  <a:lnTo>
                    <a:pt x="118365" y="35111"/>
                  </a:lnTo>
                  <a:lnTo>
                    <a:pt x="118365" y="35111"/>
                  </a:lnTo>
                  <a:lnTo>
                    <a:pt x="118365" y="34698"/>
                  </a:lnTo>
                  <a:lnTo>
                    <a:pt x="118365" y="34698"/>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70" name="Shape 470"/>
            <p:cNvSpPr/>
            <p:nvPr/>
          </p:nvSpPr>
          <p:spPr>
            <a:xfrm>
              <a:off x="3358" y="1434"/>
              <a:ext cx="300" cy="0"/>
            </a:xfrm>
            <a:custGeom>
              <a:avLst/>
              <a:gdLst/>
              <a:ahLst/>
              <a:cxnLst/>
              <a:rect l="0" t="0" r="0" b="0"/>
              <a:pathLst>
                <a:path w="120000" h="120000" extrusionOk="0">
                  <a:moveTo>
                    <a:pt x="117662" y="42711"/>
                  </a:moveTo>
                  <a:lnTo>
                    <a:pt x="117662" y="42711"/>
                  </a:lnTo>
                  <a:lnTo>
                    <a:pt x="120000" y="42711"/>
                  </a:lnTo>
                  <a:lnTo>
                    <a:pt x="120000" y="38644"/>
                  </a:lnTo>
                  <a:lnTo>
                    <a:pt x="120000" y="38644"/>
                  </a:lnTo>
                  <a:lnTo>
                    <a:pt x="120000" y="38644"/>
                  </a:lnTo>
                  <a:lnTo>
                    <a:pt x="120000" y="38644"/>
                  </a:lnTo>
                  <a:lnTo>
                    <a:pt x="117662" y="38644"/>
                  </a:lnTo>
                  <a:lnTo>
                    <a:pt x="117662" y="32542"/>
                  </a:lnTo>
                  <a:lnTo>
                    <a:pt x="116103" y="32542"/>
                  </a:lnTo>
                  <a:lnTo>
                    <a:pt x="113766" y="32542"/>
                  </a:lnTo>
                  <a:lnTo>
                    <a:pt x="112207" y="32542"/>
                  </a:lnTo>
                  <a:lnTo>
                    <a:pt x="110649" y="32542"/>
                  </a:lnTo>
                  <a:lnTo>
                    <a:pt x="112207" y="32542"/>
                  </a:lnTo>
                  <a:lnTo>
                    <a:pt x="112207" y="32542"/>
                  </a:lnTo>
                  <a:lnTo>
                    <a:pt x="112207" y="28474"/>
                  </a:lnTo>
                  <a:lnTo>
                    <a:pt x="112207" y="28474"/>
                  </a:lnTo>
                  <a:lnTo>
                    <a:pt x="112207" y="28474"/>
                  </a:lnTo>
                  <a:lnTo>
                    <a:pt x="112207" y="28474"/>
                  </a:lnTo>
                  <a:lnTo>
                    <a:pt x="112207" y="28474"/>
                  </a:lnTo>
                  <a:lnTo>
                    <a:pt x="108311" y="28474"/>
                  </a:lnTo>
                  <a:lnTo>
                    <a:pt x="106753" y="28474"/>
                  </a:lnTo>
                  <a:lnTo>
                    <a:pt x="106753" y="28474"/>
                  </a:lnTo>
                  <a:lnTo>
                    <a:pt x="108311" y="24406"/>
                  </a:lnTo>
                  <a:lnTo>
                    <a:pt x="108311" y="24406"/>
                  </a:lnTo>
                  <a:lnTo>
                    <a:pt x="108311" y="18305"/>
                  </a:lnTo>
                  <a:lnTo>
                    <a:pt x="108311" y="18305"/>
                  </a:lnTo>
                  <a:lnTo>
                    <a:pt x="108311" y="18305"/>
                  </a:lnTo>
                  <a:lnTo>
                    <a:pt x="108311" y="18305"/>
                  </a:lnTo>
                  <a:lnTo>
                    <a:pt x="108311" y="18305"/>
                  </a:lnTo>
                  <a:lnTo>
                    <a:pt x="106753" y="18305"/>
                  </a:lnTo>
                  <a:lnTo>
                    <a:pt x="106753" y="18305"/>
                  </a:lnTo>
                  <a:lnTo>
                    <a:pt x="105194" y="14237"/>
                  </a:lnTo>
                  <a:lnTo>
                    <a:pt x="105194" y="14237"/>
                  </a:lnTo>
                  <a:lnTo>
                    <a:pt x="106753" y="14237"/>
                  </a:lnTo>
                  <a:lnTo>
                    <a:pt x="108311" y="10169"/>
                  </a:lnTo>
                  <a:lnTo>
                    <a:pt x="108311" y="10169"/>
                  </a:lnTo>
                  <a:lnTo>
                    <a:pt x="110649" y="10169"/>
                  </a:lnTo>
                  <a:lnTo>
                    <a:pt x="112207" y="4067"/>
                  </a:lnTo>
                  <a:lnTo>
                    <a:pt x="112207" y="4067"/>
                  </a:lnTo>
                  <a:lnTo>
                    <a:pt x="110649" y="4067"/>
                  </a:lnTo>
                  <a:lnTo>
                    <a:pt x="108311" y="4067"/>
                  </a:lnTo>
                  <a:lnTo>
                    <a:pt x="106753" y="4067"/>
                  </a:lnTo>
                  <a:lnTo>
                    <a:pt x="105194" y="10169"/>
                  </a:lnTo>
                  <a:lnTo>
                    <a:pt x="105194" y="10169"/>
                  </a:lnTo>
                  <a:lnTo>
                    <a:pt x="101298" y="10169"/>
                  </a:lnTo>
                  <a:lnTo>
                    <a:pt x="101298" y="10169"/>
                  </a:lnTo>
                  <a:lnTo>
                    <a:pt x="99740" y="10169"/>
                  </a:lnTo>
                  <a:lnTo>
                    <a:pt x="99740" y="10169"/>
                  </a:lnTo>
                  <a:lnTo>
                    <a:pt x="99740" y="4067"/>
                  </a:lnTo>
                  <a:lnTo>
                    <a:pt x="99740" y="4067"/>
                  </a:lnTo>
                  <a:lnTo>
                    <a:pt x="97402" y="4067"/>
                  </a:lnTo>
                  <a:lnTo>
                    <a:pt x="97402" y="0"/>
                  </a:lnTo>
                  <a:lnTo>
                    <a:pt x="95844" y="0"/>
                  </a:lnTo>
                  <a:lnTo>
                    <a:pt x="94285" y="0"/>
                  </a:lnTo>
                  <a:lnTo>
                    <a:pt x="91948" y="0"/>
                  </a:lnTo>
                  <a:lnTo>
                    <a:pt x="90389" y="4067"/>
                  </a:lnTo>
                  <a:lnTo>
                    <a:pt x="91948" y="10169"/>
                  </a:lnTo>
                  <a:lnTo>
                    <a:pt x="90389" y="10169"/>
                  </a:lnTo>
                  <a:lnTo>
                    <a:pt x="90389" y="14237"/>
                  </a:lnTo>
                  <a:lnTo>
                    <a:pt x="88051" y="14237"/>
                  </a:lnTo>
                  <a:lnTo>
                    <a:pt x="86493" y="14237"/>
                  </a:lnTo>
                  <a:lnTo>
                    <a:pt x="86493" y="14237"/>
                  </a:lnTo>
                  <a:lnTo>
                    <a:pt x="84935" y="14237"/>
                  </a:lnTo>
                  <a:lnTo>
                    <a:pt x="84935" y="14237"/>
                  </a:lnTo>
                  <a:lnTo>
                    <a:pt x="84935" y="14237"/>
                  </a:lnTo>
                  <a:lnTo>
                    <a:pt x="82597" y="14237"/>
                  </a:lnTo>
                  <a:lnTo>
                    <a:pt x="82597" y="14237"/>
                  </a:lnTo>
                  <a:lnTo>
                    <a:pt x="81038" y="14237"/>
                  </a:lnTo>
                  <a:lnTo>
                    <a:pt x="79480" y="18305"/>
                  </a:lnTo>
                  <a:lnTo>
                    <a:pt x="79480" y="18305"/>
                  </a:lnTo>
                  <a:lnTo>
                    <a:pt x="77142" y="18305"/>
                  </a:lnTo>
                  <a:lnTo>
                    <a:pt x="77142" y="18305"/>
                  </a:lnTo>
                  <a:lnTo>
                    <a:pt x="77142" y="18305"/>
                  </a:lnTo>
                  <a:lnTo>
                    <a:pt x="77142" y="18305"/>
                  </a:lnTo>
                  <a:lnTo>
                    <a:pt x="75584" y="14237"/>
                  </a:lnTo>
                  <a:lnTo>
                    <a:pt x="75584" y="14237"/>
                  </a:lnTo>
                  <a:lnTo>
                    <a:pt x="71688" y="14237"/>
                  </a:lnTo>
                  <a:lnTo>
                    <a:pt x="70129" y="14237"/>
                  </a:lnTo>
                  <a:lnTo>
                    <a:pt x="70129" y="14237"/>
                  </a:lnTo>
                  <a:lnTo>
                    <a:pt x="70129" y="14237"/>
                  </a:lnTo>
                  <a:lnTo>
                    <a:pt x="71688" y="24406"/>
                  </a:lnTo>
                  <a:lnTo>
                    <a:pt x="71688" y="24406"/>
                  </a:lnTo>
                  <a:lnTo>
                    <a:pt x="71688" y="28474"/>
                  </a:lnTo>
                  <a:lnTo>
                    <a:pt x="71688" y="28474"/>
                  </a:lnTo>
                  <a:lnTo>
                    <a:pt x="70129" y="28474"/>
                  </a:lnTo>
                  <a:lnTo>
                    <a:pt x="70129" y="28474"/>
                  </a:lnTo>
                  <a:lnTo>
                    <a:pt x="70129" y="28474"/>
                  </a:lnTo>
                  <a:lnTo>
                    <a:pt x="70129" y="24406"/>
                  </a:lnTo>
                  <a:lnTo>
                    <a:pt x="68571" y="18305"/>
                  </a:lnTo>
                  <a:lnTo>
                    <a:pt x="66233" y="18305"/>
                  </a:lnTo>
                  <a:lnTo>
                    <a:pt x="66233" y="14237"/>
                  </a:lnTo>
                  <a:lnTo>
                    <a:pt x="64675" y="14237"/>
                  </a:lnTo>
                  <a:lnTo>
                    <a:pt x="64675" y="14237"/>
                  </a:lnTo>
                  <a:lnTo>
                    <a:pt x="64675" y="14237"/>
                  </a:lnTo>
                  <a:lnTo>
                    <a:pt x="62337" y="14237"/>
                  </a:lnTo>
                  <a:lnTo>
                    <a:pt x="60779" y="14237"/>
                  </a:lnTo>
                  <a:lnTo>
                    <a:pt x="60779" y="14237"/>
                  </a:lnTo>
                  <a:lnTo>
                    <a:pt x="59220" y="18305"/>
                  </a:lnTo>
                  <a:lnTo>
                    <a:pt x="56883" y="18305"/>
                  </a:lnTo>
                  <a:lnTo>
                    <a:pt x="56883" y="18305"/>
                  </a:lnTo>
                  <a:lnTo>
                    <a:pt x="56883" y="28474"/>
                  </a:lnTo>
                  <a:lnTo>
                    <a:pt x="56883" y="28474"/>
                  </a:lnTo>
                  <a:lnTo>
                    <a:pt x="56883" y="28474"/>
                  </a:lnTo>
                  <a:lnTo>
                    <a:pt x="55324" y="28474"/>
                  </a:lnTo>
                  <a:lnTo>
                    <a:pt x="55324" y="28474"/>
                  </a:lnTo>
                  <a:lnTo>
                    <a:pt x="55324" y="28474"/>
                  </a:lnTo>
                  <a:lnTo>
                    <a:pt x="53766" y="24406"/>
                  </a:lnTo>
                  <a:lnTo>
                    <a:pt x="51428" y="24406"/>
                  </a:lnTo>
                  <a:lnTo>
                    <a:pt x="51428" y="18305"/>
                  </a:lnTo>
                  <a:lnTo>
                    <a:pt x="49870" y="18305"/>
                  </a:lnTo>
                  <a:lnTo>
                    <a:pt x="49870" y="14237"/>
                  </a:lnTo>
                  <a:lnTo>
                    <a:pt x="48311" y="18305"/>
                  </a:lnTo>
                  <a:lnTo>
                    <a:pt x="48311" y="18305"/>
                  </a:lnTo>
                  <a:lnTo>
                    <a:pt x="48311" y="24406"/>
                  </a:lnTo>
                  <a:lnTo>
                    <a:pt x="48311" y="28474"/>
                  </a:lnTo>
                  <a:lnTo>
                    <a:pt x="45974" y="28474"/>
                  </a:lnTo>
                  <a:lnTo>
                    <a:pt x="45974" y="32542"/>
                  </a:lnTo>
                  <a:lnTo>
                    <a:pt x="44415" y="38644"/>
                  </a:lnTo>
                  <a:lnTo>
                    <a:pt x="44415" y="38644"/>
                  </a:lnTo>
                  <a:lnTo>
                    <a:pt x="44415" y="32542"/>
                  </a:lnTo>
                  <a:lnTo>
                    <a:pt x="42857" y="32542"/>
                  </a:lnTo>
                  <a:lnTo>
                    <a:pt x="42857" y="32542"/>
                  </a:lnTo>
                  <a:lnTo>
                    <a:pt x="42857" y="32542"/>
                  </a:lnTo>
                  <a:lnTo>
                    <a:pt x="40519" y="32542"/>
                  </a:lnTo>
                  <a:lnTo>
                    <a:pt x="38961" y="38644"/>
                  </a:lnTo>
                  <a:lnTo>
                    <a:pt x="38961" y="38644"/>
                  </a:lnTo>
                  <a:lnTo>
                    <a:pt x="38961" y="42711"/>
                  </a:lnTo>
                  <a:lnTo>
                    <a:pt x="38961" y="42711"/>
                  </a:lnTo>
                  <a:lnTo>
                    <a:pt x="38961" y="42711"/>
                  </a:lnTo>
                  <a:lnTo>
                    <a:pt x="36623" y="42711"/>
                  </a:lnTo>
                  <a:lnTo>
                    <a:pt x="36623" y="48813"/>
                  </a:lnTo>
                  <a:lnTo>
                    <a:pt x="36623" y="48813"/>
                  </a:lnTo>
                  <a:lnTo>
                    <a:pt x="36623" y="48813"/>
                  </a:lnTo>
                  <a:lnTo>
                    <a:pt x="35064" y="42711"/>
                  </a:lnTo>
                  <a:lnTo>
                    <a:pt x="35064" y="38644"/>
                  </a:lnTo>
                  <a:lnTo>
                    <a:pt x="35064" y="38644"/>
                  </a:lnTo>
                  <a:lnTo>
                    <a:pt x="33506" y="38644"/>
                  </a:lnTo>
                  <a:lnTo>
                    <a:pt x="33506" y="38644"/>
                  </a:lnTo>
                  <a:lnTo>
                    <a:pt x="35064" y="38644"/>
                  </a:lnTo>
                  <a:lnTo>
                    <a:pt x="35064" y="38644"/>
                  </a:lnTo>
                  <a:lnTo>
                    <a:pt x="35064" y="32542"/>
                  </a:lnTo>
                  <a:lnTo>
                    <a:pt x="35064" y="32542"/>
                  </a:lnTo>
                  <a:lnTo>
                    <a:pt x="33506" y="32542"/>
                  </a:lnTo>
                  <a:lnTo>
                    <a:pt x="33506" y="32542"/>
                  </a:lnTo>
                  <a:lnTo>
                    <a:pt x="35064" y="32542"/>
                  </a:lnTo>
                  <a:lnTo>
                    <a:pt x="33506" y="32542"/>
                  </a:lnTo>
                  <a:lnTo>
                    <a:pt x="33506" y="32542"/>
                  </a:lnTo>
                  <a:lnTo>
                    <a:pt x="31168" y="28474"/>
                  </a:lnTo>
                  <a:lnTo>
                    <a:pt x="35064" y="32542"/>
                  </a:lnTo>
                  <a:lnTo>
                    <a:pt x="35064" y="28474"/>
                  </a:lnTo>
                  <a:lnTo>
                    <a:pt x="35064" y="28474"/>
                  </a:lnTo>
                  <a:lnTo>
                    <a:pt x="36623" y="24406"/>
                  </a:lnTo>
                  <a:lnTo>
                    <a:pt x="36623" y="24406"/>
                  </a:lnTo>
                  <a:lnTo>
                    <a:pt x="36623" y="24406"/>
                  </a:lnTo>
                  <a:lnTo>
                    <a:pt x="35064" y="24406"/>
                  </a:lnTo>
                  <a:lnTo>
                    <a:pt x="35064" y="18305"/>
                  </a:lnTo>
                  <a:lnTo>
                    <a:pt x="35064" y="18305"/>
                  </a:lnTo>
                  <a:lnTo>
                    <a:pt x="36623" y="18305"/>
                  </a:lnTo>
                  <a:lnTo>
                    <a:pt x="36623" y="18305"/>
                  </a:lnTo>
                  <a:lnTo>
                    <a:pt x="33506" y="14237"/>
                  </a:lnTo>
                  <a:lnTo>
                    <a:pt x="31168" y="14237"/>
                  </a:lnTo>
                  <a:lnTo>
                    <a:pt x="31168" y="10169"/>
                  </a:lnTo>
                  <a:lnTo>
                    <a:pt x="31168" y="10169"/>
                  </a:lnTo>
                  <a:lnTo>
                    <a:pt x="29610" y="10169"/>
                  </a:lnTo>
                  <a:lnTo>
                    <a:pt x="28051" y="4067"/>
                  </a:lnTo>
                  <a:lnTo>
                    <a:pt x="25714" y="4067"/>
                  </a:lnTo>
                  <a:lnTo>
                    <a:pt x="25714" y="4067"/>
                  </a:lnTo>
                  <a:lnTo>
                    <a:pt x="24155" y="4067"/>
                  </a:lnTo>
                  <a:lnTo>
                    <a:pt x="22597" y="4067"/>
                  </a:lnTo>
                  <a:lnTo>
                    <a:pt x="20259" y="4067"/>
                  </a:lnTo>
                  <a:lnTo>
                    <a:pt x="20259" y="4067"/>
                  </a:lnTo>
                  <a:lnTo>
                    <a:pt x="18701" y="4067"/>
                  </a:lnTo>
                  <a:lnTo>
                    <a:pt x="18701" y="10169"/>
                  </a:lnTo>
                  <a:lnTo>
                    <a:pt x="20259" y="10169"/>
                  </a:lnTo>
                  <a:lnTo>
                    <a:pt x="22597" y="10169"/>
                  </a:lnTo>
                  <a:lnTo>
                    <a:pt x="24155" y="10169"/>
                  </a:lnTo>
                  <a:lnTo>
                    <a:pt x="24155" y="10169"/>
                  </a:lnTo>
                  <a:lnTo>
                    <a:pt x="24155" y="10169"/>
                  </a:lnTo>
                  <a:lnTo>
                    <a:pt x="24155" y="10169"/>
                  </a:lnTo>
                  <a:lnTo>
                    <a:pt x="25714" y="10169"/>
                  </a:lnTo>
                  <a:lnTo>
                    <a:pt x="25714" y="10169"/>
                  </a:lnTo>
                  <a:lnTo>
                    <a:pt x="22597" y="10169"/>
                  </a:lnTo>
                  <a:lnTo>
                    <a:pt x="20259" y="10169"/>
                  </a:lnTo>
                  <a:lnTo>
                    <a:pt x="20259" y="10169"/>
                  </a:lnTo>
                  <a:lnTo>
                    <a:pt x="20259" y="14237"/>
                  </a:lnTo>
                  <a:lnTo>
                    <a:pt x="20259" y="14237"/>
                  </a:lnTo>
                  <a:lnTo>
                    <a:pt x="22597" y="14237"/>
                  </a:lnTo>
                  <a:lnTo>
                    <a:pt x="25714" y="18305"/>
                  </a:lnTo>
                  <a:lnTo>
                    <a:pt x="25714" y="18305"/>
                  </a:lnTo>
                  <a:lnTo>
                    <a:pt x="25714" y="18305"/>
                  </a:lnTo>
                  <a:lnTo>
                    <a:pt x="24155" y="24406"/>
                  </a:lnTo>
                  <a:lnTo>
                    <a:pt x="24155" y="24406"/>
                  </a:lnTo>
                  <a:lnTo>
                    <a:pt x="24155" y="24406"/>
                  </a:lnTo>
                  <a:lnTo>
                    <a:pt x="22597" y="24406"/>
                  </a:lnTo>
                  <a:lnTo>
                    <a:pt x="22597" y="24406"/>
                  </a:lnTo>
                  <a:lnTo>
                    <a:pt x="22597" y="24406"/>
                  </a:lnTo>
                  <a:lnTo>
                    <a:pt x="22597" y="18305"/>
                  </a:lnTo>
                  <a:lnTo>
                    <a:pt x="22597" y="18305"/>
                  </a:lnTo>
                  <a:lnTo>
                    <a:pt x="22597" y="18305"/>
                  </a:lnTo>
                  <a:lnTo>
                    <a:pt x="22597" y="18305"/>
                  </a:lnTo>
                  <a:lnTo>
                    <a:pt x="20259" y="18305"/>
                  </a:lnTo>
                  <a:lnTo>
                    <a:pt x="20259" y="18305"/>
                  </a:lnTo>
                  <a:lnTo>
                    <a:pt x="20259" y="18305"/>
                  </a:lnTo>
                  <a:lnTo>
                    <a:pt x="18701" y="18305"/>
                  </a:lnTo>
                  <a:lnTo>
                    <a:pt x="18701" y="18305"/>
                  </a:lnTo>
                  <a:lnTo>
                    <a:pt x="18701" y="18305"/>
                  </a:lnTo>
                  <a:lnTo>
                    <a:pt x="18701" y="18305"/>
                  </a:lnTo>
                  <a:lnTo>
                    <a:pt x="18701" y="18305"/>
                  </a:lnTo>
                  <a:lnTo>
                    <a:pt x="17142" y="14237"/>
                  </a:lnTo>
                  <a:lnTo>
                    <a:pt x="14805" y="14237"/>
                  </a:lnTo>
                  <a:lnTo>
                    <a:pt x="14805" y="14237"/>
                  </a:lnTo>
                  <a:lnTo>
                    <a:pt x="13246" y="14237"/>
                  </a:lnTo>
                  <a:lnTo>
                    <a:pt x="13246" y="14237"/>
                  </a:lnTo>
                  <a:lnTo>
                    <a:pt x="13246" y="14237"/>
                  </a:lnTo>
                  <a:lnTo>
                    <a:pt x="13246" y="14237"/>
                  </a:lnTo>
                  <a:lnTo>
                    <a:pt x="13246" y="14237"/>
                  </a:lnTo>
                  <a:lnTo>
                    <a:pt x="13246" y="18305"/>
                  </a:lnTo>
                  <a:lnTo>
                    <a:pt x="14805" y="18305"/>
                  </a:lnTo>
                  <a:lnTo>
                    <a:pt x="13246" y="18305"/>
                  </a:lnTo>
                  <a:lnTo>
                    <a:pt x="10909" y="18305"/>
                  </a:lnTo>
                  <a:lnTo>
                    <a:pt x="10909" y="18305"/>
                  </a:lnTo>
                  <a:lnTo>
                    <a:pt x="10909" y="18305"/>
                  </a:lnTo>
                  <a:lnTo>
                    <a:pt x="10909" y="18305"/>
                  </a:lnTo>
                  <a:lnTo>
                    <a:pt x="10909" y="18305"/>
                  </a:lnTo>
                  <a:lnTo>
                    <a:pt x="10909" y="24406"/>
                  </a:lnTo>
                  <a:lnTo>
                    <a:pt x="13246" y="24406"/>
                  </a:lnTo>
                  <a:lnTo>
                    <a:pt x="9350" y="24406"/>
                  </a:lnTo>
                  <a:lnTo>
                    <a:pt x="9350" y="24406"/>
                  </a:lnTo>
                  <a:lnTo>
                    <a:pt x="9350" y="24406"/>
                  </a:lnTo>
                  <a:lnTo>
                    <a:pt x="9350" y="28474"/>
                  </a:lnTo>
                  <a:lnTo>
                    <a:pt x="9350" y="28474"/>
                  </a:lnTo>
                  <a:lnTo>
                    <a:pt x="10909" y="28474"/>
                  </a:lnTo>
                  <a:lnTo>
                    <a:pt x="14805" y="28474"/>
                  </a:lnTo>
                  <a:lnTo>
                    <a:pt x="14805" y="28474"/>
                  </a:lnTo>
                  <a:lnTo>
                    <a:pt x="13246" y="28474"/>
                  </a:lnTo>
                  <a:lnTo>
                    <a:pt x="13246" y="32542"/>
                  </a:lnTo>
                  <a:lnTo>
                    <a:pt x="10909" y="32542"/>
                  </a:lnTo>
                  <a:lnTo>
                    <a:pt x="7792" y="28474"/>
                  </a:lnTo>
                  <a:lnTo>
                    <a:pt x="5454" y="28474"/>
                  </a:lnTo>
                  <a:lnTo>
                    <a:pt x="5454" y="28474"/>
                  </a:lnTo>
                  <a:lnTo>
                    <a:pt x="5454" y="28474"/>
                  </a:lnTo>
                  <a:lnTo>
                    <a:pt x="5454" y="28474"/>
                  </a:lnTo>
                  <a:lnTo>
                    <a:pt x="5454" y="32542"/>
                  </a:lnTo>
                  <a:lnTo>
                    <a:pt x="5454" y="32542"/>
                  </a:lnTo>
                  <a:lnTo>
                    <a:pt x="5454" y="32542"/>
                  </a:lnTo>
                  <a:lnTo>
                    <a:pt x="7792" y="38644"/>
                  </a:lnTo>
                  <a:lnTo>
                    <a:pt x="5454" y="38644"/>
                  </a:lnTo>
                  <a:lnTo>
                    <a:pt x="3896" y="32542"/>
                  </a:lnTo>
                  <a:lnTo>
                    <a:pt x="3896" y="32542"/>
                  </a:lnTo>
                  <a:lnTo>
                    <a:pt x="2337" y="32542"/>
                  </a:lnTo>
                  <a:lnTo>
                    <a:pt x="0" y="38644"/>
                  </a:lnTo>
                  <a:lnTo>
                    <a:pt x="0" y="38644"/>
                  </a:lnTo>
                  <a:lnTo>
                    <a:pt x="3896" y="38644"/>
                  </a:lnTo>
                  <a:lnTo>
                    <a:pt x="5454" y="42711"/>
                  </a:lnTo>
                  <a:lnTo>
                    <a:pt x="5454" y="42711"/>
                  </a:lnTo>
                  <a:lnTo>
                    <a:pt x="7792" y="42711"/>
                  </a:lnTo>
                  <a:lnTo>
                    <a:pt x="9350" y="38644"/>
                  </a:lnTo>
                  <a:lnTo>
                    <a:pt x="14805" y="38644"/>
                  </a:lnTo>
                  <a:lnTo>
                    <a:pt x="18701" y="32542"/>
                  </a:lnTo>
                  <a:lnTo>
                    <a:pt x="18701" y="38644"/>
                  </a:lnTo>
                  <a:lnTo>
                    <a:pt x="20259" y="38644"/>
                  </a:lnTo>
                  <a:lnTo>
                    <a:pt x="24155" y="38644"/>
                  </a:lnTo>
                  <a:lnTo>
                    <a:pt x="24155" y="38644"/>
                  </a:lnTo>
                  <a:lnTo>
                    <a:pt x="28051" y="38644"/>
                  </a:lnTo>
                  <a:lnTo>
                    <a:pt x="29610" y="38644"/>
                  </a:lnTo>
                  <a:lnTo>
                    <a:pt x="29610" y="42711"/>
                  </a:lnTo>
                  <a:lnTo>
                    <a:pt x="28051" y="42711"/>
                  </a:lnTo>
                  <a:lnTo>
                    <a:pt x="25714" y="42711"/>
                  </a:lnTo>
                  <a:lnTo>
                    <a:pt x="24155" y="48813"/>
                  </a:lnTo>
                  <a:lnTo>
                    <a:pt x="22597" y="48813"/>
                  </a:lnTo>
                  <a:lnTo>
                    <a:pt x="20259" y="48813"/>
                  </a:lnTo>
                  <a:lnTo>
                    <a:pt x="22597" y="52881"/>
                  </a:lnTo>
                  <a:lnTo>
                    <a:pt x="25714" y="52881"/>
                  </a:lnTo>
                  <a:lnTo>
                    <a:pt x="25714" y="52881"/>
                  </a:lnTo>
                  <a:lnTo>
                    <a:pt x="29610" y="52881"/>
                  </a:lnTo>
                  <a:lnTo>
                    <a:pt x="29610" y="52881"/>
                  </a:lnTo>
                  <a:lnTo>
                    <a:pt x="28051" y="52881"/>
                  </a:lnTo>
                  <a:lnTo>
                    <a:pt x="28051" y="52881"/>
                  </a:lnTo>
                  <a:lnTo>
                    <a:pt x="28051" y="56949"/>
                  </a:lnTo>
                  <a:lnTo>
                    <a:pt x="22597" y="56949"/>
                  </a:lnTo>
                  <a:lnTo>
                    <a:pt x="20259" y="56949"/>
                  </a:lnTo>
                  <a:lnTo>
                    <a:pt x="18701" y="56949"/>
                  </a:lnTo>
                  <a:lnTo>
                    <a:pt x="18701" y="56949"/>
                  </a:lnTo>
                  <a:lnTo>
                    <a:pt x="17142" y="56949"/>
                  </a:lnTo>
                  <a:lnTo>
                    <a:pt x="17142" y="56949"/>
                  </a:lnTo>
                  <a:lnTo>
                    <a:pt x="17142" y="56949"/>
                  </a:lnTo>
                  <a:lnTo>
                    <a:pt x="17142" y="56949"/>
                  </a:lnTo>
                  <a:lnTo>
                    <a:pt x="13246" y="56949"/>
                  </a:lnTo>
                  <a:lnTo>
                    <a:pt x="13246" y="56949"/>
                  </a:lnTo>
                  <a:lnTo>
                    <a:pt x="13246" y="56949"/>
                  </a:lnTo>
                  <a:lnTo>
                    <a:pt x="13246" y="56949"/>
                  </a:lnTo>
                  <a:lnTo>
                    <a:pt x="10909" y="56949"/>
                  </a:lnTo>
                  <a:lnTo>
                    <a:pt x="10909" y="56949"/>
                  </a:lnTo>
                  <a:lnTo>
                    <a:pt x="9350" y="56949"/>
                  </a:lnTo>
                  <a:lnTo>
                    <a:pt x="7792" y="63050"/>
                  </a:lnTo>
                  <a:lnTo>
                    <a:pt x="5454" y="63050"/>
                  </a:lnTo>
                  <a:lnTo>
                    <a:pt x="3896" y="63050"/>
                  </a:lnTo>
                  <a:lnTo>
                    <a:pt x="3896" y="63050"/>
                  </a:lnTo>
                  <a:lnTo>
                    <a:pt x="2337" y="63050"/>
                  </a:lnTo>
                  <a:lnTo>
                    <a:pt x="3896" y="63050"/>
                  </a:lnTo>
                  <a:lnTo>
                    <a:pt x="3896" y="67118"/>
                  </a:lnTo>
                  <a:lnTo>
                    <a:pt x="3896" y="67118"/>
                  </a:lnTo>
                  <a:lnTo>
                    <a:pt x="3896" y="67118"/>
                  </a:lnTo>
                  <a:lnTo>
                    <a:pt x="5454" y="67118"/>
                  </a:lnTo>
                  <a:lnTo>
                    <a:pt x="9350" y="63050"/>
                  </a:lnTo>
                  <a:lnTo>
                    <a:pt x="9350" y="63050"/>
                  </a:lnTo>
                  <a:lnTo>
                    <a:pt x="17142" y="67118"/>
                  </a:lnTo>
                  <a:lnTo>
                    <a:pt x="20259" y="67118"/>
                  </a:lnTo>
                  <a:lnTo>
                    <a:pt x="22597" y="67118"/>
                  </a:lnTo>
                  <a:lnTo>
                    <a:pt x="22597" y="67118"/>
                  </a:lnTo>
                  <a:lnTo>
                    <a:pt x="22597" y="67118"/>
                  </a:lnTo>
                  <a:lnTo>
                    <a:pt x="20259" y="71186"/>
                  </a:lnTo>
                  <a:lnTo>
                    <a:pt x="20259" y="71186"/>
                  </a:lnTo>
                  <a:lnTo>
                    <a:pt x="20259" y="71186"/>
                  </a:lnTo>
                  <a:lnTo>
                    <a:pt x="22597" y="71186"/>
                  </a:lnTo>
                  <a:lnTo>
                    <a:pt x="22597" y="77288"/>
                  </a:lnTo>
                  <a:lnTo>
                    <a:pt x="22597" y="77288"/>
                  </a:lnTo>
                  <a:lnTo>
                    <a:pt x="24155" y="71186"/>
                  </a:lnTo>
                  <a:lnTo>
                    <a:pt x="28051" y="71186"/>
                  </a:lnTo>
                  <a:lnTo>
                    <a:pt x="28051" y="71186"/>
                  </a:lnTo>
                  <a:lnTo>
                    <a:pt x="29610" y="71186"/>
                  </a:lnTo>
                  <a:lnTo>
                    <a:pt x="28051" y="71186"/>
                  </a:lnTo>
                  <a:lnTo>
                    <a:pt x="28051" y="71186"/>
                  </a:lnTo>
                  <a:lnTo>
                    <a:pt x="24155" y="77288"/>
                  </a:lnTo>
                  <a:lnTo>
                    <a:pt x="24155" y="77288"/>
                  </a:lnTo>
                  <a:lnTo>
                    <a:pt x="24155" y="81355"/>
                  </a:lnTo>
                  <a:lnTo>
                    <a:pt x="24155" y="81355"/>
                  </a:lnTo>
                  <a:lnTo>
                    <a:pt x="24155" y="81355"/>
                  </a:lnTo>
                  <a:lnTo>
                    <a:pt x="24155" y="81355"/>
                  </a:lnTo>
                  <a:lnTo>
                    <a:pt x="22597" y="81355"/>
                  </a:lnTo>
                  <a:lnTo>
                    <a:pt x="22597" y="81355"/>
                  </a:lnTo>
                  <a:lnTo>
                    <a:pt x="24155" y="81355"/>
                  </a:lnTo>
                  <a:lnTo>
                    <a:pt x="28051" y="81355"/>
                  </a:lnTo>
                  <a:lnTo>
                    <a:pt x="28051" y="81355"/>
                  </a:lnTo>
                  <a:lnTo>
                    <a:pt x="29610" y="81355"/>
                  </a:lnTo>
                  <a:lnTo>
                    <a:pt x="28051" y="81355"/>
                  </a:lnTo>
                  <a:lnTo>
                    <a:pt x="28051" y="81355"/>
                  </a:lnTo>
                  <a:lnTo>
                    <a:pt x="25714" y="81355"/>
                  </a:lnTo>
                  <a:lnTo>
                    <a:pt x="25714" y="85423"/>
                  </a:lnTo>
                  <a:lnTo>
                    <a:pt x="24155" y="85423"/>
                  </a:lnTo>
                  <a:lnTo>
                    <a:pt x="24155" y="85423"/>
                  </a:lnTo>
                  <a:lnTo>
                    <a:pt x="24155" y="91525"/>
                  </a:lnTo>
                  <a:lnTo>
                    <a:pt x="22597" y="91525"/>
                  </a:lnTo>
                  <a:lnTo>
                    <a:pt x="22597" y="91525"/>
                  </a:lnTo>
                  <a:lnTo>
                    <a:pt x="20259" y="95593"/>
                  </a:lnTo>
                  <a:lnTo>
                    <a:pt x="17142" y="95593"/>
                  </a:lnTo>
                  <a:lnTo>
                    <a:pt x="17142" y="95593"/>
                  </a:lnTo>
                  <a:lnTo>
                    <a:pt x="14805" y="91525"/>
                  </a:lnTo>
                  <a:lnTo>
                    <a:pt x="14805" y="91525"/>
                  </a:lnTo>
                  <a:lnTo>
                    <a:pt x="14805" y="91525"/>
                  </a:lnTo>
                  <a:lnTo>
                    <a:pt x="14805" y="95593"/>
                  </a:lnTo>
                  <a:lnTo>
                    <a:pt x="13246" y="95593"/>
                  </a:lnTo>
                  <a:lnTo>
                    <a:pt x="13246" y="95593"/>
                  </a:lnTo>
                  <a:lnTo>
                    <a:pt x="13246" y="101694"/>
                  </a:lnTo>
                  <a:lnTo>
                    <a:pt x="14805" y="101694"/>
                  </a:lnTo>
                  <a:lnTo>
                    <a:pt x="14805" y="101694"/>
                  </a:lnTo>
                  <a:lnTo>
                    <a:pt x="17142" y="101694"/>
                  </a:lnTo>
                  <a:lnTo>
                    <a:pt x="28051" y="101694"/>
                  </a:lnTo>
                  <a:lnTo>
                    <a:pt x="28051" y="101694"/>
                  </a:lnTo>
                  <a:lnTo>
                    <a:pt x="29610" y="95593"/>
                  </a:lnTo>
                  <a:lnTo>
                    <a:pt x="31168" y="95593"/>
                  </a:lnTo>
                  <a:lnTo>
                    <a:pt x="31168" y="95593"/>
                  </a:lnTo>
                  <a:lnTo>
                    <a:pt x="31168" y="95593"/>
                  </a:lnTo>
                  <a:lnTo>
                    <a:pt x="31168" y="101694"/>
                  </a:lnTo>
                  <a:lnTo>
                    <a:pt x="31168" y="101694"/>
                  </a:lnTo>
                  <a:lnTo>
                    <a:pt x="33506" y="101694"/>
                  </a:lnTo>
                  <a:lnTo>
                    <a:pt x="33506" y="101694"/>
                  </a:lnTo>
                  <a:lnTo>
                    <a:pt x="35064" y="105762"/>
                  </a:lnTo>
                  <a:lnTo>
                    <a:pt x="35064" y="105762"/>
                  </a:lnTo>
                  <a:lnTo>
                    <a:pt x="36623" y="105762"/>
                  </a:lnTo>
                  <a:lnTo>
                    <a:pt x="36623" y="105762"/>
                  </a:lnTo>
                  <a:lnTo>
                    <a:pt x="38961" y="105762"/>
                  </a:lnTo>
                  <a:lnTo>
                    <a:pt x="38961" y="101694"/>
                  </a:lnTo>
                  <a:lnTo>
                    <a:pt x="38961" y="105762"/>
                  </a:lnTo>
                  <a:lnTo>
                    <a:pt x="38961" y="105762"/>
                  </a:lnTo>
                  <a:lnTo>
                    <a:pt x="38961" y="105762"/>
                  </a:lnTo>
                  <a:lnTo>
                    <a:pt x="38961" y="105762"/>
                  </a:lnTo>
                  <a:lnTo>
                    <a:pt x="36623" y="105762"/>
                  </a:lnTo>
                  <a:lnTo>
                    <a:pt x="36623" y="105762"/>
                  </a:lnTo>
                  <a:lnTo>
                    <a:pt x="36623" y="105762"/>
                  </a:lnTo>
                  <a:lnTo>
                    <a:pt x="38961" y="109830"/>
                  </a:lnTo>
                  <a:lnTo>
                    <a:pt x="40519" y="109830"/>
                  </a:lnTo>
                  <a:lnTo>
                    <a:pt x="42857" y="109830"/>
                  </a:lnTo>
                  <a:lnTo>
                    <a:pt x="44415" y="115932"/>
                  </a:lnTo>
                  <a:lnTo>
                    <a:pt x="48311" y="115932"/>
                  </a:lnTo>
                  <a:lnTo>
                    <a:pt x="49870" y="115932"/>
                  </a:lnTo>
                  <a:lnTo>
                    <a:pt x="56883" y="120000"/>
                  </a:lnTo>
                  <a:lnTo>
                    <a:pt x="60779" y="115932"/>
                  </a:lnTo>
                  <a:lnTo>
                    <a:pt x="62337" y="115932"/>
                  </a:lnTo>
                  <a:lnTo>
                    <a:pt x="62337" y="115932"/>
                  </a:lnTo>
                  <a:lnTo>
                    <a:pt x="62337" y="115932"/>
                  </a:lnTo>
                  <a:lnTo>
                    <a:pt x="62337" y="115932"/>
                  </a:lnTo>
                  <a:lnTo>
                    <a:pt x="62337" y="115932"/>
                  </a:lnTo>
                  <a:lnTo>
                    <a:pt x="62337" y="115932"/>
                  </a:lnTo>
                  <a:lnTo>
                    <a:pt x="64675" y="115932"/>
                  </a:lnTo>
                  <a:lnTo>
                    <a:pt x="66233" y="115932"/>
                  </a:lnTo>
                  <a:lnTo>
                    <a:pt x="66233" y="109830"/>
                  </a:lnTo>
                  <a:lnTo>
                    <a:pt x="66233" y="109830"/>
                  </a:lnTo>
                  <a:lnTo>
                    <a:pt x="66233" y="109830"/>
                  </a:lnTo>
                  <a:lnTo>
                    <a:pt x="66233" y="109830"/>
                  </a:lnTo>
                  <a:lnTo>
                    <a:pt x="66233" y="105762"/>
                  </a:lnTo>
                  <a:lnTo>
                    <a:pt x="68571" y="105762"/>
                  </a:lnTo>
                  <a:lnTo>
                    <a:pt x="70129" y="105762"/>
                  </a:lnTo>
                  <a:lnTo>
                    <a:pt x="75584" y="101694"/>
                  </a:lnTo>
                  <a:lnTo>
                    <a:pt x="77142" y="101694"/>
                  </a:lnTo>
                  <a:lnTo>
                    <a:pt x="79480" y="101694"/>
                  </a:lnTo>
                  <a:lnTo>
                    <a:pt x="81038" y="101694"/>
                  </a:lnTo>
                  <a:lnTo>
                    <a:pt x="82597" y="101694"/>
                  </a:lnTo>
                  <a:lnTo>
                    <a:pt x="86493" y="95593"/>
                  </a:lnTo>
                  <a:lnTo>
                    <a:pt x="88051" y="91525"/>
                  </a:lnTo>
                  <a:lnTo>
                    <a:pt x="91948" y="85423"/>
                  </a:lnTo>
                  <a:lnTo>
                    <a:pt x="95844" y="85423"/>
                  </a:lnTo>
                  <a:lnTo>
                    <a:pt x="97402" y="85423"/>
                  </a:lnTo>
                  <a:lnTo>
                    <a:pt x="101298" y="85423"/>
                  </a:lnTo>
                  <a:lnTo>
                    <a:pt x="101298" y="81355"/>
                  </a:lnTo>
                  <a:lnTo>
                    <a:pt x="102857" y="81355"/>
                  </a:lnTo>
                  <a:lnTo>
                    <a:pt x="105194" y="81355"/>
                  </a:lnTo>
                  <a:lnTo>
                    <a:pt x="106753" y="77288"/>
                  </a:lnTo>
                  <a:lnTo>
                    <a:pt x="106753" y="77288"/>
                  </a:lnTo>
                  <a:lnTo>
                    <a:pt x="108311" y="77288"/>
                  </a:lnTo>
                  <a:lnTo>
                    <a:pt x="108311" y="71186"/>
                  </a:lnTo>
                  <a:lnTo>
                    <a:pt x="108311" y="71186"/>
                  </a:lnTo>
                  <a:lnTo>
                    <a:pt x="108311" y="71186"/>
                  </a:lnTo>
                  <a:lnTo>
                    <a:pt x="108311" y="71186"/>
                  </a:lnTo>
                  <a:lnTo>
                    <a:pt x="108311" y="67118"/>
                  </a:lnTo>
                  <a:lnTo>
                    <a:pt x="110649" y="67118"/>
                  </a:lnTo>
                  <a:lnTo>
                    <a:pt x="112207" y="67118"/>
                  </a:lnTo>
                  <a:lnTo>
                    <a:pt x="112207" y="67118"/>
                  </a:lnTo>
                  <a:lnTo>
                    <a:pt x="113766" y="67118"/>
                  </a:lnTo>
                  <a:lnTo>
                    <a:pt x="116103" y="63050"/>
                  </a:lnTo>
                  <a:lnTo>
                    <a:pt x="116103" y="63050"/>
                  </a:lnTo>
                  <a:lnTo>
                    <a:pt x="116103" y="56949"/>
                  </a:lnTo>
                  <a:lnTo>
                    <a:pt x="116103" y="56949"/>
                  </a:lnTo>
                  <a:lnTo>
                    <a:pt x="116103" y="56949"/>
                  </a:lnTo>
                  <a:lnTo>
                    <a:pt x="117662" y="56949"/>
                  </a:lnTo>
                  <a:lnTo>
                    <a:pt x="117662" y="56949"/>
                  </a:lnTo>
                  <a:lnTo>
                    <a:pt x="120000" y="52881"/>
                  </a:lnTo>
                  <a:lnTo>
                    <a:pt x="120000" y="52881"/>
                  </a:lnTo>
                  <a:lnTo>
                    <a:pt x="120000" y="52881"/>
                  </a:lnTo>
                  <a:lnTo>
                    <a:pt x="120000" y="52881"/>
                  </a:lnTo>
                  <a:lnTo>
                    <a:pt x="117662" y="48813"/>
                  </a:lnTo>
                  <a:lnTo>
                    <a:pt x="117662" y="48813"/>
                  </a:lnTo>
                  <a:lnTo>
                    <a:pt x="117662" y="48813"/>
                  </a:lnTo>
                  <a:lnTo>
                    <a:pt x="117662" y="48813"/>
                  </a:lnTo>
                  <a:lnTo>
                    <a:pt x="117662" y="48813"/>
                  </a:lnTo>
                  <a:lnTo>
                    <a:pt x="117662" y="48813"/>
                  </a:lnTo>
                  <a:lnTo>
                    <a:pt x="117662" y="48813"/>
                  </a:lnTo>
                  <a:lnTo>
                    <a:pt x="117662" y="48813"/>
                  </a:lnTo>
                  <a:lnTo>
                    <a:pt x="117662" y="42711"/>
                  </a:lnTo>
                  <a:lnTo>
                    <a:pt x="117662" y="42711"/>
                  </a:lnTo>
                  <a:lnTo>
                    <a:pt x="117662" y="42711"/>
                  </a:lnTo>
                  <a:lnTo>
                    <a:pt x="117662" y="42711"/>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71" name="Shape 471"/>
            <p:cNvSpPr/>
            <p:nvPr/>
          </p:nvSpPr>
          <p:spPr>
            <a:xfrm>
              <a:off x="3940" y="1786"/>
              <a:ext cx="0" cy="0"/>
            </a:xfrm>
            <a:custGeom>
              <a:avLst/>
              <a:gdLst/>
              <a:ahLst/>
              <a:cxnLst/>
              <a:rect l="0" t="0" r="0" b="0"/>
              <a:pathLst>
                <a:path w="120000" h="120000" extrusionOk="0">
                  <a:moveTo>
                    <a:pt x="120000" y="25263"/>
                  </a:moveTo>
                  <a:lnTo>
                    <a:pt x="120000" y="25263"/>
                  </a:lnTo>
                  <a:lnTo>
                    <a:pt x="120000" y="25263"/>
                  </a:lnTo>
                  <a:lnTo>
                    <a:pt x="120000" y="21052"/>
                  </a:lnTo>
                  <a:lnTo>
                    <a:pt x="117837" y="21052"/>
                  </a:lnTo>
                  <a:lnTo>
                    <a:pt x="117837" y="21052"/>
                  </a:lnTo>
                  <a:lnTo>
                    <a:pt x="117837" y="21052"/>
                  </a:lnTo>
                  <a:lnTo>
                    <a:pt x="117837" y="21052"/>
                  </a:lnTo>
                  <a:lnTo>
                    <a:pt x="117837" y="21052"/>
                  </a:lnTo>
                  <a:lnTo>
                    <a:pt x="115675" y="21052"/>
                  </a:lnTo>
                  <a:lnTo>
                    <a:pt x="115675" y="14736"/>
                  </a:lnTo>
                  <a:lnTo>
                    <a:pt x="112432" y="14736"/>
                  </a:lnTo>
                  <a:lnTo>
                    <a:pt x="110270" y="14736"/>
                  </a:lnTo>
                  <a:lnTo>
                    <a:pt x="110270" y="10526"/>
                  </a:lnTo>
                  <a:lnTo>
                    <a:pt x="110270" y="10526"/>
                  </a:lnTo>
                  <a:lnTo>
                    <a:pt x="110270" y="10526"/>
                  </a:lnTo>
                  <a:lnTo>
                    <a:pt x="110270" y="10526"/>
                  </a:lnTo>
                  <a:lnTo>
                    <a:pt x="110270" y="6315"/>
                  </a:lnTo>
                  <a:lnTo>
                    <a:pt x="107027" y="6315"/>
                  </a:lnTo>
                  <a:lnTo>
                    <a:pt x="107027" y="6315"/>
                  </a:lnTo>
                  <a:lnTo>
                    <a:pt x="107027" y="6315"/>
                  </a:lnTo>
                  <a:lnTo>
                    <a:pt x="107027" y="6315"/>
                  </a:lnTo>
                  <a:lnTo>
                    <a:pt x="99459" y="10526"/>
                  </a:lnTo>
                  <a:lnTo>
                    <a:pt x="99459" y="10526"/>
                  </a:lnTo>
                  <a:lnTo>
                    <a:pt x="99459" y="6315"/>
                  </a:lnTo>
                  <a:lnTo>
                    <a:pt x="97297" y="6315"/>
                  </a:lnTo>
                  <a:lnTo>
                    <a:pt x="97297" y="6315"/>
                  </a:lnTo>
                  <a:lnTo>
                    <a:pt x="97297" y="6315"/>
                  </a:lnTo>
                  <a:lnTo>
                    <a:pt x="97297" y="0"/>
                  </a:lnTo>
                  <a:lnTo>
                    <a:pt x="95135" y="0"/>
                  </a:lnTo>
                  <a:lnTo>
                    <a:pt x="95135" y="0"/>
                  </a:lnTo>
                  <a:lnTo>
                    <a:pt x="95135" y="0"/>
                  </a:lnTo>
                  <a:lnTo>
                    <a:pt x="89729" y="0"/>
                  </a:lnTo>
                  <a:lnTo>
                    <a:pt x="87567" y="0"/>
                  </a:lnTo>
                  <a:lnTo>
                    <a:pt x="87567" y="0"/>
                  </a:lnTo>
                  <a:lnTo>
                    <a:pt x="84324" y="0"/>
                  </a:lnTo>
                  <a:lnTo>
                    <a:pt x="80000" y="0"/>
                  </a:lnTo>
                  <a:lnTo>
                    <a:pt x="76756" y="0"/>
                  </a:lnTo>
                  <a:lnTo>
                    <a:pt x="76756" y="0"/>
                  </a:lnTo>
                  <a:lnTo>
                    <a:pt x="74594" y="10526"/>
                  </a:lnTo>
                  <a:lnTo>
                    <a:pt x="71351" y="14736"/>
                  </a:lnTo>
                  <a:lnTo>
                    <a:pt x="69189" y="14736"/>
                  </a:lnTo>
                  <a:lnTo>
                    <a:pt x="67027" y="21052"/>
                  </a:lnTo>
                  <a:lnTo>
                    <a:pt x="67027" y="14736"/>
                  </a:lnTo>
                  <a:lnTo>
                    <a:pt x="63783" y="14736"/>
                  </a:lnTo>
                  <a:lnTo>
                    <a:pt x="61621" y="14736"/>
                  </a:lnTo>
                  <a:lnTo>
                    <a:pt x="61621" y="14736"/>
                  </a:lnTo>
                  <a:lnTo>
                    <a:pt x="61621" y="14736"/>
                  </a:lnTo>
                  <a:lnTo>
                    <a:pt x="59459" y="21052"/>
                  </a:lnTo>
                  <a:lnTo>
                    <a:pt x="56216" y="21052"/>
                  </a:lnTo>
                  <a:lnTo>
                    <a:pt x="51891" y="21052"/>
                  </a:lnTo>
                  <a:lnTo>
                    <a:pt x="48648" y="25263"/>
                  </a:lnTo>
                  <a:lnTo>
                    <a:pt x="48648" y="25263"/>
                  </a:lnTo>
                  <a:lnTo>
                    <a:pt x="48648" y="29473"/>
                  </a:lnTo>
                  <a:lnTo>
                    <a:pt x="48648" y="29473"/>
                  </a:lnTo>
                  <a:lnTo>
                    <a:pt x="48648" y="29473"/>
                  </a:lnTo>
                  <a:lnTo>
                    <a:pt x="46486" y="35789"/>
                  </a:lnTo>
                  <a:lnTo>
                    <a:pt x="44324" y="35789"/>
                  </a:lnTo>
                  <a:lnTo>
                    <a:pt x="35675" y="35789"/>
                  </a:lnTo>
                  <a:lnTo>
                    <a:pt x="33513" y="35789"/>
                  </a:lnTo>
                  <a:lnTo>
                    <a:pt x="31351" y="35789"/>
                  </a:lnTo>
                  <a:lnTo>
                    <a:pt x="28108" y="29473"/>
                  </a:lnTo>
                  <a:lnTo>
                    <a:pt x="25945" y="29473"/>
                  </a:lnTo>
                  <a:lnTo>
                    <a:pt x="23783" y="25263"/>
                  </a:lnTo>
                  <a:lnTo>
                    <a:pt x="20540" y="25263"/>
                  </a:lnTo>
                  <a:lnTo>
                    <a:pt x="20540" y="25263"/>
                  </a:lnTo>
                  <a:lnTo>
                    <a:pt x="20540" y="25263"/>
                  </a:lnTo>
                  <a:lnTo>
                    <a:pt x="18378" y="25263"/>
                  </a:lnTo>
                  <a:lnTo>
                    <a:pt x="18378" y="25263"/>
                  </a:lnTo>
                  <a:lnTo>
                    <a:pt x="18378" y="29473"/>
                  </a:lnTo>
                  <a:lnTo>
                    <a:pt x="18378" y="29473"/>
                  </a:lnTo>
                  <a:lnTo>
                    <a:pt x="18378" y="29473"/>
                  </a:lnTo>
                  <a:lnTo>
                    <a:pt x="18378" y="29473"/>
                  </a:lnTo>
                  <a:lnTo>
                    <a:pt x="18378" y="35789"/>
                  </a:lnTo>
                  <a:lnTo>
                    <a:pt x="18378" y="35789"/>
                  </a:lnTo>
                  <a:lnTo>
                    <a:pt x="16216" y="35789"/>
                  </a:lnTo>
                  <a:lnTo>
                    <a:pt x="12972" y="35789"/>
                  </a:lnTo>
                  <a:lnTo>
                    <a:pt x="12972" y="35789"/>
                  </a:lnTo>
                  <a:lnTo>
                    <a:pt x="12972" y="40000"/>
                  </a:lnTo>
                  <a:lnTo>
                    <a:pt x="12972" y="35789"/>
                  </a:lnTo>
                  <a:lnTo>
                    <a:pt x="10810" y="35789"/>
                  </a:lnTo>
                  <a:lnTo>
                    <a:pt x="10810" y="35789"/>
                  </a:lnTo>
                  <a:lnTo>
                    <a:pt x="8648" y="35789"/>
                  </a:lnTo>
                  <a:lnTo>
                    <a:pt x="8648" y="35789"/>
                  </a:lnTo>
                  <a:lnTo>
                    <a:pt x="8648" y="35789"/>
                  </a:lnTo>
                  <a:lnTo>
                    <a:pt x="5405" y="40000"/>
                  </a:lnTo>
                  <a:lnTo>
                    <a:pt x="5405" y="40000"/>
                  </a:lnTo>
                  <a:lnTo>
                    <a:pt x="10810" y="40000"/>
                  </a:lnTo>
                  <a:lnTo>
                    <a:pt x="10810" y="46315"/>
                  </a:lnTo>
                  <a:lnTo>
                    <a:pt x="10810" y="46315"/>
                  </a:lnTo>
                  <a:lnTo>
                    <a:pt x="10810" y="50526"/>
                  </a:lnTo>
                  <a:lnTo>
                    <a:pt x="10810" y="50526"/>
                  </a:lnTo>
                  <a:lnTo>
                    <a:pt x="8648" y="50526"/>
                  </a:lnTo>
                  <a:lnTo>
                    <a:pt x="8648" y="50526"/>
                  </a:lnTo>
                  <a:lnTo>
                    <a:pt x="8648" y="50526"/>
                  </a:lnTo>
                  <a:lnTo>
                    <a:pt x="8648" y="54736"/>
                  </a:lnTo>
                  <a:lnTo>
                    <a:pt x="8648" y="54736"/>
                  </a:lnTo>
                  <a:lnTo>
                    <a:pt x="5405" y="61052"/>
                  </a:lnTo>
                  <a:lnTo>
                    <a:pt x="8648" y="61052"/>
                  </a:lnTo>
                  <a:lnTo>
                    <a:pt x="8648" y="61052"/>
                  </a:lnTo>
                  <a:lnTo>
                    <a:pt x="8648" y="61052"/>
                  </a:lnTo>
                  <a:lnTo>
                    <a:pt x="8648" y="65263"/>
                  </a:lnTo>
                  <a:lnTo>
                    <a:pt x="8648" y="65263"/>
                  </a:lnTo>
                  <a:lnTo>
                    <a:pt x="8648" y="65263"/>
                  </a:lnTo>
                  <a:lnTo>
                    <a:pt x="8648" y="65263"/>
                  </a:lnTo>
                  <a:lnTo>
                    <a:pt x="8648" y="69473"/>
                  </a:lnTo>
                  <a:lnTo>
                    <a:pt x="5405" y="65263"/>
                  </a:lnTo>
                  <a:lnTo>
                    <a:pt x="3243" y="69473"/>
                  </a:lnTo>
                  <a:lnTo>
                    <a:pt x="0" y="75789"/>
                  </a:lnTo>
                  <a:lnTo>
                    <a:pt x="5405" y="75789"/>
                  </a:lnTo>
                  <a:lnTo>
                    <a:pt x="5405" y="75789"/>
                  </a:lnTo>
                  <a:lnTo>
                    <a:pt x="5405" y="75789"/>
                  </a:lnTo>
                  <a:lnTo>
                    <a:pt x="5405" y="80000"/>
                  </a:lnTo>
                  <a:lnTo>
                    <a:pt x="5405" y="80000"/>
                  </a:lnTo>
                  <a:lnTo>
                    <a:pt x="5405" y="80000"/>
                  </a:lnTo>
                  <a:lnTo>
                    <a:pt x="5405" y="84210"/>
                  </a:lnTo>
                  <a:lnTo>
                    <a:pt x="8648" y="84210"/>
                  </a:lnTo>
                  <a:lnTo>
                    <a:pt x="8648" y="90526"/>
                  </a:lnTo>
                  <a:lnTo>
                    <a:pt x="8648" y="90526"/>
                  </a:lnTo>
                  <a:lnTo>
                    <a:pt x="10810" y="90526"/>
                  </a:lnTo>
                  <a:lnTo>
                    <a:pt x="12972" y="94736"/>
                  </a:lnTo>
                  <a:lnTo>
                    <a:pt x="16216" y="94736"/>
                  </a:lnTo>
                  <a:lnTo>
                    <a:pt x="16216" y="101052"/>
                  </a:lnTo>
                  <a:lnTo>
                    <a:pt x="18378" y="105263"/>
                  </a:lnTo>
                  <a:lnTo>
                    <a:pt x="20540" y="105263"/>
                  </a:lnTo>
                  <a:lnTo>
                    <a:pt x="23783" y="109473"/>
                  </a:lnTo>
                  <a:lnTo>
                    <a:pt x="23783" y="109473"/>
                  </a:lnTo>
                  <a:lnTo>
                    <a:pt x="25945" y="115789"/>
                  </a:lnTo>
                  <a:lnTo>
                    <a:pt x="28108" y="115789"/>
                  </a:lnTo>
                  <a:lnTo>
                    <a:pt x="28108" y="115789"/>
                  </a:lnTo>
                  <a:lnTo>
                    <a:pt x="28108" y="115789"/>
                  </a:lnTo>
                  <a:lnTo>
                    <a:pt x="31351" y="119999"/>
                  </a:lnTo>
                  <a:lnTo>
                    <a:pt x="33513" y="119999"/>
                  </a:lnTo>
                  <a:lnTo>
                    <a:pt x="35675" y="119999"/>
                  </a:lnTo>
                  <a:lnTo>
                    <a:pt x="41081" y="119999"/>
                  </a:lnTo>
                  <a:lnTo>
                    <a:pt x="41081" y="119999"/>
                  </a:lnTo>
                  <a:lnTo>
                    <a:pt x="44324" y="119999"/>
                  </a:lnTo>
                  <a:lnTo>
                    <a:pt x="44324" y="119999"/>
                  </a:lnTo>
                  <a:lnTo>
                    <a:pt x="46486" y="119999"/>
                  </a:lnTo>
                  <a:lnTo>
                    <a:pt x="46486" y="119999"/>
                  </a:lnTo>
                  <a:lnTo>
                    <a:pt x="48648" y="115789"/>
                  </a:lnTo>
                  <a:lnTo>
                    <a:pt x="48648" y="115789"/>
                  </a:lnTo>
                  <a:lnTo>
                    <a:pt x="51891" y="115789"/>
                  </a:lnTo>
                  <a:lnTo>
                    <a:pt x="51891" y="115789"/>
                  </a:lnTo>
                  <a:lnTo>
                    <a:pt x="51891" y="115789"/>
                  </a:lnTo>
                  <a:lnTo>
                    <a:pt x="51891" y="115789"/>
                  </a:lnTo>
                  <a:lnTo>
                    <a:pt x="54054" y="115789"/>
                  </a:lnTo>
                  <a:lnTo>
                    <a:pt x="54054" y="109473"/>
                  </a:lnTo>
                  <a:lnTo>
                    <a:pt x="54054" y="109473"/>
                  </a:lnTo>
                  <a:lnTo>
                    <a:pt x="56216" y="109473"/>
                  </a:lnTo>
                  <a:lnTo>
                    <a:pt x="56216" y="109473"/>
                  </a:lnTo>
                  <a:lnTo>
                    <a:pt x="56216" y="109473"/>
                  </a:lnTo>
                  <a:lnTo>
                    <a:pt x="59459" y="109473"/>
                  </a:lnTo>
                  <a:lnTo>
                    <a:pt x="59459" y="109473"/>
                  </a:lnTo>
                  <a:lnTo>
                    <a:pt x="61621" y="109473"/>
                  </a:lnTo>
                  <a:lnTo>
                    <a:pt x="61621" y="109473"/>
                  </a:lnTo>
                  <a:lnTo>
                    <a:pt x="61621" y="105263"/>
                  </a:lnTo>
                  <a:lnTo>
                    <a:pt x="63783" y="105263"/>
                  </a:lnTo>
                  <a:lnTo>
                    <a:pt x="63783" y="105263"/>
                  </a:lnTo>
                  <a:lnTo>
                    <a:pt x="67027" y="105263"/>
                  </a:lnTo>
                  <a:lnTo>
                    <a:pt x="69189" y="105263"/>
                  </a:lnTo>
                  <a:lnTo>
                    <a:pt x="69189" y="105263"/>
                  </a:lnTo>
                  <a:lnTo>
                    <a:pt x="74594" y="105263"/>
                  </a:lnTo>
                  <a:lnTo>
                    <a:pt x="74594" y="105263"/>
                  </a:lnTo>
                  <a:lnTo>
                    <a:pt x="76756" y="105263"/>
                  </a:lnTo>
                  <a:lnTo>
                    <a:pt x="76756" y="105263"/>
                  </a:lnTo>
                  <a:lnTo>
                    <a:pt x="80000" y="105263"/>
                  </a:lnTo>
                  <a:lnTo>
                    <a:pt x="82162" y="105263"/>
                  </a:lnTo>
                  <a:lnTo>
                    <a:pt x="84324" y="105263"/>
                  </a:lnTo>
                  <a:lnTo>
                    <a:pt x="84324" y="105263"/>
                  </a:lnTo>
                  <a:lnTo>
                    <a:pt x="84324" y="105263"/>
                  </a:lnTo>
                  <a:lnTo>
                    <a:pt x="84324" y="101052"/>
                  </a:lnTo>
                  <a:lnTo>
                    <a:pt x="84324" y="101052"/>
                  </a:lnTo>
                  <a:lnTo>
                    <a:pt x="87567" y="101052"/>
                  </a:lnTo>
                  <a:lnTo>
                    <a:pt x="89729" y="101052"/>
                  </a:lnTo>
                  <a:lnTo>
                    <a:pt x="91891" y="101052"/>
                  </a:lnTo>
                  <a:lnTo>
                    <a:pt x="91891" y="101052"/>
                  </a:lnTo>
                  <a:lnTo>
                    <a:pt x="91891" y="94736"/>
                  </a:lnTo>
                  <a:lnTo>
                    <a:pt x="91891" y="94736"/>
                  </a:lnTo>
                  <a:lnTo>
                    <a:pt x="95135" y="94736"/>
                  </a:lnTo>
                  <a:lnTo>
                    <a:pt x="95135" y="90526"/>
                  </a:lnTo>
                  <a:lnTo>
                    <a:pt x="95135" y="90526"/>
                  </a:lnTo>
                  <a:lnTo>
                    <a:pt x="95135" y="84210"/>
                  </a:lnTo>
                  <a:lnTo>
                    <a:pt x="95135" y="84210"/>
                  </a:lnTo>
                  <a:lnTo>
                    <a:pt x="95135" y="84210"/>
                  </a:lnTo>
                  <a:lnTo>
                    <a:pt x="97297" y="84210"/>
                  </a:lnTo>
                  <a:lnTo>
                    <a:pt x="97297" y="80000"/>
                  </a:lnTo>
                  <a:lnTo>
                    <a:pt x="97297" y="80000"/>
                  </a:lnTo>
                  <a:lnTo>
                    <a:pt x="97297" y="75789"/>
                  </a:lnTo>
                  <a:lnTo>
                    <a:pt x="99459" y="75789"/>
                  </a:lnTo>
                  <a:lnTo>
                    <a:pt x="99459" y="69473"/>
                  </a:lnTo>
                  <a:lnTo>
                    <a:pt x="99459" y="65263"/>
                  </a:lnTo>
                  <a:lnTo>
                    <a:pt x="99459" y="65263"/>
                  </a:lnTo>
                  <a:lnTo>
                    <a:pt x="102702" y="65263"/>
                  </a:lnTo>
                  <a:lnTo>
                    <a:pt x="102702" y="61052"/>
                  </a:lnTo>
                  <a:lnTo>
                    <a:pt x="102702" y="54736"/>
                  </a:lnTo>
                  <a:lnTo>
                    <a:pt x="104864" y="54736"/>
                  </a:lnTo>
                  <a:lnTo>
                    <a:pt x="104864" y="50526"/>
                  </a:lnTo>
                  <a:lnTo>
                    <a:pt x="104864" y="50526"/>
                  </a:lnTo>
                  <a:lnTo>
                    <a:pt x="104864" y="46315"/>
                  </a:lnTo>
                  <a:lnTo>
                    <a:pt x="107027" y="46315"/>
                  </a:lnTo>
                  <a:lnTo>
                    <a:pt x="107027" y="40000"/>
                  </a:lnTo>
                  <a:lnTo>
                    <a:pt x="110270" y="40000"/>
                  </a:lnTo>
                  <a:lnTo>
                    <a:pt x="110270" y="35789"/>
                  </a:lnTo>
                  <a:lnTo>
                    <a:pt x="110270" y="35789"/>
                  </a:lnTo>
                  <a:lnTo>
                    <a:pt x="112432" y="35789"/>
                  </a:lnTo>
                  <a:lnTo>
                    <a:pt x="112432" y="35789"/>
                  </a:lnTo>
                  <a:lnTo>
                    <a:pt x="115675" y="35789"/>
                  </a:lnTo>
                  <a:lnTo>
                    <a:pt x="115675" y="35789"/>
                  </a:lnTo>
                  <a:lnTo>
                    <a:pt x="115675" y="35789"/>
                  </a:lnTo>
                  <a:lnTo>
                    <a:pt x="117837" y="35789"/>
                  </a:lnTo>
                  <a:lnTo>
                    <a:pt x="120000" y="25263"/>
                  </a:lnTo>
                  <a:lnTo>
                    <a:pt x="120000" y="25263"/>
                  </a:lnTo>
                  <a:lnTo>
                    <a:pt x="120000" y="25263"/>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72" name="Shape 472"/>
            <p:cNvSpPr/>
            <p:nvPr/>
          </p:nvSpPr>
          <p:spPr>
            <a:xfrm>
              <a:off x="2008" y="2470"/>
              <a:ext cx="0" cy="0"/>
            </a:xfrm>
            <a:custGeom>
              <a:avLst/>
              <a:gdLst/>
              <a:ahLst/>
              <a:cxnLst/>
              <a:rect l="0" t="0" r="0" b="0"/>
              <a:pathLst>
                <a:path w="120000" h="120000" extrusionOk="0">
                  <a:moveTo>
                    <a:pt x="120000" y="40000"/>
                  </a:moveTo>
                  <a:lnTo>
                    <a:pt x="117913" y="34285"/>
                  </a:lnTo>
                  <a:lnTo>
                    <a:pt x="117913" y="30476"/>
                  </a:lnTo>
                  <a:lnTo>
                    <a:pt x="112695" y="26666"/>
                  </a:lnTo>
                  <a:lnTo>
                    <a:pt x="112695" y="26666"/>
                  </a:lnTo>
                  <a:lnTo>
                    <a:pt x="115826" y="26666"/>
                  </a:lnTo>
                  <a:lnTo>
                    <a:pt x="115826" y="30476"/>
                  </a:lnTo>
                  <a:lnTo>
                    <a:pt x="115826" y="30476"/>
                  </a:lnTo>
                  <a:lnTo>
                    <a:pt x="112695" y="30476"/>
                  </a:lnTo>
                  <a:lnTo>
                    <a:pt x="112695" y="30476"/>
                  </a:lnTo>
                  <a:lnTo>
                    <a:pt x="110608" y="30476"/>
                  </a:lnTo>
                  <a:lnTo>
                    <a:pt x="110608" y="30476"/>
                  </a:lnTo>
                  <a:lnTo>
                    <a:pt x="110608" y="30476"/>
                  </a:lnTo>
                  <a:lnTo>
                    <a:pt x="108521" y="26666"/>
                  </a:lnTo>
                  <a:lnTo>
                    <a:pt x="108521" y="26666"/>
                  </a:lnTo>
                  <a:lnTo>
                    <a:pt x="105391" y="20952"/>
                  </a:lnTo>
                  <a:lnTo>
                    <a:pt x="105391" y="26666"/>
                  </a:lnTo>
                  <a:lnTo>
                    <a:pt x="103304" y="26666"/>
                  </a:lnTo>
                  <a:lnTo>
                    <a:pt x="103304" y="20952"/>
                  </a:lnTo>
                  <a:lnTo>
                    <a:pt x="103304" y="20952"/>
                  </a:lnTo>
                  <a:lnTo>
                    <a:pt x="105391" y="20952"/>
                  </a:lnTo>
                  <a:lnTo>
                    <a:pt x="108521" y="17142"/>
                  </a:lnTo>
                  <a:lnTo>
                    <a:pt x="110608" y="20952"/>
                  </a:lnTo>
                  <a:lnTo>
                    <a:pt x="110608" y="20952"/>
                  </a:lnTo>
                  <a:lnTo>
                    <a:pt x="103304" y="7619"/>
                  </a:lnTo>
                  <a:lnTo>
                    <a:pt x="98086" y="3809"/>
                  </a:lnTo>
                  <a:lnTo>
                    <a:pt x="98086" y="7619"/>
                  </a:lnTo>
                  <a:lnTo>
                    <a:pt x="98086" y="7619"/>
                  </a:lnTo>
                  <a:lnTo>
                    <a:pt x="98086" y="7619"/>
                  </a:lnTo>
                  <a:lnTo>
                    <a:pt x="98086" y="7619"/>
                  </a:lnTo>
                  <a:lnTo>
                    <a:pt x="96000" y="7619"/>
                  </a:lnTo>
                  <a:lnTo>
                    <a:pt x="96000" y="3809"/>
                  </a:lnTo>
                  <a:lnTo>
                    <a:pt x="88695" y="0"/>
                  </a:lnTo>
                  <a:lnTo>
                    <a:pt x="88695" y="0"/>
                  </a:lnTo>
                  <a:lnTo>
                    <a:pt x="85565" y="3809"/>
                  </a:lnTo>
                  <a:lnTo>
                    <a:pt x="78260" y="3809"/>
                  </a:lnTo>
                  <a:lnTo>
                    <a:pt x="74086" y="0"/>
                  </a:lnTo>
                  <a:lnTo>
                    <a:pt x="68869" y="0"/>
                  </a:lnTo>
                  <a:lnTo>
                    <a:pt x="70956" y="0"/>
                  </a:lnTo>
                  <a:lnTo>
                    <a:pt x="70956" y="3809"/>
                  </a:lnTo>
                  <a:lnTo>
                    <a:pt x="68869" y="3809"/>
                  </a:lnTo>
                  <a:lnTo>
                    <a:pt x="66782" y="3809"/>
                  </a:lnTo>
                  <a:lnTo>
                    <a:pt x="61565" y="7619"/>
                  </a:lnTo>
                  <a:lnTo>
                    <a:pt x="58434" y="7619"/>
                  </a:lnTo>
                  <a:lnTo>
                    <a:pt x="54260" y="7619"/>
                  </a:lnTo>
                  <a:lnTo>
                    <a:pt x="51130" y="7619"/>
                  </a:lnTo>
                  <a:lnTo>
                    <a:pt x="43826" y="7619"/>
                  </a:lnTo>
                  <a:lnTo>
                    <a:pt x="41739" y="7619"/>
                  </a:lnTo>
                  <a:lnTo>
                    <a:pt x="39652" y="7619"/>
                  </a:lnTo>
                  <a:lnTo>
                    <a:pt x="39652" y="7619"/>
                  </a:lnTo>
                  <a:lnTo>
                    <a:pt x="36521" y="3809"/>
                  </a:lnTo>
                  <a:lnTo>
                    <a:pt x="36521" y="3809"/>
                  </a:lnTo>
                  <a:lnTo>
                    <a:pt x="32347" y="3809"/>
                  </a:lnTo>
                  <a:lnTo>
                    <a:pt x="32347" y="3809"/>
                  </a:lnTo>
                  <a:lnTo>
                    <a:pt x="29217" y="7619"/>
                  </a:lnTo>
                  <a:lnTo>
                    <a:pt x="29217" y="7619"/>
                  </a:lnTo>
                  <a:lnTo>
                    <a:pt x="27130" y="13333"/>
                  </a:lnTo>
                  <a:lnTo>
                    <a:pt x="27130" y="13333"/>
                  </a:lnTo>
                  <a:lnTo>
                    <a:pt x="24000" y="13333"/>
                  </a:lnTo>
                  <a:lnTo>
                    <a:pt x="21913" y="17142"/>
                  </a:lnTo>
                  <a:lnTo>
                    <a:pt x="19826" y="20952"/>
                  </a:lnTo>
                  <a:lnTo>
                    <a:pt x="16695" y="26666"/>
                  </a:lnTo>
                  <a:lnTo>
                    <a:pt x="12521" y="30476"/>
                  </a:lnTo>
                  <a:lnTo>
                    <a:pt x="9391" y="34285"/>
                  </a:lnTo>
                  <a:lnTo>
                    <a:pt x="9391" y="34285"/>
                  </a:lnTo>
                  <a:lnTo>
                    <a:pt x="7304" y="34285"/>
                  </a:lnTo>
                  <a:lnTo>
                    <a:pt x="5217" y="40000"/>
                  </a:lnTo>
                  <a:lnTo>
                    <a:pt x="5217" y="43809"/>
                  </a:lnTo>
                  <a:lnTo>
                    <a:pt x="5217" y="43809"/>
                  </a:lnTo>
                  <a:lnTo>
                    <a:pt x="5217" y="49523"/>
                  </a:lnTo>
                  <a:lnTo>
                    <a:pt x="5217" y="53333"/>
                  </a:lnTo>
                  <a:lnTo>
                    <a:pt x="5217" y="57142"/>
                  </a:lnTo>
                  <a:lnTo>
                    <a:pt x="2086" y="57142"/>
                  </a:lnTo>
                  <a:lnTo>
                    <a:pt x="0" y="62857"/>
                  </a:lnTo>
                  <a:lnTo>
                    <a:pt x="0" y="62857"/>
                  </a:lnTo>
                  <a:lnTo>
                    <a:pt x="0" y="62857"/>
                  </a:lnTo>
                  <a:lnTo>
                    <a:pt x="5217" y="66666"/>
                  </a:lnTo>
                  <a:lnTo>
                    <a:pt x="5217" y="66666"/>
                  </a:lnTo>
                  <a:lnTo>
                    <a:pt x="7304" y="66666"/>
                  </a:lnTo>
                  <a:lnTo>
                    <a:pt x="7304" y="66666"/>
                  </a:lnTo>
                  <a:lnTo>
                    <a:pt x="7304" y="70476"/>
                  </a:lnTo>
                  <a:lnTo>
                    <a:pt x="9391" y="76190"/>
                  </a:lnTo>
                  <a:lnTo>
                    <a:pt x="9391" y="76190"/>
                  </a:lnTo>
                  <a:lnTo>
                    <a:pt x="12521" y="76190"/>
                  </a:lnTo>
                  <a:lnTo>
                    <a:pt x="12521" y="80000"/>
                  </a:lnTo>
                  <a:lnTo>
                    <a:pt x="12521" y="80000"/>
                  </a:lnTo>
                  <a:lnTo>
                    <a:pt x="14608" y="80000"/>
                  </a:lnTo>
                  <a:lnTo>
                    <a:pt x="14608" y="80000"/>
                  </a:lnTo>
                  <a:lnTo>
                    <a:pt x="16695" y="80000"/>
                  </a:lnTo>
                  <a:lnTo>
                    <a:pt x="16695" y="83809"/>
                  </a:lnTo>
                  <a:lnTo>
                    <a:pt x="16695" y="83809"/>
                  </a:lnTo>
                  <a:lnTo>
                    <a:pt x="16695" y="83809"/>
                  </a:lnTo>
                  <a:lnTo>
                    <a:pt x="16695" y="83809"/>
                  </a:lnTo>
                  <a:lnTo>
                    <a:pt x="19826" y="83809"/>
                  </a:lnTo>
                  <a:lnTo>
                    <a:pt x="21913" y="80000"/>
                  </a:lnTo>
                  <a:lnTo>
                    <a:pt x="24000" y="80000"/>
                  </a:lnTo>
                  <a:lnTo>
                    <a:pt x="24000" y="83809"/>
                  </a:lnTo>
                  <a:lnTo>
                    <a:pt x="24000" y="83809"/>
                  </a:lnTo>
                  <a:lnTo>
                    <a:pt x="27130" y="83809"/>
                  </a:lnTo>
                  <a:lnTo>
                    <a:pt x="29217" y="83809"/>
                  </a:lnTo>
                  <a:lnTo>
                    <a:pt x="29217" y="83809"/>
                  </a:lnTo>
                  <a:lnTo>
                    <a:pt x="32347" y="89523"/>
                  </a:lnTo>
                  <a:lnTo>
                    <a:pt x="29217" y="93333"/>
                  </a:lnTo>
                  <a:lnTo>
                    <a:pt x="29217" y="99047"/>
                  </a:lnTo>
                  <a:lnTo>
                    <a:pt x="29217" y="99047"/>
                  </a:lnTo>
                  <a:lnTo>
                    <a:pt x="29217" y="99047"/>
                  </a:lnTo>
                  <a:lnTo>
                    <a:pt x="29217" y="102857"/>
                  </a:lnTo>
                  <a:lnTo>
                    <a:pt x="29217" y="102857"/>
                  </a:lnTo>
                  <a:lnTo>
                    <a:pt x="27130" y="102857"/>
                  </a:lnTo>
                  <a:lnTo>
                    <a:pt x="29217" y="106666"/>
                  </a:lnTo>
                  <a:lnTo>
                    <a:pt x="29217" y="106666"/>
                  </a:lnTo>
                  <a:lnTo>
                    <a:pt x="32347" y="106666"/>
                  </a:lnTo>
                  <a:lnTo>
                    <a:pt x="34434" y="106666"/>
                  </a:lnTo>
                  <a:lnTo>
                    <a:pt x="34434" y="106666"/>
                  </a:lnTo>
                  <a:lnTo>
                    <a:pt x="34434" y="112380"/>
                  </a:lnTo>
                  <a:lnTo>
                    <a:pt x="34434" y="112380"/>
                  </a:lnTo>
                  <a:lnTo>
                    <a:pt x="34434" y="116190"/>
                  </a:lnTo>
                  <a:lnTo>
                    <a:pt x="36521" y="116190"/>
                  </a:lnTo>
                  <a:lnTo>
                    <a:pt x="36521" y="120000"/>
                  </a:lnTo>
                  <a:lnTo>
                    <a:pt x="41739" y="120000"/>
                  </a:lnTo>
                  <a:lnTo>
                    <a:pt x="41739" y="120000"/>
                  </a:lnTo>
                  <a:lnTo>
                    <a:pt x="43826" y="116190"/>
                  </a:lnTo>
                  <a:lnTo>
                    <a:pt x="43826" y="116190"/>
                  </a:lnTo>
                  <a:lnTo>
                    <a:pt x="43826" y="112380"/>
                  </a:lnTo>
                  <a:lnTo>
                    <a:pt x="43826" y="112380"/>
                  </a:lnTo>
                  <a:lnTo>
                    <a:pt x="46956" y="112380"/>
                  </a:lnTo>
                  <a:lnTo>
                    <a:pt x="46956" y="106666"/>
                  </a:lnTo>
                  <a:lnTo>
                    <a:pt x="49043" y="106666"/>
                  </a:lnTo>
                  <a:lnTo>
                    <a:pt x="49043" y="106666"/>
                  </a:lnTo>
                  <a:lnTo>
                    <a:pt x="49043" y="102857"/>
                  </a:lnTo>
                  <a:lnTo>
                    <a:pt x="49043" y="93333"/>
                  </a:lnTo>
                  <a:lnTo>
                    <a:pt x="49043" y="93333"/>
                  </a:lnTo>
                  <a:lnTo>
                    <a:pt x="49043" y="89523"/>
                  </a:lnTo>
                  <a:lnTo>
                    <a:pt x="49043" y="89523"/>
                  </a:lnTo>
                  <a:lnTo>
                    <a:pt x="51130" y="89523"/>
                  </a:lnTo>
                  <a:lnTo>
                    <a:pt x="56347" y="89523"/>
                  </a:lnTo>
                  <a:lnTo>
                    <a:pt x="56347" y="89523"/>
                  </a:lnTo>
                  <a:lnTo>
                    <a:pt x="58434" y="83809"/>
                  </a:lnTo>
                  <a:lnTo>
                    <a:pt x="61565" y="80000"/>
                  </a:lnTo>
                  <a:lnTo>
                    <a:pt x="61565" y="80000"/>
                  </a:lnTo>
                  <a:lnTo>
                    <a:pt x="63652" y="80000"/>
                  </a:lnTo>
                  <a:lnTo>
                    <a:pt x="63652" y="80000"/>
                  </a:lnTo>
                  <a:lnTo>
                    <a:pt x="68869" y="83809"/>
                  </a:lnTo>
                  <a:lnTo>
                    <a:pt x="68869" y="83809"/>
                  </a:lnTo>
                  <a:lnTo>
                    <a:pt x="68869" y="83809"/>
                  </a:lnTo>
                  <a:lnTo>
                    <a:pt x="68869" y="83809"/>
                  </a:lnTo>
                  <a:lnTo>
                    <a:pt x="68869" y="83809"/>
                  </a:lnTo>
                  <a:lnTo>
                    <a:pt x="70956" y="80000"/>
                  </a:lnTo>
                  <a:lnTo>
                    <a:pt x="70956" y="80000"/>
                  </a:lnTo>
                  <a:lnTo>
                    <a:pt x="74086" y="76190"/>
                  </a:lnTo>
                  <a:lnTo>
                    <a:pt x="76173" y="70476"/>
                  </a:lnTo>
                  <a:lnTo>
                    <a:pt x="78260" y="66666"/>
                  </a:lnTo>
                  <a:lnTo>
                    <a:pt x="81391" y="66666"/>
                  </a:lnTo>
                  <a:lnTo>
                    <a:pt x="81391" y="66666"/>
                  </a:lnTo>
                  <a:lnTo>
                    <a:pt x="81391" y="66666"/>
                  </a:lnTo>
                  <a:lnTo>
                    <a:pt x="81391" y="62857"/>
                  </a:lnTo>
                  <a:lnTo>
                    <a:pt x="81391" y="57142"/>
                  </a:lnTo>
                  <a:lnTo>
                    <a:pt x="83478" y="57142"/>
                  </a:lnTo>
                  <a:lnTo>
                    <a:pt x="83478" y="57142"/>
                  </a:lnTo>
                  <a:lnTo>
                    <a:pt x="83478" y="57142"/>
                  </a:lnTo>
                  <a:lnTo>
                    <a:pt x="83478" y="53333"/>
                  </a:lnTo>
                  <a:lnTo>
                    <a:pt x="83478" y="53333"/>
                  </a:lnTo>
                  <a:lnTo>
                    <a:pt x="85565" y="49523"/>
                  </a:lnTo>
                  <a:lnTo>
                    <a:pt x="88695" y="49523"/>
                  </a:lnTo>
                  <a:lnTo>
                    <a:pt x="88695" y="49523"/>
                  </a:lnTo>
                  <a:lnTo>
                    <a:pt x="90782" y="53333"/>
                  </a:lnTo>
                  <a:lnTo>
                    <a:pt x="90782" y="53333"/>
                  </a:lnTo>
                  <a:lnTo>
                    <a:pt x="92869" y="53333"/>
                  </a:lnTo>
                  <a:lnTo>
                    <a:pt x="96000" y="53333"/>
                  </a:lnTo>
                  <a:lnTo>
                    <a:pt x="96000" y="53333"/>
                  </a:lnTo>
                  <a:lnTo>
                    <a:pt x="98086" y="53333"/>
                  </a:lnTo>
                  <a:lnTo>
                    <a:pt x="98086" y="53333"/>
                  </a:lnTo>
                  <a:lnTo>
                    <a:pt x="98086" y="53333"/>
                  </a:lnTo>
                  <a:lnTo>
                    <a:pt x="98086" y="49523"/>
                  </a:lnTo>
                  <a:lnTo>
                    <a:pt x="101217" y="49523"/>
                  </a:lnTo>
                  <a:lnTo>
                    <a:pt x="101217" y="53333"/>
                  </a:lnTo>
                  <a:lnTo>
                    <a:pt x="101217" y="53333"/>
                  </a:lnTo>
                  <a:lnTo>
                    <a:pt x="103304" y="53333"/>
                  </a:lnTo>
                  <a:lnTo>
                    <a:pt x="103304" y="49523"/>
                  </a:lnTo>
                  <a:lnTo>
                    <a:pt x="103304" y="49523"/>
                  </a:lnTo>
                  <a:lnTo>
                    <a:pt x="103304" y="49523"/>
                  </a:lnTo>
                  <a:lnTo>
                    <a:pt x="105391" y="49523"/>
                  </a:lnTo>
                  <a:lnTo>
                    <a:pt x="108521" y="49523"/>
                  </a:lnTo>
                  <a:lnTo>
                    <a:pt x="110608" y="43809"/>
                  </a:lnTo>
                  <a:lnTo>
                    <a:pt x="110608" y="43809"/>
                  </a:lnTo>
                  <a:lnTo>
                    <a:pt x="110608" y="43809"/>
                  </a:lnTo>
                  <a:lnTo>
                    <a:pt x="112695" y="43809"/>
                  </a:lnTo>
                  <a:lnTo>
                    <a:pt x="112695" y="40000"/>
                  </a:lnTo>
                  <a:lnTo>
                    <a:pt x="115826" y="40000"/>
                  </a:lnTo>
                  <a:lnTo>
                    <a:pt x="120000" y="40000"/>
                  </a:lnTo>
                  <a:lnTo>
                    <a:pt x="120000" y="4000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73" name="Shape 473"/>
            <p:cNvSpPr/>
            <p:nvPr/>
          </p:nvSpPr>
          <p:spPr>
            <a:xfrm>
              <a:off x="2293" y="2387"/>
              <a:ext cx="0" cy="0"/>
            </a:xfrm>
            <a:custGeom>
              <a:avLst/>
              <a:gdLst/>
              <a:ahLst/>
              <a:cxnLst/>
              <a:rect l="0" t="0" r="0" b="0"/>
              <a:pathLst>
                <a:path w="120000" h="120000" extrusionOk="0">
                  <a:moveTo>
                    <a:pt x="71538" y="69000"/>
                  </a:moveTo>
                  <a:lnTo>
                    <a:pt x="64615" y="69000"/>
                  </a:lnTo>
                  <a:lnTo>
                    <a:pt x="60000" y="63000"/>
                  </a:lnTo>
                  <a:lnTo>
                    <a:pt x="55384" y="63000"/>
                  </a:lnTo>
                  <a:lnTo>
                    <a:pt x="55384" y="63000"/>
                  </a:lnTo>
                  <a:lnTo>
                    <a:pt x="48461" y="63000"/>
                  </a:lnTo>
                  <a:lnTo>
                    <a:pt x="60000" y="69000"/>
                  </a:lnTo>
                  <a:lnTo>
                    <a:pt x="71538" y="78000"/>
                  </a:lnTo>
                  <a:lnTo>
                    <a:pt x="71538" y="69000"/>
                  </a:lnTo>
                  <a:close/>
                  <a:moveTo>
                    <a:pt x="120000" y="42000"/>
                  </a:moveTo>
                  <a:lnTo>
                    <a:pt x="120000" y="36000"/>
                  </a:lnTo>
                  <a:lnTo>
                    <a:pt x="120000" y="36000"/>
                  </a:lnTo>
                  <a:lnTo>
                    <a:pt x="120000" y="27000"/>
                  </a:lnTo>
                  <a:lnTo>
                    <a:pt x="120000" y="15000"/>
                  </a:lnTo>
                  <a:lnTo>
                    <a:pt x="120000" y="15000"/>
                  </a:lnTo>
                  <a:lnTo>
                    <a:pt x="120000" y="15000"/>
                  </a:lnTo>
                  <a:lnTo>
                    <a:pt x="115384" y="15000"/>
                  </a:lnTo>
                  <a:lnTo>
                    <a:pt x="103846" y="15000"/>
                  </a:lnTo>
                  <a:lnTo>
                    <a:pt x="92307" y="6000"/>
                  </a:lnTo>
                  <a:lnTo>
                    <a:pt x="87692" y="0"/>
                  </a:lnTo>
                  <a:lnTo>
                    <a:pt x="76153" y="0"/>
                  </a:lnTo>
                  <a:lnTo>
                    <a:pt x="64615" y="0"/>
                  </a:lnTo>
                  <a:lnTo>
                    <a:pt x="60000" y="6000"/>
                  </a:lnTo>
                  <a:lnTo>
                    <a:pt x="55384" y="6000"/>
                  </a:lnTo>
                  <a:lnTo>
                    <a:pt x="55384" y="6000"/>
                  </a:lnTo>
                  <a:lnTo>
                    <a:pt x="48461" y="15000"/>
                  </a:lnTo>
                  <a:lnTo>
                    <a:pt x="48461" y="21000"/>
                  </a:lnTo>
                  <a:lnTo>
                    <a:pt x="55384" y="21000"/>
                  </a:lnTo>
                  <a:lnTo>
                    <a:pt x="64615" y="21000"/>
                  </a:lnTo>
                  <a:lnTo>
                    <a:pt x="71538" y="27000"/>
                  </a:lnTo>
                  <a:lnTo>
                    <a:pt x="80769" y="27000"/>
                  </a:lnTo>
                  <a:lnTo>
                    <a:pt x="76153" y="36000"/>
                  </a:lnTo>
                  <a:lnTo>
                    <a:pt x="76153" y="42000"/>
                  </a:lnTo>
                  <a:lnTo>
                    <a:pt x="76153" y="48000"/>
                  </a:lnTo>
                  <a:lnTo>
                    <a:pt x="71538" y="57000"/>
                  </a:lnTo>
                  <a:lnTo>
                    <a:pt x="76153" y="63000"/>
                  </a:lnTo>
                  <a:lnTo>
                    <a:pt x="87692" y="78000"/>
                  </a:lnTo>
                  <a:lnTo>
                    <a:pt x="87692" y="78000"/>
                  </a:lnTo>
                  <a:lnTo>
                    <a:pt x="87692" y="84000"/>
                  </a:lnTo>
                  <a:lnTo>
                    <a:pt x="87692" y="84000"/>
                  </a:lnTo>
                  <a:lnTo>
                    <a:pt x="87692" y="84000"/>
                  </a:lnTo>
                  <a:lnTo>
                    <a:pt x="76153" y="84000"/>
                  </a:lnTo>
                  <a:lnTo>
                    <a:pt x="76153" y="93000"/>
                  </a:lnTo>
                  <a:lnTo>
                    <a:pt x="76153" y="93000"/>
                  </a:lnTo>
                  <a:lnTo>
                    <a:pt x="71538" y="93000"/>
                  </a:lnTo>
                  <a:lnTo>
                    <a:pt x="71538" y="93000"/>
                  </a:lnTo>
                  <a:lnTo>
                    <a:pt x="64615" y="93000"/>
                  </a:lnTo>
                  <a:lnTo>
                    <a:pt x="39230" y="93000"/>
                  </a:lnTo>
                  <a:lnTo>
                    <a:pt x="32307" y="84000"/>
                  </a:lnTo>
                  <a:lnTo>
                    <a:pt x="27692" y="84000"/>
                  </a:lnTo>
                  <a:lnTo>
                    <a:pt x="20769" y="84000"/>
                  </a:lnTo>
                  <a:lnTo>
                    <a:pt x="16153" y="84000"/>
                  </a:lnTo>
                  <a:lnTo>
                    <a:pt x="11538" y="78000"/>
                  </a:lnTo>
                  <a:lnTo>
                    <a:pt x="4615" y="78000"/>
                  </a:lnTo>
                  <a:lnTo>
                    <a:pt x="4615" y="84000"/>
                  </a:lnTo>
                  <a:lnTo>
                    <a:pt x="0" y="93000"/>
                  </a:lnTo>
                  <a:lnTo>
                    <a:pt x="0" y="99000"/>
                  </a:lnTo>
                  <a:lnTo>
                    <a:pt x="0" y="99000"/>
                  </a:lnTo>
                  <a:lnTo>
                    <a:pt x="11538" y="105000"/>
                  </a:lnTo>
                  <a:lnTo>
                    <a:pt x="11538" y="105000"/>
                  </a:lnTo>
                  <a:lnTo>
                    <a:pt x="16153" y="114000"/>
                  </a:lnTo>
                  <a:lnTo>
                    <a:pt x="20769" y="120000"/>
                  </a:lnTo>
                  <a:lnTo>
                    <a:pt x="20769" y="120000"/>
                  </a:lnTo>
                  <a:lnTo>
                    <a:pt x="20769" y="114000"/>
                  </a:lnTo>
                  <a:lnTo>
                    <a:pt x="27692" y="114000"/>
                  </a:lnTo>
                  <a:lnTo>
                    <a:pt x="32307" y="105000"/>
                  </a:lnTo>
                  <a:lnTo>
                    <a:pt x="39230" y="105000"/>
                  </a:lnTo>
                  <a:lnTo>
                    <a:pt x="43846" y="105000"/>
                  </a:lnTo>
                  <a:lnTo>
                    <a:pt x="48461" y="105000"/>
                  </a:lnTo>
                  <a:lnTo>
                    <a:pt x="55384" y="105000"/>
                  </a:lnTo>
                  <a:lnTo>
                    <a:pt x="64615" y="114000"/>
                  </a:lnTo>
                  <a:lnTo>
                    <a:pt x="71538" y="114000"/>
                  </a:lnTo>
                  <a:lnTo>
                    <a:pt x="76153" y="114000"/>
                  </a:lnTo>
                  <a:lnTo>
                    <a:pt x="76153" y="114000"/>
                  </a:lnTo>
                  <a:lnTo>
                    <a:pt x="76153" y="105000"/>
                  </a:lnTo>
                  <a:lnTo>
                    <a:pt x="80769" y="105000"/>
                  </a:lnTo>
                  <a:lnTo>
                    <a:pt x="96923" y="105000"/>
                  </a:lnTo>
                  <a:lnTo>
                    <a:pt x="103846" y="105000"/>
                  </a:lnTo>
                  <a:lnTo>
                    <a:pt x="103846" y="114000"/>
                  </a:lnTo>
                  <a:lnTo>
                    <a:pt x="108461" y="114000"/>
                  </a:lnTo>
                  <a:lnTo>
                    <a:pt x="108461" y="120000"/>
                  </a:lnTo>
                  <a:lnTo>
                    <a:pt x="108461" y="105000"/>
                  </a:lnTo>
                  <a:lnTo>
                    <a:pt x="115384" y="105000"/>
                  </a:lnTo>
                  <a:lnTo>
                    <a:pt x="115384" y="99000"/>
                  </a:lnTo>
                  <a:lnTo>
                    <a:pt x="108461" y="99000"/>
                  </a:lnTo>
                  <a:lnTo>
                    <a:pt x="103846" y="93000"/>
                  </a:lnTo>
                  <a:lnTo>
                    <a:pt x="103846" y="84000"/>
                  </a:lnTo>
                  <a:lnTo>
                    <a:pt x="103846" y="84000"/>
                  </a:lnTo>
                  <a:lnTo>
                    <a:pt x="108461" y="84000"/>
                  </a:lnTo>
                  <a:lnTo>
                    <a:pt x="108461" y="84000"/>
                  </a:lnTo>
                  <a:lnTo>
                    <a:pt x="115384" y="78000"/>
                  </a:lnTo>
                  <a:lnTo>
                    <a:pt x="115384" y="69000"/>
                  </a:lnTo>
                  <a:lnTo>
                    <a:pt x="115384" y="69000"/>
                  </a:lnTo>
                  <a:lnTo>
                    <a:pt x="115384" y="63000"/>
                  </a:lnTo>
                  <a:lnTo>
                    <a:pt x="115384" y="63000"/>
                  </a:lnTo>
                  <a:lnTo>
                    <a:pt x="120000" y="57000"/>
                  </a:lnTo>
                  <a:lnTo>
                    <a:pt x="120000" y="48000"/>
                  </a:lnTo>
                  <a:lnTo>
                    <a:pt x="120000" y="48000"/>
                  </a:lnTo>
                  <a:lnTo>
                    <a:pt x="120000" y="48000"/>
                  </a:lnTo>
                  <a:lnTo>
                    <a:pt x="120000" y="4200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74" name="Shape 474"/>
            <p:cNvSpPr/>
            <p:nvPr/>
          </p:nvSpPr>
          <p:spPr>
            <a:xfrm>
              <a:off x="2515" y="2628"/>
              <a:ext cx="0" cy="300"/>
            </a:xfrm>
            <a:custGeom>
              <a:avLst/>
              <a:gdLst/>
              <a:ahLst/>
              <a:cxnLst/>
              <a:rect l="0" t="0" r="0" b="0"/>
              <a:pathLst>
                <a:path w="120000" h="120000" extrusionOk="0">
                  <a:moveTo>
                    <a:pt x="120000" y="106753"/>
                  </a:moveTo>
                  <a:lnTo>
                    <a:pt x="120000" y="106753"/>
                  </a:lnTo>
                  <a:lnTo>
                    <a:pt x="115862" y="106753"/>
                  </a:lnTo>
                  <a:lnTo>
                    <a:pt x="115862" y="106753"/>
                  </a:lnTo>
                  <a:lnTo>
                    <a:pt x="113103" y="105194"/>
                  </a:lnTo>
                  <a:lnTo>
                    <a:pt x="113103" y="102857"/>
                  </a:lnTo>
                  <a:lnTo>
                    <a:pt x="113103" y="102857"/>
                  </a:lnTo>
                  <a:lnTo>
                    <a:pt x="110344" y="101298"/>
                  </a:lnTo>
                  <a:lnTo>
                    <a:pt x="110344" y="101298"/>
                  </a:lnTo>
                  <a:lnTo>
                    <a:pt x="110344" y="99740"/>
                  </a:lnTo>
                  <a:lnTo>
                    <a:pt x="110344" y="99740"/>
                  </a:lnTo>
                  <a:lnTo>
                    <a:pt x="110344" y="97402"/>
                  </a:lnTo>
                  <a:lnTo>
                    <a:pt x="106206" y="97402"/>
                  </a:lnTo>
                  <a:lnTo>
                    <a:pt x="106206" y="95844"/>
                  </a:lnTo>
                  <a:lnTo>
                    <a:pt x="106206" y="95844"/>
                  </a:lnTo>
                  <a:lnTo>
                    <a:pt x="106206" y="95844"/>
                  </a:lnTo>
                  <a:lnTo>
                    <a:pt x="106206" y="94285"/>
                  </a:lnTo>
                  <a:lnTo>
                    <a:pt x="106206" y="94285"/>
                  </a:lnTo>
                  <a:lnTo>
                    <a:pt x="106206" y="94285"/>
                  </a:lnTo>
                  <a:lnTo>
                    <a:pt x="103448" y="94285"/>
                  </a:lnTo>
                  <a:lnTo>
                    <a:pt x="103448" y="94285"/>
                  </a:lnTo>
                  <a:lnTo>
                    <a:pt x="103448" y="91948"/>
                  </a:lnTo>
                  <a:lnTo>
                    <a:pt x="103448" y="91948"/>
                  </a:lnTo>
                  <a:lnTo>
                    <a:pt x="103448" y="90389"/>
                  </a:lnTo>
                  <a:lnTo>
                    <a:pt x="103448" y="90389"/>
                  </a:lnTo>
                  <a:lnTo>
                    <a:pt x="103448" y="88051"/>
                  </a:lnTo>
                  <a:lnTo>
                    <a:pt x="103448" y="88051"/>
                  </a:lnTo>
                  <a:lnTo>
                    <a:pt x="100689" y="88051"/>
                  </a:lnTo>
                  <a:lnTo>
                    <a:pt x="100689" y="86493"/>
                  </a:lnTo>
                  <a:lnTo>
                    <a:pt x="100689" y="84935"/>
                  </a:lnTo>
                  <a:lnTo>
                    <a:pt x="100689" y="84935"/>
                  </a:lnTo>
                  <a:lnTo>
                    <a:pt x="96551" y="84935"/>
                  </a:lnTo>
                  <a:lnTo>
                    <a:pt x="96551" y="84935"/>
                  </a:lnTo>
                  <a:lnTo>
                    <a:pt x="96551" y="84935"/>
                  </a:lnTo>
                  <a:lnTo>
                    <a:pt x="93793" y="84935"/>
                  </a:lnTo>
                  <a:lnTo>
                    <a:pt x="93793" y="84935"/>
                  </a:lnTo>
                  <a:lnTo>
                    <a:pt x="93793" y="84935"/>
                  </a:lnTo>
                  <a:lnTo>
                    <a:pt x="91034" y="82597"/>
                  </a:lnTo>
                  <a:lnTo>
                    <a:pt x="93793" y="82597"/>
                  </a:lnTo>
                  <a:lnTo>
                    <a:pt x="91034" y="81038"/>
                  </a:lnTo>
                  <a:lnTo>
                    <a:pt x="86896" y="79480"/>
                  </a:lnTo>
                  <a:lnTo>
                    <a:pt x="86896" y="77142"/>
                  </a:lnTo>
                  <a:lnTo>
                    <a:pt x="86896" y="77142"/>
                  </a:lnTo>
                  <a:lnTo>
                    <a:pt x="84137" y="74025"/>
                  </a:lnTo>
                  <a:lnTo>
                    <a:pt x="81379" y="71688"/>
                  </a:lnTo>
                  <a:lnTo>
                    <a:pt x="84137" y="71688"/>
                  </a:lnTo>
                  <a:lnTo>
                    <a:pt x="84137" y="70129"/>
                  </a:lnTo>
                  <a:lnTo>
                    <a:pt x="84137" y="67792"/>
                  </a:lnTo>
                  <a:lnTo>
                    <a:pt x="86896" y="66233"/>
                  </a:lnTo>
                  <a:lnTo>
                    <a:pt x="86896" y="66233"/>
                  </a:lnTo>
                  <a:lnTo>
                    <a:pt x="86896" y="64675"/>
                  </a:lnTo>
                  <a:lnTo>
                    <a:pt x="86896" y="62337"/>
                  </a:lnTo>
                  <a:lnTo>
                    <a:pt x="86896" y="62337"/>
                  </a:lnTo>
                  <a:lnTo>
                    <a:pt x="86896" y="60779"/>
                  </a:lnTo>
                  <a:lnTo>
                    <a:pt x="86896" y="60779"/>
                  </a:lnTo>
                  <a:lnTo>
                    <a:pt x="86896" y="59220"/>
                  </a:lnTo>
                  <a:lnTo>
                    <a:pt x="86896" y="59220"/>
                  </a:lnTo>
                  <a:lnTo>
                    <a:pt x="91034" y="59220"/>
                  </a:lnTo>
                  <a:lnTo>
                    <a:pt x="91034" y="59220"/>
                  </a:lnTo>
                  <a:lnTo>
                    <a:pt x="91034" y="56883"/>
                  </a:lnTo>
                  <a:lnTo>
                    <a:pt x="93793" y="56883"/>
                  </a:lnTo>
                  <a:lnTo>
                    <a:pt x="96551" y="56883"/>
                  </a:lnTo>
                  <a:lnTo>
                    <a:pt x="100689" y="56883"/>
                  </a:lnTo>
                  <a:lnTo>
                    <a:pt x="100689" y="56883"/>
                  </a:lnTo>
                  <a:lnTo>
                    <a:pt x="103448" y="56883"/>
                  </a:lnTo>
                  <a:lnTo>
                    <a:pt x="103448" y="55324"/>
                  </a:lnTo>
                  <a:lnTo>
                    <a:pt x="103448" y="55324"/>
                  </a:lnTo>
                  <a:lnTo>
                    <a:pt x="103448" y="55324"/>
                  </a:lnTo>
                  <a:lnTo>
                    <a:pt x="103448" y="55324"/>
                  </a:lnTo>
                  <a:lnTo>
                    <a:pt x="103448" y="53766"/>
                  </a:lnTo>
                  <a:lnTo>
                    <a:pt x="103448" y="53766"/>
                  </a:lnTo>
                  <a:lnTo>
                    <a:pt x="103448" y="53766"/>
                  </a:lnTo>
                  <a:lnTo>
                    <a:pt x="103448" y="53766"/>
                  </a:lnTo>
                  <a:lnTo>
                    <a:pt x="103448" y="51428"/>
                  </a:lnTo>
                  <a:lnTo>
                    <a:pt x="103448" y="51428"/>
                  </a:lnTo>
                  <a:lnTo>
                    <a:pt x="103448" y="49870"/>
                  </a:lnTo>
                  <a:lnTo>
                    <a:pt x="103448" y="49870"/>
                  </a:lnTo>
                  <a:lnTo>
                    <a:pt x="106206" y="47532"/>
                  </a:lnTo>
                  <a:lnTo>
                    <a:pt x="106206" y="47532"/>
                  </a:lnTo>
                  <a:lnTo>
                    <a:pt x="106206" y="42077"/>
                  </a:lnTo>
                  <a:lnTo>
                    <a:pt x="106206" y="40519"/>
                  </a:lnTo>
                  <a:lnTo>
                    <a:pt x="106206" y="38961"/>
                  </a:lnTo>
                  <a:lnTo>
                    <a:pt x="103448" y="36623"/>
                  </a:lnTo>
                  <a:lnTo>
                    <a:pt x="96551" y="36623"/>
                  </a:lnTo>
                  <a:lnTo>
                    <a:pt x="96551" y="33506"/>
                  </a:lnTo>
                  <a:lnTo>
                    <a:pt x="91034" y="31168"/>
                  </a:lnTo>
                  <a:lnTo>
                    <a:pt x="86896" y="27272"/>
                  </a:lnTo>
                  <a:lnTo>
                    <a:pt x="84137" y="27272"/>
                  </a:lnTo>
                  <a:lnTo>
                    <a:pt x="81379" y="27272"/>
                  </a:lnTo>
                  <a:lnTo>
                    <a:pt x="77241" y="27272"/>
                  </a:lnTo>
                  <a:lnTo>
                    <a:pt x="74482" y="27272"/>
                  </a:lnTo>
                  <a:lnTo>
                    <a:pt x="74482" y="29610"/>
                  </a:lnTo>
                  <a:lnTo>
                    <a:pt x="70344" y="31168"/>
                  </a:lnTo>
                  <a:lnTo>
                    <a:pt x="70344" y="33506"/>
                  </a:lnTo>
                  <a:lnTo>
                    <a:pt x="67586" y="35064"/>
                  </a:lnTo>
                  <a:lnTo>
                    <a:pt x="70344" y="33506"/>
                  </a:lnTo>
                  <a:lnTo>
                    <a:pt x="70344" y="29610"/>
                  </a:lnTo>
                  <a:lnTo>
                    <a:pt x="70344" y="27272"/>
                  </a:lnTo>
                  <a:lnTo>
                    <a:pt x="74482" y="24155"/>
                  </a:lnTo>
                  <a:lnTo>
                    <a:pt x="74482" y="20259"/>
                  </a:lnTo>
                  <a:lnTo>
                    <a:pt x="74482" y="18701"/>
                  </a:lnTo>
                  <a:lnTo>
                    <a:pt x="70344" y="16363"/>
                  </a:lnTo>
                  <a:lnTo>
                    <a:pt x="67586" y="14805"/>
                  </a:lnTo>
                  <a:lnTo>
                    <a:pt x="67586" y="13246"/>
                  </a:lnTo>
                  <a:lnTo>
                    <a:pt x="57931" y="7012"/>
                  </a:lnTo>
                  <a:lnTo>
                    <a:pt x="51034" y="3896"/>
                  </a:lnTo>
                  <a:lnTo>
                    <a:pt x="45517" y="1558"/>
                  </a:lnTo>
                  <a:lnTo>
                    <a:pt x="45517" y="1558"/>
                  </a:lnTo>
                  <a:lnTo>
                    <a:pt x="45517" y="3896"/>
                  </a:lnTo>
                  <a:lnTo>
                    <a:pt x="41379" y="3896"/>
                  </a:lnTo>
                  <a:lnTo>
                    <a:pt x="41379" y="1558"/>
                  </a:lnTo>
                  <a:lnTo>
                    <a:pt x="38620" y="0"/>
                  </a:lnTo>
                  <a:lnTo>
                    <a:pt x="35862" y="0"/>
                  </a:lnTo>
                  <a:lnTo>
                    <a:pt x="41379" y="3896"/>
                  </a:lnTo>
                  <a:lnTo>
                    <a:pt x="41379" y="3896"/>
                  </a:lnTo>
                  <a:lnTo>
                    <a:pt x="41379" y="3896"/>
                  </a:lnTo>
                  <a:lnTo>
                    <a:pt x="38620" y="5454"/>
                  </a:lnTo>
                  <a:lnTo>
                    <a:pt x="35862" y="5454"/>
                  </a:lnTo>
                  <a:lnTo>
                    <a:pt x="35862" y="7012"/>
                  </a:lnTo>
                  <a:lnTo>
                    <a:pt x="31724" y="9350"/>
                  </a:lnTo>
                  <a:lnTo>
                    <a:pt x="28965" y="9350"/>
                  </a:lnTo>
                  <a:lnTo>
                    <a:pt x="28965" y="10909"/>
                  </a:lnTo>
                  <a:lnTo>
                    <a:pt x="24827" y="10909"/>
                  </a:lnTo>
                  <a:lnTo>
                    <a:pt x="22068" y="10909"/>
                  </a:lnTo>
                  <a:lnTo>
                    <a:pt x="22068" y="13246"/>
                  </a:lnTo>
                  <a:lnTo>
                    <a:pt x="19310" y="14805"/>
                  </a:lnTo>
                  <a:lnTo>
                    <a:pt x="19310" y="14805"/>
                  </a:lnTo>
                  <a:lnTo>
                    <a:pt x="19310" y="16363"/>
                  </a:lnTo>
                  <a:lnTo>
                    <a:pt x="19310" y="16363"/>
                  </a:lnTo>
                  <a:lnTo>
                    <a:pt x="19310" y="18701"/>
                  </a:lnTo>
                  <a:lnTo>
                    <a:pt x="19310" y="20259"/>
                  </a:lnTo>
                  <a:lnTo>
                    <a:pt x="19310" y="20259"/>
                  </a:lnTo>
                  <a:lnTo>
                    <a:pt x="19310" y="21818"/>
                  </a:lnTo>
                  <a:lnTo>
                    <a:pt x="19310" y="21818"/>
                  </a:lnTo>
                  <a:lnTo>
                    <a:pt x="22068" y="21818"/>
                  </a:lnTo>
                  <a:lnTo>
                    <a:pt x="22068" y="21818"/>
                  </a:lnTo>
                  <a:lnTo>
                    <a:pt x="24827" y="21818"/>
                  </a:lnTo>
                  <a:lnTo>
                    <a:pt x="24827" y="21818"/>
                  </a:lnTo>
                  <a:lnTo>
                    <a:pt x="24827" y="21818"/>
                  </a:lnTo>
                  <a:lnTo>
                    <a:pt x="24827" y="24155"/>
                  </a:lnTo>
                  <a:lnTo>
                    <a:pt x="24827" y="25714"/>
                  </a:lnTo>
                  <a:lnTo>
                    <a:pt x="24827" y="25714"/>
                  </a:lnTo>
                  <a:lnTo>
                    <a:pt x="19310" y="27272"/>
                  </a:lnTo>
                  <a:lnTo>
                    <a:pt x="19310" y="27272"/>
                  </a:lnTo>
                  <a:lnTo>
                    <a:pt x="15172" y="29610"/>
                  </a:lnTo>
                  <a:lnTo>
                    <a:pt x="12413" y="27272"/>
                  </a:lnTo>
                  <a:lnTo>
                    <a:pt x="12413" y="27272"/>
                  </a:lnTo>
                  <a:lnTo>
                    <a:pt x="12413" y="29610"/>
                  </a:lnTo>
                  <a:lnTo>
                    <a:pt x="12413" y="29610"/>
                  </a:lnTo>
                  <a:lnTo>
                    <a:pt x="9655" y="29610"/>
                  </a:lnTo>
                  <a:lnTo>
                    <a:pt x="5517" y="29610"/>
                  </a:lnTo>
                  <a:lnTo>
                    <a:pt x="5517" y="29610"/>
                  </a:lnTo>
                  <a:lnTo>
                    <a:pt x="5517" y="31168"/>
                  </a:lnTo>
                  <a:lnTo>
                    <a:pt x="2758" y="31168"/>
                  </a:lnTo>
                  <a:lnTo>
                    <a:pt x="5517" y="33506"/>
                  </a:lnTo>
                  <a:lnTo>
                    <a:pt x="5517" y="33506"/>
                  </a:lnTo>
                  <a:lnTo>
                    <a:pt x="5517" y="35064"/>
                  </a:lnTo>
                  <a:lnTo>
                    <a:pt x="5517" y="38961"/>
                  </a:lnTo>
                  <a:lnTo>
                    <a:pt x="5517" y="38961"/>
                  </a:lnTo>
                  <a:lnTo>
                    <a:pt x="2758" y="38961"/>
                  </a:lnTo>
                  <a:lnTo>
                    <a:pt x="0" y="40519"/>
                  </a:lnTo>
                  <a:lnTo>
                    <a:pt x="0" y="42077"/>
                  </a:lnTo>
                  <a:lnTo>
                    <a:pt x="0" y="42077"/>
                  </a:lnTo>
                  <a:lnTo>
                    <a:pt x="2758" y="45974"/>
                  </a:lnTo>
                  <a:lnTo>
                    <a:pt x="9655" y="49870"/>
                  </a:lnTo>
                  <a:lnTo>
                    <a:pt x="15172" y="55324"/>
                  </a:lnTo>
                  <a:lnTo>
                    <a:pt x="15172" y="53766"/>
                  </a:lnTo>
                  <a:lnTo>
                    <a:pt x="19310" y="55324"/>
                  </a:lnTo>
                  <a:lnTo>
                    <a:pt x="22068" y="55324"/>
                  </a:lnTo>
                  <a:lnTo>
                    <a:pt x="22068" y="55324"/>
                  </a:lnTo>
                  <a:lnTo>
                    <a:pt x="24827" y="55324"/>
                  </a:lnTo>
                  <a:lnTo>
                    <a:pt x="28965" y="53766"/>
                  </a:lnTo>
                  <a:lnTo>
                    <a:pt x="28965" y="53766"/>
                  </a:lnTo>
                  <a:lnTo>
                    <a:pt x="28965" y="53766"/>
                  </a:lnTo>
                  <a:lnTo>
                    <a:pt x="31724" y="55324"/>
                  </a:lnTo>
                  <a:lnTo>
                    <a:pt x="31724" y="55324"/>
                  </a:lnTo>
                  <a:lnTo>
                    <a:pt x="31724" y="56883"/>
                  </a:lnTo>
                  <a:lnTo>
                    <a:pt x="31724" y="56883"/>
                  </a:lnTo>
                  <a:lnTo>
                    <a:pt x="31724" y="59220"/>
                  </a:lnTo>
                  <a:lnTo>
                    <a:pt x="31724" y="60779"/>
                  </a:lnTo>
                  <a:lnTo>
                    <a:pt x="31724" y="62337"/>
                  </a:lnTo>
                  <a:lnTo>
                    <a:pt x="31724" y="62337"/>
                  </a:lnTo>
                  <a:lnTo>
                    <a:pt x="28965" y="64675"/>
                  </a:lnTo>
                  <a:lnTo>
                    <a:pt x="28965" y="64675"/>
                  </a:lnTo>
                  <a:lnTo>
                    <a:pt x="28965" y="66233"/>
                  </a:lnTo>
                  <a:lnTo>
                    <a:pt x="28965" y="66233"/>
                  </a:lnTo>
                  <a:lnTo>
                    <a:pt x="31724" y="66233"/>
                  </a:lnTo>
                  <a:lnTo>
                    <a:pt x="35862" y="66233"/>
                  </a:lnTo>
                  <a:lnTo>
                    <a:pt x="35862" y="66233"/>
                  </a:lnTo>
                  <a:lnTo>
                    <a:pt x="38620" y="66233"/>
                  </a:lnTo>
                  <a:lnTo>
                    <a:pt x="38620" y="67792"/>
                  </a:lnTo>
                  <a:lnTo>
                    <a:pt x="41379" y="67792"/>
                  </a:lnTo>
                  <a:lnTo>
                    <a:pt x="41379" y="67792"/>
                  </a:lnTo>
                  <a:lnTo>
                    <a:pt x="38620" y="70129"/>
                  </a:lnTo>
                  <a:lnTo>
                    <a:pt x="38620" y="70129"/>
                  </a:lnTo>
                  <a:lnTo>
                    <a:pt x="38620" y="71688"/>
                  </a:lnTo>
                  <a:lnTo>
                    <a:pt x="41379" y="71688"/>
                  </a:lnTo>
                  <a:lnTo>
                    <a:pt x="41379" y="74025"/>
                  </a:lnTo>
                  <a:lnTo>
                    <a:pt x="41379" y="75584"/>
                  </a:lnTo>
                  <a:lnTo>
                    <a:pt x="45517" y="75584"/>
                  </a:lnTo>
                  <a:lnTo>
                    <a:pt x="45517" y="75584"/>
                  </a:lnTo>
                  <a:lnTo>
                    <a:pt x="41379" y="75584"/>
                  </a:lnTo>
                  <a:lnTo>
                    <a:pt x="41379" y="77142"/>
                  </a:lnTo>
                  <a:lnTo>
                    <a:pt x="41379" y="79480"/>
                  </a:lnTo>
                  <a:lnTo>
                    <a:pt x="41379" y="79480"/>
                  </a:lnTo>
                  <a:lnTo>
                    <a:pt x="38620" y="79480"/>
                  </a:lnTo>
                  <a:lnTo>
                    <a:pt x="35862" y="81038"/>
                  </a:lnTo>
                  <a:lnTo>
                    <a:pt x="35862" y="82597"/>
                  </a:lnTo>
                  <a:lnTo>
                    <a:pt x="35862" y="84935"/>
                  </a:lnTo>
                  <a:lnTo>
                    <a:pt x="35862" y="84935"/>
                  </a:lnTo>
                  <a:lnTo>
                    <a:pt x="35862" y="86493"/>
                  </a:lnTo>
                  <a:lnTo>
                    <a:pt x="31724" y="88051"/>
                  </a:lnTo>
                  <a:lnTo>
                    <a:pt x="31724" y="90389"/>
                  </a:lnTo>
                  <a:lnTo>
                    <a:pt x="31724" y="94285"/>
                  </a:lnTo>
                  <a:lnTo>
                    <a:pt x="31724" y="95844"/>
                  </a:lnTo>
                  <a:lnTo>
                    <a:pt x="31724" y="97402"/>
                  </a:lnTo>
                  <a:lnTo>
                    <a:pt x="35862" y="101298"/>
                  </a:lnTo>
                  <a:lnTo>
                    <a:pt x="35862" y="101298"/>
                  </a:lnTo>
                  <a:lnTo>
                    <a:pt x="38620" y="102857"/>
                  </a:lnTo>
                  <a:lnTo>
                    <a:pt x="38620" y="105194"/>
                  </a:lnTo>
                  <a:lnTo>
                    <a:pt x="38620" y="108311"/>
                  </a:lnTo>
                  <a:lnTo>
                    <a:pt x="38620" y="108311"/>
                  </a:lnTo>
                  <a:lnTo>
                    <a:pt x="38620" y="108311"/>
                  </a:lnTo>
                  <a:lnTo>
                    <a:pt x="38620" y="108311"/>
                  </a:lnTo>
                  <a:lnTo>
                    <a:pt x="38620" y="110649"/>
                  </a:lnTo>
                  <a:lnTo>
                    <a:pt x="38620" y="110649"/>
                  </a:lnTo>
                  <a:lnTo>
                    <a:pt x="38620" y="110649"/>
                  </a:lnTo>
                  <a:lnTo>
                    <a:pt x="41379" y="112207"/>
                  </a:lnTo>
                  <a:lnTo>
                    <a:pt x="41379" y="112207"/>
                  </a:lnTo>
                  <a:lnTo>
                    <a:pt x="45517" y="112207"/>
                  </a:lnTo>
                  <a:lnTo>
                    <a:pt x="48275" y="114545"/>
                  </a:lnTo>
                  <a:lnTo>
                    <a:pt x="48275" y="116103"/>
                  </a:lnTo>
                  <a:lnTo>
                    <a:pt x="48275" y="116103"/>
                  </a:lnTo>
                  <a:lnTo>
                    <a:pt x="51034" y="117662"/>
                  </a:lnTo>
                  <a:lnTo>
                    <a:pt x="55172" y="117662"/>
                  </a:lnTo>
                  <a:lnTo>
                    <a:pt x="57931" y="117662"/>
                  </a:lnTo>
                  <a:lnTo>
                    <a:pt x="57931" y="120000"/>
                  </a:lnTo>
                  <a:lnTo>
                    <a:pt x="60689" y="120000"/>
                  </a:lnTo>
                  <a:lnTo>
                    <a:pt x="60689" y="120000"/>
                  </a:lnTo>
                  <a:lnTo>
                    <a:pt x="60689" y="120000"/>
                  </a:lnTo>
                  <a:lnTo>
                    <a:pt x="64827" y="120000"/>
                  </a:lnTo>
                  <a:lnTo>
                    <a:pt x="64827" y="120000"/>
                  </a:lnTo>
                  <a:lnTo>
                    <a:pt x="67586" y="120000"/>
                  </a:lnTo>
                  <a:lnTo>
                    <a:pt x="67586" y="120000"/>
                  </a:lnTo>
                  <a:lnTo>
                    <a:pt x="70344" y="117662"/>
                  </a:lnTo>
                  <a:lnTo>
                    <a:pt x="70344" y="117662"/>
                  </a:lnTo>
                  <a:lnTo>
                    <a:pt x="67586" y="116103"/>
                  </a:lnTo>
                  <a:lnTo>
                    <a:pt x="70344" y="116103"/>
                  </a:lnTo>
                  <a:lnTo>
                    <a:pt x="70344" y="116103"/>
                  </a:lnTo>
                  <a:lnTo>
                    <a:pt x="70344" y="114545"/>
                  </a:lnTo>
                  <a:lnTo>
                    <a:pt x="74482" y="114545"/>
                  </a:lnTo>
                  <a:lnTo>
                    <a:pt x="74482" y="114545"/>
                  </a:lnTo>
                  <a:lnTo>
                    <a:pt x="74482" y="114545"/>
                  </a:lnTo>
                  <a:lnTo>
                    <a:pt x="74482" y="114545"/>
                  </a:lnTo>
                  <a:lnTo>
                    <a:pt x="77241" y="114545"/>
                  </a:lnTo>
                  <a:lnTo>
                    <a:pt x="77241" y="114545"/>
                  </a:lnTo>
                  <a:lnTo>
                    <a:pt x="77241" y="114545"/>
                  </a:lnTo>
                  <a:lnTo>
                    <a:pt x="81379" y="116103"/>
                  </a:lnTo>
                  <a:lnTo>
                    <a:pt x="81379" y="114545"/>
                  </a:lnTo>
                  <a:lnTo>
                    <a:pt x="81379" y="114545"/>
                  </a:lnTo>
                  <a:lnTo>
                    <a:pt x="84137" y="114545"/>
                  </a:lnTo>
                  <a:lnTo>
                    <a:pt x="84137" y="112207"/>
                  </a:lnTo>
                  <a:lnTo>
                    <a:pt x="84137" y="112207"/>
                  </a:lnTo>
                  <a:lnTo>
                    <a:pt x="84137" y="112207"/>
                  </a:lnTo>
                  <a:lnTo>
                    <a:pt x="86896" y="112207"/>
                  </a:lnTo>
                  <a:lnTo>
                    <a:pt x="91034" y="112207"/>
                  </a:lnTo>
                  <a:lnTo>
                    <a:pt x="93793" y="112207"/>
                  </a:lnTo>
                  <a:lnTo>
                    <a:pt x="93793" y="112207"/>
                  </a:lnTo>
                  <a:lnTo>
                    <a:pt x="93793" y="110649"/>
                  </a:lnTo>
                  <a:lnTo>
                    <a:pt x="96551" y="108311"/>
                  </a:lnTo>
                  <a:lnTo>
                    <a:pt x="100689" y="108311"/>
                  </a:lnTo>
                  <a:lnTo>
                    <a:pt x="100689" y="106753"/>
                  </a:lnTo>
                  <a:lnTo>
                    <a:pt x="100689" y="108311"/>
                  </a:lnTo>
                  <a:lnTo>
                    <a:pt x="103448" y="106753"/>
                  </a:lnTo>
                  <a:lnTo>
                    <a:pt x="103448" y="106753"/>
                  </a:lnTo>
                  <a:lnTo>
                    <a:pt x="106206" y="106753"/>
                  </a:lnTo>
                  <a:lnTo>
                    <a:pt x="106206" y="108311"/>
                  </a:lnTo>
                  <a:lnTo>
                    <a:pt x="106206" y="108311"/>
                  </a:lnTo>
                  <a:lnTo>
                    <a:pt x="110344" y="108311"/>
                  </a:lnTo>
                  <a:lnTo>
                    <a:pt x="113103" y="108311"/>
                  </a:lnTo>
                  <a:lnTo>
                    <a:pt x="113103" y="108311"/>
                  </a:lnTo>
                  <a:lnTo>
                    <a:pt x="115862" y="108311"/>
                  </a:lnTo>
                  <a:lnTo>
                    <a:pt x="115862" y="108311"/>
                  </a:lnTo>
                  <a:lnTo>
                    <a:pt x="120000" y="108311"/>
                  </a:lnTo>
                  <a:lnTo>
                    <a:pt x="120000" y="108311"/>
                  </a:lnTo>
                  <a:lnTo>
                    <a:pt x="120000" y="108311"/>
                  </a:lnTo>
                  <a:lnTo>
                    <a:pt x="120000" y="106753"/>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75" name="Shape 475"/>
            <p:cNvSpPr/>
            <p:nvPr/>
          </p:nvSpPr>
          <p:spPr>
            <a:xfrm>
              <a:off x="3347" y="2540"/>
              <a:ext cx="0" cy="0"/>
            </a:xfrm>
            <a:custGeom>
              <a:avLst/>
              <a:gdLst/>
              <a:ahLst/>
              <a:cxnLst/>
              <a:rect l="0" t="0" r="0" b="0"/>
              <a:pathLst>
                <a:path w="120000" h="120000" extrusionOk="0">
                  <a:moveTo>
                    <a:pt x="31111" y="103333"/>
                  </a:moveTo>
                  <a:lnTo>
                    <a:pt x="24444" y="103333"/>
                  </a:lnTo>
                  <a:lnTo>
                    <a:pt x="24444" y="103333"/>
                  </a:lnTo>
                  <a:lnTo>
                    <a:pt x="24444" y="113333"/>
                  </a:lnTo>
                  <a:lnTo>
                    <a:pt x="24444" y="113333"/>
                  </a:lnTo>
                  <a:lnTo>
                    <a:pt x="24444" y="113333"/>
                  </a:lnTo>
                  <a:lnTo>
                    <a:pt x="31111" y="113333"/>
                  </a:lnTo>
                  <a:lnTo>
                    <a:pt x="31111" y="113333"/>
                  </a:lnTo>
                  <a:lnTo>
                    <a:pt x="31111" y="103333"/>
                  </a:lnTo>
                  <a:lnTo>
                    <a:pt x="31111" y="103333"/>
                  </a:lnTo>
                  <a:close/>
                  <a:moveTo>
                    <a:pt x="20000" y="103333"/>
                  </a:moveTo>
                  <a:lnTo>
                    <a:pt x="20000" y="103333"/>
                  </a:lnTo>
                  <a:lnTo>
                    <a:pt x="20000" y="103333"/>
                  </a:lnTo>
                  <a:lnTo>
                    <a:pt x="20000" y="113333"/>
                  </a:lnTo>
                  <a:lnTo>
                    <a:pt x="15555" y="113333"/>
                  </a:lnTo>
                  <a:lnTo>
                    <a:pt x="15555" y="113333"/>
                  </a:lnTo>
                  <a:lnTo>
                    <a:pt x="15555" y="113333"/>
                  </a:lnTo>
                  <a:lnTo>
                    <a:pt x="15555" y="113333"/>
                  </a:lnTo>
                  <a:lnTo>
                    <a:pt x="20000" y="113333"/>
                  </a:lnTo>
                  <a:lnTo>
                    <a:pt x="20000" y="113333"/>
                  </a:lnTo>
                  <a:lnTo>
                    <a:pt x="20000" y="113333"/>
                  </a:lnTo>
                  <a:lnTo>
                    <a:pt x="20000" y="103333"/>
                  </a:lnTo>
                  <a:lnTo>
                    <a:pt x="20000" y="103333"/>
                  </a:lnTo>
                  <a:close/>
                  <a:moveTo>
                    <a:pt x="35555" y="96666"/>
                  </a:moveTo>
                  <a:lnTo>
                    <a:pt x="35555" y="96666"/>
                  </a:lnTo>
                  <a:lnTo>
                    <a:pt x="35555" y="103333"/>
                  </a:lnTo>
                  <a:lnTo>
                    <a:pt x="35555" y="103333"/>
                  </a:lnTo>
                  <a:lnTo>
                    <a:pt x="35555" y="103333"/>
                  </a:lnTo>
                  <a:lnTo>
                    <a:pt x="35555" y="103333"/>
                  </a:lnTo>
                  <a:lnTo>
                    <a:pt x="35555" y="103333"/>
                  </a:lnTo>
                  <a:lnTo>
                    <a:pt x="40000" y="103333"/>
                  </a:lnTo>
                  <a:lnTo>
                    <a:pt x="40000" y="96666"/>
                  </a:lnTo>
                  <a:lnTo>
                    <a:pt x="40000" y="96666"/>
                  </a:lnTo>
                  <a:lnTo>
                    <a:pt x="35555" y="96666"/>
                  </a:lnTo>
                  <a:close/>
                  <a:moveTo>
                    <a:pt x="24444" y="73333"/>
                  </a:moveTo>
                  <a:lnTo>
                    <a:pt x="24444" y="80000"/>
                  </a:lnTo>
                  <a:lnTo>
                    <a:pt x="24444" y="86666"/>
                  </a:lnTo>
                  <a:lnTo>
                    <a:pt x="24444" y="86666"/>
                  </a:lnTo>
                  <a:lnTo>
                    <a:pt x="24444" y="86666"/>
                  </a:lnTo>
                  <a:lnTo>
                    <a:pt x="31111" y="86666"/>
                  </a:lnTo>
                  <a:lnTo>
                    <a:pt x="31111" y="80000"/>
                  </a:lnTo>
                  <a:lnTo>
                    <a:pt x="24444" y="73333"/>
                  </a:lnTo>
                  <a:close/>
                  <a:moveTo>
                    <a:pt x="46666" y="73333"/>
                  </a:moveTo>
                  <a:lnTo>
                    <a:pt x="40000" y="80000"/>
                  </a:lnTo>
                  <a:lnTo>
                    <a:pt x="40000" y="80000"/>
                  </a:lnTo>
                  <a:lnTo>
                    <a:pt x="40000" y="80000"/>
                  </a:lnTo>
                  <a:lnTo>
                    <a:pt x="46666" y="80000"/>
                  </a:lnTo>
                  <a:lnTo>
                    <a:pt x="46666" y="80000"/>
                  </a:lnTo>
                  <a:lnTo>
                    <a:pt x="46666" y="73333"/>
                  </a:lnTo>
                  <a:lnTo>
                    <a:pt x="46666" y="73333"/>
                  </a:lnTo>
                  <a:close/>
                  <a:moveTo>
                    <a:pt x="24444" y="56666"/>
                  </a:moveTo>
                  <a:lnTo>
                    <a:pt x="20000" y="56666"/>
                  </a:lnTo>
                  <a:lnTo>
                    <a:pt x="20000" y="56666"/>
                  </a:lnTo>
                  <a:lnTo>
                    <a:pt x="20000" y="63333"/>
                  </a:lnTo>
                  <a:lnTo>
                    <a:pt x="24444" y="63333"/>
                  </a:lnTo>
                  <a:lnTo>
                    <a:pt x="24444" y="56666"/>
                  </a:lnTo>
                  <a:lnTo>
                    <a:pt x="24444" y="56666"/>
                  </a:lnTo>
                  <a:close/>
                  <a:moveTo>
                    <a:pt x="120000" y="10000"/>
                  </a:moveTo>
                  <a:lnTo>
                    <a:pt x="120000" y="0"/>
                  </a:lnTo>
                  <a:lnTo>
                    <a:pt x="104444" y="0"/>
                  </a:lnTo>
                  <a:lnTo>
                    <a:pt x="93333" y="0"/>
                  </a:lnTo>
                  <a:lnTo>
                    <a:pt x="77777" y="0"/>
                  </a:lnTo>
                  <a:lnTo>
                    <a:pt x="66666" y="0"/>
                  </a:lnTo>
                  <a:lnTo>
                    <a:pt x="62222" y="0"/>
                  </a:lnTo>
                  <a:lnTo>
                    <a:pt x="51111" y="10000"/>
                  </a:lnTo>
                  <a:lnTo>
                    <a:pt x="46666" y="16666"/>
                  </a:lnTo>
                  <a:lnTo>
                    <a:pt x="31111" y="16666"/>
                  </a:lnTo>
                  <a:lnTo>
                    <a:pt x="20000" y="16666"/>
                  </a:lnTo>
                  <a:lnTo>
                    <a:pt x="15555" y="16666"/>
                  </a:lnTo>
                  <a:lnTo>
                    <a:pt x="8888" y="16666"/>
                  </a:lnTo>
                  <a:lnTo>
                    <a:pt x="8888" y="26666"/>
                  </a:lnTo>
                  <a:lnTo>
                    <a:pt x="4444" y="26666"/>
                  </a:lnTo>
                  <a:lnTo>
                    <a:pt x="0" y="26666"/>
                  </a:lnTo>
                  <a:lnTo>
                    <a:pt x="0" y="26666"/>
                  </a:lnTo>
                  <a:lnTo>
                    <a:pt x="8888" y="33333"/>
                  </a:lnTo>
                  <a:lnTo>
                    <a:pt x="15555" y="33333"/>
                  </a:lnTo>
                  <a:lnTo>
                    <a:pt x="15555" y="33333"/>
                  </a:lnTo>
                  <a:lnTo>
                    <a:pt x="15555" y="33333"/>
                  </a:lnTo>
                  <a:lnTo>
                    <a:pt x="15555" y="40000"/>
                  </a:lnTo>
                  <a:lnTo>
                    <a:pt x="15555" y="40000"/>
                  </a:lnTo>
                  <a:lnTo>
                    <a:pt x="15555" y="50000"/>
                  </a:lnTo>
                  <a:lnTo>
                    <a:pt x="20000" y="56666"/>
                  </a:lnTo>
                  <a:lnTo>
                    <a:pt x="24444" y="50000"/>
                  </a:lnTo>
                  <a:lnTo>
                    <a:pt x="31111" y="50000"/>
                  </a:lnTo>
                  <a:lnTo>
                    <a:pt x="31111" y="56666"/>
                  </a:lnTo>
                  <a:lnTo>
                    <a:pt x="31111" y="63333"/>
                  </a:lnTo>
                  <a:lnTo>
                    <a:pt x="31111" y="63333"/>
                  </a:lnTo>
                  <a:lnTo>
                    <a:pt x="40000" y="63333"/>
                  </a:lnTo>
                  <a:lnTo>
                    <a:pt x="46666" y="56666"/>
                  </a:lnTo>
                  <a:lnTo>
                    <a:pt x="51111" y="50000"/>
                  </a:lnTo>
                  <a:lnTo>
                    <a:pt x="55555" y="56666"/>
                  </a:lnTo>
                  <a:lnTo>
                    <a:pt x="62222" y="50000"/>
                  </a:lnTo>
                  <a:lnTo>
                    <a:pt x="62222" y="50000"/>
                  </a:lnTo>
                  <a:lnTo>
                    <a:pt x="62222" y="50000"/>
                  </a:lnTo>
                  <a:lnTo>
                    <a:pt x="62222" y="56666"/>
                  </a:lnTo>
                  <a:lnTo>
                    <a:pt x="62222" y="56666"/>
                  </a:lnTo>
                  <a:lnTo>
                    <a:pt x="55555" y="56666"/>
                  </a:lnTo>
                  <a:lnTo>
                    <a:pt x="51111" y="56666"/>
                  </a:lnTo>
                  <a:lnTo>
                    <a:pt x="46666" y="56666"/>
                  </a:lnTo>
                  <a:lnTo>
                    <a:pt x="46666" y="63333"/>
                  </a:lnTo>
                  <a:lnTo>
                    <a:pt x="46666" y="63333"/>
                  </a:lnTo>
                  <a:lnTo>
                    <a:pt x="51111" y="73333"/>
                  </a:lnTo>
                  <a:lnTo>
                    <a:pt x="51111" y="73333"/>
                  </a:lnTo>
                  <a:lnTo>
                    <a:pt x="51111" y="73333"/>
                  </a:lnTo>
                  <a:lnTo>
                    <a:pt x="55555" y="73333"/>
                  </a:lnTo>
                  <a:lnTo>
                    <a:pt x="62222" y="73333"/>
                  </a:lnTo>
                  <a:lnTo>
                    <a:pt x="62222" y="73333"/>
                  </a:lnTo>
                  <a:lnTo>
                    <a:pt x="62222" y="80000"/>
                  </a:lnTo>
                  <a:lnTo>
                    <a:pt x="55555" y="80000"/>
                  </a:lnTo>
                  <a:lnTo>
                    <a:pt x="46666" y="80000"/>
                  </a:lnTo>
                  <a:lnTo>
                    <a:pt x="46666" y="86666"/>
                  </a:lnTo>
                  <a:lnTo>
                    <a:pt x="46666" y="86666"/>
                  </a:lnTo>
                  <a:lnTo>
                    <a:pt x="51111" y="86666"/>
                  </a:lnTo>
                  <a:lnTo>
                    <a:pt x="51111" y="86666"/>
                  </a:lnTo>
                  <a:lnTo>
                    <a:pt x="51111" y="86666"/>
                  </a:lnTo>
                  <a:lnTo>
                    <a:pt x="51111" y="96666"/>
                  </a:lnTo>
                  <a:lnTo>
                    <a:pt x="51111" y="96666"/>
                  </a:lnTo>
                  <a:lnTo>
                    <a:pt x="51111" y="103333"/>
                  </a:lnTo>
                  <a:lnTo>
                    <a:pt x="51111" y="103333"/>
                  </a:lnTo>
                  <a:lnTo>
                    <a:pt x="55555" y="103333"/>
                  </a:lnTo>
                  <a:lnTo>
                    <a:pt x="55555" y="103333"/>
                  </a:lnTo>
                  <a:lnTo>
                    <a:pt x="55555" y="120000"/>
                  </a:lnTo>
                  <a:lnTo>
                    <a:pt x="55555" y="120000"/>
                  </a:lnTo>
                  <a:lnTo>
                    <a:pt x="62222" y="113333"/>
                  </a:lnTo>
                  <a:lnTo>
                    <a:pt x="62222" y="113333"/>
                  </a:lnTo>
                  <a:lnTo>
                    <a:pt x="62222" y="120000"/>
                  </a:lnTo>
                  <a:lnTo>
                    <a:pt x="62222" y="120000"/>
                  </a:lnTo>
                  <a:lnTo>
                    <a:pt x="66666" y="120000"/>
                  </a:lnTo>
                  <a:lnTo>
                    <a:pt x="66666" y="113333"/>
                  </a:lnTo>
                  <a:lnTo>
                    <a:pt x="77777" y="86666"/>
                  </a:lnTo>
                  <a:lnTo>
                    <a:pt x="77777" y="86666"/>
                  </a:lnTo>
                  <a:lnTo>
                    <a:pt x="77777" y="80000"/>
                  </a:lnTo>
                  <a:lnTo>
                    <a:pt x="82222" y="80000"/>
                  </a:lnTo>
                  <a:lnTo>
                    <a:pt x="88888" y="80000"/>
                  </a:lnTo>
                  <a:lnTo>
                    <a:pt x="93333" y="73333"/>
                  </a:lnTo>
                  <a:lnTo>
                    <a:pt x="97777" y="73333"/>
                  </a:lnTo>
                  <a:lnTo>
                    <a:pt x="104444" y="73333"/>
                  </a:lnTo>
                  <a:lnTo>
                    <a:pt x="108888" y="73333"/>
                  </a:lnTo>
                  <a:lnTo>
                    <a:pt x="120000" y="63333"/>
                  </a:lnTo>
                  <a:lnTo>
                    <a:pt x="120000" y="56666"/>
                  </a:lnTo>
                  <a:lnTo>
                    <a:pt x="120000" y="50000"/>
                  </a:lnTo>
                  <a:lnTo>
                    <a:pt x="120000" y="50000"/>
                  </a:lnTo>
                  <a:lnTo>
                    <a:pt x="113333" y="40000"/>
                  </a:lnTo>
                  <a:lnTo>
                    <a:pt x="113333" y="40000"/>
                  </a:lnTo>
                  <a:lnTo>
                    <a:pt x="113333" y="40000"/>
                  </a:lnTo>
                  <a:lnTo>
                    <a:pt x="108888" y="33333"/>
                  </a:lnTo>
                  <a:lnTo>
                    <a:pt x="108888" y="33333"/>
                  </a:lnTo>
                  <a:lnTo>
                    <a:pt x="113333" y="33333"/>
                  </a:lnTo>
                  <a:lnTo>
                    <a:pt x="113333" y="33333"/>
                  </a:lnTo>
                  <a:lnTo>
                    <a:pt x="120000" y="33333"/>
                  </a:lnTo>
                  <a:lnTo>
                    <a:pt x="120000" y="26666"/>
                  </a:lnTo>
                  <a:lnTo>
                    <a:pt x="120000" y="26666"/>
                  </a:lnTo>
                  <a:lnTo>
                    <a:pt x="120000" y="16666"/>
                  </a:lnTo>
                  <a:lnTo>
                    <a:pt x="120000" y="16666"/>
                  </a:lnTo>
                  <a:lnTo>
                    <a:pt x="120000" y="1000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76" name="Shape 476"/>
            <p:cNvSpPr/>
            <p:nvPr/>
          </p:nvSpPr>
          <p:spPr>
            <a:xfrm>
              <a:off x="3375" y="2540"/>
              <a:ext cx="0" cy="0"/>
            </a:xfrm>
            <a:custGeom>
              <a:avLst/>
              <a:gdLst/>
              <a:ahLst/>
              <a:cxnLst/>
              <a:rect l="0" t="0" r="0" b="0"/>
              <a:pathLst>
                <a:path w="120000" h="120000" extrusionOk="0">
                  <a:moveTo>
                    <a:pt x="120000" y="91034"/>
                  </a:moveTo>
                  <a:lnTo>
                    <a:pt x="120000" y="88965"/>
                  </a:lnTo>
                  <a:lnTo>
                    <a:pt x="117372" y="85862"/>
                  </a:lnTo>
                  <a:lnTo>
                    <a:pt x="115620" y="85862"/>
                  </a:lnTo>
                  <a:lnTo>
                    <a:pt x="115620" y="83793"/>
                  </a:lnTo>
                  <a:lnTo>
                    <a:pt x="115620" y="81724"/>
                  </a:lnTo>
                  <a:lnTo>
                    <a:pt x="115620" y="81724"/>
                  </a:lnTo>
                  <a:lnTo>
                    <a:pt x="117372" y="78620"/>
                  </a:lnTo>
                  <a:lnTo>
                    <a:pt x="117372" y="78620"/>
                  </a:lnTo>
                  <a:lnTo>
                    <a:pt x="117372" y="76551"/>
                  </a:lnTo>
                  <a:lnTo>
                    <a:pt x="115620" y="76551"/>
                  </a:lnTo>
                  <a:lnTo>
                    <a:pt x="115620" y="73448"/>
                  </a:lnTo>
                  <a:lnTo>
                    <a:pt x="115620" y="71379"/>
                  </a:lnTo>
                  <a:lnTo>
                    <a:pt x="115620" y="71379"/>
                  </a:lnTo>
                  <a:lnTo>
                    <a:pt x="112992" y="71379"/>
                  </a:lnTo>
                  <a:lnTo>
                    <a:pt x="112992" y="71379"/>
                  </a:lnTo>
                  <a:lnTo>
                    <a:pt x="111240" y="69310"/>
                  </a:lnTo>
                  <a:lnTo>
                    <a:pt x="111240" y="66206"/>
                  </a:lnTo>
                  <a:lnTo>
                    <a:pt x="111240" y="62068"/>
                  </a:lnTo>
                  <a:lnTo>
                    <a:pt x="111240" y="58965"/>
                  </a:lnTo>
                  <a:lnTo>
                    <a:pt x="111240" y="58965"/>
                  </a:lnTo>
                  <a:lnTo>
                    <a:pt x="112992" y="56896"/>
                  </a:lnTo>
                  <a:lnTo>
                    <a:pt x="112992" y="56896"/>
                  </a:lnTo>
                  <a:lnTo>
                    <a:pt x="115620" y="54827"/>
                  </a:lnTo>
                  <a:lnTo>
                    <a:pt x="115620" y="54827"/>
                  </a:lnTo>
                  <a:lnTo>
                    <a:pt x="115620" y="51724"/>
                  </a:lnTo>
                  <a:lnTo>
                    <a:pt x="115620" y="51724"/>
                  </a:lnTo>
                  <a:lnTo>
                    <a:pt x="111240" y="49655"/>
                  </a:lnTo>
                  <a:lnTo>
                    <a:pt x="109489" y="46551"/>
                  </a:lnTo>
                  <a:lnTo>
                    <a:pt x="109489" y="44482"/>
                  </a:lnTo>
                  <a:lnTo>
                    <a:pt x="109489" y="42413"/>
                  </a:lnTo>
                  <a:lnTo>
                    <a:pt x="109489" y="39310"/>
                  </a:lnTo>
                  <a:lnTo>
                    <a:pt x="109489" y="39310"/>
                  </a:lnTo>
                  <a:lnTo>
                    <a:pt x="109489" y="37241"/>
                  </a:lnTo>
                  <a:lnTo>
                    <a:pt x="109489" y="37241"/>
                  </a:lnTo>
                  <a:lnTo>
                    <a:pt x="106861" y="37241"/>
                  </a:lnTo>
                  <a:lnTo>
                    <a:pt x="106861" y="35172"/>
                  </a:lnTo>
                  <a:lnTo>
                    <a:pt x="105109" y="37241"/>
                  </a:lnTo>
                  <a:lnTo>
                    <a:pt x="105109" y="37241"/>
                  </a:lnTo>
                  <a:lnTo>
                    <a:pt x="105109" y="37241"/>
                  </a:lnTo>
                  <a:lnTo>
                    <a:pt x="103357" y="37241"/>
                  </a:lnTo>
                  <a:lnTo>
                    <a:pt x="103357" y="35172"/>
                  </a:lnTo>
                  <a:lnTo>
                    <a:pt x="105109" y="32068"/>
                  </a:lnTo>
                  <a:lnTo>
                    <a:pt x="106861" y="32068"/>
                  </a:lnTo>
                  <a:lnTo>
                    <a:pt x="106861" y="30000"/>
                  </a:lnTo>
                  <a:lnTo>
                    <a:pt x="106861" y="30000"/>
                  </a:lnTo>
                  <a:lnTo>
                    <a:pt x="109489" y="30000"/>
                  </a:lnTo>
                  <a:lnTo>
                    <a:pt x="109489" y="30000"/>
                  </a:lnTo>
                  <a:lnTo>
                    <a:pt x="109489" y="26896"/>
                  </a:lnTo>
                  <a:lnTo>
                    <a:pt x="106861" y="26896"/>
                  </a:lnTo>
                  <a:lnTo>
                    <a:pt x="105109" y="26896"/>
                  </a:lnTo>
                  <a:lnTo>
                    <a:pt x="105109" y="24827"/>
                  </a:lnTo>
                  <a:lnTo>
                    <a:pt x="105109" y="24827"/>
                  </a:lnTo>
                  <a:lnTo>
                    <a:pt x="103357" y="22758"/>
                  </a:lnTo>
                  <a:lnTo>
                    <a:pt x="103357" y="22758"/>
                  </a:lnTo>
                  <a:lnTo>
                    <a:pt x="103357" y="22758"/>
                  </a:lnTo>
                  <a:lnTo>
                    <a:pt x="100729" y="22758"/>
                  </a:lnTo>
                  <a:lnTo>
                    <a:pt x="100729" y="19655"/>
                  </a:lnTo>
                  <a:lnTo>
                    <a:pt x="100729" y="17586"/>
                  </a:lnTo>
                  <a:lnTo>
                    <a:pt x="100729" y="12413"/>
                  </a:lnTo>
                  <a:lnTo>
                    <a:pt x="98978" y="10344"/>
                  </a:lnTo>
                  <a:lnTo>
                    <a:pt x="98978" y="8275"/>
                  </a:lnTo>
                  <a:lnTo>
                    <a:pt x="98978" y="5172"/>
                  </a:lnTo>
                  <a:lnTo>
                    <a:pt x="97226" y="5172"/>
                  </a:lnTo>
                  <a:lnTo>
                    <a:pt x="94598" y="5172"/>
                  </a:lnTo>
                  <a:lnTo>
                    <a:pt x="94598" y="5172"/>
                  </a:lnTo>
                  <a:lnTo>
                    <a:pt x="92846" y="5172"/>
                  </a:lnTo>
                  <a:lnTo>
                    <a:pt x="92846" y="5172"/>
                  </a:lnTo>
                  <a:lnTo>
                    <a:pt x="92846" y="5172"/>
                  </a:lnTo>
                  <a:lnTo>
                    <a:pt x="92846" y="8275"/>
                  </a:lnTo>
                  <a:lnTo>
                    <a:pt x="92846" y="8275"/>
                  </a:lnTo>
                  <a:lnTo>
                    <a:pt x="92846" y="8275"/>
                  </a:lnTo>
                  <a:lnTo>
                    <a:pt x="92846" y="10344"/>
                  </a:lnTo>
                  <a:lnTo>
                    <a:pt x="92846" y="10344"/>
                  </a:lnTo>
                  <a:lnTo>
                    <a:pt x="91094" y="10344"/>
                  </a:lnTo>
                  <a:lnTo>
                    <a:pt x="88467" y="10344"/>
                  </a:lnTo>
                  <a:lnTo>
                    <a:pt x="88467" y="12413"/>
                  </a:lnTo>
                  <a:lnTo>
                    <a:pt x="86715" y="15517"/>
                  </a:lnTo>
                  <a:lnTo>
                    <a:pt x="86715" y="15517"/>
                  </a:lnTo>
                  <a:lnTo>
                    <a:pt x="86715" y="15517"/>
                  </a:lnTo>
                  <a:lnTo>
                    <a:pt x="82335" y="12413"/>
                  </a:lnTo>
                  <a:lnTo>
                    <a:pt x="80583" y="10344"/>
                  </a:lnTo>
                  <a:lnTo>
                    <a:pt x="77956" y="10344"/>
                  </a:lnTo>
                  <a:lnTo>
                    <a:pt x="76204" y="10344"/>
                  </a:lnTo>
                  <a:lnTo>
                    <a:pt x="76204" y="10344"/>
                  </a:lnTo>
                  <a:lnTo>
                    <a:pt x="74452" y="12413"/>
                  </a:lnTo>
                  <a:lnTo>
                    <a:pt x="71824" y="15517"/>
                  </a:lnTo>
                  <a:lnTo>
                    <a:pt x="71824" y="15517"/>
                  </a:lnTo>
                  <a:lnTo>
                    <a:pt x="71824" y="17586"/>
                  </a:lnTo>
                  <a:lnTo>
                    <a:pt x="71824" y="17586"/>
                  </a:lnTo>
                  <a:lnTo>
                    <a:pt x="71824" y="17586"/>
                  </a:lnTo>
                  <a:lnTo>
                    <a:pt x="70072" y="17586"/>
                  </a:lnTo>
                  <a:lnTo>
                    <a:pt x="70072" y="17586"/>
                  </a:lnTo>
                  <a:lnTo>
                    <a:pt x="70072" y="15517"/>
                  </a:lnTo>
                  <a:lnTo>
                    <a:pt x="68321" y="12413"/>
                  </a:lnTo>
                  <a:lnTo>
                    <a:pt x="68321" y="10344"/>
                  </a:lnTo>
                  <a:lnTo>
                    <a:pt x="65693" y="10344"/>
                  </a:lnTo>
                  <a:lnTo>
                    <a:pt x="65693" y="10344"/>
                  </a:lnTo>
                  <a:lnTo>
                    <a:pt x="63941" y="12413"/>
                  </a:lnTo>
                  <a:lnTo>
                    <a:pt x="63941" y="15517"/>
                  </a:lnTo>
                  <a:lnTo>
                    <a:pt x="62189" y="15517"/>
                  </a:lnTo>
                  <a:lnTo>
                    <a:pt x="62189" y="15517"/>
                  </a:lnTo>
                  <a:lnTo>
                    <a:pt x="59562" y="12413"/>
                  </a:lnTo>
                  <a:lnTo>
                    <a:pt x="57810" y="10344"/>
                  </a:lnTo>
                  <a:lnTo>
                    <a:pt x="57810" y="10344"/>
                  </a:lnTo>
                  <a:lnTo>
                    <a:pt x="59562" y="10344"/>
                  </a:lnTo>
                  <a:lnTo>
                    <a:pt x="59562" y="8275"/>
                  </a:lnTo>
                  <a:lnTo>
                    <a:pt x="59562" y="8275"/>
                  </a:lnTo>
                  <a:lnTo>
                    <a:pt x="59562" y="5172"/>
                  </a:lnTo>
                  <a:lnTo>
                    <a:pt x="59562" y="5172"/>
                  </a:lnTo>
                  <a:lnTo>
                    <a:pt x="57810" y="5172"/>
                  </a:lnTo>
                  <a:lnTo>
                    <a:pt x="53430" y="5172"/>
                  </a:lnTo>
                  <a:lnTo>
                    <a:pt x="51678" y="5172"/>
                  </a:lnTo>
                  <a:lnTo>
                    <a:pt x="49051" y="5172"/>
                  </a:lnTo>
                  <a:lnTo>
                    <a:pt x="47299" y="8275"/>
                  </a:lnTo>
                  <a:lnTo>
                    <a:pt x="45547" y="8275"/>
                  </a:lnTo>
                  <a:lnTo>
                    <a:pt x="42919" y="8275"/>
                  </a:lnTo>
                  <a:lnTo>
                    <a:pt x="42919" y="8275"/>
                  </a:lnTo>
                  <a:lnTo>
                    <a:pt x="41167" y="8275"/>
                  </a:lnTo>
                  <a:lnTo>
                    <a:pt x="41167" y="5172"/>
                  </a:lnTo>
                  <a:lnTo>
                    <a:pt x="39416" y="5172"/>
                  </a:lnTo>
                  <a:lnTo>
                    <a:pt x="36788" y="5172"/>
                  </a:lnTo>
                  <a:lnTo>
                    <a:pt x="36788" y="3103"/>
                  </a:lnTo>
                  <a:lnTo>
                    <a:pt x="35036" y="3103"/>
                  </a:lnTo>
                  <a:lnTo>
                    <a:pt x="35036" y="3103"/>
                  </a:lnTo>
                  <a:lnTo>
                    <a:pt x="35036" y="5172"/>
                  </a:lnTo>
                  <a:lnTo>
                    <a:pt x="35036" y="5172"/>
                  </a:lnTo>
                  <a:lnTo>
                    <a:pt x="33284" y="5172"/>
                  </a:lnTo>
                  <a:lnTo>
                    <a:pt x="33284" y="3103"/>
                  </a:lnTo>
                  <a:lnTo>
                    <a:pt x="33284" y="3103"/>
                  </a:lnTo>
                  <a:lnTo>
                    <a:pt x="33284" y="0"/>
                  </a:lnTo>
                  <a:lnTo>
                    <a:pt x="33284" y="0"/>
                  </a:lnTo>
                  <a:lnTo>
                    <a:pt x="33284" y="0"/>
                  </a:lnTo>
                  <a:lnTo>
                    <a:pt x="30656" y="0"/>
                  </a:lnTo>
                  <a:lnTo>
                    <a:pt x="28905" y="0"/>
                  </a:lnTo>
                  <a:lnTo>
                    <a:pt x="28905" y="0"/>
                  </a:lnTo>
                  <a:lnTo>
                    <a:pt x="22773" y="0"/>
                  </a:lnTo>
                  <a:lnTo>
                    <a:pt x="22773" y="3103"/>
                  </a:lnTo>
                  <a:lnTo>
                    <a:pt x="22773" y="5172"/>
                  </a:lnTo>
                  <a:lnTo>
                    <a:pt x="22773" y="5172"/>
                  </a:lnTo>
                  <a:lnTo>
                    <a:pt x="22773" y="8275"/>
                  </a:lnTo>
                  <a:lnTo>
                    <a:pt x="22773" y="8275"/>
                  </a:lnTo>
                  <a:lnTo>
                    <a:pt x="22773" y="10344"/>
                  </a:lnTo>
                  <a:lnTo>
                    <a:pt x="20145" y="10344"/>
                  </a:lnTo>
                  <a:lnTo>
                    <a:pt x="20145" y="10344"/>
                  </a:lnTo>
                  <a:lnTo>
                    <a:pt x="18394" y="10344"/>
                  </a:lnTo>
                  <a:lnTo>
                    <a:pt x="18394" y="10344"/>
                  </a:lnTo>
                  <a:lnTo>
                    <a:pt x="20145" y="12413"/>
                  </a:lnTo>
                  <a:lnTo>
                    <a:pt x="20145" y="12413"/>
                  </a:lnTo>
                  <a:lnTo>
                    <a:pt x="20145" y="12413"/>
                  </a:lnTo>
                  <a:lnTo>
                    <a:pt x="22773" y="15517"/>
                  </a:lnTo>
                  <a:lnTo>
                    <a:pt x="22773" y="15517"/>
                  </a:lnTo>
                  <a:lnTo>
                    <a:pt x="22773" y="17586"/>
                  </a:lnTo>
                  <a:lnTo>
                    <a:pt x="22773" y="19655"/>
                  </a:lnTo>
                  <a:lnTo>
                    <a:pt x="18394" y="22758"/>
                  </a:lnTo>
                  <a:lnTo>
                    <a:pt x="16642" y="22758"/>
                  </a:lnTo>
                  <a:lnTo>
                    <a:pt x="14014" y="22758"/>
                  </a:lnTo>
                  <a:lnTo>
                    <a:pt x="12262" y="22758"/>
                  </a:lnTo>
                  <a:lnTo>
                    <a:pt x="10510" y="24827"/>
                  </a:lnTo>
                  <a:lnTo>
                    <a:pt x="7883" y="24827"/>
                  </a:lnTo>
                  <a:lnTo>
                    <a:pt x="6131" y="24827"/>
                  </a:lnTo>
                  <a:lnTo>
                    <a:pt x="6131" y="26896"/>
                  </a:lnTo>
                  <a:lnTo>
                    <a:pt x="6131" y="26896"/>
                  </a:lnTo>
                  <a:lnTo>
                    <a:pt x="1751" y="35172"/>
                  </a:lnTo>
                  <a:lnTo>
                    <a:pt x="1751" y="37241"/>
                  </a:lnTo>
                  <a:lnTo>
                    <a:pt x="0" y="37241"/>
                  </a:lnTo>
                  <a:lnTo>
                    <a:pt x="0" y="39310"/>
                  </a:lnTo>
                  <a:lnTo>
                    <a:pt x="1751" y="42413"/>
                  </a:lnTo>
                  <a:lnTo>
                    <a:pt x="1751" y="42413"/>
                  </a:lnTo>
                  <a:lnTo>
                    <a:pt x="1751" y="37241"/>
                  </a:lnTo>
                  <a:lnTo>
                    <a:pt x="4379" y="37241"/>
                  </a:lnTo>
                  <a:lnTo>
                    <a:pt x="4379" y="37241"/>
                  </a:lnTo>
                  <a:lnTo>
                    <a:pt x="4379" y="37241"/>
                  </a:lnTo>
                  <a:lnTo>
                    <a:pt x="6131" y="39310"/>
                  </a:lnTo>
                  <a:lnTo>
                    <a:pt x="6131" y="42413"/>
                  </a:lnTo>
                  <a:lnTo>
                    <a:pt x="6131" y="44482"/>
                  </a:lnTo>
                  <a:lnTo>
                    <a:pt x="7883" y="42413"/>
                  </a:lnTo>
                  <a:lnTo>
                    <a:pt x="7883" y="42413"/>
                  </a:lnTo>
                  <a:lnTo>
                    <a:pt x="7883" y="44482"/>
                  </a:lnTo>
                  <a:lnTo>
                    <a:pt x="7883" y="46551"/>
                  </a:lnTo>
                  <a:lnTo>
                    <a:pt x="10510" y="54827"/>
                  </a:lnTo>
                  <a:lnTo>
                    <a:pt x="14014" y="56896"/>
                  </a:lnTo>
                  <a:lnTo>
                    <a:pt x="16642" y="56896"/>
                  </a:lnTo>
                  <a:lnTo>
                    <a:pt x="16642" y="54827"/>
                  </a:lnTo>
                  <a:lnTo>
                    <a:pt x="16642" y="56896"/>
                  </a:lnTo>
                  <a:lnTo>
                    <a:pt x="16642" y="56896"/>
                  </a:lnTo>
                  <a:lnTo>
                    <a:pt x="18394" y="58965"/>
                  </a:lnTo>
                  <a:lnTo>
                    <a:pt x="20145" y="62068"/>
                  </a:lnTo>
                  <a:lnTo>
                    <a:pt x="20145" y="62068"/>
                  </a:lnTo>
                  <a:lnTo>
                    <a:pt x="22773" y="58965"/>
                  </a:lnTo>
                  <a:lnTo>
                    <a:pt x="22773" y="58965"/>
                  </a:lnTo>
                  <a:lnTo>
                    <a:pt x="22773" y="62068"/>
                  </a:lnTo>
                  <a:lnTo>
                    <a:pt x="22773" y="64137"/>
                  </a:lnTo>
                  <a:lnTo>
                    <a:pt x="22773" y="66206"/>
                  </a:lnTo>
                  <a:lnTo>
                    <a:pt x="22773" y="69310"/>
                  </a:lnTo>
                  <a:lnTo>
                    <a:pt x="24525" y="69310"/>
                  </a:lnTo>
                  <a:lnTo>
                    <a:pt x="26277" y="71379"/>
                  </a:lnTo>
                  <a:lnTo>
                    <a:pt x="26277" y="71379"/>
                  </a:lnTo>
                  <a:lnTo>
                    <a:pt x="26277" y="73448"/>
                  </a:lnTo>
                  <a:lnTo>
                    <a:pt x="28905" y="76551"/>
                  </a:lnTo>
                  <a:lnTo>
                    <a:pt x="28905" y="76551"/>
                  </a:lnTo>
                  <a:lnTo>
                    <a:pt x="28905" y="78620"/>
                  </a:lnTo>
                  <a:lnTo>
                    <a:pt x="28905" y="78620"/>
                  </a:lnTo>
                  <a:lnTo>
                    <a:pt x="28905" y="78620"/>
                  </a:lnTo>
                  <a:lnTo>
                    <a:pt x="30656" y="78620"/>
                  </a:lnTo>
                  <a:lnTo>
                    <a:pt x="30656" y="78620"/>
                  </a:lnTo>
                  <a:lnTo>
                    <a:pt x="33284" y="78620"/>
                  </a:lnTo>
                  <a:lnTo>
                    <a:pt x="33284" y="78620"/>
                  </a:lnTo>
                  <a:lnTo>
                    <a:pt x="33284" y="76551"/>
                  </a:lnTo>
                  <a:lnTo>
                    <a:pt x="33284" y="73448"/>
                  </a:lnTo>
                  <a:lnTo>
                    <a:pt x="35036" y="73448"/>
                  </a:lnTo>
                  <a:lnTo>
                    <a:pt x="36788" y="71379"/>
                  </a:lnTo>
                  <a:lnTo>
                    <a:pt x="39416" y="69310"/>
                  </a:lnTo>
                  <a:lnTo>
                    <a:pt x="39416" y="69310"/>
                  </a:lnTo>
                  <a:lnTo>
                    <a:pt x="39416" y="66206"/>
                  </a:lnTo>
                  <a:lnTo>
                    <a:pt x="39416" y="66206"/>
                  </a:lnTo>
                  <a:lnTo>
                    <a:pt x="39416" y="66206"/>
                  </a:lnTo>
                  <a:lnTo>
                    <a:pt x="41167" y="64137"/>
                  </a:lnTo>
                  <a:lnTo>
                    <a:pt x="41167" y="64137"/>
                  </a:lnTo>
                  <a:lnTo>
                    <a:pt x="41167" y="62068"/>
                  </a:lnTo>
                  <a:lnTo>
                    <a:pt x="42919" y="62068"/>
                  </a:lnTo>
                  <a:lnTo>
                    <a:pt x="45547" y="58965"/>
                  </a:lnTo>
                  <a:lnTo>
                    <a:pt x="47299" y="62068"/>
                  </a:lnTo>
                  <a:lnTo>
                    <a:pt x="51678" y="58965"/>
                  </a:lnTo>
                  <a:lnTo>
                    <a:pt x="51678" y="58965"/>
                  </a:lnTo>
                  <a:lnTo>
                    <a:pt x="53430" y="58965"/>
                  </a:lnTo>
                  <a:lnTo>
                    <a:pt x="57810" y="58965"/>
                  </a:lnTo>
                  <a:lnTo>
                    <a:pt x="62189" y="58965"/>
                  </a:lnTo>
                  <a:lnTo>
                    <a:pt x="62189" y="58965"/>
                  </a:lnTo>
                  <a:lnTo>
                    <a:pt x="63941" y="58965"/>
                  </a:lnTo>
                  <a:lnTo>
                    <a:pt x="63941" y="62068"/>
                  </a:lnTo>
                  <a:lnTo>
                    <a:pt x="65693" y="64137"/>
                  </a:lnTo>
                  <a:lnTo>
                    <a:pt x="65693" y="66206"/>
                  </a:lnTo>
                  <a:lnTo>
                    <a:pt x="68321" y="69310"/>
                  </a:lnTo>
                  <a:lnTo>
                    <a:pt x="70072" y="71379"/>
                  </a:lnTo>
                  <a:lnTo>
                    <a:pt x="70072" y="73448"/>
                  </a:lnTo>
                  <a:lnTo>
                    <a:pt x="70072" y="73448"/>
                  </a:lnTo>
                  <a:lnTo>
                    <a:pt x="70072" y="73448"/>
                  </a:lnTo>
                  <a:lnTo>
                    <a:pt x="70072" y="76551"/>
                  </a:lnTo>
                  <a:lnTo>
                    <a:pt x="70072" y="78620"/>
                  </a:lnTo>
                  <a:lnTo>
                    <a:pt x="70072" y="78620"/>
                  </a:lnTo>
                  <a:lnTo>
                    <a:pt x="70072" y="78620"/>
                  </a:lnTo>
                  <a:lnTo>
                    <a:pt x="71824" y="78620"/>
                  </a:lnTo>
                  <a:lnTo>
                    <a:pt x="71824" y="81724"/>
                  </a:lnTo>
                  <a:lnTo>
                    <a:pt x="71824" y="83793"/>
                  </a:lnTo>
                  <a:lnTo>
                    <a:pt x="71824" y="85862"/>
                  </a:lnTo>
                  <a:lnTo>
                    <a:pt x="74452" y="85862"/>
                  </a:lnTo>
                  <a:lnTo>
                    <a:pt x="74452" y="88965"/>
                  </a:lnTo>
                  <a:lnTo>
                    <a:pt x="71824" y="91034"/>
                  </a:lnTo>
                  <a:lnTo>
                    <a:pt x="70072" y="93103"/>
                  </a:lnTo>
                  <a:lnTo>
                    <a:pt x="70072" y="93103"/>
                  </a:lnTo>
                  <a:lnTo>
                    <a:pt x="70072" y="96206"/>
                  </a:lnTo>
                  <a:lnTo>
                    <a:pt x="70072" y="96206"/>
                  </a:lnTo>
                  <a:lnTo>
                    <a:pt x="70072" y="96206"/>
                  </a:lnTo>
                  <a:lnTo>
                    <a:pt x="71824" y="96206"/>
                  </a:lnTo>
                  <a:lnTo>
                    <a:pt x="71824" y="96206"/>
                  </a:lnTo>
                  <a:lnTo>
                    <a:pt x="74452" y="93103"/>
                  </a:lnTo>
                  <a:lnTo>
                    <a:pt x="76204" y="91034"/>
                  </a:lnTo>
                  <a:lnTo>
                    <a:pt x="76204" y="91034"/>
                  </a:lnTo>
                  <a:lnTo>
                    <a:pt x="76204" y="91034"/>
                  </a:lnTo>
                  <a:lnTo>
                    <a:pt x="77956" y="91034"/>
                  </a:lnTo>
                  <a:lnTo>
                    <a:pt x="77956" y="91034"/>
                  </a:lnTo>
                  <a:lnTo>
                    <a:pt x="80583" y="91034"/>
                  </a:lnTo>
                  <a:lnTo>
                    <a:pt x="80583" y="91034"/>
                  </a:lnTo>
                  <a:lnTo>
                    <a:pt x="80583" y="93103"/>
                  </a:lnTo>
                  <a:lnTo>
                    <a:pt x="84087" y="91034"/>
                  </a:lnTo>
                  <a:lnTo>
                    <a:pt x="84087" y="91034"/>
                  </a:lnTo>
                  <a:lnTo>
                    <a:pt x="84087" y="91034"/>
                  </a:lnTo>
                  <a:lnTo>
                    <a:pt x="86715" y="93103"/>
                  </a:lnTo>
                  <a:lnTo>
                    <a:pt x="86715" y="93103"/>
                  </a:lnTo>
                  <a:lnTo>
                    <a:pt x="86715" y="91034"/>
                  </a:lnTo>
                  <a:lnTo>
                    <a:pt x="86715" y="91034"/>
                  </a:lnTo>
                  <a:lnTo>
                    <a:pt x="86715" y="91034"/>
                  </a:lnTo>
                  <a:lnTo>
                    <a:pt x="86715" y="93103"/>
                  </a:lnTo>
                  <a:lnTo>
                    <a:pt x="88467" y="93103"/>
                  </a:lnTo>
                  <a:lnTo>
                    <a:pt x="88467" y="93103"/>
                  </a:lnTo>
                  <a:lnTo>
                    <a:pt x="88467" y="96206"/>
                  </a:lnTo>
                  <a:lnTo>
                    <a:pt x="88467" y="96206"/>
                  </a:lnTo>
                  <a:lnTo>
                    <a:pt x="88467" y="98275"/>
                  </a:lnTo>
                  <a:lnTo>
                    <a:pt x="91094" y="98275"/>
                  </a:lnTo>
                  <a:lnTo>
                    <a:pt x="91094" y="100344"/>
                  </a:lnTo>
                  <a:lnTo>
                    <a:pt x="91094" y="100344"/>
                  </a:lnTo>
                  <a:lnTo>
                    <a:pt x="91094" y="100344"/>
                  </a:lnTo>
                  <a:lnTo>
                    <a:pt x="91094" y="103448"/>
                  </a:lnTo>
                  <a:lnTo>
                    <a:pt x="91094" y="103448"/>
                  </a:lnTo>
                  <a:lnTo>
                    <a:pt x="91094" y="105517"/>
                  </a:lnTo>
                  <a:lnTo>
                    <a:pt x="91094" y="105517"/>
                  </a:lnTo>
                  <a:lnTo>
                    <a:pt x="91094" y="108620"/>
                  </a:lnTo>
                  <a:lnTo>
                    <a:pt x="91094" y="110689"/>
                  </a:lnTo>
                  <a:lnTo>
                    <a:pt x="91094" y="110689"/>
                  </a:lnTo>
                  <a:lnTo>
                    <a:pt x="91094" y="112758"/>
                  </a:lnTo>
                  <a:lnTo>
                    <a:pt x="91094" y="115862"/>
                  </a:lnTo>
                  <a:lnTo>
                    <a:pt x="91094" y="115862"/>
                  </a:lnTo>
                  <a:lnTo>
                    <a:pt x="91094" y="115862"/>
                  </a:lnTo>
                  <a:lnTo>
                    <a:pt x="91094" y="115862"/>
                  </a:lnTo>
                  <a:lnTo>
                    <a:pt x="92846" y="115862"/>
                  </a:lnTo>
                  <a:lnTo>
                    <a:pt x="92846" y="115862"/>
                  </a:lnTo>
                  <a:lnTo>
                    <a:pt x="94598" y="117931"/>
                  </a:lnTo>
                  <a:lnTo>
                    <a:pt x="94598" y="117931"/>
                  </a:lnTo>
                  <a:lnTo>
                    <a:pt x="94598" y="117931"/>
                  </a:lnTo>
                  <a:lnTo>
                    <a:pt x="94598" y="120000"/>
                  </a:lnTo>
                  <a:lnTo>
                    <a:pt x="97226" y="120000"/>
                  </a:lnTo>
                  <a:lnTo>
                    <a:pt x="98978" y="117931"/>
                  </a:lnTo>
                  <a:lnTo>
                    <a:pt x="98978" y="117931"/>
                  </a:lnTo>
                  <a:lnTo>
                    <a:pt x="98978" y="117931"/>
                  </a:lnTo>
                  <a:lnTo>
                    <a:pt x="98978" y="117931"/>
                  </a:lnTo>
                  <a:lnTo>
                    <a:pt x="98978" y="117931"/>
                  </a:lnTo>
                  <a:lnTo>
                    <a:pt x="100729" y="115862"/>
                  </a:lnTo>
                  <a:lnTo>
                    <a:pt x="100729" y="112758"/>
                  </a:lnTo>
                  <a:lnTo>
                    <a:pt x="100729" y="112758"/>
                  </a:lnTo>
                  <a:lnTo>
                    <a:pt x="100729" y="112758"/>
                  </a:lnTo>
                  <a:lnTo>
                    <a:pt x="103357" y="110689"/>
                  </a:lnTo>
                  <a:lnTo>
                    <a:pt x="103357" y="110689"/>
                  </a:lnTo>
                  <a:lnTo>
                    <a:pt x="103357" y="108620"/>
                  </a:lnTo>
                  <a:lnTo>
                    <a:pt x="103357" y="108620"/>
                  </a:lnTo>
                  <a:lnTo>
                    <a:pt x="105109" y="108620"/>
                  </a:lnTo>
                  <a:lnTo>
                    <a:pt x="105109" y="110689"/>
                  </a:lnTo>
                  <a:lnTo>
                    <a:pt x="105109" y="110689"/>
                  </a:lnTo>
                  <a:lnTo>
                    <a:pt x="105109" y="112758"/>
                  </a:lnTo>
                  <a:lnTo>
                    <a:pt x="106861" y="110689"/>
                  </a:lnTo>
                  <a:lnTo>
                    <a:pt x="106861" y="110689"/>
                  </a:lnTo>
                  <a:lnTo>
                    <a:pt x="109489" y="112758"/>
                  </a:lnTo>
                  <a:lnTo>
                    <a:pt x="111240" y="110689"/>
                  </a:lnTo>
                  <a:lnTo>
                    <a:pt x="111240" y="108620"/>
                  </a:lnTo>
                  <a:lnTo>
                    <a:pt x="111240" y="105517"/>
                  </a:lnTo>
                  <a:lnTo>
                    <a:pt x="111240" y="105517"/>
                  </a:lnTo>
                  <a:lnTo>
                    <a:pt x="112992" y="103448"/>
                  </a:lnTo>
                  <a:lnTo>
                    <a:pt x="112992" y="100344"/>
                  </a:lnTo>
                  <a:lnTo>
                    <a:pt x="112992" y="100344"/>
                  </a:lnTo>
                  <a:lnTo>
                    <a:pt x="112992" y="98275"/>
                  </a:lnTo>
                  <a:lnTo>
                    <a:pt x="112992" y="98275"/>
                  </a:lnTo>
                  <a:lnTo>
                    <a:pt x="112992" y="98275"/>
                  </a:lnTo>
                  <a:lnTo>
                    <a:pt x="111240" y="98275"/>
                  </a:lnTo>
                  <a:lnTo>
                    <a:pt x="111240" y="98275"/>
                  </a:lnTo>
                  <a:lnTo>
                    <a:pt x="109489" y="96206"/>
                  </a:lnTo>
                  <a:lnTo>
                    <a:pt x="109489" y="93103"/>
                  </a:lnTo>
                  <a:lnTo>
                    <a:pt x="109489" y="93103"/>
                  </a:lnTo>
                  <a:lnTo>
                    <a:pt x="111240" y="91034"/>
                  </a:lnTo>
                  <a:lnTo>
                    <a:pt x="111240" y="91034"/>
                  </a:lnTo>
                  <a:lnTo>
                    <a:pt x="112992" y="91034"/>
                  </a:lnTo>
                  <a:lnTo>
                    <a:pt x="115620" y="91034"/>
                  </a:lnTo>
                  <a:lnTo>
                    <a:pt x="115620" y="91034"/>
                  </a:lnTo>
                  <a:lnTo>
                    <a:pt x="117372" y="91034"/>
                  </a:lnTo>
                  <a:lnTo>
                    <a:pt x="117372" y="93103"/>
                  </a:lnTo>
                  <a:lnTo>
                    <a:pt x="117372" y="93103"/>
                  </a:lnTo>
                  <a:lnTo>
                    <a:pt x="120000" y="93103"/>
                  </a:lnTo>
                  <a:lnTo>
                    <a:pt x="120000" y="93103"/>
                  </a:lnTo>
                  <a:lnTo>
                    <a:pt x="120000" y="91034"/>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77" name="Shape 477"/>
            <p:cNvSpPr/>
            <p:nvPr/>
          </p:nvSpPr>
          <p:spPr>
            <a:xfrm>
              <a:off x="3636" y="1767"/>
              <a:ext cx="0" cy="0"/>
            </a:xfrm>
            <a:custGeom>
              <a:avLst/>
              <a:gdLst/>
              <a:ahLst/>
              <a:cxnLst/>
              <a:rect l="0" t="0" r="0" b="0"/>
              <a:pathLst>
                <a:path w="120000" h="120000" extrusionOk="0">
                  <a:moveTo>
                    <a:pt x="120000" y="0"/>
                  </a:moveTo>
                  <a:lnTo>
                    <a:pt x="120000" y="0"/>
                  </a:lnTo>
                  <a:lnTo>
                    <a:pt x="0" y="0"/>
                  </a:lnTo>
                  <a:lnTo>
                    <a:pt x="0" y="0"/>
                  </a:lnTo>
                  <a:lnTo>
                    <a:pt x="120000" y="0"/>
                  </a:lnTo>
                  <a:lnTo>
                    <a:pt x="120000" y="0"/>
                  </a:lnTo>
                  <a:lnTo>
                    <a:pt x="120000" y="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78" name="Shape 478"/>
            <p:cNvSpPr/>
            <p:nvPr/>
          </p:nvSpPr>
          <p:spPr>
            <a:xfrm>
              <a:off x="1956" y="2432"/>
              <a:ext cx="0" cy="0"/>
            </a:xfrm>
            <a:custGeom>
              <a:avLst/>
              <a:gdLst/>
              <a:ahLst/>
              <a:cxnLst/>
              <a:rect l="0" t="0" r="0" b="0"/>
              <a:pathLst>
                <a:path w="120000" h="120000" extrusionOk="0">
                  <a:moveTo>
                    <a:pt x="109230" y="56470"/>
                  </a:moveTo>
                  <a:lnTo>
                    <a:pt x="109230" y="56470"/>
                  </a:lnTo>
                  <a:lnTo>
                    <a:pt x="109230" y="56470"/>
                  </a:lnTo>
                  <a:lnTo>
                    <a:pt x="109230" y="59294"/>
                  </a:lnTo>
                  <a:lnTo>
                    <a:pt x="109230" y="59294"/>
                  </a:lnTo>
                  <a:lnTo>
                    <a:pt x="104615" y="59294"/>
                  </a:lnTo>
                  <a:lnTo>
                    <a:pt x="101538" y="56470"/>
                  </a:lnTo>
                  <a:lnTo>
                    <a:pt x="101538" y="56470"/>
                  </a:lnTo>
                  <a:lnTo>
                    <a:pt x="101538" y="56470"/>
                  </a:lnTo>
                  <a:lnTo>
                    <a:pt x="98461" y="56470"/>
                  </a:lnTo>
                  <a:lnTo>
                    <a:pt x="93846" y="56470"/>
                  </a:lnTo>
                  <a:lnTo>
                    <a:pt x="90769" y="56470"/>
                  </a:lnTo>
                  <a:lnTo>
                    <a:pt x="90769" y="56470"/>
                  </a:lnTo>
                  <a:lnTo>
                    <a:pt x="90769" y="49411"/>
                  </a:lnTo>
                  <a:lnTo>
                    <a:pt x="93846" y="36705"/>
                  </a:lnTo>
                  <a:lnTo>
                    <a:pt x="93846" y="29647"/>
                  </a:lnTo>
                  <a:lnTo>
                    <a:pt x="98461" y="19764"/>
                  </a:lnTo>
                  <a:lnTo>
                    <a:pt x="98461" y="16941"/>
                  </a:lnTo>
                  <a:lnTo>
                    <a:pt x="98461" y="5647"/>
                  </a:lnTo>
                  <a:lnTo>
                    <a:pt x="101538" y="0"/>
                  </a:lnTo>
                  <a:lnTo>
                    <a:pt x="93846" y="0"/>
                  </a:lnTo>
                  <a:lnTo>
                    <a:pt x="83076" y="0"/>
                  </a:lnTo>
                  <a:lnTo>
                    <a:pt x="72307" y="0"/>
                  </a:lnTo>
                  <a:lnTo>
                    <a:pt x="58461" y="0"/>
                  </a:lnTo>
                  <a:lnTo>
                    <a:pt x="50769" y="0"/>
                  </a:lnTo>
                  <a:lnTo>
                    <a:pt x="47692" y="5647"/>
                  </a:lnTo>
                  <a:lnTo>
                    <a:pt x="47692" y="9882"/>
                  </a:lnTo>
                  <a:lnTo>
                    <a:pt x="47692" y="16941"/>
                  </a:lnTo>
                  <a:lnTo>
                    <a:pt x="40000" y="16941"/>
                  </a:lnTo>
                  <a:lnTo>
                    <a:pt x="36923" y="16941"/>
                  </a:lnTo>
                  <a:lnTo>
                    <a:pt x="36923" y="16941"/>
                  </a:lnTo>
                  <a:lnTo>
                    <a:pt x="36923" y="16941"/>
                  </a:lnTo>
                  <a:lnTo>
                    <a:pt x="40000" y="19764"/>
                  </a:lnTo>
                  <a:lnTo>
                    <a:pt x="43076" y="22588"/>
                  </a:lnTo>
                  <a:lnTo>
                    <a:pt x="43076" y="26823"/>
                  </a:lnTo>
                  <a:lnTo>
                    <a:pt x="50769" y="29647"/>
                  </a:lnTo>
                  <a:lnTo>
                    <a:pt x="50769" y="32470"/>
                  </a:lnTo>
                  <a:lnTo>
                    <a:pt x="53846" y="36705"/>
                  </a:lnTo>
                  <a:lnTo>
                    <a:pt x="53846" y="36705"/>
                  </a:lnTo>
                  <a:lnTo>
                    <a:pt x="53846" y="39529"/>
                  </a:lnTo>
                  <a:lnTo>
                    <a:pt x="53846" y="39529"/>
                  </a:lnTo>
                  <a:lnTo>
                    <a:pt x="58461" y="39529"/>
                  </a:lnTo>
                  <a:lnTo>
                    <a:pt x="58461" y="42352"/>
                  </a:lnTo>
                  <a:lnTo>
                    <a:pt x="58461" y="42352"/>
                  </a:lnTo>
                  <a:lnTo>
                    <a:pt x="58461" y="46588"/>
                  </a:lnTo>
                  <a:lnTo>
                    <a:pt x="58461" y="49411"/>
                  </a:lnTo>
                  <a:lnTo>
                    <a:pt x="58461" y="53647"/>
                  </a:lnTo>
                  <a:lnTo>
                    <a:pt x="53846" y="53647"/>
                  </a:lnTo>
                  <a:lnTo>
                    <a:pt x="50769" y="53647"/>
                  </a:lnTo>
                  <a:lnTo>
                    <a:pt x="40000" y="53647"/>
                  </a:lnTo>
                  <a:lnTo>
                    <a:pt x="32307" y="53647"/>
                  </a:lnTo>
                  <a:lnTo>
                    <a:pt x="29230" y="53647"/>
                  </a:lnTo>
                  <a:lnTo>
                    <a:pt x="21538" y="53647"/>
                  </a:lnTo>
                  <a:lnTo>
                    <a:pt x="18461" y="56470"/>
                  </a:lnTo>
                  <a:lnTo>
                    <a:pt x="10769" y="63529"/>
                  </a:lnTo>
                  <a:lnTo>
                    <a:pt x="7692" y="69176"/>
                  </a:lnTo>
                  <a:lnTo>
                    <a:pt x="3076" y="73411"/>
                  </a:lnTo>
                  <a:lnTo>
                    <a:pt x="3076" y="76235"/>
                  </a:lnTo>
                  <a:lnTo>
                    <a:pt x="3076" y="76235"/>
                  </a:lnTo>
                  <a:lnTo>
                    <a:pt x="7692" y="79058"/>
                  </a:lnTo>
                  <a:lnTo>
                    <a:pt x="7692" y="83294"/>
                  </a:lnTo>
                  <a:lnTo>
                    <a:pt x="3076" y="83294"/>
                  </a:lnTo>
                  <a:lnTo>
                    <a:pt x="3076" y="83294"/>
                  </a:lnTo>
                  <a:lnTo>
                    <a:pt x="3076" y="86117"/>
                  </a:lnTo>
                  <a:lnTo>
                    <a:pt x="3076" y="90352"/>
                  </a:lnTo>
                  <a:lnTo>
                    <a:pt x="3076" y="90352"/>
                  </a:lnTo>
                  <a:lnTo>
                    <a:pt x="3076" y="93176"/>
                  </a:lnTo>
                  <a:lnTo>
                    <a:pt x="0" y="93176"/>
                  </a:lnTo>
                  <a:lnTo>
                    <a:pt x="0" y="96000"/>
                  </a:lnTo>
                  <a:lnTo>
                    <a:pt x="0" y="96000"/>
                  </a:lnTo>
                  <a:lnTo>
                    <a:pt x="10769" y="105882"/>
                  </a:lnTo>
                  <a:lnTo>
                    <a:pt x="13846" y="110117"/>
                  </a:lnTo>
                  <a:lnTo>
                    <a:pt x="21538" y="112941"/>
                  </a:lnTo>
                  <a:lnTo>
                    <a:pt x="29230" y="115764"/>
                  </a:lnTo>
                  <a:lnTo>
                    <a:pt x="43076" y="115764"/>
                  </a:lnTo>
                  <a:lnTo>
                    <a:pt x="47692" y="115764"/>
                  </a:lnTo>
                  <a:lnTo>
                    <a:pt x="58461" y="120000"/>
                  </a:lnTo>
                  <a:lnTo>
                    <a:pt x="58461" y="120000"/>
                  </a:lnTo>
                  <a:lnTo>
                    <a:pt x="58461" y="120000"/>
                  </a:lnTo>
                  <a:lnTo>
                    <a:pt x="58461" y="115764"/>
                  </a:lnTo>
                  <a:lnTo>
                    <a:pt x="61538" y="112941"/>
                  </a:lnTo>
                  <a:lnTo>
                    <a:pt x="64615" y="112941"/>
                  </a:lnTo>
                  <a:lnTo>
                    <a:pt x="64615" y="112941"/>
                  </a:lnTo>
                  <a:lnTo>
                    <a:pt x="69230" y="112941"/>
                  </a:lnTo>
                  <a:lnTo>
                    <a:pt x="69230" y="110117"/>
                  </a:lnTo>
                  <a:lnTo>
                    <a:pt x="69230" y="110117"/>
                  </a:lnTo>
                  <a:lnTo>
                    <a:pt x="72307" y="105882"/>
                  </a:lnTo>
                  <a:lnTo>
                    <a:pt x="72307" y="105882"/>
                  </a:lnTo>
                  <a:lnTo>
                    <a:pt x="76923" y="105882"/>
                  </a:lnTo>
                  <a:lnTo>
                    <a:pt x="76923" y="105882"/>
                  </a:lnTo>
                  <a:lnTo>
                    <a:pt x="76923" y="103058"/>
                  </a:lnTo>
                  <a:lnTo>
                    <a:pt x="76923" y="103058"/>
                  </a:lnTo>
                  <a:lnTo>
                    <a:pt x="76923" y="100235"/>
                  </a:lnTo>
                  <a:lnTo>
                    <a:pt x="76923" y="100235"/>
                  </a:lnTo>
                  <a:lnTo>
                    <a:pt x="80000" y="100235"/>
                  </a:lnTo>
                  <a:lnTo>
                    <a:pt x="80000" y="100235"/>
                  </a:lnTo>
                  <a:lnTo>
                    <a:pt x="80000" y="100235"/>
                  </a:lnTo>
                  <a:lnTo>
                    <a:pt x="80000" y="100235"/>
                  </a:lnTo>
                  <a:lnTo>
                    <a:pt x="83076" y="96000"/>
                  </a:lnTo>
                  <a:lnTo>
                    <a:pt x="87692" y="96000"/>
                  </a:lnTo>
                  <a:lnTo>
                    <a:pt x="87692" y="93176"/>
                  </a:lnTo>
                  <a:lnTo>
                    <a:pt x="87692" y="90352"/>
                  </a:lnTo>
                  <a:lnTo>
                    <a:pt x="87692" y="86117"/>
                  </a:lnTo>
                  <a:lnTo>
                    <a:pt x="87692" y="86117"/>
                  </a:lnTo>
                  <a:lnTo>
                    <a:pt x="87692" y="83294"/>
                  </a:lnTo>
                  <a:lnTo>
                    <a:pt x="90769" y="79058"/>
                  </a:lnTo>
                  <a:lnTo>
                    <a:pt x="93846" y="79058"/>
                  </a:lnTo>
                  <a:lnTo>
                    <a:pt x="93846" y="79058"/>
                  </a:lnTo>
                  <a:lnTo>
                    <a:pt x="98461" y="76235"/>
                  </a:lnTo>
                  <a:lnTo>
                    <a:pt x="104615" y="73411"/>
                  </a:lnTo>
                  <a:lnTo>
                    <a:pt x="109230" y="69176"/>
                  </a:lnTo>
                  <a:lnTo>
                    <a:pt x="112307" y="66352"/>
                  </a:lnTo>
                  <a:lnTo>
                    <a:pt x="115384" y="63529"/>
                  </a:lnTo>
                  <a:lnTo>
                    <a:pt x="120000" y="63529"/>
                  </a:lnTo>
                  <a:lnTo>
                    <a:pt x="109230" y="5647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79" name="Shape 479"/>
            <p:cNvSpPr/>
            <p:nvPr/>
          </p:nvSpPr>
          <p:spPr>
            <a:xfrm>
              <a:off x="2519" y="2460"/>
              <a:ext cx="0" cy="0"/>
            </a:xfrm>
            <a:custGeom>
              <a:avLst/>
              <a:gdLst/>
              <a:ahLst/>
              <a:cxnLst/>
              <a:rect l="0" t="0" r="0" b="0"/>
              <a:pathLst>
                <a:path w="120000" h="120000" extrusionOk="0">
                  <a:moveTo>
                    <a:pt x="30000" y="20000"/>
                  </a:moveTo>
                  <a:lnTo>
                    <a:pt x="30000" y="20000"/>
                  </a:lnTo>
                  <a:lnTo>
                    <a:pt x="0" y="20000"/>
                  </a:lnTo>
                  <a:lnTo>
                    <a:pt x="0" y="20000"/>
                  </a:lnTo>
                  <a:lnTo>
                    <a:pt x="0" y="100000"/>
                  </a:lnTo>
                  <a:lnTo>
                    <a:pt x="30000" y="100000"/>
                  </a:lnTo>
                  <a:lnTo>
                    <a:pt x="30000" y="120000"/>
                  </a:lnTo>
                  <a:lnTo>
                    <a:pt x="50000" y="100000"/>
                  </a:lnTo>
                  <a:lnTo>
                    <a:pt x="50000" y="100000"/>
                  </a:lnTo>
                  <a:lnTo>
                    <a:pt x="50000" y="50000"/>
                  </a:lnTo>
                  <a:lnTo>
                    <a:pt x="50000" y="50000"/>
                  </a:lnTo>
                  <a:lnTo>
                    <a:pt x="50000" y="50000"/>
                  </a:lnTo>
                  <a:lnTo>
                    <a:pt x="30000" y="20000"/>
                  </a:lnTo>
                  <a:close/>
                  <a:moveTo>
                    <a:pt x="120000" y="50000"/>
                  </a:moveTo>
                  <a:lnTo>
                    <a:pt x="100000" y="20000"/>
                  </a:lnTo>
                  <a:lnTo>
                    <a:pt x="70000" y="0"/>
                  </a:lnTo>
                  <a:lnTo>
                    <a:pt x="70000" y="0"/>
                  </a:lnTo>
                  <a:lnTo>
                    <a:pt x="70000" y="0"/>
                  </a:lnTo>
                  <a:lnTo>
                    <a:pt x="70000" y="0"/>
                  </a:lnTo>
                  <a:lnTo>
                    <a:pt x="50000" y="0"/>
                  </a:lnTo>
                  <a:lnTo>
                    <a:pt x="70000" y="20000"/>
                  </a:lnTo>
                  <a:lnTo>
                    <a:pt x="50000" y="50000"/>
                  </a:lnTo>
                  <a:lnTo>
                    <a:pt x="50000" y="50000"/>
                  </a:lnTo>
                  <a:lnTo>
                    <a:pt x="70000" y="50000"/>
                  </a:lnTo>
                  <a:lnTo>
                    <a:pt x="100000" y="50000"/>
                  </a:lnTo>
                  <a:lnTo>
                    <a:pt x="120000" y="5000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80" name="Shape 480"/>
            <p:cNvSpPr/>
            <p:nvPr/>
          </p:nvSpPr>
          <p:spPr>
            <a:xfrm>
              <a:off x="2848" y="1162"/>
              <a:ext cx="899" cy="300"/>
            </a:xfrm>
            <a:custGeom>
              <a:avLst/>
              <a:gdLst/>
              <a:ahLst/>
              <a:cxnLst/>
              <a:rect l="0" t="0" r="0" b="0"/>
              <a:pathLst>
                <a:path w="120000" h="120000" extrusionOk="0">
                  <a:moveTo>
                    <a:pt x="25941" y="113400"/>
                  </a:moveTo>
                  <a:lnTo>
                    <a:pt x="24827" y="114300"/>
                  </a:lnTo>
                  <a:lnTo>
                    <a:pt x="24827" y="114300"/>
                  </a:lnTo>
                  <a:lnTo>
                    <a:pt x="25145" y="114300"/>
                  </a:lnTo>
                  <a:lnTo>
                    <a:pt x="25623" y="114300"/>
                  </a:lnTo>
                  <a:lnTo>
                    <a:pt x="25623" y="114300"/>
                  </a:lnTo>
                  <a:lnTo>
                    <a:pt x="25623" y="114900"/>
                  </a:lnTo>
                  <a:lnTo>
                    <a:pt x="26259" y="114300"/>
                  </a:lnTo>
                  <a:lnTo>
                    <a:pt x="26259" y="113400"/>
                  </a:lnTo>
                  <a:lnTo>
                    <a:pt x="26259" y="113400"/>
                  </a:lnTo>
                  <a:lnTo>
                    <a:pt x="26737" y="112800"/>
                  </a:lnTo>
                  <a:lnTo>
                    <a:pt x="25941" y="113400"/>
                  </a:lnTo>
                  <a:close/>
                  <a:moveTo>
                    <a:pt x="52997" y="86400"/>
                  </a:moveTo>
                  <a:lnTo>
                    <a:pt x="52519" y="86400"/>
                  </a:lnTo>
                  <a:lnTo>
                    <a:pt x="52997" y="87300"/>
                  </a:lnTo>
                  <a:lnTo>
                    <a:pt x="52997" y="87300"/>
                  </a:lnTo>
                  <a:lnTo>
                    <a:pt x="53315" y="86400"/>
                  </a:lnTo>
                  <a:lnTo>
                    <a:pt x="53315" y="86400"/>
                  </a:lnTo>
                  <a:lnTo>
                    <a:pt x="53315" y="85800"/>
                  </a:lnTo>
                  <a:lnTo>
                    <a:pt x="52997" y="86400"/>
                  </a:lnTo>
                  <a:close/>
                  <a:moveTo>
                    <a:pt x="27851" y="65400"/>
                  </a:moveTo>
                  <a:lnTo>
                    <a:pt x="28169" y="65400"/>
                  </a:lnTo>
                  <a:lnTo>
                    <a:pt x="28169" y="65400"/>
                  </a:lnTo>
                  <a:lnTo>
                    <a:pt x="28169" y="64500"/>
                  </a:lnTo>
                  <a:lnTo>
                    <a:pt x="28488" y="64500"/>
                  </a:lnTo>
                  <a:lnTo>
                    <a:pt x="28965" y="63900"/>
                  </a:lnTo>
                  <a:lnTo>
                    <a:pt x="28965" y="63900"/>
                  </a:lnTo>
                  <a:lnTo>
                    <a:pt x="28965" y="63900"/>
                  </a:lnTo>
                  <a:lnTo>
                    <a:pt x="28488" y="63000"/>
                  </a:lnTo>
                  <a:lnTo>
                    <a:pt x="28169" y="63000"/>
                  </a:lnTo>
                  <a:lnTo>
                    <a:pt x="28169" y="63000"/>
                  </a:lnTo>
                  <a:lnTo>
                    <a:pt x="27851" y="63900"/>
                  </a:lnTo>
                  <a:lnTo>
                    <a:pt x="27851" y="63900"/>
                  </a:lnTo>
                  <a:lnTo>
                    <a:pt x="27374" y="64500"/>
                  </a:lnTo>
                  <a:lnTo>
                    <a:pt x="27374" y="64500"/>
                  </a:lnTo>
                  <a:lnTo>
                    <a:pt x="27374" y="65400"/>
                  </a:lnTo>
                  <a:lnTo>
                    <a:pt x="27374" y="65400"/>
                  </a:lnTo>
                  <a:lnTo>
                    <a:pt x="27374" y="65400"/>
                  </a:lnTo>
                  <a:lnTo>
                    <a:pt x="27851" y="65400"/>
                  </a:lnTo>
                  <a:close/>
                  <a:moveTo>
                    <a:pt x="20689" y="63000"/>
                  </a:moveTo>
                  <a:lnTo>
                    <a:pt x="20689" y="63000"/>
                  </a:lnTo>
                  <a:lnTo>
                    <a:pt x="20371" y="63000"/>
                  </a:lnTo>
                  <a:lnTo>
                    <a:pt x="19893" y="64500"/>
                  </a:lnTo>
                  <a:lnTo>
                    <a:pt x="19893" y="64500"/>
                  </a:lnTo>
                  <a:lnTo>
                    <a:pt x="19893" y="64500"/>
                  </a:lnTo>
                  <a:lnTo>
                    <a:pt x="19893" y="65400"/>
                  </a:lnTo>
                  <a:lnTo>
                    <a:pt x="20689" y="65400"/>
                  </a:lnTo>
                  <a:lnTo>
                    <a:pt x="21485" y="65400"/>
                  </a:lnTo>
                  <a:lnTo>
                    <a:pt x="21485" y="65400"/>
                  </a:lnTo>
                  <a:lnTo>
                    <a:pt x="21803" y="65400"/>
                  </a:lnTo>
                  <a:lnTo>
                    <a:pt x="21803" y="65400"/>
                  </a:lnTo>
                  <a:lnTo>
                    <a:pt x="21803" y="65400"/>
                  </a:lnTo>
                  <a:lnTo>
                    <a:pt x="22122" y="65400"/>
                  </a:lnTo>
                  <a:lnTo>
                    <a:pt x="22122" y="66000"/>
                  </a:lnTo>
                  <a:lnTo>
                    <a:pt x="21485" y="66000"/>
                  </a:lnTo>
                  <a:lnTo>
                    <a:pt x="21485" y="66000"/>
                  </a:lnTo>
                  <a:lnTo>
                    <a:pt x="21007" y="66000"/>
                  </a:lnTo>
                  <a:lnTo>
                    <a:pt x="21007" y="66000"/>
                  </a:lnTo>
                  <a:lnTo>
                    <a:pt x="21007" y="66000"/>
                  </a:lnTo>
                  <a:lnTo>
                    <a:pt x="21007" y="66600"/>
                  </a:lnTo>
                  <a:lnTo>
                    <a:pt x="21485" y="66600"/>
                  </a:lnTo>
                  <a:lnTo>
                    <a:pt x="21485" y="66600"/>
                  </a:lnTo>
                  <a:lnTo>
                    <a:pt x="21485" y="66600"/>
                  </a:lnTo>
                  <a:lnTo>
                    <a:pt x="21803" y="66600"/>
                  </a:lnTo>
                  <a:lnTo>
                    <a:pt x="23236" y="66600"/>
                  </a:lnTo>
                  <a:lnTo>
                    <a:pt x="23713" y="66000"/>
                  </a:lnTo>
                  <a:lnTo>
                    <a:pt x="25623" y="66000"/>
                  </a:lnTo>
                  <a:lnTo>
                    <a:pt x="25941" y="65400"/>
                  </a:lnTo>
                  <a:lnTo>
                    <a:pt x="25941" y="65400"/>
                  </a:lnTo>
                  <a:lnTo>
                    <a:pt x="26259" y="64500"/>
                  </a:lnTo>
                  <a:lnTo>
                    <a:pt x="25941" y="64500"/>
                  </a:lnTo>
                  <a:lnTo>
                    <a:pt x="25941" y="64500"/>
                  </a:lnTo>
                  <a:lnTo>
                    <a:pt x="25941" y="64500"/>
                  </a:lnTo>
                  <a:lnTo>
                    <a:pt x="26259" y="64500"/>
                  </a:lnTo>
                  <a:lnTo>
                    <a:pt x="26259" y="64500"/>
                  </a:lnTo>
                  <a:lnTo>
                    <a:pt x="26259" y="63900"/>
                  </a:lnTo>
                  <a:lnTo>
                    <a:pt x="25941" y="63900"/>
                  </a:lnTo>
                  <a:lnTo>
                    <a:pt x="25623" y="63900"/>
                  </a:lnTo>
                  <a:lnTo>
                    <a:pt x="24827" y="63000"/>
                  </a:lnTo>
                  <a:lnTo>
                    <a:pt x="24350" y="62400"/>
                  </a:lnTo>
                  <a:lnTo>
                    <a:pt x="24031" y="61800"/>
                  </a:lnTo>
                  <a:lnTo>
                    <a:pt x="24031" y="61800"/>
                  </a:lnTo>
                  <a:lnTo>
                    <a:pt x="22599" y="60900"/>
                  </a:lnTo>
                  <a:lnTo>
                    <a:pt x="22122" y="60900"/>
                  </a:lnTo>
                  <a:lnTo>
                    <a:pt x="21007" y="61800"/>
                  </a:lnTo>
                  <a:lnTo>
                    <a:pt x="21007" y="61800"/>
                  </a:lnTo>
                  <a:lnTo>
                    <a:pt x="20689" y="61800"/>
                  </a:lnTo>
                  <a:lnTo>
                    <a:pt x="20689" y="61800"/>
                  </a:lnTo>
                  <a:lnTo>
                    <a:pt x="20689" y="62400"/>
                  </a:lnTo>
                  <a:lnTo>
                    <a:pt x="20689" y="62400"/>
                  </a:lnTo>
                  <a:lnTo>
                    <a:pt x="20689" y="62400"/>
                  </a:lnTo>
                  <a:lnTo>
                    <a:pt x="21007" y="63000"/>
                  </a:lnTo>
                  <a:lnTo>
                    <a:pt x="21485" y="63000"/>
                  </a:lnTo>
                  <a:lnTo>
                    <a:pt x="21485" y="63000"/>
                  </a:lnTo>
                  <a:lnTo>
                    <a:pt x="20689" y="63000"/>
                  </a:lnTo>
                  <a:close/>
                  <a:moveTo>
                    <a:pt x="28488" y="58200"/>
                  </a:moveTo>
                  <a:lnTo>
                    <a:pt x="28488" y="58200"/>
                  </a:lnTo>
                  <a:lnTo>
                    <a:pt x="28488" y="58200"/>
                  </a:lnTo>
                  <a:lnTo>
                    <a:pt x="28488" y="58200"/>
                  </a:lnTo>
                  <a:lnTo>
                    <a:pt x="28169" y="57600"/>
                  </a:lnTo>
                  <a:lnTo>
                    <a:pt x="27851" y="58200"/>
                  </a:lnTo>
                  <a:lnTo>
                    <a:pt x="27851" y="58200"/>
                  </a:lnTo>
                  <a:lnTo>
                    <a:pt x="27851" y="58200"/>
                  </a:lnTo>
                  <a:lnTo>
                    <a:pt x="27851" y="58200"/>
                  </a:lnTo>
                  <a:lnTo>
                    <a:pt x="28169" y="58200"/>
                  </a:lnTo>
                  <a:lnTo>
                    <a:pt x="28488" y="58200"/>
                  </a:lnTo>
                  <a:close/>
                  <a:moveTo>
                    <a:pt x="83713" y="58800"/>
                  </a:moveTo>
                  <a:lnTo>
                    <a:pt x="83713" y="58800"/>
                  </a:lnTo>
                  <a:lnTo>
                    <a:pt x="84031" y="58200"/>
                  </a:lnTo>
                  <a:lnTo>
                    <a:pt x="83713" y="58200"/>
                  </a:lnTo>
                  <a:lnTo>
                    <a:pt x="83713" y="58200"/>
                  </a:lnTo>
                  <a:lnTo>
                    <a:pt x="83713" y="57600"/>
                  </a:lnTo>
                  <a:lnTo>
                    <a:pt x="83236" y="57600"/>
                  </a:lnTo>
                  <a:lnTo>
                    <a:pt x="83236" y="57600"/>
                  </a:lnTo>
                  <a:lnTo>
                    <a:pt x="83236" y="57600"/>
                  </a:lnTo>
                  <a:lnTo>
                    <a:pt x="81803" y="58200"/>
                  </a:lnTo>
                  <a:lnTo>
                    <a:pt x="81485" y="58200"/>
                  </a:lnTo>
                  <a:lnTo>
                    <a:pt x="80689" y="58200"/>
                  </a:lnTo>
                  <a:lnTo>
                    <a:pt x="79893" y="58200"/>
                  </a:lnTo>
                  <a:lnTo>
                    <a:pt x="79575" y="58200"/>
                  </a:lnTo>
                  <a:lnTo>
                    <a:pt x="79257" y="58200"/>
                  </a:lnTo>
                  <a:lnTo>
                    <a:pt x="79257" y="58200"/>
                  </a:lnTo>
                  <a:lnTo>
                    <a:pt x="78779" y="58800"/>
                  </a:lnTo>
                  <a:lnTo>
                    <a:pt x="78779" y="58800"/>
                  </a:lnTo>
                  <a:lnTo>
                    <a:pt x="78461" y="59700"/>
                  </a:lnTo>
                  <a:lnTo>
                    <a:pt x="78461" y="59700"/>
                  </a:lnTo>
                  <a:lnTo>
                    <a:pt x="77984" y="59700"/>
                  </a:lnTo>
                  <a:lnTo>
                    <a:pt x="77984" y="60300"/>
                  </a:lnTo>
                  <a:lnTo>
                    <a:pt x="77984" y="60300"/>
                  </a:lnTo>
                  <a:lnTo>
                    <a:pt x="77984" y="60300"/>
                  </a:lnTo>
                  <a:lnTo>
                    <a:pt x="77984" y="60300"/>
                  </a:lnTo>
                  <a:lnTo>
                    <a:pt x="78779" y="60300"/>
                  </a:lnTo>
                  <a:lnTo>
                    <a:pt x="79893" y="60300"/>
                  </a:lnTo>
                  <a:lnTo>
                    <a:pt x="81007" y="60300"/>
                  </a:lnTo>
                  <a:lnTo>
                    <a:pt x="81485" y="60300"/>
                  </a:lnTo>
                  <a:lnTo>
                    <a:pt x="81803" y="60300"/>
                  </a:lnTo>
                  <a:lnTo>
                    <a:pt x="81803" y="60300"/>
                  </a:lnTo>
                  <a:lnTo>
                    <a:pt x="82122" y="60300"/>
                  </a:lnTo>
                  <a:lnTo>
                    <a:pt x="82599" y="59700"/>
                  </a:lnTo>
                  <a:lnTo>
                    <a:pt x="82917" y="59700"/>
                  </a:lnTo>
                  <a:lnTo>
                    <a:pt x="83713" y="59700"/>
                  </a:lnTo>
                  <a:lnTo>
                    <a:pt x="83713" y="59700"/>
                  </a:lnTo>
                  <a:lnTo>
                    <a:pt x="83713" y="58800"/>
                  </a:lnTo>
                  <a:lnTo>
                    <a:pt x="83713" y="58800"/>
                  </a:lnTo>
                  <a:lnTo>
                    <a:pt x="83713" y="58800"/>
                  </a:lnTo>
                  <a:lnTo>
                    <a:pt x="83713" y="58800"/>
                  </a:lnTo>
                  <a:lnTo>
                    <a:pt x="83713" y="58800"/>
                  </a:lnTo>
                  <a:close/>
                  <a:moveTo>
                    <a:pt x="24827" y="57600"/>
                  </a:moveTo>
                  <a:lnTo>
                    <a:pt x="24827" y="57600"/>
                  </a:lnTo>
                  <a:lnTo>
                    <a:pt x="25145" y="57600"/>
                  </a:lnTo>
                  <a:lnTo>
                    <a:pt x="25145" y="57600"/>
                  </a:lnTo>
                  <a:lnTo>
                    <a:pt x="25145" y="56700"/>
                  </a:lnTo>
                  <a:lnTo>
                    <a:pt x="25145" y="56700"/>
                  </a:lnTo>
                  <a:lnTo>
                    <a:pt x="25623" y="56700"/>
                  </a:lnTo>
                  <a:lnTo>
                    <a:pt x="25145" y="56100"/>
                  </a:lnTo>
                  <a:lnTo>
                    <a:pt x="25145" y="56100"/>
                  </a:lnTo>
                  <a:lnTo>
                    <a:pt x="25145" y="56100"/>
                  </a:lnTo>
                  <a:lnTo>
                    <a:pt x="24350" y="56700"/>
                  </a:lnTo>
                  <a:lnTo>
                    <a:pt x="24350" y="56700"/>
                  </a:lnTo>
                  <a:lnTo>
                    <a:pt x="24031" y="56700"/>
                  </a:lnTo>
                  <a:lnTo>
                    <a:pt x="24031" y="57600"/>
                  </a:lnTo>
                  <a:lnTo>
                    <a:pt x="24350" y="57600"/>
                  </a:lnTo>
                  <a:lnTo>
                    <a:pt x="24827" y="57600"/>
                  </a:lnTo>
                  <a:close/>
                  <a:moveTo>
                    <a:pt x="22917" y="49800"/>
                  </a:moveTo>
                  <a:lnTo>
                    <a:pt x="23236" y="49800"/>
                  </a:lnTo>
                  <a:lnTo>
                    <a:pt x="23236" y="49800"/>
                  </a:lnTo>
                  <a:lnTo>
                    <a:pt x="23236" y="49800"/>
                  </a:lnTo>
                  <a:lnTo>
                    <a:pt x="23236" y="49800"/>
                  </a:lnTo>
                  <a:lnTo>
                    <a:pt x="24031" y="48900"/>
                  </a:lnTo>
                  <a:lnTo>
                    <a:pt x="24350" y="48900"/>
                  </a:lnTo>
                  <a:lnTo>
                    <a:pt x="24827" y="48300"/>
                  </a:lnTo>
                  <a:lnTo>
                    <a:pt x="24827" y="48300"/>
                  </a:lnTo>
                  <a:lnTo>
                    <a:pt x="24350" y="48300"/>
                  </a:lnTo>
                  <a:lnTo>
                    <a:pt x="24350" y="48300"/>
                  </a:lnTo>
                  <a:lnTo>
                    <a:pt x="24031" y="48300"/>
                  </a:lnTo>
                  <a:lnTo>
                    <a:pt x="23713" y="48300"/>
                  </a:lnTo>
                  <a:lnTo>
                    <a:pt x="23713" y="48300"/>
                  </a:lnTo>
                  <a:lnTo>
                    <a:pt x="23713" y="48300"/>
                  </a:lnTo>
                  <a:lnTo>
                    <a:pt x="22917" y="48300"/>
                  </a:lnTo>
                  <a:lnTo>
                    <a:pt x="22599" y="48900"/>
                  </a:lnTo>
                  <a:lnTo>
                    <a:pt x="22122" y="48900"/>
                  </a:lnTo>
                  <a:lnTo>
                    <a:pt x="22122" y="48900"/>
                  </a:lnTo>
                  <a:lnTo>
                    <a:pt x="22599" y="48900"/>
                  </a:lnTo>
                  <a:lnTo>
                    <a:pt x="22917" y="48900"/>
                  </a:lnTo>
                  <a:lnTo>
                    <a:pt x="22917" y="48900"/>
                  </a:lnTo>
                  <a:lnTo>
                    <a:pt x="22917" y="48900"/>
                  </a:lnTo>
                  <a:lnTo>
                    <a:pt x="22917" y="48900"/>
                  </a:lnTo>
                  <a:lnTo>
                    <a:pt x="22917" y="49800"/>
                  </a:lnTo>
                  <a:close/>
                  <a:moveTo>
                    <a:pt x="103129" y="36900"/>
                  </a:moveTo>
                  <a:lnTo>
                    <a:pt x="103129" y="36300"/>
                  </a:lnTo>
                  <a:lnTo>
                    <a:pt x="103129" y="36300"/>
                  </a:lnTo>
                  <a:lnTo>
                    <a:pt x="103129" y="35400"/>
                  </a:lnTo>
                  <a:lnTo>
                    <a:pt x="102493" y="35400"/>
                  </a:lnTo>
                  <a:lnTo>
                    <a:pt x="102015" y="35400"/>
                  </a:lnTo>
                  <a:lnTo>
                    <a:pt x="101697" y="35400"/>
                  </a:lnTo>
                  <a:lnTo>
                    <a:pt x="101379" y="35400"/>
                  </a:lnTo>
                  <a:lnTo>
                    <a:pt x="100901" y="36300"/>
                  </a:lnTo>
                  <a:lnTo>
                    <a:pt x="100901" y="36900"/>
                  </a:lnTo>
                  <a:lnTo>
                    <a:pt x="101379" y="37500"/>
                  </a:lnTo>
                  <a:lnTo>
                    <a:pt x="102015" y="37500"/>
                  </a:lnTo>
                  <a:lnTo>
                    <a:pt x="103607" y="37500"/>
                  </a:lnTo>
                  <a:lnTo>
                    <a:pt x="103925" y="36900"/>
                  </a:lnTo>
                  <a:lnTo>
                    <a:pt x="103925" y="36900"/>
                  </a:lnTo>
                  <a:lnTo>
                    <a:pt x="103129" y="36900"/>
                  </a:lnTo>
                  <a:close/>
                  <a:moveTo>
                    <a:pt x="102493" y="31800"/>
                  </a:moveTo>
                  <a:lnTo>
                    <a:pt x="102811" y="30600"/>
                  </a:lnTo>
                  <a:lnTo>
                    <a:pt x="102811" y="29100"/>
                  </a:lnTo>
                  <a:lnTo>
                    <a:pt x="102493" y="29100"/>
                  </a:lnTo>
                  <a:lnTo>
                    <a:pt x="102015" y="29100"/>
                  </a:lnTo>
                  <a:lnTo>
                    <a:pt x="102015" y="29700"/>
                  </a:lnTo>
                  <a:lnTo>
                    <a:pt x="101697" y="30600"/>
                  </a:lnTo>
                  <a:lnTo>
                    <a:pt x="102015" y="32700"/>
                  </a:lnTo>
                  <a:lnTo>
                    <a:pt x="102493" y="31800"/>
                  </a:lnTo>
                  <a:close/>
                  <a:moveTo>
                    <a:pt x="2228" y="25500"/>
                  </a:moveTo>
                  <a:lnTo>
                    <a:pt x="1909" y="25500"/>
                  </a:lnTo>
                  <a:lnTo>
                    <a:pt x="1909" y="25500"/>
                  </a:lnTo>
                  <a:lnTo>
                    <a:pt x="1114" y="25500"/>
                  </a:lnTo>
                  <a:lnTo>
                    <a:pt x="1114" y="25500"/>
                  </a:lnTo>
                  <a:lnTo>
                    <a:pt x="795" y="25500"/>
                  </a:lnTo>
                  <a:lnTo>
                    <a:pt x="477" y="25500"/>
                  </a:lnTo>
                  <a:lnTo>
                    <a:pt x="477" y="25500"/>
                  </a:lnTo>
                  <a:lnTo>
                    <a:pt x="0" y="25500"/>
                  </a:lnTo>
                  <a:lnTo>
                    <a:pt x="477" y="26100"/>
                  </a:lnTo>
                  <a:lnTo>
                    <a:pt x="795" y="26100"/>
                  </a:lnTo>
                  <a:lnTo>
                    <a:pt x="1591" y="26100"/>
                  </a:lnTo>
                  <a:lnTo>
                    <a:pt x="1909" y="26100"/>
                  </a:lnTo>
                  <a:lnTo>
                    <a:pt x="2228" y="25500"/>
                  </a:lnTo>
                  <a:close/>
                  <a:moveTo>
                    <a:pt x="105517" y="23400"/>
                  </a:moveTo>
                  <a:lnTo>
                    <a:pt x="105517" y="23400"/>
                  </a:lnTo>
                  <a:lnTo>
                    <a:pt x="104721" y="24000"/>
                  </a:lnTo>
                  <a:lnTo>
                    <a:pt x="104721" y="24000"/>
                  </a:lnTo>
                  <a:lnTo>
                    <a:pt x="104721" y="24900"/>
                  </a:lnTo>
                  <a:lnTo>
                    <a:pt x="105039" y="24900"/>
                  </a:lnTo>
                  <a:lnTo>
                    <a:pt x="105517" y="24000"/>
                  </a:lnTo>
                  <a:lnTo>
                    <a:pt x="105835" y="24000"/>
                  </a:lnTo>
                  <a:lnTo>
                    <a:pt x="105835" y="23400"/>
                  </a:lnTo>
                  <a:lnTo>
                    <a:pt x="105517" y="23400"/>
                  </a:lnTo>
                  <a:close/>
                  <a:moveTo>
                    <a:pt x="103925" y="21300"/>
                  </a:moveTo>
                  <a:lnTo>
                    <a:pt x="103925" y="20700"/>
                  </a:lnTo>
                  <a:lnTo>
                    <a:pt x="103607" y="21300"/>
                  </a:lnTo>
                  <a:lnTo>
                    <a:pt x="103129" y="21300"/>
                  </a:lnTo>
                  <a:lnTo>
                    <a:pt x="103129" y="21900"/>
                  </a:lnTo>
                  <a:lnTo>
                    <a:pt x="103129" y="22800"/>
                  </a:lnTo>
                  <a:lnTo>
                    <a:pt x="103129" y="23400"/>
                  </a:lnTo>
                  <a:lnTo>
                    <a:pt x="103607" y="22800"/>
                  </a:lnTo>
                  <a:lnTo>
                    <a:pt x="103925" y="22800"/>
                  </a:lnTo>
                  <a:lnTo>
                    <a:pt x="103607" y="21900"/>
                  </a:lnTo>
                  <a:lnTo>
                    <a:pt x="103925" y="21300"/>
                  </a:lnTo>
                  <a:lnTo>
                    <a:pt x="103925" y="21300"/>
                  </a:lnTo>
                  <a:close/>
                  <a:moveTo>
                    <a:pt x="107267" y="13500"/>
                  </a:moveTo>
                  <a:lnTo>
                    <a:pt x="106153" y="14100"/>
                  </a:lnTo>
                  <a:lnTo>
                    <a:pt x="105517" y="14100"/>
                  </a:lnTo>
                  <a:lnTo>
                    <a:pt x="105039" y="15000"/>
                  </a:lnTo>
                  <a:lnTo>
                    <a:pt x="105039" y="15000"/>
                  </a:lnTo>
                  <a:lnTo>
                    <a:pt x="105835" y="15000"/>
                  </a:lnTo>
                  <a:lnTo>
                    <a:pt x="106949" y="15000"/>
                  </a:lnTo>
                  <a:lnTo>
                    <a:pt x="107745" y="15000"/>
                  </a:lnTo>
                  <a:lnTo>
                    <a:pt x="108063" y="14100"/>
                  </a:lnTo>
                  <a:lnTo>
                    <a:pt x="108063" y="13500"/>
                  </a:lnTo>
                  <a:lnTo>
                    <a:pt x="107267" y="13500"/>
                  </a:lnTo>
                  <a:close/>
                  <a:moveTo>
                    <a:pt x="106949" y="6300"/>
                  </a:moveTo>
                  <a:lnTo>
                    <a:pt x="107267" y="6300"/>
                  </a:lnTo>
                  <a:lnTo>
                    <a:pt x="107745" y="6300"/>
                  </a:lnTo>
                  <a:lnTo>
                    <a:pt x="107267" y="5700"/>
                  </a:lnTo>
                  <a:lnTo>
                    <a:pt x="106949" y="5700"/>
                  </a:lnTo>
                  <a:lnTo>
                    <a:pt x="106631" y="5100"/>
                  </a:lnTo>
                  <a:lnTo>
                    <a:pt x="106153" y="5100"/>
                  </a:lnTo>
                  <a:lnTo>
                    <a:pt x="106153" y="5700"/>
                  </a:lnTo>
                  <a:lnTo>
                    <a:pt x="106153" y="5700"/>
                  </a:lnTo>
                  <a:lnTo>
                    <a:pt x="106631" y="6300"/>
                  </a:lnTo>
                  <a:lnTo>
                    <a:pt x="106949" y="6300"/>
                  </a:lnTo>
                  <a:close/>
                  <a:moveTo>
                    <a:pt x="59363" y="5100"/>
                  </a:moveTo>
                  <a:lnTo>
                    <a:pt x="60477" y="5100"/>
                  </a:lnTo>
                  <a:lnTo>
                    <a:pt x="60795" y="5700"/>
                  </a:lnTo>
                  <a:lnTo>
                    <a:pt x="61114" y="5700"/>
                  </a:lnTo>
                  <a:lnTo>
                    <a:pt x="61591" y="5100"/>
                  </a:lnTo>
                  <a:lnTo>
                    <a:pt x="61909" y="4200"/>
                  </a:lnTo>
                  <a:lnTo>
                    <a:pt x="61909" y="4200"/>
                  </a:lnTo>
                  <a:lnTo>
                    <a:pt x="61114" y="3600"/>
                  </a:lnTo>
                  <a:lnTo>
                    <a:pt x="59681" y="2700"/>
                  </a:lnTo>
                  <a:lnTo>
                    <a:pt x="58885" y="3600"/>
                  </a:lnTo>
                  <a:lnTo>
                    <a:pt x="57771" y="3600"/>
                  </a:lnTo>
                  <a:lnTo>
                    <a:pt x="57771" y="3600"/>
                  </a:lnTo>
                  <a:lnTo>
                    <a:pt x="57771" y="3600"/>
                  </a:lnTo>
                  <a:lnTo>
                    <a:pt x="58567" y="4200"/>
                  </a:lnTo>
                  <a:lnTo>
                    <a:pt x="59363" y="5100"/>
                  </a:lnTo>
                  <a:close/>
                  <a:moveTo>
                    <a:pt x="120000" y="7800"/>
                  </a:moveTo>
                  <a:lnTo>
                    <a:pt x="119681" y="7200"/>
                  </a:lnTo>
                  <a:lnTo>
                    <a:pt x="118885" y="7200"/>
                  </a:lnTo>
                  <a:lnTo>
                    <a:pt x="118567" y="7200"/>
                  </a:lnTo>
                  <a:lnTo>
                    <a:pt x="117771" y="7200"/>
                  </a:lnTo>
                  <a:lnTo>
                    <a:pt x="116339" y="6300"/>
                  </a:lnTo>
                  <a:lnTo>
                    <a:pt x="115543" y="6300"/>
                  </a:lnTo>
                  <a:lnTo>
                    <a:pt x="113633" y="6300"/>
                  </a:lnTo>
                  <a:lnTo>
                    <a:pt x="113315" y="6300"/>
                  </a:lnTo>
                  <a:lnTo>
                    <a:pt x="112997" y="6300"/>
                  </a:lnTo>
                  <a:lnTo>
                    <a:pt x="112201" y="6300"/>
                  </a:lnTo>
                  <a:lnTo>
                    <a:pt x="112201" y="6300"/>
                  </a:lnTo>
                  <a:lnTo>
                    <a:pt x="111883" y="6300"/>
                  </a:lnTo>
                  <a:lnTo>
                    <a:pt x="111405" y="7200"/>
                  </a:lnTo>
                  <a:lnTo>
                    <a:pt x="111087" y="7200"/>
                  </a:lnTo>
                  <a:lnTo>
                    <a:pt x="110291" y="7800"/>
                  </a:lnTo>
                  <a:lnTo>
                    <a:pt x="109973" y="7800"/>
                  </a:lnTo>
                  <a:lnTo>
                    <a:pt x="109973" y="7800"/>
                  </a:lnTo>
                  <a:lnTo>
                    <a:pt x="109177" y="7800"/>
                  </a:lnTo>
                  <a:lnTo>
                    <a:pt x="108859" y="7800"/>
                  </a:lnTo>
                  <a:lnTo>
                    <a:pt x="108381" y="7800"/>
                  </a:lnTo>
                  <a:lnTo>
                    <a:pt x="108063" y="7800"/>
                  </a:lnTo>
                  <a:lnTo>
                    <a:pt x="107745" y="7800"/>
                  </a:lnTo>
                  <a:lnTo>
                    <a:pt x="107267" y="7800"/>
                  </a:lnTo>
                  <a:lnTo>
                    <a:pt x="106631" y="7800"/>
                  </a:lnTo>
                  <a:lnTo>
                    <a:pt x="106631" y="7200"/>
                  </a:lnTo>
                  <a:lnTo>
                    <a:pt x="105835" y="7200"/>
                  </a:lnTo>
                  <a:lnTo>
                    <a:pt x="105039" y="7800"/>
                  </a:lnTo>
                  <a:lnTo>
                    <a:pt x="103129" y="8400"/>
                  </a:lnTo>
                  <a:lnTo>
                    <a:pt x="103129" y="8400"/>
                  </a:lnTo>
                  <a:lnTo>
                    <a:pt x="102493" y="8400"/>
                  </a:lnTo>
                  <a:lnTo>
                    <a:pt x="102015" y="9300"/>
                  </a:lnTo>
                  <a:lnTo>
                    <a:pt x="100901" y="9300"/>
                  </a:lnTo>
                  <a:lnTo>
                    <a:pt x="100583" y="9900"/>
                  </a:lnTo>
                  <a:lnTo>
                    <a:pt x="98992" y="9900"/>
                  </a:lnTo>
                  <a:lnTo>
                    <a:pt x="98992" y="9900"/>
                  </a:lnTo>
                  <a:lnTo>
                    <a:pt x="98992" y="10500"/>
                  </a:lnTo>
                  <a:lnTo>
                    <a:pt x="98673" y="10500"/>
                  </a:lnTo>
                  <a:lnTo>
                    <a:pt x="98355" y="10500"/>
                  </a:lnTo>
                  <a:lnTo>
                    <a:pt x="98355" y="10500"/>
                  </a:lnTo>
                  <a:lnTo>
                    <a:pt x="98673" y="9900"/>
                  </a:lnTo>
                  <a:lnTo>
                    <a:pt x="99787" y="9300"/>
                  </a:lnTo>
                  <a:lnTo>
                    <a:pt x="100265" y="9300"/>
                  </a:lnTo>
                  <a:lnTo>
                    <a:pt x="101379" y="8400"/>
                  </a:lnTo>
                  <a:lnTo>
                    <a:pt x="101697" y="8400"/>
                  </a:lnTo>
                  <a:lnTo>
                    <a:pt x="102015" y="7800"/>
                  </a:lnTo>
                  <a:lnTo>
                    <a:pt x="102811" y="7200"/>
                  </a:lnTo>
                  <a:lnTo>
                    <a:pt x="103129" y="7200"/>
                  </a:lnTo>
                  <a:lnTo>
                    <a:pt x="103129" y="6300"/>
                  </a:lnTo>
                  <a:lnTo>
                    <a:pt x="103129" y="6300"/>
                  </a:lnTo>
                  <a:lnTo>
                    <a:pt x="103129" y="5700"/>
                  </a:lnTo>
                  <a:lnTo>
                    <a:pt x="103129" y="5700"/>
                  </a:lnTo>
                  <a:lnTo>
                    <a:pt x="103129" y="5700"/>
                  </a:lnTo>
                  <a:lnTo>
                    <a:pt x="102493" y="5700"/>
                  </a:lnTo>
                  <a:lnTo>
                    <a:pt x="100901" y="5700"/>
                  </a:lnTo>
                  <a:lnTo>
                    <a:pt x="100265" y="5700"/>
                  </a:lnTo>
                  <a:lnTo>
                    <a:pt x="99787" y="5700"/>
                  </a:lnTo>
                  <a:lnTo>
                    <a:pt x="99787" y="5700"/>
                  </a:lnTo>
                  <a:lnTo>
                    <a:pt x="99469" y="5700"/>
                  </a:lnTo>
                  <a:lnTo>
                    <a:pt x="99469" y="6300"/>
                  </a:lnTo>
                  <a:lnTo>
                    <a:pt x="98992" y="6300"/>
                  </a:lnTo>
                  <a:lnTo>
                    <a:pt x="98992" y="6300"/>
                  </a:lnTo>
                  <a:lnTo>
                    <a:pt x="98673" y="7200"/>
                  </a:lnTo>
                  <a:lnTo>
                    <a:pt x="97559" y="7200"/>
                  </a:lnTo>
                  <a:lnTo>
                    <a:pt x="97241" y="6300"/>
                  </a:lnTo>
                  <a:lnTo>
                    <a:pt x="96127" y="5700"/>
                  </a:lnTo>
                  <a:lnTo>
                    <a:pt x="93103" y="5700"/>
                  </a:lnTo>
                  <a:lnTo>
                    <a:pt x="91511" y="5700"/>
                  </a:lnTo>
                  <a:lnTo>
                    <a:pt x="89283" y="5700"/>
                  </a:lnTo>
                  <a:lnTo>
                    <a:pt x="88169" y="5700"/>
                  </a:lnTo>
                  <a:lnTo>
                    <a:pt x="87851" y="5700"/>
                  </a:lnTo>
                  <a:lnTo>
                    <a:pt x="87851" y="5700"/>
                  </a:lnTo>
                  <a:lnTo>
                    <a:pt x="88169" y="5100"/>
                  </a:lnTo>
                  <a:lnTo>
                    <a:pt x="88488" y="5100"/>
                  </a:lnTo>
                  <a:lnTo>
                    <a:pt x="98673" y="5100"/>
                  </a:lnTo>
                  <a:lnTo>
                    <a:pt x="100265" y="4200"/>
                  </a:lnTo>
                  <a:lnTo>
                    <a:pt x="101379" y="4200"/>
                  </a:lnTo>
                  <a:lnTo>
                    <a:pt x="102493" y="4200"/>
                  </a:lnTo>
                  <a:lnTo>
                    <a:pt x="103129" y="3600"/>
                  </a:lnTo>
                  <a:lnTo>
                    <a:pt x="103129" y="3600"/>
                  </a:lnTo>
                  <a:lnTo>
                    <a:pt x="103129" y="3600"/>
                  </a:lnTo>
                  <a:lnTo>
                    <a:pt x="102811" y="2700"/>
                  </a:lnTo>
                  <a:lnTo>
                    <a:pt x="102811" y="2700"/>
                  </a:lnTo>
                  <a:lnTo>
                    <a:pt x="101697" y="2700"/>
                  </a:lnTo>
                  <a:lnTo>
                    <a:pt x="100265" y="2700"/>
                  </a:lnTo>
                  <a:lnTo>
                    <a:pt x="99469" y="2700"/>
                  </a:lnTo>
                  <a:lnTo>
                    <a:pt x="99469" y="2700"/>
                  </a:lnTo>
                  <a:lnTo>
                    <a:pt x="99469" y="2100"/>
                  </a:lnTo>
                  <a:lnTo>
                    <a:pt x="98673" y="2100"/>
                  </a:lnTo>
                  <a:lnTo>
                    <a:pt x="98355" y="2100"/>
                  </a:lnTo>
                  <a:lnTo>
                    <a:pt x="97877" y="2100"/>
                  </a:lnTo>
                  <a:lnTo>
                    <a:pt x="97559" y="1500"/>
                  </a:lnTo>
                  <a:lnTo>
                    <a:pt x="95649" y="1500"/>
                  </a:lnTo>
                  <a:lnTo>
                    <a:pt x="94217" y="1500"/>
                  </a:lnTo>
                  <a:lnTo>
                    <a:pt x="92625" y="1500"/>
                  </a:lnTo>
                  <a:lnTo>
                    <a:pt x="91989" y="1500"/>
                  </a:lnTo>
                  <a:lnTo>
                    <a:pt x="90397" y="1500"/>
                  </a:lnTo>
                  <a:lnTo>
                    <a:pt x="88965" y="1500"/>
                  </a:lnTo>
                  <a:lnTo>
                    <a:pt x="88169" y="1500"/>
                  </a:lnTo>
                  <a:lnTo>
                    <a:pt x="85941" y="2100"/>
                  </a:lnTo>
                  <a:lnTo>
                    <a:pt x="85623" y="2100"/>
                  </a:lnTo>
                  <a:lnTo>
                    <a:pt x="85145" y="2100"/>
                  </a:lnTo>
                  <a:lnTo>
                    <a:pt x="85623" y="1500"/>
                  </a:lnTo>
                  <a:lnTo>
                    <a:pt x="86259" y="1500"/>
                  </a:lnTo>
                  <a:lnTo>
                    <a:pt x="88965" y="1500"/>
                  </a:lnTo>
                  <a:lnTo>
                    <a:pt x="93103" y="1500"/>
                  </a:lnTo>
                  <a:lnTo>
                    <a:pt x="95649" y="1500"/>
                  </a:lnTo>
                  <a:lnTo>
                    <a:pt x="96127" y="1500"/>
                  </a:lnTo>
                  <a:lnTo>
                    <a:pt x="96445" y="600"/>
                  </a:lnTo>
                  <a:lnTo>
                    <a:pt x="96127" y="600"/>
                  </a:lnTo>
                  <a:lnTo>
                    <a:pt x="94217" y="600"/>
                  </a:lnTo>
                  <a:lnTo>
                    <a:pt x="93421" y="600"/>
                  </a:lnTo>
                  <a:lnTo>
                    <a:pt x="91989" y="600"/>
                  </a:lnTo>
                  <a:lnTo>
                    <a:pt x="91989" y="600"/>
                  </a:lnTo>
                  <a:lnTo>
                    <a:pt x="91193" y="0"/>
                  </a:lnTo>
                  <a:lnTo>
                    <a:pt x="89761" y="0"/>
                  </a:lnTo>
                  <a:lnTo>
                    <a:pt x="88169" y="0"/>
                  </a:lnTo>
                  <a:lnTo>
                    <a:pt x="84509" y="0"/>
                  </a:lnTo>
                  <a:lnTo>
                    <a:pt x="83713" y="0"/>
                  </a:lnTo>
                  <a:lnTo>
                    <a:pt x="82599" y="0"/>
                  </a:lnTo>
                  <a:lnTo>
                    <a:pt x="82122" y="0"/>
                  </a:lnTo>
                  <a:lnTo>
                    <a:pt x="81803" y="0"/>
                  </a:lnTo>
                  <a:lnTo>
                    <a:pt x="81485" y="0"/>
                  </a:lnTo>
                  <a:lnTo>
                    <a:pt x="81007" y="0"/>
                  </a:lnTo>
                  <a:lnTo>
                    <a:pt x="80371" y="0"/>
                  </a:lnTo>
                  <a:lnTo>
                    <a:pt x="79893" y="0"/>
                  </a:lnTo>
                  <a:lnTo>
                    <a:pt x="77984" y="0"/>
                  </a:lnTo>
                  <a:lnTo>
                    <a:pt x="77665" y="0"/>
                  </a:lnTo>
                  <a:lnTo>
                    <a:pt x="77665" y="0"/>
                  </a:lnTo>
                  <a:lnTo>
                    <a:pt x="77665" y="0"/>
                  </a:lnTo>
                  <a:lnTo>
                    <a:pt x="77665" y="0"/>
                  </a:lnTo>
                  <a:lnTo>
                    <a:pt x="76870" y="0"/>
                  </a:lnTo>
                  <a:lnTo>
                    <a:pt x="76233" y="0"/>
                  </a:lnTo>
                  <a:lnTo>
                    <a:pt x="75755" y="0"/>
                  </a:lnTo>
                  <a:lnTo>
                    <a:pt x="75755" y="0"/>
                  </a:lnTo>
                  <a:lnTo>
                    <a:pt x="75437" y="600"/>
                  </a:lnTo>
                  <a:lnTo>
                    <a:pt x="75119" y="600"/>
                  </a:lnTo>
                  <a:lnTo>
                    <a:pt x="75119" y="600"/>
                  </a:lnTo>
                  <a:lnTo>
                    <a:pt x="74323" y="600"/>
                  </a:lnTo>
                  <a:lnTo>
                    <a:pt x="74323" y="600"/>
                  </a:lnTo>
                  <a:lnTo>
                    <a:pt x="74005" y="600"/>
                  </a:lnTo>
                  <a:lnTo>
                    <a:pt x="74005" y="600"/>
                  </a:lnTo>
                  <a:lnTo>
                    <a:pt x="74005" y="600"/>
                  </a:lnTo>
                  <a:lnTo>
                    <a:pt x="74323" y="600"/>
                  </a:lnTo>
                  <a:lnTo>
                    <a:pt x="75119" y="1500"/>
                  </a:lnTo>
                  <a:lnTo>
                    <a:pt x="75119" y="1500"/>
                  </a:lnTo>
                  <a:lnTo>
                    <a:pt x="75119" y="1500"/>
                  </a:lnTo>
                  <a:lnTo>
                    <a:pt x="74641" y="2100"/>
                  </a:lnTo>
                  <a:lnTo>
                    <a:pt x="74641" y="2100"/>
                  </a:lnTo>
                  <a:lnTo>
                    <a:pt x="74641" y="2100"/>
                  </a:lnTo>
                  <a:lnTo>
                    <a:pt x="74323" y="2100"/>
                  </a:lnTo>
                  <a:lnTo>
                    <a:pt x="73527" y="1500"/>
                  </a:lnTo>
                  <a:lnTo>
                    <a:pt x="72732" y="1500"/>
                  </a:lnTo>
                  <a:lnTo>
                    <a:pt x="72413" y="1500"/>
                  </a:lnTo>
                  <a:lnTo>
                    <a:pt x="72095" y="600"/>
                  </a:lnTo>
                  <a:lnTo>
                    <a:pt x="71299" y="600"/>
                  </a:lnTo>
                  <a:lnTo>
                    <a:pt x="70503" y="600"/>
                  </a:lnTo>
                  <a:lnTo>
                    <a:pt x="69867" y="1500"/>
                  </a:lnTo>
                  <a:lnTo>
                    <a:pt x="69071" y="1500"/>
                  </a:lnTo>
                  <a:lnTo>
                    <a:pt x="68753" y="1500"/>
                  </a:lnTo>
                  <a:lnTo>
                    <a:pt x="68753" y="1500"/>
                  </a:lnTo>
                  <a:lnTo>
                    <a:pt x="68275" y="1500"/>
                  </a:lnTo>
                  <a:lnTo>
                    <a:pt x="67957" y="1500"/>
                  </a:lnTo>
                  <a:lnTo>
                    <a:pt x="67480" y="1500"/>
                  </a:lnTo>
                  <a:lnTo>
                    <a:pt x="66843" y="600"/>
                  </a:lnTo>
                  <a:lnTo>
                    <a:pt x="66366" y="600"/>
                  </a:lnTo>
                  <a:lnTo>
                    <a:pt x="66047" y="1500"/>
                  </a:lnTo>
                  <a:lnTo>
                    <a:pt x="64137" y="1500"/>
                  </a:lnTo>
                  <a:lnTo>
                    <a:pt x="63501" y="1500"/>
                  </a:lnTo>
                  <a:lnTo>
                    <a:pt x="62228" y="1500"/>
                  </a:lnTo>
                  <a:lnTo>
                    <a:pt x="61909" y="2100"/>
                  </a:lnTo>
                  <a:lnTo>
                    <a:pt x="61114" y="1500"/>
                  </a:lnTo>
                  <a:lnTo>
                    <a:pt x="60477" y="1500"/>
                  </a:lnTo>
                  <a:lnTo>
                    <a:pt x="60000" y="2100"/>
                  </a:lnTo>
                  <a:lnTo>
                    <a:pt x="60477" y="2700"/>
                  </a:lnTo>
                  <a:lnTo>
                    <a:pt x="60795" y="2700"/>
                  </a:lnTo>
                  <a:lnTo>
                    <a:pt x="61909" y="2700"/>
                  </a:lnTo>
                  <a:lnTo>
                    <a:pt x="62228" y="2100"/>
                  </a:lnTo>
                  <a:lnTo>
                    <a:pt x="62705" y="2100"/>
                  </a:lnTo>
                  <a:lnTo>
                    <a:pt x="63819" y="2700"/>
                  </a:lnTo>
                  <a:lnTo>
                    <a:pt x="68275" y="2700"/>
                  </a:lnTo>
                  <a:lnTo>
                    <a:pt x="68753" y="2700"/>
                  </a:lnTo>
                  <a:lnTo>
                    <a:pt x="68275" y="2700"/>
                  </a:lnTo>
                  <a:lnTo>
                    <a:pt x="67480" y="2700"/>
                  </a:lnTo>
                  <a:lnTo>
                    <a:pt x="67161" y="2700"/>
                  </a:lnTo>
                  <a:lnTo>
                    <a:pt x="67161" y="2700"/>
                  </a:lnTo>
                  <a:lnTo>
                    <a:pt x="66843" y="2700"/>
                  </a:lnTo>
                  <a:lnTo>
                    <a:pt x="66366" y="2700"/>
                  </a:lnTo>
                  <a:lnTo>
                    <a:pt x="61909" y="2700"/>
                  </a:lnTo>
                  <a:lnTo>
                    <a:pt x="61591" y="2700"/>
                  </a:lnTo>
                  <a:lnTo>
                    <a:pt x="61114" y="2700"/>
                  </a:lnTo>
                  <a:lnTo>
                    <a:pt x="61114" y="2700"/>
                  </a:lnTo>
                  <a:lnTo>
                    <a:pt x="62705" y="3600"/>
                  </a:lnTo>
                  <a:lnTo>
                    <a:pt x="63023" y="4200"/>
                  </a:lnTo>
                  <a:lnTo>
                    <a:pt x="62705" y="4200"/>
                  </a:lnTo>
                  <a:lnTo>
                    <a:pt x="62705" y="4200"/>
                  </a:lnTo>
                  <a:lnTo>
                    <a:pt x="62228" y="5100"/>
                  </a:lnTo>
                  <a:lnTo>
                    <a:pt x="61591" y="5700"/>
                  </a:lnTo>
                  <a:lnTo>
                    <a:pt x="61591" y="5700"/>
                  </a:lnTo>
                  <a:lnTo>
                    <a:pt x="61591" y="5700"/>
                  </a:lnTo>
                  <a:lnTo>
                    <a:pt x="61591" y="6300"/>
                  </a:lnTo>
                  <a:lnTo>
                    <a:pt x="61591" y="6300"/>
                  </a:lnTo>
                  <a:lnTo>
                    <a:pt x="61114" y="6300"/>
                  </a:lnTo>
                  <a:lnTo>
                    <a:pt x="61114" y="6300"/>
                  </a:lnTo>
                  <a:lnTo>
                    <a:pt x="60795" y="6300"/>
                  </a:lnTo>
                  <a:lnTo>
                    <a:pt x="60000" y="6300"/>
                  </a:lnTo>
                  <a:lnTo>
                    <a:pt x="58249" y="5700"/>
                  </a:lnTo>
                  <a:lnTo>
                    <a:pt x="56976" y="5100"/>
                  </a:lnTo>
                  <a:lnTo>
                    <a:pt x="54748" y="4200"/>
                  </a:lnTo>
                  <a:lnTo>
                    <a:pt x="52997" y="4200"/>
                  </a:lnTo>
                  <a:lnTo>
                    <a:pt x="51405" y="4200"/>
                  </a:lnTo>
                  <a:lnTo>
                    <a:pt x="51087" y="4200"/>
                  </a:lnTo>
                  <a:lnTo>
                    <a:pt x="51087" y="4200"/>
                  </a:lnTo>
                  <a:lnTo>
                    <a:pt x="51087" y="5100"/>
                  </a:lnTo>
                  <a:lnTo>
                    <a:pt x="51405" y="5100"/>
                  </a:lnTo>
                  <a:lnTo>
                    <a:pt x="52519" y="5700"/>
                  </a:lnTo>
                  <a:lnTo>
                    <a:pt x="52519" y="6300"/>
                  </a:lnTo>
                  <a:lnTo>
                    <a:pt x="52519" y="6300"/>
                  </a:lnTo>
                  <a:lnTo>
                    <a:pt x="52201" y="6300"/>
                  </a:lnTo>
                  <a:lnTo>
                    <a:pt x="51087" y="6300"/>
                  </a:lnTo>
                  <a:lnTo>
                    <a:pt x="50291" y="6300"/>
                  </a:lnTo>
                  <a:lnTo>
                    <a:pt x="49496" y="5700"/>
                  </a:lnTo>
                  <a:lnTo>
                    <a:pt x="49177" y="5700"/>
                  </a:lnTo>
                  <a:lnTo>
                    <a:pt x="47745" y="4200"/>
                  </a:lnTo>
                  <a:lnTo>
                    <a:pt x="47267" y="4200"/>
                  </a:lnTo>
                  <a:lnTo>
                    <a:pt x="46949" y="5100"/>
                  </a:lnTo>
                  <a:lnTo>
                    <a:pt x="46472" y="5100"/>
                  </a:lnTo>
                  <a:lnTo>
                    <a:pt x="46949" y="5700"/>
                  </a:lnTo>
                  <a:lnTo>
                    <a:pt x="46472" y="5700"/>
                  </a:lnTo>
                  <a:lnTo>
                    <a:pt x="46153" y="6300"/>
                  </a:lnTo>
                  <a:lnTo>
                    <a:pt x="46153" y="6300"/>
                  </a:lnTo>
                  <a:lnTo>
                    <a:pt x="45835" y="6300"/>
                  </a:lnTo>
                  <a:lnTo>
                    <a:pt x="45358" y="7200"/>
                  </a:lnTo>
                  <a:lnTo>
                    <a:pt x="45039" y="7200"/>
                  </a:lnTo>
                  <a:lnTo>
                    <a:pt x="45039" y="7200"/>
                  </a:lnTo>
                  <a:lnTo>
                    <a:pt x="45039" y="7200"/>
                  </a:lnTo>
                  <a:lnTo>
                    <a:pt x="45835" y="5700"/>
                  </a:lnTo>
                  <a:lnTo>
                    <a:pt x="45835" y="5100"/>
                  </a:lnTo>
                  <a:lnTo>
                    <a:pt x="45835" y="5100"/>
                  </a:lnTo>
                  <a:lnTo>
                    <a:pt x="45358" y="5100"/>
                  </a:lnTo>
                  <a:lnTo>
                    <a:pt x="45039" y="4200"/>
                  </a:lnTo>
                  <a:lnTo>
                    <a:pt x="44721" y="4200"/>
                  </a:lnTo>
                  <a:lnTo>
                    <a:pt x="44244" y="4200"/>
                  </a:lnTo>
                  <a:lnTo>
                    <a:pt x="43129" y="4200"/>
                  </a:lnTo>
                  <a:lnTo>
                    <a:pt x="42811" y="5100"/>
                  </a:lnTo>
                  <a:lnTo>
                    <a:pt x="42811" y="5100"/>
                  </a:lnTo>
                  <a:lnTo>
                    <a:pt x="41379" y="5100"/>
                  </a:lnTo>
                  <a:lnTo>
                    <a:pt x="40901" y="5100"/>
                  </a:lnTo>
                  <a:lnTo>
                    <a:pt x="38673" y="5100"/>
                  </a:lnTo>
                  <a:lnTo>
                    <a:pt x="36763" y="5700"/>
                  </a:lnTo>
                  <a:lnTo>
                    <a:pt x="35649" y="5700"/>
                  </a:lnTo>
                  <a:lnTo>
                    <a:pt x="35649" y="5700"/>
                  </a:lnTo>
                  <a:lnTo>
                    <a:pt x="36127" y="6300"/>
                  </a:lnTo>
                  <a:lnTo>
                    <a:pt x="36445" y="6300"/>
                  </a:lnTo>
                  <a:lnTo>
                    <a:pt x="36763" y="6300"/>
                  </a:lnTo>
                  <a:lnTo>
                    <a:pt x="37241" y="7200"/>
                  </a:lnTo>
                  <a:lnTo>
                    <a:pt x="38355" y="7800"/>
                  </a:lnTo>
                  <a:lnTo>
                    <a:pt x="38673" y="7800"/>
                  </a:lnTo>
                  <a:lnTo>
                    <a:pt x="38992" y="7800"/>
                  </a:lnTo>
                  <a:lnTo>
                    <a:pt x="38992" y="8400"/>
                  </a:lnTo>
                  <a:lnTo>
                    <a:pt x="38673" y="8400"/>
                  </a:lnTo>
                  <a:lnTo>
                    <a:pt x="38673" y="8400"/>
                  </a:lnTo>
                  <a:lnTo>
                    <a:pt x="38355" y="7800"/>
                  </a:lnTo>
                  <a:lnTo>
                    <a:pt x="37559" y="7800"/>
                  </a:lnTo>
                  <a:lnTo>
                    <a:pt x="37241" y="7200"/>
                  </a:lnTo>
                  <a:lnTo>
                    <a:pt x="36763" y="7200"/>
                  </a:lnTo>
                  <a:lnTo>
                    <a:pt x="36445" y="7200"/>
                  </a:lnTo>
                  <a:lnTo>
                    <a:pt x="35649" y="6300"/>
                  </a:lnTo>
                  <a:lnTo>
                    <a:pt x="35331" y="6300"/>
                  </a:lnTo>
                  <a:lnTo>
                    <a:pt x="34535" y="6300"/>
                  </a:lnTo>
                  <a:lnTo>
                    <a:pt x="34217" y="5700"/>
                  </a:lnTo>
                  <a:lnTo>
                    <a:pt x="33740" y="5700"/>
                  </a:lnTo>
                  <a:lnTo>
                    <a:pt x="33421" y="6300"/>
                  </a:lnTo>
                  <a:lnTo>
                    <a:pt x="32307" y="6300"/>
                  </a:lnTo>
                  <a:lnTo>
                    <a:pt x="31989" y="6300"/>
                  </a:lnTo>
                  <a:lnTo>
                    <a:pt x="31511" y="7200"/>
                  </a:lnTo>
                  <a:lnTo>
                    <a:pt x="31511" y="7200"/>
                  </a:lnTo>
                  <a:lnTo>
                    <a:pt x="31193" y="7200"/>
                  </a:lnTo>
                  <a:lnTo>
                    <a:pt x="31193" y="7800"/>
                  </a:lnTo>
                  <a:lnTo>
                    <a:pt x="30875" y="7800"/>
                  </a:lnTo>
                  <a:lnTo>
                    <a:pt x="30875" y="8400"/>
                  </a:lnTo>
                  <a:lnTo>
                    <a:pt x="30079" y="9300"/>
                  </a:lnTo>
                  <a:lnTo>
                    <a:pt x="29602" y="9300"/>
                  </a:lnTo>
                  <a:lnTo>
                    <a:pt x="29602" y="9300"/>
                  </a:lnTo>
                  <a:lnTo>
                    <a:pt x="29283" y="9300"/>
                  </a:lnTo>
                  <a:lnTo>
                    <a:pt x="28965" y="9300"/>
                  </a:lnTo>
                  <a:lnTo>
                    <a:pt x="28965" y="9300"/>
                  </a:lnTo>
                  <a:lnTo>
                    <a:pt x="28488" y="9300"/>
                  </a:lnTo>
                  <a:lnTo>
                    <a:pt x="27851" y="8400"/>
                  </a:lnTo>
                  <a:lnTo>
                    <a:pt x="27374" y="8400"/>
                  </a:lnTo>
                  <a:lnTo>
                    <a:pt x="27055" y="9300"/>
                  </a:lnTo>
                  <a:lnTo>
                    <a:pt x="26737" y="9300"/>
                  </a:lnTo>
                  <a:lnTo>
                    <a:pt x="26259" y="9300"/>
                  </a:lnTo>
                  <a:lnTo>
                    <a:pt x="26259" y="9900"/>
                  </a:lnTo>
                  <a:lnTo>
                    <a:pt x="26259" y="9900"/>
                  </a:lnTo>
                  <a:lnTo>
                    <a:pt x="26259" y="9900"/>
                  </a:lnTo>
                  <a:lnTo>
                    <a:pt x="25941" y="9900"/>
                  </a:lnTo>
                  <a:lnTo>
                    <a:pt x="25941" y="9300"/>
                  </a:lnTo>
                  <a:lnTo>
                    <a:pt x="25623" y="9300"/>
                  </a:lnTo>
                  <a:lnTo>
                    <a:pt x="25145" y="9300"/>
                  </a:lnTo>
                  <a:lnTo>
                    <a:pt x="24031" y="9900"/>
                  </a:lnTo>
                  <a:lnTo>
                    <a:pt x="23713" y="9900"/>
                  </a:lnTo>
                  <a:lnTo>
                    <a:pt x="22599" y="10500"/>
                  </a:lnTo>
                  <a:lnTo>
                    <a:pt x="21803" y="10500"/>
                  </a:lnTo>
                  <a:lnTo>
                    <a:pt x="21007" y="11400"/>
                  </a:lnTo>
                  <a:lnTo>
                    <a:pt x="20689" y="11400"/>
                  </a:lnTo>
                  <a:lnTo>
                    <a:pt x="20689" y="11400"/>
                  </a:lnTo>
                  <a:lnTo>
                    <a:pt x="20371" y="11400"/>
                  </a:lnTo>
                  <a:lnTo>
                    <a:pt x="19575" y="11400"/>
                  </a:lnTo>
                  <a:lnTo>
                    <a:pt x="19098" y="11400"/>
                  </a:lnTo>
                  <a:lnTo>
                    <a:pt x="17984" y="12000"/>
                  </a:lnTo>
                  <a:lnTo>
                    <a:pt x="17984" y="12000"/>
                  </a:lnTo>
                  <a:lnTo>
                    <a:pt x="17347" y="12900"/>
                  </a:lnTo>
                  <a:lnTo>
                    <a:pt x="17347" y="12900"/>
                  </a:lnTo>
                  <a:lnTo>
                    <a:pt x="17347" y="13500"/>
                  </a:lnTo>
                  <a:lnTo>
                    <a:pt x="17347" y="13500"/>
                  </a:lnTo>
                  <a:lnTo>
                    <a:pt x="17347" y="13500"/>
                  </a:lnTo>
                  <a:lnTo>
                    <a:pt x="17665" y="13500"/>
                  </a:lnTo>
                  <a:lnTo>
                    <a:pt x="18461" y="13500"/>
                  </a:lnTo>
                  <a:lnTo>
                    <a:pt x="18461" y="13500"/>
                  </a:lnTo>
                  <a:lnTo>
                    <a:pt x="19098" y="13500"/>
                  </a:lnTo>
                  <a:lnTo>
                    <a:pt x="19098" y="13500"/>
                  </a:lnTo>
                  <a:lnTo>
                    <a:pt x="19893" y="13500"/>
                  </a:lnTo>
                  <a:lnTo>
                    <a:pt x="20371" y="13500"/>
                  </a:lnTo>
                  <a:lnTo>
                    <a:pt x="20689" y="13500"/>
                  </a:lnTo>
                  <a:lnTo>
                    <a:pt x="21007" y="13500"/>
                  </a:lnTo>
                  <a:lnTo>
                    <a:pt x="21485" y="13500"/>
                  </a:lnTo>
                  <a:lnTo>
                    <a:pt x="21803" y="13500"/>
                  </a:lnTo>
                  <a:lnTo>
                    <a:pt x="22122" y="13500"/>
                  </a:lnTo>
                  <a:lnTo>
                    <a:pt x="22122" y="13500"/>
                  </a:lnTo>
                  <a:lnTo>
                    <a:pt x="22599" y="13500"/>
                  </a:lnTo>
                  <a:lnTo>
                    <a:pt x="22599" y="13500"/>
                  </a:lnTo>
                  <a:lnTo>
                    <a:pt x="21803" y="13500"/>
                  </a:lnTo>
                  <a:lnTo>
                    <a:pt x="21485" y="13500"/>
                  </a:lnTo>
                  <a:lnTo>
                    <a:pt x="21007" y="14100"/>
                  </a:lnTo>
                  <a:lnTo>
                    <a:pt x="21007" y="14100"/>
                  </a:lnTo>
                  <a:lnTo>
                    <a:pt x="20689" y="14100"/>
                  </a:lnTo>
                  <a:lnTo>
                    <a:pt x="20371" y="15000"/>
                  </a:lnTo>
                  <a:lnTo>
                    <a:pt x="19575" y="15600"/>
                  </a:lnTo>
                  <a:lnTo>
                    <a:pt x="18779" y="16200"/>
                  </a:lnTo>
                  <a:lnTo>
                    <a:pt x="18461" y="17100"/>
                  </a:lnTo>
                  <a:lnTo>
                    <a:pt x="17984" y="17100"/>
                  </a:lnTo>
                  <a:lnTo>
                    <a:pt x="17347" y="17700"/>
                  </a:lnTo>
                  <a:lnTo>
                    <a:pt x="16870" y="17700"/>
                  </a:lnTo>
                  <a:lnTo>
                    <a:pt x="16551" y="17700"/>
                  </a:lnTo>
                  <a:lnTo>
                    <a:pt x="16233" y="17700"/>
                  </a:lnTo>
                  <a:lnTo>
                    <a:pt x="15755" y="17700"/>
                  </a:lnTo>
                  <a:lnTo>
                    <a:pt x="14323" y="17700"/>
                  </a:lnTo>
                  <a:lnTo>
                    <a:pt x="13846" y="17700"/>
                  </a:lnTo>
                  <a:lnTo>
                    <a:pt x="13527" y="17700"/>
                  </a:lnTo>
                  <a:lnTo>
                    <a:pt x="13209" y="17700"/>
                  </a:lnTo>
                  <a:lnTo>
                    <a:pt x="12732" y="17700"/>
                  </a:lnTo>
                  <a:lnTo>
                    <a:pt x="12095" y="18300"/>
                  </a:lnTo>
                  <a:lnTo>
                    <a:pt x="11299" y="18300"/>
                  </a:lnTo>
                  <a:lnTo>
                    <a:pt x="10503" y="18300"/>
                  </a:lnTo>
                  <a:lnTo>
                    <a:pt x="10503" y="18300"/>
                  </a:lnTo>
                  <a:lnTo>
                    <a:pt x="10981" y="19200"/>
                  </a:lnTo>
                  <a:lnTo>
                    <a:pt x="10503" y="19200"/>
                  </a:lnTo>
                  <a:lnTo>
                    <a:pt x="10503" y="19200"/>
                  </a:lnTo>
                  <a:lnTo>
                    <a:pt x="8594" y="19200"/>
                  </a:lnTo>
                  <a:lnTo>
                    <a:pt x="7480" y="19800"/>
                  </a:lnTo>
                  <a:lnTo>
                    <a:pt x="7161" y="19800"/>
                  </a:lnTo>
                  <a:lnTo>
                    <a:pt x="6843" y="19800"/>
                  </a:lnTo>
                  <a:lnTo>
                    <a:pt x="6366" y="19800"/>
                  </a:lnTo>
                  <a:lnTo>
                    <a:pt x="5729" y="19800"/>
                  </a:lnTo>
                  <a:lnTo>
                    <a:pt x="5251" y="19800"/>
                  </a:lnTo>
                  <a:lnTo>
                    <a:pt x="4933" y="19800"/>
                  </a:lnTo>
                  <a:lnTo>
                    <a:pt x="4137" y="20700"/>
                  </a:lnTo>
                  <a:lnTo>
                    <a:pt x="3342" y="20700"/>
                  </a:lnTo>
                  <a:lnTo>
                    <a:pt x="3023" y="20700"/>
                  </a:lnTo>
                  <a:lnTo>
                    <a:pt x="2228" y="21300"/>
                  </a:lnTo>
                  <a:lnTo>
                    <a:pt x="2228" y="21300"/>
                  </a:lnTo>
                  <a:lnTo>
                    <a:pt x="2228" y="21300"/>
                  </a:lnTo>
                  <a:lnTo>
                    <a:pt x="2228" y="21300"/>
                  </a:lnTo>
                  <a:lnTo>
                    <a:pt x="2228" y="21300"/>
                  </a:lnTo>
                  <a:lnTo>
                    <a:pt x="1591" y="21900"/>
                  </a:lnTo>
                  <a:lnTo>
                    <a:pt x="1591" y="21900"/>
                  </a:lnTo>
                  <a:lnTo>
                    <a:pt x="1909" y="22800"/>
                  </a:lnTo>
                  <a:lnTo>
                    <a:pt x="2228" y="22800"/>
                  </a:lnTo>
                  <a:lnTo>
                    <a:pt x="2228" y="23400"/>
                  </a:lnTo>
                  <a:lnTo>
                    <a:pt x="2228" y="23400"/>
                  </a:lnTo>
                  <a:lnTo>
                    <a:pt x="3023" y="23400"/>
                  </a:lnTo>
                  <a:lnTo>
                    <a:pt x="3342" y="23400"/>
                  </a:lnTo>
                  <a:lnTo>
                    <a:pt x="3342" y="23400"/>
                  </a:lnTo>
                  <a:lnTo>
                    <a:pt x="3819" y="23400"/>
                  </a:lnTo>
                  <a:lnTo>
                    <a:pt x="4137" y="24000"/>
                  </a:lnTo>
                  <a:lnTo>
                    <a:pt x="4615" y="24000"/>
                  </a:lnTo>
                  <a:lnTo>
                    <a:pt x="4933" y="24000"/>
                  </a:lnTo>
                  <a:lnTo>
                    <a:pt x="5251" y="23400"/>
                  </a:lnTo>
                  <a:lnTo>
                    <a:pt x="6047" y="23400"/>
                  </a:lnTo>
                  <a:lnTo>
                    <a:pt x="6047" y="23400"/>
                  </a:lnTo>
                  <a:lnTo>
                    <a:pt x="5251" y="24000"/>
                  </a:lnTo>
                  <a:lnTo>
                    <a:pt x="4615" y="24000"/>
                  </a:lnTo>
                  <a:lnTo>
                    <a:pt x="4933" y="24000"/>
                  </a:lnTo>
                  <a:lnTo>
                    <a:pt x="5251" y="24000"/>
                  </a:lnTo>
                  <a:lnTo>
                    <a:pt x="5251" y="24900"/>
                  </a:lnTo>
                  <a:lnTo>
                    <a:pt x="5251" y="24900"/>
                  </a:lnTo>
                  <a:lnTo>
                    <a:pt x="5251" y="24900"/>
                  </a:lnTo>
                  <a:lnTo>
                    <a:pt x="6366" y="25500"/>
                  </a:lnTo>
                  <a:lnTo>
                    <a:pt x="6843" y="25500"/>
                  </a:lnTo>
                  <a:lnTo>
                    <a:pt x="6843" y="25500"/>
                  </a:lnTo>
                  <a:lnTo>
                    <a:pt x="7161" y="25500"/>
                  </a:lnTo>
                  <a:lnTo>
                    <a:pt x="7480" y="24900"/>
                  </a:lnTo>
                  <a:lnTo>
                    <a:pt x="7957" y="24900"/>
                  </a:lnTo>
                  <a:lnTo>
                    <a:pt x="8275" y="24900"/>
                  </a:lnTo>
                  <a:lnTo>
                    <a:pt x="8275" y="24900"/>
                  </a:lnTo>
                  <a:lnTo>
                    <a:pt x="8594" y="24900"/>
                  </a:lnTo>
                  <a:lnTo>
                    <a:pt x="9071" y="24900"/>
                  </a:lnTo>
                  <a:lnTo>
                    <a:pt x="9071" y="24900"/>
                  </a:lnTo>
                  <a:lnTo>
                    <a:pt x="9867" y="24900"/>
                  </a:lnTo>
                  <a:lnTo>
                    <a:pt x="10185" y="24900"/>
                  </a:lnTo>
                  <a:lnTo>
                    <a:pt x="10981" y="24900"/>
                  </a:lnTo>
                  <a:lnTo>
                    <a:pt x="11299" y="24000"/>
                  </a:lnTo>
                  <a:lnTo>
                    <a:pt x="11618" y="24000"/>
                  </a:lnTo>
                  <a:lnTo>
                    <a:pt x="12095" y="24000"/>
                  </a:lnTo>
                  <a:lnTo>
                    <a:pt x="12413" y="24900"/>
                  </a:lnTo>
                  <a:lnTo>
                    <a:pt x="12413" y="24900"/>
                  </a:lnTo>
                  <a:lnTo>
                    <a:pt x="12413" y="24900"/>
                  </a:lnTo>
                  <a:lnTo>
                    <a:pt x="12095" y="25500"/>
                  </a:lnTo>
                  <a:lnTo>
                    <a:pt x="11618" y="25500"/>
                  </a:lnTo>
                  <a:lnTo>
                    <a:pt x="11618" y="26100"/>
                  </a:lnTo>
                  <a:lnTo>
                    <a:pt x="11618" y="26100"/>
                  </a:lnTo>
                  <a:lnTo>
                    <a:pt x="11618" y="26100"/>
                  </a:lnTo>
                  <a:lnTo>
                    <a:pt x="11299" y="26100"/>
                  </a:lnTo>
                  <a:lnTo>
                    <a:pt x="10981" y="25500"/>
                  </a:lnTo>
                  <a:lnTo>
                    <a:pt x="9867" y="25500"/>
                  </a:lnTo>
                  <a:lnTo>
                    <a:pt x="8594" y="25500"/>
                  </a:lnTo>
                  <a:lnTo>
                    <a:pt x="7480" y="26100"/>
                  </a:lnTo>
                  <a:lnTo>
                    <a:pt x="7161" y="26100"/>
                  </a:lnTo>
                  <a:lnTo>
                    <a:pt x="6366" y="27000"/>
                  </a:lnTo>
                  <a:lnTo>
                    <a:pt x="5251" y="26100"/>
                  </a:lnTo>
                  <a:lnTo>
                    <a:pt x="3342" y="27000"/>
                  </a:lnTo>
                  <a:lnTo>
                    <a:pt x="2705" y="27000"/>
                  </a:lnTo>
                  <a:lnTo>
                    <a:pt x="2705" y="27000"/>
                  </a:lnTo>
                  <a:lnTo>
                    <a:pt x="2228" y="27000"/>
                  </a:lnTo>
                  <a:lnTo>
                    <a:pt x="1909" y="27000"/>
                  </a:lnTo>
                  <a:lnTo>
                    <a:pt x="1909" y="27600"/>
                  </a:lnTo>
                  <a:lnTo>
                    <a:pt x="1909" y="27600"/>
                  </a:lnTo>
                  <a:lnTo>
                    <a:pt x="2228" y="27600"/>
                  </a:lnTo>
                  <a:lnTo>
                    <a:pt x="2228" y="27600"/>
                  </a:lnTo>
                  <a:lnTo>
                    <a:pt x="2228" y="28500"/>
                  </a:lnTo>
                  <a:lnTo>
                    <a:pt x="2228" y="28500"/>
                  </a:lnTo>
                  <a:lnTo>
                    <a:pt x="2228" y="28500"/>
                  </a:lnTo>
                  <a:lnTo>
                    <a:pt x="2228" y="28500"/>
                  </a:lnTo>
                  <a:lnTo>
                    <a:pt x="2705" y="28500"/>
                  </a:lnTo>
                  <a:lnTo>
                    <a:pt x="3023" y="28500"/>
                  </a:lnTo>
                  <a:lnTo>
                    <a:pt x="4615" y="27600"/>
                  </a:lnTo>
                  <a:lnTo>
                    <a:pt x="4615" y="27600"/>
                  </a:lnTo>
                  <a:lnTo>
                    <a:pt x="4137" y="27600"/>
                  </a:lnTo>
                  <a:lnTo>
                    <a:pt x="3819" y="28500"/>
                  </a:lnTo>
                  <a:lnTo>
                    <a:pt x="3819" y="28500"/>
                  </a:lnTo>
                  <a:lnTo>
                    <a:pt x="3819" y="28500"/>
                  </a:lnTo>
                  <a:lnTo>
                    <a:pt x="3819" y="29100"/>
                  </a:lnTo>
                  <a:lnTo>
                    <a:pt x="3819" y="29100"/>
                  </a:lnTo>
                  <a:lnTo>
                    <a:pt x="4615" y="29100"/>
                  </a:lnTo>
                  <a:lnTo>
                    <a:pt x="5729" y="29100"/>
                  </a:lnTo>
                  <a:lnTo>
                    <a:pt x="6843" y="29100"/>
                  </a:lnTo>
                  <a:lnTo>
                    <a:pt x="6843" y="29100"/>
                  </a:lnTo>
                  <a:lnTo>
                    <a:pt x="6843" y="29100"/>
                  </a:lnTo>
                  <a:lnTo>
                    <a:pt x="6366" y="29100"/>
                  </a:lnTo>
                  <a:lnTo>
                    <a:pt x="5729" y="29700"/>
                  </a:lnTo>
                  <a:lnTo>
                    <a:pt x="5251" y="29700"/>
                  </a:lnTo>
                  <a:lnTo>
                    <a:pt x="3819" y="30600"/>
                  </a:lnTo>
                  <a:lnTo>
                    <a:pt x="3342" y="30600"/>
                  </a:lnTo>
                  <a:lnTo>
                    <a:pt x="3342" y="30600"/>
                  </a:lnTo>
                  <a:lnTo>
                    <a:pt x="3342" y="30600"/>
                  </a:lnTo>
                  <a:lnTo>
                    <a:pt x="3819" y="31200"/>
                  </a:lnTo>
                  <a:lnTo>
                    <a:pt x="4615" y="31200"/>
                  </a:lnTo>
                  <a:lnTo>
                    <a:pt x="4615" y="31800"/>
                  </a:lnTo>
                  <a:lnTo>
                    <a:pt x="4933" y="31800"/>
                  </a:lnTo>
                  <a:lnTo>
                    <a:pt x="5251" y="31800"/>
                  </a:lnTo>
                  <a:lnTo>
                    <a:pt x="7480" y="32700"/>
                  </a:lnTo>
                  <a:lnTo>
                    <a:pt x="7957" y="32700"/>
                  </a:lnTo>
                  <a:lnTo>
                    <a:pt x="7957" y="31800"/>
                  </a:lnTo>
                  <a:lnTo>
                    <a:pt x="7480" y="31800"/>
                  </a:lnTo>
                  <a:lnTo>
                    <a:pt x="7480" y="31200"/>
                  </a:lnTo>
                  <a:lnTo>
                    <a:pt x="7957" y="31200"/>
                  </a:lnTo>
                  <a:lnTo>
                    <a:pt x="8275" y="31200"/>
                  </a:lnTo>
                  <a:lnTo>
                    <a:pt x="8275" y="31800"/>
                  </a:lnTo>
                  <a:lnTo>
                    <a:pt x="8594" y="31800"/>
                  </a:lnTo>
                  <a:lnTo>
                    <a:pt x="8594" y="31800"/>
                  </a:lnTo>
                  <a:lnTo>
                    <a:pt x="9071" y="31800"/>
                  </a:lnTo>
                  <a:lnTo>
                    <a:pt x="9867" y="31200"/>
                  </a:lnTo>
                  <a:lnTo>
                    <a:pt x="10185" y="31200"/>
                  </a:lnTo>
                  <a:lnTo>
                    <a:pt x="10185" y="31200"/>
                  </a:lnTo>
                  <a:lnTo>
                    <a:pt x="10185" y="31200"/>
                  </a:lnTo>
                  <a:lnTo>
                    <a:pt x="10503" y="31800"/>
                  </a:lnTo>
                  <a:lnTo>
                    <a:pt x="10503" y="31800"/>
                  </a:lnTo>
                  <a:lnTo>
                    <a:pt x="10981" y="31800"/>
                  </a:lnTo>
                  <a:lnTo>
                    <a:pt x="10981" y="31800"/>
                  </a:lnTo>
                  <a:lnTo>
                    <a:pt x="10981" y="31800"/>
                  </a:lnTo>
                  <a:lnTo>
                    <a:pt x="11618" y="31800"/>
                  </a:lnTo>
                  <a:lnTo>
                    <a:pt x="12095" y="31800"/>
                  </a:lnTo>
                  <a:lnTo>
                    <a:pt x="12413" y="31200"/>
                  </a:lnTo>
                  <a:lnTo>
                    <a:pt x="12732" y="31200"/>
                  </a:lnTo>
                  <a:lnTo>
                    <a:pt x="13209" y="31200"/>
                  </a:lnTo>
                  <a:lnTo>
                    <a:pt x="13527" y="31200"/>
                  </a:lnTo>
                  <a:lnTo>
                    <a:pt x="13527" y="31200"/>
                  </a:lnTo>
                  <a:lnTo>
                    <a:pt x="13527" y="31200"/>
                  </a:lnTo>
                  <a:lnTo>
                    <a:pt x="13846" y="31200"/>
                  </a:lnTo>
                  <a:lnTo>
                    <a:pt x="13846" y="31200"/>
                  </a:lnTo>
                  <a:lnTo>
                    <a:pt x="14641" y="31200"/>
                  </a:lnTo>
                  <a:lnTo>
                    <a:pt x="15119" y="30600"/>
                  </a:lnTo>
                  <a:lnTo>
                    <a:pt x="15437" y="30600"/>
                  </a:lnTo>
                  <a:lnTo>
                    <a:pt x="15755" y="31200"/>
                  </a:lnTo>
                  <a:lnTo>
                    <a:pt x="16233" y="31200"/>
                  </a:lnTo>
                  <a:lnTo>
                    <a:pt x="16233" y="31200"/>
                  </a:lnTo>
                  <a:lnTo>
                    <a:pt x="16870" y="31200"/>
                  </a:lnTo>
                  <a:lnTo>
                    <a:pt x="17665" y="31200"/>
                  </a:lnTo>
                  <a:lnTo>
                    <a:pt x="18461" y="31200"/>
                  </a:lnTo>
                  <a:lnTo>
                    <a:pt x="18779" y="31200"/>
                  </a:lnTo>
                  <a:lnTo>
                    <a:pt x="19098" y="31800"/>
                  </a:lnTo>
                  <a:lnTo>
                    <a:pt x="19575" y="31800"/>
                  </a:lnTo>
                  <a:lnTo>
                    <a:pt x="20689" y="32700"/>
                  </a:lnTo>
                  <a:lnTo>
                    <a:pt x="21485" y="32700"/>
                  </a:lnTo>
                  <a:lnTo>
                    <a:pt x="21803" y="33300"/>
                  </a:lnTo>
                  <a:lnTo>
                    <a:pt x="22122" y="33300"/>
                  </a:lnTo>
                  <a:lnTo>
                    <a:pt x="22599" y="33300"/>
                  </a:lnTo>
                  <a:lnTo>
                    <a:pt x="22917" y="33900"/>
                  </a:lnTo>
                  <a:lnTo>
                    <a:pt x="23236" y="33900"/>
                  </a:lnTo>
                  <a:lnTo>
                    <a:pt x="23236" y="33900"/>
                  </a:lnTo>
                  <a:lnTo>
                    <a:pt x="23713" y="33900"/>
                  </a:lnTo>
                  <a:lnTo>
                    <a:pt x="23713" y="34800"/>
                  </a:lnTo>
                  <a:lnTo>
                    <a:pt x="23236" y="34800"/>
                  </a:lnTo>
                  <a:lnTo>
                    <a:pt x="22599" y="35400"/>
                  </a:lnTo>
                  <a:lnTo>
                    <a:pt x="22599" y="35400"/>
                  </a:lnTo>
                  <a:lnTo>
                    <a:pt x="22917" y="36300"/>
                  </a:lnTo>
                  <a:lnTo>
                    <a:pt x="23236" y="36300"/>
                  </a:lnTo>
                  <a:lnTo>
                    <a:pt x="23236" y="36300"/>
                  </a:lnTo>
                  <a:lnTo>
                    <a:pt x="23236" y="36900"/>
                  </a:lnTo>
                  <a:lnTo>
                    <a:pt x="23236" y="36900"/>
                  </a:lnTo>
                  <a:lnTo>
                    <a:pt x="24031" y="37500"/>
                  </a:lnTo>
                  <a:lnTo>
                    <a:pt x="24350" y="37500"/>
                  </a:lnTo>
                  <a:lnTo>
                    <a:pt x="24350" y="38400"/>
                  </a:lnTo>
                  <a:lnTo>
                    <a:pt x="24827" y="38400"/>
                  </a:lnTo>
                  <a:lnTo>
                    <a:pt x="24827" y="38400"/>
                  </a:lnTo>
                  <a:lnTo>
                    <a:pt x="24827" y="39000"/>
                  </a:lnTo>
                  <a:lnTo>
                    <a:pt x="24827" y="39000"/>
                  </a:lnTo>
                  <a:lnTo>
                    <a:pt x="25145" y="39000"/>
                  </a:lnTo>
                  <a:lnTo>
                    <a:pt x="25623" y="39600"/>
                  </a:lnTo>
                  <a:lnTo>
                    <a:pt x="25145" y="39600"/>
                  </a:lnTo>
                  <a:lnTo>
                    <a:pt x="25145" y="39600"/>
                  </a:lnTo>
                  <a:lnTo>
                    <a:pt x="24827" y="39600"/>
                  </a:lnTo>
                  <a:lnTo>
                    <a:pt x="24350" y="40500"/>
                  </a:lnTo>
                  <a:lnTo>
                    <a:pt x="24350" y="40500"/>
                  </a:lnTo>
                  <a:lnTo>
                    <a:pt x="24350" y="40500"/>
                  </a:lnTo>
                  <a:lnTo>
                    <a:pt x="24350" y="41100"/>
                  </a:lnTo>
                  <a:lnTo>
                    <a:pt x="24031" y="41100"/>
                  </a:lnTo>
                  <a:lnTo>
                    <a:pt x="23713" y="41100"/>
                  </a:lnTo>
                  <a:lnTo>
                    <a:pt x="23236" y="42000"/>
                  </a:lnTo>
                  <a:lnTo>
                    <a:pt x="22917" y="42000"/>
                  </a:lnTo>
                  <a:lnTo>
                    <a:pt x="22917" y="42000"/>
                  </a:lnTo>
                  <a:lnTo>
                    <a:pt x="23236" y="42000"/>
                  </a:lnTo>
                  <a:lnTo>
                    <a:pt x="24031" y="42000"/>
                  </a:lnTo>
                  <a:lnTo>
                    <a:pt x="24350" y="41100"/>
                  </a:lnTo>
                  <a:lnTo>
                    <a:pt x="24827" y="41100"/>
                  </a:lnTo>
                  <a:lnTo>
                    <a:pt x="24827" y="41100"/>
                  </a:lnTo>
                  <a:lnTo>
                    <a:pt x="24827" y="42000"/>
                  </a:lnTo>
                  <a:lnTo>
                    <a:pt x="24827" y="42000"/>
                  </a:lnTo>
                  <a:lnTo>
                    <a:pt x="24827" y="42600"/>
                  </a:lnTo>
                  <a:lnTo>
                    <a:pt x="25145" y="42600"/>
                  </a:lnTo>
                  <a:lnTo>
                    <a:pt x="25145" y="42600"/>
                  </a:lnTo>
                  <a:lnTo>
                    <a:pt x="24827" y="42600"/>
                  </a:lnTo>
                  <a:lnTo>
                    <a:pt x="25145" y="42600"/>
                  </a:lnTo>
                  <a:lnTo>
                    <a:pt x="25145" y="43200"/>
                  </a:lnTo>
                  <a:lnTo>
                    <a:pt x="24827" y="43200"/>
                  </a:lnTo>
                  <a:lnTo>
                    <a:pt x="24827" y="43200"/>
                  </a:lnTo>
                  <a:lnTo>
                    <a:pt x="24827" y="43200"/>
                  </a:lnTo>
                  <a:lnTo>
                    <a:pt x="24350" y="44100"/>
                  </a:lnTo>
                  <a:lnTo>
                    <a:pt x="24031" y="44100"/>
                  </a:lnTo>
                  <a:lnTo>
                    <a:pt x="24031" y="44700"/>
                  </a:lnTo>
                  <a:lnTo>
                    <a:pt x="24031" y="44700"/>
                  </a:lnTo>
                  <a:lnTo>
                    <a:pt x="24350" y="44700"/>
                  </a:lnTo>
                  <a:lnTo>
                    <a:pt x="24350" y="44700"/>
                  </a:lnTo>
                  <a:lnTo>
                    <a:pt x="24350" y="44700"/>
                  </a:lnTo>
                  <a:lnTo>
                    <a:pt x="24350" y="45300"/>
                  </a:lnTo>
                  <a:lnTo>
                    <a:pt x="24350" y="45300"/>
                  </a:lnTo>
                  <a:lnTo>
                    <a:pt x="24827" y="45300"/>
                  </a:lnTo>
                  <a:lnTo>
                    <a:pt x="25145" y="44700"/>
                  </a:lnTo>
                  <a:lnTo>
                    <a:pt x="25145" y="45300"/>
                  </a:lnTo>
                  <a:lnTo>
                    <a:pt x="25145" y="45300"/>
                  </a:lnTo>
                  <a:lnTo>
                    <a:pt x="25145" y="46200"/>
                  </a:lnTo>
                  <a:lnTo>
                    <a:pt x="24827" y="46200"/>
                  </a:lnTo>
                  <a:lnTo>
                    <a:pt x="24827" y="46800"/>
                  </a:lnTo>
                  <a:lnTo>
                    <a:pt x="24350" y="46800"/>
                  </a:lnTo>
                  <a:lnTo>
                    <a:pt x="24031" y="46800"/>
                  </a:lnTo>
                  <a:lnTo>
                    <a:pt x="24031" y="46800"/>
                  </a:lnTo>
                  <a:lnTo>
                    <a:pt x="24031" y="47400"/>
                  </a:lnTo>
                  <a:lnTo>
                    <a:pt x="24031" y="47400"/>
                  </a:lnTo>
                  <a:lnTo>
                    <a:pt x="24031" y="47400"/>
                  </a:lnTo>
                  <a:lnTo>
                    <a:pt x="24350" y="47400"/>
                  </a:lnTo>
                  <a:lnTo>
                    <a:pt x="24350" y="47400"/>
                  </a:lnTo>
                  <a:lnTo>
                    <a:pt x="24350" y="47400"/>
                  </a:lnTo>
                  <a:lnTo>
                    <a:pt x="24827" y="47400"/>
                  </a:lnTo>
                  <a:lnTo>
                    <a:pt x="24827" y="47400"/>
                  </a:lnTo>
                  <a:lnTo>
                    <a:pt x="25145" y="47400"/>
                  </a:lnTo>
                  <a:lnTo>
                    <a:pt x="25623" y="47400"/>
                  </a:lnTo>
                  <a:lnTo>
                    <a:pt x="25623" y="47400"/>
                  </a:lnTo>
                  <a:lnTo>
                    <a:pt x="25623" y="48300"/>
                  </a:lnTo>
                  <a:lnTo>
                    <a:pt x="25623" y="48300"/>
                  </a:lnTo>
                  <a:lnTo>
                    <a:pt x="25623" y="48300"/>
                  </a:lnTo>
                  <a:lnTo>
                    <a:pt x="25623" y="48900"/>
                  </a:lnTo>
                  <a:lnTo>
                    <a:pt x="25145" y="48900"/>
                  </a:lnTo>
                  <a:lnTo>
                    <a:pt x="25145" y="48900"/>
                  </a:lnTo>
                  <a:lnTo>
                    <a:pt x="24827" y="49800"/>
                  </a:lnTo>
                  <a:lnTo>
                    <a:pt x="24350" y="49800"/>
                  </a:lnTo>
                  <a:lnTo>
                    <a:pt x="24031" y="49800"/>
                  </a:lnTo>
                  <a:lnTo>
                    <a:pt x="23236" y="49800"/>
                  </a:lnTo>
                  <a:lnTo>
                    <a:pt x="22917" y="50400"/>
                  </a:lnTo>
                  <a:lnTo>
                    <a:pt x="23236" y="50400"/>
                  </a:lnTo>
                  <a:lnTo>
                    <a:pt x="23236" y="50400"/>
                  </a:lnTo>
                  <a:lnTo>
                    <a:pt x="23713" y="50400"/>
                  </a:lnTo>
                  <a:lnTo>
                    <a:pt x="23236" y="51000"/>
                  </a:lnTo>
                  <a:lnTo>
                    <a:pt x="22917" y="51000"/>
                  </a:lnTo>
                  <a:lnTo>
                    <a:pt x="22917" y="51000"/>
                  </a:lnTo>
                  <a:lnTo>
                    <a:pt x="22599" y="51000"/>
                  </a:lnTo>
                  <a:lnTo>
                    <a:pt x="22599" y="51900"/>
                  </a:lnTo>
                  <a:lnTo>
                    <a:pt x="23236" y="51900"/>
                  </a:lnTo>
                  <a:lnTo>
                    <a:pt x="24350" y="50400"/>
                  </a:lnTo>
                  <a:lnTo>
                    <a:pt x="24350" y="50400"/>
                  </a:lnTo>
                  <a:lnTo>
                    <a:pt x="24350" y="50400"/>
                  </a:lnTo>
                  <a:lnTo>
                    <a:pt x="24350" y="51000"/>
                  </a:lnTo>
                  <a:lnTo>
                    <a:pt x="24031" y="51000"/>
                  </a:lnTo>
                  <a:lnTo>
                    <a:pt x="22917" y="51900"/>
                  </a:lnTo>
                  <a:lnTo>
                    <a:pt x="22599" y="52500"/>
                  </a:lnTo>
                  <a:lnTo>
                    <a:pt x="21803" y="54000"/>
                  </a:lnTo>
                  <a:lnTo>
                    <a:pt x="21803" y="54000"/>
                  </a:lnTo>
                  <a:lnTo>
                    <a:pt x="21485" y="54000"/>
                  </a:lnTo>
                  <a:lnTo>
                    <a:pt x="21485" y="54600"/>
                  </a:lnTo>
                  <a:lnTo>
                    <a:pt x="21485" y="54600"/>
                  </a:lnTo>
                  <a:lnTo>
                    <a:pt x="21803" y="55200"/>
                  </a:lnTo>
                  <a:lnTo>
                    <a:pt x="21803" y="55200"/>
                  </a:lnTo>
                  <a:lnTo>
                    <a:pt x="22599" y="55200"/>
                  </a:lnTo>
                  <a:lnTo>
                    <a:pt x="22917" y="56100"/>
                  </a:lnTo>
                  <a:lnTo>
                    <a:pt x="22917" y="56100"/>
                  </a:lnTo>
                  <a:lnTo>
                    <a:pt x="24031" y="55200"/>
                  </a:lnTo>
                  <a:lnTo>
                    <a:pt x="24350" y="55200"/>
                  </a:lnTo>
                  <a:lnTo>
                    <a:pt x="24350" y="55200"/>
                  </a:lnTo>
                  <a:lnTo>
                    <a:pt x="24827" y="55200"/>
                  </a:lnTo>
                  <a:lnTo>
                    <a:pt x="24827" y="54600"/>
                  </a:lnTo>
                  <a:lnTo>
                    <a:pt x="25145" y="54600"/>
                  </a:lnTo>
                  <a:lnTo>
                    <a:pt x="24827" y="54000"/>
                  </a:lnTo>
                  <a:lnTo>
                    <a:pt x="25145" y="54000"/>
                  </a:lnTo>
                  <a:lnTo>
                    <a:pt x="25145" y="54600"/>
                  </a:lnTo>
                  <a:lnTo>
                    <a:pt x="25623" y="54000"/>
                  </a:lnTo>
                  <a:lnTo>
                    <a:pt x="25623" y="54000"/>
                  </a:lnTo>
                  <a:lnTo>
                    <a:pt x="25941" y="54000"/>
                  </a:lnTo>
                  <a:lnTo>
                    <a:pt x="26259" y="53100"/>
                  </a:lnTo>
                  <a:lnTo>
                    <a:pt x="26259" y="53100"/>
                  </a:lnTo>
                  <a:lnTo>
                    <a:pt x="26737" y="53100"/>
                  </a:lnTo>
                  <a:lnTo>
                    <a:pt x="26737" y="52500"/>
                  </a:lnTo>
                  <a:lnTo>
                    <a:pt x="26259" y="52500"/>
                  </a:lnTo>
                  <a:lnTo>
                    <a:pt x="26259" y="51900"/>
                  </a:lnTo>
                  <a:lnTo>
                    <a:pt x="26259" y="51900"/>
                  </a:lnTo>
                  <a:lnTo>
                    <a:pt x="26259" y="51900"/>
                  </a:lnTo>
                  <a:lnTo>
                    <a:pt x="26259" y="51000"/>
                  </a:lnTo>
                  <a:lnTo>
                    <a:pt x="26259" y="51000"/>
                  </a:lnTo>
                  <a:lnTo>
                    <a:pt x="26259" y="51000"/>
                  </a:lnTo>
                  <a:lnTo>
                    <a:pt x="26259" y="51000"/>
                  </a:lnTo>
                  <a:lnTo>
                    <a:pt x="27055" y="50400"/>
                  </a:lnTo>
                  <a:lnTo>
                    <a:pt x="27055" y="50400"/>
                  </a:lnTo>
                  <a:lnTo>
                    <a:pt x="26737" y="51000"/>
                  </a:lnTo>
                  <a:lnTo>
                    <a:pt x="26737" y="51000"/>
                  </a:lnTo>
                  <a:lnTo>
                    <a:pt x="26737" y="51900"/>
                  </a:lnTo>
                  <a:lnTo>
                    <a:pt x="26737" y="51900"/>
                  </a:lnTo>
                  <a:lnTo>
                    <a:pt x="26737" y="51900"/>
                  </a:lnTo>
                  <a:lnTo>
                    <a:pt x="26737" y="52500"/>
                  </a:lnTo>
                  <a:lnTo>
                    <a:pt x="26737" y="52500"/>
                  </a:lnTo>
                  <a:lnTo>
                    <a:pt x="26737" y="53100"/>
                  </a:lnTo>
                  <a:lnTo>
                    <a:pt x="26737" y="53100"/>
                  </a:lnTo>
                  <a:lnTo>
                    <a:pt x="26737" y="54000"/>
                  </a:lnTo>
                  <a:lnTo>
                    <a:pt x="27055" y="53100"/>
                  </a:lnTo>
                  <a:lnTo>
                    <a:pt x="27055" y="54000"/>
                  </a:lnTo>
                  <a:lnTo>
                    <a:pt x="26737" y="54000"/>
                  </a:lnTo>
                  <a:lnTo>
                    <a:pt x="26737" y="54000"/>
                  </a:lnTo>
                  <a:lnTo>
                    <a:pt x="25941" y="54600"/>
                  </a:lnTo>
                  <a:lnTo>
                    <a:pt x="25941" y="54600"/>
                  </a:lnTo>
                  <a:lnTo>
                    <a:pt x="25941" y="54600"/>
                  </a:lnTo>
                  <a:lnTo>
                    <a:pt x="26259" y="54600"/>
                  </a:lnTo>
                  <a:lnTo>
                    <a:pt x="26737" y="54600"/>
                  </a:lnTo>
                  <a:lnTo>
                    <a:pt x="27055" y="54600"/>
                  </a:lnTo>
                  <a:lnTo>
                    <a:pt x="27851" y="54000"/>
                  </a:lnTo>
                  <a:lnTo>
                    <a:pt x="27851" y="54000"/>
                  </a:lnTo>
                  <a:lnTo>
                    <a:pt x="28488" y="54600"/>
                  </a:lnTo>
                  <a:lnTo>
                    <a:pt x="28965" y="54600"/>
                  </a:lnTo>
                  <a:lnTo>
                    <a:pt x="29283" y="54000"/>
                  </a:lnTo>
                  <a:lnTo>
                    <a:pt x="29602" y="54000"/>
                  </a:lnTo>
                  <a:lnTo>
                    <a:pt x="29602" y="54000"/>
                  </a:lnTo>
                  <a:lnTo>
                    <a:pt x="29283" y="54600"/>
                  </a:lnTo>
                  <a:lnTo>
                    <a:pt x="27374" y="55200"/>
                  </a:lnTo>
                  <a:lnTo>
                    <a:pt x="27055" y="55200"/>
                  </a:lnTo>
                  <a:lnTo>
                    <a:pt x="26737" y="55200"/>
                  </a:lnTo>
                  <a:lnTo>
                    <a:pt x="26737" y="56100"/>
                  </a:lnTo>
                  <a:lnTo>
                    <a:pt x="26259" y="56100"/>
                  </a:lnTo>
                  <a:lnTo>
                    <a:pt x="26259" y="56100"/>
                  </a:lnTo>
                  <a:lnTo>
                    <a:pt x="26259" y="56700"/>
                  </a:lnTo>
                  <a:lnTo>
                    <a:pt x="26737" y="56700"/>
                  </a:lnTo>
                  <a:lnTo>
                    <a:pt x="26737" y="56700"/>
                  </a:lnTo>
                  <a:lnTo>
                    <a:pt x="27374" y="56700"/>
                  </a:lnTo>
                  <a:lnTo>
                    <a:pt x="27374" y="56700"/>
                  </a:lnTo>
                  <a:lnTo>
                    <a:pt x="27851" y="56700"/>
                  </a:lnTo>
                  <a:lnTo>
                    <a:pt x="28169" y="56700"/>
                  </a:lnTo>
                  <a:lnTo>
                    <a:pt x="28965" y="56700"/>
                  </a:lnTo>
                  <a:lnTo>
                    <a:pt x="29602" y="56700"/>
                  </a:lnTo>
                  <a:lnTo>
                    <a:pt x="30079" y="57600"/>
                  </a:lnTo>
                  <a:lnTo>
                    <a:pt x="30079" y="57600"/>
                  </a:lnTo>
                  <a:lnTo>
                    <a:pt x="30079" y="57600"/>
                  </a:lnTo>
                  <a:lnTo>
                    <a:pt x="30079" y="57600"/>
                  </a:lnTo>
                  <a:lnTo>
                    <a:pt x="29602" y="57600"/>
                  </a:lnTo>
                  <a:lnTo>
                    <a:pt x="29283" y="57600"/>
                  </a:lnTo>
                  <a:lnTo>
                    <a:pt x="28965" y="57600"/>
                  </a:lnTo>
                  <a:lnTo>
                    <a:pt x="28488" y="57600"/>
                  </a:lnTo>
                  <a:lnTo>
                    <a:pt x="28488" y="57600"/>
                  </a:lnTo>
                  <a:lnTo>
                    <a:pt x="28965" y="58200"/>
                  </a:lnTo>
                  <a:lnTo>
                    <a:pt x="29283" y="58200"/>
                  </a:lnTo>
                  <a:lnTo>
                    <a:pt x="29283" y="58200"/>
                  </a:lnTo>
                  <a:lnTo>
                    <a:pt x="29283" y="58800"/>
                  </a:lnTo>
                  <a:lnTo>
                    <a:pt x="29283" y="58800"/>
                  </a:lnTo>
                  <a:lnTo>
                    <a:pt x="28965" y="59700"/>
                  </a:lnTo>
                  <a:lnTo>
                    <a:pt x="28965" y="59700"/>
                  </a:lnTo>
                  <a:lnTo>
                    <a:pt x="28965" y="60300"/>
                  </a:lnTo>
                  <a:lnTo>
                    <a:pt x="29602" y="60300"/>
                  </a:lnTo>
                  <a:lnTo>
                    <a:pt x="30079" y="60300"/>
                  </a:lnTo>
                  <a:lnTo>
                    <a:pt x="30079" y="60900"/>
                  </a:lnTo>
                  <a:lnTo>
                    <a:pt x="30079" y="60900"/>
                  </a:lnTo>
                  <a:lnTo>
                    <a:pt x="29283" y="60900"/>
                  </a:lnTo>
                  <a:lnTo>
                    <a:pt x="29283" y="60900"/>
                  </a:lnTo>
                  <a:lnTo>
                    <a:pt x="28488" y="60300"/>
                  </a:lnTo>
                  <a:lnTo>
                    <a:pt x="28169" y="60300"/>
                  </a:lnTo>
                  <a:lnTo>
                    <a:pt x="27851" y="60300"/>
                  </a:lnTo>
                  <a:lnTo>
                    <a:pt x="26737" y="59700"/>
                  </a:lnTo>
                  <a:lnTo>
                    <a:pt x="26259" y="58800"/>
                  </a:lnTo>
                  <a:lnTo>
                    <a:pt x="25941" y="58800"/>
                  </a:lnTo>
                  <a:lnTo>
                    <a:pt x="25623" y="58800"/>
                  </a:lnTo>
                  <a:lnTo>
                    <a:pt x="24827" y="58800"/>
                  </a:lnTo>
                  <a:lnTo>
                    <a:pt x="24350" y="58800"/>
                  </a:lnTo>
                  <a:lnTo>
                    <a:pt x="24031" y="58800"/>
                  </a:lnTo>
                  <a:lnTo>
                    <a:pt x="24031" y="58800"/>
                  </a:lnTo>
                  <a:lnTo>
                    <a:pt x="23236" y="58800"/>
                  </a:lnTo>
                  <a:lnTo>
                    <a:pt x="22917" y="58800"/>
                  </a:lnTo>
                  <a:lnTo>
                    <a:pt x="22599" y="58800"/>
                  </a:lnTo>
                  <a:lnTo>
                    <a:pt x="22122" y="59700"/>
                  </a:lnTo>
                  <a:lnTo>
                    <a:pt x="22122" y="59700"/>
                  </a:lnTo>
                  <a:lnTo>
                    <a:pt x="22599" y="59700"/>
                  </a:lnTo>
                  <a:lnTo>
                    <a:pt x="22917" y="60300"/>
                  </a:lnTo>
                  <a:lnTo>
                    <a:pt x="22917" y="60900"/>
                  </a:lnTo>
                  <a:lnTo>
                    <a:pt x="23236" y="60900"/>
                  </a:lnTo>
                  <a:lnTo>
                    <a:pt x="24031" y="60900"/>
                  </a:lnTo>
                  <a:lnTo>
                    <a:pt x="24827" y="60900"/>
                  </a:lnTo>
                  <a:lnTo>
                    <a:pt x="25145" y="61800"/>
                  </a:lnTo>
                  <a:lnTo>
                    <a:pt x="25623" y="61800"/>
                  </a:lnTo>
                  <a:lnTo>
                    <a:pt x="25941" y="62400"/>
                  </a:lnTo>
                  <a:lnTo>
                    <a:pt x="25941" y="62400"/>
                  </a:lnTo>
                  <a:lnTo>
                    <a:pt x="27374" y="63000"/>
                  </a:lnTo>
                  <a:lnTo>
                    <a:pt x="27374" y="63000"/>
                  </a:lnTo>
                  <a:lnTo>
                    <a:pt x="27851" y="63000"/>
                  </a:lnTo>
                  <a:lnTo>
                    <a:pt x="28169" y="62400"/>
                  </a:lnTo>
                  <a:lnTo>
                    <a:pt x="28488" y="62400"/>
                  </a:lnTo>
                  <a:lnTo>
                    <a:pt x="28965" y="62400"/>
                  </a:lnTo>
                  <a:lnTo>
                    <a:pt x="28965" y="63000"/>
                  </a:lnTo>
                  <a:lnTo>
                    <a:pt x="29602" y="63000"/>
                  </a:lnTo>
                  <a:lnTo>
                    <a:pt x="30079" y="62400"/>
                  </a:lnTo>
                  <a:lnTo>
                    <a:pt x="30079" y="62400"/>
                  </a:lnTo>
                  <a:lnTo>
                    <a:pt x="30079" y="63000"/>
                  </a:lnTo>
                  <a:lnTo>
                    <a:pt x="30079" y="63000"/>
                  </a:lnTo>
                  <a:lnTo>
                    <a:pt x="29602" y="63000"/>
                  </a:lnTo>
                  <a:lnTo>
                    <a:pt x="29602" y="63000"/>
                  </a:lnTo>
                  <a:lnTo>
                    <a:pt x="29602" y="63900"/>
                  </a:lnTo>
                  <a:lnTo>
                    <a:pt x="29602" y="63900"/>
                  </a:lnTo>
                  <a:lnTo>
                    <a:pt x="29283" y="63900"/>
                  </a:lnTo>
                  <a:lnTo>
                    <a:pt x="28965" y="64500"/>
                  </a:lnTo>
                  <a:lnTo>
                    <a:pt x="28488" y="64500"/>
                  </a:lnTo>
                  <a:lnTo>
                    <a:pt x="28488" y="65400"/>
                  </a:lnTo>
                  <a:lnTo>
                    <a:pt x="28169" y="66000"/>
                  </a:lnTo>
                  <a:lnTo>
                    <a:pt x="27851" y="66000"/>
                  </a:lnTo>
                  <a:lnTo>
                    <a:pt x="27374" y="66600"/>
                  </a:lnTo>
                  <a:lnTo>
                    <a:pt x="27374" y="67500"/>
                  </a:lnTo>
                  <a:lnTo>
                    <a:pt x="27851" y="67500"/>
                  </a:lnTo>
                  <a:lnTo>
                    <a:pt x="28169" y="66600"/>
                  </a:lnTo>
                  <a:lnTo>
                    <a:pt x="28488" y="66600"/>
                  </a:lnTo>
                  <a:lnTo>
                    <a:pt x="28488" y="67500"/>
                  </a:lnTo>
                  <a:lnTo>
                    <a:pt x="28965" y="67500"/>
                  </a:lnTo>
                  <a:lnTo>
                    <a:pt x="28965" y="67500"/>
                  </a:lnTo>
                  <a:lnTo>
                    <a:pt x="28488" y="67500"/>
                  </a:lnTo>
                  <a:lnTo>
                    <a:pt x="27851" y="67500"/>
                  </a:lnTo>
                  <a:lnTo>
                    <a:pt x="27055" y="67500"/>
                  </a:lnTo>
                  <a:lnTo>
                    <a:pt x="27055" y="67500"/>
                  </a:lnTo>
                  <a:lnTo>
                    <a:pt x="26737" y="68700"/>
                  </a:lnTo>
                  <a:lnTo>
                    <a:pt x="26259" y="69600"/>
                  </a:lnTo>
                  <a:lnTo>
                    <a:pt x="26259" y="69600"/>
                  </a:lnTo>
                  <a:lnTo>
                    <a:pt x="26737" y="69600"/>
                  </a:lnTo>
                  <a:lnTo>
                    <a:pt x="27055" y="69600"/>
                  </a:lnTo>
                  <a:lnTo>
                    <a:pt x="27055" y="69600"/>
                  </a:lnTo>
                  <a:lnTo>
                    <a:pt x="26737" y="70200"/>
                  </a:lnTo>
                  <a:lnTo>
                    <a:pt x="26259" y="70200"/>
                  </a:lnTo>
                  <a:lnTo>
                    <a:pt x="26259" y="70200"/>
                  </a:lnTo>
                  <a:lnTo>
                    <a:pt x="25145" y="70800"/>
                  </a:lnTo>
                  <a:lnTo>
                    <a:pt x="25145" y="70800"/>
                  </a:lnTo>
                  <a:lnTo>
                    <a:pt x="24827" y="70800"/>
                  </a:lnTo>
                  <a:lnTo>
                    <a:pt x="23713" y="69600"/>
                  </a:lnTo>
                  <a:lnTo>
                    <a:pt x="23236" y="69600"/>
                  </a:lnTo>
                  <a:lnTo>
                    <a:pt x="22599" y="70200"/>
                  </a:lnTo>
                  <a:lnTo>
                    <a:pt x="22122" y="70200"/>
                  </a:lnTo>
                  <a:lnTo>
                    <a:pt x="21485" y="71700"/>
                  </a:lnTo>
                  <a:lnTo>
                    <a:pt x="21007" y="71700"/>
                  </a:lnTo>
                  <a:lnTo>
                    <a:pt x="20689" y="72300"/>
                  </a:lnTo>
                  <a:lnTo>
                    <a:pt x="21007" y="72300"/>
                  </a:lnTo>
                  <a:lnTo>
                    <a:pt x="21485" y="71700"/>
                  </a:lnTo>
                  <a:lnTo>
                    <a:pt x="22122" y="71700"/>
                  </a:lnTo>
                  <a:lnTo>
                    <a:pt x="22122" y="72300"/>
                  </a:lnTo>
                  <a:lnTo>
                    <a:pt x="22122" y="72300"/>
                  </a:lnTo>
                  <a:lnTo>
                    <a:pt x="22917" y="72300"/>
                  </a:lnTo>
                  <a:lnTo>
                    <a:pt x="23236" y="72300"/>
                  </a:lnTo>
                  <a:lnTo>
                    <a:pt x="24031" y="72300"/>
                  </a:lnTo>
                  <a:lnTo>
                    <a:pt x="24350" y="72300"/>
                  </a:lnTo>
                  <a:lnTo>
                    <a:pt x="25145" y="71700"/>
                  </a:lnTo>
                  <a:lnTo>
                    <a:pt x="25145" y="71700"/>
                  </a:lnTo>
                  <a:lnTo>
                    <a:pt x="25145" y="71700"/>
                  </a:lnTo>
                  <a:lnTo>
                    <a:pt x="25623" y="71700"/>
                  </a:lnTo>
                  <a:lnTo>
                    <a:pt x="25941" y="71700"/>
                  </a:lnTo>
                  <a:lnTo>
                    <a:pt x="25941" y="71700"/>
                  </a:lnTo>
                  <a:lnTo>
                    <a:pt x="25623" y="71700"/>
                  </a:lnTo>
                  <a:lnTo>
                    <a:pt x="25145" y="72300"/>
                  </a:lnTo>
                  <a:lnTo>
                    <a:pt x="25145" y="72300"/>
                  </a:lnTo>
                  <a:lnTo>
                    <a:pt x="24827" y="72300"/>
                  </a:lnTo>
                  <a:lnTo>
                    <a:pt x="24827" y="73200"/>
                  </a:lnTo>
                  <a:lnTo>
                    <a:pt x="24827" y="73200"/>
                  </a:lnTo>
                  <a:lnTo>
                    <a:pt x="24350" y="73200"/>
                  </a:lnTo>
                  <a:lnTo>
                    <a:pt x="24350" y="73200"/>
                  </a:lnTo>
                  <a:lnTo>
                    <a:pt x="24031" y="73200"/>
                  </a:lnTo>
                  <a:lnTo>
                    <a:pt x="23236" y="73200"/>
                  </a:lnTo>
                  <a:lnTo>
                    <a:pt x="22599" y="73200"/>
                  </a:lnTo>
                  <a:lnTo>
                    <a:pt x="21803" y="72300"/>
                  </a:lnTo>
                  <a:lnTo>
                    <a:pt x="21485" y="72300"/>
                  </a:lnTo>
                  <a:lnTo>
                    <a:pt x="21007" y="72300"/>
                  </a:lnTo>
                  <a:lnTo>
                    <a:pt x="21007" y="73200"/>
                  </a:lnTo>
                  <a:lnTo>
                    <a:pt x="20371" y="73800"/>
                  </a:lnTo>
                  <a:lnTo>
                    <a:pt x="19575" y="74400"/>
                  </a:lnTo>
                  <a:lnTo>
                    <a:pt x="19575" y="75300"/>
                  </a:lnTo>
                  <a:lnTo>
                    <a:pt x="19575" y="75300"/>
                  </a:lnTo>
                  <a:lnTo>
                    <a:pt x="19098" y="75300"/>
                  </a:lnTo>
                  <a:lnTo>
                    <a:pt x="18779" y="75900"/>
                  </a:lnTo>
                  <a:lnTo>
                    <a:pt x="19098" y="75900"/>
                  </a:lnTo>
                  <a:lnTo>
                    <a:pt x="19575" y="75900"/>
                  </a:lnTo>
                  <a:lnTo>
                    <a:pt x="21007" y="75300"/>
                  </a:lnTo>
                  <a:lnTo>
                    <a:pt x="21007" y="74400"/>
                  </a:lnTo>
                  <a:lnTo>
                    <a:pt x="21485" y="74400"/>
                  </a:lnTo>
                  <a:lnTo>
                    <a:pt x="21803" y="74400"/>
                  </a:lnTo>
                  <a:lnTo>
                    <a:pt x="22599" y="74400"/>
                  </a:lnTo>
                  <a:lnTo>
                    <a:pt x="22917" y="74400"/>
                  </a:lnTo>
                  <a:lnTo>
                    <a:pt x="23236" y="75300"/>
                  </a:lnTo>
                  <a:lnTo>
                    <a:pt x="23713" y="75300"/>
                  </a:lnTo>
                  <a:lnTo>
                    <a:pt x="24350" y="75300"/>
                  </a:lnTo>
                  <a:lnTo>
                    <a:pt x="24350" y="74400"/>
                  </a:lnTo>
                  <a:lnTo>
                    <a:pt x="25145" y="74400"/>
                  </a:lnTo>
                  <a:lnTo>
                    <a:pt x="25623" y="74400"/>
                  </a:lnTo>
                  <a:lnTo>
                    <a:pt x="25145" y="75300"/>
                  </a:lnTo>
                  <a:lnTo>
                    <a:pt x="24827" y="75300"/>
                  </a:lnTo>
                  <a:lnTo>
                    <a:pt x="24827" y="75300"/>
                  </a:lnTo>
                  <a:lnTo>
                    <a:pt x="25623" y="75900"/>
                  </a:lnTo>
                  <a:lnTo>
                    <a:pt x="25623" y="75900"/>
                  </a:lnTo>
                  <a:lnTo>
                    <a:pt x="25623" y="76500"/>
                  </a:lnTo>
                  <a:lnTo>
                    <a:pt x="24827" y="75900"/>
                  </a:lnTo>
                  <a:lnTo>
                    <a:pt x="24031" y="75300"/>
                  </a:lnTo>
                  <a:lnTo>
                    <a:pt x="23713" y="75300"/>
                  </a:lnTo>
                  <a:lnTo>
                    <a:pt x="22917" y="75300"/>
                  </a:lnTo>
                  <a:lnTo>
                    <a:pt x="22122" y="75300"/>
                  </a:lnTo>
                  <a:lnTo>
                    <a:pt x="21803" y="75300"/>
                  </a:lnTo>
                  <a:lnTo>
                    <a:pt x="21485" y="75300"/>
                  </a:lnTo>
                  <a:lnTo>
                    <a:pt x="20689" y="75300"/>
                  </a:lnTo>
                  <a:lnTo>
                    <a:pt x="19893" y="75900"/>
                  </a:lnTo>
                  <a:lnTo>
                    <a:pt x="19575" y="75900"/>
                  </a:lnTo>
                  <a:lnTo>
                    <a:pt x="19098" y="76500"/>
                  </a:lnTo>
                  <a:lnTo>
                    <a:pt x="18461" y="76500"/>
                  </a:lnTo>
                  <a:lnTo>
                    <a:pt x="18461" y="77400"/>
                  </a:lnTo>
                  <a:lnTo>
                    <a:pt x="17984" y="78000"/>
                  </a:lnTo>
                  <a:lnTo>
                    <a:pt x="17984" y="79500"/>
                  </a:lnTo>
                  <a:lnTo>
                    <a:pt x="18461" y="79500"/>
                  </a:lnTo>
                  <a:lnTo>
                    <a:pt x="18461" y="79500"/>
                  </a:lnTo>
                  <a:lnTo>
                    <a:pt x="18779" y="79500"/>
                  </a:lnTo>
                  <a:lnTo>
                    <a:pt x="19098" y="79500"/>
                  </a:lnTo>
                  <a:lnTo>
                    <a:pt x="19575" y="79500"/>
                  </a:lnTo>
                  <a:lnTo>
                    <a:pt x="20689" y="79500"/>
                  </a:lnTo>
                  <a:lnTo>
                    <a:pt x="20689" y="79500"/>
                  </a:lnTo>
                  <a:lnTo>
                    <a:pt x="20689" y="79500"/>
                  </a:lnTo>
                  <a:lnTo>
                    <a:pt x="20689" y="80100"/>
                  </a:lnTo>
                  <a:lnTo>
                    <a:pt x="20689" y="80100"/>
                  </a:lnTo>
                  <a:lnTo>
                    <a:pt x="20371" y="80100"/>
                  </a:lnTo>
                  <a:lnTo>
                    <a:pt x="19098" y="80100"/>
                  </a:lnTo>
                  <a:lnTo>
                    <a:pt x="19098" y="80100"/>
                  </a:lnTo>
                  <a:lnTo>
                    <a:pt x="18779" y="81000"/>
                  </a:lnTo>
                  <a:lnTo>
                    <a:pt x="17984" y="81000"/>
                  </a:lnTo>
                  <a:lnTo>
                    <a:pt x="17984" y="81000"/>
                  </a:lnTo>
                  <a:lnTo>
                    <a:pt x="17984" y="81600"/>
                  </a:lnTo>
                  <a:lnTo>
                    <a:pt x="17665" y="81600"/>
                  </a:lnTo>
                  <a:lnTo>
                    <a:pt x="17347" y="82200"/>
                  </a:lnTo>
                  <a:lnTo>
                    <a:pt x="17347" y="83100"/>
                  </a:lnTo>
                  <a:lnTo>
                    <a:pt x="16870" y="83100"/>
                  </a:lnTo>
                  <a:lnTo>
                    <a:pt x="16870" y="83700"/>
                  </a:lnTo>
                  <a:lnTo>
                    <a:pt x="17347" y="83700"/>
                  </a:lnTo>
                  <a:lnTo>
                    <a:pt x="17347" y="83700"/>
                  </a:lnTo>
                  <a:lnTo>
                    <a:pt x="17984" y="83700"/>
                  </a:lnTo>
                  <a:lnTo>
                    <a:pt x="18461" y="83700"/>
                  </a:lnTo>
                  <a:lnTo>
                    <a:pt x="18779" y="83100"/>
                  </a:lnTo>
                  <a:lnTo>
                    <a:pt x="19098" y="83100"/>
                  </a:lnTo>
                  <a:lnTo>
                    <a:pt x="19575" y="82200"/>
                  </a:lnTo>
                  <a:lnTo>
                    <a:pt x="19893" y="82200"/>
                  </a:lnTo>
                  <a:lnTo>
                    <a:pt x="21803" y="81000"/>
                  </a:lnTo>
                  <a:lnTo>
                    <a:pt x="22122" y="80100"/>
                  </a:lnTo>
                  <a:lnTo>
                    <a:pt x="22917" y="80100"/>
                  </a:lnTo>
                  <a:lnTo>
                    <a:pt x="23236" y="79500"/>
                  </a:lnTo>
                  <a:lnTo>
                    <a:pt x="23236" y="79500"/>
                  </a:lnTo>
                  <a:lnTo>
                    <a:pt x="23236" y="80100"/>
                  </a:lnTo>
                  <a:lnTo>
                    <a:pt x="22599" y="80100"/>
                  </a:lnTo>
                  <a:lnTo>
                    <a:pt x="22122" y="81000"/>
                  </a:lnTo>
                  <a:lnTo>
                    <a:pt x="21803" y="81000"/>
                  </a:lnTo>
                  <a:lnTo>
                    <a:pt x="21485" y="81000"/>
                  </a:lnTo>
                  <a:lnTo>
                    <a:pt x="21485" y="81600"/>
                  </a:lnTo>
                  <a:lnTo>
                    <a:pt x="21007" y="81600"/>
                  </a:lnTo>
                  <a:lnTo>
                    <a:pt x="20689" y="82200"/>
                  </a:lnTo>
                  <a:lnTo>
                    <a:pt x="20371" y="82200"/>
                  </a:lnTo>
                  <a:lnTo>
                    <a:pt x="19893" y="82200"/>
                  </a:lnTo>
                  <a:lnTo>
                    <a:pt x="18461" y="83700"/>
                  </a:lnTo>
                  <a:lnTo>
                    <a:pt x="17347" y="84300"/>
                  </a:lnTo>
                  <a:lnTo>
                    <a:pt x="17347" y="84300"/>
                  </a:lnTo>
                  <a:lnTo>
                    <a:pt x="17347" y="84300"/>
                  </a:lnTo>
                  <a:lnTo>
                    <a:pt x="17665" y="84300"/>
                  </a:lnTo>
                  <a:lnTo>
                    <a:pt x="17665" y="84300"/>
                  </a:lnTo>
                  <a:lnTo>
                    <a:pt x="17665" y="84300"/>
                  </a:lnTo>
                  <a:lnTo>
                    <a:pt x="17347" y="85800"/>
                  </a:lnTo>
                  <a:lnTo>
                    <a:pt x="16870" y="86400"/>
                  </a:lnTo>
                  <a:lnTo>
                    <a:pt x="17347" y="86400"/>
                  </a:lnTo>
                  <a:lnTo>
                    <a:pt x="17347" y="87300"/>
                  </a:lnTo>
                  <a:lnTo>
                    <a:pt x="17984" y="86400"/>
                  </a:lnTo>
                  <a:lnTo>
                    <a:pt x="18461" y="87300"/>
                  </a:lnTo>
                  <a:lnTo>
                    <a:pt x="18779" y="87300"/>
                  </a:lnTo>
                  <a:lnTo>
                    <a:pt x="19575" y="87300"/>
                  </a:lnTo>
                  <a:lnTo>
                    <a:pt x="19893" y="86400"/>
                  </a:lnTo>
                  <a:lnTo>
                    <a:pt x="20371" y="85800"/>
                  </a:lnTo>
                  <a:lnTo>
                    <a:pt x="20689" y="85800"/>
                  </a:lnTo>
                  <a:lnTo>
                    <a:pt x="21485" y="85800"/>
                  </a:lnTo>
                  <a:lnTo>
                    <a:pt x="21803" y="85800"/>
                  </a:lnTo>
                  <a:lnTo>
                    <a:pt x="22122" y="85800"/>
                  </a:lnTo>
                  <a:lnTo>
                    <a:pt x="22122" y="85800"/>
                  </a:lnTo>
                  <a:lnTo>
                    <a:pt x="21803" y="85800"/>
                  </a:lnTo>
                  <a:lnTo>
                    <a:pt x="20689" y="85800"/>
                  </a:lnTo>
                  <a:lnTo>
                    <a:pt x="20371" y="86400"/>
                  </a:lnTo>
                  <a:lnTo>
                    <a:pt x="19575" y="87300"/>
                  </a:lnTo>
                  <a:lnTo>
                    <a:pt x="19098" y="87900"/>
                  </a:lnTo>
                  <a:lnTo>
                    <a:pt x="18461" y="87900"/>
                  </a:lnTo>
                  <a:lnTo>
                    <a:pt x="18461" y="87900"/>
                  </a:lnTo>
                  <a:lnTo>
                    <a:pt x="17984" y="87900"/>
                  </a:lnTo>
                  <a:lnTo>
                    <a:pt x="17984" y="88800"/>
                  </a:lnTo>
                  <a:lnTo>
                    <a:pt x="17984" y="88800"/>
                  </a:lnTo>
                  <a:lnTo>
                    <a:pt x="17984" y="88800"/>
                  </a:lnTo>
                  <a:lnTo>
                    <a:pt x="18461" y="89400"/>
                  </a:lnTo>
                  <a:lnTo>
                    <a:pt x="18461" y="90000"/>
                  </a:lnTo>
                  <a:lnTo>
                    <a:pt x="18461" y="91500"/>
                  </a:lnTo>
                  <a:lnTo>
                    <a:pt x="17984" y="91500"/>
                  </a:lnTo>
                  <a:lnTo>
                    <a:pt x="17984" y="92100"/>
                  </a:lnTo>
                  <a:lnTo>
                    <a:pt x="17665" y="93600"/>
                  </a:lnTo>
                  <a:lnTo>
                    <a:pt x="17665" y="93600"/>
                  </a:lnTo>
                  <a:lnTo>
                    <a:pt x="17665" y="94200"/>
                  </a:lnTo>
                  <a:lnTo>
                    <a:pt x="17984" y="94200"/>
                  </a:lnTo>
                  <a:lnTo>
                    <a:pt x="17984" y="94200"/>
                  </a:lnTo>
                  <a:lnTo>
                    <a:pt x="18461" y="94200"/>
                  </a:lnTo>
                  <a:lnTo>
                    <a:pt x="18779" y="93600"/>
                  </a:lnTo>
                  <a:lnTo>
                    <a:pt x="19575" y="93000"/>
                  </a:lnTo>
                  <a:lnTo>
                    <a:pt x="19575" y="92100"/>
                  </a:lnTo>
                  <a:lnTo>
                    <a:pt x="19893" y="91500"/>
                  </a:lnTo>
                  <a:lnTo>
                    <a:pt x="20371" y="91500"/>
                  </a:lnTo>
                  <a:lnTo>
                    <a:pt x="20371" y="91500"/>
                  </a:lnTo>
                  <a:lnTo>
                    <a:pt x="20371" y="91500"/>
                  </a:lnTo>
                  <a:lnTo>
                    <a:pt x="19893" y="92100"/>
                  </a:lnTo>
                  <a:lnTo>
                    <a:pt x="20689" y="92100"/>
                  </a:lnTo>
                  <a:lnTo>
                    <a:pt x="21007" y="91500"/>
                  </a:lnTo>
                  <a:lnTo>
                    <a:pt x="21007" y="91500"/>
                  </a:lnTo>
                  <a:lnTo>
                    <a:pt x="21485" y="91500"/>
                  </a:lnTo>
                  <a:lnTo>
                    <a:pt x="21485" y="90900"/>
                  </a:lnTo>
                  <a:lnTo>
                    <a:pt x="21485" y="90000"/>
                  </a:lnTo>
                  <a:lnTo>
                    <a:pt x="21485" y="89400"/>
                  </a:lnTo>
                  <a:lnTo>
                    <a:pt x="21485" y="88800"/>
                  </a:lnTo>
                  <a:lnTo>
                    <a:pt x="21485" y="88800"/>
                  </a:lnTo>
                  <a:lnTo>
                    <a:pt x="21485" y="89400"/>
                  </a:lnTo>
                  <a:lnTo>
                    <a:pt x="21485" y="90000"/>
                  </a:lnTo>
                  <a:lnTo>
                    <a:pt x="21803" y="90900"/>
                  </a:lnTo>
                  <a:lnTo>
                    <a:pt x="21803" y="90900"/>
                  </a:lnTo>
                  <a:lnTo>
                    <a:pt x="21803" y="90900"/>
                  </a:lnTo>
                  <a:lnTo>
                    <a:pt x="21803" y="91500"/>
                  </a:lnTo>
                  <a:lnTo>
                    <a:pt x="22122" y="91500"/>
                  </a:lnTo>
                  <a:lnTo>
                    <a:pt x="22599" y="91500"/>
                  </a:lnTo>
                  <a:lnTo>
                    <a:pt x="22599" y="91500"/>
                  </a:lnTo>
                  <a:lnTo>
                    <a:pt x="22599" y="92100"/>
                  </a:lnTo>
                  <a:lnTo>
                    <a:pt x="22599" y="93000"/>
                  </a:lnTo>
                  <a:lnTo>
                    <a:pt x="22599" y="93000"/>
                  </a:lnTo>
                  <a:lnTo>
                    <a:pt x="22122" y="93000"/>
                  </a:lnTo>
                  <a:lnTo>
                    <a:pt x="22122" y="92100"/>
                  </a:lnTo>
                  <a:lnTo>
                    <a:pt x="22122" y="91500"/>
                  </a:lnTo>
                  <a:lnTo>
                    <a:pt x="21803" y="91500"/>
                  </a:lnTo>
                  <a:lnTo>
                    <a:pt x="21485" y="92100"/>
                  </a:lnTo>
                  <a:lnTo>
                    <a:pt x="21007" y="92100"/>
                  </a:lnTo>
                  <a:lnTo>
                    <a:pt x="20689" y="92100"/>
                  </a:lnTo>
                  <a:lnTo>
                    <a:pt x="20689" y="92100"/>
                  </a:lnTo>
                  <a:lnTo>
                    <a:pt x="20689" y="92100"/>
                  </a:lnTo>
                  <a:lnTo>
                    <a:pt x="20371" y="92100"/>
                  </a:lnTo>
                  <a:lnTo>
                    <a:pt x="19893" y="92100"/>
                  </a:lnTo>
                  <a:lnTo>
                    <a:pt x="19575" y="93000"/>
                  </a:lnTo>
                  <a:lnTo>
                    <a:pt x="18779" y="93600"/>
                  </a:lnTo>
                  <a:lnTo>
                    <a:pt x="18461" y="94200"/>
                  </a:lnTo>
                  <a:lnTo>
                    <a:pt x="18461" y="95100"/>
                  </a:lnTo>
                  <a:lnTo>
                    <a:pt x="18461" y="95100"/>
                  </a:lnTo>
                  <a:lnTo>
                    <a:pt x="18461" y="95100"/>
                  </a:lnTo>
                  <a:lnTo>
                    <a:pt x="18779" y="95100"/>
                  </a:lnTo>
                  <a:lnTo>
                    <a:pt x="18779" y="95100"/>
                  </a:lnTo>
                  <a:lnTo>
                    <a:pt x="19098" y="95100"/>
                  </a:lnTo>
                  <a:lnTo>
                    <a:pt x="19575" y="95100"/>
                  </a:lnTo>
                  <a:lnTo>
                    <a:pt x="20689" y="94200"/>
                  </a:lnTo>
                  <a:lnTo>
                    <a:pt x="21485" y="93600"/>
                  </a:lnTo>
                  <a:lnTo>
                    <a:pt x="21485" y="93600"/>
                  </a:lnTo>
                  <a:lnTo>
                    <a:pt x="21485" y="94200"/>
                  </a:lnTo>
                  <a:lnTo>
                    <a:pt x="21007" y="94200"/>
                  </a:lnTo>
                  <a:lnTo>
                    <a:pt x="21007" y="94200"/>
                  </a:lnTo>
                  <a:lnTo>
                    <a:pt x="21485" y="94200"/>
                  </a:lnTo>
                  <a:lnTo>
                    <a:pt x="21803" y="94200"/>
                  </a:lnTo>
                  <a:lnTo>
                    <a:pt x="21485" y="95100"/>
                  </a:lnTo>
                  <a:lnTo>
                    <a:pt x="20689" y="95100"/>
                  </a:lnTo>
                  <a:lnTo>
                    <a:pt x="20689" y="95100"/>
                  </a:lnTo>
                  <a:lnTo>
                    <a:pt x="19893" y="95100"/>
                  </a:lnTo>
                  <a:lnTo>
                    <a:pt x="19098" y="95100"/>
                  </a:lnTo>
                  <a:lnTo>
                    <a:pt x="18461" y="95700"/>
                  </a:lnTo>
                  <a:lnTo>
                    <a:pt x="18461" y="96600"/>
                  </a:lnTo>
                  <a:lnTo>
                    <a:pt x="17984" y="97200"/>
                  </a:lnTo>
                  <a:lnTo>
                    <a:pt x="17984" y="97800"/>
                  </a:lnTo>
                  <a:lnTo>
                    <a:pt x="18461" y="98700"/>
                  </a:lnTo>
                  <a:lnTo>
                    <a:pt x="18461" y="99900"/>
                  </a:lnTo>
                  <a:lnTo>
                    <a:pt x="18779" y="100800"/>
                  </a:lnTo>
                  <a:lnTo>
                    <a:pt x="18779" y="100800"/>
                  </a:lnTo>
                  <a:lnTo>
                    <a:pt x="18779" y="100800"/>
                  </a:lnTo>
                  <a:lnTo>
                    <a:pt x="19098" y="101400"/>
                  </a:lnTo>
                  <a:lnTo>
                    <a:pt x="19098" y="101400"/>
                  </a:lnTo>
                  <a:lnTo>
                    <a:pt x="19098" y="101400"/>
                  </a:lnTo>
                  <a:lnTo>
                    <a:pt x="19098" y="102000"/>
                  </a:lnTo>
                  <a:lnTo>
                    <a:pt x="19098" y="102000"/>
                  </a:lnTo>
                  <a:lnTo>
                    <a:pt x="19575" y="102000"/>
                  </a:lnTo>
                  <a:lnTo>
                    <a:pt x="20371" y="101400"/>
                  </a:lnTo>
                  <a:lnTo>
                    <a:pt x="21007" y="100800"/>
                  </a:lnTo>
                  <a:lnTo>
                    <a:pt x="20371" y="102000"/>
                  </a:lnTo>
                  <a:lnTo>
                    <a:pt x="19893" y="102000"/>
                  </a:lnTo>
                  <a:lnTo>
                    <a:pt x="19575" y="102900"/>
                  </a:lnTo>
                  <a:lnTo>
                    <a:pt x="19575" y="102900"/>
                  </a:lnTo>
                  <a:lnTo>
                    <a:pt x="19098" y="103500"/>
                  </a:lnTo>
                  <a:lnTo>
                    <a:pt x="19098" y="104400"/>
                  </a:lnTo>
                  <a:lnTo>
                    <a:pt x="19098" y="104400"/>
                  </a:lnTo>
                  <a:lnTo>
                    <a:pt x="19098" y="104400"/>
                  </a:lnTo>
                  <a:lnTo>
                    <a:pt x="19098" y="105000"/>
                  </a:lnTo>
                  <a:lnTo>
                    <a:pt x="19575" y="105000"/>
                  </a:lnTo>
                  <a:lnTo>
                    <a:pt x="19575" y="105000"/>
                  </a:lnTo>
                  <a:lnTo>
                    <a:pt x="19893" y="105600"/>
                  </a:lnTo>
                  <a:lnTo>
                    <a:pt x="20371" y="105600"/>
                  </a:lnTo>
                  <a:lnTo>
                    <a:pt x="20371" y="105600"/>
                  </a:lnTo>
                  <a:lnTo>
                    <a:pt x="19893" y="106500"/>
                  </a:lnTo>
                  <a:lnTo>
                    <a:pt x="19893" y="106500"/>
                  </a:lnTo>
                  <a:lnTo>
                    <a:pt x="19893" y="107100"/>
                  </a:lnTo>
                  <a:lnTo>
                    <a:pt x="19893" y="107100"/>
                  </a:lnTo>
                  <a:lnTo>
                    <a:pt x="20689" y="107100"/>
                  </a:lnTo>
                  <a:lnTo>
                    <a:pt x="20689" y="106500"/>
                  </a:lnTo>
                  <a:lnTo>
                    <a:pt x="21007" y="106500"/>
                  </a:lnTo>
                  <a:lnTo>
                    <a:pt x="21485" y="106500"/>
                  </a:lnTo>
                  <a:lnTo>
                    <a:pt x="21485" y="106500"/>
                  </a:lnTo>
                  <a:lnTo>
                    <a:pt x="21803" y="106500"/>
                  </a:lnTo>
                  <a:lnTo>
                    <a:pt x="21485" y="107100"/>
                  </a:lnTo>
                  <a:lnTo>
                    <a:pt x="21485" y="107100"/>
                  </a:lnTo>
                  <a:lnTo>
                    <a:pt x="21007" y="107100"/>
                  </a:lnTo>
                  <a:lnTo>
                    <a:pt x="20689" y="107100"/>
                  </a:lnTo>
                  <a:lnTo>
                    <a:pt x="20371" y="107700"/>
                  </a:lnTo>
                  <a:lnTo>
                    <a:pt x="20371" y="107700"/>
                  </a:lnTo>
                  <a:lnTo>
                    <a:pt x="20371" y="108600"/>
                  </a:lnTo>
                  <a:lnTo>
                    <a:pt x="20371" y="108600"/>
                  </a:lnTo>
                  <a:lnTo>
                    <a:pt x="20371" y="108600"/>
                  </a:lnTo>
                  <a:lnTo>
                    <a:pt x="20689" y="108600"/>
                  </a:lnTo>
                  <a:lnTo>
                    <a:pt x="20371" y="109200"/>
                  </a:lnTo>
                  <a:lnTo>
                    <a:pt x="20371" y="109200"/>
                  </a:lnTo>
                  <a:lnTo>
                    <a:pt x="20371" y="109800"/>
                  </a:lnTo>
                  <a:lnTo>
                    <a:pt x="20689" y="109800"/>
                  </a:lnTo>
                  <a:lnTo>
                    <a:pt x="20689" y="109800"/>
                  </a:lnTo>
                  <a:lnTo>
                    <a:pt x="20689" y="110700"/>
                  </a:lnTo>
                  <a:lnTo>
                    <a:pt x="20689" y="111300"/>
                  </a:lnTo>
                  <a:lnTo>
                    <a:pt x="21485" y="111300"/>
                  </a:lnTo>
                  <a:lnTo>
                    <a:pt x="21485" y="111300"/>
                  </a:lnTo>
                  <a:lnTo>
                    <a:pt x="21485" y="111300"/>
                  </a:lnTo>
                  <a:lnTo>
                    <a:pt x="21803" y="111300"/>
                  </a:lnTo>
                  <a:lnTo>
                    <a:pt x="21803" y="112200"/>
                  </a:lnTo>
                  <a:lnTo>
                    <a:pt x="21803" y="112200"/>
                  </a:lnTo>
                  <a:lnTo>
                    <a:pt x="21485" y="112800"/>
                  </a:lnTo>
                  <a:lnTo>
                    <a:pt x="21803" y="112800"/>
                  </a:lnTo>
                  <a:lnTo>
                    <a:pt x="22122" y="112800"/>
                  </a:lnTo>
                  <a:lnTo>
                    <a:pt x="22599" y="112800"/>
                  </a:lnTo>
                  <a:lnTo>
                    <a:pt x="22917" y="112800"/>
                  </a:lnTo>
                  <a:lnTo>
                    <a:pt x="22599" y="112800"/>
                  </a:lnTo>
                  <a:lnTo>
                    <a:pt x="21803" y="113400"/>
                  </a:lnTo>
                  <a:lnTo>
                    <a:pt x="21485" y="114300"/>
                  </a:lnTo>
                  <a:lnTo>
                    <a:pt x="21803" y="114300"/>
                  </a:lnTo>
                  <a:lnTo>
                    <a:pt x="21803" y="114300"/>
                  </a:lnTo>
                  <a:lnTo>
                    <a:pt x="21803" y="114300"/>
                  </a:lnTo>
                  <a:lnTo>
                    <a:pt x="22599" y="114300"/>
                  </a:lnTo>
                  <a:lnTo>
                    <a:pt x="22599" y="114300"/>
                  </a:lnTo>
                  <a:lnTo>
                    <a:pt x="22599" y="114300"/>
                  </a:lnTo>
                  <a:lnTo>
                    <a:pt x="22599" y="113400"/>
                  </a:lnTo>
                  <a:lnTo>
                    <a:pt x="22917" y="113400"/>
                  </a:lnTo>
                  <a:lnTo>
                    <a:pt x="23236" y="113400"/>
                  </a:lnTo>
                  <a:lnTo>
                    <a:pt x="23236" y="113400"/>
                  </a:lnTo>
                  <a:lnTo>
                    <a:pt x="23713" y="114300"/>
                  </a:lnTo>
                  <a:lnTo>
                    <a:pt x="24031" y="114300"/>
                  </a:lnTo>
                  <a:lnTo>
                    <a:pt x="24031" y="113400"/>
                  </a:lnTo>
                  <a:lnTo>
                    <a:pt x="24350" y="113400"/>
                  </a:lnTo>
                  <a:lnTo>
                    <a:pt x="24827" y="113400"/>
                  </a:lnTo>
                  <a:lnTo>
                    <a:pt x="25145" y="113400"/>
                  </a:lnTo>
                  <a:lnTo>
                    <a:pt x="25145" y="113400"/>
                  </a:lnTo>
                  <a:lnTo>
                    <a:pt x="25623" y="112800"/>
                  </a:lnTo>
                  <a:lnTo>
                    <a:pt x="26259" y="112800"/>
                  </a:lnTo>
                  <a:lnTo>
                    <a:pt x="27055" y="112200"/>
                  </a:lnTo>
                  <a:lnTo>
                    <a:pt x="27374" y="112200"/>
                  </a:lnTo>
                  <a:lnTo>
                    <a:pt x="27374" y="112200"/>
                  </a:lnTo>
                  <a:lnTo>
                    <a:pt x="27374" y="111300"/>
                  </a:lnTo>
                  <a:lnTo>
                    <a:pt x="27851" y="111300"/>
                  </a:lnTo>
                  <a:lnTo>
                    <a:pt x="27851" y="111300"/>
                  </a:lnTo>
                  <a:lnTo>
                    <a:pt x="27374" y="112200"/>
                  </a:lnTo>
                  <a:lnTo>
                    <a:pt x="27374" y="112800"/>
                  </a:lnTo>
                  <a:lnTo>
                    <a:pt x="27055" y="112800"/>
                  </a:lnTo>
                  <a:lnTo>
                    <a:pt x="26259" y="114300"/>
                  </a:lnTo>
                  <a:lnTo>
                    <a:pt x="26259" y="114900"/>
                  </a:lnTo>
                  <a:lnTo>
                    <a:pt x="26737" y="114900"/>
                  </a:lnTo>
                  <a:lnTo>
                    <a:pt x="26737" y="114900"/>
                  </a:lnTo>
                  <a:lnTo>
                    <a:pt x="27055" y="115500"/>
                  </a:lnTo>
                  <a:lnTo>
                    <a:pt x="27374" y="115500"/>
                  </a:lnTo>
                  <a:lnTo>
                    <a:pt x="27851" y="115500"/>
                  </a:lnTo>
                  <a:lnTo>
                    <a:pt x="27851" y="115500"/>
                  </a:lnTo>
                  <a:lnTo>
                    <a:pt x="28169" y="115500"/>
                  </a:lnTo>
                  <a:lnTo>
                    <a:pt x="28488" y="115500"/>
                  </a:lnTo>
                  <a:lnTo>
                    <a:pt x="29602" y="114900"/>
                  </a:lnTo>
                  <a:lnTo>
                    <a:pt x="29602" y="114900"/>
                  </a:lnTo>
                  <a:lnTo>
                    <a:pt x="29283" y="115500"/>
                  </a:lnTo>
                  <a:lnTo>
                    <a:pt x="28965" y="115500"/>
                  </a:lnTo>
                  <a:lnTo>
                    <a:pt x="28488" y="116400"/>
                  </a:lnTo>
                  <a:lnTo>
                    <a:pt x="28169" y="116400"/>
                  </a:lnTo>
                  <a:lnTo>
                    <a:pt x="27851" y="116400"/>
                  </a:lnTo>
                  <a:lnTo>
                    <a:pt x="27851" y="117000"/>
                  </a:lnTo>
                  <a:lnTo>
                    <a:pt x="27374" y="117000"/>
                  </a:lnTo>
                  <a:lnTo>
                    <a:pt x="28488" y="118500"/>
                  </a:lnTo>
                  <a:lnTo>
                    <a:pt x="28965" y="118500"/>
                  </a:lnTo>
                  <a:lnTo>
                    <a:pt x="29283" y="118500"/>
                  </a:lnTo>
                  <a:lnTo>
                    <a:pt x="29602" y="117900"/>
                  </a:lnTo>
                  <a:lnTo>
                    <a:pt x="30079" y="117000"/>
                  </a:lnTo>
                  <a:lnTo>
                    <a:pt x="30397" y="117000"/>
                  </a:lnTo>
                  <a:lnTo>
                    <a:pt x="30397" y="117000"/>
                  </a:lnTo>
                  <a:lnTo>
                    <a:pt x="30079" y="117900"/>
                  </a:lnTo>
                  <a:lnTo>
                    <a:pt x="29602" y="118500"/>
                  </a:lnTo>
                  <a:lnTo>
                    <a:pt x="29283" y="118500"/>
                  </a:lnTo>
                  <a:lnTo>
                    <a:pt x="29283" y="119100"/>
                  </a:lnTo>
                  <a:lnTo>
                    <a:pt x="29283" y="119100"/>
                  </a:lnTo>
                  <a:lnTo>
                    <a:pt x="29602" y="119100"/>
                  </a:lnTo>
                  <a:lnTo>
                    <a:pt x="29602" y="119100"/>
                  </a:lnTo>
                  <a:lnTo>
                    <a:pt x="30079" y="119100"/>
                  </a:lnTo>
                  <a:lnTo>
                    <a:pt x="30397" y="119100"/>
                  </a:lnTo>
                  <a:lnTo>
                    <a:pt x="30079" y="119100"/>
                  </a:lnTo>
                  <a:lnTo>
                    <a:pt x="30079" y="119100"/>
                  </a:lnTo>
                  <a:lnTo>
                    <a:pt x="30397" y="120000"/>
                  </a:lnTo>
                  <a:lnTo>
                    <a:pt x="30875" y="119100"/>
                  </a:lnTo>
                  <a:lnTo>
                    <a:pt x="31193" y="119100"/>
                  </a:lnTo>
                  <a:lnTo>
                    <a:pt x="31193" y="119100"/>
                  </a:lnTo>
                  <a:lnTo>
                    <a:pt x="31193" y="119100"/>
                  </a:lnTo>
                  <a:lnTo>
                    <a:pt x="30875" y="118500"/>
                  </a:lnTo>
                  <a:lnTo>
                    <a:pt x="30875" y="118500"/>
                  </a:lnTo>
                  <a:lnTo>
                    <a:pt x="31193" y="118500"/>
                  </a:lnTo>
                  <a:lnTo>
                    <a:pt x="31193" y="119100"/>
                  </a:lnTo>
                  <a:lnTo>
                    <a:pt x="31989" y="119100"/>
                  </a:lnTo>
                  <a:lnTo>
                    <a:pt x="32307" y="118500"/>
                  </a:lnTo>
                  <a:lnTo>
                    <a:pt x="32625" y="118500"/>
                  </a:lnTo>
                  <a:lnTo>
                    <a:pt x="32625" y="117000"/>
                  </a:lnTo>
                  <a:lnTo>
                    <a:pt x="32625" y="117000"/>
                  </a:lnTo>
                  <a:lnTo>
                    <a:pt x="33103" y="116400"/>
                  </a:lnTo>
                  <a:lnTo>
                    <a:pt x="32625" y="116400"/>
                  </a:lnTo>
                  <a:lnTo>
                    <a:pt x="32625" y="115500"/>
                  </a:lnTo>
                  <a:lnTo>
                    <a:pt x="32307" y="115500"/>
                  </a:lnTo>
                  <a:lnTo>
                    <a:pt x="31989" y="115500"/>
                  </a:lnTo>
                  <a:lnTo>
                    <a:pt x="31511" y="115500"/>
                  </a:lnTo>
                  <a:lnTo>
                    <a:pt x="31193" y="114900"/>
                  </a:lnTo>
                  <a:lnTo>
                    <a:pt x="31511" y="114900"/>
                  </a:lnTo>
                  <a:lnTo>
                    <a:pt x="31511" y="114900"/>
                  </a:lnTo>
                  <a:lnTo>
                    <a:pt x="32307" y="114900"/>
                  </a:lnTo>
                  <a:lnTo>
                    <a:pt x="32625" y="115500"/>
                  </a:lnTo>
                  <a:lnTo>
                    <a:pt x="33103" y="115500"/>
                  </a:lnTo>
                  <a:lnTo>
                    <a:pt x="33103" y="115500"/>
                  </a:lnTo>
                  <a:lnTo>
                    <a:pt x="33421" y="115500"/>
                  </a:lnTo>
                  <a:lnTo>
                    <a:pt x="34535" y="114300"/>
                  </a:lnTo>
                  <a:lnTo>
                    <a:pt x="34854" y="112200"/>
                  </a:lnTo>
                  <a:lnTo>
                    <a:pt x="35649" y="110700"/>
                  </a:lnTo>
                  <a:lnTo>
                    <a:pt x="36127" y="109800"/>
                  </a:lnTo>
                  <a:lnTo>
                    <a:pt x="36445" y="109200"/>
                  </a:lnTo>
                  <a:lnTo>
                    <a:pt x="36445" y="108600"/>
                  </a:lnTo>
                  <a:lnTo>
                    <a:pt x="36127" y="108600"/>
                  </a:lnTo>
                  <a:lnTo>
                    <a:pt x="36127" y="108600"/>
                  </a:lnTo>
                  <a:lnTo>
                    <a:pt x="36445" y="108600"/>
                  </a:lnTo>
                  <a:lnTo>
                    <a:pt x="36763" y="108600"/>
                  </a:lnTo>
                  <a:lnTo>
                    <a:pt x="37241" y="107700"/>
                  </a:lnTo>
                  <a:lnTo>
                    <a:pt x="37241" y="107100"/>
                  </a:lnTo>
                  <a:lnTo>
                    <a:pt x="37241" y="107100"/>
                  </a:lnTo>
                  <a:lnTo>
                    <a:pt x="37241" y="106500"/>
                  </a:lnTo>
                  <a:lnTo>
                    <a:pt x="37241" y="106500"/>
                  </a:lnTo>
                  <a:lnTo>
                    <a:pt x="37559" y="105600"/>
                  </a:lnTo>
                  <a:lnTo>
                    <a:pt x="37559" y="105000"/>
                  </a:lnTo>
                  <a:lnTo>
                    <a:pt x="37559" y="105000"/>
                  </a:lnTo>
                  <a:lnTo>
                    <a:pt x="37559" y="104400"/>
                  </a:lnTo>
                  <a:lnTo>
                    <a:pt x="37877" y="104400"/>
                  </a:lnTo>
                  <a:lnTo>
                    <a:pt x="37877" y="103500"/>
                  </a:lnTo>
                  <a:lnTo>
                    <a:pt x="37241" y="103500"/>
                  </a:lnTo>
                  <a:lnTo>
                    <a:pt x="36763" y="103500"/>
                  </a:lnTo>
                  <a:lnTo>
                    <a:pt x="36445" y="102900"/>
                  </a:lnTo>
                  <a:lnTo>
                    <a:pt x="36445" y="102900"/>
                  </a:lnTo>
                  <a:lnTo>
                    <a:pt x="36445" y="102900"/>
                  </a:lnTo>
                  <a:lnTo>
                    <a:pt x="36763" y="102900"/>
                  </a:lnTo>
                  <a:lnTo>
                    <a:pt x="37559" y="102900"/>
                  </a:lnTo>
                  <a:lnTo>
                    <a:pt x="37877" y="102900"/>
                  </a:lnTo>
                  <a:lnTo>
                    <a:pt x="38355" y="102900"/>
                  </a:lnTo>
                  <a:lnTo>
                    <a:pt x="38673" y="102900"/>
                  </a:lnTo>
                  <a:lnTo>
                    <a:pt x="38673" y="102900"/>
                  </a:lnTo>
                  <a:lnTo>
                    <a:pt x="39469" y="102000"/>
                  </a:lnTo>
                  <a:lnTo>
                    <a:pt x="39469" y="102000"/>
                  </a:lnTo>
                  <a:lnTo>
                    <a:pt x="39787" y="101400"/>
                  </a:lnTo>
                  <a:lnTo>
                    <a:pt x="38992" y="100800"/>
                  </a:lnTo>
                  <a:lnTo>
                    <a:pt x="38673" y="100800"/>
                  </a:lnTo>
                  <a:lnTo>
                    <a:pt x="38673" y="100800"/>
                  </a:lnTo>
                  <a:lnTo>
                    <a:pt x="38673" y="99900"/>
                  </a:lnTo>
                  <a:lnTo>
                    <a:pt x="38992" y="99900"/>
                  </a:lnTo>
                  <a:lnTo>
                    <a:pt x="38992" y="100800"/>
                  </a:lnTo>
                  <a:lnTo>
                    <a:pt x="39469" y="100800"/>
                  </a:lnTo>
                  <a:lnTo>
                    <a:pt x="39787" y="100800"/>
                  </a:lnTo>
                  <a:lnTo>
                    <a:pt x="40106" y="100800"/>
                  </a:lnTo>
                  <a:lnTo>
                    <a:pt x="40106" y="100800"/>
                  </a:lnTo>
                  <a:lnTo>
                    <a:pt x="40583" y="100800"/>
                  </a:lnTo>
                  <a:lnTo>
                    <a:pt x="40901" y="99900"/>
                  </a:lnTo>
                  <a:lnTo>
                    <a:pt x="41379" y="99900"/>
                  </a:lnTo>
                  <a:lnTo>
                    <a:pt x="41379" y="99300"/>
                  </a:lnTo>
                  <a:lnTo>
                    <a:pt x="41379" y="99300"/>
                  </a:lnTo>
                  <a:lnTo>
                    <a:pt x="41697" y="99300"/>
                  </a:lnTo>
                  <a:lnTo>
                    <a:pt x="41697" y="98700"/>
                  </a:lnTo>
                  <a:lnTo>
                    <a:pt x="42015" y="98700"/>
                  </a:lnTo>
                  <a:lnTo>
                    <a:pt x="42493" y="98700"/>
                  </a:lnTo>
                  <a:lnTo>
                    <a:pt x="42493" y="97800"/>
                  </a:lnTo>
                  <a:lnTo>
                    <a:pt x="43129" y="97200"/>
                  </a:lnTo>
                  <a:lnTo>
                    <a:pt x="43129" y="97200"/>
                  </a:lnTo>
                  <a:lnTo>
                    <a:pt x="43129" y="95700"/>
                  </a:lnTo>
                  <a:lnTo>
                    <a:pt x="43607" y="95100"/>
                  </a:lnTo>
                  <a:lnTo>
                    <a:pt x="42811" y="95100"/>
                  </a:lnTo>
                  <a:lnTo>
                    <a:pt x="42811" y="95100"/>
                  </a:lnTo>
                  <a:lnTo>
                    <a:pt x="42493" y="95100"/>
                  </a:lnTo>
                  <a:lnTo>
                    <a:pt x="42015" y="94200"/>
                  </a:lnTo>
                  <a:lnTo>
                    <a:pt x="41379" y="94200"/>
                  </a:lnTo>
                  <a:lnTo>
                    <a:pt x="42493" y="94200"/>
                  </a:lnTo>
                  <a:lnTo>
                    <a:pt x="42493" y="94200"/>
                  </a:lnTo>
                  <a:lnTo>
                    <a:pt x="42811" y="94200"/>
                  </a:lnTo>
                  <a:lnTo>
                    <a:pt x="43129" y="94200"/>
                  </a:lnTo>
                  <a:lnTo>
                    <a:pt x="43607" y="94200"/>
                  </a:lnTo>
                  <a:lnTo>
                    <a:pt x="43607" y="93600"/>
                  </a:lnTo>
                  <a:lnTo>
                    <a:pt x="43925" y="93600"/>
                  </a:lnTo>
                  <a:lnTo>
                    <a:pt x="44721" y="93600"/>
                  </a:lnTo>
                  <a:lnTo>
                    <a:pt x="44721" y="93000"/>
                  </a:lnTo>
                  <a:lnTo>
                    <a:pt x="44721" y="93000"/>
                  </a:lnTo>
                  <a:lnTo>
                    <a:pt x="44721" y="92100"/>
                  </a:lnTo>
                  <a:lnTo>
                    <a:pt x="44244" y="92100"/>
                  </a:lnTo>
                  <a:lnTo>
                    <a:pt x="44244" y="90900"/>
                  </a:lnTo>
                  <a:lnTo>
                    <a:pt x="44244" y="90900"/>
                  </a:lnTo>
                  <a:lnTo>
                    <a:pt x="43925" y="90900"/>
                  </a:lnTo>
                  <a:lnTo>
                    <a:pt x="43607" y="90900"/>
                  </a:lnTo>
                  <a:lnTo>
                    <a:pt x="43607" y="90000"/>
                  </a:lnTo>
                  <a:lnTo>
                    <a:pt x="43607" y="90000"/>
                  </a:lnTo>
                  <a:lnTo>
                    <a:pt x="43607" y="89400"/>
                  </a:lnTo>
                  <a:lnTo>
                    <a:pt x="43925" y="89400"/>
                  </a:lnTo>
                  <a:lnTo>
                    <a:pt x="44244" y="89400"/>
                  </a:lnTo>
                  <a:lnTo>
                    <a:pt x="45358" y="90000"/>
                  </a:lnTo>
                  <a:lnTo>
                    <a:pt x="45835" y="89400"/>
                  </a:lnTo>
                  <a:lnTo>
                    <a:pt x="46153" y="89400"/>
                  </a:lnTo>
                  <a:lnTo>
                    <a:pt x="46472" y="88800"/>
                  </a:lnTo>
                  <a:lnTo>
                    <a:pt x="46949" y="88800"/>
                  </a:lnTo>
                  <a:lnTo>
                    <a:pt x="47267" y="87900"/>
                  </a:lnTo>
                  <a:lnTo>
                    <a:pt x="46949" y="87900"/>
                  </a:lnTo>
                  <a:lnTo>
                    <a:pt x="46153" y="87300"/>
                  </a:lnTo>
                  <a:lnTo>
                    <a:pt x="46153" y="87300"/>
                  </a:lnTo>
                  <a:lnTo>
                    <a:pt x="46472" y="87300"/>
                  </a:lnTo>
                  <a:lnTo>
                    <a:pt x="47745" y="86400"/>
                  </a:lnTo>
                  <a:lnTo>
                    <a:pt x="48381" y="86400"/>
                  </a:lnTo>
                  <a:lnTo>
                    <a:pt x="49496" y="86400"/>
                  </a:lnTo>
                  <a:lnTo>
                    <a:pt x="50610" y="85800"/>
                  </a:lnTo>
                  <a:lnTo>
                    <a:pt x="50610" y="85800"/>
                  </a:lnTo>
                  <a:lnTo>
                    <a:pt x="50610" y="85200"/>
                  </a:lnTo>
                  <a:lnTo>
                    <a:pt x="50291" y="85200"/>
                  </a:lnTo>
                  <a:lnTo>
                    <a:pt x="50291" y="84300"/>
                  </a:lnTo>
                  <a:lnTo>
                    <a:pt x="50610" y="84300"/>
                  </a:lnTo>
                  <a:lnTo>
                    <a:pt x="51087" y="85200"/>
                  </a:lnTo>
                  <a:lnTo>
                    <a:pt x="51405" y="84300"/>
                  </a:lnTo>
                  <a:lnTo>
                    <a:pt x="51724" y="83700"/>
                  </a:lnTo>
                  <a:lnTo>
                    <a:pt x="52201" y="83700"/>
                  </a:lnTo>
                  <a:lnTo>
                    <a:pt x="52201" y="83100"/>
                  </a:lnTo>
                  <a:lnTo>
                    <a:pt x="51724" y="83100"/>
                  </a:lnTo>
                  <a:lnTo>
                    <a:pt x="51405" y="82200"/>
                  </a:lnTo>
                  <a:lnTo>
                    <a:pt x="51724" y="82200"/>
                  </a:lnTo>
                  <a:lnTo>
                    <a:pt x="52201" y="82200"/>
                  </a:lnTo>
                  <a:lnTo>
                    <a:pt x="52997" y="82200"/>
                  </a:lnTo>
                  <a:lnTo>
                    <a:pt x="53315" y="83100"/>
                  </a:lnTo>
                  <a:lnTo>
                    <a:pt x="53315" y="83100"/>
                  </a:lnTo>
                  <a:lnTo>
                    <a:pt x="52997" y="83700"/>
                  </a:lnTo>
                  <a:lnTo>
                    <a:pt x="51724" y="84300"/>
                  </a:lnTo>
                  <a:lnTo>
                    <a:pt x="51724" y="85200"/>
                  </a:lnTo>
                  <a:lnTo>
                    <a:pt x="51724" y="85200"/>
                  </a:lnTo>
                  <a:lnTo>
                    <a:pt x="51724" y="85800"/>
                  </a:lnTo>
                  <a:lnTo>
                    <a:pt x="51087" y="85800"/>
                  </a:lnTo>
                  <a:lnTo>
                    <a:pt x="51087" y="86400"/>
                  </a:lnTo>
                  <a:lnTo>
                    <a:pt x="51405" y="86400"/>
                  </a:lnTo>
                  <a:lnTo>
                    <a:pt x="51724" y="86400"/>
                  </a:lnTo>
                  <a:lnTo>
                    <a:pt x="52201" y="86400"/>
                  </a:lnTo>
                  <a:lnTo>
                    <a:pt x="52519" y="86400"/>
                  </a:lnTo>
                  <a:lnTo>
                    <a:pt x="52519" y="85800"/>
                  </a:lnTo>
                  <a:lnTo>
                    <a:pt x="52997" y="85800"/>
                  </a:lnTo>
                  <a:lnTo>
                    <a:pt x="52997" y="85800"/>
                  </a:lnTo>
                  <a:lnTo>
                    <a:pt x="53315" y="85200"/>
                  </a:lnTo>
                  <a:lnTo>
                    <a:pt x="53315" y="85200"/>
                  </a:lnTo>
                  <a:lnTo>
                    <a:pt x="53633" y="85800"/>
                  </a:lnTo>
                  <a:lnTo>
                    <a:pt x="53633" y="85800"/>
                  </a:lnTo>
                  <a:lnTo>
                    <a:pt x="54111" y="85800"/>
                  </a:lnTo>
                  <a:lnTo>
                    <a:pt x="54111" y="85800"/>
                  </a:lnTo>
                  <a:lnTo>
                    <a:pt x="54429" y="85800"/>
                  </a:lnTo>
                  <a:lnTo>
                    <a:pt x="54748" y="85200"/>
                  </a:lnTo>
                  <a:lnTo>
                    <a:pt x="54748" y="84300"/>
                  </a:lnTo>
                  <a:lnTo>
                    <a:pt x="54748" y="84300"/>
                  </a:lnTo>
                  <a:lnTo>
                    <a:pt x="55225" y="84300"/>
                  </a:lnTo>
                  <a:lnTo>
                    <a:pt x="54748" y="85200"/>
                  </a:lnTo>
                  <a:lnTo>
                    <a:pt x="54748" y="85200"/>
                  </a:lnTo>
                  <a:lnTo>
                    <a:pt x="55225" y="85200"/>
                  </a:lnTo>
                  <a:lnTo>
                    <a:pt x="55862" y="84300"/>
                  </a:lnTo>
                  <a:lnTo>
                    <a:pt x="56339" y="84300"/>
                  </a:lnTo>
                  <a:lnTo>
                    <a:pt x="56657" y="83700"/>
                  </a:lnTo>
                  <a:lnTo>
                    <a:pt x="56976" y="83700"/>
                  </a:lnTo>
                  <a:lnTo>
                    <a:pt x="56657" y="83100"/>
                  </a:lnTo>
                  <a:lnTo>
                    <a:pt x="56657" y="82200"/>
                  </a:lnTo>
                  <a:lnTo>
                    <a:pt x="56657" y="82200"/>
                  </a:lnTo>
                  <a:lnTo>
                    <a:pt x="56657" y="82200"/>
                  </a:lnTo>
                  <a:lnTo>
                    <a:pt x="56657" y="82200"/>
                  </a:lnTo>
                  <a:lnTo>
                    <a:pt x="56976" y="82200"/>
                  </a:lnTo>
                  <a:lnTo>
                    <a:pt x="56976" y="83100"/>
                  </a:lnTo>
                  <a:lnTo>
                    <a:pt x="57453" y="83100"/>
                  </a:lnTo>
                  <a:lnTo>
                    <a:pt x="57771" y="83100"/>
                  </a:lnTo>
                  <a:lnTo>
                    <a:pt x="58249" y="83100"/>
                  </a:lnTo>
                  <a:lnTo>
                    <a:pt x="58249" y="83100"/>
                  </a:lnTo>
                  <a:lnTo>
                    <a:pt x="59363" y="82200"/>
                  </a:lnTo>
                  <a:lnTo>
                    <a:pt x="59681" y="82200"/>
                  </a:lnTo>
                  <a:lnTo>
                    <a:pt x="59681" y="81600"/>
                  </a:lnTo>
                  <a:lnTo>
                    <a:pt x="60000" y="81600"/>
                  </a:lnTo>
                  <a:lnTo>
                    <a:pt x="60000" y="81000"/>
                  </a:lnTo>
                  <a:lnTo>
                    <a:pt x="60477" y="81000"/>
                  </a:lnTo>
                  <a:lnTo>
                    <a:pt x="60477" y="81000"/>
                  </a:lnTo>
                  <a:lnTo>
                    <a:pt x="60795" y="81000"/>
                  </a:lnTo>
                  <a:lnTo>
                    <a:pt x="60795" y="81000"/>
                  </a:lnTo>
                  <a:lnTo>
                    <a:pt x="61591" y="79500"/>
                  </a:lnTo>
                  <a:lnTo>
                    <a:pt x="62705" y="78000"/>
                  </a:lnTo>
                  <a:lnTo>
                    <a:pt x="62705" y="77400"/>
                  </a:lnTo>
                  <a:lnTo>
                    <a:pt x="63023" y="77400"/>
                  </a:lnTo>
                  <a:lnTo>
                    <a:pt x="63023" y="77400"/>
                  </a:lnTo>
                  <a:lnTo>
                    <a:pt x="63023" y="77400"/>
                  </a:lnTo>
                  <a:lnTo>
                    <a:pt x="63023" y="76500"/>
                  </a:lnTo>
                  <a:lnTo>
                    <a:pt x="63501" y="76500"/>
                  </a:lnTo>
                  <a:lnTo>
                    <a:pt x="63501" y="76500"/>
                  </a:lnTo>
                  <a:lnTo>
                    <a:pt x="63819" y="75900"/>
                  </a:lnTo>
                  <a:lnTo>
                    <a:pt x="64137" y="75300"/>
                  </a:lnTo>
                  <a:lnTo>
                    <a:pt x="64137" y="75300"/>
                  </a:lnTo>
                  <a:lnTo>
                    <a:pt x="64615" y="75300"/>
                  </a:lnTo>
                  <a:lnTo>
                    <a:pt x="65729" y="74400"/>
                  </a:lnTo>
                  <a:lnTo>
                    <a:pt x="66047" y="74400"/>
                  </a:lnTo>
                  <a:lnTo>
                    <a:pt x="66047" y="73800"/>
                  </a:lnTo>
                  <a:lnTo>
                    <a:pt x="66366" y="73800"/>
                  </a:lnTo>
                  <a:lnTo>
                    <a:pt x="66843" y="73200"/>
                  </a:lnTo>
                  <a:lnTo>
                    <a:pt x="66366" y="73200"/>
                  </a:lnTo>
                  <a:lnTo>
                    <a:pt x="66366" y="72300"/>
                  </a:lnTo>
                  <a:lnTo>
                    <a:pt x="66366" y="72300"/>
                  </a:lnTo>
                  <a:lnTo>
                    <a:pt x="66366" y="72300"/>
                  </a:lnTo>
                  <a:lnTo>
                    <a:pt x="66843" y="72300"/>
                  </a:lnTo>
                  <a:lnTo>
                    <a:pt x="66843" y="72300"/>
                  </a:lnTo>
                  <a:lnTo>
                    <a:pt x="66843" y="72300"/>
                  </a:lnTo>
                  <a:lnTo>
                    <a:pt x="66843" y="71700"/>
                  </a:lnTo>
                  <a:lnTo>
                    <a:pt x="66843" y="71700"/>
                  </a:lnTo>
                  <a:lnTo>
                    <a:pt x="66843" y="70800"/>
                  </a:lnTo>
                  <a:lnTo>
                    <a:pt x="67161" y="71700"/>
                  </a:lnTo>
                  <a:lnTo>
                    <a:pt x="67480" y="72300"/>
                  </a:lnTo>
                  <a:lnTo>
                    <a:pt x="68275" y="73200"/>
                  </a:lnTo>
                  <a:lnTo>
                    <a:pt x="68753" y="73200"/>
                  </a:lnTo>
                  <a:lnTo>
                    <a:pt x="69071" y="73200"/>
                  </a:lnTo>
                  <a:lnTo>
                    <a:pt x="69389" y="73200"/>
                  </a:lnTo>
                  <a:lnTo>
                    <a:pt x="70185" y="73200"/>
                  </a:lnTo>
                  <a:lnTo>
                    <a:pt x="70185" y="73200"/>
                  </a:lnTo>
                  <a:lnTo>
                    <a:pt x="69867" y="72300"/>
                  </a:lnTo>
                  <a:lnTo>
                    <a:pt x="69867" y="72300"/>
                  </a:lnTo>
                  <a:lnTo>
                    <a:pt x="70981" y="72300"/>
                  </a:lnTo>
                  <a:lnTo>
                    <a:pt x="70981" y="72300"/>
                  </a:lnTo>
                  <a:lnTo>
                    <a:pt x="71299" y="72300"/>
                  </a:lnTo>
                  <a:lnTo>
                    <a:pt x="71618" y="71700"/>
                  </a:lnTo>
                  <a:lnTo>
                    <a:pt x="71618" y="71700"/>
                  </a:lnTo>
                  <a:lnTo>
                    <a:pt x="72095" y="71700"/>
                  </a:lnTo>
                  <a:lnTo>
                    <a:pt x="72732" y="72300"/>
                  </a:lnTo>
                  <a:lnTo>
                    <a:pt x="73209" y="71700"/>
                  </a:lnTo>
                  <a:lnTo>
                    <a:pt x="73527" y="71700"/>
                  </a:lnTo>
                  <a:lnTo>
                    <a:pt x="74005" y="71700"/>
                  </a:lnTo>
                  <a:lnTo>
                    <a:pt x="75437" y="70800"/>
                  </a:lnTo>
                  <a:lnTo>
                    <a:pt x="75755" y="70800"/>
                  </a:lnTo>
                  <a:lnTo>
                    <a:pt x="76551" y="70800"/>
                  </a:lnTo>
                  <a:lnTo>
                    <a:pt x="77665" y="70200"/>
                  </a:lnTo>
                  <a:lnTo>
                    <a:pt x="77984" y="70200"/>
                  </a:lnTo>
                  <a:lnTo>
                    <a:pt x="78779" y="70200"/>
                  </a:lnTo>
                  <a:lnTo>
                    <a:pt x="79257" y="70200"/>
                  </a:lnTo>
                  <a:lnTo>
                    <a:pt x="79575" y="70200"/>
                  </a:lnTo>
                  <a:lnTo>
                    <a:pt x="79893" y="69600"/>
                  </a:lnTo>
                  <a:lnTo>
                    <a:pt x="80371" y="69600"/>
                  </a:lnTo>
                  <a:lnTo>
                    <a:pt x="80371" y="69600"/>
                  </a:lnTo>
                  <a:lnTo>
                    <a:pt x="80689" y="69600"/>
                  </a:lnTo>
                  <a:lnTo>
                    <a:pt x="81485" y="68700"/>
                  </a:lnTo>
                  <a:lnTo>
                    <a:pt x="81485" y="68700"/>
                  </a:lnTo>
                  <a:lnTo>
                    <a:pt x="81803" y="68700"/>
                  </a:lnTo>
                  <a:lnTo>
                    <a:pt x="81803" y="68100"/>
                  </a:lnTo>
                  <a:lnTo>
                    <a:pt x="81803" y="68100"/>
                  </a:lnTo>
                  <a:lnTo>
                    <a:pt x="82599" y="67500"/>
                  </a:lnTo>
                  <a:lnTo>
                    <a:pt x="82917" y="67500"/>
                  </a:lnTo>
                  <a:lnTo>
                    <a:pt x="82917" y="67500"/>
                  </a:lnTo>
                  <a:lnTo>
                    <a:pt x="82917" y="66600"/>
                  </a:lnTo>
                  <a:lnTo>
                    <a:pt x="82917" y="66600"/>
                  </a:lnTo>
                  <a:lnTo>
                    <a:pt x="83713" y="66600"/>
                  </a:lnTo>
                  <a:lnTo>
                    <a:pt x="83713" y="66600"/>
                  </a:lnTo>
                  <a:lnTo>
                    <a:pt x="84509" y="66000"/>
                  </a:lnTo>
                  <a:lnTo>
                    <a:pt x="84827" y="66000"/>
                  </a:lnTo>
                  <a:lnTo>
                    <a:pt x="85145" y="66000"/>
                  </a:lnTo>
                  <a:lnTo>
                    <a:pt x="85145" y="65400"/>
                  </a:lnTo>
                  <a:lnTo>
                    <a:pt x="85145" y="65400"/>
                  </a:lnTo>
                  <a:lnTo>
                    <a:pt x="85145" y="65400"/>
                  </a:lnTo>
                  <a:lnTo>
                    <a:pt x="85145" y="65400"/>
                  </a:lnTo>
                  <a:lnTo>
                    <a:pt x="85941" y="65400"/>
                  </a:lnTo>
                  <a:lnTo>
                    <a:pt x="85941" y="65400"/>
                  </a:lnTo>
                  <a:lnTo>
                    <a:pt x="86259" y="65400"/>
                  </a:lnTo>
                  <a:lnTo>
                    <a:pt x="86259" y="64500"/>
                  </a:lnTo>
                  <a:lnTo>
                    <a:pt x="86259" y="64500"/>
                  </a:lnTo>
                  <a:lnTo>
                    <a:pt x="86259" y="64500"/>
                  </a:lnTo>
                  <a:lnTo>
                    <a:pt x="85941" y="64500"/>
                  </a:lnTo>
                  <a:lnTo>
                    <a:pt x="86259" y="64500"/>
                  </a:lnTo>
                  <a:lnTo>
                    <a:pt x="86737" y="64500"/>
                  </a:lnTo>
                  <a:lnTo>
                    <a:pt x="87374" y="63900"/>
                  </a:lnTo>
                  <a:lnTo>
                    <a:pt x="87851" y="63900"/>
                  </a:lnTo>
                  <a:lnTo>
                    <a:pt x="87851" y="63900"/>
                  </a:lnTo>
                  <a:lnTo>
                    <a:pt x="87851" y="63900"/>
                  </a:lnTo>
                  <a:lnTo>
                    <a:pt x="88169" y="63000"/>
                  </a:lnTo>
                  <a:lnTo>
                    <a:pt x="88488" y="63000"/>
                  </a:lnTo>
                  <a:lnTo>
                    <a:pt x="88488" y="63000"/>
                  </a:lnTo>
                  <a:lnTo>
                    <a:pt x="88965" y="63000"/>
                  </a:lnTo>
                  <a:lnTo>
                    <a:pt x="89283" y="63000"/>
                  </a:lnTo>
                  <a:lnTo>
                    <a:pt x="89761" y="62400"/>
                  </a:lnTo>
                  <a:lnTo>
                    <a:pt x="89761" y="62400"/>
                  </a:lnTo>
                  <a:lnTo>
                    <a:pt x="90079" y="62400"/>
                  </a:lnTo>
                  <a:lnTo>
                    <a:pt x="89761" y="62400"/>
                  </a:lnTo>
                  <a:lnTo>
                    <a:pt x="87851" y="62400"/>
                  </a:lnTo>
                  <a:lnTo>
                    <a:pt x="87055" y="62400"/>
                  </a:lnTo>
                  <a:lnTo>
                    <a:pt x="85941" y="61800"/>
                  </a:lnTo>
                  <a:lnTo>
                    <a:pt x="84827" y="60900"/>
                  </a:lnTo>
                  <a:lnTo>
                    <a:pt x="82917" y="60900"/>
                  </a:lnTo>
                  <a:lnTo>
                    <a:pt x="82917" y="60900"/>
                  </a:lnTo>
                  <a:lnTo>
                    <a:pt x="81803" y="61800"/>
                  </a:lnTo>
                  <a:lnTo>
                    <a:pt x="81007" y="61800"/>
                  </a:lnTo>
                  <a:lnTo>
                    <a:pt x="80371" y="61800"/>
                  </a:lnTo>
                  <a:lnTo>
                    <a:pt x="79893" y="61800"/>
                  </a:lnTo>
                  <a:lnTo>
                    <a:pt x="79575" y="62400"/>
                  </a:lnTo>
                  <a:lnTo>
                    <a:pt x="79257" y="62400"/>
                  </a:lnTo>
                  <a:lnTo>
                    <a:pt x="78779" y="63000"/>
                  </a:lnTo>
                  <a:lnTo>
                    <a:pt x="78461" y="62400"/>
                  </a:lnTo>
                  <a:lnTo>
                    <a:pt x="78461" y="62400"/>
                  </a:lnTo>
                  <a:lnTo>
                    <a:pt x="79257" y="61800"/>
                  </a:lnTo>
                  <a:lnTo>
                    <a:pt x="79575" y="61800"/>
                  </a:lnTo>
                  <a:lnTo>
                    <a:pt x="79893" y="61800"/>
                  </a:lnTo>
                  <a:lnTo>
                    <a:pt x="80371" y="60900"/>
                  </a:lnTo>
                  <a:lnTo>
                    <a:pt x="81007" y="60900"/>
                  </a:lnTo>
                  <a:lnTo>
                    <a:pt x="81007" y="60900"/>
                  </a:lnTo>
                  <a:lnTo>
                    <a:pt x="81007" y="60300"/>
                  </a:lnTo>
                  <a:lnTo>
                    <a:pt x="81007" y="60300"/>
                  </a:lnTo>
                  <a:lnTo>
                    <a:pt x="80689" y="60300"/>
                  </a:lnTo>
                  <a:lnTo>
                    <a:pt x="80689" y="60300"/>
                  </a:lnTo>
                  <a:lnTo>
                    <a:pt x="78779" y="60900"/>
                  </a:lnTo>
                  <a:lnTo>
                    <a:pt x="77984" y="60900"/>
                  </a:lnTo>
                  <a:lnTo>
                    <a:pt x="76870" y="60300"/>
                  </a:lnTo>
                  <a:lnTo>
                    <a:pt x="76551" y="60300"/>
                  </a:lnTo>
                  <a:lnTo>
                    <a:pt x="75755" y="60300"/>
                  </a:lnTo>
                  <a:lnTo>
                    <a:pt x="75755" y="60300"/>
                  </a:lnTo>
                  <a:lnTo>
                    <a:pt x="75755" y="60300"/>
                  </a:lnTo>
                  <a:lnTo>
                    <a:pt x="76870" y="60300"/>
                  </a:lnTo>
                  <a:lnTo>
                    <a:pt x="77347" y="59700"/>
                  </a:lnTo>
                  <a:lnTo>
                    <a:pt x="77984" y="59700"/>
                  </a:lnTo>
                  <a:lnTo>
                    <a:pt x="77984" y="59700"/>
                  </a:lnTo>
                  <a:lnTo>
                    <a:pt x="77984" y="58800"/>
                  </a:lnTo>
                  <a:lnTo>
                    <a:pt x="78461" y="58200"/>
                  </a:lnTo>
                  <a:lnTo>
                    <a:pt x="78461" y="58200"/>
                  </a:lnTo>
                  <a:lnTo>
                    <a:pt x="77984" y="58200"/>
                  </a:lnTo>
                  <a:lnTo>
                    <a:pt x="77984" y="58200"/>
                  </a:lnTo>
                  <a:lnTo>
                    <a:pt x="77665" y="57600"/>
                  </a:lnTo>
                  <a:lnTo>
                    <a:pt x="77984" y="57600"/>
                  </a:lnTo>
                  <a:lnTo>
                    <a:pt x="78779" y="57600"/>
                  </a:lnTo>
                  <a:lnTo>
                    <a:pt x="79257" y="57600"/>
                  </a:lnTo>
                  <a:lnTo>
                    <a:pt x="79893" y="58200"/>
                  </a:lnTo>
                  <a:lnTo>
                    <a:pt x="80371" y="58200"/>
                  </a:lnTo>
                  <a:lnTo>
                    <a:pt x="81007" y="58200"/>
                  </a:lnTo>
                  <a:lnTo>
                    <a:pt x="81485" y="58200"/>
                  </a:lnTo>
                  <a:lnTo>
                    <a:pt x="82599" y="57600"/>
                  </a:lnTo>
                  <a:lnTo>
                    <a:pt x="82917" y="57600"/>
                  </a:lnTo>
                  <a:lnTo>
                    <a:pt x="83236" y="56700"/>
                  </a:lnTo>
                  <a:lnTo>
                    <a:pt x="83713" y="56100"/>
                  </a:lnTo>
                  <a:lnTo>
                    <a:pt x="83713" y="56100"/>
                  </a:lnTo>
                  <a:lnTo>
                    <a:pt x="83713" y="55200"/>
                  </a:lnTo>
                  <a:lnTo>
                    <a:pt x="83713" y="55200"/>
                  </a:lnTo>
                  <a:lnTo>
                    <a:pt x="82917" y="55200"/>
                  </a:lnTo>
                  <a:lnTo>
                    <a:pt x="82122" y="55200"/>
                  </a:lnTo>
                  <a:lnTo>
                    <a:pt x="81803" y="55200"/>
                  </a:lnTo>
                  <a:lnTo>
                    <a:pt x="81007" y="54600"/>
                  </a:lnTo>
                  <a:lnTo>
                    <a:pt x="81007" y="54600"/>
                  </a:lnTo>
                  <a:lnTo>
                    <a:pt x="81007" y="54600"/>
                  </a:lnTo>
                  <a:lnTo>
                    <a:pt x="81007" y="54600"/>
                  </a:lnTo>
                  <a:lnTo>
                    <a:pt x="81803" y="54600"/>
                  </a:lnTo>
                  <a:lnTo>
                    <a:pt x="82917" y="54600"/>
                  </a:lnTo>
                  <a:lnTo>
                    <a:pt x="83713" y="54600"/>
                  </a:lnTo>
                  <a:lnTo>
                    <a:pt x="84031" y="54600"/>
                  </a:lnTo>
                  <a:lnTo>
                    <a:pt x="84509" y="55200"/>
                  </a:lnTo>
                  <a:lnTo>
                    <a:pt x="84827" y="55200"/>
                  </a:lnTo>
                  <a:lnTo>
                    <a:pt x="85145" y="56100"/>
                  </a:lnTo>
                  <a:lnTo>
                    <a:pt x="85623" y="56100"/>
                  </a:lnTo>
                  <a:lnTo>
                    <a:pt x="85941" y="56700"/>
                  </a:lnTo>
                  <a:lnTo>
                    <a:pt x="86259" y="56700"/>
                  </a:lnTo>
                  <a:lnTo>
                    <a:pt x="86259" y="57600"/>
                  </a:lnTo>
                  <a:lnTo>
                    <a:pt x="86259" y="58200"/>
                  </a:lnTo>
                  <a:lnTo>
                    <a:pt x="86259" y="58800"/>
                  </a:lnTo>
                  <a:lnTo>
                    <a:pt x="86737" y="59700"/>
                  </a:lnTo>
                  <a:lnTo>
                    <a:pt x="87055" y="60300"/>
                  </a:lnTo>
                  <a:lnTo>
                    <a:pt x="87851" y="60300"/>
                  </a:lnTo>
                  <a:lnTo>
                    <a:pt x="88169" y="60300"/>
                  </a:lnTo>
                  <a:lnTo>
                    <a:pt x="88488" y="60300"/>
                  </a:lnTo>
                  <a:lnTo>
                    <a:pt x="89283" y="60300"/>
                  </a:lnTo>
                  <a:lnTo>
                    <a:pt x="89283" y="60300"/>
                  </a:lnTo>
                  <a:lnTo>
                    <a:pt x="89761" y="58800"/>
                  </a:lnTo>
                  <a:lnTo>
                    <a:pt x="89761" y="58800"/>
                  </a:lnTo>
                  <a:lnTo>
                    <a:pt x="89761" y="58800"/>
                  </a:lnTo>
                  <a:lnTo>
                    <a:pt x="90079" y="58200"/>
                  </a:lnTo>
                  <a:lnTo>
                    <a:pt x="90079" y="59700"/>
                  </a:lnTo>
                  <a:lnTo>
                    <a:pt x="90079" y="59700"/>
                  </a:lnTo>
                  <a:lnTo>
                    <a:pt x="90079" y="59700"/>
                  </a:lnTo>
                  <a:lnTo>
                    <a:pt x="90079" y="60300"/>
                  </a:lnTo>
                  <a:lnTo>
                    <a:pt x="90079" y="60300"/>
                  </a:lnTo>
                  <a:lnTo>
                    <a:pt x="90397" y="60300"/>
                  </a:lnTo>
                  <a:lnTo>
                    <a:pt x="90875" y="60300"/>
                  </a:lnTo>
                  <a:lnTo>
                    <a:pt x="91511" y="60300"/>
                  </a:lnTo>
                  <a:lnTo>
                    <a:pt x="91989" y="60300"/>
                  </a:lnTo>
                  <a:lnTo>
                    <a:pt x="91511" y="59700"/>
                  </a:lnTo>
                  <a:lnTo>
                    <a:pt x="91989" y="58800"/>
                  </a:lnTo>
                  <a:lnTo>
                    <a:pt x="91511" y="58200"/>
                  </a:lnTo>
                  <a:lnTo>
                    <a:pt x="91989" y="58200"/>
                  </a:lnTo>
                  <a:lnTo>
                    <a:pt x="91989" y="57600"/>
                  </a:lnTo>
                  <a:lnTo>
                    <a:pt x="91989" y="56700"/>
                  </a:lnTo>
                  <a:lnTo>
                    <a:pt x="91989" y="56100"/>
                  </a:lnTo>
                  <a:lnTo>
                    <a:pt x="91989" y="55200"/>
                  </a:lnTo>
                  <a:lnTo>
                    <a:pt x="91511" y="55200"/>
                  </a:lnTo>
                  <a:lnTo>
                    <a:pt x="91193" y="55200"/>
                  </a:lnTo>
                  <a:lnTo>
                    <a:pt x="91193" y="55200"/>
                  </a:lnTo>
                  <a:lnTo>
                    <a:pt x="90875" y="55200"/>
                  </a:lnTo>
                  <a:lnTo>
                    <a:pt x="90875" y="56100"/>
                  </a:lnTo>
                  <a:lnTo>
                    <a:pt x="90397" y="56100"/>
                  </a:lnTo>
                  <a:lnTo>
                    <a:pt x="90397" y="55200"/>
                  </a:lnTo>
                  <a:lnTo>
                    <a:pt x="90397" y="55200"/>
                  </a:lnTo>
                  <a:lnTo>
                    <a:pt x="90397" y="55200"/>
                  </a:lnTo>
                  <a:lnTo>
                    <a:pt x="90397" y="54600"/>
                  </a:lnTo>
                  <a:lnTo>
                    <a:pt x="90875" y="54600"/>
                  </a:lnTo>
                  <a:lnTo>
                    <a:pt x="91511" y="54000"/>
                  </a:lnTo>
                  <a:lnTo>
                    <a:pt x="91989" y="54000"/>
                  </a:lnTo>
                  <a:lnTo>
                    <a:pt x="91193" y="54000"/>
                  </a:lnTo>
                  <a:lnTo>
                    <a:pt x="91193" y="54000"/>
                  </a:lnTo>
                  <a:lnTo>
                    <a:pt x="90875" y="53100"/>
                  </a:lnTo>
                  <a:lnTo>
                    <a:pt x="90875" y="53100"/>
                  </a:lnTo>
                  <a:lnTo>
                    <a:pt x="90079" y="52500"/>
                  </a:lnTo>
                  <a:lnTo>
                    <a:pt x="90079" y="52500"/>
                  </a:lnTo>
                  <a:lnTo>
                    <a:pt x="89283" y="51900"/>
                  </a:lnTo>
                  <a:lnTo>
                    <a:pt x="88965" y="51900"/>
                  </a:lnTo>
                  <a:lnTo>
                    <a:pt x="88488" y="51900"/>
                  </a:lnTo>
                  <a:lnTo>
                    <a:pt x="87851" y="51000"/>
                  </a:lnTo>
                  <a:lnTo>
                    <a:pt x="87374" y="50400"/>
                  </a:lnTo>
                  <a:lnTo>
                    <a:pt x="87055" y="50400"/>
                  </a:lnTo>
                  <a:lnTo>
                    <a:pt x="87055" y="50400"/>
                  </a:lnTo>
                  <a:lnTo>
                    <a:pt x="86259" y="50400"/>
                  </a:lnTo>
                  <a:lnTo>
                    <a:pt x="85941" y="50400"/>
                  </a:lnTo>
                  <a:lnTo>
                    <a:pt x="85623" y="50400"/>
                  </a:lnTo>
                  <a:lnTo>
                    <a:pt x="85941" y="50400"/>
                  </a:lnTo>
                  <a:lnTo>
                    <a:pt x="86737" y="50400"/>
                  </a:lnTo>
                  <a:lnTo>
                    <a:pt x="87055" y="49800"/>
                  </a:lnTo>
                  <a:lnTo>
                    <a:pt x="87055" y="49800"/>
                  </a:lnTo>
                  <a:lnTo>
                    <a:pt x="87055" y="48300"/>
                  </a:lnTo>
                  <a:lnTo>
                    <a:pt x="87055" y="48300"/>
                  </a:lnTo>
                  <a:lnTo>
                    <a:pt x="87055" y="47400"/>
                  </a:lnTo>
                  <a:lnTo>
                    <a:pt x="86737" y="48300"/>
                  </a:lnTo>
                  <a:lnTo>
                    <a:pt x="85941" y="48300"/>
                  </a:lnTo>
                  <a:lnTo>
                    <a:pt x="85941" y="48300"/>
                  </a:lnTo>
                  <a:lnTo>
                    <a:pt x="85145" y="48300"/>
                  </a:lnTo>
                  <a:lnTo>
                    <a:pt x="84031" y="48900"/>
                  </a:lnTo>
                  <a:lnTo>
                    <a:pt x="84031" y="48900"/>
                  </a:lnTo>
                  <a:lnTo>
                    <a:pt x="83713" y="48900"/>
                  </a:lnTo>
                  <a:lnTo>
                    <a:pt x="83236" y="48900"/>
                  </a:lnTo>
                  <a:lnTo>
                    <a:pt x="82917" y="48900"/>
                  </a:lnTo>
                  <a:lnTo>
                    <a:pt x="84031" y="48300"/>
                  </a:lnTo>
                  <a:lnTo>
                    <a:pt x="84509" y="48300"/>
                  </a:lnTo>
                  <a:lnTo>
                    <a:pt x="84827" y="48300"/>
                  </a:lnTo>
                  <a:lnTo>
                    <a:pt x="86259" y="47400"/>
                  </a:lnTo>
                  <a:lnTo>
                    <a:pt x="86259" y="47400"/>
                  </a:lnTo>
                  <a:lnTo>
                    <a:pt x="86737" y="47400"/>
                  </a:lnTo>
                  <a:lnTo>
                    <a:pt x="87055" y="46800"/>
                  </a:lnTo>
                  <a:lnTo>
                    <a:pt x="87374" y="46800"/>
                  </a:lnTo>
                  <a:lnTo>
                    <a:pt x="87374" y="47400"/>
                  </a:lnTo>
                  <a:lnTo>
                    <a:pt x="87851" y="48900"/>
                  </a:lnTo>
                  <a:lnTo>
                    <a:pt x="88169" y="49800"/>
                  </a:lnTo>
                  <a:lnTo>
                    <a:pt x="88488" y="50400"/>
                  </a:lnTo>
                  <a:lnTo>
                    <a:pt x="88965" y="50400"/>
                  </a:lnTo>
                  <a:lnTo>
                    <a:pt x="89761" y="51000"/>
                  </a:lnTo>
                  <a:lnTo>
                    <a:pt x="90875" y="51000"/>
                  </a:lnTo>
                  <a:lnTo>
                    <a:pt x="91193" y="51900"/>
                  </a:lnTo>
                  <a:lnTo>
                    <a:pt x="91511" y="51900"/>
                  </a:lnTo>
                  <a:lnTo>
                    <a:pt x="91511" y="51000"/>
                  </a:lnTo>
                  <a:lnTo>
                    <a:pt x="91511" y="50400"/>
                  </a:lnTo>
                  <a:lnTo>
                    <a:pt x="92307" y="50400"/>
                  </a:lnTo>
                  <a:lnTo>
                    <a:pt x="92625" y="48900"/>
                  </a:lnTo>
                  <a:lnTo>
                    <a:pt x="92625" y="48900"/>
                  </a:lnTo>
                  <a:lnTo>
                    <a:pt x="92625" y="47400"/>
                  </a:lnTo>
                  <a:lnTo>
                    <a:pt x="92307" y="47400"/>
                  </a:lnTo>
                  <a:lnTo>
                    <a:pt x="91989" y="47400"/>
                  </a:lnTo>
                  <a:lnTo>
                    <a:pt x="91193" y="46800"/>
                  </a:lnTo>
                  <a:lnTo>
                    <a:pt x="90875" y="46800"/>
                  </a:lnTo>
                  <a:lnTo>
                    <a:pt x="90397" y="46200"/>
                  </a:lnTo>
                  <a:lnTo>
                    <a:pt x="90079" y="46200"/>
                  </a:lnTo>
                  <a:lnTo>
                    <a:pt x="89761" y="45300"/>
                  </a:lnTo>
                  <a:lnTo>
                    <a:pt x="89283" y="45300"/>
                  </a:lnTo>
                  <a:lnTo>
                    <a:pt x="88965" y="45300"/>
                  </a:lnTo>
                  <a:lnTo>
                    <a:pt x="87851" y="45300"/>
                  </a:lnTo>
                  <a:lnTo>
                    <a:pt x="87055" y="45300"/>
                  </a:lnTo>
                  <a:lnTo>
                    <a:pt x="86737" y="45300"/>
                  </a:lnTo>
                  <a:lnTo>
                    <a:pt x="86259" y="46200"/>
                  </a:lnTo>
                  <a:lnTo>
                    <a:pt x="84827" y="46200"/>
                  </a:lnTo>
                  <a:lnTo>
                    <a:pt x="84509" y="46200"/>
                  </a:lnTo>
                  <a:lnTo>
                    <a:pt x="84031" y="46800"/>
                  </a:lnTo>
                  <a:lnTo>
                    <a:pt x="83236" y="46800"/>
                  </a:lnTo>
                  <a:lnTo>
                    <a:pt x="82599" y="46800"/>
                  </a:lnTo>
                  <a:lnTo>
                    <a:pt x="82599" y="46800"/>
                  </a:lnTo>
                  <a:lnTo>
                    <a:pt x="81803" y="46800"/>
                  </a:lnTo>
                  <a:lnTo>
                    <a:pt x="81803" y="46800"/>
                  </a:lnTo>
                  <a:lnTo>
                    <a:pt x="81803" y="46800"/>
                  </a:lnTo>
                  <a:lnTo>
                    <a:pt x="81803" y="46800"/>
                  </a:lnTo>
                  <a:lnTo>
                    <a:pt x="81803" y="46800"/>
                  </a:lnTo>
                  <a:lnTo>
                    <a:pt x="81803" y="46800"/>
                  </a:lnTo>
                  <a:lnTo>
                    <a:pt x="82122" y="46800"/>
                  </a:lnTo>
                  <a:lnTo>
                    <a:pt x="82599" y="46200"/>
                  </a:lnTo>
                  <a:lnTo>
                    <a:pt x="82917" y="46800"/>
                  </a:lnTo>
                  <a:lnTo>
                    <a:pt x="83236" y="46800"/>
                  </a:lnTo>
                  <a:lnTo>
                    <a:pt x="83713" y="46200"/>
                  </a:lnTo>
                  <a:lnTo>
                    <a:pt x="83713" y="46200"/>
                  </a:lnTo>
                  <a:lnTo>
                    <a:pt x="83713" y="46200"/>
                  </a:lnTo>
                  <a:lnTo>
                    <a:pt x="82599" y="45300"/>
                  </a:lnTo>
                  <a:lnTo>
                    <a:pt x="82599" y="45300"/>
                  </a:lnTo>
                  <a:lnTo>
                    <a:pt x="82917" y="45300"/>
                  </a:lnTo>
                  <a:lnTo>
                    <a:pt x="83236" y="45300"/>
                  </a:lnTo>
                  <a:lnTo>
                    <a:pt x="84031" y="46200"/>
                  </a:lnTo>
                  <a:lnTo>
                    <a:pt x="84509" y="46200"/>
                  </a:lnTo>
                  <a:lnTo>
                    <a:pt x="84827" y="46200"/>
                  </a:lnTo>
                  <a:lnTo>
                    <a:pt x="85623" y="46200"/>
                  </a:lnTo>
                  <a:lnTo>
                    <a:pt x="85623" y="46200"/>
                  </a:lnTo>
                  <a:lnTo>
                    <a:pt x="86259" y="45300"/>
                  </a:lnTo>
                  <a:lnTo>
                    <a:pt x="86737" y="45300"/>
                  </a:lnTo>
                  <a:lnTo>
                    <a:pt x="87055" y="44700"/>
                  </a:lnTo>
                  <a:lnTo>
                    <a:pt x="87851" y="44700"/>
                  </a:lnTo>
                  <a:lnTo>
                    <a:pt x="87851" y="44700"/>
                  </a:lnTo>
                  <a:lnTo>
                    <a:pt x="87374" y="44700"/>
                  </a:lnTo>
                  <a:lnTo>
                    <a:pt x="87055" y="43200"/>
                  </a:lnTo>
                  <a:lnTo>
                    <a:pt x="86737" y="43200"/>
                  </a:lnTo>
                  <a:lnTo>
                    <a:pt x="86737" y="43200"/>
                  </a:lnTo>
                  <a:lnTo>
                    <a:pt x="86737" y="43200"/>
                  </a:lnTo>
                  <a:lnTo>
                    <a:pt x="86737" y="43200"/>
                  </a:lnTo>
                  <a:lnTo>
                    <a:pt x="87055" y="44100"/>
                  </a:lnTo>
                  <a:lnTo>
                    <a:pt x="87374" y="44100"/>
                  </a:lnTo>
                  <a:lnTo>
                    <a:pt x="87851" y="44100"/>
                  </a:lnTo>
                  <a:lnTo>
                    <a:pt x="87851" y="44100"/>
                  </a:lnTo>
                  <a:lnTo>
                    <a:pt x="88169" y="44100"/>
                  </a:lnTo>
                  <a:lnTo>
                    <a:pt x="88488" y="44100"/>
                  </a:lnTo>
                  <a:lnTo>
                    <a:pt x="88488" y="44100"/>
                  </a:lnTo>
                  <a:lnTo>
                    <a:pt x="89283" y="43200"/>
                  </a:lnTo>
                  <a:lnTo>
                    <a:pt x="89761" y="44700"/>
                  </a:lnTo>
                  <a:lnTo>
                    <a:pt x="90875" y="45300"/>
                  </a:lnTo>
                  <a:lnTo>
                    <a:pt x="91193" y="45300"/>
                  </a:lnTo>
                  <a:lnTo>
                    <a:pt x="92307" y="46200"/>
                  </a:lnTo>
                  <a:lnTo>
                    <a:pt x="92625" y="46200"/>
                  </a:lnTo>
                  <a:lnTo>
                    <a:pt x="93421" y="45300"/>
                  </a:lnTo>
                  <a:lnTo>
                    <a:pt x="94217" y="45300"/>
                  </a:lnTo>
                  <a:lnTo>
                    <a:pt x="94535" y="45300"/>
                  </a:lnTo>
                  <a:lnTo>
                    <a:pt x="96127" y="44700"/>
                  </a:lnTo>
                  <a:lnTo>
                    <a:pt x="96445" y="44700"/>
                  </a:lnTo>
                  <a:lnTo>
                    <a:pt x="96445" y="44100"/>
                  </a:lnTo>
                  <a:lnTo>
                    <a:pt x="96763" y="43200"/>
                  </a:lnTo>
                  <a:lnTo>
                    <a:pt x="96763" y="43200"/>
                  </a:lnTo>
                  <a:lnTo>
                    <a:pt x="95649" y="42600"/>
                  </a:lnTo>
                  <a:lnTo>
                    <a:pt x="95331" y="42600"/>
                  </a:lnTo>
                  <a:lnTo>
                    <a:pt x="93740" y="42600"/>
                  </a:lnTo>
                  <a:lnTo>
                    <a:pt x="93421" y="42600"/>
                  </a:lnTo>
                  <a:lnTo>
                    <a:pt x="93421" y="42000"/>
                  </a:lnTo>
                  <a:lnTo>
                    <a:pt x="93103" y="42000"/>
                  </a:lnTo>
                  <a:lnTo>
                    <a:pt x="93103" y="42000"/>
                  </a:lnTo>
                  <a:lnTo>
                    <a:pt x="93421" y="42000"/>
                  </a:lnTo>
                  <a:lnTo>
                    <a:pt x="93421" y="41100"/>
                  </a:lnTo>
                  <a:lnTo>
                    <a:pt x="93421" y="41100"/>
                  </a:lnTo>
                  <a:lnTo>
                    <a:pt x="93421" y="41100"/>
                  </a:lnTo>
                  <a:lnTo>
                    <a:pt x="93421" y="41100"/>
                  </a:lnTo>
                  <a:lnTo>
                    <a:pt x="93421" y="41100"/>
                  </a:lnTo>
                  <a:lnTo>
                    <a:pt x="93421" y="41100"/>
                  </a:lnTo>
                  <a:lnTo>
                    <a:pt x="93740" y="40500"/>
                  </a:lnTo>
                  <a:lnTo>
                    <a:pt x="94217" y="40500"/>
                  </a:lnTo>
                  <a:lnTo>
                    <a:pt x="94217" y="40500"/>
                  </a:lnTo>
                  <a:lnTo>
                    <a:pt x="94217" y="39600"/>
                  </a:lnTo>
                  <a:lnTo>
                    <a:pt x="94535" y="39600"/>
                  </a:lnTo>
                  <a:lnTo>
                    <a:pt x="94535" y="39600"/>
                  </a:lnTo>
                  <a:lnTo>
                    <a:pt x="94535" y="40500"/>
                  </a:lnTo>
                  <a:lnTo>
                    <a:pt x="94217" y="41100"/>
                  </a:lnTo>
                  <a:lnTo>
                    <a:pt x="95013" y="41100"/>
                  </a:lnTo>
                  <a:lnTo>
                    <a:pt x="95649" y="42000"/>
                  </a:lnTo>
                  <a:lnTo>
                    <a:pt x="96763" y="42000"/>
                  </a:lnTo>
                  <a:lnTo>
                    <a:pt x="97559" y="41100"/>
                  </a:lnTo>
                  <a:lnTo>
                    <a:pt x="97559" y="41100"/>
                  </a:lnTo>
                  <a:lnTo>
                    <a:pt x="97877" y="41100"/>
                  </a:lnTo>
                  <a:lnTo>
                    <a:pt x="98673" y="41100"/>
                  </a:lnTo>
                  <a:lnTo>
                    <a:pt x="98992" y="41100"/>
                  </a:lnTo>
                  <a:lnTo>
                    <a:pt x="99469" y="41100"/>
                  </a:lnTo>
                  <a:lnTo>
                    <a:pt x="99469" y="40500"/>
                  </a:lnTo>
                  <a:lnTo>
                    <a:pt x="99469" y="40500"/>
                  </a:lnTo>
                  <a:lnTo>
                    <a:pt x="99787" y="40500"/>
                  </a:lnTo>
                  <a:lnTo>
                    <a:pt x="99787" y="39600"/>
                  </a:lnTo>
                  <a:lnTo>
                    <a:pt x="99787" y="39600"/>
                  </a:lnTo>
                  <a:lnTo>
                    <a:pt x="99469" y="39000"/>
                  </a:lnTo>
                  <a:lnTo>
                    <a:pt x="99469" y="39000"/>
                  </a:lnTo>
                  <a:lnTo>
                    <a:pt x="98992" y="38400"/>
                  </a:lnTo>
                  <a:lnTo>
                    <a:pt x="98673" y="37500"/>
                  </a:lnTo>
                  <a:lnTo>
                    <a:pt x="98355" y="36900"/>
                  </a:lnTo>
                  <a:lnTo>
                    <a:pt x="97877" y="37500"/>
                  </a:lnTo>
                  <a:lnTo>
                    <a:pt x="97559" y="38400"/>
                  </a:lnTo>
                  <a:lnTo>
                    <a:pt x="97241" y="39000"/>
                  </a:lnTo>
                  <a:lnTo>
                    <a:pt x="96763" y="39000"/>
                  </a:lnTo>
                  <a:lnTo>
                    <a:pt x="96445" y="39000"/>
                  </a:lnTo>
                  <a:lnTo>
                    <a:pt x="96445" y="39000"/>
                  </a:lnTo>
                  <a:lnTo>
                    <a:pt x="96445" y="39000"/>
                  </a:lnTo>
                  <a:lnTo>
                    <a:pt x="96763" y="38400"/>
                  </a:lnTo>
                  <a:lnTo>
                    <a:pt x="96763" y="38400"/>
                  </a:lnTo>
                  <a:lnTo>
                    <a:pt x="97241" y="37500"/>
                  </a:lnTo>
                  <a:lnTo>
                    <a:pt x="96763" y="37500"/>
                  </a:lnTo>
                  <a:lnTo>
                    <a:pt x="96763" y="36900"/>
                  </a:lnTo>
                  <a:lnTo>
                    <a:pt x="96763" y="36900"/>
                  </a:lnTo>
                  <a:lnTo>
                    <a:pt x="96763" y="36900"/>
                  </a:lnTo>
                  <a:lnTo>
                    <a:pt x="96445" y="36900"/>
                  </a:lnTo>
                  <a:lnTo>
                    <a:pt x="95649" y="37500"/>
                  </a:lnTo>
                  <a:lnTo>
                    <a:pt x="95649" y="37500"/>
                  </a:lnTo>
                  <a:lnTo>
                    <a:pt x="95331" y="37500"/>
                  </a:lnTo>
                  <a:lnTo>
                    <a:pt x="95331" y="37500"/>
                  </a:lnTo>
                  <a:lnTo>
                    <a:pt x="95013" y="37500"/>
                  </a:lnTo>
                  <a:lnTo>
                    <a:pt x="94535" y="36900"/>
                  </a:lnTo>
                  <a:lnTo>
                    <a:pt x="94535" y="36900"/>
                  </a:lnTo>
                  <a:lnTo>
                    <a:pt x="95013" y="36900"/>
                  </a:lnTo>
                  <a:lnTo>
                    <a:pt x="95331" y="36900"/>
                  </a:lnTo>
                  <a:lnTo>
                    <a:pt x="96127" y="36900"/>
                  </a:lnTo>
                  <a:lnTo>
                    <a:pt x="96445" y="36900"/>
                  </a:lnTo>
                  <a:lnTo>
                    <a:pt x="96763" y="36900"/>
                  </a:lnTo>
                  <a:lnTo>
                    <a:pt x="97241" y="36900"/>
                  </a:lnTo>
                  <a:lnTo>
                    <a:pt x="97877" y="35400"/>
                  </a:lnTo>
                  <a:lnTo>
                    <a:pt x="98673" y="35400"/>
                  </a:lnTo>
                  <a:lnTo>
                    <a:pt x="98992" y="36300"/>
                  </a:lnTo>
                  <a:lnTo>
                    <a:pt x="98992" y="36300"/>
                  </a:lnTo>
                  <a:lnTo>
                    <a:pt x="99469" y="36900"/>
                  </a:lnTo>
                  <a:lnTo>
                    <a:pt x="99469" y="36900"/>
                  </a:lnTo>
                  <a:lnTo>
                    <a:pt x="99787" y="36300"/>
                  </a:lnTo>
                  <a:lnTo>
                    <a:pt x="100265" y="36300"/>
                  </a:lnTo>
                  <a:lnTo>
                    <a:pt x="100265" y="36300"/>
                  </a:lnTo>
                  <a:lnTo>
                    <a:pt x="100265" y="35400"/>
                  </a:lnTo>
                  <a:lnTo>
                    <a:pt x="100265" y="34800"/>
                  </a:lnTo>
                  <a:lnTo>
                    <a:pt x="100265" y="34800"/>
                  </a:lnTo>
                  <a:lnTo>
                    <a:pt x="100265" y="33900"/>
                  </a:lnTo>
                  <a:lnTo>
                    <a:pt x="100265" y="33900"/>
                  </a:lnTo>
                  <a:lnTo>
                    <a:pt x="100265" y="33900"/>
                  </a:lnTo>
                  <a:lnTo>
                    <a:pt x="100583" y="33300"/>
                  </a:lnTo>
                  <a:lnTo>
                    <a:pt x="100265" y="33300"/>
                  </a:lnTo>
                  <a:lnTo>
                    <a:pt x="99787" y="32700"/>
                  </a:lnTo>
                  <a:lnTo>
                    <a:pt x="99787" y="32700"/>
                  </a:lnTo>
                  <a:lnTo>
                    <a:pt x="100265" y="31800"/>
                  </a:lnTo>
                  <a:lnTo>
                    <a:pt x="99787" y="31200"/>
                  </a:lnTo>
                  <a:lnTo>
                    <a:pt x="99469" y="31200"/>
                  </a:lnTo>
                  <a:lnTo>
                    <a:pt x="98992" y="31200"/>
                  </a:lnTo>
                  <a:lnTo>
                    <a:pt x="98673" y="31200"/>
                  </a:lnTo>
                  <a:lnTo>
                    <a:pt x="98355" y="31200"/>
                  </a:lnTo>
                  <a:lnTo>
                    <a:pt x="98355" y="31200"/>
                  </a:lnTo>
                  <a:lnTo>
                    <a:pt x="97559" y="31200"/>
                  </a:lnTo>
                  <a:lnTo>
                    <a:pt x="97241" y="31200"/>
                  </a:lnTo>
                  <a:lnTo>
                    <a:pt x="96763" y="31200"/>
                  </a:lnTo>
                  <a:lnTo>
                    <a:pt x="96763" y="31200"/>
                  </a:lnTo>
                  <a:lnTo>
                    <a:pt x="96445" y="30600"/>
                  </a:lnTo>
                  <a:lnTo>
                    <a:pt x="96445" y="29700"/>
                  </a:lnTo>
                  <a:lnTo>
                    <a:pt x="96445" y="29700"/>
                  </a:lnTo>
                  <a:lnTo>
                    <a:pt x="95649" y="29700"/>
                  </a:lnTo>
                  <a:lnTo>
                    <a:pt x="95649" y="29700"/>
                  </a:lnTo>
                  <a:lnTo>
                    <a:pt x="95331" y="29100"/>
                  </a:lnTo>
                  <a:lnTo>
                    <a:pt x="95331" y="29100"/>
                  </a:lnTo>
                  <a:lnTo>
                    <a:pt x="95331" y="29100"/>
                  </a:lnTo>
                  <a:lnTo>
                    <a:pt x="95331" y="29100"/>
                  </a:lnTo>
                  <a:lnTo>
                    <a:pt x="95649" y="28500"/>
                  </a:lnTo>
                  <a:lnTo>
                    <a:pt x="96127" y="28500"/>
                  </a:lnTo>
                  <a:lnTo>
                    <a:pt x="96445" y="29100"/>
                  </a:lnTo>
                  <a:lnTo>
                    <a:pt x="96763" y="29100"/>
                  </a:lnTo>
                  <a:lnTo>
                    <a:pt x="97241" y="29100"/>
                  </a:lnTo>
                  <a:lnTo>
                    <a:pt x="98673" y="28500"/>
                  </a:lnTo>
                  <a:lnTo>
                    <a:pt x="98673" y="28500"/>
                  </a:lnTo>
                  <a:lnTo>
                    <a:pt x="99469" y="27600"/>
                  </a:lnTo>
                  <a:lnTo>
                    <a:pt x="100583" y="27600"/>
                  </a:lnTo>
                  <a:lnTo>
                    <a:pt x="100901" y="27600"/>
                  </a:lnTo>
                  <a:lnTo>
                    <a:pt x="101379" y="28500"/>
                  </a:lnTo>
                  <a:lnTo>
                    <a:pt x="102015" y="28500"/>
                  </a:lnTo>
                  <a:lnTo>
                    <a:pt x="102493" y="28500"/>
                  </a:lnTo>
                  <a:lnTo>
                    <a:pt x="102493" y="28500"/>
                  </a:lnTo>
                  <a:lnTo>
                    <a:pt x="102811" y="28500"/>
                  </a:lnTo>
                  <a:lnTo>
                    <a:pt x="103129" y="28500"/>
                  </a:lnTo>
                  <a:lnTo>
                    <a:pt x="103129" y="28500"/>
                  </a:lnTo>
                  <a:lnTo>
                    <a:pt x="103607" y="28500"/>
                  </a:lnTo>
                  <a:lnTo>
                    <a:pt x="103607" y="27600"/>
                  </a:lnTo>
                  <a:lnTo>
                    <a:pt x="103925" y="27600"/>
                  </a:lnTo>
                  <a:lnTo>
                    <a:pt x="103925" y="27000"/>
                  </a:lnTo>
                  <a:lnTo>
                    <a:pt x="103925" y="26100"/>
                  </a:lnTo>
                  <a:lnTo>
                    <a:pt x="103925" y="26100"/>
                  </a:lnTo>
                  <a:lnTo>
                    <a:pt x="103607" y="26100"/>
                  </a:lnTo>
                  <a:lnTo>
                    <a:pt x="102811" y="26100"/>
                  </a:lnTo>
                  <a:lnTo>
                    <a:pt x="102493" y="26100"/>
                  </a:lnTo>
                  <a:lnTo>
                    <a:pt x="102015" y="26100"/>
                  </a:lnTo>
                  <a:lnTo>
                    <a:pt x="102015" y="26100"/>
                  </a:lnTo>
                  <a:lnTo>
                    <a:pt x="101697" y="26100"/>
                  </a:lnTo>
                  <a:lnTo>
                    <a:pt x="101379" y="26100"/>
                  </a:lnTo>
                  <a:lnTo>
                    <a:pt x="100583" y="25500"/>
                  </a:lnTo>
                  <a:lnTo>
                    <a:pt x="100265" y="25500"/>
                  </a:lnTo>
                  <a:lnTo>
                    <a:pt x="99787" y="24900"/>
                  </a:lnTo>
                  <a:lnTo>
                    <a:pt x="100583" y="24000"/>
                  </a:lnTo>
                  <a:lnTo>
                    <a:pt x="100901" y="24000"/>
                  </a:lnTo>
                  <a:lnTo>
                    <a:pt x="101379" y="24000"/>
                  </a:lnTo>
                  <a:lnTo>
                    <a:pt x="102015" y="24900"/>
                  </a:lnTo>
                  <a:lnTo>
                    <a:pt x="102015" y="24900"/>
                  </a:lnTo>
                  <a:lnTo>
                    <a:pt x="102493" y="24900"/>
                  </a:lnTo>
                  <a:lnTo>
                    <a:pt x="102493" y="24900"/>
                  </a:lnTo>
                  <a:lnTo>
                    <a:pt x="102493" y="24000"/>
                  </a:lnTo>
                  <a:lnTo>
                    <a:pt x="102015" y="24000"/>
                  </a:lnTo>
                  <a:lnTo>
                    <a:pt x="101697" y="24000"/>
                  </a:lnTo>
                  <a:lnTo>
                    <a:pt x="101379" y="24000"/>
                  </a:lnTo>
                  <a:lnTo>
                    <a:pt x="100901" y="23400"/>
                  </a:lnTo>
                  <a:lnTo>
                    <a:pt x="100265" y="23400"/>
                  </a:lnTo>
                  <a:lnTo>
                    <a:pt x="99787" y="23400"/>
                  </a:lnTo>
                  <a:lnTo>
                    <a:pt x="98992" y="23400"/>
                  </a:lnTo>
                  <a:lnTo>
                    <a:pt x="98673" y="24000"/>
                  </a:lnTo>
                  <a:lnTo>
                    <a:pt x="98355" y="24900"/>
                  </a:lnTo>
                  <a:lnTo>
                    <a:pt x="97877" y="24000"/>
                  </a:lnTo>
                  <a:lnTo>
                    <a:pt x="97877" y="24000"/>
                  </a:lnTo>
                  <a:lnTo>
                    <a:pt x="98355" y="23400"/>
                  </a:lnTo>
                  <a:lnTo>
                    <a:pt x="98673" y="22800"/>
                  </a:lnTo>
                  <a:lnTo>
                    <a:pt x="98992" y="22800"/>
                  </a:lnTo>
                  <a:lnTo>
                    <a:pt x="98992" y="21900"/>
                  </a:lnTo>
                  <a:lnTo>
                    <a:pt x="99469" y="21300"/>
                  </a:lnTo>
                  <a:lnTo>
                    <a:pt x="99787" y="21300"/>
                  </a:lnTo>
                  <a:lnTo>
                    <a:pt x="100265" y="20700"/>
                  </a:lnTo>
                  <a:lnTo>
                    <a:pt x="100265" y="19800"/>
                  </a:lnTo>
                  <a:lnTo>
                    <a:pt x="100265" y="19800"/>
                  </a:lnTo>
                  <a:lnTo>
                    <a:pt x="100265" y="19800"/>
                  </a:lnTo>
                  <a:lnTo>
                    <a:pt x="101379" y="19200"/>
                  </a:lnTo>
                  <a:lnTo>
                    <a:pt x="101697" y="19200"/>
                  </a:lnTo>
                  <a:lnTo>
                    <a:pt x="102015" y="19200"/>
                  </a:lnTo>
                  <a:lnTo>
                    <a:pt x="102493" y="19200"/>
                  </a:lnTo>
                  <a:lnTo>
                    <a:pt x="102493" y="19200"/>
                  </a:lnTo>
                  <a:lnTo>
                    <a:pt x="102811" y="18300"/>
                  </a:lnTo>
                  <a:lnTo>
                    <a:pt x="102811" y="18300"/>
                  </a:lnTo>
                  <a:lnTo>
                    <a:pt x="102811" y="18300"/>
                  </a:lnTo>
                  <a:lnTo>
                    <a:pt x="102811" y="18300"/>
                  </a:lnTo>
                  <a:lnTo>
                    <a:pt x="103129" y="17700"/>
                  </a:lnTo>
                  <a:lnTo>
                    <a:pt x="103925" y="17700"/>
                  </a:lnTo>
                  <a:lnTo>
                    <a:pt x="104244" y="17700"/>
                  </a:lnTo>
                  <a:lnTo>
                    <a:pt x="104721" y="17700"/>
                  </a:lnTo>
                  <a:lnTo>
                    <a:pt x="104721" y="17100"/>
                  </a:lnTo>
                  <a:lnTo>
                    <a:pt x="104721" y="17100"/>
                  </a:lnTo>
                  <a:lnTo>
                    <a:pt x="104721" y="17100"/>
                  </a:lnTo>
                  <a:lnTo>
                    <a:pt x="104244" y="17100"/>
                  </a:lnTo>
                  <a:lnTo>
                    <a:pt x="104244" y="17100"/>
                  </a:lnTo>
                  <a:lnTo>
                    <a:pt x="104244" y="17100"/>
                  </a:lnTo>
                  <a:lnTo>
                    <a:pt x="103925" y="17100"/>
                  </a:lnTo>
                  <a:lnTo>
                    <a:pt x="103925" y="16200"/>
                  </a:lnTo>
                  <a:lnTo>
                    <a:pt x="103925" y="16200"/>
                  </a:lnTo>
                  <a:lnTo>
                    <a:pt x="104244" y="15600"/>
                  </a:lnTo>
                  <a:lnTo>
                    <a:pt x="104244" y="15600"/>
                  </a:lnTo>
                  <a:lnTo>
                    <a:pt x="104244" y="15600"/>
                  </a:lnTo>
                  <a:lnTo>
                    <a:pt x="104244" y="15000"/>
                  </a:lnTo>
                  <a:lnTo>
                    <a:pt x="104244" y="15000"/>
                  </a:lnTo>
                  <a:lnTo>
                    <a:pt x="104244" y="15000"/>
                  </a:lnTo>
                  <a:lnTo>
                    <a:pt x="103607" y="15000"/>
                  </a:lnTo>
                  <a:lnTo>
                    <a:pt x="103129" y="15000"/>
                  </a:lnTo>
                  <a:lnTo>
                    <a:pt x="103129" y="15000"/>
                  </a:lnTo>
                  <a:lnTo>
                    <a:pt x="103129" y="15000"/>
                  </a:lnTo>
                  <a:lnTo>
                    <a:pt x="103129" y="15000"/>
                  </a:lnTo>
                  <a:lnTo>
                    <a:pt x="103129" y="14100"/>
                  </a:lnTo>
                  <a:lnTo>
                    <a:pt x="103129" y="14100"/>
                  </a:lnTo>
                  <a:lnTo>
                    <a:pt x="103607" y="13500"/>
                  </a:lnTo>
                  <a:lnTo>
                    <a:pt x="103925" y="13500"/>
                  </a:lnTo>
                  <a:lnTo>
                    <a:pt x="104721" y="12900"/>
                  </a:lnTo>
                  <a:lnTo>
                    <a:pt x="104721" y="12900"/>
                  </a:lnTo>
                  <a:lnTo>
                    <a:pt x="105039" y="12900"/>
                  </a:lnTo>
                  <a:lnTo>
                    <a:pt x="105517" y="12900"/>
                  </a:lnTo>
                  <a:lnTo>
                    <a:pt x="106153" y="12900"/>
                  </a:lnTo>
                  <a:lnTo>
                    <a:pt x="107267" y="13500"/>
                  </a:lnTo>
                  <a:lnTo>
                    <a:pt x="107745" y="13500"/>
                  </a:lnTo>
                  <a:lnTo>
                    <a:pt x="108381" y="12900"/>
                  </a:lnTo>
                  <a:lnTo>
                    <a:pt x="108859" y="12900"/>
                  </a:lnTo>
                  <a:lnTo>
                    <a:pt x="109177" y="12900"/>
                  </a:lnTo>
                  <a:lnTo>
                    <a:pt x="109496" y="12900"/>
                  </a:lnTo>
                  <a:lnTo>
                    <a:pt x="110291" y="12900"/>
                  </a:lnTo>
                  <a:lnTo>
                    <a:pt x="110769" y="12900"/>
                  </a:lnTo>
                  <a:lnTo>
                    <a:pt x="111405" y="12000"/>
                  </a:lnTo>
                  <a:lnTo>
                    <a:pt x="111405" y="12000"/>
                  </a:lnTo>
                  <a:lnTo>
                    <a:pt x="110291" y="12000"/>
                  </a:lnTo>
                  <a:lnTo>
                    <a:pt x="110291" y="12000"/>
                  </a:lnTo>
                  <a:lnTo>
                    <a:pt x="109973" y="11400"/>
                  </a:lnTo>
                  <a:lnTo>
                    <a:pt x="110769" y="11400"/>
                  </a:lnTo>
                  <a:lnTo>
                    <a:pt x="111405" y="11400"/>
                  </a:lnTo>
                  <a:lnTo>
                    <a:pt x="112201" y="11400"/>
                  </a:lnTo>
                  <a:lnTo>
                    <a:pt x="112997" y="10500"/>
                  </a:lnTo>
                  <a:lnTo>
                    <a:pt x="114111" y="10500"/>
                  </a:lnTo>
                  <a:lnTo>
                    <a:pt x="114429" y="10500"/>
                  </a:lnTo>
                  <a:lnTo>
                    <a:pt x="114748" y="10500"/>
                  </a:lnTo>
                  <a:lnTo>
                    <a:pt x="114748" y="9900"/>
                  </a:lnTo>
                  <a:lnTo>
                    <a:pt x="114748" y="9900"/>
                  </a:lnTo>
                  <a:lnTo>
                    <a:pt x="114429" y="9900"/>
                  </a:lnTo>
                  <a:lnTo>
                    <a:pt x="114429" y="9900"/>
                  </a:lnTo>
                  <a:lnTo>
                    <a:pt x="114748" y="9900"/>
                  </a:lnTo>
                  <a:lnTo>
                    <a:pt x="115543" y="9900"/>
                  </a:lnTo>
                  <a:lnTo>
                    <a:pt x="116339" y="9900"/>
                  </a:lnTo>
                  <a:lnTo>
                    <a:pt x="117135" y="9300"/>
                  </a:lnTo>
                  <a:lnTo>
                    <a:pt x="118249" y="8400"/>
                  </a:lnTo>
                  <a:lnTo>
                    <a:pt x="118567" y="8400"/>
                  </a:lnTo>
                  <a:lnTo>
                    <a:pt x="120000" y="7800"/>
                  </a:lnTo>
                  <a:lnTo>
                    <a:pt x="120000" y="7800"/>
                  </a:lnTo>
                  <a:lnTo>
                    <a:pt x="120000" y="7800"/>
                  </a:lnTo>
                  <a:lnTo>
                    <a:pt x="120000" y="780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81" name="Shape 481"/>
            <p:cNvSpPr/>
            <p:nvPr/>
          </p:nvSpPr>
          <p:spPr>
            <a:xfrm>
              <a:off x="4006" y="1928"/>
              <a:ext cx="300" cy="0"/>
            </a:xfrm>
            <a:custGeom>
              <a:avLst/>
              <a:gdLst/>
              <a:ahLst/>
              <a:cxnLst/>
              <a:rect l="0" t="0" r="0" b="0"/>
              <a:pathLst>
                <a:path w="120000" h="120000" extrusionOk="0">
                  <a:moveTo>
                    <a:pt x="92185" y="115774"/>
                  </a:moveTo>
                  <a:lnTo>
                    <a:pt x="90596" y="115774"/>
                  </a:lnTo>
                  <a:lnTo>
                    <a:pt x="88211" y="115774"/>
                  </a:lnTo>
                  <a:lnTo>
                    <a:pt x="88211" y="115774"/>
                  </a:lnTo>
                  <a:lnTo>
                    <a:pt x="88211" y="115774"/>
                  </a:lnTo>
                  <a:lnTo>
                    <a:pt x="86622" y="115774"/>
                  </a:lnTo>
                  <a:lnTo>
                    <a:pt x="86622" y="115774"/>
                  </a:lnTo>
                  <a:lnTo>
                    <a:pt x="86622" y="114084"/>
                  </a:lnTo>
                  <a:lnTo>
                    <a:pt x="86622" y="111549"/>
                  </a:lnTo>
                  <a:lnTo>
                    <a:pt x="85033" y="114084"/>
                  </a:lnTo>
                  <a:lnTo>
                    <a:pt x="82649" y="114084"/>
                  </a:lnTo>
                  <a:lnTo>
                    <a:pt x="81059" y="111549"/>
                  </a:lnTo>
                  <a:lnTo>
                    <a:pt x="77086" y="111549"/>
                  </a:lnTo>
                  <a:lnTo>
                    <a:pt x="77086" y="111549"/>
                  </a:lnTo>
                  <a:lnTo>
                    <a:pt x="73112" y="111549"/>
                  </a:lnTo>
                  <a:lnTo>
                    <a:pt x="71523" y="111549"/>
                  </a:lnTo>
                  <a:lnTo>
                    <a:pt x="69933" y="111549"/>
                  </a:lnTo>
                  <a:lnTo>
                    <a:pt x="69933" y="111549"/>
                  </a:lnTo>
                  <a:lnTo>
                    <a:pt x="67549" y="111549"/>
                  </a:lnTo>
                  <a:lnTo>
                    <a:pt x="67549" y="111549"/>
                  </a:lnTo>
                  <a:lnTo>
                    <a:pt x="65960" y="111549"/>
                  </a:lnTo>
                  <a:lnTo>
                    <a:pt x="65960" y="111549"/>
                  </a:lnTo>
                  <a:lnTo>
                    <a:pt x="65960" y="109859"/>
                  </a:lnTo>
                  <a:lnTo>
                    <a:pt x="65960" y="109859"/>
                  </a:lnTo>
                  <a:lnTo>
                    <a:pt x="64370" y="109859"/>
                  </a:lnTo>
                  <a:lnTo>
                    <a:pt x="64370" y="109859"/>
                  </a:lnTo>
                  <a:lnTo>
                    <a:pt x="64370" y="109859"/>
                  </a:lnTo>
                  <a:lnTo>
                    <a:pt x="65960" y="109859"/>
                  </a:lnTo>
                  <a:lnTo>
                    <a:pt x="64370" y="108169"/>
                  </a:lnTo>
                  <a:lnTo>
                    <a:pt x="64370" y="108169"/>
                  </a:lnTo>
                  <a:lnTo>
                    <a:pt x="61986" y="109859"/>
                  </a:lnTo>
                  <a:lnTo>
                    <a:pt x="61986" y="109859"/>
                  </a:lnTo>
                  <a:lnTo>
                    <a:pt x="61986" y="109859"/>
                  </a:lnTo>
                  <a:lnTo>
                    <a:pt x="60397" y="109859"/>
                  </a:lnTo>
                  <a:lnTo>
                    <a:pt x="60397" y="109859"/>
                  </a:lnTo>
                  <a:lnTo>
                    <a:pt x="58807" y="108169"/>
                  </a:lnTo>
                  <a:lnTo>
                    <a:pt x="58807" y="108169"/>
                  </a:lnTo>
                  <a:lnTo>
                    <a:pt x="58807" y="108169"/>
                  </a:lnTo>
                  <a:lnTo>
                    <a:pt x="58807" y="109859"/>
                  </a:lnTo>
                  <a:lnTo>
                    <a:pt x="58807" y="109859"/>
                  </a:lnTo>
                  <a:lnTo>
                    <a:pt x="56423" y="109859"/>
                  </a:lnTo>
                  <a:lnTo>
                    <a:pt x="56423" y="108169"/>
                  </a:lnTo>
                  <a:lnTo>
                    <a:pt x="56423" y="109859"/>
                  </a:lnTo>
                  <a:lnTo>
                    <a:pt x="56423" y="111549"/>
                  </a:lnTo>
                  <a:lnTo>
                    <a:pt x="56423" y="114084"/>
                  </a:lnTo>
                  <a:lnTo>
                    <a:pt x="56423" y="114084"/>
                  </a:lnTo>
                  <a:lnTo>
                    <a:pt x="58807" y="114084"/>
                  </a:lnTo>
                  <a:lnTo>
                    <a:pt x="58807" y="114084"/>
                  </a:lnTo>
                  <a:lnTo>
                    <a:pt x="60397" y="114084"/>
                  </a:lnTo>
                  <a:lnTo>
                    <a:pt x="61986" y="115774"/>
                  </a:lnTo>
                  <a:lnTo>
                    <a:pt x="69933" y="115774"/>
                  </a:lnTo>
                  <a:lnTo>
                    <a:pt x="71523" y="115774"/>
                  </a:lnTo>
                  <a:lnTo>
                    <a:pt x="73112" y="118309"/>
                  </a:lnTo>
                  <a:lnTo>
                    <a:pt x="73112" y="118309"/>
                  </a:lnTo>
                  <a:lnTo>
                    <a:pt x="73112" y="118309"/>
                  </a:lnTo>
                  <a:lnTo>
                    <a:pt x="73112" y="120000"/>
                  </a:lnTo>
                  <a:lnTo>
                    <a:pt x="73112" y="120000"/>
                  </a:lnTo>
                  <a:lnTo>
                    <a:pt x="78675" y="120000"/>
                  </a:lnTo>
                  <a:lnTo>
                    <a:pt x="85033" y="118309"/>
                  </a:lnTo>
                  <a:lnTo>
                    <a:pt x="88211" y="118309"/>
                  </a:lnTo>
                  <a:lnTo>
                    <a:pt x="92185" y="118309"/>
                  </a:lnTo>
                  <a:lnTo>
                    <a:pt x="92185" y="118309"/>
                  </a:lnTo>
                  <a:lnTo>
                    <a:pt x="93774" y="118309"/>
                  </a:lnTo>
                  <a:lnTo>
                    <a:pt x="93774" y="118309"/>
                  </a:lnTo>
                  <a:lnTo>
                    <a:pt x="93774" y="115774"/>
                  </a:lnTo>
                  <a:lnTo>
                    <a:pt x="93774" y="114084"/>
                  </a:lnTo>
                  <a:lnTo>
                    <a:pt x="96158" y="114084"/>
                  </a:lnTo>
                  <a:lnTo>
                    <a:pt x="93774" y="114084"/>
                  </a:lnTo>
                  <a:lnTo>
                    <a:pt x="92185" y="115774"/>
                  </a:lnTo>
                  <a:close/>
                  <a:moveTo>
                    <a:pt x="46887" y="93802"/>
                  </a:moveTo>
                  <a:lnTo>
                    <a:pt x="46887" y="93802"/>
                  </a:lnTo>
                  <a:lnTo>
                    <a:pt x="46887" y="96338"/>
                  </a:lnTo>
                  <a:lnTo>
                    <a:pt x="46887" y="96338"/>
                  </a:lnTo>
                  <a:lnTo>
                    <a:pt x="46887" y="98028"/>
                  </a:lnTo>
                  <a:lnTo>
                    <a:pt x="49271" y="98028"/>
                  </a:lnTo>
                  <a:lnTo>
                    <a:pt x="49271" y="98028"/>
                  </a:lnTo>
                  <a:lnTo>
                    <a:pt x="49271" y="96338"/>
                  </a:lnTo>
                  <a:lnTo>
                    <a:pt x="46887" y="93802"/>
                  </a:lnTo>
                  <a:lnTo>
                    <a:pt x="46887" y="93802"/>
                  </a:lnTo>
                  <a:close/>
                  <a:moveTo>
                    <a:pt x="120000" y="93802"/>
                  </a:moveTo>
                  <a:lnTo>
                    <a:pt x="120000" y="93802"/>
                  </a:lnTo>
                  <a:lnTo>
                    <a:pt x="120000" y="93802"/>
                  </a:lnTo>
                  <a:lnTo>
                    <a:pt x="116821" y="93802"/>
                  </a:lnTo>
                  <a:lnTo>
                    <a:pt x="114437" y="96338"/>
                  </a:lnTo>
                  <a:lnTo>
                    <a:pt x="114437" y="98028"/>
                  </a:lnTo>
                  <a:lnTo>
                    <a:pt x="112847" y="98028"/>
                  </a:lnTo>
                  <a:lnTo>
                    <a:pt x="112847" y="98028"/>
                  </a:lnTo>
                  <a:lnTo>
                    <a:pt x="114437" y="99718"/>
                  </a:lnTo>
                  <a:lnTo>
                    <a:pt x="114437" y="102253"/>
                  </a:lnTo>
                  <a:lnTo>
                    <a:pt x="114437" y="102253"/>
                  </a:lnTo>
                  <a:lnTo>
                    <a:pt x="114437" y="102253"/>
                  </a:lnTo>
                  <a:lnTo>
                    <a:pt x="114437" y="102253"/>
                  </a:lnTo>
                  <a:lnTo>
                    <a:pt x="116821" y="99718"/>
                  </a:lnTo>
                  <a:lnTo>
                    <a:pt x="118410" y="99718"/>
                  </a:lnTo>
                  <a:lnTo>
                    <a:pt x="118410" y="98028"/>
                  </a:lnTo>
                  <a:lnTo>
                    <a:pt x="120000" y="98028"/>
                  </a:lnTo>
                  <a:lnTo>
                    <a:pt x="120000" y="93802"/>
                  </a:lnTo>
                  <a:close/>
                  <a:moveTo>
                    <a:pt x="103311" y="70140"/>
                  </a:moveTo>
                  <a:lnTo>
                    <a:pt x="103311" y="67605"/>
                  </a:lnTo>
                  <a:lnTo>
                    <a:pt x="101721" y="67605"/>
                  </a:lnTo>
                  <a:lnTo>
                    <a:pt x="101721" y="67605"/>
                  </a:lnTo>
                  <a:lnTo>
                    <a:pt x="99337" y="67605"/>
                  </a:lnTo>
                  <a:lnTo>
                    <a:pt x="97748" y="67605"/>
                  </a:lnTo>
                  <a:lnTo>
                    <a:pt x="97748" y="67605"/>
                  </a:lnTo>
                  <a:lnTo>
                    <a:pt x="96158" y="70140"/>
                  </a:lnTo>
                  <a:lnTo>
                    <a:pt x="96158" y="70140"/>
                  </a:lnTo>
                  <a:lnTo>
                    <a:pt x="97748" y="70140"/>
                  </a:lnTo>
                  <a:lnTo>
                    <a:pt x="99337" y="70140"/>
                  </a:lnTo>
                  <a:lnTo>
                    <a:pt x="99337" y="71830"/>
                  </a:lnTo>
                  <a:lnTo>
                    <a:pt x="101721" y="70140"/>
                  </a:lnTo>
                  <a:lnTo>
                    <a:pt x="103311" y="70140"/>
                  </a:lnTo>
                  <a:close/>
                  <a:moveTo>
                    <a:pt x="17483" y="67605"/>
                  </a:moveTo>
                  <a:lnTo>
                    <a:pt x="15099" y="67605"/>
                  </a:lnTo>
                  <a:lnTo>
                    <a:pt x="15099" y="65915"/>
                  </a:lnTo>
                  <a:lnTo>
                    <a:pt x="13509" y="67605"/>
                  </a:lnTo>
                  <a:lnTo>
                    <a:pt x="15099" y="67605"/>
                  </a:lnTo>
                  <a:lnTo>
                    <a:pt x="15099" y="70140"/>
                  </a:lnTo>
                  <a:lnTo>
                    <a:pt x="17483" y="70140"/>
                  </a:lnTo>
                  <a:lnTo>
                    <a:pt x="19072" y="70140"/>
                  </a:lnTo>
                  <a:lnTo>
                    <a:pt x="19072" y="70140"/>
                  </a:lnTo>
                  <a:lnTo>
                    <a:pt x="17483" y="67605"/>
                  </a:lnTo>
                  <a:lnTo>
                    <a:pt x="17483" y="67605"/>
                  </a:lnTo>
                  <a:close/>
                  <a:moveTo>
                    <a:pt x="52450" y="64225"/>
                  </a:moveTo>
                  <a:lnTo>
                    <a:pt x="52450" y="64225"/>
                  </a:lnTo>
                  <a:lnTo>
                    <a:pt x="52450" y="65915"/>
                  </a:lnTo>
                  <a:lnTo>
                    <a:pt x="52450" y="65915"/>
                  </a:lnTo>
                  <a:lnTo>
                    <a:pt x="52450" y="65915"/>
                  </a:lnTo>
                  <a:lnTo>
                    <a:pt x="52450" y="65915"/>
                  </a:lnTo>
                  <a:lnTo>
                    <a:pt x="54834" y="65915"/>
                  </a:lnTo>
                  <a:lnTo>
                    <a:pt x="54834" y="65915"/>
                  </a:lnTo>
                  <a:lnTo>
                    <a:pt x="54834" y="65915"/>
                  </a:lnTo>
                  <a:lnTo>
                    <a:pt x="54834" y="64225"/>
                  </a:lnTo>
                  <a:lnTo>
                    <a:pt x="52450" y="64225"/>
                  </a:lnTo>
                  <a:close/>
                  <a:moveTo>
                    <a:pt x="15099" y="61690"/>
                  </a:moveTo>
                  <a:lnTo>
                    <a:pt x="17483" y="61690"/>
                  </a:lnTo>
                  <a:lnTo>
                    <a:pt x="15099" y="60000"/>
                  </a:lnTo>
                  <a:lnTo>
                    <a:pt x="13509" y="60000"/>
                  </a:lnTo>
                  <a:lnTo>
                    <a:pt x="13509" y="58309"/>
                  </a:lnTo>
                  <a:lnTo>
                    <a:pt x="13509" y="55774"/>
                  </a:lnTo>
                  <a:lnTo>
                    <a:pt x="13509" y="55774"/>
                  </a:lnTo>
                  <a:lnTo>
                    <a:pt x="13509" y="58309"/>
                  </a:lnTo>
                  <a:lnTo>
                    <a:pt x="11920" y="58309"/>
                  </a:lnTo>
                  <a:lnTo>
                    <a:pt x="11920" y="58309"/>
                  </a:lnTo>
                  <a:lnTo>
                    <a:pt x="11920" y="58309"/>
                  </a:lnTo>
                  <a:lnTo>
                    <a:pt x="11920" y="58309"/>
                  </a:lnTo>
                  <a:lnTo>
                    <a:pt x="9536" y="60000"/>
                  </a:lnTo>
                  <a:lnTo>
                    <a:pt x="9536" y="61690"/>
                  </a:lnTo>
                  <a:lnTo>
                    <a:pt x="11920" y="61690"/>
                  </a:lnTo>
                  <a:lnTo>
                    <a:pt x="11920" y="60000"/>
                  </a:lnTo>
                  <a:lnTo>
                    <a:pt x="11920" y="60000"/>
                  </a:lnTo>
                  <a:lnTo>
                    <a:pt x="11920" y="61690"/>
                  </a:lnTo>
                  <a:lnTo>
                    <a:pt x="11920" y="61690"/>
                  </a:lnTo>
                  <a:lnTo>
                    <a:pt x="13509" y="61690"/>
                  </a:lnTo>
                  <a:lnTo>
                    <a:pt x="13509" y="61690"/>
                  </a:lnTo>
                  <a:lnTo>
                    <a:pt x="13509" y="61690"/>
                  </a:lnTo>
                  <a:lnTo>
                    <a:pt x="15099" y="64225"/>
                  </a:lnTo>
                  <a:lnTo>
                    <a:pt x="15099" y="61690"/>
                  </a:lnTo>
                  <a:close/>
                  <a:moveTo>
                    <a:pt x="15099" y="55774"/>
                  </a:moveTo>
                  <a:lnTo>
                    <a:pt x="13509" y="55774"/>
                  </a:lnTo>
                  <a:lnTo>
                    <a:pt x="13509" y="55774"/>
                  </a:lnTo>
                  <a:lnTo>
                    <a:pt x="13509" y="58309"/>
                  </a:lnTo>
                  <a:lnTo>
                    <a:pt x="15099" y="58309"/>
                  </a:lnTo>
                  <a:lnTo>
                    <a:pt x="15099" y="58309"/>
                  </a:lnTo>
                  <a:lnTo>
                    <a:pt x="15099" y="58309"/>
                  </a:lnTo>
                  <a:lnTo>
                    <a:pt x="15099" y="58309"/>
                  </a:lnTo>
                  <a:lnTo>
                    <a:pt x="15099" y="55774"/>
                  </a:lnTo>
                  <a:lnTo>
                    <a:pt x="15099" y="55774"/>
                  </a:lnTo>
                  <a:lnTo>
                    <a:pt x="15099" y="55774"/>
                  </a:lnTo>
                  <a:close/>
                  <a:moveTo>
                    <a:pt x="88211" y="54084"/>
                  </a:moveTo>
                  <a:lnTo>
                    <a:pt x="88211" y="54084"/>
                  </a:lnTo>
                  <a:lnTo>
                    <a:pt x="85033" y="54084"/>
                  </a:lnTo>
                  <a:lnTo>
                    <a:pt x="85033" y="55774"/>
                  </a:lnTo>
                  <a:lnTo>
                    <a:pt x="86622" y="58309"/>
                  </a:lnTo>
                  <a:lnTo>
                    <a:pt x="88211" y="58309"/>
                  </a:lnTo>
                  <a:lnTo>
                    <a:pt x="86622" y="60000"/>
                  </a:lnTo>
                  <a:lnTo>
                    <a:pt x="86622" y="60000"/>
                  </a:lnTo>
                  <a:lnTo>
                    <a:pt x="86622" y="60000"/>
                  </a:lnTo>
                  <a:lnTo>
                    <a:pt x="88211" y="61690"/>
                  </a:lnTo>
                  <a:lnTo>
                    <a:pt x="88211" y="60000"/>
                  </a:lnTo>
                  <a:lnTo>
                    <a:pt x="88211" y="60000"/>
                  </a:lnTo>
                  <a:lnTo>
                    <a:pt x="90596" y="60000"/>
                  </a:lnTo>
                  <a:lnTo>
                    <a:pt x="90596" y="60000"/>
                  </a:lnTo>
                  <a:lnTo>
                    <a:pt x="90596" y="55774"/>
                  </a:lnTo>
                  <a:lnTo>
                    <a:pt x="90596" y="55774"/>
                  </a:lnTo>
                  <a:lnTo>
                    <a:pt x="90596" y="54084"/>
                  </a:lnTo>
                  <a:lnTo>
                    <a:pt x="88211" y="54084"/>
                  </a:lnTo>
                  <a:close/>
                  <a:moveTo>
                    <a:pt x="15099" y="49859"/>
                  </a:moveTo>
                  <a:lnTo>
                    <a:pt x="13509" y="49859"/>
                  </a:lnTo>
                  <a:lnTo>
                    <a:pt x="13509" y="49859"/>
                  </a:lnTo>
                  <a:lnTo>
                    <a:pt x="13509" y="52394"/>
                  </a:lnTo>
                  <a:lnTo>
                    <a:pt x="13509" y="54084"/>
                  </a:lnTo>
                  <a:lnTo>
                    <a:pt x="13509" y="54084"/>
                  </a:lnTo>
                  <a:lnTo>
                    <a:pt x="13509" y="54084"/>
                  </a:lnTo>
                  <a:lnTo>
                    <a:pt x="13509" y="54084"/>
                  </a:lnTo>
                  <a:lnTo>
                    <a:pt x="15099" y="54084"/>
                  </a:lnTo>
                  <a:lnTo>
                    <a:pt x="15099" y="54084"/>
                  </a:lnTo>
                  <a:lnTo>
                    <a:pt x="15099" y="49859"/>
                  </a:lnTo>
                  <a:lnTo>
                    <a:pt x="15099" y="49859"/>
                  </a:lnTo>
                  <a:close/>
                  <a:moveTo>
                    <a:pt x="52450" y="49859"/>
                  </a:moveTo>
                  <a:lnTo>
                    <a:pt x="50860" y="48169"/>
                  </a:lnTo>
                  <a:lnTo>
                    <a:pt x="50860" y="45633"/>
                  </a:lnTo>
                  <a:lnTo>
                    <a:pt x="49271" y="45633"/>
                  </a:lnTo>
                  <a:lnTo>
                    <a:pt x="46887" y="45633"/>
                  </a:lnTo>
                  <a:lnTo>
                    <a:pt x="45298" y="48169"/>
                  </a:lnTo>
                  <a:lnTo>
                    <a:pt x="45298" y="48169"/>
                  </a:lnTo>
                  <a:lnTo>
                    <a:pt x="45298" y="49859"/>
                  </a:lnTo>
                  <a:lnTo>
                    <a:pt x="45298" y="49859"/>
                  </a:lnTo>
                  <a:lnTo>
                    <a:pt x="46887" y="48169"/>
                  </a:lnTo>
                  <a:lnTo>
                    <a:pt x="49271" y="49859"/>
                  </a:lnTo>
                  <a:lnTo>
                    <a:pt x="49271" y="49859"/>
                  </a:lnTo>
                  <a:lnTo>
                    <a:pt x="50860" y="52394"/>
                  </a:lnTo>
                  <a:lnTo>
                    <a:pt x="52450" y="52394"/>
                  </a:lnTo>
                  <a:lnTo>
                    <a:pt x="52450" y="54084"/>
                  </a:lnTo>
                  <a:lnTo>
                    <a:pt x="54834" y="54084"/>
                  </a:lnTo>
                  <a:lnTo>
                    <a:pt x="54834" y="54084"/>
                  </a:lnTo>
                  <a:lnTo>
                    <a:pt x="54834" y="55774"/>
                  </a:lnTo>
                  <a:lnTo>
                    <a:pt x="56423" y="58309"/>
                  </a:lnTo>
                  <a:lnTo>
                    <a:pt x="58807" y="58309"/>
                  </a:lnTo>
                  <a:lnTo>
                    <a:pt x="60397" y="58309"/>
                  </a:lnTo>
                  <a:lnTo>
                    <a:pt x="60397" y="58309"/>
                  </a:lnTo>
                  <a:lnTo>
                    <a:pt x="60397" y="58309"/>
                  </a:lnTo>
                  <a:lnTo>
                    <a:pt x="61986" y="58309"/>
                  </a:lnTo>
                  <a:lnTo>
                    <a:pt x="61986" y="60000"/>
                  </a:lnTo>
                  <a:lnTo>
                    <a:pt x="61986" y="60000"/>
                  </a:lnTo>
                  <a:lnTo>
                    <a:pt x="61986" y="61690"/>
                  </a:lnTo>
                  <a:lnTo>
                    <a:pt x="64370" y="61690"/>
                  </a:lnTo>
                  <a:lnTo>
                    <a:pt x="64370" y="64225"/>
                  </a:lnTo>
                  <a:lnTo>
                    <a:pt x="65960" y="64225"/>
                  </a:lnTo>
                  <a:lnTo>
                    <a:pt x="65960" y="64225"/>
                  </a:lnTo>
                  <a:lnTo>
                    <a:pt x="65960" y="64225"/>
                  </a:lnTo>
                  <a:lnTo>
                    <a:pt x="67549" y="64225"/>
                  </a:lnTo>
                  <a:lnTo>
                    <a:pt x="67549" y="65915"/>
                  </a:lnTo>
                  <a:lnTo>
                    <a:pt x="67549" y="64225"/>
                  </a:lnTo>
                  <a:lnTo>
                    <a:pt x="67549" y="64225"/>
                  </a:lnTo>
                  <a:lnTo>
                    <a:pt x="67549" y="61690"/>
                  </a:lnTo>
                  <a:lnTo>
                    <a:pt x="67549" y="61690"/>
                  </a:lnTo>
                  <a:lnTo>
                    <a:pt x="65960" y="61690"/>
                  </a:lnTo>
                  <a:lnTo>
                    <a:pt x="65960" y="61690"/>
                  </a:lnTo>
                  <a:lnTo>
                    <a:pt x="64370" y="60000"/>
                  </a:lnTo>
                  <a:lnTo>
                    <a:pt x="64370" y="58309"/>
                  </a:lnTo>
                  <a:lnTo>
                    <a:pt x="61986" y="55774"/>
                  </a:lnTo>
                  <a:lnTo>
                    <a:pt x="61986" y="55774"/>
                  </a:lnTo>
                  <a:lnTo>
                    <a:pt x="61986" y="54084"/>
                  </a:lnTo>
                  <a:lnTo>
                    <a:pt x="61986" y="54084"/>
                  </a:lnTo>
                  <a:lnTo>
                    <a:pt x="61986" y="52394"/>
                  </a:lnTo>
                  <a:lnTo>
                    <a:pt x="61986" y="52394"/>
                  </a:lnTo>
                  <a:lnTo>
                    <a:pt x="58807" y="52394"/>
                  </a:lnTo>
                  <a:lnTo>
                    <a:pt x="56423" y="49859"/>
                  </a:lnTo>
                  <a:lnTo>
                    <a:pt x="54834" y="49859"/>
                  </a:lnTo>
                  <a:lnTo>
                    <a:pt x="52450" y="49859"/>
                  </a:lnTo>
                  <a:lnTo>
                    <a:pt x="52450" y="49859"/>
                  </a:lnTo>
                  <a:close/>
                  <a:moveTo>
                    <a:pt x="92185" y="39718"/>
                  </a:moveTo>
                  <a:lnTo>
                    <a:pt x="92185" y="39718"/>
                  </a:lnTo>
                  <a:lnTo>
                    <a:pt x="88211" y="39718"/>
                  </a:lnTo>
                  <a:lnTo>
                    <a:pt x="88211" y="39718"/>
                  </a:lnTo>
                  <a:lnTo>
                    <a:pt x="88211" y="42253"/>
                  </a:lnTo>
                  <a:lnTo>
                    <a:pt x="86622" y="42253"/>
                  </a:lnTo>
                  <a:lnTo>
                    <a:pt x="86622" y="42253"/>
                  </a:lnTo>
                  <a:lnTo>
                    <a:pt x="85033" y="42253"/>
                  </a:lnTo>
                  <a:lnTo>
                    <a:pt x="85033" y="43943"/>
                  </a:lnTo>
                  <a:lnTo>
                    <a:pt x="86622" y="43943"/>
                  </a:lnTo>
                  <a:lnTo>
                    <a:pt x="88211" y="43943"/>
                  </a:lnTo>
                  <a:lnTo>
                    <a:pt x="88211" y="43943"/>
                  </a:lnTo>
                  <a:lnTo>
                    <a:pt x="90596" y="42253"/>
                  </a:lnTo>
                  <a:lnTo>
                    <a:pt x="90596" y="43943"/>
                  </a:lnTo>
                  <a:lnTo>
                    <a:pt x="88211" y="45633"/>
                  </a:lnTo>
                  <a:lnTo>
                    <a:pt x="88211" y="45633"/>
                  </a:lnTo>
                  <a:lnTo>
                    <a:pt x="92185" y="45633"/>
                  </a:lnTo>
                  <a:lnTo>
                    <a:pt x="93774" y="48169"/>
                  </a:lnTo>
                  <a:lnTo>
                    <a:pt x="93774" y="45633"/>
                  </a:lnTo>
                  <a:lnTo>
                    <a:pt x="93774" y="45633"/>
                  </a:lnTo>
                  <a:lnTo>
                    <a:pt x="93774" y="45633"/>
                  </a:lnTo>
                  <a:lnTo>
                    <a:pt x="93774" y="45633"/>
                  </a:lnTo>
                  <a:lnTo>
                    <a:pt x="96158" y="45633"/>
                  </a:lnTo>
                  <a:lnTo>
                    <a:pt x="96158" y="45633"/>
                  </a:lnTo>
                  <a:lnTo>
                    <a:pt x="93774" y="43943"/>
                  </a:lnTo>
                  <a:lnTo>
                    <a:pt x="93774" y="43943"/>
                  </a:lnTo>
                  <a:lnTo>
                    <a:pt x="92185" y="42253"/>
                  </a:lnTo>
                  <a:lnTo>
                    <a:pt x="92185" y="39718"/>
                  </a:lnTo>
                  <a:close/>
                  <a:moveTo>
                    <a:pt x="6357" y="38028"/>
                  </a:moveTo>
                  <a:lnTo>
                    <a:pt x="3973" y="38028"/>
                  </a:lnTo>
                  <a:lnTo>
                    <a:pt x="3973" y="38028"/>
                  </a:lnTo>
                  <a:lnTo>
                    <a:pt x="3973" y="36338"/>
                  </a:lnTo>
                  <a:lnTo>
                    <a:pt x="3973" y="36338"/>
                  </a:lnTo>
                  <a:lnTo>
                    <a:pt x="2384" y="33802"/>
                  </a:lnTo>
                  <a:lnTo>
                    <a:pt x="2384" y="33802"/>
                  </a:lnTo>
                  <a:lnTo>
                    <a:pt x="3973" y="33802"/>
                  </a:lnTo>
                  <a:lnTo>
                    <a:pt x="3973" y="32112"/>
                  </a:lnTo>
                  <a:lnTo>
                    <a:pt x="2384" y="32112"/>
                  </a:lnTo>
                  <a:lnTo>
                    <a:pt x="2384" y="32112"/>
                  </a:lnTo>
                  <a:lnTo>
                    <a:pt x="0" y="32112"/>
                  </a:lnTo>
                  <a:lnTo>
                    <a:pt x="0" y="32112"/>
                  </a:lnTo>
                  <a:lnTo>
                    <a:pt x="0" y="33802"/>
                  </a:lnTo>
                  <a:lnTo>
                    <a:pt x="2384" y="36338"/>
                  </a:lnTo>
                  <a:lnTo>
                    <a:pt x="2384" y="38028"/>
                  </a:lnTo>
                  <a:lnTo>
                    <a:pt x="3973" y="39718"/>
                  </a:lnTo>
                  <a:lnTo>
                    <a:pt x="6357" y="39718"/>
                  </a:lnTo>
                  <a:lnTo>
                    <a:pt x="6357" y="38028"/>
                  </a:lnTo>
                  <a:lnTo>
                    <a:pt x="6357" y="38028"/>
                  </a:lnTo>
                  <a:close/>
                  <a:moveTo>
                    <a:pt x="81059" y="21971"/>
                  </a:moveTo>
                  <a:lnTo>
                    <a:pt x="81059" y="21971"/>
                  </a:lnTo>
                  <a:lnTo>
                    <a:pt x="81059" y="21971"/>
                  </a:lnTo>
                  <a:lnTo>
                    <a:pt x="78675" y="20281"/>
                  </a:lnTo>
                  <a:lnTo>
                    <a:pt x="78675" y="21971"/>
                  </a:lnTo>
                  <a:lnTo>
                    <a:pt x="78675" y="23661"/>
                  </a:lnTo>
                  <a:lnTo>
                    <a:pt x="81059" y="21971"/>
                  </a:lnTo>
                  <a:close/>
                  <a:moveTo>
                    <a:pt x="67549" y="17746"/>
                  </a:moveTo>
                  <a:lnTo>
                    <a:pt x="67549" y="16056"/>
                  </a:lnTo>
                  <a:lnTo>
                    <a:pt x="65960" y="16056"/>
                  </a:lnTo>
                  <a:lnTo>
                    <a:pt x="65960" y="16056"/>
                  </a:lnTo>
                  <a:lnTo>
                    <a:pt x="65960" y="17746"/>
                  </a:lnTo>
                  <a:lnTo>
                    <a:pt x="65960" y="17746"/>
                  </a:lnTo>
                  <a:lnTo>
                    <a:pt x="67549" y="20281"/>
                  </a:lnTo>
                  <a:lnTo>
                    <a:pt x="69933" y="20281"/>
                  </a:lnTo>
                  <a:lnTo>
                    <a:pt x="67549" y="17746"/>
                  </a:lnTo>
                  <a:lnTo>
                    <a:pt x="69933" y="17746"/>
                  </a:lnTo>
                  <a:lnTo>
                    <a:pt x="67549" y="17746"/>
                  </a:lnTo>
                  <a:close/>
                  <a:moveTo>
                    <a:pt x="58807" y="67605"/>
                  </a:moveTo>
                  <a:lnTo>
                    <a:pt x="60397" y="70140"/>
                  </a:lnTo>
                  <a:lnTo>
                    <a:pt x="60397" y="70140"/>
                  </a:lnTo>
                  <a:lnTo>
                    <a:pt x="61986" y="70140"/>
                  </a:lnTo>
                  <a:lnTo>
                    <a:pt x="61986" y="67605"/>
                  </a:lnTo>
                  <a:lnTo>
                    <a:pt x="61986" y="67605"/>
                  </a:lnTo>
                  <a:lnTo>
                    <a:pt x="60397" y="65915"/>
                  </a:lnTo>
                  <a:lnTo>
                    <a:pt x="60397" y="61690"/>
                  </a:lnTo>
                  <a:lnTo>
                    <a:pt x="60397" y="60000"/>
                  </a:lnTo>
                  <a:lnTo>
                    <a:pt x="60397" y="60000"/>
                  </a:lnTo>
                  <a:lnTo>
                    <a:pt x="58807" y="58309"/>
                  </a:lnTo>
                  <a:lnTo>
                    <a:pt x="56423" y="58309"/>
                  </a:lnTo>
                  <a:lnTo>
                    <a:pt x="54834" y="55774"/>
                  </a:lnTo>
                  <a:lnTo>
                    <a:pt x="50860" y="55774"/>
                  </a:lnTo>
                  <a:lnTo>
                    <a:pt x="49271" y="52394"/>
                  </a:lnTo>
                  <a:lnTo>
                    <a:pt x="49271" y="52394"/>
                  </a:lnTo>
                  <a:lnTo>
                    <a:pt x="46887" y="52394"/>
                  </a:lnTo>
                  <a:lnTo>
                    <a:pt x="43708" y="49859"/>
                  </a:lnTo>
                  <a:lnTo>
                    <a:pt x="41324" y="49859"/>
                  </a:lnTo>
                  <a:lnTo>
                    <a:pt x="41324" y="49859"/>
                  </a:lnTo>
                  <a:lnTo>
                    <a:pt x="39735" y="48169"/>
                  </a:lnTo>
                  <a:lnTo>
                    <a:pt x="39735" y="48169"/>
                  </a:lnTo>
                  <a:lnTo>
                    <a:pt x="41324" y="48169"/>
                  </a:lnTo>
                  <a:lnTo>
                    <a:pt x="43708" y="48169"/>
                  </a:lnTo>
                  <a:lnTo>
                    <a:pt x="45298" y="48169"/>
                  </a:lnTo>
                  <a:lnTo>
                    <a:pt x="46887" y="45633"/>
                  </a:lnTo>
                  <a:lnTo>
                    <a:pt x="45298" y="45633"/>
                  </a:lnTo>
                  <a:lnTo>
                    <a:pt x="45298" y="43943"/>
                  </a:lnTo>
                  <a:lnTo>
                    <a:pt x="43708" y="43943"/>
                  </a:lnTo>
                  <a:lnTo>
                    <a:pt x="43708" y="42253"/>
                  </a:lnTo>
                  <a:lnTo>
                    <a:pt x="45298" y="42253"/>
                  </a:lnTo>
                  <a:lnTo>
                    <a:pt x="45298" y="39718"/>
                  </a:lnTo>
                  <a:lnTo>
                    <a:pt x="46887" y="42253"/>
                  </a:lnTo>
                  <a:lnTo>
                    <a:pt x="49271" y="42253"/>
                  </a:lnTo>
                  <a:lnTo>
                    <a:pt x="46887" y="43943"/>
                  </a:lnTo>
                  <a:lnTo>
                    <a:pt x="46887" y="43943"/>
                  </a:lnTo>
                  <a:lnTo>
                    <a:pt x="49271" y="43943"/>
                  </a:lnTo>
                  <a:lnTo>
                    <a:pt x="50860" y="43943"/>
                  </a:lnTo>
                  <a:lnTo>
                    <a:pt x="49271" y="42253"/>
                  </a:lnTo>
                  <a:lnTo>
                    <a:pt x="49271" y="39718"/>
                  </a:lnTo>
                  <a:lnTo>
                    <a:pt x="46887" y="38028"/>
                  </a:lnTo>
                  <a:lnTo>
                    <a:pt x="45298" y="36338"/>
                  </a:lnTo>
                  <a:lnTo>
                    <a:pt x="45298" y="36338"/>
                  </a:lnTo>
                  <a:lnTo>
                    <a:pt x="43708" y="32112"/>
                  </a:lnTo>
                  <a:lnTo>
                    <a:pt x="39735" y="30422"/>
                  </a:lnTo>
                  <a:lnTo>
                    <a:pt x="39735" y="27887"/>
                  </a:lnTo>
                  <a:lnTo>
                    <a:pt x="39735" y="26197"/>
                  </a:lnTo>
                  <a:lnTo>
                    <a:pt x="39735" y="23661"/>
                  </a:lnTo>
                  <a:lnTo>
                    <a:pt x="39735" y="21971"/>
                  </a:lnTo>
                  <a:lnTo>
                    <a:pt x="39735" y="21971"/>
                  </a:lnTo>
                  <a:lnTo>
                    <a:pt x="41324" y="20281"/>
                  </a:lnTo>
                  <a:lnTo>
                    <a:pt x="41324" y="20281"/>
                  </a:lnTo>
                  <a:lnTo>
                    <a:pt x="43708" y="20281"/>
                  </a:lnTo>
                  <a:lnTo>
                    <a:pt x="43708" y="20281"/>
                  </a:lnTo>
                  <a:lnTo>
                    <a:pt x="43708" y="21971"/>
                  </a:lnTo>
                  <a:lnTo>
                    <a:pt x="43708" y="23661"/>
                  </a:lnTo>
                  <a:lnTo>
                    <a:pt x="46887" y="23661"/>
                  </a:lnTo>
                  <a:lnTo>
                    <a:pt x="49271" y="26197"/>
                  </a:lnTo>
                  <a:lnTo>
                    <a:pt x="49271" y="27887"/>
                  </a:lnTo>
                  <a:lnTo>
                    <a:pt x="50860" y="27887"/>
                  </a:lnTo>
                  <a:lnTo>
                    <a:pt x="54834" y="30422"/>
                  </a:lnTo>
                  <a:lnTo>
                    <a:pt x="54834" y="30422"/>
                  </a:lnTo>
                  <a:lnTo>
                    <a:pt x="54834" y="30422"/>
                  </a:lnTo>
                  <a:lnTo>
                    <a:pt x="50860" y="27887"/>
                  </a:lnTo>
                  <a:lnTo>
                    <a:pt x="50860" y="27887"/>
                  </a:lnTo>
                  <a:lnTo>
                    <a:pt x="50860" y="26197"/>
                  </a:lnTo>
                  <a:lnTo>
                    <a:pt x="50860" y="26197"/>
                  </a:lnTo>
                  <a:lnTo>
                    <a:pt x="54834" y="26197"/>
                  </a:lnTo>
                  <a:lnTo>
                    <a:pt x="56423" y="30422"/>
                  </a:lnTo>
                  <a:lnTo>
                    <a:pt x="58807" y="30422"/>
                  </a:lnTo>
                  <a:lnTo>
                    <a:pt x="58807" y="27887"/>
                  </a:lnTo>
                  <a:lnTo>
                    <a:pt x="58807" y="27887"/>
                  </a:lnTo>
                  <a:lnTo>
                    <a:pt x="58807" y="27887"/>
                  </a:lnTo>
                  <a:lnTo>
                    <a:pt x="56423" y="26197"/>
                  </a:lnTo>
                  <a:lnTo>
                    <a:pt x="54834" y="26197"/>
                  </a:lnTo>
                  <a:lnTo>
                    <a:pt x="54834" y="23661"/>
                  </a:lnTo>
                  <a:lnTo>
                    <a:pt x="56423" y="23661"/>
                  </a:lnTo>
                  <a:lnTo>
                    <a:pt x="56423" y="23661"/>
                  </a:lnTo>
                  <a:lnTo>
                    <a:pt x="58807" y="23661"/>
                  </a:lnTo>
                  <a:lnTo>
                    <a:pt x="60397" y="26197"/>
                  </a:lnTo>
                  <a:lnTo>
                    <a:pt x="61986" y="26197"/>
                  </a:lnTo>
                  <a:lnTo>
                    <a:pt x="64370" y="27887"/>
                  </a:lnTo>
                  <a:lnTo>
                    <a:pt x="61986" y="26197"/>
                  </a:lnTo>
                  <a:lnTo>
                    <a:pt x="61986" y="23661"/>
                  </a:lnTo>
                  <a:lnTo>
                    <a:pt x="58807" y="21971"/>
                  </a:lnTo>
                  <a:lnTo>
                    <a:pt x="58807" y="21971"/>
                  </a:lnTo>
                  <a:lnTo>
                    <a:pt x="56423" y="21971"/>
                  </a:lnTo>
                  <a:lnTo>
                    <a:pt x="56423" y="21971"/>
                  </a:lnTo>
                  <a:lnTo>
                    <a:pt x="56423" y="20281"/>
                  </a:lnTo>
                  <a:lnTo>
                    <a:pt x="54834" y="17746"/>
                  </a:lnTo>
                  <a:lnTo>
                    <a:pt x="54834" y="17746"/>
                  </a:lnTo>
                  <a:lnTo>
                    <a:pt x="54834" y="16056"/>
                  </a:lnTo>
                  <a:lnTo>
                    <a:pt x="56423" y="16056"/>
                  </a:lnTo>
                  <a:lnTo>
                    <a:pt x="58807" y="17746"/>
                  </a:lnTo>
                  <a:lnTo>
                    <a:pt x="61986" y="16056"/>
                  </a:lnTo>
                  <a:lnTo>
                    <a:pt x="64370" y="14366"/>
                  </a:lnTo>
                  <a:lnTo>
                    <a:pt x="64370" y="14366"/>
                  </a:lnTo>
                  <a:lnTo>
                    <a:pt x="65960" y="14366"/>
                  </a:lnTo>
                  <a:lnTo>
                    <a:pt x="67549" y="14366"/>
                  </a:lnTo>
                  <a:lnTo>
                    <a:pt x="69933" y="14366"/>
                  </a:lnTo>
                  <a:lnTo>
                    <a:pt x="71523" y="14366"/>
                  </a:lnTo>
                  <a:lnTo>
                    <a:pt x="73112" y="11830"/>
                  </a:lnTo>
                  <a:lnTo>
                    <a:pt x="75496" y="14366"/>
                  </a:lnTo>
                  <a:lnTo>
                    <a:pt x="75496" y="14366"/>
                  </a:lnTo>
                  <a:lnTo>
                    <a:pt x="78675" y="14366"/>
                  </a:lnTo>
                  <a:lnTo>
                    <a:pt x="82649" y="16056"/>
                  </a:lnTo>
                  <a:lnTo>
                    <a:pt x="85033" y="16056"/>
                  </a:lnTo>
                  <a:lnTo>
                    <a:pt x="86622" y="17746"/>
                  </a:lnTo>
                  <a:lnTo>
                    <a:pt x="86622" y="17746"/>
                  </a:lnTo>
                  <a:lnTo>
                    <a:pt x="86622" y="16056"/>
                  </a:lnTo>
                  <a:lnTo>
                    <a:pt x="88211" y="16056"/>
                  </a:lnTo>
                  <a:lnTo>
                    <a:pt x="88211" y="14366"/>
                  </a:lnTo>
                  <a:lnTo>
                    <a:pt x="90596" y="14366"/>
                  </a:lnTo>
                  <a:lnTo>
                    <a:pt x="90596" y="11830"/>
                  </a:lnTo>
                  <a:lnTo>
                    <a:pt x="90596" y="11830"/>
                  </a:lnTo>
                  <a:lnTo>
                    <a:pt x="90596" y="11830"/>
                  </a:lnTo>
                  <a:lnTo>
                    <a:pt x="90596" y="10140"/>
                  </a:lnTo>
                  <a:lnTo>
                    <a:pt x="88211" y="10140"/>
                  </a:lnTo>
                  <a:lnTo>
                    <a:pt x="88211" y="8450"/>
                  </a:lnTo>
                  <a:lnTo>
                    <a:pt x="92185" y="5915"/>
                  </a:lnTo>
                  <a:lnTo>
                    <a:pt x="92185" y="5915"/>
                  </a:lnTo>
                  <a:lnTo>
                    <a:pt x="92185" y="5915"/>
                  </a:lnTo>
                  <a:lnTo>
                    <a:pt x="92185" y="4225"/>
                  </a:lnTo>
                  <a:lnTo>
                    <a:pt x="92185" y="1690"/>
                  </a:lnTo>
                  <a:lnTo>
                    <a:pt x="92185" y="1690"/>
                  </a:lnTo>
                  <a:lnTo>
                    <a:pt x="90596" y="1690"/>
                  </a:lnTo>
                  <a:lnTo>
                    <a:pt x="90596" y="0"/>
                  </a:lnTo>
                  <a:lnTo>
                    <a:pt x="90596" y="0"/>
                  </a:lnTo>
                  <a:lnTo>
                    <a:pt x="88211" y="0"/>
                  </a:lnTo>
                  <a:lnTo>
                    <a:pt x="86622" y="0"/>
                  </a:lnTo>
                  <a:lnTo>
                    <a:pt x="86622" y="0"/>
                  </a:lnTo>
                  <a:lnTo>
                    <a:pt x="85033" y="0"/>
                  </a:lnTo>
                  <a:lnTo>
                    <a:pt x="85033" y="0"/>
                  </a:lnTo>
                  <a:lnTo>
                    <a:pt x="85033" y="1690"/>
                  </a:lnTo>
                  <a:lnTo>
                    <a:pt x="86622" y="1690"/>
                  </a:lnTo>
                  <a:lnTo>
                    <a:pt x="86622" y="4225"/>
                  </a:lnTo>
                  <a:lnTo>
                    <a:pt x="86622" y="4225"/>
                  </a:lnTo>
                  <a:lnTo>
                    <a:pt x="86622" y="5915"/>
                  </a:lnTo>
                  <a:lnTo>
                    <a:pt x="85033" y="5915"/>
                  </a:lnTo>
                  <a:lnTo>
                    <a:pt x="82649" y="8450"/>
                  </a:lnTo>
                  <a:lnTo>
                    <a:pt x="81059" y="5915"/>
                  </a:lnTo>
                  <a:lnTo>
                    <a:pt x="81059" y="5915"/>
                  </a:lnTo>
                  <a:lnTo>
                    <a:pt x="78675" y="8450"/>
                  </a:lnTo>
                  <a:lnTo>
                    <a:pt x="78675" y="8450"/>
                  </a:lnTo>
                  <a:lnTo>
                    <a:pt x="77086" y="8450"/>
                  </a:lnTo>
                  <a:lnTo>
                    <a:pt x="75496" y="8450"/>
                  </a:lnTo>
                  <a:lnTo>
                    <a:pt x="73112" y="5915"/>
                  </a:lnTo>
                  <a:lnTo>
                    <a:pt x="71523" y="5915"/>
                  </a:lnTo>
                  <a:lnTo>
                    <a:pt x="69933" y="5915"/>
                  </a:lnTo>
                  <a:lnTo>
                    <a:pt x="67549" y="5915"/>
                  </a:lnTo>
                  <a:lnTo>
                    <a:pt x="67549" y="5915"/>
                  </a:lnTo>
                  <a:lnTo>
                    <a:pt x="65960" y="5915"/>
                  </a:lnTo>
                  <a:lnTo>
                    <a:pt x="65960" y="4225"/>
                  </a:lnTo>
                  <a:lnTo>
                    <a:pt x="65960" y="4225"/>
                  </a:lnTo>
                  <a:lnTo>
                    <a:pt x="64370" y="1690"/>
                  </a:lnTo>
                  <a:lnTo>
                    <a:pt x="64370" y="1690"/>
                  </a:lnTo>
                  <a:lnTo>
                    <a:pt x="61986" y="4225"/>
                  </a:lnTo>
                  <a:lnTo>
                    <a:pt x="61986" y="4225"/>
                  </a:lnTo>
                  <a:lnTo>
                    <a:pt x="60397" y="4225"/>
                  </a:lnTo>
                  <a:lnTo>
                    <a:pt x="58807" y="4225"/>
                  </a:lnTo>
                  <a:lnTo>
                    <a:pt x="58807" y="4225"/>
                  </a:lnTo>
                  <a:lnTo>
                    <a:pt x="58807" y="4225"/>
                  </a:lnTo>
                  <a:lnTo>
                    <a:pt x="56423" y="4225"/>
                  </a:lnTo>
                  <a:lnTo>
                    <a:pt x="56423" y="4225"/>
                  </a:lnTo>
                  <a:lnTo>
                    <a:pt x="54834" y="5915"/>
                  </a:lnTo>
                  <a:lnTo>
                    <a:pt x="52450" y="5915"/>
                  </a:lnTo>
                  <a:lnTo>
                    <a:pt x="50860" y="5915"/>
                  </a:lnTo>
                  <a:lnTo>
                    <a:pt x="49271" y="5915"/>
                  </a:lnTo>
                  <a:lnTo>
                    <a:pt x="49271" y="5915"/>
                  </a:lnTo>
                  <a:lnTo>
                    <a:pt x="46887" y="5915"/>
                  </a:lnTo>
                  <a:lnTo>
                    <a:pt x="45298" y="5915"/>
                  </a:lnTo>
                  <a:lnTo>
                    <a:pt x="45298" y="5915"/>
                  </a:lnTo>
                  <a:lnTo>
                    <a:pt x="43708" y="5915"/>
                  </a:lnTo>
                  <a:lnTo>
                    <a:pt x="41324" y="5915"/>
                  </a:lnTo>
                  <a:lnTo>
                    <a:pt x="41324" y="5915"/>
                  </a:lnTo>
                  <a:lnTo>
                    <a:pt x="41324" y="8450"/>
                  </a:lnTo>
                  <a:lnTo>
                    <a:pt x="39735" y="10140"/>
                  </a:lnTo>
                  <a:lnTo>
                    <a:pt x="39735" y="10140"/>
                  </a:lnTo>
                  <a:lnTo>
                    <a:pt x="38145" y="10140"/>
                  </a:lnTo>
                  <a:lnTo>
                    <a:pt x="35761" y="10140"/>
                  </a:lnTo>
                  <a:lnTo>
                    <a:pt x="34172" y="10140"/>
                  </a:lnTo>
                  <a:lnTo>
                    <a:pt x="34172" y="10140"/>
                  </a:lnTo>
                  <a:lnTo>
                    <a:pt x="32582" y="10140"/>
                  </a:lnTo>
                  <a:lnTo>
                    <a:pt x="30198" y="10140"/>
                  </a:lnTo>
                  <a:lnTo>
                    <a:pt x="30198" y="10140"/>
                  </a:lnTo>
                  <a:lnTo>
                    <a:pt x="28609" y="14366"/>
                  </a:lnTo>
                  <a:lnTo>
                    <a:pt x="26225" y="14366"/>
                  </a:lnTo>
                  <a:lnTo>
                    <a:pt x="24635" y="14366"/>
                  </a:lnTo>
                  <a:lnTo>
                    <a:pt x="23046" y="14366"/>
                  </a:lnTo>
                  <a:lnTo>
                    <a:pt x="23046" y="14366"/>
                  </a:lnTo>
                  <a:lnTo>
                    <a:pt x="20662" y="14366"/>
                  </a:lnTo>
                  <a:lnTo>
                    <a:pt x="19072" y="14366"/>
                  </a:lnTo>
                  <a:lnTo>
                    <a:pt x="19072" y="14366"/>
                  </a:lnTo>
                  <a:lnTo>
                    <a:pt x="17483" y="16056"/>
                  </a:lnTo>
                  <a:lnTo>
                    <a:pt x="17483" y="16056"/>
                  </a:lnTo>
                  <a:lnTo>
                    <a:pt x="17483" y="17746"/>
                  </a:lnTo>
                  <a:lnTo>
                    <a:pt x="17483" y="17746"/>
                  </a:lnTo>
                  <a:lnTo>
                    <a:pt x="17483" y="20281"/>
                  </a:lnTo>
                  <a:lnTo>
                    <a:pt x="17483" y="20281"/>
                  </a:lnTo>
                  <a:lnTo>
                    <a:pt x="17483" y="21971"/>
                  </a:lnTo>
                  <a:lnTo>
                    <a:pt x="15099" y="21971"/>
                  </a:lnTo>
                  <a:lnTo>
                    <a:pt x="15099" y="21971"/>
                  </a:lnTo>
                  <a:lnTo>
                    <a:pt x="15099" y="23661"/>
                  </a:lnTo>
                  <a:lnTo>
                    <a:pt x="13509" y="23661"/>
                  </a:lnTo>
                  <a:lnTo>
                    <a:pt x="13509" y="23661"/>
                  </a:lnTo>
                  <a:lnTo>
                    <a:pt x="13509" y="26197"/>
                  </a:lnTo>
                  <a:lnTo>
                    <a:pt x="13509" y="27887"/>
                  </a:lnTo>
                  <a:lnTo>
                    <a:pt x="13509" y="27887"/>
                  </a:lnTo>
                  <a:lnTo>
                    <a:pt x="13509" y="27887"/>
                  </a:lnTo>
                  <a:lnTo>
                    <a:pt x="11920" y="27887"/>
                  </a:lnTo>
                  <a:lnTo>
                    <a:pt x="9536" y="27887"/>
                  </a:lnTo>
                  <a:lnTo>
                    <a:pt x="9536" y="30422"/>
                  </a:lnTo>
                  <a:lnTo>
                    <a:pt x="9536" y="30422"/>
                  </a:lnTo>
                  <a:lnTo>
                    <a:pt x="9536" y="27887"/>
                  </a:lnTo>
                  <a:lnTo>
                    <a:pt x="7947" y="30422"/>
                  </a:lnTo>
                  <a:lnTo>
                    <a:pt x="7947" y="30422"/>
                  </a:lnTo>
                  <a:lnTo>
                    <a:pt x="9536" y="30422"/>
                  </a:lnTo>
                  <a:lnTo>
                    <a:pt x="9536" y="32112"/>
                  </a:lnTo>
                  <a:lnTo>
                    <a:pt x="9536" y="32112"/>
                  </a:lnTo>
                  <a:lnTo>
                    <a:pt x="9536" y="32112"/>
                  </a:lnTo>
                  <a:lnTo>
                    <a:pt x="7947" y="32112"/>
                  </a:lnTo>
                  <a:lnTo>
                    <a:pt x="7947" y="32112"/>
                  </a:lnTo>
                  <a:lnTo>
                    <a:pt x="7947" y="33802"/>
                  </a:lnTo>
                  <a:lnTo>
                    <a:pt x="7947" y="33802"/>
                  </a:lnTo>
                  <a:lnTo>
                    <a:pt x="7947" y="33802"/>
                  </a:lnTo>
                  <a:lnTo>
                    <a:pt x="7947" y="33802"/>
                  </a:lnTo>
                  <a:lnTo>
                    <a:pt x="6357" y="33802"/>
                  </a:lnTo>
                  <a:lnTo>
                    <a:pt x="6357" y="33802"/>
                  </a:lnTo>
                  <a:lnTo>
                    <a:pt x="3973" y="33802"/>
                  </a:lnTo>
                  <a:lnTo>
                    <a:pt x="3973" y="33802"/>
                  </a:lnTo>
                  <a:lnTo>
                    <a:pt x="6357" y="36338"/>
                  </a:lnTo>
                  <a:lnTo>
                    <a:pt x="7947" y="36338"/>
                  </a:lnTo>
                  <a:lnTo>
                    <a:pt x="9536" y="39718"/>
                  </a:lnTo>
                  <a:lnTo>
                    <a:pt x="11920" y="42253"/>
                  </a:lnTo>
                  <a:lnTo>
                    <a:pt x="13509" y="43943"/>
                  </a:lnTo>
                  <a:lnTo>
                    <a:pt x="15099" y="45633"/>
                  </a:lnTo>
                  <a:lnTo>
                    <a:pt x="15099" y="45633"/>
                  </a:lnTo>
                  <a:lnTo>
                    <a:pt x="15099" y="45633"/>
                  </a:lnTo>
                  <a:lnTo>
                    <a:pt x="17483" y="45633"/>
                  </a:lnTo>
                  <a:lnTo>
                    <a:pt x="19072" y="45633"/>
                  </a:lnTo>
                  <a:lnTo>
                    <a:pt x="19072" y="45633"/>
                  </a:lnTo>
                  <a:lnTo>
                    <a:pt x="20662" y="45633"/>
                  </a:lnTo>
                  <a:lnTo>
                    <a:pt x="20662" y="45633"/>
                  </a:lnTo>
                  <a:lnTo>
                    <a:pt x="20662" y="48169"/>
                  </a:lnTo>
                  <a:lnTo>
                    <a:pt x="20662" y="48169"/>
                  </a:lnTo>
                  <a:lnTo>
                    <a:pt x="19072" y="48169"/>
                  </a:lnTo>
                  <a:lnTo>
                    <a:pt x="17483" y="48169"/>
                  </a:lnTo>
                  <a:lnTo>
                    <a:pt x="15099" y="48169"/>
                  </a:lnTo>
                  <a:lnTo>
                    <a:pt x="15099" y="48169"/>
                  </a:lnTo>
                  <a:lnTo>
                    <a:pt x="15099" y="49859"/>
                  </a:lnTo>
                  <a:lnTo>
                    <a:pt x="17483" y="49859"/>
                  </a:lnTo>
                  <a:lnTo>
                    <a:pt x="19072" y="52394"/>
                  </a:lnTo>
                  <a:lnTo>
                    <a:pt x="19072" y="55774"/>
                  </a:lnTo>
                  <a:lnTo>
                    <a:pt x="20662" y="58309"/>
                  </a:lnTo>
                  <a:lnTo>
                    <a:pt x="20662" y="58309"/>
                  </a:lnTo>
                  <a:lnTo>
                    <a:pt x="23046" y="58309"/>
                  </a:lnTo>
                  <a:lnTo>
                    <a:pt x="23046" y="55774"/>
                  </a:lnTo>
                  <a:lnTo>
                    <a:pt x="23046" y="55774"/>
                  </a:lnTo>
                  <a:lnTo>
                    <a:pt x="24635" y="55774"/>
                  </a:lnTo>
                  <a:lnTo>
                    <a:pt x="24635" y="58309"/>
                  </a:lnTo>
                  <a:lnTo>
                    <a:pt x="24635" y="58309"/>
                  </a:lnTo>
                  <a:lnTo>
                    <a:pt x="26225" y="58309"/>
                  </a:lnTo>
                  <a:lnTo>
                    <a:pt x="28609" y="58309"/>
                  </a:lnTo>
                  <a:lnTo>
                    <a:pt x="28609" y="58309"/>
                  </a:lnTo>
                  <a:lnTo>
                    <a:pt x="30198" y="58309"/>
                  </a:lnTo>
                  <a:lnTo>
                    <a:pt x="32582" y="58309"/>
                  </a:lnTo>
                  <a:lnTo>
                    <a:pt x="35761" y="58309"/>
                  </a:lnTo>
                  <a:lnTo>
                    <a:pt x="38145" y="58309"/>
                  </a:lnTo>
                  <a:lnTo>
                    <a:pt x="38145" y="58309"/>
                  </a:lnTo>
                  <a:lnTo>
                    <a:pt x="38145" y="55774"/>
                  </a:lnTo>
                  <a:lnTo>
                    <a:pt x="41324" y="58309"/>
                  </a:lnTo>
                  <a:lnTo>
                    <a:pt x="43708" y="60000"/>
                  </a:lnTo>
                  <a:lnTo>
                    <a:pt x="43708" y="60000"/>
                  </a:lnTo>
                  <a:lnTo>
                    <a:pt x="45298" y="60000"/>
                  </a:lnTo>
                  <a:lnTo>
                    <a:pt x="45298" y="60000"/>
                  </a:lnTo>
                  <a:lnTo>
                    <a:pt x="46887" y="60000"/>
                  </a:lnTo>
                  <a:lnTo>
                    <a:pt x="46887" y="60000"/>
                  </a:lnTo>
                  <a:lnTo>
                    <a:pt x="46887" y="61690"/>
                  </a:lnTo>
                  <a:lnTo>
                    <a:pt x="49271" y="61690"/>
                  </a:lnTo>
                  <a:lnTo>
                    <a:pt x="49271" y="61690"/>
                  </a:lnTo>
                  <a:lnTo>
                    <a:pt x="49271" y="61690"/>
                  </a:lnTo>
                  <a:lnTo>
                    <a:pt x="49271" y="64225"/>
                  </a:lnTo>
                  <a:lnTo>
                    <a:pt x="45298" y="64225"/>
                  </a:lnTo>
                  <a:lnTo>
                    <a:pt x="45298" y="64225"/>
                  </a:lnTo>
                  <a:lnTo>
                    <a:pt x="45298" y="64225"/>
                  </a:lnTo>
                  <a:lnTo>
                    <a:pt x="45298" y="65915"/>
                  </a:lnTo>
                  <a:lnTo>
                    <a:pt x="45298" y="65915"/>
                  </a:lnTo>
                  <a:lnTo>
                    <a:pt x="43708" y="64225"/>
                  </a:lnTo>
                  <a:lnTo>
                    <a:pt x="43708" y="64225"/>
                  </a:lnTo>
                  <a:lnTo>
                    <a:pt x="41324" y="61690"/>
                  </a:lnTo>
                  <a:lnTo>
                    <a:pt x="35761" y="61690"/>
                  </a:lnTo>
                  <a:lnTo>
                    <a:pt x="32582" y="58309"/>
                  </a:lnTo>
                  <a:lnTo>
                    <a:pt x="30198" y="58309"/>
                  </a:lnTo>
                  <a:lnTo>
                    <a:pt x="30198" y="60000"/>
                  </a:lnTo>
                  <a:lnTo>
                    <a:pt x="28609" y="61690"/>
                  </a:lnTo>
                  <a:lnTo>
                    <a:pt x="26225" y="61690"/>
                  </a:lnTo>
                  <a:lnTo>
                    <a:pt x="24635" y="60000"/>
                  </a:lnTo>
                  <a:lnTo>
                    <a:pt x="24635" y="61690"/>
                  </a:lnTo>
                  <a:lnTo>
                    <a:pt x="23046" y="64225"/>
                  </a:lnTo>
                  <a:lnTo>
                    <a:pt x="20662" y="65915"/>
                  </a:lnTo>
                  <a:lnTo>
                    <a:pt x="20662" y="65915"/>
                  </a:lnTo>
                  <a:lnTo>
                    <a:pt x="20662" y="67605"/>
                  </a:lnTo>
                  <a:lnTo>
                    <a:pt x="23046" y="67605"/>
                  </a:lnTo>
                  <a:lnTo>
                    <a:pt x="23046" y="67605"/>
                  </a:lnTo>
                  <a:lnTo>
                    <a:pt x="24635" y="70140"/>
                  </a:lnTo>
                  <a:lnTo>
                    <a:pt x="24635" y="71830"/>
                  </a:lnTo>
                  <a:lnTo>
                    <a:pt x="26225" y="71830"/>
                  </a:lnTo>
                  <a:lnTo>
                    <a:pt x="28609" y="76056"/>
                  </a:lnTo>
                  <a:lnTo>
                    <a:pt x="28609" y="77746"/>
                  </a:lnTo>
                  <a:lnTo>
                    <a:pt x="28609" y="80281"/>
                  </a:lnTo>
                  <a:lnTo>
                    <a:pt x="28609" y="81971"/>
                  </a:lnTo>
                  <a:lnTo>
                    <a:pt x="30198" y="86197"/>
                  </a:lnTo>
                  <a:lnTo>
                    <a:pt x="32582" y="87887"/>
                  </a:lnTo>
                  <a:lnTo>
                    <a:pt x="32582" y="86197"/>
                  </a:lnTo>
                  <a:lnTo>
                    <a:pt x="32582" y="83661"/>
                  </a:lnTo>
                  <a:lnTo>
                    <a:pt x="34172" y="81971"/>
                  </a:lnTo>
                  <a:lnTo>
                    <a:pt x="34172" y="81971"/>
                  </a:lnTo>
                  <a:lnTo>
                    <a:pt x="34172" y="81971"/>
                  </a:lnTo>
                  <a:lnTo>
                    <a:pt x="35761" y="83661"/>
                  </a:lnTo>
                  <a:lnTo>
                    <a:pt x="35761" y="83661"/>
                  </a:lnTo>
                  <a:lnTo>
                    <a:pt x="38145" y="83661"/>
                  </a:lnTo>
                  <a:lnTo>
                    <a:pt x="39735" y="87887"/>
                  </a:lnTo>
                  <a:lnTo>
                    <a:pt x="39735" y="89577"/>
                  </a:lnTo>
                  <a:lnTo>
                    <a:pt x="39735" y="92112"/>
                  </a:lnTo>
                  <a:lnTo>
                    <a:pt x="39735" y="92112"/>
                  </a:lnTo>
                  <a:lnTo>
                    <a:pt x="41324" y="92112"/>
                  </a:lnTo>
                  <a:lnTo>
                    <a:pt x="41324" y="89577"/>
                  </a:lnTo>
                  <a:lnTo>
                    <a:pt x="41324" y="86197"/>
                  </a:lnTo>
                  <a:lnTo>
                    <a:pt x="43708" y="86197"/>
                  </a:lnTo>
                  <a:lnTo>
                    <a:pt x="45298" y="86197"/>
                  </a:lnTo>
                  <a:lnTo>
                    <a:pt x="45298" y="87887"/>
                  </a:lnTo>
                  <a:lnTo>
                    <a:pt x="46887" y="92112"/>
                  </a:lnTo>
                  <a:lnTo>
                    <a:pt x="49271" y="92112"/>
                  </a:lnTo>
                  <a:lnTo>
                    <a:pt x="49271" y="92112"/>
                  </a:lnTo>
                  <a:lnTo>
                    <a:pt x="50860" y="92112"/>
                  </a:lnTo>
                  <a:lnTo>
                    <a:pt x="49271" y="89577"/>
                  </a:lnTo>
                  <a:lnTo>
                    <a:pt x="49271" y="89577"/>
                  </a:lnTo>
                  <a:lnTo>
                    <a:pt x="49271" y="86197"/>
                  </a:lnTo>
                  <a:lnTo>
                    <a:pt x="49271" y="86197"/>
                  </a:lnTo>
                  <a:lnTo>
                    <a:pt x="46887" y="81971"/>
                  </a:lnTo>
                  <a:lnTo>
                    <a:pt x="45298" y="77746"/>
                  </a:lnTo>
                  <a:lnTo>
                    <a:pt x="43708" y="76056"/>
                  </a:lnTo>
                  <a:lnTo>
                    <a:pt x="43708" y="71830"/>
                  </a:lnTo>
                  <a:lnTo>
                    <a:pt x="43708" y="71830"/>
                  </a:lnTo>
                  <a:lnTo>
                    <a:pt x="45298" y="74366"/>
                  </a:lnTo>
                  <a:lnTo>
                    <a:pt x="46887" y="74366"/>
                  </a:lnTo>
                  <a:lnTo>
                    <a:pt x="46887" y="74366"/>
                  </a:lnTo>
                  <a:lnTo>
                    <a:pt x="49271" y="74366"/>
                  </a:lnTo>
                  <a:lnTo>
                    <a:pt x="49271" y="76056"/>
                  </a:lnTo>
                  <a:lnTo>
                    <a:pt x="49271" y="76056"/>
                  </a:lnTo>
                  <a:lnTo>
                    <a:pt x="50860" y="76056"/>
                  </a:lnTo>
                  <a:lnTo>
                    <a:pt x="50860" y="76056"/>
                  </a:lnTo>
                  <a:lnTo>
                    <a:pt x="54834" y="74366"/>
                  </a:lnTo>
                  <a:lnTo>
                    <a:pt x="54834" y="74366"/>
                  </a:lnTo>
                  <a:lnTo>
                    <a:pt x="52450" y="74366"/>
                  </a:lnTo>
                  <a:lnTo>
                    <a:pt x="52450" y="71830"/>
                  </a:lnTo>
                  <a:lnTo>
                    <a:pt x="52450" y="71830"/>
                  </a:lnTo>
                  <a:lnTo>
                    <a:pt x="52450" y="71830"/>
                  </a:lnTo>
                  <a:lnTo>
                    <a:pt x="50860" y="71830"/>
                  </a:lnTo>
                  <a:lnTo>
                    <a:pt x="49271" y="71830"/>
                  </a:lnTo>
                  <a:lnTo>
                    <a:pt x="49271" y="70140"/>
                  </a:lnTo>
                  <a:lnTo>
                    <a:pt x="49271" y="67605"/>
                  </a:lnTo>
                  <a:lnTo>
                    <a:pt x="49271" y="67605"/>
                  </a:lnTo>
                  <a:lnTo>
                    <a:pt x="46887" y="65915"/>
                  </a:lnTo>
                  <a:lnTo>
                    <a:pt x="46887" y="65915"/>
                  </a:lnTo>
                  <a:lnTo>
                    <a:pt x="46887" y="65915"/>
                  </a:lnTo>
                  <a:lnTo>
                    <a:pt x="49271" y="65915"/>
                  </a:lnTo>
                  <a:lnTo>
                    <a:pt x="52450" y="64225"/>
                  </a:lnTo>
                  <a:lnTo>
                    <a:pt x="52450" y="64225"/>
                  </a:lnTo>
                  <a:lnTo>
                    <a:pt x="54834" y="64225"/>
                  </a:lnTo>
                  <a:lnTo>
                    <a:pt x="54834" y="64225"/>
                  </a:lnTo>
                  <a:lnTo>
                    <a:pt x="56423" y="65915"/>
                  </a:lnTo>
                  <a:lnTo>
                    <a:pt x="58807" y="67605"/>
                  </a:lnTo>
                  <a:close/>
                  <a:moveTo>
                    <a:pt x="58807" y="27887"/>
                  </a:moveTo>
                  <a:lnTo>
                    <a:pt x="58807" y="27887"/>
                  </a:lnTo>
                  <a:lnTo>
                    <a:pt x="58807" y="30422"/>
                  </a:lnTo>
                  <a:lnTo>
                    <a:pt x="58807" y="27887"/>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82" name="Shape 482"/>
            <p:cNvSpPr/>
            <p:nvPr/>
          </p:nvSpPr>
          <p:spPr>
            <a:xfrm>
              <a:off x="2512" y="2550"/>
              <a:ext cx="0" cy="0"/>
            </a:xfrm>
            <a:custGeom>
              <a:avLst/>
              <a:gdLst/>
              <a:ahLst/>
              <a:cxnLst/>
              <a:rect l="0" t="0" r="0" b="0"/>
              <a:pathLst>
                <a:path w="120000" h="120000" extrusionOk="0">
                  <a:moveTo>
                    <a:pt x="72000" y="0"/>
                  </a:moveTo>
                  <a:lnTo>
                    <a:pt x="72000" y="0"/>
                  </a:lnTo>
                  <a:lnTo>
                    <a:pt x="72000" y="48000"/>
                  </a:lnTo>
                  <a:lnTo>
                    <a:pt x="0" y="48000"/>
                  </a:lnTo>
                  <a:lnTo>
                    <a:pt x="0" y="120000"/>
                  </a:lnTo>
                  <a:lnTo>
                    <a:pt x="72000" y="120000"/>
                  </a:lnTo>
                  <a:lnTo>
                    <a:pt x="72000" y="48000"/>
                  </a:lnTo>
                  <a:lnTo>
                    <a:pt x="120000" y="0"/>
                  </a:lnTo>
                  <a:lnTo>
                    <a:pt x="72000" y="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83" name="Shape 483"/>
            <p:cNvSpPr/>
            <p:nvPr/>
          </p:nvSpPr>
          <p:spPr>
            <a:xfrm>
              <a:off x="3593" y="2571"/>
              <a:ext cx="0" cy="0"/>
            </a:xfrm>
            <a:custGeom>
              <a:avLst/>
              <a:gdLst/>
              <a:ahLst/>
              <a:cxnLst/>
              <a:rect l="0" t="0" r="0" b="0"/>
              <a:pathLst>
                <a:path w="120000" h="120000" extrusionOk="0">
                  <a:moveTo>
                    <a:pt x="120000" y="93722"/>
                  </a:moveTo>
                  <a:lnTo>
                    <a:pt x="120000" y="93722"/>
                  </a:lnTo>
                  <a:lnTo>
                    <a:pt x="120000" y="93722"/>
                  </a:lnTo>
                  <a:lnTo>
                    <a:pt x="117000" y="93722"/>
                  </a:lnTo>
                  <a:lnTo>
                    <a:pt x="117000" y="91094"/>
                  </a:lnTo>
                  <a:lnTo>
                    <a:pt x="117000" y="91094"/>
                  </a:lnTo>
                  <a:lnTo>
                    <a:pt x="112500" y="91094"/>
                  </a:lnTo>
                  <a:lnTo>
                    <a:pt x="112500" y="89343"/>
                  </a:lnTo>
                  <a:lnTo>
                    <a:pt x="109500" y="87591"/>
                  </a:lnTo>
                  <a:lnTo>
                    <a:pt x="109500" y="87591"/>
                  </a:lnTo>
                  <a:lnTo>
                    <a:pt x="109500" y="87591"/>
                  </a:lnTo>
                  <a:lnTo>
                    <a:pt x="109500" y="84963"/>
                  </a:lnTo>
                  <a:lnTo>
                    <a:pt x="106500" y="84963"/>
                  </a:lnTo>
                  <a:lnTo>
                    <a:pt x="106500" y="83211"/>
                  </a:lnTo>
                  <a:lnTo>
                    <a:pt x="102000" y="80583"/>
                  </a:lnTo>
                  <a:lnTo>
                    <a:pt x="102000" y="80583"/>
                  </a:lnTo>
                  <a:lnTo>
                    <a:pt x="102000" y="80583"/>
                  </a:lnTo>
                  <a:lnTo>
                    <a:pt x="102000" y="78832"/>
                  </a:lnTo>
                  <a:lnTo>
                    <a:pt x="102000" y="78832"/>
                  </a:lnTo>
                  <a:lnTo>
                    <a:pt x="106500" y="77080"/>
                  </a:lnTo>
                  <a:lnTo>
                    <a:pt x="106500" y="77080"/>
                  </a:lnTo>
                  <a:lnTo>
                    <a:pt x="106500" y="77080"/>
                  </a:lnTo>
                  <a:lnTo>
                    <a:pt x="106500" y="74452"/>
                  </a:lnTo>
                  <a:lnTo>
                    <a:pt x="106500" y="70948"/>
                  </a:lnTo>
                  <a:lnTo>
                    <a:pt x="106500" y="70948"/>
                  </a:lnTo>
                  <a:lnTo>
                    <a:pt x="102000" y="70948"/>
                  </a:lnTo>
                  <a:lnTo>
                    <a:pt x="102000" y="70948"/>
                  </a:lnTo>
                  <a:lnTo>
                    <a:pt x="102000" y="68321"/>
                  </a:lnTo>
                  <a:lnTo>
                    <a:pt x="102000" y="68321"/>
                  </a:lnTo>
                  <a:lnTo>
                    <a:pt x="106500" y="64817"/>
                  </a:lnTo>
                  <a:lnTo>
                    <a:pt x="106500" y="56058"/>
                  </a:lnTo>
                  <a:lnTo>
                    <a:pt x="106500" y="56058"/>
                  </a:lnTo>
                  <a:lnTo>
                    <a:pt x="106500" y="54306"/>
                  </a:lnTo>
                  <a:lnTo>
                    <a:pt x="109500" y="54306"/>
                  </a:lnTo>
                  <a:lnTo>
                    <a:pt x="109500" y="51678"/>
                  </a:lnTo>
                  <a:lnTo>
                    <a:pt x="106500" y="49927"/>
                  </a:lnTo>
                  <a:lnTo>
                    <a:pt x="102000" y="48175"/>
                  </a:lnTo>
                  <a:lnTo>
                    <a:pt x="102000" y="48175"/>
                  </a:lnTo>
                  <a:lnTo>
                    <a:pt x="99000" y="45547"/>
                  </a:lnTo>
                  <a:lnTo>
                    <a:pt x="99000" y="45547"/>
                  </a:lnTo>
                  <a:lnTo>
                    <a:pt x="102000" y="43795"/>
                  </a:lnTo>
                  <a:lnTo>
                    <a:pt x="102000" y="43795"/>
                  </a:lnTo>
                  <a:lnTo>
                    <a:pt x="102000" y="43795"/>
                  </a:lnTo>
                  <a:lnTo>
                    <a:pt x="102000" y="42043"/>
                  </a:lnTo>
                  <a:lnTo>
                    <a:pt x="102000" y="39416"/>
                  </a:lnTo>
                  <a:lnTo>
                    <a:pt x="102000" y="37664"/>
                  </a:lnTo>
                  <a:lnTo>
                    <a:pt x="102000" y="33284"/>
                  </a:lnTo>
                  <a:lnTo>
                    <a:pt x="102000" y="33284"/>
                  </a:lnTo>
                  <a:lnTo>
                    <a:pt x="102000" y="31532"/>
                  </a:lnTo>
                  <a:lnTo>
                    <a:pt x="99000" y="31532"/>
                  </a:lnTo>
                  <a:lnTo>
                    <a:pt x="99000" y="31532"/>
                  </a:lnTo>
                  <a:lnTo>
                    <a:pt x="99000" y="33284"/>
                  </a:lnTo>
                  <a:lnTo>
                    <a:pt x="96000" y="33284"/>
                  </a:lnTo>
                  <a:lnTo>
                    <a:pt x="96000" y="33284"/>
                  </a:lnTo>
                  <a:lnTo>
                    <a:pt x="96000" y="33284"/>
                  </a:lnTo>
                  <a:lnTo>
                    <a:pt x="96000" y="31532"/>
                  </a:lnTo>
                  <a:lnTo>
                    <a:pt x="96000" y="31532"/>
                  </a:lnTo>
                  <a:lnTo>
                    <a:pt x="96000" y="31532"/>
                  </a:lnTo>
                  <a:lnTo>
                    <a:pt x="99000" y="28905"/>
                  </a:lnTo>
                  <a:lnTo>
                    <a:pt x="99000" y="28905"/>
                  </a:lnTo>
                  <a:lnTo>
                    <a:pt x="96000" y="28905"/>
                  </a:lnTo>
                  <a:lnTo>
                    <a:pt x="96000" y="28905"/>
                  </a:lnTo>
                  <a:lnTo>
                    <a:pt x="96000" y="28905"/>
                  </a:lnTo>
                  <a:lnTo>
                    <a:pt x="99000" y="28905"/>
                  </a:lnTo>
                  <a:lnTo>
                    <a:pt x="99000" y="28905"/>
                  </a:lnTo>
                  <a:lnTo>
                    <a:pt x="99000" y="28905"/>
                  </a:lnTo>
                  <a:lnTo>
                    <a:pt x="99000" y="25401"/>
                  </a:lnTo>
                  <a:lnTo>
                    <a:pt x="99000" y="25401"/>
                  </a:lnTo>
                  <a:lnTo>
                    <a:pt x="99000" y="22773"/>
                  </a:lnTo>
                  <a:lnTo>
                    <a:pt x="99000" y="19270"/>
                  </a:lnTo>
                  <a:lnTo>
                    <a:pt x="99000" y="16642"/>
                  </a:lnTo>
                  <a:lnTo>
                    <a:pt x="99000" y="16642"/>
                  </a:lnTo>
                  <a:lnTo>
                    <a:pt x="99000" y="16642"/>
                  </a:lnTo>
                  <a:lnTo>
                    <a:pt x="96000" y="14890"/>
                  </a:lnTo>
                  <a:lnTo>
                    <a:pt x="96000" y="14890"/>
                  </a:lnTo>
                  <a:lnTo>
                    <a:pt x="91500" y="12262"/>
                  </a:lnTo>
                  <a:lnTo>
                    <a:pt x="91500" y="12262"/>
                  </a:lnTo>
                  <a:lnTo>
                    <a:pt x="88500" y="10510"/>
                  </a:lnTo>
                  <a:lnTo>
                    <a:pt x="88500" y="10510"/>
                  </a:lnTo>
                  <a:lnTo>
                    <a:pt x="88500" y="8759"/>
                  </a:lnTo>
                  <a:lnTo>
                    <a:pt x="88500" y="8759"/>
                  </a:lnTo>
                  <a:lnTo>
                    <a:pt x="88500" y="6131"/>
                  </a:lnTo>
                  <a:lnTo>
                    <a:pt x="88500" y="4379"/>
                  </a:lnTo>
                  <a:lnTo>
                    <a:pt x="88500" y="2627"/>
                  </a:lnTo>
                  <a:lnTo>
                    <a:pt x="88500" y="2627"/>
                  </a:lnTo>
                  <a:lnTo>
                    <a:pt x="81000" y="0"/>
                  </a:lnTo>
                  <a:lnTo>
                    <a:pt x="81000" y="2627"/>
                  </a:lnTo>
                  <a:lnTo>
                    <a:pt x="81000" y="2627"/>
                  </a:lnTo>
                  <a:lnTo>
                    <a:pt x="78000" y="2627"/>
                  </a:lnTo>
                  <a:lnTo>
                    <a:pt x="78000" y="2627"/>
                  </a:lnTo>
                  <a:lnTo>
                    <a:pt x="78000" y="2627"/>
                  </a:lnTo>
                  <a:lnTo>
                    <a:pt x="78000" y="4379"/>
                  </a:lnTo>
                  <a:lnTo>
                    <a:pt x="73500" y="4379"/>
                  </a:lnTo>
                  <a:lnTo>
                    <a:pt x="73500" y="4379"/>
                  </a:lnTo>
                  <a:lnTo>
                    <a:pt x="70500" y="4379"/>
                  </a:lnTo>
                  <a:lnTo>
                    <a:pt x="70500" y="4379"/>
                  </a:lnTo>
                  <a:lnTo>
                    <a:pt x="70500" y="4379"/>
                  </a:lnTo>
                  <a:lnTo>
                    <a:pt x="67500" y="4379"/>
                  </a:lnTo>
                  <a:lnTo>
                    <a:pt x="63000" y="4379"/>
                  </a:lnTo>
                  <a:lnTo>
                    <a:pt x="63000" y="4379"/>
                  </a:lnTo>
                  <a:lnTo>
                    <a:pt x="60000" y="4379"/>
                  </a:lnTo>
                  <a:lnTo>
                    <a:pt x="57000" y="4379"/>
                  </a:lnTo>
                  <a:lnTo>
                    <a:pt x="46500" y="4379"/>
                  </a:lnTo>
                  <a:lnTo>
                    <a:pt x="46500" y="4379"/>
                  </a:lnTo>
                  <a:lnTo>
                    <a:pt x="46500" y="4379"/>
                  </a:lnTo>
                  <a:lnTo>
                    <a:pt x="39000" y="4379"/>
                  </a:lnTo>
                  <a:lnTo>
                    <a:pt x="28500" y="4379"/>
                  </a:lnTo>
                  <a:lnTo>
                    <a:pt x="21000" y="4379"/>
                  </a:lnTo>
                  <a:lnTo>
                    <a:pt x="13500" y="4379"/>
                  </a:lnTo>
                  <a:lnTo>
                    <a:pt x="13500" y="4379"/>
                  </a:lnTo>
                  <a:lnTo>
                    <a:pt x="10500" y="4379"/>
                  </a:lnTo>
                  <a:lnTo>
                    <a:pt x="10500" y="4379"/>
                  </a:lnTo>
                  <a:lnTo>
                    <a:pt x="10500" y="8759"/>
                  </a:lnTo>
                  <a:lnTo>
                    <a:pt x="10500" y="10510"/>
                  </a:lnTo>
                  <a:lnTo>
                    <a:pt x="10500" y="12262"/>
                  </a:lnTo>
                  <a:lnTo>
                    <a:pt x="10500" y="14890"/>
                  </a:lnTo>
                  <a:lnTo>
                    <a:pt x="10500" y="14890"/>
                  </a:lnTo>
                  <a:lnTo>
                    <a:pt x="10500" y="14890"/>
                  </a:lnTo>
                  <a:lnTo>
                    <a:pt x="10500" y="16642"/>
                  </a:lnTo>
                  <a:lnTo>
                    <a:pt x="10500" y="16642"/>
                  </a:lnTo>
                  <a:lnTo>
                    <a:pt x="13500" y="16642"/>
                  </a:lnTo>
                  <a:lnTo>
                    <a:pt x="13500" y="19270"/>
                  </a:lnTo>
                  <a:lnTo>
                    <a:pt x="10500" y="19270"/>
                  </a:lnTo>
                  <a:lnTo>
                    <a:pt x="10500" y="21021"/>
                  </a:lnTo>
                  <a:lnTo>
                    <a:pt x="13500" y="25401"/>
                  </a:lnTo>
                  <a:lnTo>
                    <a:pt x="13500" y="27153"/>
                  </a:lnTo>
                  <a:lnTo>
                    <a:pt x="10500" y="27153"/>
                  </a:lnTo>
                  <a:lnTo>
                    <a:pt x="13500" y="28905"/>
                  </a:lnTo>
                  <a:lnTo>
                    <a:pt x="13500" y="31532"/>
                  </a:lnTo>
                  <a:lnTo>
                    <a:pt x="13500" y="31532"/>
                  </a:lnTo>
                  <a:lnTo>
                    <a:pt x="13500" y="33284"/>
                  </a:lnTo>
                  <a:lnTo>
                    <a:pt x="13500" y="35036"/>
                  </a:lnTo>
                  <a:lnTo>
                    <a:pt x="13500" y="35036"/>
                  </a:lnTo>
                  <a:lnTo>
                    <a:pt x="13500" y="35036"/>
                  </a:lnTo>
                  <a:lnTo>
                    <a:pt x="13500" y="37664"/>
                  </a:lnTo>
                  <a:lnTo>
                    <a:pt x="13500" y="39416"/>
                  </a:lnTo>
                  <a:lnTo>
                    <a:pt x="13500" y="39416"/>
                  </a:lnTo>
                  <a:lnTo>
                    <a:pt x="13500" y="39416"/>
                  </a:lnTo>
                  <a:lnTo>
                    <a:pt x="13500" y="42043"/>
                  </a:lnTo>
                  <a:lnTo>
                    <a:pt x="18000" y="43795"/>
                  </a:lnTo>
                  <a:lnTo>
                    <a:pt x="18000" y="43795"/>
                  </a:lnTo>
                  <a:lnTo>
                    <a:pt x="18000" y="45547"/>
                  </a:lnTo>
                  <a:lnTo>
                    <a:pt x="18000" y="49927"/>
                  </a:lnTo>
                  <a:lnTo>
                    <a:pt x="21000" y="56058"/>
                  </a:lnTo>
                  <a:lnTo>
                    <a:pt x="18000" y="56058"/>
                  </a:lnTo>
                  <a:lnTo>
                    <a:pt x="18000" y="56058"/>
                  </a:lnTo>
                  <a:lnTo>
                    <a:pt x="18000" y="56058"/>
                  </a:lnTo>
                  <a:lnTo>
                    <a:pt x="18000" y="57810"/>
                  </a:lnTo>
                  <a:lnTo>
                    <a:pt x="18000" y="57810"/>
                  </a:lnTo>
                  <a:lnTo>
                    <a:pt x="18000" y="57810"/>
                  </a:lnTo>
                  <a:lnTo>
                    <a:pt x="13500" y="57810"/>
                  </a:lnTo>
                  <a:lnTo>
                    <a:pt x="10500" y="60437"/>
                  </a:lnTo>
                  <a:lnTo>
                    <a:pt x="10500" y="62189"/>
                  </a:lnTo>
                  <a:lnTo>
                    <a:pt x="10500" y="62189"/>
                  </a:lnTo>
                  <a:lnTo>
                    <a:pt x="10500" y="64817"/>
                  </a:lnTo>
                  <a:lnTo>
                    <a:pt x="7500" y="64817"/>
                  </a:lnTo>
                  <a:lnTo>
                    <a:pt x="7500" y="68321"/>
                  </a:lnTo>
                  <a:lnTo>
                    <a:pt x="7500" y="72700"/>
                  </a:lnTo>
                  <a:lnTo>
                    <a:pt x="7500" y="74452"/>
                  </a:lnTo>
                  <a:lnTo>
                    <a:pt x="3000" y="74452"/>
                  </a:lnTo>
                  <a:lnTo>
                    <a:pt x="3000" y="77080"/>
                  </a:lnTo>
                  <a:lnTo>
                    <a:pt x="0" y="78832"/>
                  </a:lnTo>
                  <a:lnTo>
                    <a:pt x="0" y="80583"/>
                  </a:lnTo>
                  <a:lnTo>
                    <a:pt x="0" y="83211"/>
                  </a:lnTo>
                  <a:lnTo>
                    <a:pt x="0" y="83211"/>
                  </a:lnTo>
                  <a:lnTo>
                    <a:pt x="0" y="84963"/>
                  </a:lnTo>
                  <a:lnTo>
                    <a:pt x="0" y="87591"/>
                  </a:lnTo>
                  <a:lnTo>
                    <a:pt x="0" y="89343"/>
                  </a:lnTo>
                  <a:lnTo>
                    <a:pt x="0" y="89343"/>
                  </a:lnTo>
                  <a:lnTo>
                    <a:pt x="3000" y="95474"/>
                  </a:lnTo>
                  <a:lnTo>
                    <a:pt x="3000" y="97226"/>
                  </a:lnTo>
                  <a:lnTo>
                    <a:pt x="3000" y="99854"/>
                  </a:lnTo>
                  <a:lnTo>
                    <a:pt x="3000" y="101605"/>
                  </a:lnTo>
                  <a:lnTo>
                    <a:pt x="7500" y="101605"/>
                  </a:lnTo>
                  <a:lnTo>
                    <a:pt x="7500" y="103357"/>
                  </a:lnTo>
                  <a:lnTo>
                    <a:pt x="10500" y="103357"/>
                  </a:lnTo>
                  <a:lnTo>
                    <a:pt x="10500" y="103357"/>
                  </a:lnTo>
                  <a:lnTo>
                    <a:pt x="10500" y="107737"/>
                  </a:lnTo>
                  <a:lnTo>
                    <a:pt x="10500" y="107737"/>
                  </a:lnTo>
                  <a:lnTo>
                    <a:pt x="10500" y="107737"/>
                  </a:lnTo>
                  <a:lnTo>
                    <a:pt x="10500" y="110364"/>
                  </a:lnTo>
                  <a:lnTo>
                    <a:pt x="10500" y="112116"/>
                  </a:lnTo>
                  <a:lnTo>
                    <a:pt x="10500" y="112116"/>
                  </a:lnTo>
                  <a:lnTo>
                    <a:pt x="7500" y="112116"/>
                  </a:lnTo>
                  <a:lnTo>
                    <a:pt x="7500" y="112116"/>
                  </a:lnTo>
                  <a:lnTo>
                    <a:pt x="3000" y="112116"/>
                  </a:lnTo>
                  <a:lnTo>
                    <a:pt x="3000" y="112116"/>
                  </a:lnTo>
                  <a:lnTo>
                    <a:pt x="3000" y="113868"/>
                  </a:lnTo>
                  <a:lnTo>
                    <a:pt x="3000" y="113868"/>
                  </a:lnTo>
                  <a:lnTo>
                    <a:pt x="7500" y="113868"/>
                  </a:lnTo>
                  <a:lnTo>
                    <a:pt x="13500" y="113868"/>
                  </a:lnTo>
                  <a:lnTo>
                    <a:pt x="21000" y="116496"/>
                  </a:lnTo>
                  <a:lnTo>
                    <a:pt x="25500" y="118248"/>
                  </a:lnTo>
                  <a:lnTo>
                    <a:pt x="31500" y="118248"/>
                  </a:lnTo>
                  <a:lnTo>
                    <a:pt x="31500" y="120000"/>
                  </a:lnTo>
                  <a:lnTo>
                    <a:pt x="39000" y="116496"/>
                  </a:lnTo>
                  <a:lnTo>
                    <a:pt x="42000" y="116496"/>
                  </a:lnTo>
                  <a:lnTo>
                    <a:pt x="46500" y="113868"/>
                  </a:lnTo>
                  <a:lnTo>
                    <a:pt x="60000" y="112116"/>
                  </a:lnTo>
                  <a:lnTo>
                    <a:pt x="67500" y="110364"/>
                  </a:lnTo>
                  <a:lnTo>
                    <a:pt x="70500" y="110364"/>
                  </a:lnTo>
                  <a:lnTo>
                    <a:pt x="73500" y="107737"/>
                  </a:lnTo>
                  <a:lnTo>
                    <a:pt x="78000" y="105985"/>
                  </a:lnTo>
                  <a:lnTo>
                    <a:pt x="85500" y="103357"/>
                  </a:lnTo>
                  <a:lnTo>
                    <a:pt x="96000" y="101605"/>
                  </a:lnTo>
                  <a:lnTo>
                    <a:pt x="106500" y="101605"/>
                  </a:lnTo>
                  <a:lnTo>
                    <a:pt x="109500" y="101605"/>
                  </a:lnTo>
                  <a:lnTo>
                    <a:pt x="117000" y="99854"/>
                  </a:lnTo>
                  <a:lnTo>
                    <a:pt x="117000" y="97226"/>
                  </a:lnTo>
                  <a:lnTo>
                    <a:pt x="117000" y="97226"/>
                  </a:lnTo>
                  <a:lnTo>
                    <a:pt x="120000" y="95474"/>
                  </a:lnTo>
                  <a:lnTo>
                    <a:pt x="120000" y="95474"/>
                  </a:lnTo>
                  <a:lnTo>
                    <a:pt x="120000" y="93722"/>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84" name="Shape 484"/>
            <p:cNvSpPr/>
            <p:nvPr/>
          </p:nvSpPr>
          <p:spPr>
            <a:xfrm>
              <a:off x="3775" y="1654"/>
              <a:ext cx="0" cy="300"/>
            </a:xfrm>
            <a:custGeom>
              <a:avLst/>
              <a:gdLst/>
              <a:ahLst/>
              <a:cxnLst/>
              <a:rect l="0" t="0" r="0" b="0"/>
              <a:pathLst>
                <a:path w="120000" h="120000" extrusionOk="0">
                  <a:moveTo>
                    <a:pt x="104489" y="15949"/>
                  </a:moveTo>
                  <a:lnTo>
                    <a:pt x="104489" y="15949"/>
                  </a:lnTo>
                  <a:lnTo>
                    <a:pt x="104489" y="17468"/>
                  </a:lnTo>
                  <a:lnTo>
                    <a:pt x="104489" y="17468"/>
                  </a:lnTo>
                  <a:lnTo>
                    <a:pt x="106122" y="17468"/>
                  </a:lnTo>
                  <a:lnTo>
                    <a:pt x="107755" y="17468"/>
                  </a:lnTo>
                  <a:lnTo>
                    <a:pt x="107755" y="17468"/>
                  </a:lnTo>
                  <a:lnTo>
                    <a:pt x="107755" y="17468"/>
                  </a:lnTo>
                  <a:lnTo>
                    <a:pt x="107755" y="17468"/>
                  </a:lnTo>
                  <a:lnTo>
                    <a:pt x="106122" y="15949"/>
                  </a:lnTo>
                  <a:lnTo>
                    <a:pt x="102040" y="14430"/>
                  </a:lnTo>
                  <a:lnTo>
                    <a:pt x="102040" y="14430"/>
                  </a:lnTo>
                  <a:lnTo>
                    <a:pt x="102040" y="15949"/>
                  </a:lnTo>
                  <a:lnTo>
                    <a:pt x="104489" y="15949"/>
                  </a:lnTo>
                  <a:close/>
                  <a:moveTo>
                    <a:pt x="69387" y="10632"/>
                  </a:moveTo>
                  <a:lnTo>
                    <a:pt x="71836" y="10632"/>
                  </a:lnTo>
                  <a:lnTo>
                    <a:pt x="71836" y="9113"/>
                  </a:lnTo>
                  <a:lnTo>
                    <a:pt x="69387" y="9113"/>
                  </a:lnTo>
                  <a:lnTo>
                    <a:pt x="67755" y="9113"/>
                  </a:lnTo>
                  <a:lnTo>
                    <a:pt x="67755" y="9113"/>
                  </a:lnTo>
                  <a:lnTo>
                    <a:pt x="67755" y="9113"/>
                  </a:lnTo>
                  <a:lnTo>
                    <a:pt x="67755" y="9113"/>
                  </a:lnTo>
                  <a:lnTo>
                    <a:pt x="69387" y="10632"/>
                  </a:lnTo>
                  <a:close/>
                  <a:moveTo>
                    <a:pt x="94693" y="10632"/>
                  </a:moveTo>
                  <a:lnTo>
                    <a:pt x="94693" y="10632"/>
                  </a:lnTo>
                  <a:lnTo>
                    <a:pt x="96326" y="12151"/>
                  </a:lnTo>
                  <a:lnTo>
                    <a:pt x="98775" y="12151"/>
                  </a:lnTo>
                  <a:lnTo>
                    <a:pt x="98775" y="10632"/>
                  </a:lnTo>
                  <a:lnTo>
                    <a:pt x="100408" y="10632"/>
                  </a:lnTo>
                  <a:lnTo>
                    <a:pt x="102040" y="12151"/>
                  </a:lnTo>
                  <a:lnTo>
                    <a:pt x="102040" y="10632"/>
                  </a:lnTo>
                  <a:lnTo>
                    <a:pt x="102040" y="10632"/>
                  </a:lnTo>
                  <a:lnTo>
                    <a:pt x="100408" y="9113"/>
                  </a:lnTo>
                  <a:lnTo>
                    <a:pt x="100408" y="9113"/>
                  </a:lnTo>
                  <a:lnTo>
                    <a:pt x="100408" y="9113"/>
                  </a:lnTo>
                  <a:lnTo>
                    <a:pt x="100408" y="9113"/>
                  </a:lnTo>
                  <a:lnTo>
                    <a:pt x="100408" y="6835"/>
                  </a:lnTo>
                  <a:lnTo>
                    <a:pt x="100408" y="6835"/>
                  </a:lnTo>
                  <a:lnTo>
                    <a:pt x="98775" y="6835"/>
                  </a:lnTo>
                  <a:lnTo>
                    <a:pt x="98775" y="6835"/>
                  </a:lnTo>
                  <a:lnTo>
                    <a:pt x="98775" y="5316"/>
                  </a:lnTo>
                  <a:lnTo>
                    <a:pt x="96326" y="5316"/>
                  </a:lnTo>
                  <a:lnTo>
                    <a:pt x="96326" y="6835"/>
                  </a:lnTo>
                  <a:lnTo>
                    <a:pt x="94693" y="6835"/>
                  </a:lnTo>
                  <a:lnTo>
                    <a:pt x="94693" y="6835"/>
                  </a:lnTo>
                  <a:lnTo>
                    <a:pt x="94693" y="9113"/>
                  </a:lnTo>
                  <a:lnTo>
                    <a:pt x="94693" y="10632"/>
                  </a:lnTo>
                  <a:lnTo>
                    <a:pt x="94693" y="10632"/>
                  </a:lnTo>
                  <a:close/>
                  <a:moveTo>
                    <a:pt x="35102" y="5316"/>
                  </a:moveTo>
                  <a:lnTo>
                    <a:pt x="35102" y="5316"/>
                  </a:lnTo>
                  <a:lnTo>
                    <a:pt x="35102" y="5316"/>
                  </a:lnTo>
                  <a:lnTo>
                    <a:pt x="35102" y="5316"/>
                  </a:lnTo>
                  <a:lnTo>
                    <a:pt x="36734" y="5316"/>
                  </a:lnTo>
                  <a:lnTo>
                    <a:pt x="36734" y="5316"/>
                  </a:lnTo>
                  <a:lnTo>
                    <a:pt x="36734" y="5316"/>
                  </a:lnTo>
                  <a:lnTo>
                    <a:pt x="35102" y="5316"/>
                  </a:lnTo>
                  <a:lnTo>
                    <a:pt x="35102" y="5316"/>
                  </a:lnTo>
                  <a:close/>
                  <a:moveTo>
                    <a:pt x="120000" y="55443"/>
                  </a:moveTo>
                  <a:lnTo>
                    <a:pt x="117551" y="55443"/>
                  </a:lnTo>
                  <a:lnTo>
                    <a:pt x="117551" y="55443"/>
                  </a:lnTo>
                  <a:lnTo>
                    <a:pt x="115918" y="53924"/>
                  </a:lnTo>
                  <a:lnTo>
                    <a:pt x="115918" y="53924"/>
                  </a:lnTo>
                  <a:lnTo>
                    <a:pt x="115918" y="51645"/>
                  </a:lnTo>
                  <a:lnTo>
                    <a:pt x="115918" y="51645"/>
                  </a:lnTo>
                  <a:lnTo>
                    <a:pt x="115918" y="51645"/>
                  </a:lnTo>
                  <a:lnTo>
                    <a:pt x="114285" y="50126"/>
                  </a:lnTo>
                  <a:lnTo>
                    <a:pt x="114285" y="50126"/>
                  </a:lnTo>
                  <a:lnTo>
                    <a:pt x="115918" y="48607"/>
                  </a:lnTo>
                  <a:lnTo>
                    <a:pt x="115918" y="46329"/>
                  </a:lnTo>
                  <a:lnTo>
                    <a:pt x="115918" y="46329"/>
                  </a:lnTo>
                  <a:lnTo>
                    <a:pt x="115918" y="46329"/>
                  </a:lnTo>
                  <a:lnTo>
                    <a:pt x="115918" y="44810"/>
                  </a:lnTo>
                  <a:lnTo>
                    <a:pt x="115918" y="44810"/>
                  </a:lnTo>
                  <a:lnTo>
                    <a:pt x="115918" y="44810"/>
                  </a:lnTo>
                  <a:lnTo>
                    <a:pt x="115918" y="43291"/>
                  </a:lnTo>
                  <a:lnTo>
                    <a:pt x="114285" y="43291"/>
                  </a:lnTo>
                  <a:lnTo>
                    <a:pt x="114285" y="43291"/>
                  </a:lnTo>
                  <a:lnTo>
                    <a:pt x="114285" y="41012"/>
                  </a:lnTo>
                  <a:lnTo>
                    <a:pt x="114285" y="41012"/>
                  </a:lnTo>
                  <a:lnTo>
                    <a:pt x="114285" y="39493"/>
                  </a:lnTo>
                  <a:lnTo>
                    <a:pt x="114285" y="39493"/>
                  </a:lnTo>
                  <a:lnTo>
                    <a:pt x="111836" y="37215"/>
                  </a:lnTo>
                  <a:lnTo>
                    <a:pt x="110204" y="34177"/>
                  </a:lnTo>
                  <a:lnTo>
                    <a:pt x="107755" y="34177"/>
                  </a:lnTo>
                  <a:lnTo>
                    <a:pt x="107755" y="31898"/>
                  </a:lnTo>
                  <a:lnTo>
                    <a:pt x="107755" y="31898"/>
                  </a:lnTo>
                  <a:lnTo>
                    <a:pt x="110204" y="30379"/>
                  </a:lnTo>
                  <a:lnTo>
                    <a:pt x="110204" y="30379"/>
                  </a:lnTo>
                  <a:lnTo>
                    <a:pt x="111836" y="28860"/>
                  </a:lnTo>
                  <a:lnTo>
                    <a:pt x="111836" y="28860"/>
                  </a:lnTo>
                  <a:lnTo>
                    <a:pt x="111836" y="26582"/>
                  </a:lnTo>
                  <a:lnTo>
                    <a:pt x="110204" y="23544"/>
                  </a:lnTo>
                  <a:lnTo>
                    <a:pt x="110204" y="21265"/>
                  </a:lnTo>
                  <a:lnTo>
                    <a:pt x="107755" y="21265"/>
                  </a:lnTo>
                  <a:lnTo>
                    <a:pt x="107755" y="19746"/>
                  </a:lnTo>
                  <a:lnTo>
                    <a:pt x="107755" y="19746"/>
                  </a:lnTo>
                  <a:lnTo>
                    <a:pt x="106122" y="19746"/>
                  </a:lnTo>
                  <a:lnTo>
                    <a:pt x="104489" y="19746"/>
                  </a:lnTo>
                  <a:lnTo>
                    <a:pt x="104489" y="17468"/>
                  </a:lnTo>
                  <a:lnTo>
                    <a:pt x="102040" y="15949"/>
                  </a:lnTo>
                  <a:lnTo>
                    <a:pt x="102040" y="14430"/>
                  </a:lnTo>
                  <a:lnTo>
                    <a:pt x="98775" y="14430"/>
                  </a:lnTo>
                  <a:lnTo>
                    <a:pt x="94693" y="12151"/>
                  </a:lnTo>
                  <a:lnTo>
                    <a:pt x="93061" y="10632"/>
                  </a:lnTo>
                  <a:lnTo>
                    <a:pt x="90612" y="10632"/>
                  </a:lnTo>
                  <a:lnTo>
                    <a:pt x="88979" y="9113"/>
                  </a:lnTo>
                  <a:lnTo>
                    <a:pt x="87346" y="9113"/>
                  </a:lnTo>
                  <a:lnTo>
                    <a:pt x="84897" y="10632"/>
                  </a:lnTo>
                  <a:lnTo>
                    <a:pt x="83265" y="12151"/>
                  </a:lnTo>
                  <a:lnTo>
                    <a:pt x="80816" y="12151"/>
                  </a:lnTo>
                  <a:lnTo>
                    <a:pt x="80816" y="14430"/>
                  </a:lnTo>
                  <a:lnTo>
                    <a:pt x="77551" y="14430"/>
                  </a:lnTo>
                  <a:lnTo>
                    <a:pt x="75102" y="14430"/>
                  </a:lnTo>
                  <a:lnTo>
                    <a:pt x="73469" y="15949"/>
                  </a:lnTo>
                  <a:lnTo>
                    <a:pt x="71836" y="17468"/>
                  </a:lnTo>
                  <a:lnTo>
                    <a:pt x="67755" y="15949"/>
                  </a:lnTo>
                  <a:lnTo>
                    <a:pt x="66122" y="15949"/>
                  </a:lnTo>
                  <a:lnTo>
                    <a:pt x="66122" y="15949"/>
                  </a:lnTo>
                  <a:lnTo>
                    <a:pt x="63673" y="14430"/>
                  </a:lnTo>
                  <a:lnTo>
                    <a:pt x="67755" y="14430"/>
                  </a:lnTo>
                  <a:lnTo>
                    <a:pt x="67755" y="12151"/>
                  </a:lnTo>
                  <a:lnTo>
                    <a:pt x="67755" y="10632"/>
                  </a:lnTo>
                  <a:lnTo>
                    <a:pt x="66122" y="10632"/>
                  </a:lnTo>
                  <a:lnTo>
                    <a:pt x="63673" y="10632"/>
                  </a:lnTo>
                  <a:lnTo>
                    <a:pt x="57959" y="9113"/>
                  </a:lnTo>
                  <a:lnTo>
                    <a:pt x="57959" y="10632"/>
                  </a:lnTo>
                  <a:lnTo>
                    <a:pt x="56326" y="9113"/>
                  </a:lnTo>
                  <a:lnTo>
                    <a:pt x="56326" y="9113"/>
                  </a:lnTo>
                  <a:lnTo>
                    <a:pt x="52244" y="9113"/>
                  </a:lnTo>
                  <a:lnTo>
                    <a:pt x="53877" y="9113"/>
                  </a:lnTo>
                  <a:lnTo>
                    <a:pt x="53877" y="6835"/>
                  </a:lnTo>
                  <a:lnTo>
                    <a:pt x="53877" y="5316"/>
                  </a:lnTo>
                  <a:lnTo>
                    <a:pt x="53877" y="5316"/>
                  </a:lnTo>
                  <a:lnTo>
                    <a:pt x="52244" y="3797"/>
                  </a:lnTo>
                  <a:lnTo>
                    <a:pt x="50612" y="3797"/>
                  </a:lnTo>
                  <a:lnTo>
                    <a:pt x="50612" y="3797"/>
                  </a:lnTo>
                  <a:lnTo>
                    <a:pt x="50612" y="3797"/>
                  </a:lnTo>
                  <a:lnTo>
                    <a:pt x="50612" y="3797"/>
                  </a:lnTo>
                  <a:lnTo>
                    <a:pt x="50612" y="3797"/>
                  </a:lnTo>
                  <a:lnTo>
                    <a:pt x="48163" y="3797"/>
                  </a:lnTo>
                  <a:lnTo>
                    <a:pt x="46530" y="3797"/>
                  </a:lnTo>
                  <a:lnTo>
                    <a:pt x="44897" y="3797"/>
                  </a:lnTo>
                  <a:lnTo>
                    <a:pt x="44897" y="3797"/>
                  </a:lnTo>
                  <a:lnTo>
                    <a:pt x="40816" y="3797"/>
                  </a:lnTo>
                  <a:lnTo>
                    <a:pt x="40816" y="1518"/>
                  </a:lnTo>
                  <a:lnTo>
                    <a:pt x="36734" y="1518"/>
                  </a:lnTo>
                  <a:lnTo>
                    <a:pt x="36734" y="1518"/>
                  </a:lnTo>
                  <a:lnTo>
                    <a:pt x="36734" y="3797"/>
                  </a:lnTo>
                  <a:lnTo>
                    <a:pt x="39183" y="5316"/>
                  </a:lnTo>
                  <a:lnTo>
                    <a:pt x="40816" y="6835"/>
                  </a:lnTo>
                  <a:lnTo>
                    <a:pt x="40816" y="9113"/>
                  </a:lnTo>
                  <a:lnTo>
                    <a:pt x="40816" y="9113"/>
                  </a:lnTo>
                  <a:lnTo>
                    <a:pt x="39183" y="9113"/>
                  </a:lnTo>
                  <a:lnTo>
                    <a:pt x="36734" y="10632"/>
                  </a:lnTo>
                  <a:lnTo>
                    <a:pt x="36734" y="10632"/>
                  </a:lnTo>
                  <a:lnTo>
                    <a:pt x="36734" y="12151"/>
                  </a:lnTo>
                  <a:lnTo>
                    <a:pt x="39183" y="12151"/>
                  </a:lnTo>
                  <a:lnTo>
                    <a:pt x="39183" y="10632"/>
                  </a:lnTo>
                  <a:lnTo>
                    <a:pt x="39183" y="12151"/>
                  </a:lnTo>
                  <a:lnTo>
                    <a:pt x="40816" y="12151"/>
                  </a:lnTo>
                  <a:lnTo>
                    <a:pt x="40816" y="15949"/>
                  </a:lnTo>
                  <a:lnTo>
                    <a:pt x="40816" y="15949"/>
                  </a:lnTo>
                  <a:lnTo>
                    <a:pt x="40816" y="17468"/>
                  </a:lnTo>
                  <a:lnTo>
                    <a:pt x="42448" y="17468"/>
                  </a:lnTo>
                  <a:lnTo>
                    <a:pt x="44897" y="17468"/>
                  </a:lnTo>
                  <a:lnTo>
                    <a:pt x="44897" y="17468"/>
                  </a:lnTo>
                  <a:lnTo>
                    <a:pt x="50612" y="21265"/>
                  </a:lnTo>
                  <a:lnTo>
                    <a:pt x="52244" y="23544"/>
                  </a:lnTo>
                  <a:lnTo>
                    <a:pt x="50612" y="23544"/>
                  </a:lnTo>
                  <a:lnTo>
                    <a:pt x="48163" y="21265"/>
                  </a:lnTo>
                  <a:lnTo>
                    <a:pt x="46530" y="19746"/>
                  </a:lnTo>
                  <a:lnTo>
                    <a:pt x="44897" y="17468"/>
                  </a:lnTo>
                  <a:lnTo>
                    <a:pt x="40816" y="17468"/>
                  </a:lnTo>
                  <a:lnTo>
                    <a:pt x="36734" y="17468"/>
                  </a:lnTo>
                  <a:lnTo>
                    <a:pt x="36734" y="17468"/>
                  </a:lnTo>
                  <a:lnTo>
                    <a:pt x="35102" y="19746"/>
                  </a:lnTo>
                  <a:lnTo>
                    <a:pt x="35102" y="21265"/>
                  </a:lnTo>
                  <a:lnTo>
                    <a:pt x="35102" y="23544"/>
                  </a:lnTo>
                  <a:lnTo>
                    <a:pt x="35102" y="25063"/>
                  </a:lnTo>
                  <a:lnTo>
                    <a:pt x="35102" y="23544"/>
                  </a:lnTo>
                  <a:lnTo>
                    <a:pt x="35102" y="23544"/>
                  </a:lnTo>
                  <a:lnTo>
                    <a:pt x="33469" y="21265"/>
                  </a:lnTo>
                  <a:lnTo>
                    <a:pt x="33469" y="23544"/>
                  </a:lnTo>
                  <a:lnTo>
                    <a:pt x="33469" y="23544"/>
                  </a:lnTo>
                  <a:lnTo>
                    <a:pt x="31020" y="25063"/>
                  </a:lnTo>
                  <a:lnTo>
                    <a:pt x="31020" y="25063"/>
                  </a:lnTo>
                  <a:lnTo>
                    <a:pt x="29387" y="25063"/>
                  </a:lnTo>
                  <a:lnTo>
                    <a:pt x="31020" y="23544"/>
                  </a:lnTo>
                  <a:lnTo>
                    <a:pt x="29387" y="21265"/>
                  </a:lnTo>
                  <a:lnTo>
                    <a:pt x="23673" y="21265"/>
                  </a:lnTo>
                  <a:lnTo>
                    <a:pt x="19591" y="21265"/>
                  </a:lnTo>
                  <a:lnTo>
                    <a:pt x="17959" y="21265"/>
                  </a:lnTo>
                  <a:lnTo>
                    <a:pt x="17959" y="23544"/>
                  </a:lnTo>
                  <a:lnTo>
                    <a:pt x="17959" y="25063"/>
                  </a:lnTo>
                  <a:lnTo>
                    <a:pt x="15510" y="25063"/>
                  </a:lnTo>
                  <a:lnTo>
                    <a:pt x="17959" y="26582"/>
                  </a:lnTo>
                  <a:lnTo>
                    <a:pt x="17959" y="26582"/>
                  </a:lnTo>
                  <a:lnTo>
                    <a:pt x="17959" y="28860"/>
                  </a:lnTo>
                  <a:lnTo>
                    <a:pt x="17959" y="31898"/>
                  </a:lnTo>
                  <a:lnTo>
                    <a:pt x="17959" y="31898"/>
                  </a:lnTo>
                  <a:lnTo>
                    <a:pt x="17959" y="34177"/>
                  </a:lnTo>
                  <a:lnTo>
                    <a:pt x="15510" y="35696"/>
                  </a:lnTo>
                  <a:lnTo>
                    <a:pt x="15510" y="37215"/>
                  </a:lnTo>
                  <a:lnTo>
                    <a:pt x="15510" y="37215"/>
                  </a:lnTo>
                  <a:lnTo>
                    <a:pt x="12244" y="37215"/>
                  </a:lnTo>
                  <a:lnTo>
                    <a:pt x="12244" y="37215"/>
                  </a:lnTo>
                  <a:lnTo>
                    <a:pt x="12244" y="37215"/>
                  </a:lnTo>
                  <a:lnTo>
                    <a:pt x="12244" y="37215"/>
                  </a:lnTo>
                  <a:lnTo>
                    <a:pt x="12244" y="37215"/>
                  </a:lnTo>
                  <a:lnTo>
                    <a:pt x="12244" y="39493"/>
                  </a:lnTo>
                  <a:lnTo>
                    <a:pt x="12244" y="39493"/>
                  </a:lnTo>
                  <a:lnTo>
                    <a:pt x="12244" y="39493"/>
                  </a:lnTo>
                  <a:lnTo>
                    <a:pt x="13877" y="39493"/>
                  </a:lnTo>
                  <a:lnTo>
                    <a:pt x="13877" y="39493"/>
                  </a:lnTo>
                  <a:lnTo>
                    <a:pt x="15510" y="39493"/>
                  </a:lnTo>
                  <a:lnTo>
                    <a:pt x="15510" y="41012"/>
                  </a:lnTo>
                  <a:lnTo>
                    <a:pt x="15510" y="41012"/>
                  </a:lnTo>
                  <a:lnTo>
                    <a:pt x="15510" y="41012"/>
                  </a:lnTo>
                  <a:lnTo>
                    <a:pt x="15510" y="43291"/>
                  </a:lnTo>
                  <a:lnTo>
                    <a:pt x="15510" y="43291"/>
                  </a:lnTo>
                  <a:lnTo>
                    <a:pt x="13877" y="44810"/>
                  </a:lnTo>
                  <a:lnTo>
                    <a:pt x="12244" y="44810"/>
                  </a:lnTo>
                  <a:lnTo>
                    <a:pt x="12244" y="44810"/>
                  </a:lnTo>
                  <a:lnTo>
                    <a:pt x="12244" y="44810"/>
                  </a:lnTo>
                  <a:lnTo>
                    <a:pt x="12244" y="46329"/>
                  </a:lnTo>
                  <a:lnTo>
                    <a:pt x="12244" y="46329"/>
                  </a:lnTo>
                  <a:lnTo>
                    <a:pt x="12244" y="46329"/>
                  </a:lnTo>
                  <a:lnTo>
                    <a:pt x="12244" y="46329"/>
                  </a:lnTo>
                  <a:lnTo>
                    <a:pt x="12244" y="48607"/>
                  </a:lnTo>
                  <a:lnTo>
                    <a:pt x="12244" y="48607"/>
                  </a:lnTo>
                  <a:lnTo>
                    <a:pt x="8163" y="48607"/>
                  </a:lnTo>
                  <a:lnTo>
                    <a:pt x="8163" y="48607"/>
                  </a:lnTo>
                  <a:lnTo>
                    <a:pt x="6530" y="50126"/>
                  </a:lnTo>
                  <a:lnTo>
                    <a:pt x="6530" y="50126"/>
                  </a:lnTo>
                  <a:lnTo>
                    <a:pt x="6530" y="48607"/>
                  </a:lnTo>
                  <a:lnTo>
                    <a:pt x="4081" y="48607"/>
                  </a:lnTo>
                  <a:lnTo>
                    <a:pt x="4081" y="48607"/>
                  </a:lnTo>
                  <a:lnTo>
                    <a:pt x="4081" y="48607"/>
                  </a:lnTo>
                  <a:lnTo>
                    <a:pt x="2448" y="50126"/>
                  </a:lnTo>
                  <a:lnTo>
                    <a:pt x="2448" y="50126"/>
                  </a:lnTo>
                  <a:lnTo>
                    <a:pt x="2448" y="50126"/>
                  </a:lnTo>
                  <a:lnTo>
                    <a:pt x="2448" y="51645"/>
                  </a:lnTo>
                  <a:lnTo>
                    <a:pt x="2448" y="51645"/>
                  </a:lnTo>
                  <a:lnTo>
                    <a:pt x="2448" y="53924"/>
                  </a:lnTo>
                  <a:lnTo>
                    <a:pt x="4081" y="53924"/>
                  </a:lnTo>
                  <a:lnTo>
                    <a:pt x="4081" y="53924"/>
                  </a:lnTo>
                  <a:lnTo>
                    <a:pt x="4081" y="55443"/>
                  </a:lnTo>
                  <a:lnTo>
                    <a:pt x="4081" y="55443"/>
                  </a:lnTo>
                  <a:lnTo>
                    <a:pt x="4081" y="56962"/>
                  </a:lnTo>
                  <a:lnTo>
                    <a:pt x="2448" y="59240"/>
                  </a:lnTo>
                  <a:lnTo>
                    <a:pt x="2448" y="59240"/>
                  </a:lnTo>
                  <a:lnTo>
                    <a:pt x="2448" y="59240"/>
                  </a:lnTo>
                  <a:lnTo>
                    <a:pt x="4081" y="59240"/>
                  </a:lnTo>
                  <a:lnTo>
                    <a:pt x="4081" y="59240"/>
                  </a:lnTo>
                  <a:lnTo>
                    <a:pt x="4081" y="59240"/>
                  </a:lnTo>
                  <a:lnTo>
                    <a:pt x="0" y="60759"/>
                  </a:lnTo>
                  <a:lnTo>
                    <a:pt x="0" y="60759"/>
                  </a:lnTo>
                  <a:lnTo>
                    <a:pt x="0" y="60759"/>
                  </a:lnTo>
                  <a:lnTo>
                    <a:pt x="0" y="60759"/>
                  </a:lnTo>
                  <a:lnTo>
                    <a:pt x="0" y="63037"/>
                  </a:lnTo>
                  <a:lnTo>
                    <a:pt x="0" y="63037"/>
                  </a:lnTo>
                  <a:lnTo>
                    <a:pt x="0" y="63037"/>
                  </a:lnTo>
                  <a:lnTo>
                    <a:pt x="2448" y="63037"/>
                  </a:lnTo>
                  <a:lnTo>
                    <a:pt x="2448" y="64556"/>
                  </a:lnTo>
                  <a:lnTo>
                    <a:pt x="2448" y="66075"/>
                  </a:lnTo>
                  <a:lnTo>
                    <a:pt x="2448" y="66075"/>
                  </a:lnTo>
                  <a:lnTo>
                    <a:pt x="2448" y="66075"/>
                  </a:lnTo>
                  <a:lnTo>
                    <a:pt x="4081" y="68354"/>
                  </a:lnTo>
                  <a:lnTo>
                    <a:pt x="4081" y="68354"/>
                  </a:lnTo>
                  <a:lnTo>
                    <a:pt x="4081" y="69873"/>
                  </a:lnTo>
                  <a:lnTo>
                    <a:pt x="4081" y="69873"/>
                  </a:lnTo>
                  <a:lnTo>
                    <a:pt x="4081" y="69873"/>
                  </a:lnTo>
                  <a:lnTo>
                    <a:pt x="6530" y="69873"/>
                  </a:lnTo>
                  <a:lnTo>
                    <a:pt x="6530" y="69873"/>
                  </a:lnTo>
                  <a:lnTo>
                    <a:pt x="6530" y="71392"/>
                  </a:lnTo>
                  <a:lnTo>
                    <a:pt x="6530" y="73670"/>
                  </a:lnTo>
                  <a:lnTo>
                    <a:pt x="4081" y="73670"/>
                  </a:lnTo>
                  <a:lnTo>
                    <a:pt x="2448" y="75189"/>
                  </a:lnTo>
                  <a:lnTo>
                    <a:pt x="2448" y="75189"/>
                  </a:lnTo>
                  <a:lnTo>
                    <a:pt x="2448" y="76708"/>
                  </a:lnTo>
                  <a:lnTo>
                    <a:pt x="2448" y="76708"/>
                  </a:lnTo>
                  <a:lnTo>
                    <a:pt x="2448" y="78987"/>
                  </a:lnTo>
                  <a:lnTo>
                    <a:pt x="4081" y="78987"/>
                  </a:lnTo>
                  <a:lnTo>
                    <a:pt x="4081" y="78987"/>
                  </a:lnTo>
                  <a:lnTo>
                    <a:pt x="6530" y="80506"/>
                  </a:lnTo>
                  <a:lnTo>
                    <a:pt x="6530" y="80506"/>
                  </a:lnTo>
                  <a:lnTo>
                    <a:pt x="8163" y="80506"/>
                  </a:lnTo>
                  <a:lnTo>
                    <a:pt x="8163" y="80506"/>
                  </a:lnTo>
                  <a:lnTo>
                    <a:pt x="8163" y="82784"/>
                  </a:lnTo>
                  <a:lnTo>
                    <a:pt x="6530" y="82784"/>
                  </a:lnTo>
                  <a:lnTo>
                    <a:pt x="6530" y="82784"/>
                  </a:lnTo>
                  <a:lnTo>
                    <a:pt x="6530" y="84303"/>
                  </a:lnTo>
                  <a:lnTo>
                    <a:pt x="6530" y="85822"/>
                  </a:lnTo>
                  <a:lnTo>
                    <a:pt x="6530" y="85822"/>
                  </a:lnTo>
                  <a:lnTo>
                    <a:pt x="6530" y="85822"/>
                  </a:lnTo>
                  <a:lnTo>
                    <a:pt x="8163" y="85822"/>
                  </a:lnTo>
                  <a:lnTo>
                    <a:pt x="8163" y="88101"/>
                  </a:lnTo>
                  <a:lnTo>
                    <a:pt x="8163" y="88101"/>
                  </a:lnTo>
                  <a:lnTo>
                    <a:pt x="8163" y="88101"/>
                  </a:lnTo>
                  <a:lnTo>
                    <a:pt x="8163" y="89620"/>
                  </a:lnTo>
                  <a:lnTo>
                    <a:pt x="9795" y="91139"/>
                  </a:lnTo>
                  <a:lnTo>
                    <a:pt x="12244" y="91139"/>
                  </a:lnTo>
                  <a:lnTo>
                    <a:pt x="12244" y="91139"/>
                  </a:lnTo>
                  <a:lnTo>
                    <a:pt x="12244" y="89620"/>
                  </a:lnTo>
                  <a:lnTo>
                    <a:pt x="12244" y="89620"/>
                  </a:lnTo>
                  <a:lnTo>
                    <a:pt x="13877" y="89620"/>
                  </a:lnTo>
                  <a:lnTo>
                    <a:pt x="13877" y="89620"/>
                  </a:lnTo>
                  <a:lnTo>
                    <a:pt x="13877" y="91139"/>
                  </a:lnTo>
                  <a:lnTo>
                    <a:pt x="13877" y="91139"/>
                  </a:lnTo>
                  <a:lnTo>
                    <a:pt x="15510" y="91139"/>
                  </a:lnTo>
                  <a:lnTo>
                    <a:pt x="15510" y="91139"/>
                  </a:lnTo>
                  <a:lnTo>
                    <a:pt x="17959" y="91139"/>
                  </a:lnTo>
                  <a:lnTo>
                    <a:pt x="17959" y="91139"/>
                  </a:lnTo>
                  <a:lnTo>
                    <a:pt x="19591" y="91139"/>
                  </a:lnTo>
                  <a:lnTo>
                    <a:pt x="19591" y="91139"/>
                  </a:lnTo>
                  <a:lnTo>
                    <a:pt x="21224" y="91139"/>
                  </a:lnTo>
                  <a:lnTo>
                    <a:pt x="21224" y="91139"/>
                  </a:lnTo>
                  <a:lnTo>
                    <a:pt x="25306" y="93417"/>
                  </a:lnTo>
                  <a:lnTo>
                    <a:pt x="26938" y="93417"/>
                  </a:lnTo>
                  <a:lnTo>
                    <a:pt x="29387" y="93417"/>
                  </a:lnTo>
                  <a:lnTo>
                    <a:pt x="29387" y="93417"/>
                  </a:lnTo>
                  <a:lnTo>
                    <a:pt x="29387" y="94936"/>
                  </a:lnTo>
                  <a:lnTo>
                    <a:pt x="29387" y="94936"/>
                  </a:lnTo>
                  <a:lnTo>
                    <a:pt x="25306" y="98734"/>
                  </a:lnTo>
                  <a:lnTo>
                    <a:pt x="25306" y="98734"/>
                  </a:lnTo>
                  <a:lnTo>
                    <a:pt x="25306" y="100253"/>
                  </a:lnTo>
                  <a:lnTo>
                    <a:pt x="23673" y="102531"/>
                  </a:lnTo>
                  <a:lnTo>
                    <a:pt x="23673" y="104050"/>
                  </a:lnTo>
                  <a:lnTo>
                    <a:pt x="21224" y="105569"/>
                  </a:lnTo>
                  <a:lnTo>
                    <a:pt x="21224" y="107848"/>
                  </a:lnTo>
                  <a:lnTo>
                    <a:pt x="21224" y="109367"/>
                  </a:lnTo>
                  <a:lnTo>
                    <a:pt x="21224" y="110886"/>
                  </a:lnTo>
                  <a:lnTo>
                    <a:pt x="21224" y="113164"/>
                  </a:lnTo>
                  <a:lnTo>
                    <a:pt x="21224" y="114683"/>
                  </a:lnTo>
                  <a:lnTo>
                    <a:pt x="21224" y="114683"/>
                  </a:lnTo>
                  <a:lnTo>
                    <a:pt x="21224" y="114683"/>
                  </a:lnTo>
                  <a:lnTo>
                    <a:pt x="23673" y="116962"/>
                  </a:lnTo>
                  <a:lnTo>
                    <a:pt x="25306" y="116962"/>
                  </a:lnTo>
                  <a:lnTo>
                    <a:pt x="26938" y="114683"/>
                  </a:lnTo>
                  <a:lnTo>
                    <a:pt x="29387" y="114683"/>
                  </a:lnTo>
                  <a:lnTo>
                    <a:pt x="31020" y="114683"/>
                  </a:lnTo>
                  <a:lnTo>
                    <a:pt x="33469" y="114683"/>
                  </a:lnTo>
                  <a:lnTo>
                    <a:pt x="33469" y="114683"/>
                  </a:lnTo>
                  <a:lnTo>
                    <a:pt x="33469" y="114683"/>
                  </a:lnTo>
                  <a:lnTo>
                    <a:pt x="33469" y="114683"/>
                  </a:lnTo>
                  <a:lnTo>
                    <a:pt x="35102" y="114683"/>
                  </a:lnTo>
                  <a:lnTo>
                    <a:pt x="35102" y="114683"/>
                  </a:lnTo>
                  <a:lnTo>
                    <a:pt x="35102" y="114683"/>
                  </a:lnTo>
                  <a:lnTo>
                    <a:pt x="35102" y="114683"/>
                  </a:lnTo>
                  <a:lnTo>
                    <a:pt x="33469" y="114683"/>
                  </a:lnTo>
                  <a:lnTo>
                    <a:pt x="33469" y="114683"/>
                  </a:lnTo>
                  <a:lnTo>
                    <a:pt x="33469" y="113164"/>
                  </a:lnTo>
                  <a:lnTo>
                    <a:pt x="33469" y="113164"/>
                  </a:lnTo>
                  <a:lnTo>
                    <a:pt x="33469" y="113164"/>
                  </a:lnTo>
                  <a:lnTo>
                    <a:pt x="35102" y="113164"/>
                  </a:lnTo>
                  <a:lnTo>
                    <a:pt x="35102" y="113164"/>
                  </a:lnTo>
                  <a:lnTo>
                    <a:pt x="36734" y="113164"/>
                  </a:lnTo>
                  <a:lnTo>
                    <a:pt x="36734" y="113164"/>
                  </a:lnTo>
                  <a:lnTo>
                    <a:pt x="36734" y="113164"/>
                  </a:lnTo>
                  <a:lnTo>
                    <a:pt x="36734" y="113164"/>
                  </a:lnTo>
                  <a:lnTo>
                    <a:pt x="39183" y="113164"/>
                  </a:lnTo>
                  <a:lnTo>
                    <a:pt x="39183" y="114683"/>
                  </a:lnTo>
                  <a:lnTo>
                    <a:pt x="39183" y="114683"/>
                  </a:lnTo>
                  <a:lnTo>
                    <a:pt x="42448" y="114683"/>
                  </a:lnTo>
                  <a:lnTo>
                    <a:pt x="42448" y="114683"/>
                  </a:lnTo>
                  <a:lnTo>
                    <a:pt x="44897" y="114683"/>
                  </a:lnTo>
                  <a:lnTo>
                    <a:pt x="46530" y="116962"/>
                  </a:lnTo>
                  <a:lnTo>
                    <a:pt x="48163" y="116962"/>
                  </a:lnTo>
                  <a:lnTo>
                    <a:pt x="48163" y="116962"/>
                  </a:lnTo>
                  <a:lnTo>
                    <a:pt x="50612" y="116962"/>
                  </a:lnTo>
                  <a:lnTo>
                    <a:pt x="50612" y="114683"/>
                  </a:lnTo>
                  <a:lnTo>
                    <a:pt x="52244" y="116962"/>
                  </a:lnTo>
                  <a:lnTo>
                    <a:pt x="53877" y="116962"/>
                  </a:lnTo>
                  <a:lnTo>
                    <a:pt x="53877" y="116962"/>
                  </a:lnTo>
                  <a:lnTo>
                    <a:pt x="53877" y="118481"/>
                  </a:lnTo>
                  <a:lnTo>
                    <a:pt x="53877" y="118481"/>
                  </a:lnTo>
                  <a:lnTo>
                    <a:pt x="53877" y="118481"/>
                  </a:lnTo>
                  <a:lnTo>
                    <a:pt x="53877" y="118481"/>
                  </a:lnTo>
                  <a:lnTo>
                    <a:pt x="56326" y="118481"/>
                  </a:lnTo>
                  <a:lnTo>
                    <a:pt x="56326" y="118481"/>
                  </a:lnTo>
                  <a:lnTo>
                    <a:pt x="56326" y="120000"/>
                  </a:lnTo>
                  <a:lnTo>
                    <a:pt x="56326" y="120000"/>
                  </a:lnTo>
                  <a:lnTo>
                    <a:pt x="56326" y="120000"/>
                  </a:lnTo>
                  <a:lnTo>
                    <a:pt x="57959" y="120000"/>
                  </a:lnTo>
                  <a:lnTo>
                    <a:pt x="57959" y="118481"/>
                  </a:lnTo>
                  <a:lnTo>
                    <a:pt x="60408" y="118481"/>
                  </a:lnTo>
                  <a:lnTo>
                    <a:pt x="60408" y="116962"/>
                  </a:lnTo>
                  <a:lnTo>
                    <a:pt x="60408" y="116962"/>
                  </a:lnTo>
                  <a:lnTo>
                    <a:pt x="60408" y="116962"/>
                  </a:lnTo>
                  <a:lnTo>
                    <a:pt x="62040" y="116962"/>
                  </a:lnTo>
                  <a:lnTo>
                    <a:pt x="63673" y="116962"/>
                  </a:lnTo>
                  <a:lnTo>
                    <a:pt x="66122" y="116962"/>
                  </a:lnTo>
                  <a:lnTo>
                    <a:pt x="66122" y="116962"/>
                  </a:lnTo>
                  <a:lnTo>
                    <a:pt x="66122" y="116962"/>
                  </a:lnTo>
                  <a:lnTo>
                    <a:pt x="66122" y="118481"/>
                  </a:lnTo>
                  <a:lnTo>
                    <a:pt x="67755" y="118481"/>
                  </a:lnTo>
                  <a:lnTo>
                    <a:pt x="67755" y="118481"/>
                  </a:lnTo>
                  <a:lnTo>
                    <a:pt x="69387" y="118481"/>
                  </a:lnTo>
                  <a:lnTo>
                    <a:pt x="69387" y="118481"/>
                  </a:lnTo>
                  <a:lnTo>
                    <a:pt x="69387" y="118481"/>
                  </a:lnTo>
                  <a:lnTo>
                    <a:pt x="71836" y="118481"/>
                  </a:lnTo>
                  <a:lnTo>
                    <a:pt x="71836" y="116962"/>
                  </a:lnTo>
                  <a:lnTo>
                    <a:pt x="71836" y="116962"/>
                  </a:lnTo>
                  <a:lnTo>
                    <a:pt x="73469" y="116962"/>
                  </a:lnTo>
                  <a:lnTo>
                    <a:pt x="75102" y="116962"/>
                  </a:lnTo>
                  <a:lnTo>
                    <a:pt x="77551" y="114683"/>
                  </a:lnTo>
                  <a:lnTo>
                    <a:pt x="83265" y="114683"/>
                  </a:lnTo>
                  <a:lnTo>
                    <a:pt x="83265" y="114683"/>
                  </a:lnTo>
                  <a:lnTo>
                    <a:pt x="83265" y="113164"/>
                  </a:lnTo>
                  <a:lnTo>
                    <a:pt x="83265" y="113164"/>
                  </a:lnTo>
                  <a:lnTo>
                    <a:pt x="84897" y="113164"/>
                  </a:lnTo>
                  <a:lnTo>
                    <a:pt x="84897" y="113164"/>
                  </a:lnTo>
                  <a:lnTo>
                    <a:pt x="87346" y="114683"/>
                  </a:lnTo>
                  <a:lnTo>
                    <a:pt x="87346" y="114683"/>
                  </a:lnTo>
                  <a:lnTo>
                    <a:pt x="87346" y="114683"/>
                  </a:lnTo>
                  <a:lnTo>
                    <a:pt x="88979" y="114683"/>
                  </a:lnTo>
                  <a:lnTo>
                    <a:pt x="88979" y="114683"/>
                  </a:lnTo>
                  <a:lnTo>
                    <a:pt x="90612" y="114683"/>
                  </a:lnTo>
                  <a:lnTo>
                    <a:pt x="90612" y="114683"/>
                  </a:lnTo>
                  <a:lnTo>
                    <a:pt x="90612" y="114683"/>
                  </a:lnTo>
                  <a:lnTo>
                    <a:pt x="90612" y="116962"/>
                  </a:lnTo>
                  <a:lnTo>
                    <a:pt x="90612" y="116962"/>
                  </a:lnTo>
                  <a:lnTo>
                    <a:pt x="93061" y="116962"/>
                  </a:lnTo>
                  <a:lnTo>
                    <a:pt x="93061" y="116962"/>
                  </a:lnTo>
                  <a:lnTo>
                    <a:pt x="94693" y="116962"/>
                  </a:lnTo>
                  <a:lnTo>
                    <a:pt x="94693" y="116962"/>
                  </a:lnTo>
                  <a:lnTo>
                    <a:pt x="94693" y="114683"/>
                  </a:lnTo>
                  <a:lnTo>
                    <a:pt x="94693" y="114683"/>
                  </a:lnTo>
                  <a:lnTo>
                    <a:pt x="94693" y="113164"/>
                  </a:lnTo>
                  <a:lnTo>
                    <a:pt x="94693" y="113164"/>
                  </a:lnTo>
                  <a:lnTo>
                    <a:pt x="93061" y="113164"/>
                  </a:lnTo>
                  <a:lnTo>
                    <a:pt x="93061" y="113164"/>
                  </a:lnTo>
                  <a:lnTo>
                    <a:pt x="93061" y="113164"/>
                  </a:lnTo>
                  <a:lnTo>
                    <a:pt x="93061" y="110886"/>
                  </a:lnTo>
                  <a:lnTo>
                    <a:pt x="93061" y="110886"/>
                  </a:lnTo>
                  <a:lnTo>
                    <a:pt x="93061" y="109367"/>
                  </a:lnTo>
                  <a:lnTo>
                    <a:pt x="90612" y="107848"/>
                  </a:lnTo>
                  <a:lnTo>
                    <a:pt x="90612" y="107848"/>
                  </a:lnTo>
                  <a:lnTo>
                    <a:pt x="90612" y="105569"/>
                  </a:lnTo>
                  <a:lnTo>
                    <a:pt x="93061" y="105569"/>
                  </a:lnTo>
                  <a:lnTo>
                    <a:pt x="94693" y="104050"/>
                  </a:lnTo>
                  <a:lnTo>
                    <a:pt x="96326" y="104050"/>
                  </a:lnTo>
                  <a:lnTo>
                    <a:pt x="96326" y="104050"/>
                  </a:lnTo>
                  <a:lnTo>
                    <a:pt x="98775" y="104050"/>
                  </a:lnTo>
                  <a:lnTo>
                    <a:pt x="98775" y="104050"/>
                  </a:lnTo>
                  <a:lnTo>
                    <a:pt x="98775" y="102531"/>
                  </a:lnTo>
                  <a:lnTo>
                    <a:pt x="100408" y="100253"/>
                  </a:lnTo>
                  <a:lnTo>
                    <a:pt x="100408" y="100253"/>
                  </a:lnTo>
                  <a:lnTo>
                    <a:pt x="100408" y="100253"/>
                  </a:lnTo>
                  <a:lnTo>
                    <a:pt x="102040" y="100253"/>
                  </a:lnTo>
                  <a:lnTo>
                    <a:pt x="102040" y="100253"/>
                  </a:lnTo>
                  <a:lnTo>
                    <a:pt x="104489" y="100253"/>
                  </a:lnTo>
                  <a:lnTo>
                    <a:pt x="104489" y="100253"/>
                  </a:lnTo>
                  <a:lnTo>
                    <a:pt x="104489" y="98734"/>
                  </a:lnTo>
                  <a:lnTo>
                    <a:pt x="104489" y="98734"/>
                  </a:lnTo>
                  <a:lnTo>
                    <a:pt x="104489" y="96455"/>
                  </a:lnTo>
                  <a:lnTo>
                    <a:pt x="104489" y="96455"/>
                  </a:lnTo>
                  <a:lnTo>
                    <a:pt x="104489" y="96455"/>
                  </a:lnTo>
                  <a:lnTo>
                    <a:pt x="102040" y="94936"/>
                  </a:lnTo>
                  <a:lnTo>
                    <a:pt x="100408" y="93417"/>
                  </a:lnTo>
                  <a:lnTo>
                    <a:pt x="100408" y="93417"/>
                  </a:lnTo>
                  <a:lnTo>
                    <a:pt x="98775" y="93417"/>
                  </a:lnTo>
                  <a:lnTo>
                    <a:pt x="98775" y="93417"/>
                  </a:lnTo>
                  <a:lnTo>
                    <a:pt x="98775" y="93417"/>
                  </a:lnTo>
                  <a:lnTo>
                    <a:pt x="96326" y="91139"/>
                  </a:lnTo>
                  <a:lnTo>
                    <a:pt x="96326" y="91139"/>
                  </a:lnTo>
                  <a:lnTo>
                    <a:pt x="94693" y="91139"/>
                  </a:lnTo>
                  <a:lnTo>
                    <a:pt x="94693" y="89620"/>
                  </a:lnTo>
                  <a:lnTo>
                    <a:pt x="93061" y="88101"/>
                  </a:lnTo>
                  <a:lnTo>
                    <a:pt x="90612" y="88101"/>
                  </a:lnTo>
                  <a:lnTo>
                    <a:pt x="90612" y="88101"/>
                  </a:lnTo>
                  <a:lnTo>
                    <a:pt x="88979" y="85822"/>
                  </a:lnTo>
                  <a:lnTo>
                    <a:pt x="88979" y="85822"/>
                  </a:lnTo>
                  <a:lnTo>
                    <a:pt x="87346" y="84303"/>
                  </a:lnTo>
                  <a:lnTo>
                    <a:pt x="87346" y="82784"/>
                  </a:lnTo>
                  <a:lnTo>
                    <a:pt x="87346" y="82784"/>
                  </a:lnTo>
                  <a:lnTo>
                    <a:pt x="84897" y="82784"/>
                  </a:lnTo>
                  <a:lnTo>
                    <a:pt x="84897" y="82784"/>
                  </a:lnTo>
                  <a:lnTo>
                    <a:pt x="87346" y="80506"/>
                  </a:lnTo>
                  <a:lnTo>
                    <a:pt x="87346" y="80506"/>
                  </a:lnTo>
                  <a:lnTo>
                    <a:pt x="87346" y="80506"/>
                  </a:lnTo>
                  <a:lnTo>
                    <a:pt x="87346" y="78987"/>
                  </a:lnTo>
                  <a:lnTo>
                    <a:pt x="87346" y="78987"/>
                  </a:lnTo>
                  <a:lnTo>
                    <a:pt x="87346" y="78987"/>
                  </a:lnTo>
                  <a:lnTo>
                    <a:pt x="84897" y="76708"/>
                  </a:lnTo>
                  <a:lnTo>
                    <a:pt x="83265" y="76708"/>
                  </a:lnTo>
                  <a:lnTo>
                    <a:pt x="83265" y="75189"/>
                  </a:lnTo>
                  <a:lnTo>
                    <a:pt x="83265" y="75189"/>
                  </a:lnTo>
                  <a:lnTo>
                    <a:pt x="83265" y="75189"/>
                  </a:lnTo>
                  <a:lnTo>
                    <a:pt x="80816" y="73670"/>
                  </a:lnTo>
                  <a:lnTo>
                    <a:pt x="80816" y="73670"/>
                  </a:lnTo>
                  <a:lnTo>
                    <a:pt x="80816" y="73670"/>
                  </a:lnTo>
                  <a:lnTo>
                    <a:pt x="80816" y="73670"/>
                  </a:lnTo>
                  <a:lnTo>
                    <a:pt x="80816" y="73670"/>
                  </a:lnTo>
                  <a:lnTo>
                    <a:pt x="83265" y="73670"/>
                  </a:lnTo>
                  <a:lnTo>
                    <a:pt x="83265" y="73670"/>
                  </a:lnTo>
                  <a:lnTo>
                    <a:pt x="83265" y="75189"/>
                  </a:lnTo>
                  <a:lnTo>
                    <a:pt x="84897" y="75189"/>
                  </a:lnTo>
                  <a:lnTo>
                    <a:pt x="84897" y="73670"/>
                  </a:lnTo>
                  <a:lnTo>
                    <a:pt x="87346" y="71392"/>
                  </a:lnTo>
                  <a:lnTo>
                    <a:pt x="87346" y="71392"/>
                  </a:lnTo>
                  <a:lnTo>
                    <a:pt x="88979" y="71392"/>
                  </a:lnTo>
                  <a:lnTo>
                    <a:pt x="88979" y="71392"/>
                  </a:lnTo>
                  <a:lnTo>
                    <a:pt x="90612" y="71392"/>
                  </a:lnTo>
                  <a:lnTo>
                    <a:pt x="90612" y="71392"/>
                  </a:lnTo>
                  <a:lnTo>
                    <a:pt x="93061" y="71392"/>
                  </a:lnTo>
                  <a:lnTo>
                    <a:pt x="93061" y="71392"/>
                  </a:lnTo>
                  <a:lnTo>
                    <a:pt x="93061" y="69873"/>
                  </a:lnTo>
                  <a:lnTo>
                    <a:pt x="93061" y="69873"/>
                  </a:lnTo>
                  <a:lnTo>
                    <a:pt x="96326" y="69873"/>
                  </a:lnTo>
                  <a:lnTo>
                    <a:pt x="96326" y="68354"/>
                  </a:lnTo>
                  <a:lnTo>
                    <a:pt x="96326" y="68354"/>
                  </a:lnTo>
                  <a:lnTo>
                    <a:pt x="96326" y="68354"/>
                  </a:lnTo>
                  <a:lnTo>
                    <a:pt x="98775" y="68354"/>
                  </a:lnTo>
                  <a:lnTo>
                    <a:pt x="98775" y="68354"/>
                  </a:lnTo>
                  <a:lnTo>
                    <a:pt x="98775" y="68354"/>
                  </a:lnTo>
                  <a:lnTo>
                    <a:pt x="98775" y="68354"/>
                  </a:lnTo>
                  <a:lnTo>
                    <a:pt x="100408" y="68354"/>
                  </a:lnTo>
                  <a:lnTo>
                    <a:pt x="100408" y="66075"/>
                  </a:lnTo>
                  <a:lnTo>
                    <a:pt x="100408" y="66075"/>
                  </a:lnTo>
                  <a:lnTo>
                    <a:pt x="102040" y="66075"/>
                  </a:lnTo>
                  <a:lnTo>
                    <a:pt x="104489" y="66075"/>
                  </a:lnTo>
                  <a:lnTo>
                    <a:pt x="106122" y="64556"/>
                  </a:lnTo>
                  <a:lnTo>
                    <a:pt x="107755" y="64556"/>
                  </a:lnTo>
                  <a:lnTo>
                    <a:pt x="110204" y="64556"/>
                  </a:lnTo>
                  <a:lnTo>
                    <a:pt x="111836" y="64556"/>
                  </a:lnTo>
                  <a:lnTo>
                    <a:pt x="111836" y="63037"/>
                  </a:lnTo>
                  <a:lnTo>
                    <a:pt x="110204" y="63037"/>
                  </a:lnTo>
                  <a:lnTo>
                    <a:pt x="110204" y="63037"/>
                  </a:lnTo>
                  <a:lnTo>
                    <a:pt x="110204" y="63037"/>
                  </a:lnTo>
                  <a:lnTo>
                    <a:pt x="110204" y="60759"/>
                  </a:lnTo>
                  <a:lnTo>
                    <a:pt x="110204" y="60759"/>
                  </a:lnTo>
                  <a:lnTo>
                    <a:pt x="111836" y="60759"/>
                  </a:lnTo>
                  <a:lnTo>
                    <a:pt x="114285" y="63037"/>
                  </a:lnTo>
                  <a:lnTo>
                    <a:pt x="114285" y="63037"/>
                  </a:lnTo>
                  <a:lnTo>
                    <a:pt x="114285" y="63037"/>
                  </a:lnTo>
                  <a:lnTo>
                    <a:pt x="114285" y="63037"/>
                  </a:lnTo>
                  <a:lnTo>
                    <a:pt x="114285" y="63037"/>
                  </a:lnTo>
                  <a:lnTo>
                    <a:pt x="114285" y="64556"/>
                  </a:lnTo>
                  <a:lnTo>
                    <a:pt x="115918" y="64556"/>
                  </a:lnTo>
                  <a:lnTo>
                    <a:pt x="115918" y="64556"/>
                  </a:lnTo>
                  <a:lnTo>
                    <a:pt x="115918" y="64556"/>
                  </a:lnTo>
                  <a:lnTo>
                    <a:pt x="117551" y="64556"/>
                  </a:lnTo>
                  <a:lnTo>
                    <a:pt x="117551" y="64556"/>
                  </a:lnTo>
                  <a:lnTo>
                    <a:pt x="117551" y="64556"/>
                  </a:lnTo>
                  <a:lnTo>
                    <a:pt x="117551" y="63037"/>
                  </a:lnTo>
                  <a:lnTo>
                    <a:pt x="120000" y="60759"/>
                  </a:lnTo>
                  <a:lnTo>
                    <a:pt x="120000" y="59240"/>
                  </a:lnTo>
                  <a:lnTo>
                    <a:pt x="120000" y="55443"/>
                  </a:lnTo>
                  <a:close/>
                  <a:moveTo>
                    <a:pt x="33469" y="3797"/>
                  </a:moveTo>
                  <a:lnTo>
                    <a:pt x="36734" y="3797"/>
                  </a:lnTo>
                  <a:lnTo>
                    <a:pt x="36734" y="3797"/>
                  </a:lnTo>
                  <a:lnTo>
                    <a:pt x="33469" y="1518"/>
                  </a:lnTo>
                  <a:lnTo>
                    <a:pt x="33469" y="1518"/>
                  </a:lnTo>
                  <a:lnTo>
                    <a:pt x="35102" y="1518"/>
                  </a:lnTo>
                  <a:lnTo>
                    <a:pt x="35102" y="1518"/>
                  </a:lnTo>
                  <a:lnTo>
                    <a:pt x="35102" y="0"/>
                  </a:lnTo>
                  <a:lnTo>
                    <a:pt x="35102" y="0"/>
                  </a:lnTo>
                  <a:lnTo>
                    <a:pt x="33469" y="1518"/>
                  </a:lnTo>
                  <a:lnTo>
                    <a:pt x="33469" y="5316"/>
                  </a:lnTo>
                  <a:lnTo>
                    <a:pt x="33469" y="3797"/>
                  </a:lnTo>
                  <a:lnTo>
                    <a:pt x="33469" y="3797"/>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85" name="Shape 485"/>
            <p:cNvSpPr/>
            <p:nvPr/>
          </p:nvSpPr>
          <p:spPr>
            <a:xfrm>
              <a:off x="4346" y="1890"/>
              <a:ext cx="0" cy="0"/>
            </a:xfrm>
            <a:custGeom>
              <a:avLst/>
              <a:gdLst/>
              <a:ahLst/>
              <a:cxnLst/>
              <a:rect l="0" t="0" r="0" b="0"/>
              <a:pathLst>
                <a:path w="120000" h="120000" extrusionOk="0">
                  <a:moveTo>
                    <a:pt x="120000" y="103846"/>
                  </a:moveTo>
                  <a:lnTo>
                    <a:pt x="116949" y="103846"/>
                  </a:lnTo>
                  <a:lnTo>
                    <a:pt x="114915" y="99230"/>
                  </a:lnTo>
                  <a:lnTo>
                    <a:pt x="112881" y="99230"/>
                  </a:lnTo>
                  <a:lnTo>
                    <a:pt x="112881" y="92307"/>
                  </a:lnTo>
                  <a:lnTo>
                    <a:pt x="109830" y="92307"/>
                  </a:lnTo>
                  <a:lnTo>
                    <a:pt x="109830" y="92307"/>
                  </a:lnTo>
                  <a:lnTo>
                    <a:pt x="109830" y="92307"/>
                  </a:lnTo>
                  <a:lnTo>
                    <a:pt x="109830" y="87692"/>
                  </a:lnTo>
                  <a:lnTo>
                    <a:pt x="109830" y="87692"/>
                  </a:lnTo>
                  <a:lnTo>
                    <a:pt x="112881" y="87692"/>
                  </a:lnTo>
                  <a:lnTo>
                    <a:pt x="112881" y="87692"/>
                  </a:lnTo>
                  <a:lnTo>
                    <a:pt x="112881" y="83076"/>
                  </a:lnTo>
                  <a:lnTo>
                    <a:pt x="114915" y="83076"/>
                  </a:lnTo>
                  <a:lnTo>
                    <a:pt x="114915" y="76153"/>
                  </a:lnTo>
                  <a:lnTo>
                    <a:pt x="114915" y="76153"/>
                  </a:lnTo>
                  <a:lnTo>
                    <a:pt x="109830" y="76153"/>
                  </a:lnTo>
                  <a:lnTo>
                    <a:pt x="109830" y="76153"/>
                  </a:lnTo>
                  <a:lnTo>
                    <a:pt x="109830" y="76153"/>
                  </a:lnTo>
                  <a:lnTo>
                    <a:pt x="107796" y="71538"/>
                  </a:lnTo>
                  <a:lnTo>
                    <a:pt x="105762" y="71538"/>
                  </a:lnTo>
                  <a:lnTo>
                    <a:pt x="105762" y="71538"/>
                  </a:lnTo>
                  <a:lnTo>
                    <a:pt x="102711" y="71538"/>
                  </a:lnTo>
                  <a:lnTo>
                    <a:pt x="100677" y="66923"/>
                  </a:lnTo>
                  <a:lnTo>
                    <a:pt x="100677" y="66923"/>
                  </a:lnTo>
                  <a:lnTo>
                    <a:pt x="100677" y="60000"/>
                  </a:lnTo>
                  <a:lnTo>
                    <a:pt x="100677" y="55384"/>
                  </a:lnTo>
                  <a:lnTo>
                    <a:pt x="100677" y="50769"/>
                  </a:lnTo>
                  <a:lnTo>
                    <a:pt x="100677" y="50769"/>
                  </a:lnTo>
                  <a:lnTo>
                    <a:pt x="97627" y="50769"/>
                  </a:lnTo>
                  <a:lnTo>
                    <a:pt x="97627" y="50769"/>
                  </a:lnTo>
                  <a:lnTo>
                    <a:pt x="93559" y="50769"/>
                  </a:lnTo>
                  <a:lnTo>
                    <a:pt x="90508" y="43846"/>
                  </a:lnTo>
                  <a:lnTo>
                    <a:pt x="90508" y="43846"/>
                  </a:lnTo>
                  <a:lnTo>
                    <a:pt x="88474" y="43846"/>
                  </a:lnTo>
                  <a:lnTo>
                    <a:pt x="86440" y="39230"/>
                  </a:lnTo>
                  <a:lnTo>
                    <a:pt x="83389" y="39230"/>
                  </a:lnTo>
                  <a:lnTo>
                    <a:pt x="83389" y="39230"/>
                  </a:lnTo>
                  <a:lnTo>
                    <a:pt x="83389" y="43846"/>
                  </a:lnTo>
                  <a:lnTo>
                    <a:pt x="81355" y="39230"/>
                  </a:lnTo>
                  <a:lnTo>
                    <a:pt x="81355" y="39230"/>
                  </a:lnTo>
                  <a:lnTo>
                    <a:pt x="79322" y="39230"/>
                  </a:lnTo>
                  <a:lnTo>
                    <a:pt x="79322" y="39230"/>
                  </a:lnTo>
                  <a:lnTo>
                    <a:pt x="76271" y="39230"/>
                  </a:lnTo>
                  <a:lnTo>
                    <a:pt x="74237" y="43846"/>
                  </a:lnTo>
                  <a:lnTo>
                    <a:pt x="72203" y="43846"/>
                  </a:lnTo>
                  <a:lnTo>
                    <a:pt x="69152" y="43846"/>
                  </a:lnTo>
                  <a:lnTo>
                    <a:pt x="69152" y="50769"/>
                  </a:lnTo>
                  <a:lnTo>
                    <a:pt x="67118" y="50769"/>
                  </a:lnTo>
                  <a:lnTo>
                    <a:pt x="67118" y="43846"/>
                  </a:lnTo>
                  <a:lnTo>
                    <a:pt x="64067" y="43846"/>
                  </a:lnTo>
                  <a:lnTo>
                    <a:pt x="64067" y="43846"/>
                  </a:lnTo>
                  <a:lnTo>
                    <a:pt x="67118" y="39230"/>
                  </a:lnTo>
                  <a:lnTo>
                    <a:pt x="67118" y="39230"/>
                  </a:lnTo>
                  <a:lnTo>
                    <a:pt x="67118" y="39230"/>
                  </a:lnTo>
                  <a:lnTo>
                    <a:pt x="62033" y="39230"/>
                  </a:lnTo>
                  <a:lnTo>
                    <a:pt x="62033" y="32307"/>
                  </a:lnTo>
                  <a:lnTo>
                    <a:pt x="56949" y="32307"/>
                  </a:lnTo>
                  <a:lnTo>
                    <a:pt x="52881" y="27692"/>
                  </a:lnTo>
                  <a:lnTo>
                    <a:pt x="52881" y="23076"/>
                  </a:lnTo>
                  <a:lnTo>
                    <a:pt x="49830" y="23076"/>
                  </a:lnTo>
                  <a:lnTo>
                    <a:pt x="49830" y="23076"/>
                  </a:lnTo>
                  <a:lnTo>
                    <a:pt x="47796" y="16153"/>
                  </a:lnTo>
                  <a:lnTo>
                    <a:pt x="45762" y="23076"/>
                  </a:lnTo>
                  <a:lnTo>
                    <a:pt x="42711" y="23076"/>
                  </a:lnTo>
                  <a:lnTo>
                    <a:pt x="40677" y="16153"/>
                  </a:lnTo>
                  <a:lnTo>
                    <a:pt x="38644" y="16153"/>
                  </a:lnTo>
                  <a:lnTo>
                    <a:pt x="35593" y="16153"/>
                  </a:lnTo>
                  <a:lnTo>
                    <a:pt x="35593" y="16153"/>
                  </a:lnTo>
                  <a:lnTo>
                    <a:pt x="35593" y="16153"/>
                  </a:lnTo>
                  <a:lnTo>
                    <a:pt x="26440" y="16153"/>
                  </a:lnTo>
                  <a:lnTo>
                    <a:pt x="23389" y="16153"/>
                  </a:lnTo>
                  <a:lnTo>
                    <a:pt x="21355" y="11538"/>
                  </a:lnTo>
                  <a:lnTo>
                    <a:pt x="16271" y="11538"/>
                  </a:lnTo>
                  <a:lnTo>
                    <a:pt x="14237" y="6923"/>
                  </a:lnTo>
                  <a:lnTo>
                    <a:pt x="12203" y="6923"/>
                  </a:lnTo>
                  <a:lnTo>
                    <a:pt x="9152" y="0"/>
                  </a:lnTo>
                  <a:lnTo>
                    <a:pt x="7118" y="0"/>
                  </a:lnTo>
                  <a:lnTo>
                    <a:pt x="5084" y="0"/>
                  </a:lnTo>
                  <a:lnTo>
                    <a:pt x="2033" y="0"/>
                  </a:lnTo>
                  <a:lnTo>
                    <a:pt x="0" y="0"/>
                  </a:lnTo>
                  <a:lnTo>
                    <a:pt x="0" y="6923"/>
                  </a:lnTo>
                  <a:lnTo>
                    <a:pt x="0" y="6923"/>
                  </a:lnTo>
                  <a:lnTo>
                    <a:pt x="2033" y="11538"/>
                  </a:lnTo>
                  <a:lnTo>
                    <a:pt x="7118" y="23076"/>
                  </a:lnTo>
                  <a:lnTo>
                    <a:pt x="9152" y="23076"/>
                  </a:lnTo>
                  <a:lnTo>
                    <a:pt x="14237" y="23076"/>
                  </a:lnTo>
                  <a:lnTo>
                    <a:pt x="19322" y="27692"/>
                  </a:lnTo>
                  <a:lnTo>
                    <a:pt x="19322" y="32307"/>
                  </a:lnTo>
                  <a:lnTo>
                    <a:pt x="26440" y="39230"/>
                  </a:lnTo>
                  <a:lnTo>
                    <a:pt x="26440" y="43846"/>
                  </a:lnTo>
                  <a:lnTo>
                    <a:pt x="28474" y="55384"/>
                  </a:lnTo>
                  <a:lnTo>
                    <a:pt x="30508" y="66923"/>
                  </a:lnTo>
                  <a:lnTo>
                    <a:pt x="33559" y="76153"/>
                  </a:lnTo>
                  <a:lnTo>
                    <a:pt x="33559" y="83076"/>
                  </a:lnTo>
                  <a:lnTo>
                    <a:pt x="33559" y="83076"/>
                  </a:lnTo>
                  <a:lnTo>
                    <a:pt x="33559" y="87692"/>
                  </a:lnTo>
                  <a:lnTo>
                    <a:pt x="30508" y="99230"/>
                  </a:lnTo>
                  <a:lnTo>
                    <a:pt x="30508" y="99230"/>
                  </a:lnTo>
                  <a:lnTo>
                    <a:pt x="33559" y="99230"/>
                  </a:lnTo>
                  <a:lnTo>
                    <a:pt x="35593" y="99230"/>
                  </a:lnTo>
                  <a:lnTo>
                    <a:pt x="35593" y="99230"/>
                  </a:lnTo>
                  <a:lnTo>
                    <a:pt x="38644" y="99230"/>
                  </a:lnTo>
                  <a:lnTo>
                    <a:pt x="40677" y="99230"/>
                  </a:lnTo>
                  <a:lnTo>
                    <a:pt x="42711" y="99230"/>
                  </a:lnTo>
                  <a:lnTo>
                    <a:pt x="42711" y="99230"/>
                  </a:lnTo>
                  <a:lnTo>
                    <a:pt x="45762" y="99230"/>
                  </a:lnTo>
                  <a:lnTo>
                    <a:pt x="47796" y="99230"/>
                  </a:lnTo>
                  <a:lnTo>
                    <a:pt x="47796" y="99230"/>
                  </a:lnTo>
                  <a:lnTo>
                    <a:pt x="47796" y="92307"/>
                  </a:lnTo>
                  <a:lnTo>
                    <a:pt x="49830" y="92307"/>
                  </a:lnTo>
                  <a:lnTo>
                    <a:pt x="49830" y="92307"/>
                  </a:lnTo>
                  <a:lnTo>
                    <a:pt x="49830" y="92307"/>
                  </a:lnTo>
                  <a:lnTo>
                    <a:pt x="52881" y="92307"/>
                  </a:lnTo>
                  <a:lnTo>
                    <a:pt x="52881" y="92307"/>
                  </a:lnTo>
                  <a:lnTo>
                    <a:pt x="52881" y="99230"/>
                  </a:lnTo>
                  <a:lnTo>
                    <a:pt x="54915" y="99230"/>
                  </a:lnTo>
                  <a:lnTo>
                    <a:pt x="56949" y="103846"/>
                  </a:lnTo>
                  <a:lnTo>
                    <a:pt x="60000" y="110769"/>
                  </a:lnTo>
                  <a:lnTo>
                    <a:pt x="60000" y="110769"/>
                  </a:lnTo>
                  <a:lnTo>
                    <a:pt x="60000" y="110769"/>
                  </a:lnTo>
                  <a:lnTo>
                    <a:pt x="60000" y="110769"/>
                  </a:lnTo>
                  <a:lnTo>
                    <a:pt x="60000" y="110769"/>
                  </a:lnTo>
                  <a:lnTo>
                    <a:pt x="62033" y="115384"/>
                  </a:lnTo>
                  <a:lnTo>
                    <a:pt x="64067" y="115384"/>
                  </a:lnTo>
                  <a:lnTo>
                    <a:pt x="64067" y="115384"/>
                  </a:lnTo>
                  <a:lnTo>
                    <a:pt x="64067" y="115384"/>
                  </a:lnTo>
                  <a:lnTo>
                    <a:pt x="64067" y="115384"/>
                  </a:lnTo>
                  <a:lnTo>
                    <a:pt x="64067" y="115384"/>
                  </a:lnTo>
                  <a:lnTo>
                    <a:pt x="67118" y="115384"/>
                  </a:lnTo>
                  <a:lnTo>
                    <a:pt x="69152" y="115384"/>
                  </a:lnTo>
                  <a:lnTo>
                    <a:pt x="72203" y="115384"/>
                  </a:lnTo>
                  <a:lnTo>
                    <a:pt x="74237" y="115384"/>
                  </a:lnTo>
                  <a:lnTo>
                    <a:pt x="76271" y="115384"/>
                  </a:lnTo>
                  <a:lnTo>
                    <a:pt x="76271" y="110769"/>
                  </a:lnTo>
                  <a:lnTo>
                    <a:pt x="79322" y="110769"/>
                  </a:lnTo>
                  <a:lnTo>
                    <a:pt x="83389" y="115384"/>
                  </a:lnTo>
                  <a:lnTo>
                    <a:pt x="83389" y="110769"/>
                  </a:lnTo>
                  <a:lnTo>
                    <a:pt x="88474" y="110769"/>
                  </a:lnTo>
                  <a:lnTo>
                    <a:pt x="88474" y="110769"/>
                  </a:lnTo>
                  <a:lnTo>
                    <a:pt x="88474" y="110769"/>
                  </a:lnTo>
                  <a:lnTo>
                    <a:pt x="88474" y="110769"/>
                  </a:lnTo>
                  <a:lnTo>
                    <a:pt x="90508" y="110769"/>
                  </a:lnTo>
                  <a:lnTo>
                    <a:pt x="90508" y="110769"/>
                  </a:lnTo>
                  <a:lnTo>
                    <a:pt x="95593" y="103846"/>
                  </a:lnTo>
                  <a:lnTo>
                    <a:pt x="95593" y="99230"/>
                  </a:lnTo>
                  <a:lnTo>
                    <a:pt x="97627" y="103846"/>
                  </a:lnTo>
                  <a:lnTo>
                    <a:pt x="102711" y="103846"/>
                  </a:lnTo>
                  <a:lnTo>
                    <a:pt x="102711" y="110769"/>
                  </a:lnTo>
                  <a:lnTo>
                    <a:pt x="105762" y="110769"/>
                  </a:lnTo>
                  <a:lnTo>
                    <a:pt x="105762" y="110769"/>
                  </a:lnTo>
                  <a:lnTo>
                    <a:pt x="107796" y="115384"/>
                  </a:lnTo>
                  <a:lnTo>
                    <a:pt x="109830" y="115384"/>
                  </a:lnTo>
                  <a:lnTo>
                    <a:pt x="109830" y="115384"/>
                  </a:lnTo>
                  <a:lnTo>
                    <a:pt x="112881" y="115384"/>
                  </a:lnTo>
                  <a:lnTo>
                    <a:pt x="114915" y="115384"/>
                  </a:lnTo>
                  <a:lnTo>
                    <a:pt x="114915" y="115384"/>
                  </a:lnTo>
                  <a:lnTo>
                    <a:pt x="116949" y="120000"/>
                  </a:lnTo>
                  <a:lnTo>
                    <a:pt x="116949" y="120000"/>
                  </a:lnTo>
                  <a:lnTo>
                    <a:pt x="120000" y="115384"/>
                  </a:lnTo>
                  <a:lnTo>
                    <a:pt x="120000" y="115384"/>
                  </a:lnTo>
                  <a:lnTo>
                    <a:pt x="120000" y="110769"/>
                  </a:lnTo>
                  <a:lnTo>
                    <a:pt x="120000" y="110769"/>
                  </a:lnTo>
                  <a:lnTo>
                    <a:pt x="120000" y="103846"/>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86" name="Shape 486"/>
            <p:cNvSpPr/>
            <p:nvPr/>
          </p:nvSpPr>
          <p:spPr>
            <a:xfrm>
              <a:off x="3343" y="2517"/>
              <a:ext cx="0" cy="0"/>
            </a:xfrm>
            <a:custGeom>
              <a:avLst/>
              <a:gdLst/>
              <a:ahLst/>
              <a:cxnLst/>
              <a:rect l="0" t="0" r="0" b="0"/>
              <a:pathLst>
                <a:path w="120000" h="120000" extrusionOk="0">
                  <a:moveTo>
                    <a:pt x="120000" y="59999"/>
                  </a:moveTo>
                  <a:lnTo>
                    <a:pt x="115555" y="42857"/>
                  </a:lnTo>
                  <a:lnTo>
                    <a:pt x="111111" y="42857"/>
                  </a:lnTo>
                  <a:lnTo>
                    <a:pt x="111111" y="42857"/>
                  </a:lnTo>
                  <a:lnTo>
                    <a:pt x="104444" y="59999"/>
                  </a:lnTo>
                  <a:lnTo>
                    <a:pt x="104444" y="59999"/>
                  </a:lnTo>
                  <a:lnTo>
                    <a:pt x="100000" y="42857"/>
                  </a:lnTo>
                  <a:lnTo>
                    <a:pt x="95555" y="42857"/>
                  </a:lnTo>
                  <a:lnTo>
                    <a:pt x="95555" y="17142"/>
                  </a:lnTo>
                  <a:lnTo>
                    <a:pt x="88888" y="17142"/>
                  </a:lnTo>
                  <a:lnTo>
                    <a:pt x="84444" y="17142"/>
                  </a:lnTo>
                  <a:lnTo>
                    <a:pt x="80000" y="0"/>
                  </a:lnTo>
                  <a:lnTo>
                    <a:pt x="73333" y="0"/>
                  </a:lnTo>
                  <a:lnTo>
                    <a:pt x="68888" y="0"/>
                  </a:lnTo>
                  <a:lnTo>
                    <a:pt x="62222" y="0"/>
                  </a:lnTo>
                  <a:lnTo>
                    <a:pt x="57777" y="0"/>
                  </a:lnTo>
                  <a:lnTo>
                    <a:pt x="53333" y="42857"/>
                  </a:lnTo>
                  <a:lnTo>
                    <a:pt x="46666" y="42857"/>
                  </a:lnTo>
                  <a:lnTo>
                    <a:pt x="31111" y="42857"/>
                  </a:lnTo>
                  <a:lnTo>
                    <a:pt x="22222" y="42857"/>
                  </a:lnTo>
                  <a:lnTo>
                    <a:pt x="11111" y="42857"/>
                  </a:lnTo>
                  <a:lnTo>
                    <a:pt x="11111" y="59999"/>
                  </a:lnTo>
                  <a:lnTo>
                    <a:pt x="15555" y="77142"/>
                  </a:lnTo>
                  <a:lnTo>
                    <a:pt x="22222" y="77142"/>
                  </a:lnTo>
                  <a:lnTo>
                    <a:pt x="26666" y="59999"/>
                  </a:lnTo>
                  <a:lnTo>
                    <a:pt x="42222" y="59999"/>
                  </a:lnTo>
                  <a:lnTo>
                    <a:pt x="53333" y="42857"/>
                  </a:lnTo>
                  <a:lnTo>
                    <a:pt x="57777" y="59999"/>
                  </a:lnTo>
                  <a:lnTo>
                    <a:pt x="57777" y="59999"/>
                  </a:lnTo>
                  <a:lnTo>
                    <a:pt x="57777" y="59999"/>
                  </a:lnTo>
                  <a:lnTo>
                    <a:pt x="46666" y="59999"/>
                  </a:lnTo>
                  <a:lnTo>
                    <a:pt x="42222" y="59999"/>
                  </a:lnTo>
                  <a:lnTo>
                    <a:pt x="37777" y="59999"/>
                  </a:lnTo>
                  <a:lnTo>
                    <a:pt x="26666" y="77142"/>
                  </a:lnTo>
                  <a:lnTo>
                    <a:pt x="26666" y="77142"/>
                  </a:lnTo>
                  <a:lnTo>
                    <a:pt x="26666" y="77142"/>
                  </a:lnTo>
                  <a:lnTo>
                    <a:pt x="22222" y="77142"/>
                  </a:lnTo>
                  <a:lnTo>
                    <a:pt x="15555" y="102857"/>
                  </a:lnTo>
                  <a:lnTo>
                    <a:pt x="11111" y="77142"/>
                  </a:lnTo>
                  <a:lnTo>
                    <a:pt x="11111" y="77142"/>
                  </a:lnTo>
                  <a:lnTo>
                    <a:pt x="11111" y="59999"/>
                  </a:lnTo>
                  <a:lnTo>
                    <a:pt x="6666" y="59999"/>
                  </a:lnTo>
                  <a:lnTo>
                    <a:pt x="6666" y="59999"/>
                  </a:lnTo>
                  <a:lnTo>
                    <a:pt x="0" y="77142"/>
                  </a:lnTo>
                  <a:lnTo>
                    <a:pt x="0" y="119999"/>
                  </a:lnTo>
                  <a:lnTo>
                    <a:pt x="0" y="119999"/>
                  </a:lnTo>
                  <a:lnTo>
                    <a:pt x="6666" y="119999"/>
                  </a:lnTo>
                  <a:lnTo>
                    <a:pt x="6666" y="119999"/>
                  </a:lnTo>
                  <a:lnTo>
                    <a:pt x="15555" y="119999"/>
                  </a:lnTo>
                  <a:lnTo>
                    <a:pt x="26666" y="119999"/>
                  </a:lnTo>
                  <a:lnTo>
                    <a:pt x="31111" y="119999"/>
                  </a:lnTo>
                  <a:lnTo>
                    <a:pt x="42222" y="119999"/>
                  </a:lnTo>
                  <a:lnTo>
                    <a:pt x="42222" y="77142"/>
                  </a:lnTo>
                  <a:lnTo>
                    <a:pt x="42222" y="77142"/>
                  </a:lnTo>
                  <a:lnTo>
                    <a:pt x="46666" y="77142"/>
                  </a:lnTo>
                  <a:lnTo>
                    <a:pt x="53333" y="77142"/>
                  </a:lnTo>
                  <a:lnTo>
                    <a:pt x="62222" y="59999"/>
                  </a:lnTo>
                  <a:lnTo>
                    <a:pt x="62222" y="59999"/>
                  </a:lnTo>
                  <a:lnTo>
                    <a:pt x="68888" y="59999"/>
                  </a:lnTo>
                  <a:lnTo>
                    <a:pt x="68888" y="42857"/>
                  </a:lnTo>
                  <a:lnTo>
                    <a:pt x="68888" y="42857"/>
                  </a:lnTo>
                  <a:lnTo>
                    <a:pt x="73333" y="42857"/>
                  </a:lnTo>
                  <a:lnTo>
                    <a:pt x="73333" y="42857"/>
                  </a:lnTo>
                  <a:lnTo>
                    <a:pt x="80000" y="59999"/>
                  </a:lnTo>
                  <a:lnTo>
                    <a:pt x="80000" y="59999"/>
                  </a:lnTo>
                  <a:lnTo>
                    <a:pt x="84444" y="59999"/>
                  </a:lnTo>
                  <a:lnTo>
                    <a:pt x="88888" y="77142"/>
                  </a:lnTo>
                  <a:lnTo>
                    <a:pt x="100000" y="102857"/>
                  </a:lnTo>
                  <a:lnTo>
                    <a:pt x="104444" y="102857"/>
                  </a:lnTo>
                  <a:lnTo>
                    <a:pt x="115555" y="77142"/>
                  </a:lnTo>
                  <a:lnTo>
                    <a:pt x="120000" y="77142"/>
                  </a:lnTo>
                  <a:lnTo>
                    <a:pt x="120000" y="59999"/>
                  </a:lnTo>
                  <a:lnTo>
                    <a:pt x="120000" y="59999"/>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87" name="Shape 487"/>
            <p:cNvSpPr/>
            <p:nvPr/>
          </p:nvSpPr>
          <p:spPr>
            <a:xfrm>
              <a:off x="3816" y="2758"/>
              <a:ext cx="0" cy="0"/>
            </a:xfrm>
            <a:custGeom>
              <a:avLst/>
              <a:gdLst/>
              <a:ahLst/>
              <a:cxnLst/>
              <a:rect l="0" t="0" r="0" b="0"/>
              <a:pathLst>
                <a:path w="120000" h="120000" extrusionOk="0">
                  <a:moveTo>
                    <a:pt x="120000" y="66363"/>
                  </a:moveTo>
                  <a:lnTo>
                    <a:pt x="120000" y="64545"/>
                  </a:lnTo>
                  <a:lnTo>
                    <a:pt x="120000" y="60000"/>
                  </a:lnTo>
                  <a:lnTo>
                    <a:pt x="120000" y="58181"/>
                  </a:lnTo>
                  <a:lnTo>
                    <a:pt x="120000" y="55454"/>
                  </a:lnTo>
                  <a:lnTo>
                    <a:pt x="120000" y="55454"/>
                  </a:lnTo>
                  <a:lnTo>
                    <a:pt x="116603" y="53636"/>
                  </a:lnTo>
                  <a:lnTo>
                    <a:pt x="114339" y="53636"/>
                  </a:lnTo>
                  <a:lnTo>
                    <a:pt x="114339" y="51818"/>
                  </a:lnTo>
                  <a:lnTo>
                    <a:pt x="112075" y="51818"/>
                  </a:lnTo>
                  <a:lnTo>
                    <a:pt x="112075" y="49090"/>
                  </a:lnTo>
                  <a:lnTo>
                    <a:pt x="108679" y="49090"/>
                  </a:lnTo>
                  <a:lnTo>
                    <a:pt x="106415" y="49090"/>
                  </a:lnTo>
                  <a:lnTo>
                    <a:pt x="106415" y="47272"/>
                  </a:lnTo>
                  <a:lnTo>
                    <a:pt x="108679" y="42727"/>
                  </a:lnTo>
                  <a:lnTo>
                    <a:pt x="106415" y="40909"/>
                  </a:lnTo>
                  <a:lnTo>
                    <a:pt x="108679" y="39090"/>
                  </a:lnTo>
                  <a:lnTo>
                    <a:pt x="108679" y="39090"/>
                  </a:lnTo>
                  <a:lnTo>
                    <a:pt x="112075" y="36363"/>
                  </a:lnTo>
                  <a:lnTo>
                    <a:pt x="112075" y="34545"/>
                  </a:lnTo>
                  <a:lnTo>
                    <a:pt x="112075" y="34545"/>
                  </a:lnTo>
                  <a:lnTo>
                    <a:pt x="114339" y="34545"/>
                  </a:lnTo>
                  <a:lnTo>
                    <a:pt x="116603" y="34545"/>
                  </a:lnTo>
                  <a:lnTo>
                    <a:pt x="116603" y="31818"/>
                  </a:lnTo>
                  <a:lnTo>
                    <a:pt x="116603" y="31818"/>
                  </a:lnTo>
                  <a:lnTo>
                    <a:pt x="116603" y="30000"/>
                  </a:lnTo>
                  <a:lnTo>
                    <a:pt x="120000" y="30000"/>
                  </a:lnTo>
                  <a:lnTo>
                    <a:pt x="120000" y="28181"/>
                  </a:lnTo>
                  <a:lnTo>
                    <a:pt x="120000" y="28181"/>
                  </a:lnTo>
                  <a:lnTo>
                    <a:pt x="116603" y="25454"/>
                  </a:lnTo>
                  <a:lnTo>
                    <a:pt x="116603" y="23636"/>
                  </a:lnTo>
                  <a:lnTo>
                    <a:pt x="116603" y="23636"/>
                  </a:lnTo>
                  <a:lnTo>
                    <a:pt x="114339" y="19090"/>
                  </a:lnTo>
                  <a:lnTo>
                    <a:pt x="114339" y="19090"/>
                  </a:lnTo>
                  <a:lnTo>
                    <a:pt x="112075" y="19090"/>
                  </a:lnTo>
                  <a:lnTo>
                    <a:pt x="106415" y="17272"/>
                  </a:lnTo>
                  <a:lnTo>
                    <a:pt x="103018" y="19090"/>
                  </a:lnTo>
                  <a:lnTo>
                    <a:pt x="100754" y="19090"/>
                  </a:lnTo>
                  <a:lnTo>
                    <a:pt x="95094" y="21818"/>
                  </a:lnTo>
                  <a:lnTo>
                    <a:pt x="95094" y="21818"/>
                  </a:lnTo>
                  <a:lnTo>
                    <a:pt x="92830" y="21818"/>
                  </a:lnTo>
                  <a:lnTo>
                    <a:pt x="92830" y="21818"/>
                  </a:lnTo>
                  <a:lnTo>
                    <a:pt x="92830" y="19090"/>
                  </a:lnTo>
                  <a:lnTo>
                    <a:pt x="92830" y="19090"/>
                  </a:lnTo>
                  <a:lnTo>
                    <a:pt x="92830" y="17272"/>
                  </a:lnTo>
                  <a:lnTo>
                    <a:pt x="92830" y="15454"/>
                  </a:lnTo>
                  <a:lnTo>
                    <a:pt x="92830" y="12727"/>
                  </a:lnTo>
                  <a:lnTo>
                    <a:pt x="92830" y="10909"/>
                  </a:lnTo>
                  <a:lnTo>
                    <a:pt x="92830" y="8181"/>
                  </a:lnTo>
                  <a:lnTo>
                    <a:pt x="95094" y="4545"/>
                  </a:lnTo>
                  <a:lnTo>
                    <a:pt x="95094" y="4545"/>
                  </a:lnTo>
                  <a:lnTo>
                    <a:pt x="95094" y="1818"/>
                  </a:lnTo>
                  <a:lnTo>
                    <a:pt x="92830" y="1818"/>
                  </a:lnTo>
                  <a:lnTo>
                    <a:pt x="92830" y="1818"/>
                  </a:lnTo>
                  <a:lnTo>
                    <a:pt x="84905" y="1818"/>
                  </a:lnTo>
                  <a:lnTo>
                    <a:pt x="82641" y="1818"/>
                  </a:lnTo>
                  <a:lnTo>
                    <a:pt x="79245" y="1818"/>
                  </a:lnTo>
                  <a:lnTo>
                    <a:pt x="79245" y="1818"/>
                  </a:lnTo>
                  <a:lnTo>
                    <a:pt x="74716" y="1818"/>
                  </a:lnTo>
                  <a:lnTo>
                    <a:pt x="71320" y="1818"/>
                  </a:lnTo>
                  <a:lnTo>
                    <a:pt x="69056" y="1818"/>
                  </a:lnTo>
                  <a:lnTo>
                    <a:pt x="65660" y="1818"/>
                  </a:lnTo>
                  <a:lnTo>
                    <a:pt x="57735" y="0"/>
                  </a:lnTo>
                  <a:lnTo>
                    <a:pt x="53207" y="0"/>
                  </a:lnTo>
                  <a:lnTo>
                    <a:pt x="55471" y="1818"/>
                  </a:lnTo>
                  <a:lnTo>
                    <a:pt x="53207" y="1818"/>
                  </a:lnTo>
                  <a:lnTo>
                    <a:pt x="53207" y="4545"/>
                  </a:lnTo>
                  <a:lnTo>
                    <a:pt x="53207" y="8181"/>
                  </a:lnTo>
                  <a:lnTo>
                    <a:pt x="53207" y="10909"/>
                  </a:lnTo>
                  <a:lnTo>
                    <a:pt x="53207" y="15454"/>
                  </a:lnTo>
                  <a:lnTo>
                    <a:pt x="53207" y="19090"/>
                  </a:lnTo>
                  <a:lnTo>
                    <a:pt x="53207" y="23636"/>
                  </a:lnTo>
                  <a:lnTo>
                    <a:pt x="53207" y="25454"/>
                  </a:lnTo>
                  <a:lnTo>
                    <a:pt x="49811" y="25454"/>
                  </a:lnTo>
                  <a:lnTo>
                    <a:pt x="45283" y="25454"/>
                  </a:lnTo>
                  <a:lnTo>
                    <a:pt x="37358" y="25454"/>
                  </a:lnTo>
                  <a:lnTo>
                    <a:pt x="31698" y="25454"/>
                  </a:lnTo>
                  <a:lnTo>
                    <a:pt x="28301" y="25454"/>
                  </a:lnTo>
                  <a:lnTo>
                    <a:pt x="26037" y="25454"/>
                  </a:lnTo>
                  <a:lnTo>
                    <a:pt x="26037" y="25454"/>
                  </a:lnTo>
                  <a:lnTo>
                    <a:pt x="23773" y="25454"/>
                  </a:lnTo>
                  <a:lnTo>
                    <a:pt x="23773" y="25454"/>
                  </a:lnTo>
                  <a:lnTo>
                    <a:pt x="23773" y="25454"/>
                  </a:lnTo>
                  <a:lnTo>
                    <a:pt x="20377" y="25454"/>
                  </a:lnTo>
                  <a:lnTo>
                    <a:pt x="20377" y="25454"/>
                  </a:lnTo>
                  <a:lnTo>
                    <a:pt x="20377" y="23636"/>
                  </a:lnTo>
                  <a:lnTo>
                    <a:pt x="18113" y="23636"/>
                  </a:lnTo>
                  <a:lnTo>
                    <a:pt x="18113" y="23636"/>
                  </a:lnTo>
                  <a:lnTo>
                    <a:pt x="18113" y="25454"/>
                  </a:lnTo>
                  <a:lnTo>
                    <a:pt x="18113" y="25454"/>
                  </a:lnTo>
                  <a:lnTo>
                    <a:pt x="15849" y="25454"/>
                  </a:lnTo>
                  <a:lnTo>
                    <a:pt x="18113" y="30000"/>
                  </a:lnTo>
                  <a:lnTo>
                    <a:pt x="18113" y="31818"/>
                  </a:lnTo>
                  <a:lnTo>
                    <a:pt x="18113" y="34545"/>
                  </a:lnTo>
                  <a:lnTo>
                    <a:pt x="18113" y="34545"/>
                  </a:lnTo>
                  <a:lnTo>
                    <a:pt x="15849" y="34545"/>
                  </a:lnTo>
                  <a:lnTo>
                    <a:pt x="15849" y="31818"/>
                  </a:lnTo>
                  <a:lnTo>
                    <a:pt x="15849" y="31818"/>
                  </a:lnTo>
                  <a:lnTo>
                    <a:pt x="12452" y="34545"/>
                  </a:lnTo>
                  <a:lnTo>
                    <a:pt x="12452" y="34545"/>
                  </a:lnTo>
                  <a:lnTo>
                    <a:pt x="12452" y="36363"/>
                  </a:lnTo>
                  <a:lnTo>
                    <a:pt x="15849" y="39090"/>
                  </a:lnTo>
                  <a:lnTo>
                    <a:pt x="15849" y="39090"/>
                  </a:lnTo>
                  <a:lnTo>
                    <a:pt x="20377" y="40909"/>
                  </a:lnTo>
                  <a:lnTo>
                    <a:pt x="23773" y="40909"/>
                  </a:lnTo>
                  <a:lnTo>
                    <a:pt x="26037" y="40909"/>
                  </a:lnTo>
                  <a:lnTo>
                    <a:pt x="20377" y="42727"/>
                  </a:lnTo>
                  <a:lnTo>
                    <a:pt x="20377" y="45454"/>
                  </a:lnTo>
                  <a:lnTo>
                    <a:pt x="20377" y="42727"/>
                  </a:lnTo>
                  <a:lnTo>
                    <a:pt x="15849" y="42727"/>
                  </a:lnTo>
                  <a:lnTo>
                    <a:pt x="15849" y="42727"/>
                  </a:lnTo>
                  <a:lnTo>
                    <a:pt x="12452" y="40909"/>
                  </a:lnTo>
                  <a:lnTo>
                    <a:pt x="12452" y="40909"/>
                  </a:lnTo>
                  <a:lnTo>
                    <a:pt x="12452" y="39090"/>
                  </a:lnTo>
                  <a:lnTo>
                    <a:pt x="12452" y="39090"/>
                  </a:lnTo>
                  <a:lnTo>
                    <a:pt x="10188" y="39090"/>
                  </a:lnTo>
                  <a:lnTo>
                    <a:pt x="12452" y="42727"/>
                  </a:lnTo>
                  <a:lnTo>
                    <a:pt x="12452" y="47272"/>
                  </a:lnTo>
                  <a:lnTo>
                    <a:pt x="10188" y="51818"/>
                  </a:lnTo>
                  <a:lnTo>
                    <a:pt x="7924" y="55454"/>
                  </a:lnTo>
                  <a:lnTo>
                    <a:pt x="7924" y="58181"/>
                  </a:lnTo>
                  <a:lnTo>
                    <a:pt x="4528" y="58181"/>
                  </a:lnTo>
                  <a:lnTo>
                    <a:pt x="4528" y="58181"/>
                  </a:lnTo>
                  <a:lnTo>
                    <a:pt x="4528" y="58181"/>
                  </a:lnTo>
                  <a:lnTo>
                    <a:pt x="2264" y="58181"/>
                  </a:lnTo>
                  <a:lnTo>
                    <a:pt x="0" y="58181"/>
                  </a:lnTo>
                  <a:lnTo>
                    <a:pt x="0" y="55454"/>
                  </a:lnTo>
                  <a:lnTo>
                    <a:pt x="2264" y="62727"/>
                  </a:lnTo>
                  <a:lnTo>
                    <a:pt x="2264" y="62727"/>
                  </a:lnTo>
                  <a:lnTo>
                    <a:pt x="2264" y="64545"/>
                  </a:lnTo>
                  <a:lnTo>
                    <a:pt x="2264" y="66363"/>
                  </a:lnTo>
                  <a:lnTo>
                    <a:pt x="4528" y="70909"/>
                  </a:lnTo>
                  <a:lnTo>
                    <a:pt x="10188" y="70909"/>
                  </a:lnTo>
                  <a:lnTo>
                    <a:pt x="10188" y="70909"/>
                  </a:lnTo>
                  <a:lnTo>
                    <a:pt x="10188" y="70909"/>
                  </a:lnTo>
                  <a:lnTo>
                    <a:pt x="10188" y="70909"/>
                  </a:lnTo>
                  <a:lnTo>
                    <a:pt x="12452" y="70909"/>
                  </a:lnTo>
                  <a:lnTo>
                    <a:pt x="10188" y="72727"/>
                  </a:lnTo>
                  <a:lnTo>
                    <a:pt x="10188" y="75454"/>
                  </a:lnTo>
                  <a:lnTo>
                    <a:pt x="12452" y="75454"/>
                  </a:lnTo>
                  <a:lnTo>
                    <a:pt x="12452" y="75454"/>
                  </a:lnTo>
                  <a:lnTo>
                    <a:pt x="12452" y="75454"/>
                  </a:lnTo>
                  <a:lnTo>
                    <a:pt x="15849" y="75454"/>
                  </a:lnTo>
                  <a:lnTo>
                    <a:pt x="15849" y="75454"/>
                  </a:lnTo>
                  <a:lnTo>
                    <a:pt x="12452" y="77272"/>
                  </a:lnTo>
                  <a:lnTo>
                    <a:pt x="12452" y="77272"/>
                  </a:lnTo>
                  <a:lnTo>
                    <a:pt x="10188" y="77272"/>
                  </a:lnTo>
                  <a:lnTo>
                    <a:pt x="4528" y="70909"/>
                  </a:lnTo>
                  <a:lnTo>
                    <a:pt x="4528" y="70909"/>
                  </a:lnTo>
                  <a:lnTo>
                    <a:pt x="7924" y="75454"/>
                  </a:lnTo>
                  <a:lnTo>
                    <a:pt x="10188" y="77272"/>
                  </a:lnTo>
                  <a:lnTo>
                    <a:pt x="10188" y="80000"/>
                  </a:lnTo>
                  <a:lnTo>
                    <a:pt x="10188" y="80000"/>
                  </a:lnTo>
                  <a:lnTo>
                    <a:pt x="12452" y="80000"/>
                  </a:lnTo>
                  <a:lnTo>
                    <a:pt x="15849" y="81818"/>
                  </a:lnTo>
                  <a:lnTo>
                    <a:pt x="15849" y="81818"/>
                  </a:lnTo>
                  <a:lnTo>
                    <a:pt x="15849" y="83636"/>
                  </a:lnTo>
                  <a:lnTo>
                    <a:pt x="12452" y="81818"/>
                  </a:lnTo>
                  <a:lnTo>
                    <a:pt x="10188" y="81818"/>
                  </a:lnTo>
                  <a:lnTo>
                    <a:pt x="12452" y="83636"/>
                  </a:lnTo>
                  <a:lnTo>
                    <a:pt x="12452" y="83636"/>
                  </a:lnTo>
                  <a:lnTo>
                    <a:pt x="15849" y="86363"/>
                  </a:lnTo>
                  <a:lnTo>
                    <a:pt x="15849" y="88181"/>
                  </a:lnTo>
                  <a:lnTo>
                    <a:pt x="18113" y="90000"/>
                  </a:lnTo>
                  <a:lnTo>
                    <a:pt x="18113" y="90000"/>
                  </a:lnTo>
                  <a:lnTo>
                    <a:pt x="18113" y="92727"/>
                  </a:lnTo>
                  <a:lnTo>
                    <a:pt x="20377" y="92727"/>
                  </a:lnTo>
                  <a:lnTo>
                    <a:pt x="23773" y="92727"/>
                  </a:lnTo>
                  <a:lnTo>
                    <a:pt x="26037" y="92727"/>
                  </a:lnTo>
                  <a:lnTo>
                    <a:pt x="26037" y="94545"/>
                  </a:lnTo>
                  <a:lnTo>
                    <a:pt x="26037" y="94545"/>
                  </a:lnTo>
                  <a:lnTo>
                    <a:pt x="26037" y="94545"/>
                  </a:lnTo>
                  <a:lnTo>
                    <a:pt x="20377" y="92727"/>
                  </a:lnTo>
                  <a:lnTo>
                    <a:pt x="20377" y="92727"/>
                  </a:lnTo>
                  <a:lnTo>
                    <a:pt x="20377" y="94545"/>
                  </a:lnTo>
                  <a:lnTo>
                    <a:pt x="26037" y="99090"/>
                  </a:lnTo>
                  <a:lnTo>
                    <a:pt x="33962" y="103636"/>
                  </a:lnTo>
                  <a:lnTo>
                    <a:pt x="37358" y="107272"/>
                  </a:lnTo>
                  <a:lnTo>
                    <a:pt x="39622" y="110000"/>
                  </a:lnTo>
                  <a:lnTo>
                    <a:pt x="45283" y="113636"/>
                  </a:lnTo>
                  <a:lnTo>
                    <a:pt x="45283" y="116363"/>
                  </a:lnTo>
                  <a:lnTo>
                    <a:pt x="47547" y="118181"/>
                  </a:lnTo>
                  <a:lnTo>
                    <a:pt x="49811" y="120000"/>
                  </a:lnTo>
                  <a:lnTo>
                    <a:pt x="49811" y="118181"/>
                  </a:lnTo>
                  <a:lnTo>
                    <a:pt x="53207" y="116363"/>
                  </a:lnTo>
                  <a:lnTo>
                    <a:pt x="53207" y="116363"/>
                  </a:lnTo>
                  <a:lnTo>
                    <a:pt x="57735" y="111818"/>
                  </a:lnTo>
                  <a:lnTo>
                    <a:pt x="57735" y="113636"/>
                  </a:lnTo>
                  <a:lnTo>
                    <a:pt x="61132" y="116363"/>
                  </a:lnTo>
                  <a:lnTo>
                    <a:pt x="61132" y="116363"/>
                  </a:lnTo>
                  <a:lnTo>
                    <a:pt x="63396" y="116363"/>
                  </a:lnTo>
                  <a:lnTo>
                    <a:pt x="63396" y="116363"/>
                  </a:lnTo>
                  <a:lnTo>
                    <a:pt x="65660" y="116363"/>
                  </a:lnTo>
                  <a:lnTo>
                    <a:pt x="65660" y="113636"/>
                  </a:lnTo>
                  <a:lnTo>
                    <a:pt x="63396" y="113636"/>
                  </a:lnTo>
                  <a:lnTo>
                    <a:pt x="63396" y="113636"/>
                  </a:lnTo>
                  <a:lnTo>
                    <a:pt x="65660" y="111818"/>
                  </a:lnTo>
                  <a:lnTo>
                    <a:pt x="65660" y="111818"/>
                  </a:lnTo>
                  <a:lnTo>
                    <a:pt x="65660" y="110000"/>
                  </a:lnTo>
                  <a:lnTo>
                    <a:pt x="65660" y="110000"/>
                  </a:lnTo>
                  <a:lnTo>
                    <a:pt x="65660" y="107272"/>
                  </a:lnTo>
                  <a:lnTo>
                    <a:pt x="63396" y="107272"/>
                  </a:lnTo>
                  <a:lnTo>
                    <a:pt x="61132" y="105454"/>
                  </a:lnTo>
                  <a:lnTo>
                    <a:pt x="61132" y="105454"/>
                  </a:lnTo>
                  <a:lnTo>
                    <a:pt x="61132" y="103636"/>
                  </a:lnTo>
                  <a:lnTo>
                    <a:pt x="63396" y="103636"/>
                  </a:lnTo>
                  <a:lnTo>
                    <a:pt x="63396" y="103636"/>
                  </a:lnTo>
                  <a:lnTo>
                    <a:pt x="61132" y="100909"/>
                  </a:lnTo>
                  <a:lnTo>
                    <a:pt x="61132" y="100909"/>
                  </a:lnTo>
                  <a:lnTo>
                    <a:pt x="61132" y="100909"/>
                  </a:lnTo>
                  <a:lnTo>
                    <a:pt x="57735" y="99090"/>
                  </a:lnTo>
                  <a:lnTo>
                    <a:pt x="57735" y="99090"/>
                  </a:lnTo>
                  <a:lnTo>
                    <a:pt x="57735" y="96363"/>
                  </a:lnTo>
                  <a:lnTo>
                    <a:pt x="57735" y="94545"/>
                  </a:lnTo>
                  <a:lnTo>
                    <a:pt x="57735" y="90000"/>
                  </a:lnTo>
                  <a:lnTo>
                    <a:pt x="57735" y="90000"/>
                  </a:lnTo>
                  <a:lnTo>
                    <a:pt x="57735" y="90000"/>
                  </a:lnTo>
                  <a:lnTo>
                    <a:pt x="61132" y="90000"/>
                  </a:lnTo>
                  <a:lnTo>
                    <a:pt x="61132" y="90000"/>
                  </a:lnTo>
                  <a:lnTo>
                    <a:pt x="65660" y="90000"/>
                  </a:lnTo>
                  <a:lnTo>
                    <a:pt x="65660" y="90000"/>
                  </a:lnTo>
                  <a:lnTo>
                    <a:pt x="69056" y="90000"/>
                  </a:lnTo>
                  <a:lnTo>
                    <a:pt x="69056" y="92727"/>
                  </a:lnTo>
                  <a:lnTo>
                    <a:pt x="76981" y="90000"/>
                  </a:lnTo>
                  <a:lnTo>
                    <a:pt x="76981" y="88181"/>
                  </a:lnTo>
                  <a:lnTo>
                    <a:pt x="76981" y="86363"/>
                  </a:lnTo>
                  <a:lnTo>
                    <a:pt x="76981" y="86363"/>
                  </a:lnTo>
                  <a:lnTo>
                    <a:pt x="76981" y="86363"/>
                  </a:lnTo>
                  <a:lnTo>
                    <a:pt x="76981" y="83636"/>
                  </a:lnTo>
                  <a:lnTo>
                    <a:pt x="76981" y="83636"/>
                  </a:lnTo>
                  <a:lnTo>
                    <a:pt x="76981" y="81818"/>
                  </a:lnTo>
                  <a:lnTo>
                    <a:pt x="76981" y="81818"/>
                  </a:lnTo>
                  <a:lnTo>
                    <a:pt x="79245" y="80000"/>
                  </a:lnTo>
                  <a:lnTo>
                    <a:pt x="82641" y="80000"/>
                  </a:lnTo>
                  <a:lnTo>
                    <a:pt x="82641" y="81818"/>
                  </a:lnTo>
                  <a:lnTo>
                    <a:pt x="84905" y="81818"/>
                  </a:lnTo>
                  <a:lnTo>
                    <a:pt x="84905" y="83636"/>
                  </a:lnTo>
                  <a:lnTo>
                    <a:pt x="87169" y="86363"/>
                  </a:lnTo>
                  <a:lnTo>
                    <a:pt x="87169" y="90000"/>
                  </a:lnTo>
                  <a:lnTo>
                    <a:pt x="92830" y="90000"/>
                  </a:lnTo>
                  <a:lnTo>
                    <a:pt x="95094" y="92727"/>
                  </a:lnTo>
                  <a:lnTo>
                    <a:pt x="98490" y="90000"/>
                  </a:lnTo>
                  <a:lnTo>
                    <a:pt x="100754" y="88181"/>
                  </a:lnTo>
                  <a:lnTo>
                    <a:pt x="103018" y="88181"/>
                  </a:lnTo>
                  <a:lnTo>
                    <a:pt x="103018" y="86363"/>
                  </a:lnTo>
                  <a:lnTo>
                    <a:pt x="106415" y="86363"/>
                  </a:lnTo>
                  <a:lnTo>
                    <a:pt x="106415" y="88181"/>
                  </a:lnTo>
                  <a:lnTo>
                    <a:pt x="106415" y="90000"/>
                  </a:lnTo>
                  <a:lnTo>
                    <a:pt x="106415" y="90000"/>
                  </a:lnTo>
                  <a:lnTo>
                    <a:pt x="106415" y="92727"/>
                  </a:lnTo>
                  <a:lnTo>
                    <a:pt x="106415" y="92727"/>
                  </a:lnTo>
                  <a:lnTo>
                    <a:pt x="108679" y="92727"/>
                  </a:lnTo>
                  <a:lnTo>
                    <a:pt x="112075" y="92727"/>
                  </a:lnTo>
                  <a:lnTo>
                    <a:pt x="112075" y="92727"/>
                  </a:lnTo>
                  <a:lnTo>
                    <a:pt x="114339" y="90000"/>
                  </a:lnTo>
                  <a:lnTo>
                    <a:pt x="114339" y="90000"/>
                  </a:lnTo>
                  <a:lnTo>
                    <a:pt x="114339" y="88181"/>
                  </a:lnTo>
                  <a:lnTo>
                    <a:pt x="114339" y="88181"/>
                  </a:lnTo>
                  <a:lnTo>
                    <a:pt x="114339" y="86363"/>
                  </a:lnTo>
                  <a:lnTo>
                    <a:pt x="114339" y="86363"/>
                  </a:lnTo>
                  <a:lnTo>
                    <a:pt x="114339" y="83636"/>
                  </a:lnTo>
                  <a:lnTo>
                    <a:pt x="116603" y="81818"/>
                  </a:lnTo>
                  <a:lnTo>
                    <a:pt x="116603" y="81818"/>
                  </a:lnTo>
                  <a:lnTo>
                    <a:pt x="116603" y="81818"/>
                  </a:lnTo>
                  <a:lnTo>
                    <a:pt x="120000" y="77272"/>
                  </a:lnTo>
                  <a:lnTo>
                    <a:pt x="120000" y="77272"/>
                  </a:lnTo>
                  <a:lnTo>
                    <a:pt x="120000" y="75454"/>
                  </a:lnTo>
                  <a:lnTo>
                    <a:pt x="120000" y="75454"/>
                  </a:lnTo>
                  <a:lnTo>
                    <a:pt x="120000" y="72727"/>
                  </a:lnTo>
                  <a:lnTo>
                    <a:pt x="120000" y="69090"/>
                  </a:lnTo>
                  <a:lnTo>
                    <a:pt x="120000" y="66363"/>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88" name="Shape 488"/>
            <p:cNvSpPr/>
            <p:nvPr/>
          </p:nvSpPr>
          <p:spPr>
            <a:xfrm>
              <a:off x="2637" y="2685"/>
              <a:ext cx="0" cy="0"/>
            </a:xfrm>
            <a:custGeom>
              <a:avLst/>
              <a:gdLst/>
              <a:ahLst/>
              <a:cxnLst/>
              <a:rect l="0" t="0" r="0" b="0"/>
              <a:pathLst>
                <a:path w="120000" h="120000" extrusionOk="0">
                  <a:moveTo>
                    <a:pt x="119999" y="53846"/>
                  </a:moveTo>
                  <a:lnTo>
                    <a:pt x="119999" y="50769"/>
                  </a:lnTo>
                  <a:lnTo>
                    <a:pt x="119999" y="50769"/>
                  </a:lnTo>
                  <a:lnTo>
                    <a:pt x="113684" y="40000"/>
                  </a:lnTo>
                  <a:lnTo>
                    <a:pt x="113684" y="40000"/>
                  </a:lnTo>
                  <a:lnTo>
                    <a:pt x="109473" y="40000"/>
                  </a:lnTo>
                  <a:lnTo>
                    <a:pt x="109473" y="43076"/>
                  </a:lnTo>
                  <a:lnTo>
                    <a:pt x="109473" y="43076"/>
                  </a:lnTo>
                  <a:lnTo>
                    <a:pt x="109473" y="46153"/>
                  </a:lnTo>
                  <a:lnTo>
                    <a:pt x="105263" y="46153"/>
                  </a:lnTo>
                  <a:lnTo>
                    <a:pt x="105263" y="46153"/>
                  </a:lnTo>
                  <a:lnTo>
                    <a:pt x="105263" y="43076"/>
                  </a:lnTo>
                  <a:lnTo>
                    <a:pt x="109473" y="43076"/>
                  </a:lnTo>
                  <a:lnTo>
                    <a:pt x="105263" y="40000"/>
                  </a:lnTo>
                  <a:lnTo>
                    <a:pt x="105263" y="35384"/>
                  </a:lnTo>
                  <a:lnTo>
                    <a:pt x="98947" y="32307"/>
                  </a:lnTo>
                  <a:lnTo>
                    <a:pt x="94736" y="32307"/>
                  </a:lnTo>
                  <a:lnTo>
                    <a:pt x="94736" y="29230"/>
                  </a:lnTo>
                  <a:lnTo>
                    <a:pt x="94736" y="29230"/>
                  </a:lnTo>
                  <a:lnTo>
                    <a:pt x="90526" y="24615"/>
                  </a:lnTo>
                  <a:lnTo>
                    <a:pt x="73684" y="18461"/>
                  </a:lnTo>
                  <a:lnTo>
                    <a:pt x="69473" y="13846"/>
                  </a:lnTo>
                  <a:lnTo>
                    <a:pt x="58947" y="10769"/>
                  </a:lnTo>
                  <a:lnTo>
                    <a:pt x="50526" y="6153"/>
                  </a:lnTo>
                  <a:lnTo>
                    <a:pt x="35789" y="0"/>
                  </a:lnTo>
                  <a:lnTo>
                    <a:pt x="29473" y="3076"/>
                  </a:lnTo>
                  <a:lnTo>
                    <a:pt x="29473" y="3076"/>
                  </a:lnTo>
                  <a:lnTo>
                    <a:pt x="25263" y="13846"/>
                  </a:lnTo>
                  <a:lnTo>
                    <a:pt x="25263" y="13846"/>
                  </a:lnTo>
                  <a:lnTo>
                    <a:pt x="21052" y="18461"/>
                  </a:lnTo>
                  <a:lnTo>
                    <a:pt x="14736" y="21538"/>
                  </a:lnTo>
                  <a:lnTo>
                    <a:pt x="10526" y="24615"/>
                  </a:lnTo>
                  <a:lnTo>
                    <a:pt x="10526" y="29230"/>
                  </a:lnTo>
                  <a:lnTo>
                    <a:pt x="10526" y="29230"/>
                  </a:lnTo>
                  <a:lnTo>
                    <a:pt x="10526" y="32307"/>
                  </a:lnTo>
                  <a:lnTo>
                    <a:pt x="10526" y="35384"/>
                  </a:lnTo>
                  <a:lnTo>
                    <a:pt x="10526" y="35384"/>
                  </a:lnTo>
                  <a:lnTo>
                    <a:pt x="10526" y="40000"/>
                  </a:lnTo>
                  <a:lnTo>
                    <a:pt x="10526" y="43076"/>
                  </a:lnTo>
                  <a:lnTo>
                    <a:pt x="10526" y="43076"/>
                  </a:lnTo>
                  <a:lnTo>
                    <a:pt x="10526" y="46153"/>
                  </a:lnTo>
                  <a:lnTo>
                    <a:pt x="10526" y="50769"/>
                  </a:lnTo>
                  <a:lnTo>
                    <a:pt x="10526" y="53846"/>
                  </a:lnTo>
                  <a:lnTo>
                    <a:pt x="14736" y="53846"/>
                  </a:lnTo>
                  <a:lnTo>
                    <a:pt x="14736" y="53846"/>
                  </a:lnTo>
                  <a:lnTo>
                    <a:pt x="14736" y="58461"/>
                  </a:lnTo>
                  <a:lnTo>
                    <a:pt x="14736" y="61538"/>
                  </a:lnTo>
                  <a:lnTo>
                    <a:pt x="21052" y="64615"/>
                  </a:lnTo>
                  <a:lnTo>
                    <a:pt x="21052" y="64615"/>
                  </a:lnTo>
                  <a:lnTo>
                    <a:pt x="25263" y="69230"/>
                  </a:lnTo>
                  <a:lnTo>
                    <a:pt x="25263" y="72307"/>
                  </a:lnTo>
                  <a:lnTo>
                    <a:pt x="25263" y="72307"/>
                  </a:lnTo>
                  <a:lnTo>
                    <a:pt x="25263" y="72307"/>
                  </a:lnTo>
                  <a:lnTo>
                    <a:pt x="25263" y="75384"/>
                  </a:lnTo>
                  <a:lnTo>
                    <a:pt x="25263" y="75384"/>
                  </a:lnTo>
                  <a:lnTo>
                    <a:pt x="25263" y="80000"/>
                  </a:lnTo>
                  <a:lnTo>
                    <a:pt x="21052" y="86153"/>
                  </a:lnTo>
                  <a:lnTo>
                    <a:pt x="21052" y="86153"/>
                  </a:lnTo>
                  <a:lnTo>
                    <a:pt x="21052" y="90769"/>
                  </a:lnTo>
                  <a:lnTo>
                    <a:pt x="21052" y="93846"/>
                  </a:lnTo>
                  <a:lnTo>
                    <a:pt x="21052" y="98461"/>
                  </a:lnTo>
                  <a:lnTo>
                    <a:pt x="14736" y="101538"/>
                  </a:lnTo>
                  <a:lnTo>
                    <a:pt x="10526" y="109230"/>
                  </a:lnTo>
                  <a:lnTo>
                    <a:pt x="4210" y="109230"/>
                  </a:lnTo>
                  <a:lnTo>
                    <a:pt x="4210" y="112307"/>
                  </a:lnTo>
                  <a:lnTo>
                    <a:pt x="4210" y="112307"/>
                  </a:lnTo>
                  <a:lnTo>
                    <a:pt x="0" y="112307"/>
                  </a:lnTo>
                  <a:lnTo>
                    <a:pt x="0" y="112307"/>
                  </a:lnTo>
                  <a:lnTo>
                    <a:pt x="0" y="112307"/>
                  </a:lnTo>
                  <a:lnTo>
                    <a:pt x="4210" y="115384"/>
                  </a:lnTo>
                  <a:lnTo>
                    <a:pt x="4210" y="115384"/>
                  </a:lnTo>
                  <a:lnTo>
                    <a:pt x="10526" y="115384"/>
                  </a:lnTo>
                  <a:lnTo>
                    <a:pt x="14736" y="120000"/>
                  </a:lnTo>
                  <a:lnTo>
                    <a:pt x="14736" y="120000"/>
                  </a:lnTo>
                  <a:lnTo>
                    <a:pt x="21052" y="120000"/>
                  </a:lnTo>
                  <a:lnTo>
                    <a:pt x="21052" y="120000"/>
                  </a:lnTo>
                  <a:lnTo>
                    <a:pt x="21052" y="120000"/>
                  </a:lnTo>
                  <a:lnTo>
                    <a:pt x="29473" y="115384"/>
                  </a:lnTo>
                  <a:lnTo>
                    <a:pt x="29473" y="115384"/>
                  </a:lnTo>
                  <a:lnTo>
                    <a:pt x="29473" y="112307"/>
                  </a:lnTo>
                  <a:lnTo>
                    <a:pt x="35789" y="112307"/>
                  </a:lnTo>
                  <a:lnTo>
                    <a:pt x="35789" y="112307"/>
                  </a:lnTo>
                  <a:lnTo>
                    <a:pt x="35789" y="112307"/>
                  </a:lnTo>
                  <a:lnTo>
                    <a:pt x="35789" y="112307"/>
                  </a:lnTo>
                  <a:lnTo>
                    <a:pt x="40000" y="115384"/>
                  </a:lnTo>
                  <a:lnTo>
                    <a:pt x="44210" y="115384"/>
                  </a:lnTo>
                  <a:lnTo>
                    <a:pt x="44210" y="115384"/>
                  </a:lnTo>
                  <a:lnTo>
                    <a:pt x="50526" y="115384"/>
                  </a:lnTo>
                  <a:lnTo>
                    <a:pt x="50526" y="112307"/>
                  </a:lnTo>
                  <a:lnTo>
                    <a:pt x="50526" y="112307"/>
                  </a:lnTo>
                  <a:lnTo>
                    <a:pt x="54736" y="115384"/>
                  </a:lnTo>
                  <a:lnTo>
                    <a:pt x="54736" y="115384"/>
                  </a:lnTo>
                  <a:lnTo>
                    <a:pt x="54736" y="115384"/>
                  </a:lnTo>
                  <a:lnTo>
                    <a:pt x="58947" y="115384"/>
                  </a:lnTo>
                  <a:lnTo>
                    <a:pt x="58947" y="115384"/>
                  </a:lnTo>
                  <a:lnTo>
                    <a:pt x="65263" y="120000"/>
                  </a:lnTo>
                  <a:lnTo>
                    <a:pt x="65263" y="120000"/>
                  </a:lnTo>
                  <a:lnTo>
                    <a:pt x="69473" y="115384"/>
                  </a:lnTo>
                  <a:lnTo>
                    <a:pt x="69473" y="115384"/>
                  </a:lnTo>
                  <a:lnTo>
                    <a:pt x="73684" y="112307"/>
                  </a:lnTo>
                  <a:lnTo>
                    <a:pt x="73684" y="112307"/>
                  </a:lnTo>
                  <a:lnTo>
                    <a:pt x="80000" y="109230"/>
                  </a:lnTo>
                  <a:lnTo>
                    <a:pt x="80000" y="104615"/>
                  </a:lnTo>
                  <a:lnTo>
                    <a:pt x="84210" y="104615"/>
                  </a:lnTo>
                  <a:lnTo>
                    <a:pt x="84210" y="101538"/>
                  </a:lnTo>
                  <a:lnTo>
                    <a:pt x="84210" y="93846"/>
                  </a:lnTo>
                  <a:lnTo>
                    <a:pt x="90526" y="93846"/>
                  </a:lnTo>
                  <a:lnTo>
                    <a:pt x="90526" y="90769"/>
                  </a:lnTo>
                  <a:lnTo>
                    <a:pt x="90526" y="90769"/>
                  </a:lnTo>
                  <a:lnTo>
                    <a:pt x="90526" y="86153"/>
                  </a:lnTo>
                  <a:lnTo>
                    <a:pt x="90526" y="86153"/>
                  </a:lnTo>
                  <a:lnTo>
                    <a:pt x="94736" y="83076"/>
                  </a:lnTo>
                  <a:lnTo>
                    <a:pt x="94736" y="83076"/>
                  </a:lnTo>
                  <a:lnTo>
                    <a:pt x="98947" y="80000"/>
                  </a:lnTo>
                  <a:lnTo>
                    <a:pt x="98947" y="75384"/>
                  </a:lnTo>
                  <a:lnTo>
                    <a:pt x="105263" y="69230"/>
                  </a:lnTo>
                  <a:lnTo>
                    <a:pt x="105263" y="69230"/>
                  </a:lnTo>
                  <a:lnTo>
                    <a:pt x="109473" y="69230"/>
                  </a:lnTo>
                  <a:lnTo>
                    <a:pt x="109473" y="64615"/>
                  </a:lnTo>
                  <a:lnTo>
                    <a:pt x="109473" y="64615"/>
                  </a:lnTo>
                  <a:lnTo>
                    <a:pt x="113684" y="61538"/>
                  </a:lnTo>
                  <a:lnTo>
                    <a:pt x="113684" y="61538"/>
                  </a:lnTo>
                  <a:lnTo>
                    <a:pt x="113684" y="58461"/>
                  </a:lnTo>
                  <a:lnTo>
                    <a:pt x="119999" y="58461"/>
                  </a:lnTo>
                  <a:lnTo>
                    <a:pt x="119999" y="58461"/>
                  </a:lnTo>
                  <a:lnTo>
                    <a:pt x="119999" y="53846"/>
                  </a:lnTo>
                  <a:lnTo>
                    <a:pt x="119999" y="53846"/>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89" name="Shape 489"/>
            <p:cNvSpPr/>
            <p:nvPr/>
          </p:nvSpPr>
          <p:spPr>
            <a:xfrm>
              <a:off x="3601" y="1734"/>
              <a:ext cx="300" cy="300"/>
            </a:xfrm>
            <a:custGeom>
              <a:avLst/>
              <a:gdLst/>
              <a:ahLst/>
              <a:cxnLst/>
              <a:rect l="0" t="0" r="0" b="0"/>
              <a:pathLst>
                <a:path w="120000" h="120000" extrusionOk="0">
                  <a:moveTo>
                    <a:pt x="28051" y="65074"/>
                  </a:moveTo>
                  <a:lnTo>
                    <a:pt x="28051" y="63880"/>
                  </a:lnTo>
                  <a:lnTo>
                    <a:pt x="27012" y="62089"/>
                  </a:lnTo>
                  <a:lnTo>
                    <a:pt x="27012" y="62089"/>
                  </a:lnTo>
                  <a:lnTo>
                    <a:pt x="27012" y="62089"/>
                  </a:lnTo>
                  <a:lnTo>
                    <a:pt x="27012" y="62089"/>
                  </a:lnTo>
                  <a:lnTo>
                    <a:pt x="27012" y="63880"/>
                  </a:lnTo>
                  <a:lnTo>
                    <a:pt x="28051" y="65074"/>
                  </a:lnTo>
                  <a:close/>
                  <a:moveTo>
                    <a:pt x="109090" y="25671"/>
                  </a:moveTo>
                  <a:lnTo>
                    <a:pt x="107532" y="25671"/>
                  </a:lnTo>
                  <a:lnTo>
                    <a:pt x="106493" y="25671"/>
                  </a:lnTo>
                  <a:lnTo>
                    <a:pt x="103896" y="23880"/>
                  </a:lnTo>
                  <a:lnTo>
                    <a:pt x="103896" y="23880"/>
                  </a:lnTo>
                  <a:lnTo>
                    <a:pt x="102857" y="23880"/>
                  </a:lnTo>
                  <a:lnTo>
                    <a:pt x="102857" y="23880"/>
                  </a:lnTo>
                  <a:lnTo>
                    <a:pt x="101818" y="23880"/>
                  </a:lnTo>
                  <a:lnTo>
                    <a:pt x="101818" y="23880"/>
                  </a:lnTo>
                  <a:lnTo>
                    <a:pt x="100259" y="23880"/>
                  </a:lnTo>
                  <a:lnTo>
                    <a:pt x="100259" y="23880"/>
                  </a:lnTo>
                  <a:lnTo>
                    <a:pt x="99220" y="23880"/>
                  </a:lnTo>
                  <a:lnTo>
                    <a:pt x="99220" y="23880"/>
                  </a:lnTo>
                  <a:lnTo>
                    <a:pt x="99220" y="22686"/>
                  </a:lnTo>
                  <a:lnTo>
                    <a:pt x="99220" y="22686"/>
                  </a:lnTo>
                  <a:lnTo>
                    <a:pt x="98181" y="22686"/>
                  </a:lnTo>
                  <a:lnTo>
                    <a:pt x="98181" y="22686"/>
                  </a:lnTo>
                  <a:lnTo>
                    <a:pt x="98181" y="23880"/>
                  </a:lnTo>
                  <a:lnTo>
                    <a:pt x="98181" y="23880"/>
                  </a:lnTo>
                  <a:lnTo>
                    <a:pt x="96623" y="23880"/>
                  </a:lnTo>
                  <a:lnTo>
                    <a:pt x="95584" y="22686"/>
                  </a:lnTo>
                  <a:lnTo>
                    <a:pt x="95584" y="21492"/>
                  </a:lnTo>
                  <a:lnTo>
                    <a:pt x="95584" y="21492"/>
                  </a:lnTo>
                  <a:lnTo>
                    <a:pt x="95584" y="21492"/>
                  </a:lnTo>
                  <a:lnTo>
                    <a:pt x="95584" y="19701"/>
                  </a:lnTo>
                  <a:lnTo>
                    <a:pt x="94545" y="19701"/>
                  </a:lnTo>
                  <a:lnTo>
                    <a:pt x="94545" y="19701"/>
                  </a:lnTo>
                  <a:lnTo>
                    <a:pt x="92987" y="19701"/>
                  </a:lnTo>
                  <a:lnTo>
                    <a:pt x="92987" y="19701"/>
                  </a:lnTo>
                  <a:lnTo>
                    <a:pt x="92987" y="19701"/>
                  </a:lnTo>
                  <a:lnTo>
                    <a:pt x="91948" y="19701"/>
                  </a:lnTo>
                  <a:lnTo>
                    <a:pt x="91948" y="19701"/>
                  </a:lnTo>
                  <a:lnTo>
                    <a:pt x="90389" y="19701"/>
                  </a:lnTo>
                  <a:lnTo>
                    <a:pt x="90389" y="19701"/>
                  </a:lnTo>
                  <a:lnTo>
                    <a:pt x="90389" y="19701"/>
                  </a:lnTo>
                  <a:lnTo>
                    <a:pt x="90389" y="19701"/>
                  </a:lnTo>
                  <a:lnTo>
                    <a:pt x="89350" y="19701"/>
                  </a:lnTo>
                  <a:lnTo>
                    <a:pt x="89350" y="18507"/>
                  </a:lnTo>
                  <a:lnTo>
                    <a:pt x="88311" y="18507"/>
                  </a:lnTo>
                  <a:lnTo>
                    <a:pt x="88311" y="18507"/>
                  </a:lnTo>
                  <a:lnTo>
                    <a:pt x="86753" y="19701"/>
                  </a:lnTo>
                  <a:lnTo>
                    <a:pt x="86753" y="19701"/>
                  </a:lnTo>
                  <a:lnTo>
                    <a:pt x="85714" y="18507"/>
                  </a:lnTo>
                  <a:lnTo>
                    <a:pt x="85714" y="18507"/>
                  </a:lnTo>
                  <a:lnTo>
                    <a:pt x="85714" y="17313"/>
                  </a:lnTo>
                  <a:lnTo>
                    <a:pt x="84675" y="17313"/>
                  </a:lnTo>
                  <a:lnTo>
                    <a:pt x="84675" y="17313"/>
                  </a:lnTo>
                  <a:lnTo>
                    <a:pt x="83116" y="17313"/>
                  </a:lnTo>
                  <a:lnTo>
                    <a:pt x="83116" y="15522"/>
                  </a:lnTo>
                  <a:lnTo>
                    <a:pt x="83116" y="15522"/>
                  </a:lnTo>
                  <a:lnTo>
                    <a:pt x="82077" y="15522"/>
                  </a:lnTo>
                  <a:lnTo>
                    <a:pt x="82077" y="15522"/>
                  </a:lnTo>
                  <a:lnTo>
                    <a:pt x="82077" y="15522"/>
                  </a:lnTo>
                  <a:lnTo>
                    <a:pt x="82077" y="14328"/>
                  </a:lnTo>
                  <a:lnTo>
                    <a:pt x="81038" y="14328"/>
                  </a:lnTo>
                  <a:lnTo>
                    <a:pt x="82077" y="11343"/>
                  </a:lnTo>
                  <a:lnTo>
                    <a:pt x="81038" y="11343"/>
                  </a:lnTo>
                  <a:lnTo>
                    <a:pt x="81038" y="11343"/>
                  </a:lnTo>
                  <a:lnTo>
                    <a:pt x="81038" y="12537"/>
                  </a:lnTo>
                  <a:lnTo>
                    <a:pt x="79480" y="12537"/>
                  </a:lnTo>
                  <a:lnTo>
                    <a:pt x="79480" y="12537"/>
                  </a:lnTo>
                  <a:lnTo>
                    <a:pt x="79480" y="14328"/>
                  </a:lnTo>
                  <a:lnTo>
                    <a:pt x="77402" y="14328"/>
                  </a:lnTo>
                  <a:lnTo>
                    <a:pt x="75844" y="14328"/>
                  </a:lnTo>
                  <a:lnTo>
                    <a:pt x="75844" y="14328"/>
                  </a:lnTo>
                  <a:lnTo>
                    <a:pt x="75844" y="12537"/>
                  </a:lnTo>
                  <a:lnTo>
                    <a:pt x="75844" y="12537"/>
                  </a:lnTo>
                  <a:lnTo>
                    <a:pt x="75844" y="12537"/>
                  </a:lnTo>
                  <a:lnTo>
                    <a:pt x="75844" y="12537"/>
                  </a:lnTo>
                  <a:lnTo>
                    <a:pt x="75844" y="12537"/>
                  </a:lnTo>
                  <a:lnTo>
                    <a:pt x="75844" y="11343"/>
                  </a:lnTo>
                  <a:lnTo>
                    <a:pt x="75844" y="11343"/>
                  </a:lnTo>
                  <a:lnTo>
                    <a:pt x="75844" y="11343"/>
                  </a:lnTo>
                  <a:lnTo>
                    <a:pt x="75844" y="10149"/>
                  </a:lnTo>
                  <a:lnTo>
                    <a:pt x="75844" y="10149"/>
                  </a:lnTo>
                  <a:lnTo>
                    <a:pt x="74805" y="10149"/>
                  </a:lnTo>
                  <a:lnTo>
                    <a:pt x="74805" y="8358"/>
                  </a:lnTo>
                  <a:lnTo>
                    <a:pt x="73246" y="8358"/>
                  </a:lnTo>
                  <a:lnTo>
                    <a:pt x="72207" y="8358"/>
                  </a:lnTo>
                  <a:lnTo>
                    <a:pt x="72207" y="8358"/>
                  </a:lnTo>
                  <a:lnTo>
                    <a:pt x="72207" y="10149"/>
                  </a:lnTo>
                  <a:lnTo>
                    <a:pt x="72207" y="10149"/>
                  </a:lnTo>
                  <a:lnTo>
                    <a:pt x="72207" y="10149"/>
                  </a:lnTo>
                  <a:lnTo>
                    <a:pt x="71168" y="7164"/>
                  </a:lnTo>
                  <a:lnTo>
                    <a:pt x="71168" y="7164"/>
                  </a:lnTo>
                  <a:lnTo>
                    <a:pt x="69610" y="7164"/>
                  </a:lnTo>
                  <a:lnTo>
                    <a:pt x="68571" y="7164"/>
                  </a:lnTo>
                  <a:lnTo>
                    <a:pt x="68571" y="7164"/>
                  </a:lnTo>
                  <a:lnTo>
                    <a:pt x="68571" y="5970"/>
                  </a:lnTo>
                  <a:lnTo>
                    <a:pt x="68571" y="5970"/>
                  </a:lnTo>
                  <a:lnTo>
                    <a:pt x="67532" y="4179"/>
                  </a:lnTo>
                  <a:lnTo>
                    <a:pt x="67532" y="4179"/>
                  </a:lnTo>
                  <a:lnTo>
                    <a:pt x="67532" y="4179"/>
                  </a:lnTo>
                  <a:lnTo>
                    <a:pt x="65974" y="4179"/>
                  </a:lnTo>
                  <a:lnTo>
                    <a:pt x="65974" y="4179"/>
                  </a:lnTo>
                  <a:lnTo>
                    <a:pt x="64935" y="4179"/>
                  </a:lnTo>
                  <a:lnTo>
                    <a:pt x="64935" y="4179"/>
                  </a:lnTo>
                  <a:lnTo>
                    <a:pt x="64935" y="4179"/>
                  </a:lnTo>
                  <a:lnTo>
                    <a:pt x="63896" y="2985"/>
                  </a:lnTo>
                  <a:lnTo>
                    <a:pt x="63896" y="2985"/>
                  </a:lnTo>
                  <a:lnTo>
                    <a:pt x="62337" y="1791"/>
                  </a:lnTo>
                  <a:lnTo>
                    <a:pt x="63896" y="1791"/>
                  </a:lnTo>
                  <a:lnTo>
                    <a:pt x="62337" y="1791"/>
                  </a:lnTo>
                  <a:lnTo>
                    <a:pt x="62337" y="0"/>
                  </a:lnTo>
                  <a:lnTo>
                    <a:pt x="62337" y="0"/>
                  </a:lnTo>
                  <a:lnTo>
                    <a:pt x="62337" y="0"/>
                  </a:lnTo>
                  <a:lnTo>
                    <a:pt x="57662" y="1791"/>
                  </a:lnTo>
                  <a:lnTo>
                    <a:pt x="56103" y="1791"/>
                  </a:lnTo>
                  <a:lnTo>
                    <a:pt x="55064" y="2985"/>
                  </a:lnTo>
                  <a:lnTo>
                    <a:pt x="55064" y="2985"/>
                  </a:lnTo>
                  <a:lnTo>
                    <a:pt x="55064" y="4179"/>
                  </a:lnTo>
                  <a:lnTo>
                    <a:pt x="54025" y="10149"/>
                  </a:lnTo>
                  <a:lnTo>
                    <a:pt x="54025" y="10149"/>
                  </a:lnTo>
                  <a:lnTo>
                    <a:pt x="54025" y="10149"/>
                  </a:lnTo>
                  <a:lnTo>
                    <a:pt x="54025" y="11343"/>
                  </a:lnTo>
                  <a:lnTo>
                    <a:pt x="52467" y="12537"/>
                  </a:lnTo>
                  <a:lnTo>
                    <a:pt x="51428" y="12537"/>
                  </a:lnTo>
                  <a:lnTo>
                    <a:pt x="48831" y="14328"/>
                  </a:lnTo>
                  <a:lnTo>
                    <a:pt x="46753" y="15522"/>
                  </a:lnTo>
                  <a:lnTo>
                    <a:pt x="43116" y="17313"/>
                  </a:lnTo>
                  <a:lnTo>
                    <a:pt x="41558" y="18507"/>
                  </a:lnTo>
                  <a:lnTo>
                    <a:pt x="41558" y="18507"/>
                  </a:lnTo>
                  <a:lnTo>
                    <a:pt x="41558" y="19701"/>
                  </a:lnTo>
                  <a:lnTo>
                    <a:pt x="43116" y="19701"/>
                  </a:lnTo>
                  <a:lnTo>
                    <a:pt x="44155" y="19701"/>
                  </a:lnTo>
                  <a:lnTo>
                    <a:pt x="44155" y="19701"/>
                  </a:lnTo>
                  <a:lnTo>
                    <a:pt x="41558" y="21492"/>
                  </a:lnTo>
                  <a:lnTo>
                    <a:pt x="40519" y="21492"/>
                  </a:lnTo>
                  <a:lnTo>
                    <a:pt x="38961" y="21492"/>
                  </a:lnTo>
                  <a:lnTo>
                    <a:pt x="35324" y="21492"/>
                  </a:lnTo>
                  <a:lnTo>
                    <a:pt x="34285" y="21492"/>
                  </a:lnTo>
                  <a:lnTo>
                    <a:pt x="31688" y="21492"/>
                  </a:lnTo>
                  <a:lnTo>
                    <a:pt x="30649" y="21492"/>
                  </a:lnTo>
                  <a:lnTo>
                    <a:pt x="30649" y="19701"/>
                  </a:lnTo>
                  <a:lnTo>
                    <a:pt x="30649" y="19701"/>
                  </a:lnTo>
                  <a:lnTo>
                    <a:pt x="30649" y="18507"/>
                  </a:lnTo>
                  <a:lnTo>
                    <a:pt x="30649" y="17313"/>
                  </a:lnTo>
                  <a:lnTo>
                    <a:pt x="29610" y="17313"/>
                  </a:lnTo>
                  <a:lnTo>
                    <a:pt x="27012" y="17313"/>
                  </a:lnTo>
                  <a:lnTo>
                    <a:pt x="27012" y="17313"/>
                  </a:lnTo>
                  <a:lnTo>
                    <a:pt x="24415" y="17313"/>
                  </a:lnTo>
                  <a:lnTo>
                    <a:pt x="24415" y="18507"/>
                  </a:lnTo>
                  <a:lnTo>
                    <a:pt x="24415" y="18507"/>
                  </a:lnTo>
                  <a:lnTo>
                    <a:pt x="25974" y="19701"/>
                  </a:lnTo>
                  <a:lnTo>
                    <a:pt x="25974" y="21492"/>
                  </a:lnTo>
                  <a:lnTo>
                    <a:pt x="27012" y="22686"/>
                  </a:lnTo>
                  <a:lnTo>
                    <a:pt x="27012" y="28059"/>
                  </a:lnTo>
                  <a:lnTo>
                    <a:pt x="28051" y="29850"/>
                  </a:lnTo>
                  <a:lnTo>
                    <a:pt x="28051" y="29850"/>
                  </a:lnTo>
                  <a:lnTo>
                    <a:pt x="28051" y="29850"/>
                  </a:lnTo>
                  <a:lnTo>
                    <a:pt x="24415" y="29850"/>
                  </a:lnTo>
                  <a:lnTo>
                    <a:pt x="24415" y="29850"/>
                  </a:lnTo>
                  <a:lnTo>
                    <a:pt x="24415" y="29850"/>
                  </a:lnTo>
                  <a:lnTo>
                    <a:pt x="23376" y="29850"/>
                  </a:lnTo>
                  <a:lnTo>
                    <a:pt x="23376" y="31044"/>
                  </a:lnTo>
                  <a:lnTo>
                    <a:pt x="21818" y="29850"/>
                  </a:lnTo>
                  <a:lnTo>
                    <a:pt x="19740" y="29850"/>
                  </a:lnTo>
                  <a:lnTo>
                    <a:pt x="17142" y="31044"/>
                  </a:lnTo>
                  <a:lnTo>
                    <a:pt x="16103" y="31044"/>
                  </a:lnTo>
                  <a:lnTo>
                    <a:pt x="14545" y="28059"/>
                  </a:lnTo>
                  <a:lnTo>
                    <a:pt x="13506" y="26865"/>
                  </a:lnTo>
                  <a:lnTo>
                    <a:pt x="10909" y="28059"/>
                  </a:lnTo>
                  <a:lnTo>
                    <a:pt x="9870" y="28059"/>
                  </a:lnTo>
                  <a:lnTo>
                    <a:pt x="8831" y="29850"/>
                  </a:lnTo>
                  <a:lnTo>
                    <a:pt x="7272" y="29850"/>
                  </a:lnTo>
                  <a:lnTo>
                    <a:pt x="6233" y="29850"/>
                  </a:lnTo>
                  <a:lnTo>
                    <a:pt x="1038" y="29850"/>
                  </a:lnTo>
                  <a:lnTo>
                    <a:pt x="0" y="31044"/>
                  </a:lnTo>
                  <a:lnTo>
                    <a:pt x="0" y="32835"/>
                  </a:lnTo>
                  <a:lnTo>
                    <a:pt x="0" y="32835"/>
                  </a:lnTo>
                  <a:lnTo>
                    <a:pt x="0" y="34029"/>
                  </a:lnTo>
                  <a:lnTo>
                    <a:pt x="1038" y="34029"/>
                  </a:lnTo>
                  <a:lnTo>
                    <a:pt x="1038" y="34029"/>
                  </a:lnTo>
                  <a:lnTo>
                    <a:pt x="2597" y="34029"/>
                  </a:lnTo>
                  <a:lnTo>
                    <a:pt x="2597" y="34029"/>
                  </a:lnTo>
                  <a:lnTo>
                    <a:pt x="3636" y="34029"/>
                  </a:lnTo>
                  <a:lnTo>
                    <a:pt x="3636" y="34029"/>
                  </a:lnTo>
                  <a:lnTo>
                    <a:pt x="2597" y="34029"/>
                  </a:lnTo>
                  <a:lnTo>
                    <a:pt x="1038" y="34029"/>
                  </a:lnTo>
                  <a:lnTo>
                    <a:pt x="1038" y="34029"/>
                  </a:lnTo>
                  <a:lnTo>
                    <a:pt x="1038" y="34029"/>
                  </a:lnTo>
                  <a:lnTo>
                    <a:pt x="1038" y="35223"/>
                  </a:lnTo>
                  <a:lnTo>
                    <a:pt x="1038" y="35223"/>
                  </a:lnTo>
                  <a:lnTo>
                    <a:pt x="2597" y="35223"/>
                  </a:lnTo>
                  <a:lnTo>
                    <a:pt x="2597" y="35223"/>
                  </a:lnTo>
                  <a:lnTo>
                    <a:pt x="2597" y="37014"/>
                  </a:lnTo>
                  <a:lnTo>
                    <a:pt x="1038" y="37014"/>
                  </a:lnTo>
                  <a:lnTo>
                    <a:pt x="0" y="37014"/>
                  </a:lnTo>
                  <a:lnTo>
                    <a:pt x="0" y="37014"/>
                  </a:lnTo>
                  <a:lnTo>
                    <a:pt x="2597" y="38208"/>
                  </a:lnTo>
                  <a:lnTo>
                    <a:pt x="2597" y="39402"/>
                  </a:lnTo>
                  <a:lnTo>
                    <a:pt x="2597" y="39402"/>
                  </a:lnTo>
                  <a:lnTo>
                    <a:pt x="3636" y="39402"/>
                  </a:lnTo>
                  <a:lnTo>
                    <a:pt x="5194" y="39402"/>
                  </a:lnTo>
                  <a:lnTo>
                    <a:pt x="6233" y="39402"/>
                  </a:lnTo>
                  <a:lnTo>
                    <a:pt x="9870" y="41194"/>
                  </a:lnTo>
                  <a:lnTo>
                    <a:pt x="9870" y="41194"/>
                  </a:lnTo>
                  <a:lnTo>
                    <a:pt x="10909" y="41194"/>
                  </a:lnTo>
                  <a:lnTo>
                    <a:pt x="10909" y="41194"/>
                  </a:lnTo>
                  <a:lnTo>
                    <a:pt x="12467" y="42388"/>
                  </a:lnTo>
                  <a:lnTo>
                    <a:pt x="12467" y="41194"/>
                  </a:lnTo>
                  <a:lnTo>
                    <a:pt x="12467" y="41194"/>
                  </a:lnTo>
                  <a:lnTo>
                    <a:pt x="13506" y="42388"/>
                  </a:lnTo>
                  <a:lnTo>
                    <a:pt x="14545" y="42388"/>
                  </a:lnTo>
                  <a:lnTo>
                    <a:pt x="14545" y="42388"/>
                  </a:lnTo>
                  <a:lnTo>
                    <a:pt x="16103" y="42388"/>
                  </a:lnTo>
                  <a:lnTo>
                    <a:pt x="16103" y="42388"/>
                  </a:lnTo>
                  <a:lnTo>
                    <a:pt x="16103" y="44179"/>
                  </a:lnTo>
                  <a:lnTo>
                    <a:pt x="16103" y="44179"/>
                  </a:lnTo>
                  <a:lnTo>
                    <a:pt x="17142" y="44179"/>
                  </a:lnTo>
                  <a:lnTo>
                    <a:pt x="17142" y="44179"/>
                  </a:lnTo>
                  <a:lnTo>
                    <a:pt x="18181" y="44179"/>
                  </a:lnTo>
                  <a:lnTo>
                    <a:pt x="18181" y="44179"/>
                  </a:lnTo>
                  <a:lnTo>
                    <a:pt x="18181" y="45373"/>
                  </a:lnTo>
                  <a:lnTo>
                    <a:pt x="17142" y="45373"/>
                  </a:lnTo>
                  <a:lnTo>
                    <a:pt x="18181" y="46567"/>
                  </a:lnTo>
                  <a:lnTo>
                    <a:pt x="18181" y="46567"/>
                  </a:lnTo>
                  <a:lnTo>
                    <a:pt x="19740" y="46567"/>
                  </a:lnTo>
                  <a:lnTo>
                    <a:pt x="21818" y="46567"/>
                  </a:lnTo>
                  <a:lnTo>
                    <a:pt x="24415" y="48358"/>
                  </a:lnTo>
                  <a:lnTo>
                    <a:pt x="23376" y="48358"/>
                  </a:lnTo>
                  <a:lnTo>
                    <a:pt x="23376" y="46567"/>
                  </a:lnTo>
                  <a:lnTo>
                    <a:pt x="21818" y="46567"/>
                  </a:lnTo>
                  <a:lnTo>
                    <a:pt x="20779" y="46567"/>
                  </a:lnTo>
                  <a:lnTo>
                    <a:pt x="20779" y="48358"/>
                  </a:lnTo>
                  <a:lnTo>
                    <a:pt x="20779" y="48358"/>
                  </a:lnTo>
                  <a:lnTo>
                    <a:pt x="20779" y="48358"/>
                  </a:lnTo>
                  <a:lnTo>
                    <a:pt x="20779" y="49552"/>
                  </a:lnTo>
                  <a:lnTo>
                    <a:pt x="21818" y="49552"/>
                  </a:lnTo>
                  <a:lnTo>
                    <a:pt x="20779" y="50746"/>
                  </a:lnTo>
                  <a:lnTo>
                    <a:pt x="20779" y="52537"/>
                  </a:lnTo>
                  <a:lnTo>
                    <a:pt x="20779" y="52537"/>
                  </a:lnTo>
                  <a:lnTo>
                    <a:pt x="21818" y="53731"/>
                  </a:lnTo>
                  <a:lnTo>
                    <a:pt x="23376" y="56716"/>
                  </a:lnTo>
                  <a:lnTo>
                    <a:pt x="27012" y="57910"/>
                  </a:lnTo>
                  <a:lnTo>
                    <a:pt x="27012" y="57910"/>
                  </a:lnTo>
                  <a:lnTo>
                    <a:pt x="28051" y="57910"/>
                  </a:lnTo>
                  <a:lnTo>
                    <a:pt x="29610" y="59701"/>
                  </a:lnTo>
                  <a:lnTo>
                    <a:pt x="29610" y="59701"/>
                  </a:lnTo>
                  <a:lnTo>
                    <a:pt x="29610" y="59701"/>
                  </a:lnTo>
                  <a:lnTo>
                    <a:pt x="29610" y="63880"/>
                  </a:lnTo>
                  <a:lnTo>
                    <a:pt x="29610" y="65074"/>
                  </a:lnTo>
                  <a:lnTo>
                    <a:pt x="29610" y="65074"/>
                  </a:lnTo>
                  <a:lnTo>
                    <a:pt x="29610" y="65074"/>
                  </a:lnTo>
                  <a:lnTo>
                    <a:pt x="28051" y="65074"/>
                  </a:lnTo>
                  <a:lnTo>
                    <a:pt x="28051" y="65074"/>
                  </a:lnTo>
                  <a:lnTo>
                    <a:pt x="28051" y="66268"/>
                  </a:lnTo>
                  <a:lnTo>
                    <a:pt x="28051" y="66268"/>
                  </a:lnTo>
                  <a:lnTo>
                    <a:pt x="30649" y="68059"/>
                  </a:lnTo>
                  <a:lnTo>
                    <a:pt x="31688" y="69253"/>
                  </a:lnTo>
                  <a:lnTo>
                    <a:pt x="31688" y="70447"/>
                  </a:lnTo>
                  <a:lnTo>
                    <a:pt x="31688" y="73432"/>
                  </a:lnTo>
                  <a:lnTo>
                    <a:pt x="33246" y="73432"/>
                  </a:lnTo>
                  <a:lnTo>
                    <a:pt x="33246" y="75223"/>
                  </a:lnTo>
                  <a:lnTo>
                    <a:pt x="31688" y="73432"/>
                  </a:lnTo>
                  <a:lnTo>
                    <a:pt x="31688" y="73432"/>
                  </a:lnTo>
                  <a:lnTo>
                    <a:pt x="31688" y="70447"/>
                  </a:lnTo>
                  <a:lnTo>
                    <a:pt x="30649" y="70447"/>
                  </a:lnTo>
                  <a:lnTo>
                    <a:pt x="30649" y="69253"/>
                  </a:lnTo>
                  <a:lnTo>
                    <a:pt x="29610" y="68059"/>
                  </a:lnTo>
                  <a:lnTo>
                    <a:pt x="28051" y="70447"/>
                  </a:lnTo>
                  <a:lnTo>
                    <a:pt x="28051" y="73432"/>
                  </a:lnTo>
                  <a:lnTo>
                    <a:pt x="27012" y="80597"/>
                  </a:lnTo>
                  <a:lnTo>
                    <a:pt x="27012" y="79402"/>
                  </a:lnTo>
                  <a:lnTo>
                    <a:pt x="27012" y="79402"/>
                  </a:lnTo>
                  <a:lnTo>
                    <a:pt x="28051" y="79402"/>
                  </a:lnTo>
                  <a:lnTo>
                    <a:pt x="28051" y="79402"/>
                  </a:lnTo>
                  <a:lnTo>
                    <a:pt x="27012" y="80597"/>
                  </a:lnTo>
                  <a:lnTo>
                    <a:pt x="27012" y="80597"/>
                  </a:lnTo>
                  <a:lnTo>
                    <a:pt x="25974" y="87761"/>
                  </a:lnTo>
                  <a:lnTo>
                    <a:pt x="24415" y="93134"/>
                  </a:lnTo>
                  <a:lnTo>
                    <a:pt x="23376" y="94925"/>
                  </a:lnTo>
                  <a:lnTo>
                    <a:pt x="20779" y="94925"/>
                  </a:lnTo>
                  <a:lnTo>
                    <a:pt x="20779" y="96119"/>
                  </a:lnTo>
                  <a:lnTo>
                    <a:pt x="21818" y="96119"/>
                  </a:lnTo>
                  <a:lnTo>
                    <a:pt x="21818" y="96119"/>
                  </a:lnTo>
                  <a:lnTo>
                    <a:pt x="23376" y="96119"/>
                  </a:lnTo>
                  <a:lnTo>
                    <a:pt x="23376" y="96119"/>
                  </a:lnTo>
                  <a:lnTo>
                    <a:pt x="24415" y="97313"/>
                  </a:lnTo>
                  <a:lnTo>
                    <a:pt x="24415" y="97313"/>
                  </a:lnTo>
                  <a:lnTo>
                    <a:pt x="24415" y="97313"/>
                  </a:lnTo>
                  <a:lnTo>
                    <a:pt x="24415" y="99104"/>
                  </a:lnTo>
                  <a:lnTo>
                    <a:pt x="24415" y="99104"/>
                  </a:lnTo>
                  <a:lnTo>
                    <a:pt x="23376" y="99104"/>
                  </a:lnTo>
                  <a:lnTo>
                    <a:pt x="24415" y="99104"/>
                  </a:lnTo>
                  <a:lnTo>
                    <a:pt x="24415" y="100298"/>
                  </a:lnTo>
                  <a:lnTo>
                    <a:pt x="24415" y="100298"/>
                  </a:lnTo>
                  <a:lnTo>
                    <a:pt x="24415" y="100298"/>
                  </a:lnTo>
                  <a:lnTo>
                    <a:pt x="24415" y="99104"/>
                  </a:lnTo>
                  <a:lnTo>
                    <a:pt x="25974" y="99104"/>
                  </a:lnTo>
                  <a:lnTo>
                    <a:pt x="25974" y="99104"/>
                  </a:lnTo>
                  <a:lnTo>
                    <a:pt x="25974" y="99104"/>
                  </a:lnTo>
                  <a:lnTo>
                    <a:pt x="25974" y="99104"/>
                  </a:lnTo>
                  <a:lnTo>
                    <a:pt x="27012" y="100298"/>
                  </a:lnTo>
                  <a:lnTo>
                    <a:pt x="28051" y="100298"/>
                  </a:lnTo>
                  <a:lnTo>
                    <a:pt x="29610" y="100298"/>
                  </a:lnTo>
                  <a:lnTo>
                    <a:pt x="30649" y="100298"/>
                  </a:lnTo>
                  <a:lnTo>
                    <a:pt x="30649" y="101492"/>
                  </a:lnTo>
                  <a:lnTo>
                    <a:pt x="31688" y="103283"/>
                  </a:lnTo>
                  <a:lnTo>
                    <a:pt x="31688" y="103283"/>
                  </a:lnTo>
                  <a:lnTo>
                    <a:pt x="31688" y="103283"/>
                  </a:lnTo>
                  <a:lnTo>
                    <a:pt x="33246" y="103283"/>
                  </a:lnTo>
                  <a:lnTo>
                    <a:pt x="34285" y="101492"/>
                  </a:lnTo>
                  <a:lnTo>
                    <a:pt x="34285" y="101492"/>
                  </a:lnTo>
                  <a:lnTo>
                    <a:pt x="34285" y="103283"/>
                  </a:lnTo>
                  <a:lnTo>
                    <a:pt x="34285" y="103283"/>
                  </a:lnTo>
                  <a:lnTo>
                    <a:pt x="35324" y="103283"/>
                  </a:lnTo>
                  <a:lnTo>
                    <a:pt x="35324" y="103283"/>
                  </a:lnTo>
                  <a:lnTo>
                    <a:pt x="36883" y="104477"/>
                  </a:lnTo>
                  <a:lnTo>
                    <a:pt x="37922" y="103283"/>
                  </a:lnTo>
                  <a:lnTo>
                    <a:pt x="38961" y="104477"/>
                  </a:lnTo>
                  <a:lnTo>
                    <a:pt x="38961" y="104477"/>
                  </a:lnTo>
                  <a:lnTo>
                    <a:pt x="40519" y="103283"/>
                  </a:lnTo>
                  <a:lnTo>
                    <a:pt x="41558" y="104477"/>
                  </a:lnTo>
                  <a:lnTo>
                    <a:pt x="41558" y="104477"/>
                  </a:lnTo>
                  <a:lnTo>
                    <a:pt x="41558" y="103283"/>
                  </a:lnTo>
                  <a:lnTo>
                    <a:pt x="43116" y="103283"/>
                  </a:lnTo>
                  <a:lnTo>
                    <a:pt x="43116" y="101492"/>
                  </a:lnTo>
                  <a:lnTo>
                    <a:pt x="43116" y="101492"/>
                  </a:lnTo>
                  <a:lnTo>
                    <a:pt x="43116" y="101492"/>
                  </a:lnTo>
                  <a:lnTo>
                    <a:pt x="45194" y="103283"/>
                  </a:lnTo>
                  <a:lnTo>
                    <a:pt x="46753" y="103283"/>
                  </a:lnTo>
                  <a:lnTo>
                    <a:pt x="47792" y="103283"/>
                  </a:lnTo>
                  <a:lnTo>
                    <a:pt x="47792" y="103283"/>
                  </a:lnTo>
                  <a:lnTo>
                    <a:pt x="48831" y="104477"/>
                  </a:lnTo>
                  <a:lnTo>
                    <a:pt x="48831" y="104477"/>
                  </a:lnTo>
                  <a:lnTo>
                    <a:pt x="48831" y="104477"/>
                  </a:lnTo>
                  <a:lnTo>
                    <a:pt x="50389" y="104477"/>
                  </a:lnTo>
                  <a:lnTo>
                    <a:pt x="50389" y="104477"/>
                  </a:lnTo>
                  <a:lnTo>
                    <a:pt x="51428" y="104477"/>
                  </a:lnTo>
                  <a:lnTo>
                    <a:pt x="51428" y="106268"/>
                  </a:lnTo>
                  <a:lnTo>
                    <a:pt x="51428" y="106268"/>
                  </a:lnTo>
                  <a:lnTo>
                    <a:pt x="51428" y="106268"/>
                  </a:lnTo>
                  <a:lnTo>
                    <a:pt x="51428" y="106268"/>
                  </a:lnTo>
                  <a:lnTo>
                    <a:pt x="52467" y="107462"/>
                  </a:lnTo>
                  <a:lnTo>
                    <a:pt x="54025" y="107462"/>
                  </a:lnTo>
                  <a:lnTo>
                    <a:pt x="54025" y="107462"/>
                  </a:lnTo>
                  <a:lnTo>
                    <a:pt x="54025" y="107462"/>
                  </a:lnTo>
                  <a:lnTo>
                    <a:pt x="54025" y="107462"/>
                  </a:lnTo>
                  <a:lnTo>
                    <a:pt x="55064" y="107462"/>
                  </a:lnTo>
                  <a:lnTo>
                    <a:pt x="56103" y="107462"/>
                  </a:lnTo>
                  <a:lnTo>
                    <a:pt x="57662" y="107462"/>
                  </a:lnTo>
                  <a:lnTo>
                    <a:pt x="58701" y="108656"/>
                  </a:lnTo>
                  <a:lnTo>
                    <a:pt x="60259" y="108656"/>
                  </a:lnTo>
                  <a:lnTo>
                    <a:pt x="60259" y="107462"/>
                  </a:lnTo>
                  <a:lnTo>
                    <a:pt x="60259" y="107462"/>
                  </a:lnTo>
                  <a:lnTo>
                    <a:pt x="60259" y="107462"/>
                  </a:lnTo>
                  <a:lnTo>
                    <a:pt x="61298" y="107462"/>
                  </a:lnTo>
                  <a:lnTo>
                    <a:pt x="61298" y="107462"/>
                  </a:lnTo>
                  <a:lnTo>
                    <a:pt x="62337" y="107462"/>
                  </a:lnTo>
                  <a:lnTo>
                    <a:pt x="62337" y="106268"/>
                  </a:lnTo>
                  <a:lnTo>
                    <a:pt x="63896" y="107462"/>
                  </a:lnTo>
                  <a:lnTo>
                    <a:pt x="63896" y="107462"/>
                  </a:lnTo>
                  <a:lnTo>
                    <a:pt x="64935" y="107462"/>
                  </a:lnTo>
                  <a:lnTo>
                    <a:pt x="64935" y="107462"/>
                  </a:lnTo>
                  <a:lnTo>
                    <a:pt x="63896" y="104477"/>
                  </a:lnTo>
                  <a:lnTo>
                    <a:pt x="63896" y="101492"/>
                  </a:lnTo>
                  <a:lnTo>
                    <a:pt x="63896" y="101492"/>
                  </a:lnTo>
                  <a:lnTo>
                    <a:pt x="64935" y="99104"/>
                  </a:lnTo>
                  <a:lnTo>
                    <a:pt x="64935" y="97313"/>
                  </a:lnTo>
                  <a:lnTo>
                    <a:pt x="69610" y="94925"/>
                  </a:lnTo>
                  <a:lnTo>
                    <a:pt x="71168" y="93134"/>
                  </a:lnTo>
                  <a:lnTo>
                    <a:pt x="71168" y="93134"/>
                  </a:lnTo>
                  <a:lnTo>
                    <a:pt x="72207" y="93134"/>
                  </a:lnTo>
                  <a:lnTo>
                    <a:pt x="72207" y="93134"/>
                  </a:lnTo>
                  <a:lnTo>
                    <a:pt x="73246" y="93134"/>
                  </a:lnTo>
                  <a:lnTo>
                    <a:pt x="73246" y="94925"/>
                  </a:lnTo>
                  <a:lnTo>
                    <a:pt x="73246" y="94925"/>
                  </a:lnTo>
                  <a:lnTo>
                    <a:pt x="74805" y="94925"/>
                  </a:lnTo>
                  <a:lnTo>
                    <a:pt x="75844" y="94925"/>
                  </a:lnTo>
                  <a:lnTo>
                    <a:pt x="77402" y="96119"/>
                  </a:lnTo>
                  <a:lnTo>
                    <a:pt x="78441" y="96119"/>
                  </a:lnTo>
                  <a:lnTo>
                    <a:pt x="78441" y="96119"/>
                  </a:lnTo>
                  <a:lnTo>
                    <a:pt x="78441" y="94925"/>
                  </a:lnTo>
                  <a:lnTo>
                    <a:pt x="79480" y="94925"/>
                  </a:lnTo>
                  <a:lnTo>
                    <a:pt x="79480" y="94925"/>
                  </a:lnTo>
                  <a:lnTo>
                    <a:pt x="79480" y="94925"/>
                  </a:lnTo>
                  <a:lnTo>
                    <a:pt x="79480" y="94925"/>
                  </a:lnTo>
                  <a:lnTo>
                    <a:pt x="81038" y="94925"/>
                  </a:lnTo>
                  <a:lnTo>
                    <a:pt x="81038" y="94925"/>
                  </a:lnTo>
                  <a:lnTo>
                    <a:pt x="81038" y="94925"/>
                  </a:lnTo>
                  <a:lnTo>
                    <a:pt x="81038" y="96119"/>
                  </a:lnTo>
                  <a:lnTo>
                    <a:pt x="82077" y="96119"/>
                  </a:lnTo>
                  <a:lnTo>
                    <a:pt x="82077" y="96119"/>
                  </a:lnTo>
                  <a:lnTo>
                    <a:pt x="83116" y="96119"/>
                  </a:lnTo>
                  <a:lnTo>
                    <a:pt x="84675" y="97313"/>
                  </a:lnTo>
                  <a:lnTo>
                    <a:pt x="86753" y="97313"/>
                  </a:lnTo>
                  <a:lnTo>
                    <a:pt x="88311" y="99104"/>
                  </a:lnTo>
                  <a:lnTo>
                    <a:pt x="89350" y="99104"/>
                  </a:lnTo>
                  <a:lnTo>
                    <a:pt x="90389" y="99104"/>
                  </a:lnTo>
                  <a:lnTo>
                    <a:pt x="91948" y="99104"/>
                  </a:lnTo>
                  <a:lnTo>
                    <a:pt x="94545" y="97313"/>
                  </a:lnTo>
                  <a:lnTo>
                    <a:pt x="94545" y="97313"/>
                  </a:lnTo>
                  <a:lnTo>
                    <a:pt x="95584" y="97313"/>
                  </a:lnTo>
                  <a:lnTo>
                    <a:pt x="95584" y="96119"/>
                  </a:lnTo>
                  <a:lnTo>
                    <a:pt x="95584" y="96119"/>
                  </a:lnTo>
                  <a:lnTo>
                    <a:pt x="96623" y="94925"/>
                  </a:lnTo>
                  <a:lnTo>
                    <a:pt x="100259" y="91940"/>
                  </a:lnTo>
                  <a:lnTo>
                    <a:pt x="100259" y="91940"/>
                  </a:lnTo>
                  <a:lnTo>
                    <a:pt x="101818" y="91940"/>
                  </a:lnTo>
                  <a:lnTo>
                    <a:pt x="101818" y="90746"/>
                  </a:lnTo>
                  <a:lnTo>
                    <a:pt x="101818" y="90746"/>
                  </a:lnTo>
                  <a:lnTo>
                    <a:pt x="101818" y="90746"/>
                  </a:lnTo>
                  <a:lnTo>
                    <a:pt x="101818" y="90746"/>
                  </a:lnTo>
                  <a:lnTo>
                    <a:pt x="101818" y="90746"/>
                  </a:lnTo>
                  <a:lnTo>
                    <a:pt x="102857" y="90746"/>
                  </a:lnTo>
                  <a:lnTo>
                    <a:pt x="102857" y="90746"/>
                  </a:lnTo>
                  <a:lnTo>
                    <a:pt x="102857" y="88955"/>
                  </a:lnTo>
                  <a:lnTo>
                    <a:pt x="102857" y="88955"/>
                  </a:lnTo>
                  <a:lnTo>
                    <a:pt x="102857" y="88955"/>
                  </a:lnTo>
                  <a:lnTo>
                    <a:pt x="103896" y="87761"/>
                  </a:lnTo>
                  <a:lnTo>
                    <a:pt x="103896" y="87761"/>
                  </a:lnTo>
                  <a:lnTo>
                    <a:pt x="103896" y="85970"/>
                  </a:lnTo>
                  <a:lnTo>
                    <a:pt x="103896" y="85970"/>
                  </a:lnTo>
                  <a:lnTo>
                    <a:pt x="103896" y="85970"/>
                  </a:lnTo>
                  <a:lnTo>
                    <a:pt x="101818" y="85970"/>
                  </a:lnTo>
                  <a:lnTo>
                    <a:pt x="101818" y="85970"/>
                  </a:lnTo>
                  <a:lnTo>
                    <a:pt x="99220" y="85970"/>
                  </a:lnTo>
                  <a:lnTo>
                    <a:pt x="98181" y="84776"/>
                  </a:lnTo>
                  <a:lnTo>
                    <a:pt x="98181" y="83582"/>
                  </a:lnTo>
                  <a:lnTo>
                    <a:pt x="96623" y="83582"/>
                  </a:lnTo>
                  <a:lnTo>
                    <a:pt x="98181" y="83582"/>
                  </a:lnTo>
                  <a:lnTo>
                    <a:pt x="96623" y="81791"/>
                  </a:lnTo>
                  <a:lnTo>
                    <a:pt x="96623" y="81791"/>
                  </a:lnTo>
                  <a:lnTo>
                    <a:pt x="96623" y="80597"/>
                  </a:lnTo>
                  <a:lnTo>
                    <a:pt x="98181" y="80597"/>
                  </a:lnTo>
                  <a:lnTo>
                    <a:pt x="98181" y="79402"/>
                  </a:lnTo>
                  <a:lnTo>
                    <a:pt x="98181" y="79402"/>
                  </a:lnTo>
                  <a:lnTo>
                    <a:pt x="99220" y="79402"/>
                  </a:lnTo>
                  <a:lnTo>
                    <a:pt x="98181" y="77611"/>
                  </a:lnTo>
                  <a:lnTo>
                    <a:pt x="98181" y="77611"/>
                  </a:lnTo>
                  <a:lnTo>
                    <a:pt x="98181" y="77611"/>
                  </a:lnTo>
                  <a:lnTo>
                    <a:pt x="98181" y="77611"/>
                  </a:lnTo>
                  <a:lnTo>
                    <a:pt x="96623" y="77611"/>
                  </a:lnTo>
                  <a:lnTo>
                    <a:pt x="96623" y="76417"/>
                  </a:lnTo>
                  <a:lnTo>
                    <a:pt x="95584" y="76417"/>
                  </a:lnTo>
                  <a:lnTo>
                    <a:pt x="95584" y="75223"/>
                  </a:lnTo>
                  <a:lnTo>
                    <a:pt x="95584" y="73432"/>
                  </a:lnTo>
                  <a:lnTo>
                    <a:pt x="95584" y="73432"/>
                  </a:lnTo>
                  <a:lnTo>
                    <a:pt x="95584" y="73432"/>
                  </a:lnTo>
                  <a:lnTo>
                    <a:pt x="96623" y="73432"/>
                  </a:lnTo>
                  <a:lnTo>
                    <a:pt x="96623" y="73432"/>
                  </a:lnTo>
                  <a:lnTo>
                    <a:pt x="98181" y="72238"/>
                  </a:lnTo>
                  <a:lnTo>
                    <a:pt x="99220" y="72238"/>
                  </a:lnTo>
                  <a:lnTo>
                    <a:pt x="99220" y="72238"/>
                  </a:lnTo>
                  <a:lnTo>
                    <a:pt x="99220" y="70447"/>
                  </a:lnTo>
                  <a:lnTo>
                    <a:pt x="100259" y="70447"/>
                  </a:lnTo>
                  <a:lnTo>
                    <a:pt x="100259" y="69253"/>
                  </a:lnTo>
                  <a:lnTo>
                    <a:pt x="99220" y="69253"/>
                  </a:lnTo>
                  <a:lnTo>
                    <a:pt x="99220" y="69253"/>
                  </a:lnTo>
                  <a:lnTo>
                    <a:pt x="98181" y="68059"/>
                  </a:lnTo>
                  <a:lnTo>
                    <a:pt x="98181" y="66268"/>
                  </a:lnTo>
                  <a:lnTo>
                    <a:pt x="96623" y="66268"/>
                  </a:lnTo>
                  <a:lnTo>
                    <a:pt x="96623" y="65074"/>
                  </a:lnTo>
                  <a:lnTo>
                    <a:pt x="96623" y="65074"/>
                  </a:lnTo>
                  <a:lnTo>
                    <a:pt x="96623" y="65074"/>
                  </a:lnTo>
                  <a:lnTo>
                    <a:pt x="98181" y="63880"/>
                  </a:lnTo>
                  <a:lnTo>
                    <a:pt x="99220" y="63880"/>
                  </a:lnTo>
                  <a:lnTo>
                    <a:pt x="99220" y="63880"/>
                  </a:lnTo>
                  <a:lnTo>
                    <a:pt x="98181" y="62089"/>
                  </a:lnTo>
                  <a:lnTo>
                    <a:pt x="98181" y="62089"/>
                  </a:lnTo>
                  <a:lnTo>
                    <a:pt x="98181" y="60895"/>
                  </a:lnTo>
                  <a:lnTo>
                    <a:pt x="96623" y="60895"/>
                  </a:lnTo>
                  <a:lnTo>
                    <a:pt x="96623" y="60895"/>
                  </a:lnTo>
                  <a:lnTo>
                    <a:pt x="96623" y="59701"/>
                  </a:lnTo>
                  <a:lnTo>
                    <a:pt x="96623" y="57910"/>
                  </a:lnTo>
                  <a:lnTo>
                    <a:pt x="96623" y="57910"/>
                  </a:lnTo>
                  <a:lnTo>
                    <a:pt x="96623" y="57910"/>
                  </a:lnTo>
                  <a:lnTo>
                    <a:pt x="96623" y="57910"/>
                  </a:lnTo>
                  <a:lnTo>
                    <a:pt x="95584" y="56716"/>
                  </a:lnTo>
                  <a:lnTo>
                    <a:pt x="94545" y="56716"/>
                  </a:lnTo>
                  <a:lnTo>
                    <a:pt x="92987" y="57910"/>
                  </a:lnTo>
                  <a:lnTo>
                    <a:pt x="91948" y="57910"/>
                  </a:lnTo>
                  <a:lnTo>
                    <a:pt x="91948" y="57910"/>
                  </a:lnTo>
                  <a:lnTo>
                    <a:pt x="91948" y="59701"/>
                  </a:lnTo>
                  <a:lnTo>
                    <a:pt x="92987" y="59701"/>
                  </a:lnTo>
                  <a:lnTo>
                    <a:pt x="91948" y="60895"/>
                  </a:lnTo>
                  <a:lnTo>
                    <a:pt x="90389" y="60895"/>
                  </a:lnTo>
                  <a:lnTo>
                    <a:pt x="90389" y="60895"/>
                  </a:lnTo>
                  <a:lnTo>
                    <a:pt x="89350" y="60895"/>
                  </a:lnTo>
                  <a:lnTo>
                    <a:pt x="89350" y="59701"/>
                  </a:lnTo>
                  <a:lnTo>
                    <a:pt x="90389" y="59701"/>
                  </a:lnTo>
                  <a:lnTo>
                    <a:pt x="90389" y="59701"/>
                  </a:lnTo>
                  <a:lnTo>
                    <a:pt x="90389" y="57910"/>
                  </a:lnTo>
                  <a:lnTo>
                    <a:pt x="91948" y="57910"/>
                  </a:lnTo>
                  <a:lnTo>
                    <a:pt x="90389" y="56716"/>
                  </a:lnTo>
                  <a:lnTo>
                    <a:pt x="90389" y="56716"/>
                  </a:lnTo>
                  <a:lnTo>
                    <a:pt x="90389" y="56716"/>
                  </a:lnTo>
                  <a:lnTo>
                    <a:pt x="91948" y="54925"/>
                  </a:lnTo>
                  <a:lnTo>
                    <a:pt x="91948" y="54925"/>
                  </a:lnTo>
                  <a:lnTo>
                    <a:pt x="92987" y="53731"/>
                  </a:lnTo>
                  <a:lnTo>
                    <a:pt x="94545" y="53731"/>
                  </a:lnTo>
                  <a:lnTo>
                    <a:pt x="94545" y="52537"/>
                  </a:lnTo>
                  <a:lnTo>
                    <a:pt x="94545" y="50746"/>
                  </a:lnTo>
                  <a:lnTo>
                    <a:pt x="94545" y="50746"/>
                  </a:lnTo>
                  <a:lnTo>
                    <a:pt x="95584" y="49552"/>
                  </a:lnTo>
                  <a:lnTo>
                    <a:pt x="95584" y="49552"/>
                  </a:lnTo>
                  <a:lnTo>
                    <a:pt x="96623" y="49552"/>
                  </a:lnTo>
                  <a:lnTo>
                    <a:pt x="98181" y="48358"/>
                  </a:lnTo>
                  <a:lnTo>
                    <a:pt x="98181" y="46567"/>
                  </a:lnTo>
                  <a:lnTo>
                    <a:pt x="99220" y="46567"/>
                  </a:lnTo>
                  <a:lnTo>
                    <a:pt x="99220" y="46567"/>
                  </a:lnTo>
                  <a:lnTo>
                    <a:pt x="99220" y="46567"/>
                  </a:lnTo>
                  <a:lnTo>
                    <a:pt x="99220" y="45373"/>
                  </a:lnTo>
                  <a:lnTo>
                    <a:pt x="98181" y="45373"/>
                  </a:lnTo>
                  <a:lnTo>
                    <a:pt x="98181" y="45373"/>
                  </a:lnTo>
                  <a:lnTo>
                    <a:pt x="99220" y="45373"/>
                  </a:lnTo>
                  <a:lnTo>
                    <a:pt x="99220" y="44179"/>
                  </a:lnTo>
                  <a:lnTo>
                    <a:pt x="100259" y="44179"/>
                  </a:lnTo>
                  <a:lnTo>
                    <a:pt x="100259" y="44179"/>
                  </a:lnTo>
                  <a:lnTo>
                    <a:pt x="100259" y="45373"/>
                  </a:lnTo>
                  <a:lnTo>
                    <a:pt x="100259" y="45373"/>
                  </a:lnTo>
                  <a:lnTo>
                    <a:pt x="101818" y="45373"/>
                  </a:lnTo>
                  <a:lnTo>
                    <a:pt x="101818" y="45373"/>
                  </a:lnTo>
                  <a:lnTo>
                    <a:pt x="102857" y="45373"/>
                  </a:lnTo>
                  <a:lnTo>
                    <a:pt x="102857" y="44179"/>
                  </a:lnTo>
                  <a:lnTo>
                    <a:pt x="102857" y="44179"/>
                  </a:lnTo>
                  <a:lnTo>
                    <a:pt x="103896" y="42388"/>
                  </a:lnTo>
                  <a:lnTo>
                    <a:pt x="103896" y="42388"/>
                  </a:lnTo>
                  <a:lnTo>
                    <a:pt x="103896" y="42388"/>
                  </a:lnTo>
                  <a:lnTo>
                    <a:pt x="103896" y="41194"/>
                  </a:lnTo>
                  <a:lnTo>
                    <a:pt x="103896" y="39402"/>
                  </a:lnTo>
                  <a:lnTo>
                    <a:pt x="103896" y="38208"/>
                  </a:lnTo>
                  <a:lnTo>
                    <a:pt x="103896" y="37014"/>
                  </a:lnTo>
                  <a:lnTo>
                    <a:pt x="103896" y="35223"/>
                  </a:lnTo>
                  <a:lnTo>
                    <a:pt x="105454" y="34029"/>
                  </a:lnTo>
                  <a:lnTo>
                    <a:pt x="105454" y="32835"/>
                  </a:lnTo>
                  <a:lnTo>
                    <a:pt x="106493" y="31044"/>
                  </a:lnTo>
                  <a:lnTo>
                    <a:pt x="106493" y="29850"/>
                  </a:lnTo>
                  <a:lnTo>
                    <a:pt x="106493" y="29850"/>
                  </a:lnTo>
                  <a:lnTo>
                    <a:pt x="109090" y="26865"/>
                  </a:lnTo>
                  <a:lnTo>
                    <a:pt x="109090" y="26865"/>
                  </a:lnTo>
                  <a:lnTo>
                    <a:pt x="109090" y="25671"/>
                  </a:lnTo>
                  <a:lnTo>
                    <a:pt x="109090" y="25671"/>
                  </a:lnTo>
                  <a:close/>
                  <a:moveTo>
                    <a:pt x="119999" y="106268"/>
                  </a:moveTo>
                  <a:lnTo>
                    <a:pt x="119999" y="104477"/>
                  </a:lnTo>
                  <a:lnTo>
                    <a:pt x="119999" y="104477"/>
                  </a:lnTo>
                  <a:lnTo>
                    <a:pt x="119999" y="104477"/>
                  </a:lnTo>
                  <a:lnTo>
                    <a:pt x="119999" y="103283"/>
                  </a:lnTo>
                  <a:lnTo>
                    <a:pt x="119999" y="101492"/>
                  </a:lnTo>
                  <a:lnTo>
                    <a:pt x="119999" y="100298"/>
                  </a:lnTo>
                  <a:lnTo>
                    <a:pt x="119999" y="100298"/>
                  </a:lnTo>
                  <a:lnTo>
                    <a:pt x="118961" y="100298"/>
                  </a:lnTo>
                  <a:lnTo>
                    <a:pt x="118961" y="100298"/>
                  </a:lnTo>
                  <a:lnTo>
                    <a:pt x="118961" y="100298"/>
                  </a:lnTo>
                  <a:lnTo>
                    <a:pt x="118961" y="101492"/>
                  </a:lnTo>
                  <a:lnTo>
                    <a:pt x="118961" y="103283"/>
                  </a:lnTo>
                  <a:lnTo>
                    <a:pt x="118961" y="103283"/>
                  </a:lnTo>
                  <a:lnTo>
                    <a:pt x="117402" y="104477"/>
                  </a:lnTo>
                  <a:lnTo>
                    <a:pt x="117402" y="103283"/>
                  </a:lnTo>
                  <a:lnTo>
                    <a:pt x="117402" y="103283"/>
                  </a:lnTo>
                  <a:lnTo>
                    <a:pt x="116363" y="103283"/>
                  </a:lnTo>
                  <a:lnTo>
                    <a:pt x="116363" y="103283"/>
                  </a:lnTo>
                  <a:lnTo>
                    <a:pt x="116363" y="104477"/>
                  </a:lnTo>
                  <a:lnTo>
                    <a:pt x="115324" y="104477"/>
                  </a:lnTo>
                  <a:lnTo>
                    <a:pt x="113766" y="104477"/>
                  </a:lnTo>
                  <a:lnTo>
                    <a:pt x="112727" y="106268"/>
                  </a:lnTo>
                  <a:lnTo>
                    <a:pt x="112727" y="107462"/>
                  </a:lnTo>
                  <a:lnTo>
                    <a:pt x="111688" y="107462"/>
                  </a:lnTo>
                  <a:lnTo>
                    <a:pt x="111688" y="107462"/>
                  </a:lnTo>
                  <a:lnTo>
                    <a:pt x="111688" y="108656"/>
                  </a:lnTo>
                  <a:lnTo>
                    <a:pt x="112727" y="108656"/>
                  </a:lnTo>
                  <a:lnTo>
                    <a:pt x="112727" y="108656"/>
                  </a:lnTo>
                  <a:lnTo>
                    <a:pt x="112727" y="108656"/>
                  </a:lnTo>
                  <a:lnTo>
                    <a:pt x="111688" y="110447"/>
                  </a:lnTo>
                  <a:lnTo>
                    <a:pt x="111688" y="110447"/>
                  </a:lnTo>
                  <a:lnTo>
                    <a:pt x="112727" y="111641"/>
                  </a:lnTo>
                  <a:lnTo>
                    <a:pt x="112727" y="111641"/>
                  </a:lnTo>
                  <a:lnTo>
                    <a:pt x="112727" y="111641"/>
                  </a:lnTo>
                  <a:lnTo>
                    <a:pt x="112727" y="112835"/>
                  </a:lnTo>
                  <a:lnTo>
                    <a:pt x="112727" y="112835"/>
                  </a:lnTo>
                  <a:lnTo>
                    <a:pt x="112727" y="112835"/>
                  </a:lnTo>
                  <a:lnTo>
                    <a:pt x="112727" y="112835"/>
                  </a:lnTo>
                  <a:lnTo>
                    <a:pt x="112727" y="112835"/>
                  </a:lnTo>
                  <a:lnTo>
                    <a:pt x="113766" y="114626"/>
                  </a:lnTo>
                  <a:lnTo>
                    <a:pt x="112727" y="114626"/>
                  </a:lnTo>
                  <a:lnTo>
                    <a:pt x="112727" y="115820"/>
                  </a:lnTo>
                  <a:lnTo>
                    <a:pt x="113766" y="115820"/>
                  </a:lnTo>
                  <a:lnTo>
                    <a:pt x="113766" y="115820"/>
                  </a:lnTo>
                  <a:lnTo>
                    <a:pt x="113766" y="115820"/>
                  </a:lnTo>
                  <a:lnTo>
                    <a:pt x="113766" y="117014"/>
                  </a:lnTo>
                  <a:lnTo>
                    <a:pt x="113766" y="117014"/>
                  </a:lnTo>
                  <a:lnTo>
                    <a:pt x="113766" y="117014"/>
                  </a:lnTo>
                  <a:lnTo>
                    <a:pt x="115324" y="118805"/>
                  </a:lnTo>
                  <a:lnTo>
                    <a:pt x="115324" y="118805"/>
                  </a:lnTo>
                  <a:lnTo>
                    <a:pt x="117402" y="120000"/>
                  </a:lnTo>
                  <a:lnTo>
                    <a:pt x="117402" y="118805"/>
                  </a:lnTo>
                  <a:lnTo>
                    <a:pt x="118961" y="117014"/>
                  </a:lnTo>
                  <a:lnTo>
                    <a:pt x="118961" y="115820"/>
                  </a:lnTo>
                  <a:lnTo>
                    <a:pt x="118961" y="115820"/>
                  </a:lnTo>
                  <a:lnTo>
                    <a:pt x="118961" y="112835"/>
                  </a:lnTo>
                  <a:lnTo>
                    <a:pt x="118961" y="112835"/>
                  </a:lnTo>
                  <a:lnTo>
                    <a:pt x="119999" y="110447"/>
                  </a:lnTo>
                  <a:lnTo>
                    <a:pt x="119999" y="110447"/>
                  </a:lnTo>
                  <a:lnTo>
                    <a:pt x="119999" y="106268"/>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90" name="Shape 490"/>
            <p:cNvSpPr/>
            <p:nvPr/>
          </p:nvSpPr>
          <p:spPr>
            <a:xfrm>
              <a:off x="3988" y="1370"/>
              <a:ext cx="300" cy="300"/>
            </a:xfrm>
            <a:custGeom>
              <a:avLst/>
              <a:gdLst/>
              <a:ahLst/>
              <a:cxnLst/>
              <a:rect l="0" t="0" r="0" b="0"/>
              <a:pathLst>
                <a:path w="120000" h="120000" extrusionOk="0">
                  <a:moveTo>
                    <a:pt x="26909" y="113750"/>
                  </a:moveTo>
                  <a:lnTo>
                    <a:pt x="26909" y="112500"/>
                  </a:lnTo>
                  <a:lnTo>
                    <a:pt x="26909" y="112500"/>
                  </a:lnTo>
                  <a:lnTo>
                    <a:pt x="25454" y="112500"/>
                  </a:lnTo>
                  <a:lnTo>
                    <a:pt x="25454" y="112500"/>
                  </a:lnTo>
                  <a:lnTo>
                    <a:pt x="24000" y="113750"/>
                  </a:lnTo>
                  <a:lnTo>
                    <a:pt x="24000" y="113750"/>
                  </a:lnTo>
                  <a:lnTo>
                    <a:pt x="25454" y="113750"/>
                  </a:lnTo>
                  <a:lnTo>
                    <a:pt x="25454" y="113750"/>
                  </a:lnTo>
                  <a:lnTo>
                    <a:pt x="25454" y="113750"/>
                  </a:lnTo>
                  <a:lnTo>
                    <a:pt x="26909" y="115625"/>
                  </a:lnTo>
                  <a:lnTo>
                    <a:pt x="26909" y="115625"/>
                  </a:lnTo>
                  <a:lnTo>
                    <a:pt x="26909" y="113750"/>
                  </a:lnTo>
                  <a:lnTo>
                    <a:pt x="26909" y="113750"/>
                  </a:lnTo>
                  <a:lnTo>
                    <a:pt x="26909" y="113750"/>
                  </a:lnTo>
                  <a:lnTo>
                    <a:pt x="26909" y="113750"/>
                  </a:lnTo>
                  <a:close/>
                  <a:moveTo>
                    <a:pt x="21818" y="112500"/>
                  </a:moveTo>
                  <a:lnTo>
                    <a:pt x="21818" y="112500"/>
                  </a:lnTo>
                  <a:lnTo>
                    <a:pt x="21818" y="112500"/>
                  </a:lnTo>
                  <a:lnTo>
                    <a:pt x="21818" y="110625"/>
                  </a:lnTo>
                  <a:lnTo>
                    <a:pt x="21818" y="110625"/>
                  </a:lnTo>
                  <a:lnTo>
                    <a:pt x="21818" y="112500"/>
                  </a:lnTo>
                  <a:lnTo>
                    <a:pt x="21818" y="112500"/>
                  </a:lnTo>
                  <a:lnTo>
                    <a:pt x="21818" y="112500"/>
                  </a:lnTo>
                  <a:lnTo>
                    <a:pt x="21818" y="112500"/>
                  </a:lnTo>
                  <a:lnTo>
                    <a:pt x="24000" y="112500"/>
                  </a:lnTo>
                  <a:lnTo>
                    <a:pt x="24000" y="112500"/>
                  </a:lnTo>
                  <a:lnTo>
                    <a:pt x="21818" y="112500"/>
                  </a:lnTo>
                  <a:close/>
                  <a:moveTo>
                    <a:pt x="120000" y="81250"/>
                  </a:moveTo>
                  <a:lnTo>
                    <a:pt x="120000" y="81250"/>
                  </a:lnTo>
                  <a:lnTo>
                    <a:pt x="120000" y="81250"/>
                  </a:lnTo>
                  <a:lnTo>
                    <a:pt x="117818" y="80000"/>
                  </a:lnTo>
                  <a:lnTo>
                    <a:pt x="116363" y="80000"/>
                  </a:lnTo>
                  <a:lnTo>
                    <a:pt x="116363" y="78125"/>
                  </a:lnTo>
                  <a:lnTo>
                    <a:pt x="114181" y="76875"/>
                  </a:lnTo>
                  <a:lnTo>
                    <a:pt x="109090" y="76875"/>
                  </a:lnTo>
                  <a:lnTo>
                    <a:pt x="107636" y="75625"/>
                  </a:lnTo>
                  <a:lnTo>
                    <a:pt x="102545" y="72500"/>
                  </a:lnTo>
                  <a:lnTo>
                    <a:pt x="102545" y="72500"/>
                  </a:lnTo>
                  <a:lnTo>
                    <a:pt x="102545" y="72500"/>
                  </a:lnTo>
                  <a:lnTo>
                    <a:pt x="104000" y="71250"/>
                  </a:lnTo>
                  <a:lnTo>
                    <a:pt x="106181" y="69375"/>
                  </a:lnTo>
                  <a:lnTo>
                    <a:pt x="107636" y="69375"/>
                  </a:lnTo>
                  <a:lnTo>
                    <a:pt x="107636" y="68125"/>
                  </a:lnTo>
                  <a:lnTo>
                    <a:pt x="107636" y="68125"/>
                  </a:lnTo>
                  <a:lnTo>
                    <a:pt x="107636" y="66250"/>
                  </a:lnTo>
                  <a:lnTo>
                    <a:pt x="106181" y="66250"/>
                  </a:lnTo>
                  <a:lnTo>
                    <a:pt x="106181" y="66250"/>
                  </a:lnTo>
                  <a:lnTo>
                    <a:pt x="102545" y="65000"/>
                  </a:lnTo>
                  <a:lnTo>
                    <a:pt x="102545" y="63750"/>
                  </a:lnTo>
                  <a:lnTo>
                    <a:pt x="101090" y="63750"/>
                  </a:lnTo>
                  <a:lnTo>
                    <a:pt x="101090" y="61875"/>
                  </a:lnTo>
                  <a:lnTo>
                    <a:pt x="102545" y="61875"/>
                  </a:lnTo>
                  <a:lnTo>
                    <a:pt x="102545" y="60625"/>
                  </a:lnTo>
                  <a:lnTo>
                    <a:pt x="102545" y="60625"/>
                  </a:lnTo>
                  <a:lnTo>
                    <a:pt x="101090" y="60625"/>
                  </a:lnTo>
                  <a:lnTo>
                    <a:pt x="98909" y="60625"/>
                  </a:lnTo>
                  <a:lnTo>
                    <a:pt x="97454" y="59375"/>
                  </a:lnTo>
                  <a:lnTo>
                    <a:pt x="97454" y="59375"/>
                  </a:lnTo>
                  <a:lnTo>
                    <a:pt x="96000" y="57500"/>
                  </a:lnTo>
                  <a:lnTo>
                    <a:pt x="96000" y="57500"/>
                  </a:lnTo>
                  <a:lnTo>
                    <a:pt x="96000" y="57500"/>
                  </a:lnTo>
                  <a:lnTo>
                    <a:pt x="97454" y="56250"/>
                  </a:lnTo>
                  <a:lnTo>
                    <a:pt x="97454" y="56250"/>
                  </a:lnTo>
                  <a:lnTo>
                    <a:pt x="97454" y="56250"/>
                  </a:lnTo>
                  <a:lnTo>
                    <a:pt x="97454" y="56250"/>
                  </a:lnTo>
                  <a:lnTo>
                    <a:pt x="97454" y="55000"/>
                  </a:lnTo>
                  <a:lnTo>
                    <a:pt x="96000" y="55000"/>
                  </a:lnTo>
                  <a:lnTo>
                    <a:pt x="96000" y="55000"/>
                  </a:lnTo>
                  <a:lnTo>
                    <a:pt x="96000" y="55000"/>
                  </a:lnTo>
                  <a:lnTo>
                    <a:pt x="96000" y="55000"/>
                  </a:lnTo>
                  <a:lnTo>
                    <a:pt x="96000" y="53125"/>
                  </a:lnTo>
                  <a:lnTo>
                    <a:pt x="96000" y="51875"/>
                  </a:lnTo>
                  <a:lnTo>
                    <a:pt x="97454" y="51875"/>
                  </a:lnTo>
                  <a:lnTo>
                    <a:pt x="96000" y="50000"/>
                  </a:lnTo>
                  <a:lnTo>
                    <a:pt x="96000" y="50000"/>
                  </a:lnTo>
                  <a:lnTo>
                    <a:pt x="97454" y="50000"/>
                  </a:lnTo>
                  <a:lnTo>
                    <a:pt x="98909" y="50000"/>
                  </a:lnTo>
                  <a:lnTo>
                    <a:pt x="98909" y="50000"/>
                  </a:lnTo>
                  <a:lnTo>
                    <a:pt x="98909" y="48750"/>
                  </a:lnTo>
                  <a:lnTo>
                    <a:pt x="98909" y="48750"/>
                  </a:lnTo>
                  <a:lnTo>
                    <a:pt x="97454" y="45625"/>
                  </a:lnTo>
                  <a:lnTo>
                    <a:pt x="97454" y="44375"/>
                  </a:lnTo>
                  <a:lnTo>
                    <a:pt x="96000" y="44375"/>
                  </a:lnTo>
                  <a:lnTo>
                    <a:pt x="93818" y="43125"/>
                  </a:lnTo>
                  <a:lnTo>
                    <a:pt x="93818" y="43125"/>
                  </a:lnTo>
                  <a:lnTo>
                    <a:pt x="93818" y="41250"/>
                  </a:lnTo>
                  <a:lnTo>
                    <a:pt x="92363" y="41250"/>
                  </a:lnTo>
                  <a:lnTo>
                    <a:pt x="92363" y="40000"/>
                  </a:lnTo>
                  <a:lnTo>
                    <a:pt x="90909" y="38750"/>
                  </a:lnTo>
                  <a:lnTo>
                    <a:pt x="88727" y="38750"/>
                  </a:lnTo>
                  <a:lnTo>
                    <a:pt x="87272" y="36875"/>
                  </a:lnTo>
                  <a:lnTo>
                    <a:pt x="87272" y="35625"/>
                  </a:lnTo>
                  <a:lnTo>
                    <a:pt x="87272" y="35625"/>
                  </a:lnTo>
                  <a:lnTo>
                    <a:pt x="87272" y="35625"/>
                  </a:lnTo>
                  <a:lnTo>
                    <a:pt x="88727" y="33750"/>
                  </a:lnTo>
                  <a:lnTo>
                    <a:pt x="88727" y="32500"/>
                  </a:lnTo>
                  <a:lnTo>
                    <a:pt x="90909" y="31250"/>
                  </a:lnTo>
                  <a:lnTo>
                    <a:pt x="92363" y="29375"/>
                  </a:lnTo>
                  <a:lnTo>
                    <a:pt x="93818" y="28125"/>
                  </a:lnTo>
                  <a:lnTo>
                    <a:pt x="93818" y="26875"/>
                  </a:lnTo>
                  <a:lnTo>
                    <a:pt x="93818" y="26875"/>
                  </a:lnTo>
                  <a:lnTo>
                    <a:pt x="92363" y="26875"/>
                  </a:lnTo>
                  <a:lnTo>
                    <a:pt x="88727" y="23750"/>
                  </a:lnTo>
                  <a:lnTo>
                    <a:pt x="87272" y="22500"/>
                  </a:lnTo>
                  <a:lnTo>
                    <a:pt x="83636" y="22500"/>
                  </a:lnTo>
                  <a:lnTo>
                    <a:pt x="80000" y="20625"/>
                  </a:lnTo>
                  <a:lnTo>
                    <a:pt x="78545" y="19375"/>
                  </a:lnTo>
                  <a:lnTo>
                    <a:pt x="78545" y="17500"/>
                  </a:lnTo>
                  <a:lnTo>
                    <a:pt x="78545" y="17500"/>
                  </a:lnTo>
                  <a:lnTo>
                    <a:pt x="80000" y="15000"/>
                  </a:lnTo>
                  <a:lnTo>
                    <a:pt x="80000" y="15000"/>
                  </a:lnTo>
                  <a:lnTo>
                    <a:pt x="80000" y="13125"/>
                  </a:lnTo>
                  <a:lnTo>
                    <a:pt x="80000" y="13125"/>
                  </a:lnTo>
                  <a:lnTo>
                    <a:pt x="78545" y="13125"/>
                  </a:lnTo>
                  <a:lnTo>
                    <a:pt x="77090" y="13125"/>
                  </a:lnTo>
                  <a:lnTo>
                    <a:pt x="77090" y="13125"/>
                  </a:lnTo>
                  <a:lnTo>
                    <a:pt x="78545" y="13125"/>
                  </a:lnTo>
                  <a:lnTo>
                    <a:pt x="78545" y="11875"/>
                  </a:lnTo>
                  <a:lnTo>
                    <a:pt x="80000" y="11875"/>
                  </a:lnTo>
                  <a:lnTo>
                    <a:pt x="82181" y="11875"/>
                  </a:lnTo>
                  <a:lnTo>
                    <a:pt x="80000" y="11875"/>
                  </a:lnTo>
                  <a:lnTo>
                    <a:pt x="80000" y="10625"/>
                  </a:lnTo>
                  <a:lnTo>
                    <a:pt x="80000" y="10625"/>
                  </a:lnTo>
                  <a:lnTo>
                    <a:pt x="82181" y="8750"/>
                  </a:lnTo>
                  <a:lnTo>
                    <a:pt x="83636" y="7500"/>
                  </a:lnTo>
                  <a:lnTo>
                    <a:pt x="83636" y="7500"/>
                  </a:lnTo>
                  <a:lnTo>
                    <a:pt x="83636" y="7500"/>
                  </a:lnTo>
                  <a:lnTo>
                    <a:pt x="82181" y="4375"/>
                  </a:lnTo>
                  <a:lnTo>
                    <a:pt x="78545" y="4375"/>
                  </a:lnTo>
                  <a:lnTo>
                    <a:pt x="74909" y="3125"/>
                  </a:lnTo>
                  <a:lnTo>
                    <a:pt x="73454" y="3125"/>
                  </a:lnTo>
                  <a:lnTo>
                    <a:pt x="69818" y="1250"/>
                  </a:lnTo>
                  <a:lnTo>
                    <a:pt x="68363" y="0"/>
                  </a:lnTo>
                  <a:lnTo>
                    <a:pt x="68363" y="0"/>
                  </a:lnTo>
                  <a:lnTo>
                    <a:pt x="66909" y="0"/>
                  </a:lnTo>
                  <a:lnTo>
                    <a:pt x="63272" y="1250"/>
                  </a:lnTo>
                  <a:lnTo>
                    <a:pt x="63272" y="1250"/>
                  </a:lnTo>
                  <a:lnTo>
                    <a:pt x="61090" y="1250"/>
                  </a:lnTo>
                  <a:lnTo>
                    <a:pt x="61090" y="1250"/>
                  </a:lnTo>
                  <a:lnTo>
                    <a:pt x="59636" y="1250"/>
                  </a:lnTo>
                  <a:lnTo>
                    <a:pt x="58181" y="1250"/>
                  </a:lnTo>
                  <a:lnTo>
                    <a:pt x="56000" y="1250"/>
                  </a:lnTo>
                  <a:lnTo>
                    <a:pt x="56000" y="1250"/>
                  </a:lnTo>
                  <a:lnTo>
                    <a:pt x="54545" y="3125"/>
                  </a:lnTo>
                  <a:lnTo>
                    <a:pt x="53090" y="4375"/>
                  </a:lnTo>
                  <a:lnTo>
                    <a:pt x="50909" y="4375"/>
                  </a:lnTo>
                  <a:lnTo>
                    <a:pt x="50909" y="4375"/>
                  </a:lnTo>
                  <a:lnTo>
                    <a:pt x="50909" y="6250"/>
                  </a:lnTo>
                  <a:lnTo>
                    <a:pt x="50909" y="7500"/>
                  </a:lnTo>
                  <a:lnTo>
                    <a:pt x="49454" y="8750"/>
                  </a:lnTo>
                  <a:lnTo>
                    <a:pt x="49454" y="8750"/>
                  </a:lnTo>
                  <a:lnTo>
                    <a:pt x="49454" y="11875"/>
                  </a:lnTo>
                  <a:lnTo>
                    <a:pt x="49454" y="11875"/>
                  </a:lnTo>
                  <a:lnTo>
                    <a:pt x="49454" y="13125"/>
                  </a:lnTo>
                  <a:lnTo>
                    <a:pt x="48000" y="13125"/>
                  </a:lnTo>
                  <a:lnTo>
                    <a:pt x="48000" y="13125"/>
                  </a:lnTo>
                  <a:lnTo>
                    <a:pt x="45818" y="13125"/>
                  </a:lnTo>
                  <a:lnTo>
                    <a:pt x="45818" y="15000"/>
                  </a:lnTo>
                  <a:lnTo>
                    <a:pt x="44363" y="15000"/>
                  </a:lnTo>
                  <a:lnTo>
                    <a:pt x="44363" y="16250"/>
                  </a:lnTo>
                  <a:lnTo>
                    <a:pt x="42909" y="16250"/>
                  </a:lnTo>
                  <a:lnTo>
                    <a:pt x="40727" y="16250"/>
                  </a:lnTo>
                  <a:lnTo>
                    <a:pt x="40727" y="16250"/>
                  </a:lnTo>
                  <a:lnTo>
                    <a:pt x="37090" y="16250"/>
                  </a:lnTo>
                  <a:lnTo>
                    <a:pt x="35636" y="15000"/>
                  </a:lnTo>
                  <a:lnTo>
                    <a:pt x="34181" y="15000"/>
                  </a:lnTo>
                  <a:lnTo>
                    <a:pt x="32000" y="15000"/>
                  </a:lnTo>
                  <a:lnTo>
                    <a:pt x="32000" y="15000"/>
                  </a:lnTo>
                  <a:lnTo>
                    <a:pt x="30545" y="15000"/>
                  </a:lnTo>
                  <a:lnTo>
                    <a:pt x="30545" y="15000"/>
                  </a:lnTo>
                  <a:lnTo>
                    <a:pt x="26909" y="16250"/>
                  </a:lnTo>
                  <a:lnTo>
                    <a:pt x="26909" y="16250"/>
                  </a:lnTo>
                  <a:lnTo>
                    <a:pt x="25454" y="16250"/>
                  </a:lnTo>
                  <a:lnTo>
                    <a:pt x="24000" y="16250"/>
                  </a:lnTo>
                  <a:lnTo>
                    <a:pt x="21818" y="15000"/>
                  </a:lnTo>
                  <a:lnTo>
                    <a:pt x="18909" y="15000"/>
                  </a:lnTo>
                  <a:lnTo>
                    <a:pt x="16727" y="15000"/>
                  </a:lnTo>
                  <a:lnTo>
                    <a:pt x="16727" y="15000"/>
                  </a:lnTo>
                  <a:lnTo>
                    <a:pt x="16727" y="13125"/>
                  </a:lnTo>
                  <a:lnTo>
                    <a:pt x="13090" y="11875"/>
                  </a:lnTo>
                  <a:lnTo>
                    <a:pt x="13090" y="11875"/>
                  </a:lnTo>
                  <a:lnTo>
                    <a:pt x="11636" y="10625"/>
                  </a:lnTo>
                  <a:lnTo>
                    <a:pt x="8000" y="8750"/>
                  </a:lnTo>
                  <a:lnTo>
                    <a:pt x="8000" y="8750"/>
                  </a:lnTo>
                  <a:lnTo>
                    <a:pt x="8000" y="8750"/>
                  </a:lnTo>
                  <a:lnTo>
                    <a:pt x="5090" y="8750"/>
                  </a:lnTo>
                  <a:lnTo>
                    <a:pt x="5090" y="8750"/>
                  </a:lnTo>
                  <a:lnTo>
                    <a:pt x="2909" y="10625"/>
                  </a:lnTo>
                  <a:lnTo>
                    <a:pt x="2909" y="10625"/>
                  </a:lnTo>
                  <a:lnTo>
                    <a:pt x="5090" y="11875"/>
                  </a:lnTo>
                  <a:lnTo>
                    <a:pt x="5090" y="11875"/>
                  </a:lnTo>
                  <a:lnTo>
                    <a:pt x="2909" y="11875"/>
                  </a:lnTo>
                  <a:lnTo>
                    <a:pt x="1454" y="11875"/>
                  </a:lnTo>
                  <a:lnTo>
                    <a:pt x="0" y="11875"/>
                  </a:lnTo>
                  <a:lnTo>
                    <a:pt x="0" y="11875"/>
                  </a:lnTo>
                  <a:lnTo>
                    <a:pt x="1454" y="11875"/>
                  </a:lnTo>
                  <a:lnTo>
                    <a:pt x="2909" y="11875"/>
                  </a:lnTo>
                  <a:lnTo>
                    <a:pt x="2909" y="13125"/>
                  </a:lnTo>
                  <a:lnTo>
                    <a:pt x="2909" y="13125"/>
                  </a:lnTo>
                  <a:lnTo>
                    <a:pt x="5090" y="13125"/>
                  </a:lnTo>
                  <a:lnTo>
                    <a:pt x="6545" y="15000"/>
                  </a:lnTo>
                  <a:lnTo>
                    <a:pt x="8000" y="15000"/>
                  </a:lnTo>
                  <a:lnTo>
                    <a:pt x="8000" y="16250"/>
                  </a:lnTo>
                  <a:lnTo>
                    <a:pt x="10181" y="16250"/>
                  </a:lnTo>
                  <a:lnTo>
                    <a:pt x="11636" y="16250"/>
                  </a:lnTo>
                  <a:lnTo>
                    <a:pt x="11636" y="16250"/>
                  </a:lnTo>
                  <a:lnTo>
                    <a:pt x="13090" y="17500"/>
                  </a:lnTo>
                  <a:lnTo>
                    <a:pt x="15272" y="17500"/>
                  </a:lnTo>
                  <a:lnTo>
                    <a:pt x="16727" y="17500"/>
                  </a:lnTo>
                  <a:lnTo>
                    <a:pt x="21818" y="19375"/>
                  </a:lnTo>
                  <a:lnTo>
                    <a:pt x="21818" y="19375"/>
                  </a:lnTo>
                  <a:lnTo>
                    <a:pt x="24000" y="19375"/>
                  </a:lnTo>
                  <a:lnTo>
                    <a:pt x="25454" y="20625"/>
                  </a:lnTo>
                  <a:lnTo>
                    <a:pt x="25454" y="22500"/>
                  </a:lnTo>
                  <a:lnTo>
                    <a:pt x="26909" y="22500"/>
                  </a:lnTo>
                  <a:lnTo>
                    <a:pt x="26909" y="22500"/>
                  </a:lnTo>
                  <a:lnTo>
                    <a:pt x="29090" y="23750"/>
                  </a:lnTo>
                  <a:lnTo>
                    <a:pt x="30545" y="23750"/>
                  </a:lnTo>
                  <a:lnTo>
                    <a:pt x="30545" y="23750"/>
                  </a:lnTo>
                  <a:lnTo>
                    <a:pt x="29090" y="25000"/>
                  </a:lnTo>
                  <a:lnTo>
                    <a:pt x="29090" y="25000"/>
                  </a:lnTo>
                  <a:lnTo>
                    <a:pt x="29090" y="26875"/>
                  </a:lnTo>
                  <a:lnTo>
                    <a:pt x="30545" y="28125"/>
                  </a:lnTo>
                  <a:lnTo>
                    <a:pt x="30545" y="28125"/>
                  </a:lnTo>
                  <a:lnTo>
                    <a:pt x="30545" y="28125"/>
                  </a:lnTo>
                  <a:lnTo>
                    <a:pt x="29090" y="28125"/>
                  </a:lnTo>
                  <a:lnTo>
                    <a:pt x="29090" y="29375"/>
                  </a:lnTo>
                  <a:lnTo>
                    <a:pt x="29090" y="29375"/>
                  </a:lnTo>
                  <a:lnTo>
                    <a:pt x="29090" y="29375"/>
                  </a:lnTo>
                  <a:lnTo>
                    <a:pt x="30545" y="29375"/>
                  </a:lnTo>
                  <a:lnTo>
                    <a:pt x="32000" y="29375"/>
                  </a:lnTo>
                  <a:lnTo>
                    <a:pt x="32000" y="29375"/>
                  </a:lnTo>
                  <a:lnTo>
                    <a:pt x="32000" y="31250"/>
                  </a:lnTo>
                  <a:lnTo>
                    <a:pt x="32000" y="31250"/>
                  </a:lnTo>
                  <a:lnTo>
                    <a:pt x="32000" y="31250"/>
                  </a:lnTo>
                  <a:lnTo>
                    <a:pt x="32000" y="32500"/>
                  </a:lnTo>
                  <a:lnTo>
                    <a:pt x="32000" y="32500"/>
                  </a:lnTo>
                  <a:lnTo>
                    <a:pt x="32000" y="32500"/>
                  </a:lnTo>
                  <a:lnTo>
                    <a:pt x="32000" y="33750"/>
                  </a:lnTo>
                  <a:lnTo>
                    <a:pt x="34181" y="33750"/>
                  </a:lnTo>
                  <a:lnTo>
                    <a:pt x="34181" y="35625"/>
                  </a:lnTo>
                  <a:lnTo>
                    <a:pt x="35636" y="35625"/>
                  </a:lnTo>
                  <a:lnTo>
                    <a:pt x="35636" y="36875"/>
                  </a:lnTo>
                  <a:lnTo>
                    <a:pt x="35636" y="36875"/>
                  </a:lnTo>
                  <a:lnTo>
                    <a:pt x="35636" y="36875"/>
                  </a:lnTo>
                  <a:lnTo>
                    <a:pt x="35636" y="38750"/>
                  </a:lnTo>
                  <a:lnTo>
                    <a:pt x="35636" y="38750"/>
                  </a:lnTo>
                  <a:lnTo>
                    <a:pt x="35636" y="40000"/>
                  </a:lnTo>
                  <a:lnTo>
                    <a:pt x="34181" y="40000"/>
                  </a:lnTo>
                  <a:lnTo>
                    <a:pt x="34181" y="40000"/>
                  </a:lnTo>
                  <a:lnTo>
                    <a:pt x="34181" y="41250"/>
                  </a:lnTo>
                  <a:lnTo>
                    <a:pt x="34181" y="41250"/>
                  </a:lnTo>
                  <a:lnTo>
                    <a:pt x="34181" y="43125"/>
                  </a:lnTo>
                  <a:lnTo>
                    <a:pt x="34181" y="43125"/>
                  </a:lnTo>
                  <a:lnTo>
                    <a:pt x="34181" y="43125"/>
                  </a:lnTo>
                  <a:lnTo>
                    <a:pt x="34181" y="44375"/>
                  </a:lnTo>
                  <a:lnTo>
                    <a:pt x="35636" y="44375"/>
                  </a:lnTo>
                  <a:lnTo>
                    <a:pt x="37090" y="45625"/>
                  </a:lnTo>
                  <a:lnTo>
                    <a:pt x="37090" y="45625"/>
                  </a:lnTo>
                  <a:lnTo>
                    <a:pt x="39272" y="48750"/>
                  </a:lnTo>
                  <a:lnTo>
                    <a:pt x="39272" y="48750"/>
                  </a:lnTo>
                  <a:lnTo>
                    <a:pt x="40727" y="48750"/>
                  </a:lnTo>
                  <a:lnTo>
                    <a:pt x="42909" y="48750"/>
                  </a:lnTo>
                  <a:lnTo>
                    <a:pt x="42909" y="47500"/>
                  </a:lnTo>
                  <a:lnTo>
                    <a:pt x="44363" y="47500"/>
                  </a:lnTo>
                  <a:lnTo>
                    <a:pt x="44363" y="47500"/>
                  </a:lnTo>
                  <a:lnTo>
                    <a:pt x="42909" y="48750"/>
                  </a:lnTo>
                  <a:lnTo>
                    <a:pt x="44363" y="50000"/>
                  </a:lnTo>
                  <a:lnTo>
                    <a:pt x="45818" y="50000"/>
                  </a:lnTo>
                  <a:lnTo>
                    <a:pt x="45818" y="50000"/>
                  </a:lnTo>
                  <a:lnTo>
                    <a:pt x="50909" y="51875"/>
                  </a:lnTo>
                  <a:lnTo>
                    <a:pt x="50909" y="51875"/>
                  </a:lnTo>
                  <a:lnTo>
                    <a:pt x="50909" y="53125"/>
                  </a:lnTo>
                  <a:lnTo>
                    <a:pt x="50909" y="55000"/>
                  </a:lnTo>
                  <a:lnTo>
                    <a:pt x="50909" y="56250"/>
                  </a:lnTo>
                  <a:lnTo>
                    <a:pt x="53090" y="56250"/>
                  </a:lnTo>
                  <a:lnTo>
                    <a:pt x="53090" y="56250"/>
                  </a:lnTo>
                  <a:lnTo>
                    <a:pt x="53090" y="57500"/>
                  </a:lnTo>
                  <a:lnTo>
                    <a:pt x="50909" y="57500"/>
                  </a:lnTo>
                  <a:lnTo>
                    <a:pt x="50909" y="57500"/>
                  </a:lnTo>
                  <a:lnTo>
                    <a:pt x="50909" y="59375"/>
                  </a:lnTo>
                  <a:lnTo>
                    <a:pt x="50909" y="59375"/>
                  </a:lnTo>
                  <a:lnTo>
                    <a:pt x="50909" y="59375"/>
                  </a:lnTo>
                  <a:lnTo>
                    <a:pt x="50909" y="59375"/>
                  </a:lnTo>
                  <a:lnTo>
                    <a:pt x="48000" y="59375"/>
                  </a:lnTo>
                  <a:lnTo>
                    <a:pt x="45818" y="59375"/>
                  </a:lnTo>
                  <a:lnTo>
                    <a:pt x="45818" y="60625"/>
                  </a:lnTo>
                  <a:lnTo>
                    <a:pt x="44363" y="60625"/>
                  </a:lnTo>
                  <a:lnTo>
                    <a:pt x="44363" y="60625"/>
                  </a:lnTo>
                  <a:lnTo>
                    <a:pt x="44363" y="61875"/>
                  </a:lnTo>
                  <a:lnTo>
                    <a:pt x="42909" y="63750"/>
                  </a:lnTo>
                  <a:lnTo>
                    <a:pt x="39272" y="65000"/>
                  </a:lnTo>
                  <a:lnTo>
                    <a:pt x="39272" y="66250"/>
                  </a:lnTo>
                  <a:lnTo>
                    <a:pt x="37090" y="66250"/>
                  </a:lnTo>
                  <a:lnTo>
                    <a:pt x="35636" y="68125"/>
                  </a:lnTo>
                  <a:lnTo>
                    <a:pt x="35636" y="69375"/>
                  </a:lnTo>
                  <a:lnTo>
                    <a:pt x="34181" y="69375"/>
                  </a:lnTo>
                  <a:lnTo>
                    <a:pt x="32000" y="71250"/>
                  </a:lnTo>
                  <a:lnTo>
                    <a:pt x="30545" y="71250"/>
                  </a:lnTo>
                  <a:lnTo>
                    <a:pt x="30545" y="71250"/>
                  </a:lnTo>
                  <a:lnTo>
                    <a:pt x="26909" y="72500"/>
                  </a:lnTo>
                  <a:lnTo>
                    <a:pt x="25454" y="73750"/>
                  </a:lnTo>
                  <a:lnTo>
                    <a:pt x="25454" y="73750"/>
                  </a:lnTo>
                  <a:lnTo>
                    <a:pt x="24000" y="75625"/>
                  </a:lnTo>
                  <a:lnTo>
                    <a:pt x="24000" y="75625"/>
                  </a:lnTo>
                  <a:lnTo>
                    <a:pt x="24000" y="75625"/>
                  </a:lnTo>
                  <a:lnTo>
                    <a:pt x="24000" y="75625"/>
                  </a:lnTo>
                  <a:lnTo>
                    <a:pt x="21818" y="75625"/>
                  </a:lnTo>
                  <a:lnTo>
                    <a:pt x="21818" y="75625"/>
                  </a:lnTo>
                  <a:lnTo>
                    <a:pt x="21818" y="76875"/>
                  </a:lnTo>
                  <a:lnTo>
                    <a:pt x="24000" y="76875"/>
                  </a:lnTo>
                  <a:lnTo>
                    <a:pt x="24000" y="76875"/>
                  </a:lnTo>
                  <a:lnTo>
                    <a:pt x="21818" y="78125"/>
                  </a:lnTo>
                  <a:lnTo>
                    <a:pt x="18909" y="78125"/>
                  </a:lnTo>
                  <a:lnTo>
                    <a:pt x="18909" y="78125"/>
                  </a:lnTo>
                  <a:lnTo>
                    <a:pt x="15272" y="78125"/>
                  </a:lnTo>
                  <a:lnTo>
                    <a:pt x="15272" y="80000"/>
                  </a:lnTo>
                  <a:lnTo>
                    <a:pt x="15272" y="80000"/>
                  </a:lnTo>
                  <a:lnTo>
                    <a:pt x="16727" y="81250"/>
                  </a:lnTo>
                  <a:lnTo>
                    <a:pt x="15272" y="81250"/>
                  </a:lnTo>
                  <a:lnTo>
                    <a:pt x="15272" y="81250"/>
                  </a:lnTo>
                  <a:lnTo>
                    <a:pt x="11636" y="84375"/>
                  </a:lnTo>
                  <a:lnTo>
                    <a:pt x="11636" y="84375"/>
                  </a:lnTo>
                  <a:lnTo>
                    <a:pt x="11636" y="84375"/>
                  </a:lnTo>
                  <a:lnTo>
                    <a:pt x="11636" y="85625"/>
                  </a:lnTo>
                  <a:lnTo>
                    <a:pt x="11636" y="87500"/>
                  </a:lnTo>
                  <a:lnTo>
                    <a:pt x="11636" y="88750"/>
                  </a:lnTo>
                  <a:lnTo>
                    <a:pt x="13090" y="88750"/>
                  </a:lnTo>
                  <a:lnTo>
                    <a:pt x="13090" y="90000"/>
                  </a:lnTo>
                  <a:lnTo>
                    <a:pt x="15272" y="90000"/>
                  </a:lnTo>
                  <a:lnTo>
                    <a:pt x="13090" y="91875"/>
                  </a:lnTo>
                  <a:lnTo>
                    <a:pt x="13090" y="93125"/>
                  </a:lnTo>
                  <a:lnTo>
                    <a:pt x="15272" y="94375"/>
                  </a:lnTo>
                  <a:lnTo>
                    <a:pt x="16727" y="94375"/>
                  </a:lnTo>
                  <a:lnTo>
                    <a:pt x="16727" y="96250"/>
                  </a:lnTo>
                  <a:lnTo>
                    <a:pt x="16727" y="97500"/>
                  </a:lnTo>
                  <a:lnTo>
                    <a:pt x="18909" y="97500"/>
                  </a:lnTo>
                  <a:lnTo>
                    <a:pt x="16727" y="97500"/>
                  </a:lnTo>
                  <a:lnTo>
                    <a:pt x="16727" y="97500"/>
                  </a:lnTo>
                  <a:lnTo>
                    <a:pt x="16727" y="97500"/>
                  </a:lnTo>
                  <a:lnTo>
                    <a:pt x="16727" y="97500"/>
                  </a:lnTo>
                  <a:lnTo>
                    <a:pt x="16727" y="98750"/>
                  </a:lnTo>
                  <a:lnTo>
                    <a:pt x="16727" y="98750"/>
                  </a:lnTo>
                  <a:lnTo>
                    <a:pt x="16727" y="98750"/>
                  </a:lnTo>
                  <a:lnTo>
                    <a:pt x="16727" y="98750"/>
                  </a:lnTo>
                  <a:lnTo>
                    <a:pt x="16727" y="98750"/>
                  </a:lnTo>
                  <a:lnTo>
                    <a:pt x="16727" y="100625"/>
                  </a:lnTo>
                  <a:lnTo>
                    <a:pt x="16727" y="101875"/>
                  </a:lnTo>
                  <a:lnTo>
                    <a:pt x="16727" y="103750"/>
                  </a:lnTo>
                  <a:lnTo>
                    <a:pt x="16727" y="103750"/>
                  </a:lnTo>
                  <a:lnTo>
                    <a:pt x="15272" y="103750"/>
                  </a:lnTo>
                  <a:lnTo>
                    <a:pt x="15272" y="105000"/>
                  </a:lnTo>
                  <a:lnTo>
                    <a:pt x="16727" y="106250"/>
                  </a:lnTo>
                  <a:lnTo>
                    <a:pt x="16727" y="108125"/>
                  </a:lnTo>
                  <a:lnTo>
                    <a:pt x="16727" y="108125"/>
                  </a:lnTo>
                  <a:lnTo>
                    <a:pt x="16727" y="109375"/>
                  </a:lnTo>
                  <a:lnTo>
                    <a:pt x="16727" y="109375"/>
                  </a:lnTo>
                  <a:lnTo>
                    <a:pt x="18909" y="109375"/>
                  </a:lnTo>
                  <a:lnTo>
                    <a:pt x="18909" y="110625"/>
                  </a:lnTo>
                  <a:lnTo>
                    <a:pt x="20363" y="109375"/>
                  </a:lnTo>
                  <a:lnTo>
                    <a:pt x="20363" y="109375"/>
                  </a:lnTo>
                  <a:lnTo>
                    <a:pt x="21818" y="110625"/>
                  </a:lnTo>
                  <a:lnTo>
                    <a:pt x="21818" y="110625"/>
                  </a:lnTo>
                  <a:lnTo>
                    <a:pt x="25454" y="112500"/>
                  </a:lnTo>
                  <a:lnTo>
                    <a:pt x="29090" y="112500"/>
                  </a:lnTo>
                  <a:lnTo>
                    <a:pt x="29090" y="112500"/>
                  </a:lnTo>
                  <a:lnTo>
                    <a:pt x="29090" y="112500"/>
                  </a:lnTo>
                  <a:lnTo>
                    <a:pt x="29090" y="112500"/>
                  </a:lnTo>
                  <a:lnTo>
                    <a:pt x="29090" y="113750"/>
                  </a:lnTo>
                  <a:lnTo>
                    <a:pt x="29090" y="113750"/>
                  </a:lnTo>
                  <a:lnTo>
                    <a:pt x="30545" y="113750"/>
                  </a:lnTo>
                  <a:lnTo>
                    <a:pt x="30545" y="113750"/>
                  </a:lnTo>
                  <a:lnTo>
                    <a:pt x="29090" y="113750"/>
                  </a:lnTo>
                  <a:lnTo>
                    <a:pt x="29090" y="113750"/>
                  </a:lnTo>
                  <a:lnTo>
                    <a:pt x="29090" y="113750"/>
                  </a:lnTo>
                  <a:lnTo>
                    <a:pt x="29090" y="115625"/>
                  </a:lnTo>
                  <a:lnTo>
                    <a:pt x="29090" y="115625"/>
                  </a:lnTo>
                  <a:lnTo>
                    <a:pt x="29090" y="115625"/>
                  </a:lnTo>
                  <a:lnTo>
                    <a:pt x="29090" y="116875"/>
                  </a:lnTo>
                  <a:lnTo>
                    <a:pt x="29090" y="116875"/>
                  </a:lnTo>
                  <a:lnTo>
                    <a:pt x="30545" y="116875"/>
                  </a:lnTo>
                  <a:lnTo>
                    <a:pt x="30545" y="116875"/>
                  </a:lnTo>
                  <a:lnTo>
                    <a:pt x="32000" y="116875"/>
                  </a:lnTo>
                  <a:lnTo>
                    <a:pt x="32000" y="115625"/>
                  </a:lnTo>
                  <a:lnTo>
                    <a:pt x="32000" y="115625"/>
                  </a:lnTo>
                  <a:lnTo>
                    <a:pt x="32000" y="115625"/>
                  </a:lnTo>
                  <a:lnTo>
                    <a:pt x="32000" y="113750"/>
                  </a:lnTo>
                  <a:lnTo>
                    <a:pt x="34181" y="113750"/>
                  </a:lnTo>
                  <a:lnTo>
                    <a:pt x="34181" y="115625"/>
                  </a:lnTo>
                  <a:lnTo>
                    <a:pt x="35636" y="116875"/>
                  </a:lnTo>
                  <a:lnTo>
                    <a:pt x="35636" y="116875"/>
                  </a:lnTo>
                  <a:lnTo>
                    <a:pt x="37090" y="116875"/>
                  </a:lnTo>
                  <a:lnTo>
                    <a:pt x="37090" y="116875"/>
                  </a:lnTo>
                  <a:lnTo>
                    <a:pt x="35636" y="118125"/>
                  </a:lnTo>
                  <a:lnTo>
                    <a:pt x="34181" y="118125"/>
                  </a:lnTo>
                  <a:lnTo>
                    <a:pt x="34181" y="120000"/>
                  </a:lnTo>
                  <a:lnTo>
                    <a:pt x="35636" y="120000"/>
                  </a:lnTo>
                  <a:lnTo>
                    <a:pt x="37090" y="118125"/>
                  </a:lnTo>
                  <a:lnTo>
                    <a:pt x="37090" y="118125"/>
                  </a:lnTo>
                  <a:lnTo>
                    <a:pt x="39272" y="116875"/>
                  </a:lnTo>
                  <a:lnTo>
                    <a:pt x="40727" y="116875"/>
                  </a:lnTo>
                  <a:lnTo>
                    <a:pt x="42909" y="116875"/>
                  </a:lnTo>
                  <a:lnTo>
                    <a:pt x="45818" y="116875"/>
                  </a:lnTo>
                  <a:lnTo>
                    <a:pt x="49454" y="116875"/>
                  </a:lnTo>
                  <a:lnTo>
                    <a:pt x="49454" y="116875"/>
                  </a:lnTo>
                  <a:lnTo>
                    <a:pt x="50909" y="116875"/>
                  </a:lnTo>
                  <a:lnTo>
                    <a:pt x="50909" y="115625"/>
                  </a:lnTo>
                  <a:lnTo>
                    <a:pt x="54545" y="115625"/>
                  </a:lnTo>
                  <a:lnTo>
                    <a:pt x="56000" y="115625"/>
                  </a:lnTo>
                  <a:lnTo>
                    <a:pt x="58181" y="115625"/>
                  </a:lnTo>
                  <a:lnTo>
                    <a:pt x="58181" y="113750"/>
                  </a:lnTo>
                  <a:lnTo>
                    <a:pt x="61090" y="113750"/>
                  </a:lnTo>
                  <a:lnTo>
                    <a:pt x="61090" y="113750"/>
                  </a:lnTo>
                  <a:lnTo>
                    <a:pt x="63272" y="112500"/>
                  </a:lnTo>
                  <a:lnTo>
                    <a:pt x="63272" y="113750"/>
                  </a:lnTo>
                  <a:lnTo>
                    <a:pt x="63272" y="113750"/>
                  </a:lnTo>
                  <a:lnTo>
                    <a:pt x="64727" y="113750"/>
                  </a:lnTo>
                  <a:lnTo>
                    <a:pt x="66909" y="112500"/>
                  </a:lnTo>
                  <a:lnTo>
                    <a:pt x="66909" y="112500"/>
                  </a:lnTo>
                  <a:lnTo>
                    <a:pt x="66909" y="112500"/>
                  </a:lnTo>
                  <a:lnTo>
                    <a:pt x="66909" y="112500"/>
                  </a:lnTo>
                  <a:lnTo>
                    <a:pt x="66909" y="110625"/>
                  </a:lnTo>
                  <a:lnTo>
                    <a:pt x="66909" y="110625"/>
                  </a:lnTo>
                  <a:lnTo>
                    <a:pt x="68363" y="112500"/>
                  </a:lnTo>
                  <a:lnTo>
                    <a:pt x="69818" y="112500"/>
                  </a:lnTo>
                  <a:lnTo>
                    <a:pt x="72000" y="110625"/>
                  </a:lnTo>
                  <a:lnTo>
                    <a:pt x="72000" y="110625"/>
                  </a:lnTo>
                  <a:lnTo>
                    <a:pt x="72000" y="109375"/>
                  </a:lnTo>
                  <a:lnTo>
                    <a:pt x="72000" y="109375"/>
                  </a:lnTo>
                  <a:lnTo>
                    <a:pt x="72000" y="109375"/>
                  </a:lnTo>
                  <a:lnTo>
                    <a:pt x="72000" y="110625"/>
                  </a:lnTo>
                  <a:lnTo>
                    <a:pt x="72000" y="110625"/>
                  </a:lnTo>
                  <a:lnTo>
                    <a:pt x="72000" y="112500"/>
                  </a:lnTo>
                  <a:lnTo>
                    <a:pt x="73454" y="112500"/>
                  </a:lnTo>
                  <a:lnTo>
                    <a:pt x="73454" y="110625"/>
                  </a:lnTo>
                  <a:lnTo>
                    <a:pt x="77090" y="110625"/>
                  </a:lnTo>
                  <a:lnTo>
                    <a:pt x="77090" y="110625"/>
                  </a:lnTo>
                  <a:lnTo>
                    <a:pt x="78545" y="110625"/>
                  </a:lnTo>
                  <a:lnTo>
                    <a:pt x="80000" y="110625"/>
                  </a:lnTo>
                  <a:lnTo>
                    <a:pt x="82181" y="110625"/>
                  </a:lnTo>
                  <a:lnTo>
                    <a:pt x="82181" y="110625"/>
                  </a:lnTo>
                  <a:lnTo>
                    <a:pt x="83636" y="110625"/>
                  </a:lnTo>
                  <a:lnTo>
                    <a:pt x="85090" y="110625"/>
                  </a:lnTo>
                  <a:lnTo>
                    <a:pt x="85090" y="110625"/>
                  </a:lnTo>
                  <a:lnTo>
                    <a:pt x="88727" y="108125"/>
                  </a:lnTo>
                  <a:lnTo>
                    <a:pt x="90909" y="106250"/>
                  </a:lnTo>
                  <a:lnTo>
                    <a:pt x="92363" y="106250"/>
                  </a:lnTo>
                  <a:lnTo>
                    <a:pt x="92363" y="105000"/>
                  </a:lnTo>
                  <a:lnTo>
                    <a:pt x="93818" y="105000"/>
                  </a:lnTo>
                  <a:lnTo>
                    <a:pt x="93818" y="103750"/>
                  </a:lnTo>
                  <a:lnTo>
                    <a:pt x="97454" y="103750"/>
                  </a:lnTo>
                  <a:lnTo>
                    <a:pt x="98909" y="101875"/>
                  </a:lnTo>
                  <a:lnTo>
                    <a:pt x="102545" y="98750"/>
                  </a:lnTo>
                  <a:lnTo>
                    <a:pt x="102545" y="98750"/>
                  </a:lnTo>
                  <a:lnTo>
                    <a:pt x="104000" y="98750"/>
                  </a:lnTo>
                  <a:lnTo>
                    <a:pt x="106181" y="96250"/>
                  </a:lnTo>
                  <a:lnTo>
                    <a:pt x="106181" y="96250"/>
                  </a:lnTo>
                  <a:lnTo>
                    <a:pt x="109090" y="93125"/>
                  </a:lnTo>
                  <a:lnTo>
                    <a:pt x="111272" y="91875"/>
                  </a:lnTo>
                  <a:lnTo>
                    <a:pt x="111272" y="91875"/>
                  </a:lnTo>
                  <a:lnTo>
                    <a:pt x="116363" y="88750"/>
                  </a:lnTo>
                  <a:lnTo>
                    <a:pt x="117818" y="87500"/>
                  </a:lnTo>
                  <a:lnTo>
                    <a:pt x="117818" y="85625"/>
                  </a:lnTo>
                  <a:lnTo>
                    <a:pt x="120000" y="84375"/>
                  </a:lnTo>
                  <a:lnTo>
                    <a:pt x="120000" y="84375"/>
                  </a:lnTo>
                  <a:lnTo>
                    <a:pt x="120000" y="82500"/>
                  </a:lnTo>
                  <a:lnTo>
                    <a:pt x="120000" y="8125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91" name="Shape 491"/>
            <p:cNvSpPr/>
            <p:nvPr/>
          </p:nvSpPr>
          <p:spPr>
            <a:xfrm>
              <a:off x="2708" y="3886"/>
              <a:ext cx="0" cy="0"/>
            </a:xfrm>
            <a:custGeom>
              <a:avLst/>
              <a:gdLst/>
              <a:ahLst/>
              <a:cxnLst/>
              <a:rect l="0" t="0" r="0" b="0"/>
              <a:pathLst>
                <a:path w="120000" h="120000" extrusionOk="0">
                  <a:moveTo>
                    <a:pt x="60000" y="91428"/>
                  </a:moveTo>
                  <a:lnTo>
                    <a:pt x="60000" y="91428"/>
                  </a:lnTo>
                  <a:lnTo>
                    <a:pt x="60000" y="91428"/>
                  </a:lnTo>
                  <a:lnTo>
                    <a:pt x="60000" y="108571"/>
                  </a:lnTo>
                  <a:lnTo>
                    <a:pt x="60000" y="108571"/>
                  </a:lnTo>
                  <a:lnTo>
                    <a:pt x="60000" y="108571"/>
                  </a:lnTo>
                  <a:lnTo>
                    <a:pt x="64615" y="108571"/>
                  </a:lnTo>
                  <a:lnTo>
                    <a:pt x="60000" y="91428"/>
                  </a:lnTo>
                  <a:lnTo>
                    <a:pt x="60000" y="91428"/>
                  </a:lnTo>
                  <a:close/>
                  <a:moveTo>
                    <a:pt x="103846" y="80000"/>
                  </a:moveTo>
                  <a:lnTo>
                    <a:pt x="103846" y="80000"/>
                  </a:lnTo>
                  <a:lnTo>
                    <a:pt x="103846" y="80000"/>
                  </a:lnTo>
                  <a:lnTo>
                    <a:pt x="103846" y="91428"/>
                  </a:lnTo>
                  <a:lnTo>
                    <a:pt x="108461" y="91428"/>
                  </a:lnTo>
                  <a:lnTo>
                    <a:pt x="103846" y="80000"/>
                  </a:lnTo>
                  <a:lnTo>
                    <a:pt x="103846" y="80000"/>
                  </a:lnTo>
                  <a:close/>
                  <a:moveTo>
                    <a:pt x="11538" y="51428"/>
                  </a:moveTo>
                  <a:lnTo>
                    <a:pt x="4615" y="51428"/>
                  </a:lnTo>
                  <a:lnTo>
                    <a:pt x="4615" y="51428"/>
                  </a:lnTo>
                  <a:lnTo>
                    <a:pt x="0" y="68571"/>
                  </a:lnTo>
                  <a:lnTo>
                    <a:pt x="4615" y="68571"/>
                  </a:lnTo>
                  <a:lnTo>
                    <a:pt x="4615" y="68571"/>
                  </a:lnTo>
                  <a:lnTo>
                    <a:pt x="11538" y="68571"/>
                  </a:lnTo>
                  <a:lnTo>
                    <a:pt x="11538" y="68571"/>
                  </a:lnTo>
                  <a:lnTo>
                    <a:pt x="11538" y="51428"/>
                  </a:lnTo>
                  <a:lnTo>
                    <a:pt x="11538" y="51428"/>
                  </a:lnTo>
                  <a:close/>
                  <a:moveTo>
                    <a:pt x="60000" y="28571"/>
                  </a:moveTo>
                  <a:lnTo>
                    <a:pt x="60000" y="28571"/>
                  </a:lnTo>
                  <a:lnTo>
                    <a:pt x="60000" y="28571"/>
                  </a:lnTo>
                  <a:lnTo>
                    <a:pt x="64615" y="11428"/>
                  </a:lnTo>
                  <a:lnTo>
                    <a:pt x="64615" y="11428"/>
                  </a:lnTo>
                  <a:lnTo>
                    <a:pt x="60000" y="11428"/>
                  </a:lnTo>
                  <a:lnTo>
                    <a:pt x="60000" y="0"/>
                  </a:lnTo>
                  <a:lnTo>
                    <a:pt x="53076" y="11428"/>
                  </a:lnTo>
                  <a:lnTo>
                    <a:pt x="53076" y="11428"/>
                  </a:lnTo>
                  <a:lnTo>
                    <a:pt x="48461" y="11428"/>
                  </a:lnTo>
                  <a:lnTo>
                    <a:pt x="43846" y="11428"/>
                  </a:lnTo>
                  <a:lnTo>
                    <a:pt x="43846" y="11428"/>
                  </a:lnTo>
                  <a:lnTo>
                    <a:pt x="36923" y="11428"/>
                  </a:lnTo>
                  <a:lnTo>
                    <a:pt x="32307" y="11428"/>
                  </a:lnTo>
                  <a:lnTo>
                    <a:pt x="32307" y="11428"/>
                  </a:lnTo>
                  <a:lnTo>
                    <a:pt x="27692" y="11428"/>
                  </a:lnTo>
                  <a:lnTo>
                    <a:pt x="16153" y="11428"/>
                  </a:lnTo>
                  <a:lnTo>
                    <a:pt x="16153" y="0"/>
                  </a:lnTo>
                  <a:lnTo>
                    <a:pt x="11538" y="0"/>
                  </a:lnTo>
                  <a:lnTo>
                    <a:pt x="16153" y="11428"/>
                  </a:lnTo>
                  <a:lnTo>
                    <a:pt x="16153" y="11428"/>
                  </a:lnTo>
                  <a:lnTo>
                    <a:pt x="16153" y="28571"/>
                  </a:lnTo>
                  <a:lnTo>
                    <a:pt x="20769" y="28571"/>
                  </a:lnTo>
                  <a:lnTo>
                    <a:pt x="27692" y="28571"/>
                  </a:lnTo>
                  <a:lnTo>
                    <a:pt x="32307" y="40000"/>
                  </a:lnTo>
                  <a:lnTo>
                    <a:pt x="32307" y="40000"/>
                  </a:lnTo>
                  <a:lnTo>
                    <a:pt x="20769" y="40000"/>
                  </a:lnTo>
                  <a:lnTo>
                    <a:pt x="20769" y="40000"/>
                  </a:lnTo>
                  <a:lnTo>
                    <a:pt x="20769" y="40000"/>
                  </a:lnTo>
                  <a:lnTo>
                    <a:pt x="20769" y="51428"/>
                  </a:lnTo>
                  <a:lnTo>
                    <a:pt x="27692" y="51428"/>
                  </a:lnTo>
                  <a:lnTo>
                    <a:pt x="27692" y="51428"/>
                  </a:lnTo>
                  <a:lnTo>
                    <a:pt x="32307" y="51428"/>
                  </a:lnTo>
                  <a:lnTo>
                    <a:pt x="32307" y="51428"/>
                  </a:lnTo>
                  <a:lnTo>
                    <a:pt x="32307" y="51428"/>
                  </a:lnTo>
                  <a:lnTo>
                    <a:pt x="32307" y="51428"/>
                  </a:lnTo>
                  <a:lnTo>
                    <a:pt x="32307" y="68571"/>
                  </a:lnTo>
                  <a:lnTo>
                    <a:pt x="27692" y="68571"/>
                  </a:lnTo>
                  <a:lnTo>
                    <a:pt x="20769" y="80000"/>
                  </a:lnTo>
                  <a:lnTo>
                    <a:pt x="16153" y="68571"/>
                  </a:lnTo>
                  <a:lnTo>
                    <a:pt x="11538" y="80000"/>
                  </a:lnTo>
                  <a:lnTo>
                    <a:pt x="20769" y="91428"/>
                  </a:lnTo>
                  <a:lnTo>
                    <a:pt x="27692" y="108571"/>
                  </a:lnTo>
                  <a:lnTo>
                    <a:pt x="32307" y="108571"/>
                  </a:lnTo>
                  <a:lnTo>
                    <a:pt x="32307" y="91428"/>
                  </a:lnTo>
                  <a:lnTo>
                    <a:pt x="32307" y="91428"/>
                  </a:lnTo>
                  <a:lnTo>
                    <a:pt x="36923" y="91428"/>
                  </a:lnTo>
                  <a:lnTo>
                    <a:pt x="36923" y="91428"/>
                  </a:lnTo>
                  <a:lnTo>
                    <a:pt x="36923" y="91428"/>
                  </a:lnTo>
                  <a:lnTo>
                    <a:pt x="36923" y="80000"/>
                  </a:lnTo>
                  <a:lnTo>
                    <a:pt x="36923" y="80000"/>
                  </a:lnTo>
                  <a:lnTo>
                    <a:pt x="43846" y="80000"/>
                  </a:lnTo>
                  <a:lnTo>
                    <a:pt x="48461" y="80000"/>
                  </a:lnTo>
                  <a:lnTo>
                    <a:pt x="48461" y="80000"/>
                  </a:lnTo>
                  <a:lnTo>
                    <a:pt x="53076" y="51428"/>
                  </a:lnTo>
                  <a:lnTo>
                    <a:pt x="53076" y="40000"/>
                  </a:lnTo>
                  <a:lnTo>
                    <a:pt x="60000" y="40000"/>
                  </a:lnTo>
                  <a:lnTo>
                    <a:pt x="60000" y="28571"/>
                  </a:lnTo>
                  <a:close/>
                  <a:moveTo>
                    <a:pt x="27692" y="11428"/>
                  </a:moveTo>
                  <a:lnTo>
                    <a:pt x="32307" y="11428"/>
                  </a:lnTo>
                  <a:lnTo>
                    <a:pt x="32307" y="0"/>
                  </a:lnTo>
                  <a:lnTo>
                    <a:pt x="32307" y="0"/>
                  </a:lnTo>
                  <a:lnTo>
                    <a:pt x="27692" y="0"/>
                  </a:lnTo>
                  <a:lnTo>
                    <a:pt x="20769" y="0"/>
                  </a:lnTo>
                  <a:lnTo>
                    <a:pt x="20769" y="0"/>
                  </a:lnTo>
                  <a:lnTo>
                    <a:pt x="27692" y="11428"/>
                  </a:lnTo>
                  <a:close/>
                  <a:moveTo>
                    <a:pt x="120000" y="40000"/>
                  </a:moveTo>
                  <a:lnTo>
                    <a:pt x="120000" y="40000"/>
                  </a:lnTo>
                  <a:lnTo>
                    <a:pt x="113076" y="28571"/>
                  </a:lnTo>
                  <a:lnTo>
                    <a:pt x="113076" y="28571"/>
                  </a:lnTo>
                  <a:lnTo>
                    <a:pt x="120000" y="28571"/>
                  </a:lnTo>
                  <a:lnTo>
                    <a:pt x="113076" y="11428"/>
                  </a:lnTo>
                  <a:lnTo>
                    <a:pt x="108461" y="11428"/>
                  </a:lnTo>
                  <a:lnTo>
                    <a:pt x="103846" y="11428"/>
                  </a:lnTo>
                  <a:lnTo>
                    <a:pt x="96923" y="11428"/>
                  </a:lnTo>
                  <a:lnTo>
                    <a:pt x="96923" y="11428"/>
                  </a:lnTo>
                  <a:lnTo>
                    <a:pt x="103846" y="28571"/>
                  </a:lnTo>
                  <a:lnTo>
                    <a:pt x="103846" y="28571"/>
                  </a:lnTo>
                  <a:lnTo>
                    <a:pt x="103846" y="28571"/>
                  </a:lnTo>
                  <a:lnTo>
                    <a:pt x="103846" y="28571"/>
                  </a:lnTo>
                  <a:lnTo>
                    <a:pt x="92307" y="28571"/>
                  </a:lnTo>
                  <a:lnTo>
                    <a:pt x="92307" y="28571"/>
                  </a:lnTo>
                  <a:lnTo>
                    <a:pt x="92307" y="11428"/>
                  </a:lnTo>
                  <a:lnTo>
                    <a:pt x="92307" y="11428"/>
                  </a:lnTo>
                  <a:lnTo>
                    <a:pt x="92307" y="11428"/>
                  </a:lnTo>
                  <a:lnTo>
                    <a:pt x="92307" y="11428"/>
                  </a:lnTo>
                  <a:lnTo>
                    <a:pt x="92307" y="0"/>
                  </a:lnTo>
                  <a:lnTo>
                    <a:pt x="87692" y="0"/>
                  </a:lnTo>
                  <a:lnTo>
                    <a:pt x="80769" y="0"/>
                  </a:lnTo>
                  <a:lnTo>
                    <a:pt x="76153" y="0"/>
                  </a:lnTo>
                  <a:lnTo>
                    <a:pt x="69230" y="0"/>
                  </a:lnTo>
                  <a:lnTo>
                    <a:pt x="76153" y="0"/>
                  </a:lnTo>
                  <a:lnTo>
                    <a:pt x="69230" y="28571"/>
                  </a:lnTo>
                  <a:lnTo>
                    <a:pt x="69230" y="28571"/>
                  </a:lnTo>
                  <a:lnTo>
                    <a:pt x="76153" y="40000"/>
                  </a:lnTo>
                  <a:lnTo>
                    <a:pt x="76153" y="40000"/>
                  </a:lnTo>
                  <a:lnTo>
                    <a:pt x="76153" y="40000"/>
                  </a:lnTo>
                  <a:lnTo>
                    <a:pt x="69230" y="40000"/>
                  </a:lnTo>
                  <a:lnTo>
                    <a:pt x="69230" y="51428"/>
                  </a:lnTo>
                  <a:lnTo>
                    <a:pt x="69230" y="51428"/>
                  </a:lnTo>
                  <a:lnTo>
                    <a:pt x="60000" y="68571"/>
                  </a:lnTo>
                  <a:lnTo>
                    <a:pt x="64615" y="80000"/>
                  </a:lnTo>
                  <a:lnTo>
                    <a:pt x="60000" y="91428"/>
                  </a:lnTo>
                  <a:lnTo>
                    <a:pt x="64615" y="91428"/>
                  </a:lnTo>
                  <a:lnTo>
                    <a:pt x="69230" y="108571"/>
                  </a:lnTo>
                  <a:lnTo>
                    <a:pt x="76153" y="120000"/>
                  </a:lnTo>
                  <a:lnTo>
                    <a:pt x="76153" y="108571"/>
                  </a:lnTo>
                  <a:lnTo>
                    <a:pt x="76153" y="108571"/>
                  </a:lnTo>
                  <a:lnTo>
                    <a:pt x="80769" y="108571"/>
                  </a:lnTo>
                  <a:lnTo>
                    <a:pt x="87692" y="91428"/>
                  </a:lnTo>
                  <a:lnTo>
                    <a:pt x="76153" y="80000"/>
                  </a:lnTo>
                  <a:lnTo>
                    <a:pt x="80769" y="80000"/>
                  </a:lnTo>
                  <a:lnTo>
                    <a:pt x="96923" y="91428"/>
                  </a:lnTo>
                  <a:lnTo>
                    <a:pt x="96923" y="80000"/>
                  </a:lnTo>
                  <a:lnTo>
                    <a:pt x="96923" y="80000"/>
                  </a:lnTo>
                  <a:lnTo>
                    <a:pt x="92307" y="68571"/>
                  </a:lnTo>
                  <a:lnTo>
                    <a:pt x="103846" y="68571"/>
                  </a:lnTo>
                  <a:lnTo>
                    <a:pt x="108461" y="51428"/>
                  </a:lnTo>
                  <a:lnTo>
                    <a:pt x="108461" y="51428"/>
                  </a:lnTo>
                  <a:lnTo>
                    <a:pt x="113076" y="51428"/>
                  </a:lnTo>
                  <a:lnTo>
                    <a:pt x="120000" y="40000"/>
                  </a:lnTo>
                  <a:lnTo>
                    <a:pt x="120000" y="40000"/>
                  </a:lnTo>
                  <a:lnTo>
                    <a:pt x="120000" y="4000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92" name="Shape 492"/>
            <p:cNvSpPr/>
            <p:nvPr/>
          </p:nvSpPr>
          <p:spPr>
            <a:xfrm>
              <a:off x="4266" y="2493"/>
              <a:ext cx="300" cy="300"/>
            </a:xfrm>
            <a:custGeom>
              <a:avLst/>
              <a:gdLst/>
              <a:ahLst/>
              <a:cxnLst/>
              <a:rect l="0" t="0" r="0" b="0"/>
              <a:pathLst>
                <a:path w="120000" h="120000" extrusionOk="0">
                  <a:moveTo>
                    <a:pt x="111798" y="73195"/>
                  </a:moveTo>
                  <a:lnTo>
                    <a:pt x="110935" y="71701"/>
                  </a:lnTo>
                  <a:lnTo>
                    <a:pt x="108776" y="71701"/>
                  </a:lnTo>
                  <a:lnTo>
                    <a:pt x="105755" y="70705"/>
                  </a:lnTo>
                  <a:lnTo>
                    <a:pt x="102733" y="68215"/>
                  </a:lnTo>
                  <a:lnTo>
                    <a:pt x="99712" y="67219"/>
                  </a:lnTo>
                  <a:lnTo>
                    <a:pt x="97553" y="66224"/>
                  </a:lnTo>
                  <a:lnTo>
                    <a:pt x="94532" y="64730"/>
                  </a:lnTo>
                  <a:lnTo>
                    <a:pt x="92374" y="64730"/>
                  </a:lnTo>
                  <a:lnTo>
                    <a:pt x="89352" y="63734"/>
                  </a:lnTo>
                  <a:lnTo>
                    <a:pt x="87194" y="62738"/>
                  </a:lnTo>
                  <a:lnTo>
                    <a:pt x="87194" y="62738"/>
                  </a:lnTo>
                  <a:lnTo>
                    <a:pt x="86330" y="60248"/>
                  </a:lnTo>
                  <a:lnTo>
                    <a:pt x="84172" y="58755"/>
                  </a:lnTo>
                  <a:lnTo>
                    <a:pt x="84172" y="58755"/>
                  </a:lnTo>
                  <a:lnTo>
                    <a:pt x="83309" y="57759"/>
                  </a:lnTo>
                  <a:lnTo>
                    <a:pt x="82446" y="56763"/>
                  </a:lnTo>
                  <a:lnTo>
                    <a:pt x="81151" y="55269"/>
                  </a:lnTo>
                  <a:lnTo>
                    <a:pt x="81151" y="54273"/>
                  </a:lnTo>
                  <a:lnTo>
                    <a:pt x="80287" y="53278"/>
                  </a:lnTo>
                  <a:lnTo>
                    <a:pt x="80287" y="51784"/>
                  </a:lnTo>
                  <a:lnTo>
                    <a:pt x="79424" y="51784"/>
                  </a:lnTo>
                  <a:lnTo>
                    <a:pt x="78129" y="49792"/>
                  </a:lnTo>
                  <a:lnTo>
                    <a:pt x="78129" y="49792"/>
                  </a:lnTo>
                  <a:lnTo>
                    <a:pt x="78129" y="48298"/>
                  </a:lnTo>
                  <a:lnTo>
                    <a:pt x="77266" y="47302"/>
                  </a:lnTo>
                  <a:lnTo>
                    <a:pt x="77266" y="45809"/>
                  </a:lnTo>
                  <a:lnTo>
                    <a:pt x="75971" y="45809"/>
                  </a:lnTo>
                  <a:lnTo>
                    <a:pt x="75971" y="44813"/>
                  </a:lnTo>
                  <a:lnTo>
                    <a:pt x="75971" y="44813"/>
                  </a:lnTo>
                  <a:lnTo>
                    <a:pt x="77266" y="43817"/>
                  </a:lnTo>
                  <a:lnTo>
                    <a:pt x="77266" y="42323"/>
                  </a:lnTo>
                  <a:lnTo>
                    <a:pt x="78129" y="42323"/>
                  </a:lnTo>
                  <a:lnTo>
                    <a:pt x="78129" y="41327"/>
                  </a:lnTo>
                  <a:lnTo>
                    <a:pt x="78129" y="41327"/>
                  </a:lnTo>
                  <a:lnTo>
                    <a:pt x="78129" y="41327"/>
                  </a:lnTo>
                  <a:lnTo>
                    <a:pt x="77266" y="41327"/>
                  </a:lnTo>
                  <a:lnTo>
                    <a:pt x="77266" y="40331"/>
                  </a:lnTo>
                  <a:lnTo>
                    <a:pt x="75971" y="40331"/>
                  </a:lnTo>
                  <a:lnTo>
                    <a:pt x="75107" y="40331"/>
                  </a:lnTo>
                  <a:lnTo>
                    <a:pt x="75107" y="40331"/>
                  </a:lnTo>
                  <a:lnTo>
                    <a:pt x="72949" y="41327"/>
                  </a:lnTo>
                  <a:lnTo>
                    <a:pt x="72086" y="41327"/>
                  </a:lnTo>
                  <a:lnTo>
                    <a:pt x="71223" y="41327"/>
                  </a:lnTo>
                  <a:lnTo>
                    <a:pt x="71223" y="41327"/>
                  </a:lnTo>
                  <a:lnTo>
                    <a:pt x="69928" y="41327"/>
                  </a:lnTo>
                  <a:lnTo>
                    <a:pt x="69064" y="41327"/>
                  </a:lnTo>
                  <a:lnTo>
                    <a:pt x="69064" y="38838"/>
                  </a:lnTo>
                  <a:lnTo>
                    <a:pt x="69064" y="36348"/>
                  </a:lnTo>
                  <a:lnTo>
                    <a:pt x="69064" y="35352"/>
                  </a:lnTo>
                  <a:lnTo>
                    <a:pt x="69064" y="34356"/>
                  </a:lnTo>
                  <a:lnTo>
                    <a:pt x="69064" y="32863"/>
                  </a:lnTo>
                  <a:lnTo>
                    <a:pt x="69928" y="31867"/>
                  </a:lnTo>
                  <a:lnTo>
                    <a:pt x="71223" y="31867"/>
                  </a:lnTo>
                  <a:lnTo>
                    <a:pt x="72086" y="29377"/>
                  </a:lnTo>
                  <a:lnTo>
                    <a:pt x="72949" y="27385"/>
                  </a:lnTo>
                  <a:lnTo>
                    <a:pt x="74244" y="25892"/>
                  </a:lnTo>
                  <a:lnTo>
                    <a:pt x="72949" y="24896"/>
                  </a:lnTo>
                  <a:lnTo>
                    <a:pt x="72086" y="23402"/>
                  </a:lnTo>
                  <a:lnTo>
                    <a:pt x="72086" y="22406"/>
                  </a:lnTo>
                  <a:lnTo>
                    <a:pt x="71223" y="22406"/>
                  </a:lnTo>
                  <a:lnTo>
                    <a:pt x="69928" y="21410"/>
                  </a:lnTo>
                  <a:lnTo>
                    <a:pt x="69064" y="19917"/>
                  </a:lnTo>
                  <a:lnTo>
                    <a:pt x="69064" y="17925"/>
                  </a:lnTo>
                  <a:lnTo>
                    <a:pt x="66906" y="16431"/>
                  </a:lnTo>
                  <a:lnTo>
                    <a:pt x="65179" y="15435"/>
                  </a:lnTo>
                  <a:lnTo>
                    <a:pt x="63021" y="11950"/>
                  </a:lnTo>
                  <a:lnTo>
                    <a:pt x="61726" y="9460"/>
                  </a:lnTo>
                  <a:lnTo>
                    <a:pt x="60863" y="8464"/>
                  </a:lnTo>
                  <a:lnTo>
                    <a:pt x="60000" y="8464"/>
                  </a:lnTo>
                  <a:lnTo>
                    <a:pt x="58705" y="6970"/>
                  </a:lnTo>
                  <a:lnTo>
                    <a:pt x="56978" y="5975"/>
                  </a:lnTo>
                  <a:lnTo>
                    <a:pt x="55683" y="4979"/>
                  </a:lnTo>
                  <a:lnTo>
                    <a:pt x="54820" y="4979"/>
                  </a:lnTo>
                  <a:lnTo>
                    <a:pt x="54820" y="4979"/>
                  </a:lnTo>
                  <a:lnTo>
                    <a:pt x="53956" y="4979"/>
                  </a:lnTo>
                  <a:lnTo>
                    <a:pt x="51798" y="4979"/>
                  </a:lnTo>
                  <a:lnTo>
                    <a:pt x="51798" y="4979"/>
                  </a:lnTo>
                  <a:lnTo>
                    <a:pt x="50935" y="3485"/>
                  </a:lnTo>
                  <a:lnTo>
                    <a:pt x="50935" y="3485"/>
                  </a:lnTo>
                  <a:lnTo>
                    <a:pt x="49640" y="3485"/>
                  </a:lnTo>
                  <a:lnTo>
                    <a:pt x="48776" y="4979"/>
                  </a:lnTo>
                  <a:lnTo>
                    <a:pt x="47482" y="4979"/>
                  </a:lnTo>
                  <a:lnTo>
                    <a:pt x="47482" y="3485"/>
                  </a:lnTo>
                  <a:lnTo>
                    <a:pt x="47482" y="3485"/>
                  </a:lnTo>
                  <a:lnTo>
                    <a:pt x="46618" y="2489"/>
                  </a:lnTo>
                  <a:lnTo>
                    <a:pt x="46618" y="2489"/>
                  </a:lnTo>
                  <a:lnTo>
                    <a:pt x="45755" y="3485"/>
                  </a:lnTo>
                  <a:lnTo>
                    <a:pt x="44460" y="4979"/>
                  </a:lnTo>
                  <a:lnTo>
                    <a:pt x="42733" y="4979"/>
                  </a:lnTo>
                  <a:lnTo>
                    <a:pt x="41438" y="4979"/>
                  </a:lnTo>
                  <a:lnTo>
                    <a:pt x="41438" y="4979"/>
                  </a:lnTo>
                  <a:lnTo>
                    <a:pt x="39712" y="2489"/>
                  </a:lnTo>
                  <a:lnTo>
                    <a:pt x="39712" y="2489"/>
                  </a:lnTo>
                  <a:lnTo>
                    <a:pt x="39712" y="2489"/>
                  </a:lnTo>
                  <a:lnTo>
                    <a:pt x="38417" y="2489"/>
                  </a:lnTo>
                  <a:lnTo>
                    <a:pt x="38417" y="1493"/>
                  </a:lnTo>
                  <a:lnTo>
                    <a:pt x="37553" y="1493"/>
                  </a:lnTo>
                  <a:lnTo>
                    <a:pt x="37553" y="0"/>
                  </a:lnTo>
                  <a:lnTo>
                    <a:pt x="36690" y="2489"/>
                  </a:lnTo>
                  <a:lnTo>
                    <a:pt x="35395" y="4979"/>
                  </a:lnTo>
                  <a:lnTo>
                    <a:pt x="35395" y="5975"/>
                  </a:lnTo>
                  <a:lnTo>
                    <a:pt x="34532" y="8464"/>
                  </a:lnTo>
                  <a:lnTo>
                    <a:pt x="34532" y="8464"/>
                  </a:lnTo>
                  <a:lnTo>
                    <a:pt x="34532" y="8464"/>
                  </a:lnTo>
                  <a:lnTo>
                    <a:pt x="33237" y="5975"/>
                  </a:lnTo>
                  <a:lnTo>
                    <a:pt x="32374" y="4979"/>
                  </a:lnTo>
                  <a:lnTo>
                    <a:pt x="31510" y="4979"/>
                  </a:lnTo>
                  <a:lnTo>
                    <a:pt x="31510" y="4979"/>
                  </a:lnTo>
                  <a:lnTo>
                    <a:pt x="31510" y="5975"/>
                  </a:lnTo>
                  <a:lnTo>
                    <a:pt x="30215" y="5975"/>
                  </a:lnTo>
                  <a:lnTo>
                    <a:pt x="30215" y="6970"/>
                  </a:lnTo>
                  <a:lnTo>
                    <a:pt x="30215" y="6970"/>
                  </a:lnTo>
                  <a:lnTo>
                    <a:pt x="28489" y="5975"/>
                  </a:lnTo>
                  <a:lnTo>
                    <a:pt x="27194" y="5975"/>
                  </a:lnTo>
                  <a:lnTo>
                    <a:pt x="26330" y="6970"/>
                  </a:lnTo>
                  <a:lnTo>
                    <a:pt x="26330" y="6970"/>
                  </a:lnTo>
                  <a:lnTo>
                    <a:pt x="26330" y="9460"/>
                  </a:lnTo>
                  <a:lnTo>
                    <a:pt x="26330" y="10456"/>
                  </a:lnTo>
                  <a:lnTo>
                    <a:pt x="25467" y="12946"/>
                  </a:lnTo>
                  <a:lnTo>
                    <a:pt x="25467" y="14439"/>
                  </a:lnTo>
                  <a:lnTo>
                    <a:pt x="25467" y="15435"/>
                  </a:lnTo>
                  <a:lnTo>
                    <a:pt x="25467" y="15435"/>
                  </a:lnTo>
                  <a:lnTo>
                    <a:pt x="24172" y="17925"/>
                  </a:lnTo>
                  <a:lnTo>
                    <a:pt x="24172" y="18921"/>
                  </a:lnTo>
                  <a:lnTo>
                    <a:pt x="24172" y="21410"/>
                  </a:lnTo>
                  <a:lnTo>
                    <a:pt x="24172" y="22406"/>
                  </a:lnTo>
                  <a:lnTo>
                    <a:pt x="23309" y="22406"/>
                  </a:lnTo>
                  <a:lnTo>
                    <a:pt x="23309" y="22406"/>
                  </a:lnTo>
                  <a:lnTo>
                    <a:pt x="22446" y="23402"/>
                  </a:lnTo>
                  <a:lnTo>
                    <a:pt x="21151" y="23402"/>
                  </a:lnTo>
                  <a:lnTo>
                    <a:pt x="20287" y="23402"/>
                  </a:lnTo>
                  <a:lnTo>
                    <a:pt x="20287" y="23402"/>
                  </a:lnTo>
                  <a:lnTo>
                    <a:pt x="18992" y="24896"/>
                  </a:lnTo>
                  <a:lnTo>
                    <a:pt x="18129" y="27385"/>
                  </a:lnTo>
                  <a:lnTo>
                    <a:pt x="18129" y="29377"/>
                  </a:lnTo>
                  <a:lnTo>
                    <a:pt x="17266" y="30871"/>
                  </a:lnTo>
                  <a:lnTo>
                    <a:pt x="15971" y="32863"/>
                  </a:lnTo>
                  <a:lnTo>
                    <a:pt x="15971" y="32863"/>
                  </a:lnTo>
                  <a:lnTo>
                    <a:pt x="15107" y="34356"/>
                  </a:lnTo>
                  <a:lnTo>
                    <a:pt x="15107" y="36348"/>
                  </a:lnTo>
                  <a:lnTo>
                    <a:pt x="15107" y="37842"/>
                  </a:lnTo>
                  <a:lnTo>
                    <a:pt x="15107" y="38838"/>
                  </a:lnTo>
                  <a:lnTo>
                    <a:pt x="14244" y="41327"/>
                  </a:lnTo>
                  <a:lnTo>
                    <a:pt x="15107" y="42323"/>
                  </a:lnTo>
                  <a:lnTo>
                    <a:pt x="14244" y="43817"/>
                  </a:lnTo>
                  <a:lnTo>
                    <a:pt x="14244" y="43817"/>
                  </a:lnTo>
                  <a:lnTo>
                    <a:pt x="12949" y="43817"/>
                  </a:lnTo>
                  <a:lnTo>
                    <a:pt x="12086" y="43817"/>
                  </a:lnTo>
                  <a:lnTo>
                    <a:pt x="12086" y="42323"/>
                  </a:lnTo>
                  <a:lnTo>
                    <a:pt x="12086" y="42323"/>
                  </a:lnTo>
                  <a:lnTo>
                    <a:pt x="11223" y="42323"/>
                  </a:lnTo>
                  <a:lnTo>
                    <a:pt x="11223" y="43817"/>
                  </a:lnTo>
                  <a:lnTo>
                    <a:pt x="9928" y="44813"/>
                  </a:lnTo>
                  <a:lnTo>
                    <a:pt x="9064" y="45809"/>
                  </a:lnTo>
                  <a:lnTo>
                    <a:pt x="9928" y="49792"/>
                  </a:lnTo>
                  <a:lnTo>
                    <a:pt x="9928" y="49792"/>
                  </a:lnTo>
                  <a:lnTo>
                    <a:pt x="9928" y="50788"/>
                  </a:lnTo>
                  <a:lnTo>
                    <a:pt x="9064" y="51784"/>
                  </a:lnTo>
                  <a:lnTo>
                    <a:pt x="9064" y="53278"/>
                  </a:lnTo>
                  <a:lnTo>
                    <a:pt x="8201" y="54273"/>
                  </a:lnTo>
                  <a:lnTo>
                    <a:pt x="8201" y="56763"/>
                  </a:lnTo>
                  <a:lnTo>
                    <a:pt x="8201" y="57759"/>
                  </a:lnTo>
                  <a:lnTo>
                    <a:pt x="8201" y="57759"/>
                  </a:lnTo>
                  <a:lnTo>
                    <a:pt x="8201" y="60248"/>
                  </a:lnTo>
                  <a:lnTo>
                    <a:pt x="8201" y="61244"/>
                  </a:lnTo>
                  <a:lnTo>
                    <a:pt x="8201" y="64730"/>
                  </a:lnTo>
                  <a:lnTo>
                    <a:pt x="8201" y="66224"/>
                  </a:lnTo>
                  <a:lnTo>
                    <a:pt x="8201" y="66224"/>
                  </a:lnTo>
                  <a:lnTo>
                    <a:pt x="8201" y="67219"/>
                  </a:lnTo>
                  <a:lnTo>
                    <a:pt x="8201" y="67219"/>
                  </a:lnTo>
                  <a:lnTo>
                    <a:pt x="6906" y="68215"/>
                  </a:lnTo>
                  <a:lnTo>
                    <a:pt x="6043" y="68215"/>
                  </a:lnTo>
                  <a:lnTo>
                    <a:pt x="4748" y="68215"/>
                  </a:lnTo>
                  <a:lnTo>
                    <a:pt x="3884" y="68215"/>
                  </a:lnTo>
                  <a:lnTo>
                    <a:pt x="3021" y="68215"/>
                  </a:lnTo>
                  <a:lnTo>
                    <a:pt x="1726" y="68215"/>
                  </a:lnTo>
                  <a:lnTo>
                    <a:pt x="1726" y="68215"/>
                  </a:lnTo>
                  <a:lnTo>
                    <a:pt x="863" y="69709"/>
                  </a:lnTo>
                  <a:lnTo>
                    <a:pt x="0" y="71701"/>
                  </a:lnTo>
                  <a:lnTo>
                    <a:pt x="0" y="73195"/>
                  </a:lnTo>
                  <a:lnTo>
                    <a:pt x="0" y="74190"/>
                  </a:lnTo>
                  <a:lnTo>
                    <a:pt x="0" y="74190"/>
                  </a:lnTo>
                  <a:lnTo>
                    <a:pt x="0" y="74190"/>
                  </a:lnTo>
                  <a:lnTo>
                    <a:pt x="1726" y="75684"/>
                  </a:lnTo>
                  <a:lnTo>
                    <a:pt x="3021" y="75684"/>
                  </a:lnTo>
                  <a:lnTo>
                    <a:pt x="3884" y="75684"/>
                  </a:lnTo>
                  <a:lnTo>
                    <a:pt x="3884" y="75684"/>
                  </a:lnTo>
                  <a:lnTo>
                    <a:pt x="4748" y="76680"/>
                  </a:lnTo>
                  <a:lnTo>
                    <a:pt x="6906" y="77676"/>
                  </a:lnTo>
                  <a:lnTo>
                    <a:pt x="6906" y="79170"/>
                  </a:lnTo>
                  <a:lnTo>
                    <a:pt x="8201" y="79170"/>
                  </a:lnTo>
                  <a:lnTo>
                    <a:pt x="8201" y="80165"/>
                  </a:lnTo>
                  <a:lnTo>
                    <a:pt x="8201" y="81161"/>
                  </a:lnTo>
                  <a:lnTo>
                    <a:pt x="9064" y="82655"/>
                  </a:lnTo>
                  <a:lnTo>
                    <a:pt x="9928" y="83651"/>
                  </a:lnTo>
                  <a:lnTo>
                    <a:pt x="12086" y="83651"/>
                  </a:lnTo>
                  <a:lnTo>
                    <a:pt x="12086" y="84647"/>
                  </a:lnTo>
                  <a:lnTo>
                    <a:pt x="12949" y="86141"/>
                  </a:lnTo>
                  <a:lnTo>
                    <a:pt x="12949" y="87136"/>
                  </a:lnTo>
                  <a:lnTo>
                    <a:pt x="14244" y="87136"/>
                  </a:lnTo>
                  <a:lnTo>
                    <a:pt x="14244" y="90622"/>
                  </a:lnTo>
                  <a:lnTo>
                    <a:pt x="15107" y="92116"/>
                  </a:lnTo>
                  <a:lnTo>
                    <a:pt x="15107" y="93112"/>
                  </a:lnTo>
                  <a:lnTo>
                    <a:pt x="15971" y="95601"/>
                  </a:lnTo>
                  <a:lnTo>
                    <a:pt x="15971" y="95601"/>
                  </a:lnTo>
                  <a:lnTo>
                    <a:pt x="15971" y="96597"/>
                  </a:lnTo>
                  <a:lnTo>
                    <a:pt x="17266" y="97593"/>
                  </a:lnTo>
                  <a:lnTo>
                    <a:pt x="18129" y="99087"/>
                  </a:lnTo>
                  <a:lnTo>
                    <a:pt x="18129" y="99087"/>
                  </a:lnTo>
                  <a:lnTo>
                    <a:pt x="18129" y="99087"/>
                  </a:lnTo>
                  <a:lnTo>
                    <a:pt x="18129" y="100082"/>
                  </a:lnTo>
                  <a:lnTo>
                    <a:pt x="18129" y="100082"/>
                  </a:lnTo>
                  <a:lnTo>
                    <a:pt x="18129" y="100082"/>
                  </a:lnTo>
                  <a:lnTo>
                    <a:pt x="18992" y="100082"/>
                  </a:lnTo>
                  <a:lnTo>
                    <a:pt x="18992" y="100082"/>
                  </a:lnTo>
                  <a:lnTo>
                    <a:pt x="18992" y="100082"/>
                  </a:lnTo>
                  <a:lnTo>
                    <a:pt x="22446" y="100082"/>
                  </a:lnTo>
                  <a:lnTo>
                    <a:pt x="22446" y="101576"/>
                  </a:lnTo>
                  <a:lnTo>
                    <a:pt x="22446" y="102572"/>
                  </a:lnTo>
                  <a:lnTo>
                    <a:pt x="22446" y="102572"/>
                  </a:lnTo>
                  <a:lnTo>
                    <a:pt x="22446" y="102572"/>
                  </a:lnTo>
                  <a:lnTo>
                    <a:pt x="22446" y="105062"/>
                  </a:lnTo>
                  <a:lnTo>
                    <a:pt x="22446" y="106058"/>
                  </a:lnTo>
                  <a:lnTo>
                    <a:pt x="22446" y="107053"/>
                  </a:lnTo>
                  <a:lnTo>
                    <a:pt x="23309" y="108547"/>
                  </a:lnTo>
                  <a:lnTo>
                    <a:pt x="24172" y="109543"/>
                  </a:lnTo>
                  <a:lnTo>
                    <a:pt x="24172" y="109543"/>
                  </a:lnTo>
                  <a:lnTo>
                    <a:pt x="24172" y="109543"/>
                  </a:lnTo>
                  <a:lnTo>
                    <a:pt x="26330" y="109543"/>
                  </a:lnTo>
                  <a:lnTo>
                    <a:pt x="28489" y="109543"/>
                  </a:lnTo>
                  <a:lnTo>
                    <a:pt x="30215" y="109543"/>
                  </a:lnTo>
                  <a:lnTo>
                    <a:pt x="30215" y="110539"/>
                  </a:lnTo>
                  <a:lnTo>
                    <a:pt x="31510" y="110539"/>
                  </a:lnTo>
                  <a:lnTo>
                    <a:pt x="33237" y="112033"/>
                  </a:lnTo>
                  <a:lnTo>
                    <a:pt x="35395" y="113029"/>
                  </a:lnTo>
                  <a:lnTo>
                    <a:pt x="36690" y="114522"/>
                  </a:lnTo>
                  <a:lnTo>
                    <a:pt x="38417" y="116514"/>
                  </a:lnTo>
                  <a:lnTo>
                    <a:pt x="39712" y="118008"/>
                  </a:lnTo>
                  <a:lnTo>
                    <a:pt x="40575" y="118008"/>
                  </a:lnTo>
                  <a:lnTo>
                    <a:pt x="41438" y="119004"/>
                  </a:lnTo>
                  <a:lnTo>
                    <a:pt x="43597" y="119004"/>
                  </a:lnTo>
                  <a:lnTo>
                    <a:pt x="44460" y="119004"/>
                  </a:lnTo>
                  <a:lnTo>
                    <a:pt x="45755" y="119004"/>
                  </a:lnTo>
                  <a:lnTo>
                    <a:pt x="47482" y="120000"/>
                  </a:lnTo>
                  <a:lnTo>
                    <a:pt x="48776" y="120000"/>
                  </a:lnTo>
                  <a:lnTo>
                    <a:pt x="49640" y="120000"/>
                  </a:lnTo>
                  <a:lnTo>
                    <a:pt x="51798" y="120000"/>
                  </a:lnTo>
                  <a:lnTo>
                    <a:pt x="52661" y="120000"/>
                  </a:lnTo>
                  <a:lnTo>
                    <a:pt x="53956" y="119004"/>
                  </a:lnTo>
                  <a:lnTo>
                    <a:pt x="54820" y="118008"/>
                  </a:lnTo>
                  <a:lnTo>
                    <a:pt x="54820" y="116514"/>
                  </a:lnTo>
                  <a:lnTo>
                    <a:pt x="55683" y="115518"/>
                  </a:lnTo>
                  <a:lnTo>
                    <a:pt x="58705" y="114522"/>
                  </a:lnTo>
                  <a:lnTo>
                    <a:pt x="60000" y="113029"/>
                  </a:lnTo>
                  <a:lnTo>
                    <a:pt x="61726" y="112033"/>
                  </a:lnTo>
                  <a:lnTo>
                    <a:pt x="63021" y="113029"/>
                  </a:lnTo>
                  <a:lnTo>
                    <a:pt x="63884" y="114522"/>
                  </a:lnTo>
                  <a:lnTo>
                    <a:pt x="65179" y="114522"/>
                  </a:lnTo>
                  <a:lnTo>
                    <a:pt x="65179" y="115518"/>
                  </a:lnTo>
                  <a:lnTo>
                    <a:pt x="66043" y="115518"/>
                  </a:lnTo>
                  <a:lnTo>
                    <a:pt x="66906" y="115518"/>
                  </a:lnTo>
                  <a:lnTo>
                    <a:pt x="66906" y="115518"/>
                  </a:lnTo>
                  <a:lnTo>
                    <a:pt x="68201" y="115518"/>
                  </a:lnTo>
                  <a:lnTo>
                    <a:pt x="69928" y="115518"/>
                  </a:lnTo>
                  <a:lnTo>
                    <a:pt x="71223" y="115518"/>
                  </a:lnTo>
                  <a:lnTo>
                    <a:pt x="71223" y="114522"/>
                  </a:lnTo>
                  <a:lnTo>
                    <a:pt x="72086" y="113029"/>
                  </a:lnTo>
                  <a:lnTo>
                    <a:pt x="74244" y="113029"/>
                  </a:lnTo>
                  <a:lnTo>
                    <a:pt x="75107" y="112033"/>
                  </a:lnTo>
                  <a:lnTo>
                    <a:pt x="78129" y="112033"/>
                  </a:lnTo>
                  <a:lnTo>
                    <a:pt x="79424" y="110539"/>
                  </a:lnTo>
                  <a:lnTo>
                    <a:pt x="79424" y="110539"/>
                  </a:lnTo>
                  <a:lnTo>
                    <a:pt x="79424" y="109543"/>
                  </a:lnTo>
                  <a:lnTo>
                    <a:pt x="80287" y="108547"/>
                  </a:lnTo>
                  <a:lnTo>
                    <a:pt x="81151" y="108547"/>
                  </a:lnTo>
                  <a:lnTo>
                    <a:pt x="82446" y="107053"/>
                  </a:lnTo>
                  <a:lnTo>
                    <a:pt x="84172" y="106058"/>
                  </a:lnTo>
                  <a:lnTo>
                    <a:pt x="84172" y="106058"/>
                  </a:lnTo>
                  <a:lnTo>
                    <a:pt x="86330" y="105062"/>
                  </a:lnTo>
                  <a:lnTo>
                    <a:pt x="87194" y="105062"/>
                  </a:lnTo>
                  <a:lnTo>
                    <a:pt x="88489" y="105062"/>
                  </a:lnTo>
                  <a:lnTo>
                    <a:pt x="88489" y="105062"/>
                  </a:lnTo>
                  <a:lnTo>
                    <a:pt x="91510" y="105062"/>
                  </a:lnTo>
                  <a:lnTo>
                    <a:pt x="93669" y="105062"/>
                  </a:lnTo>
                  <a:lnTo>
                    <a:pt x="95395" y="105062"/>
                  </a:lnTo>
                  <a:lnTo>
                    <a:pt x="95395" y="105062"/>
                  </a:lnTo>
                  <a:lnTo>
                    <a:pt x="97553" y="102572"/>
                  </a:lnTo>
                  <a:lnTo>
                    <a:pt x="99712" y="99087"/>
                  </a:lnTo>
                  <a:lnTo>
                    <a:pt x="100575" y="96597"/>
                  </a:lnTo>
                  <a:lnTo>
                    <a:pt x="103597" y="93112"/>
                  </a:lnTo>
                  <a:lnTo>
                    <a:pt x="105755" y="90622"/>
                  </a:lnTo>
                  <a:lnTo>
                    <a:pt x="107913" y="88630"/>
                  </a:lnTo>
                  <a:lnTo>
                    <a:pt x="108776" y="86141"/>
                  </a:lnTo>
                  <a:lnTo>
                    <a:pt x="111798" y="82655"/>
                  </a:lnTo>
                  <a:lnTo>
                    <a:pt x="112661" y="81161"/>
                  </a:lnTo>
                  <a:lnTo>
                    <a:pt x="114820" y="77676"/>
                  </a:lnTo>
                  <a:lnTo>
                    <a:pt x="117841" y="75684"/>
                  </a:lnTo>
                  <a:lnTo>
                    <a:pt x="120000" y="73195"/>
                  </a:lnTo>
                  <a:lnTo>
                    <a:pt x="111798" y="73195"/>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93" name="Shape 493"/>
            <p:cNvSpPr/>
            <p:nvPr/>
          </p:nvSpPr>
          <p:spPr>
            <a:xfrm>
              <a:off x="4021" y="1564"/>
              <a:ext cx="0" cy="0"/>
            </a:xfrm>
            <a:custGeom>
              <a:avLst/>
              <a:gdLst/>
              <a:ahLst/>
              <a:cxnLst/>
              <a:rect l="0" t="0" r="0" b="0"/>
              <a:pathLst>
                <a:path w="120000" h="120000" extrusionOk="0">
                  <a:moveTo>
                    <a:pt x="20869" y="58604"/>
                  </a:moveTo>
                  <a:lnTo>
                    <a:pt x="18260" y="53023"/>
                  </a:lnTo>
                  <a:lnTo>
                    <a:pt x="18260" y="58604"/>
                  </a:lnTo>
                  <a:lnTo>
                    <a:pt x="14347" y="58604"/>
                  </a:lnTo>
                  <a:lnTo>
                    <a:pt x="14347" y="53023"/>
                  </a:lnTo>
                  <a:lnTo>
                    <a:pt x="11739" y="53023"/>
                  </a:lnTo>
                  <a:lnTo>
                    <a:pt x="11739" y="58604"/>
                  </a:lnTo>
                  <a:lnTo>
                    <a:pt x="9130" y="58604"/>
                  </a:lnTo>
                  <a:lnTo>
                    <a:pt x="9130" y="58604"/>
                  </a:lnTo>
                  <a:lnTo>
                    <a:pt x="5217" y="58604"/>
                  </a:lnTo>
                  <a:lnTo>
                    <a:pt x="5217" y="58604"/>
                  </a:lnTo>
                  <a:lnTo>
                    <a:pt x="5217" y="66976"/>
                  </a:lnTo>
                  <a:lnTo>
                    <a:pt x="2608" y="58604"/>
                  </a:lnTo>
                  <a:lnTo>
                    <a:pt x="2608" y="58604"/>
                  </a:lnTo>
                  <a:lnTo>
                    <a:pt x="0" y="58604"/>
                  </a:lnTo>
                  <a:lnTo>
                    <a:pt x="2608" y="66976"/>
                  </a:lnTo>
                  <a:lnTo>
                    <a:pt x="2608" y="72558"/>
                  </a:lnTo>
                  <a:lnTo>
                    <a:pt x="2608" y="72558"/>
                  </a:lnTo>
                  <a:lnTo>
                    <a:pt x="0" y="72558"/>
                  </a:lnTo>
                  <a:lnTo>
                    <a:pt x="0" y="72558"/>
                  </a:lnTo>
                  <a:lnTo>
                    <a:pt x="0" y="72558"/>
                  </a:lnTo>
                  <a:lnTo>
                    <a:pt x="2608" y="78139"/>
                  </a:lnTo>
                  <a:lnTo>
                    <a:pt x="5217" y="78139"/>
                  </a:lnTo>
                  <a:lnTo>
                    <a:pt x="5217" y="78139"/>
                  </a:lnTo>
                  <a:lnTo>
                    <a:pt x="5217" y="86511"/>
                  </a:lnTo>
                  <a:lnTo>
                    <a:pt x="2608" y="92093"/>
                  </a:lnTo>
                  <a:lnTo>
                    <a:pt x="2608" y="92093"/>
                  </a:lnTo>
                  <a:lnTo>
                    <a:pt x="2608" y="92093"/>
                  </a:lnTo>
                  <a:lnTo>
                    <a:pt x="5217" y="92093"/>
                  </a:lnTo>
                  <a:lnTo>
                    <a:pt x="5217" y="92093"/>
                  </a:lnTo>
                  <a:lnTo>
                    <a:pt x="9130" y="86511"/>
                  </a:lnTo>
                  <a:lnTo>
                    <a:pt x="9130" y="78139"/>
                  </a:lnTo>
                  <a:lnTo>
                    <a:pt x="11739" y="78139"/>
                  </a:lnTo>
                  <a:lnTo>
                    <a:pt x="11739" y="78139"/>
                  </a:lnTo>
                  <a:lnTo>
                    <a:pt x="18260" y="78139"/>
                  </a:lnTo>
                  <a:lnTo>
                    <a:pt x="18260" y="72558"/>
                  </a:lnTo>
                  <a:lnTo>
                    <a:pt x="20869" y="72558"/>
                  </a:lnTo>
                  <a:lnTo>
                    <a:pt x="20869" y="72558"/>
                  </a:lnTo>
                  <a:lnTo>
                    <a:pt x="23478" y="66976"/>
                  </a:lnTo>
                  <a:lnTo>
                    <a:pt x="23478" y="66976"/>
                  </a:lnTo>
                  <a:lnTo>
                    <a:pt x="23478" y="66976"/>
                  </a:lnTo>
                  <a:lnTo>
                    <a:pt x="27391" y="66976"/>
                  </a:lnTo>
                  <a:lnTo>
                    <a:pt x="27391" y="66976"/>
                  </a:lnTo>
                  <a:lnTo>
                    <a:pt x="20869" y="58604"/>
                  </a:lnTo>
                  <a:close/>
                  <a:moveTo>
                    <a:pt x="23478" y="53023"/>
                  </a:moveTo>
                  <a:lnTo>
                    <a:pt x="23478" y="53023"/>
                  </a:lnTo>
                  <a:lnTo>
                    <a:pt x="23478" y="58604"/>
                  </a:lnTo>
                  <a:lnTo>
                    <a:pt x="27391" y="58604"/>
                  </a:lnTo>
                  <a:lnTo>
                    <a:pt x="30000" y="58604"/>
                  </a:lnTo>
                  <a:lnTo>
                    <a:pt x="30000" y="58604"/>
                  </a:lnTo>
                  <a:lnTo>
                    <a:pt x="27391" y="53023"/>
                  </a:lnTo>
                  <a:lnTo>
                    <a:pt x="23478" y="53023"/>
                  </a:lnTo>
                  <a:close/>
                  <a:moveTo>
                    <a:pt x="9130" y="39069"/>
                  </a:moveTo>
                  <a:lnTo>
                    <a:pt x="9130" y="39069"/>
                  </a:lnTo>
                  <a:lnTo>
                    <a:pt x="11739" y="47441"/>
                  </a:lnTo>
                  <a:lnTo>
                    <a:pt x="11739" y="53023"/>
                  </a:lnTo>
                  <a:lnTo>
                    <a:pt x="11739" y="53023"/>
                  </a:lnTo>
                  <a:lnTo>
                    <a:pt x="14347" y="53023"/>
                  </a:lnTo>
                  <a:lnTo>
                    <a:pt x="18260" y="47441"/>
                  </a:lnTo>
                  <a:lnTo>
                    <a:pt x="18260" y="47441"/>
                  </a:lnTo>
                  <a:lnTo>
                    <a:pt x="18260" y="47441"/>
                  </a:lnTo>
                  <a:lnTo>
                    <a:pt x="20869" y="47441"/>
                  </a:lnTo>
                  <a:lnTo>
                    <a:pt x="20869" y="47441"/>
                  </a:lnTo>
                  <a:lnTo>
                    <a:pt x="20869" y="39069"/>
                  </a:lnTo>
                  <a:lnTo>
                    <a:pt x="18260" y="33488"/>
                  </a:lnTo>
                  <a:lnTo>
                    <a:pt x="14347" y="33488"/>
                  </a:lnTo>
                  <a:lnTo>
                    <a:pt x="14347" y="33488"/>
                  </a:lnTo>
                  <a:lnTo>
                    <a:pt x="14347" y="33488"/>
                  </a:lnTo>
                  <a:lnTo>
                    <a:pt x="14347" y="33488"/>
                  </a:lnTo>
                  <a:lnTo>
                    <a:pt x="11739" y="33488"/>
                  </a:lnTo>
                  <a:lnTo>
                    <a:pt x="11739" y="33488"/>
                  </a:lnTo>
                  <a:lnTo>
                    <a:pt x="11739" y="39069"/>
                  </a:lnTo>
                  <a:lnTo>
                    <a:pt x="2608" y="39069"/>
                  </a:lnTo>
                  <a:lnTo>
                    <a:pt x="5217" y="39069"/>
                  </a:lnTo>
                  <a:lnTo>
                    <a:pt x="9130" y="39069"/>
                  </a:lnTo>
                  <a:close/>
                  <a:moveTo>
                    <a:pt x="120000" y="13953"/>
                  </a:moveTo>
                  <a:lnTo>
                    <a:pt x="120000" y="13953"/>
                  </a:lnTo>
                  <a:lnTo>
                    <a:pt x="116086" y="5581"/>
                  </a:lnTo>
                  <a:lnTo>
                    <a:pt x="116086" y="5581"/>
                  </a:lnTo>
                  <a:lnTo>
                    <a:pt x="116086" y="13953"/>
                  </a:lnTo>
                  <a:lnTo>
                    <a:pt x="104347" y="13953"/>
                  </a:lnTo>
                  <a:lnTo>
                    <a:pt x="97826" y="13953"/>
                  </a:lnTo>
                  <a:lnTo>
                    <a:pt x="95217" y="5581"/>
                  </a:lnTo>
                  <a:lnTo>
                    <a:pt x="91304" y="5581"/>
                  </a:lnTo>
                  <a:lnTo>
                    <a:pt x="88695" y="5581"/>
                  </a:lnTo>
                  <a:lnTo>
                    <a:pt x="73043" y="0"/>
                  </a:lnTo>
                  <a:lnTo>
                    <a:pt x="70434" y="0"/>
                  </a:lnTo>
                  <a:lnTo>
                    <a:pt x="66521" y="0"/>
                  </a:lnTo>
                  <a:lnTo>
                    <a:pt x="66521" y="0"/>
                  </a:lnTo>
                  <a:lnTo>
                    <a:pt x="70434" y="5581"/>
                  </a:lnTo>
                  <a:lnTo>
                    <a:pt x="66521" y="5581"/>
                  </a:lnTo>
                  <a:lnTo>
                    <a:pt x="57391" y="5581"/>
                  </a:lnTo>
                  <a:lnTo>
                    <a:pt x="52173" y="13953"/>
                  </a:lnTo>
                  <a:lnTo>
                    <a:pt x="45652" y="5581"/>
                  </a:lnTo>
                  <a:lnTo>
                    <a:pt x="43043" y="13953"/>
                  </a:lnTo>
                  <a:lnTo>
                    <a:pt x="39130" y="13953"/>
                  </a:lnTo>
                  <a:lnTo>
                    <a:pt x="43043" y="19534"/>
                  </a:lnTo>
                  <a:lnTo>
                    <a:pt x="36521" y="19534"/>
                  </a:lnTo>
                  <a:lnTo>
                    <a:pt x="33913" y="19534"/>
                  </a:lnTo>
                  <a:lnTo>
                    <a:pt x="30000" y="25116"/>
                  </a:lnTo>
                  <a:lnTo>
                    <a:pt x="30000" y="25116"/>
                  </a:lnTo>
                  <a:lnTo>
                    <a:pt x="30000" y="33488"/>
                  </a:lnTo>
                  <a:lnTo>
                    <a:pt x="30000" y="33488"/>
                  </a:lnTo>
                  <a:lnTo>
                    <a:pt x="30000" y="33488"/>
                  </a:lnTo>
                  <a:lnTo>
                    <a:pt x="30000" y="39069"/>
                  </a:lnTo>
                  <a:lnTo>
                    <a:pt x="30000" y="39069"/>
                  </a:lnTo>
                  <a:lnTo>
                    <a:pt x="30000" y="47441"/>
                  </a:lnTo>
                  <a:lnTo>
                    <a:pt x="30000" y="47441"/>
                  </a:lnTo>
                  <a:lnTo>
                    <a:pt x="33913" y="47441"/>
                  </a:lnTo>
                  <a:lnTo>
                    <a:pt x="36521" y="47441"/>
                  </a:lnTo>
                  <a:lnTo>
                    <a:pt x="33913" y="47441"/>
                  </a:lnTo>
                  <a:lnTo>
                    <a:pt x="33913" y="53023"/>
                  </a:lnTo>
                  <a:lnTo>
                    <a:pt x="33913" y="53023"/>
                  </a:lnTo>
                  <a:lnTo>
                    <a:pt x="33913" y="58604"/>
                  </a:lnTo>
                  <a:lnTo>
                    <a:pt x="36521" y="58604"/>
                  </a:lnTo>
                  <a:lnTo>
                    <a:pt x="36521" y="66976"/>
                  </a:lnTo>
                  <a:lnTo>
                    <a:pt x="36521" y="72558"/>
                  </a:lnTo>
                  <a:lnTo>
                    <a:pt x="43043" y="72558"/>
                  </a:lnTo>
                  <a:lnTo>
                    <a:pt x="45652" y="72558"/>
                  </a:lnTo>
                  <a:lnTo>
                    <a:pt x="45652" y="72558"/>
                  </a:lnTo>
                  <a:lnTo>
                    <a:pt x="48260" y="72558"/>
                  </a:lnTo>
                  <a:lnTo>
                    <a:pt x="48260" y="66976"/>
                  </a:lnTo>
                  <a:lnTo>
                    <a:pt x="48260" y="66976"/>
                  </a:lnTo>
                  <a:lnTo>
                    <a:pt x="52173" y="72558"/>
                  </a:lnTo>
                  <a:lnTo>
                    <a:pt x="52173" y="72558"/>
                  </a:lnTo>
                  <a:lnTo>
                    <a:pt x="52173" y="72558"/>
                  </a:lnTo>
                  <a:lnTo>
                    <a:pt x="52173" y="72558"/>
                  </a:lnTo>
                  <a:lnTo>
                    <a:pt x="52173" y="86511"/>
                  </a:lnTo>
                  <a:lnTo>
                    <a:pt x="48260" y="92093"/>
                  </a:lnTo>
                  <a:lnTo>
                    <a:pt x="48260" y="97674"/>
                  </a:lnTo>
                  <a:lnTo>
                    <a:pt x="52173" y="97674"/>
                  </a:lnTo>
                  <a:lnTo>
                    <a:pt x="52173" y="92093"/>
                  </a:lnTo>
                  <a:lnTo>
                    <a:pt x="57391" y="92093"/>
                  </a:lnTo>
                  <a:lnTo>
                    <a:pt x="61304" y="92093"/>
                  </a:lnTo>
                  <a:lnTo>
                    <a:pt x="61304" y="92093"/>
                  </a:lnTo>
                  <a:lnTo>
                    <a:pt x="63913" y="86511"/>
                  </a:lnTo>
                  <a:lnTo>
                    <a:pt x="66521" y="86511"/>
                  </a:lnTo>
                  <a:lnTo>
                    <a:pt x="66521" y="92093"/>
                  </a:lnTo>
                  <a:lnTo>
                    <a:pt x="66521" y="92093"/>
                  </a:lnTo>
                  <a:lnTo>
                    <a:pt x="66521" y="86511"/>
                  </a:lnTo>
                  <a:lnTo>
                    <a:pt x="66521" y="86511"/>
                  </a:lnTo>
                  <a:lnTo>
                    <a:pt x="66521" y="86511"/>
                  </a:lnTo>
                  <a:lnTo>
                    <a:pt x="70434" y="86511"/>
                  </a:lnTo>
                  <a:lnTo>
                    <a:pt x="73043" y="92093"/>
                  </a:lnTo>
                  <a:lnTo>
                    <a:pt x="76956" y="92093"/>
                  </a:lnTo>
                  <a:lnTo>
                    <a:pt x="76956" y="92093"/>
                  </a:lnTo>
                  <a:lnTo>
                    <a:pt x="79565" y="97674"/>
                  </a:lnTo>
                  <a:lnTo>
                    <a:pt x="82173" y="97674"/>
                  </a:lnTo>
                  <a:lnTo>
                    <a:pt x="82173" y="97674"/>
                  </a:lnTo>
                  <a:lnTo>
                    <a:pt x="82173" y="97674"/>
                  </a:lnTo>
                  <a:lnTo>
                    <a:pt x="88695" y="106046"/>
                  </a:lnTo>
                  <a:lnTo>
                    <a:pt x="88695" y="111627"/>
                  </a:lnTo>
                  <a:lnTo>
                    <a:pt x="91304" y="111627"/>
                  </a:lnTo>
                  <a:lnTo>
                    <a:pt x="95217" y="111627"/>
                  </a:lnTo>
                  <a:lnTo>
                    <a:pt x="100434" y="111627"/>
                  </a:lnTo>
                  <a:lnTo>
                    <a:pt x="100434" y="111627"/>
                  </a:lnTo>
                  <a:lnTo>
                    <a:pt x="104347" y="111627"/>
                  </a:lnTo>
                  <a:lnTo>
                    <a:pt x="104347" y="111627"/>
                  </a:lnTo>
                  <a:lnTo>
                    <a:pt x="106956" y="111627"/>
                  </a:lnTo>
                  <a:lnTo>
                    <a:pt x="109565" y="120000"/>
                  </a:lnTo>
                  <a:lnTo>
                    <a:pt x="109565" y="111627"/>
                  </a:lnTo>
                  <a:lnTo>
                    <a:pt x="109565" y="111627"/>
                  </a:lnTo>
                  <a:lnTo>
                    <a:pt x="109565" y="111627"/>
                  </a:lnTo>
                  <a:lnTo>
                    <a:pt x="109565" y="106046"/>
                  </a:lnTo>
                  <a:lnTo>
                    <a:pt x="113478" y="106046"/>
                  </a:lnTo>
                  <a:lnTo>
                    <a:pt x="113478" y="106046"/>
                  </a:lnTo>
                  <a:lnTo>
                    <a:pt x="113478" y="97674"/>
                  </a:lnTo>
                  <a:lnTo>
                    <a:pt x="116086" y="97674"/>
                  </a:lnTo>
                  <a:lnTo>
                    <a:pt x="120000" y="97674"/>
                  </a:lnTo>
                  <a:lnTo>
                    <a:pt x="120000" y="97674"/>
                  </a:lnTo>
                  <a:lnTo>
                    <a:pt x="116086" y="97674"/>
                  </a:lnTo>
                  <a:lnTo>
                    <a:pt x="116086" y="92093"/>
                  </a:lnTo>
                  <a:lnTo>
                    <a:pt x="116086" y="92093"/>
                  </a:lnTo>
                  <a:lnTo>
                    <a:pt x="116086" y="86511"/>
                  </a:lnTo>
                  <a:lnTo>
                    <a:pt x="113478" y="78139"/>
                  </a:lnTo>
                  <a:lnTo>
                    <a:pt x="109565" y="78139"/>
                  </a:lnTo>
                  <a:lnTo>
                    <a:pt x="109565" y="72558"/>
                  </a:lnTo>
                  <a:lnTo>
                    <a:pt x="109565" y="72558"/>
                  </a:lnTo>
                  <a:lnTo>
                    <a:pt x="109565" y="66976"/>
                  </a:lnTo>
                  <a:lnTo>
                    <a:pt x="109565" y="66976"/>
                  </a:lnTo>
                  <a:lnTo>
                    <a:pt x="106956" y="53023"/>
                  </a:lnTo>
                  <a:lnTo>
                    <a:pt x="106956" y="47441"/>
                  </a:lnTo>
                  <a:lnTo>
                    <a:pt x="109565" y="47441"/>
                  </a:lnTo>
                  <a:lnTo>
                    <a:pt x="109565" y="39069"/>
                  </a:lnTo>
                  <a:lnTo>
                    <a:pt x="109565" y="39069"/>
                  </a:lnTo>
                  <a:lnTo>
                    <a:pt x="113478" y="33488"/>
                  </a:lnTo>
                  <a:lnTo>
                    <a:pt x="116086" y="25116"/>
                  </a:lnTo>
                  <a:lnTo>
                    <a:pt x="116086" y="19534"/>
                  </a:lnTo>
                  <a:lnTo>
                    <a:pt x="116086" y="19534"/>
                  </a:lnTo>
                  <a:lnTo>
                    <a:pt x="120000" y="19534"/>
                  </a:lnTo>
                  <a:lnTo>
                    <a:pt x="120000" y="19534"/>
                  </a:lnTo>
                  <a:lnTo>
                    <a:pt x="120000" y="13953"/>
                  </a:lnTo>
                  <a:lnTo>
                    <a:pt x="120000" y="13953"/>
                  </a:lnTo>
                  <a:lnTo>
                    <a:pt x="120000" y="13953"/>
                  </a:lnTo>
                  <a:lnTo>
                    <a:pt x="120000" y="13953"/>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94" name="Shape 494"/>
            <p:cNvSpPr/>
            <p:nvPr/>
          </p:nvSpPr>
          <p:spPr>
            <a:xfrm>
              <a:off x="4325" y="2427"/>
              <a:ext cx="0" cy="0"/>
            </a:xfrm>
            <a:custGeom>
              <a:avLst/>
              <a:gdLst/>
              <a:ahLst/>
              <a:cxnLst/>
              <a:rect l="0" t="0" r="0" b="0"/>
              <a:pathLst>
                <a:path w="120000" h="120000" extrusionOk="0">
                  <a:moveTo>
                    <a:pt x="120000" y="110082"/>
                  </a:moveTo>
                  <a:lnTo>
                    <a:pt x="117120" y="108099"/>
                  </a:lnTo>
                  <a:lnTo>
                    <a:pt x="117120" y="110082"/>
                  </a:lnTo>
                  <a:lnTo>
                    <a:pt x="115200" y="108099"/>
                  </a:lnTo>
                  <a:lnTo>
                    <a:pt x="112320" y="105123"/>
                  </a:lnTo>
                  <a:lnTo>
                    <a:pt x="108480" y="101157"/>
                  </a:lnTo>
                  <a:lnTo>
                    <a:pt x="108480" y="101157"/>
                  </a:lnTo>
                  <a:lnTo>
                    <a:pt x="105600" y="96198"/>
                  </a:lnTo>
                  <a:lnTo>
                    <a:pt x="103680" y="94214"/>
                  </a:lnTo>
                  <a:lnTo>
                    <a:pt x="92160" y="84297"/>
                  </a:lnTo>
                  <a:lnTo>
                    <a:pt x="90240" y="79338"/>
                  </a:lnTo>
                  <a:lnTo>
                    <a:pt x="85440" y="70413"/>
                  </a:lnTo>
                  <a:lnTo>
                    <a:pt x="78720" y="68429"/>
                  </a:lnTo>
                  <a:lnTo>
                    <a:pt x="73920" y="65454"/>
                  </a:lnTo>
                  <a:lnTo>
                    <a:pt x="72000" y="65454"/>
                  </a:lnTo>
                  <a:lnTo>
                    <a:pt x="72000" y="63471"/>
                  </a:lnTo>
                  <a:lnTo>
                    <a:pt x="70080" y="63471"/>
                  </a:lnTo>
                  <a:lnTo>
                    <a:pt x="67200" y="63471"/>
                  </a:lnTo>
                  <a:lnTo>
                    <a:pt x="65280" y="60495"/>
                  </a:lnTo>
                  <a:lnTo>
                    <a:pt x="65280" y="58512"/>
                  </a:lnTo>
                  <a:lnTo>
                    <a:pt x="63360" y="56528"/>
                  </a:lnTo>
                  <a:lnTo>
                    <a:pt x="63360" y="56528"/>
                  </a:lnTo>
                  <a:lnTo>
                    <a:pt x="60480" y="53553"/>
                  </a:lnTo>
                  <a:lnTo>
                    <a:pt x="60480" y="53553"/>
                  </a:lnTo>
                  <a:lnTo>
                    <a:pt x="58560" y="56528"/>
                  </a:lnTo>
                  <a:lnTo>
                    <a:pt x="60480" y="58512"/>
                  </a:lnTo>
                  <a:lnTo>
                    <a:pt x="60480" y="58512"/>
                  </a:lnTo>
                  <a:lnTo>
                    <a:pt x="58560" y="60495"/>
                  </a:lnTo>
                  <a:lnTo>
                    <a:pt x="58560" y="58512"/>
                  </a:lnTo>
                  <a:lnTo>
                    <a:pt x="56640" y="53553"/>
                  </a:lnTo>
                  <a:lnTo>
                    <a:pt x="56640" y="51570"/>
                  </a:lnTo>
                  <a:lnTo>
                    <a:pt x="53760" y="51570"/>
                  </a:lnTo>
                  <a:lnTo>
                    <a:pt x="51840" y="46611"/>
                  </a:lnTo>
                  <a:lnTo>
                    <a:pt x="48960" y="44628"/>
                  </a:lnTo>
                  <a:lnTo>
                    <a:pt x="48960" y="37685"/>
                  </a:lnTo>
                  <a:lnTo>
                    <a:pt x="47040" y="27768"/>
                  </a:lnTo>
                  <a:lnTo>
                    <a:pt x="45120" y="18842"/>
                  </a:lnTo>
                  <a:lnTo>
                    <a:pt x="42240" y="11900"/>
                  </a:lnTo>
                  <a:lnTo>
                    <a:pt x="35520" y="0"/>
                  </a:lnTo>
                  <a:lnTo>
                    <a:pt x="35520" y="1983"/>
                  </a:lnTo>
                  <a:lnTo>
                    <a:pt x="33600" y="4958"/>
                  </a:lnTo>
                  <a:lnTo>
                    <a:pt x="33600" y="4958"/>
                  </a:lnTo>
                  <a:lnTo>
                    <a:pt x="33600" y="6942"/>
                  </a:lnTo>
                  <a:lnTo>
                    <a:pt x="33600" y="6942"/>
                  </a:lnTo>
                  <a:lnTo>
                    <a:pt x="31680" y="6942"/>
                  </a:lnTo>
                  <a:lnTo>
                    <a:pt x="31680" y="8925"/>
                  </a:lnTo>
                  <a:lnTo>
                    <a:pt x="31680" y="8925"/>
                  </a:lnTo>
                  <a:lnTo>
                    <a:pt x="31680" y="8925"/>
                  </a:lnTo>
                  <a:lnTo>
                    <a:pt x="28800" y="8925"/>
                  </a:lnTo>
                  <a:lnTo>
                    <a:pt x="28800" y="8925"/>
                  </a:lnTo>
                  <a:lnTo>
                    <a:pt x="28800" y="8925"/>
                  </a:lnTo>
                  <a:lnTo>
                    <a:pt x="28800" y="11900"/>
                  </a:lnTo>
                  <a:lnTo>
                    <a:pt x="26880" y="8925"/>
                  </a:lnTo>
                  <a:lnTo>
                    <a:pt x="24960" y="11900"/>
                  </a:lnTo>
                  <a:lnTo>
                    <a:pt x="24960" y="11900"/>
                  </a:lnTo>
                  <a:lnTo>
                    <a:pt x="24960" y="11900"/>
                  </a:lnTo>
                  <a:lnTo>
                    <a:pt x="22080" y="11900"/>
                  </a:lnTo>
                  <a:lnTo>
                    <a:pt x="22080" y="11900"/>
                  </a:lnTo>
                  <a:lnTo>
                    <a:pt x="22080" y="11900"/>
                  </a:lnTo>
                  <a:lnTo>
                    <a:pt x="20160" y="13884"/>
                  </a:lnTo>
                  <a:lnTo>
                    <a:pt x="20160" y="13884"/>
                  </a:lnTo>
                  <a:lnTo>
                    <a:pt x="17280" y="13884"/>
                  </a:lnTo>
                  <a:lnTo>
                    <a:pt x="17280" y="16859"/>
                  </a:lnTo>
                  <a:lnTo>
                    <a:pt x="17280" y="18842"/>
                  </a:lnTo>
                  <a:lnTo>
                    <a:pt x="15360" y="20826"/>
                  </a:lnTo>
                  <a:lnTo>
                    <a:pt x="15360" y="20826"/>
                  </a:lnTo>
                  <a:lnTo>
                    <a:pt x="13440" y="20826"/>
                  </a:lnTo>
                  <a:lnTo>
                    <a:pt x="10560" y="20826"/>
                  </a:lnTo>
                  <a:lnTo>
                    <a:pt x="10560" y="20826"/>
                  </a:lnTo>
                  <a:lnTo>
                    <a:pt x="8640" y="20826"/>
                  </a:lnTo>
                  <a:lnTo>
                    <a:pt x="8640" y="20826"/>
                  </a:lnTo>
                  <a:lnTo>
                    <a:pt x="8640" y="23801"/>
                  </a:lnTo>
                  <a:lnTo>
                    <a:pt x="8640" y="25785"/>
                  </a:lnTo>
                  <a:lnTo>
                    <a:pt x="8640" y="27768"/>
                  </a:lnTo>
                  <a:lnTo>
                    <a:pt x="6720" y="30743"/>
                  </a:lnTo>
                  <a:lnTo>
                    <a:pt x="8640" y="32727"/>
                  </a:lnTo>
                  <a:lnTo>
                    <a:pt x="8640" y="37685"/>
                  </a:lnTo>
                  <a:lnTo>
                    <a:pt x="6720" y="42644"/>
                  </a:lnTo>
                  <a:lnTo>
                    <a:pt x="6720" y="42644"/>
                  </a:lnTo>
                  <a:lnTo>
                    <a:pt x="3840" y="46611"/>
                  </a:lnTo>
                  <a:lnTo>
                    <a:pt x="3840" y="49586"/>
                  </a:lnTo>
                  <a:lnTo>
                    <a:pt x="1920" y="56528"/>
                  </a:lnTo>
                  <a:lnTo>
                    <a:pt x="1920" y="58512"/>
                  </a:lnTo>
                  <a:lnTo>
                    <a:pt x="0" y="60495"/>
                  </a:lnTo>
                  <a:lnTo>
                    <a:pt x="0" y="65454"/>
                  </a:lnTo>
                  <a:lnTo>
                    <a:pt x="1920" y="68429"/>
                  </a:lnTo>
                  <a:lnTo>
                    <a:pt x="1920" y="72396"/>
                  </a:lnTo>
                  <a:lnTo>
                    <a:pt x="1920" y="79338"/>
                  </a:lnTo>
                  <a:lnTo>
                    <a:pt x="1920" y="79338"/>
                  </a:lnTo>
                  <a:lnTo>
                    <a:pt x="3840" y="77355"/>
                  </a:lnTo>
                  <a:lnTo>
                    <a:pt x="6720" y="77355"/>
                  </a:lnTo>
                  <a:lnTo>
                    <a:pt x="10560" y="79338"/>
                  </a:lnTo>
                  <a:lnTo>
                    <a:pt x="10560" y="79338"/>
                  </a:lnTo>
                  <a:lnTo>
                    <a:pt x="10560" y="77355"/>
                  </a:lnTo>
                  <a:lnTo>
                    <a:pt x="13440" y="77355"/>
                  </a:lnTo>
                  <a:lnTo>
                    <a:pt x="13440" y="75371"/>
                  </a:lnTo>
                  <a:lnTo>
                    <a:pt x="13440" y="75371"/>
                  </a:lnTo>
                  <a:lnTo>
                    <a:pt x="15360" y="75371"/>
                  </a:lnTo>
                  <a:lnTo>
                    <a:pt x="17280" y="77355"/>
                  </a:lnTo>
                  <a:lnTo>
                    <a:pt x="20160" y="82314"/>
                  </a:lnTo>
                  <a:lnTo>
                    <a:pt x="20160" y="82314"/>
                  </a:lnTo>
                  <a:lnTo>
                    <a:pt x="20160" y="82314"/>
                  </a:lnTo>
                  <a:lnTo>
                    <a:pt x="22080" y="77355"/>
                  </a:lnTo>
                  <a:lnTo>
                    <a:pt x="22080" y="75371"/>
                  </a:lnTo>
                  <a:lnTo>
                    <a:pt x="24960" y="70413"/>
                  </a:lnTo>
                  <a:lnTo>
                    <a:pt x="26880" y="65454"/>
                  </a:lnTo>
                  <a:lnTo>
                    <a:pt x="26880" y="68429"/>
                  </a:lnTo>
                  <a:lnTo>
                    <a:pt x="28800" y="68429"/>
                  </a:lnTo>
                  <a:lnTo>
                    <a:pt x="28800" y="70413"/>
                  </a:lnTo>
                  <a:lnTo>
                    <a:pt x="31680" y="70413"/>
                  </a:lnTo>
                  <a:lnTo>
                    <a:pt x="31680" y="70413"/>
                  </a:lnTo>
                  <a:lnTo>
                    <a:pt x="31680" y="70413"/>
                  </a:lnTo>
                  <a:lnTo>
                    <a:pt x="35520" y="75371"/>
                  </a:lnTo>
                  <a:lnTo>
                    <a:pt x="35520" y="75371"/>
                  </a:lnTo>
                  <a:lnTo>
                    <a:pt x="38400" y="75371"/>
                  </a:lnTo>
                  <a:lnTo>
                    <a:pt x="42240" y="75371"/>
                  </a:lnTo>
                  <a:lnTo>
                    <a:pt x="45120" y="72396"/>
                  </a:lnTo>
                  <a:lnTo>
                    <a:pt x="47040" y="70413"/>
                  </a:lnTo>
                  <a:lnTo>
                    <a:pt x="47040" y="70413"/>
                  </a:lnTo>
                  <a:lnTo>
                    <a:pt x="48960" y="72396"/>
                  </a:lnTo>
                  <a:lnTo>
                    <a:pt x="48960" y="72396"/>
                  </a:lnTo>
                  <a:lnTo>
                    <a:pt x="48960" y="75371"/>
                  </a:lnTo>
                  <a:lnTo>
                    <a:pt x="51840" y="75371"/>
                  </a:lnTo>
                  <a:lnTo>
                    <a:pt x="53760" y="72396"/>
                  </a:lnTo>
                  <a:lnTo>
                    <a:pt x="56640" y="72396"/>
                  </a:lnTo>
                  <a:lnTo>
                    <a:pt x="56640" y="72396"/>
                  </a:lnTo>
                  <a:lnTo>
                    <a:pt x="58560" y="75371"/>
                  </a:lnTo>
                  <a:lnTo>
                    <a:pt x="58560" y="75371"/>
                  </a:lnTo>
                  <a:lnTo>
                    <a:pt x="63360" y="75371"/>
                  </a:lnTo>
                  <a:lnTo>
                    <a:pt x="65280" y="75371"/>
                  </a:lnTo>
                  <a:lnTo>
                    <a:pt x="65280" y="75371"/>
                  </a:lnTo>
                  <a:lnTo>
                    <a:pt x="67200" y="75371"/>
                  </a:lnTo>
                  <a:lnTo>
                    <a:pt x="70080" y="77355"/>
                  </a:lnTo>
                  <a:lnTo>
                    <a:pt x="73920" y="79338"/>
                  </a:lnTo>
                  <a:lnTo>
                    <a:pt x="76800" y="82314"/>
                  </a:lnTo>
                  <a:lnTo>
                    <a:pt x="78720" y="82314"/>
                  </a:lnTo>
                  <a:lnTo>
                    <a:pt x="80640" y="84297"/>
                  </a:lnTo>
                  <a:lnTo>
                    <a:pt x="83520" y="89256"/>
                  </a:lnTo>
                  <a:lnTo>
                    <a:pt x="88320" y="96198"/>
                  </a:lnTo>
                  <a:lnTo>
                    <a:pt x="92160" y="98181"/>
                  </a:lnTo>
                  <a:lnTo>
                    <a:pt x="96960" y="101157"/>
                  </a:lnTo>
                  <a:lnTo>
                    <a:pt x="96960" y="105123"/>
                  </a:lnTo>
                  <a:lnTo>
                    <a:pt x="98880" y="108099"/>
                  </a:lnTo>
                  <a:lnTo>
                    <a:pt x="101760" y="110082"/>
                  </a:lnTo>
                  <a:lnTo>
                    <a:pt x="103680" y="110082"/>
                  </a:lnTo>
                  <a:lnTo>
                    <a:pt x="103680" y="112066"/>
                  </a:lnTo>
                  <a:lnTo>
                    <a:pt x="105600" y="115041"/>
                  </a:lnTo>
                  <a:lnTo>
                    <a:pt x="108480" y="117024"/>
                  </a:lnTo>
                  <a:lnTo>
                    <a:pt x="108480" y="115041"/>
                  </a:lnTo>
                  <a:lnTo>
                    <a:pt x="108480" y="115041"/>
                  </a:lnTo>
                  <a:lnTo>
                    <a:pt x="108480" y="115041"/>
                  </a:lnTo>
                  <a:lnTo>
                    <a:pt x="112320" y="120000"/>
                  </a:lnTo>
                  <a:lnTo>
                    <a:pt x="112320" y="117024"/>
                  </a:lnTo>
                  <a:lnTo>
                    <a:pt x="115200" y="117024"/>
                  </a:lnTo>
                  <a:lnTo>
                    <a:pt x="115200" y="115041"/>
                  </a:lnTo>
                  <a:lnTo>
                    <a:pt x="115200" y="112066"/>
                  </a:lnTo>
                  <a:lnTo>
                    <a:pt x="115200" y="112066"/>
                  </a:lnTo>
                  <a:lnTo>
                    <a:pt x="117120" y="112066"/>
                  </a:lnTo>
                  <a:lnTo>
                    <a:pt x="120000" y="112066"/>
                  </a:lnTo>
                  <a:lnTo>
                    <a:pt x="120000" y="110082"/>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95" name="Shape 495"/>
            <p:cNvSpPr/>
            <p:nvPr/>
          </p:nvSpPr>
          <p:spPr>
            <a:xfrm>
              <a:off x="3808" y="2727"/>
              <a:ext cx="0" cy="0"/>
            </a:xfrm>
            <a:custGeom>
              <a:avLst/>
              <a:gdLst/>
              <a:ahLst/>
              <a:cxnLst/>
              <a:rect l="0" t="0" r="0" b="0"/>
              <a:pathLst>
                <a:path w="120000" h="120000" extrusionOk="0">
                  <a:moveTo>
                    <a:pt x="120000" y="115932"/>
                  </a:moveTo>
                  <a:lnTo>
                    <a:pt x="120000" y="105762"/>
                  </a:lnTo>
                  <a:lnTo>
                    <a:pt x="120000" y="97627"/>
                  </a:lnTo>
                  <a:lnTo>
                    <a:pt x="120000" y="87457"/>
                  </a:lnTo>
                  <a:lnTo>
                    <a:pt x="120000" y="81355"/>
                  </a:lnTo>
                  <a:lnTo>
                    <a:pt x="120000" y="73220"/>
                  </a:lnTo>
                  <a:lnTo>
                    <a:pt x="109090" y="73220"/>
                  </a:lnTo>
                  <a:lnTo>
                    <a:pt x="98181" y="73220"/>
                  </a:lnTo>
                  <a:lnTo>
                    <a:pt x="89454" y="73220"/>
                  </a:lnTo>
                  <a:lnTo>
                    <a:pt x="78545" y="73220"/>
                  </a:lnTo>
                  <a:lnTo>
                    <a:pt x="67636" y="73220"/>
                  </a:lnTo>
                  <a:lnTo>
                    <a:pt x="63272" y="67118"/>
                  </a:lnTo>
                  <a:lnTo>
                    <a:pt x="63272" y="67118"/>
                  </a:lnTo>
                  <a:lnTo>
                    <a:pt x="56727" y="67118"/>
                  </a:lnTo>
                  <a:lnTo>
                    <a:pt x="56727" y="67118"/>
                  </a:lnTo>
                  <a:lnTo>
                    <a:pt x="56727" y="63050"/>
                  </a:lnTo>
                  <a:lnTo>
                    <a:pt x="56727" y="77288"/>
                  </a:lnTo>
                  <a:lnTo>
                    <a:pt x="56727" y="81355"/>
                  </a:lnTo>
                  <a:lnTo>
                    <a:pt x="56727" y="87457"/>
                  </a:lnTo>
                  <a:lnTo>
                    <a:pt x="52363" y="97627"/>
                  </a:lnTo>
                  <a:lnTo>
                    <a:pt x="52363" y="97627"/>
                  </a:lnTo>
                  <a:lnTo>
                    <a:pt x="52363" y="97627"/>
                  </a:lnTo>
                  <a:lnTo>
                    <a:pt x="48000" y="101694"/>
                  </a:lnTo>
                  <a:lnTo>
                    <a:pt x="41454" y="105762"/>
                  </a:lnTo>
                  <a:lnTo>
                    <a:pt x="41454" y="115932"/>
                  </a:lnTo>
                  <a:lnTo>
                    <a:pt x="41454" y="115932"/>
                  </a:lnTo>
                  <a:lnTo>
                    <a:pt x="48000" y="115932"/>
                  </a:lnTo>
                  <a:lnTo>
                    <a:pt x="52363" y="120000"/>
                  </a:lnTo>
                  <a:lnTo>
                    <a:pt x="52363" y="120000"/>
                  </a:lnTo>
                  <a:lnTo>
                    <a:pt x="52363" y="120000"/>
                  </a:lnTo>
                  <a:lnTo>
                    <a:pt x="52363" y="115932"/>
                  </a:lnTo>
                  <a:lnTo>
                    <a:pt x="52363" y="115932"/>
                  </a:lnTo>
                  <a:lnTo>
                    <a:pt x="56727" y="115932"/>
                  </a:lnTo>
                  <a:lnTo>
                    <a:pt x="56727" y="120000"/>
                  </a:lnTo>
                  <a:lnTo>
                    <a:pt x="56727" y="120000"/>
                  </a:lnTo>
                  <a:lnTo>
                    <a:pt x="63272" y="120000"/>
                  </a:lnTo>
                  <a:lnTo>
                    <a:pt x="63272" y="120000"/>
                  </a:lnTo>
                  <a:lnTo>
                    <a:pt x="63272" y="120000"/>
                  </a:lnTo>
                  <a:lnTo>
                    <a:pt x="67636" y="120000"/>
                  </a:lnTo>
                  <a:lnTo>
                    <a:pt x="67636" y="120000"/>
                  </a:lnTo>
                  <a:lnTo>
                    <a:pt x="72000" y="120000"/>
                  </a:lnTo>
                  <a:lnTo>
                    <a:pt x="78545" y="120000"/>
                  </a:lnTo>
                  <a:lnTo>
                    <a:pt x="89454" y="120000"/>
                  </a:lnTo>
                  <a:lnTo>
                    <a:pt x="104727" y="120000"/>
                  </a:lnTo>
                  <a:lnTo>
                    <a:pt x="113454" y="120000"/>
                  </a:lnTo>
                  <a:lnTo>
                    <a:pt x="120000" y="120000"/>
                  </a:lnTo>
                  <a:lnTo>
                    <a:pt x="120000" y="115932"/>
                  </a:lnTo>
                  <a:close/>
                  <a:moveTo>
                    <a:pt x="17454" y="6101"/>
                  </a:moveTo>
                  <a:lnTo>
                    <a:pt x="17454" y="0"/>
                  </a:lnTo>
                  <a:lnTo>
                    <a:pt x="10909" y="6101"/>
                  </a:lnTo>
                  <a:lnTo>
                    <a:pt x="10909" y="6101"/>
                  </a:lnTo>
                  <a:lnTo>
                    <a:pt x="10909" y="10169"/>
                  </a:lnTo>
                  <a:lnTo>
                    <a:pt x="10909" y="14237"/>
                  </a:lnTo>
                  <a:lnTo>
                    <a:pt x="6545" y="14237"/>
                  </a:lnTo>
                  <a:lnTo>
                    <a:pt x="6545" y="14237"/>
                  </a:lnTo>
                  <a:lnTo>
                    <a:pt x="6545" y="14237"/>
                  </a:lnTo>
                  <a:lnTo>
                    <a:pt x="0" y="20338"/>
                  </a:lnTo>
                  <a:lnTo>
                    <a:pt x="6545" y="24406"/>
                  </a:lnTo>
                  <a:lnTo>
                    <a:pt x="6545" y="24406"/>
                  </a:lnTo>
                  <a:lnTo>
                    <a:pt x="10909" y="24406"/>
                  </a:lnTo>
                  <a:lnTo>
                    <a:pt x="17454" y="24406"/>
                  </a:lnTo>
                  <a:lnTo>
                    <a:pt x="17454" y="24406"/>
                  </a:lnTo>
                  <a:lnTo>
                    <a:pt x="17454" y="20338"/>
                  </a:lnTo>
                  <a:lnTo>
                    <a:pt x="26181" y="10169"/>
                  </a:lnTo>
                  <a:lnTo>
                    <a:pt x="26181" y="6101"/>
                  </a:lnTo>
                  <a:lnTo>
                    <a:pt x="21818" y="0"/>
                  </a:lnTo>
                  <a:lnTo>
                    <a:pt x="17454" y="6101"/>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96" name="Shape 496"/>
            <p:cNvSpPr/>
            <p:nvPr/>
          </p:nvSpPr>
          <p:spPr>
            <a:xfrm>
              <a:off x="1994" y="2503"/>
              <a:ext cx="0" cy="0"/>
            </a:xfrm>
            <a:custGeom>
              <a:avLst/>
              <a:gdLst/>
              <a:ahLst/>
              <a:cxnLst/>
              <a:rect l="0" t="0" r="0" b="0"/>
              <a:pathLst>
                <a:path w="120000" h="120000" extrusionOk="0">
                  <a:moveTo>
                    <a:pt x="112000" y="87692"/>
                  </a:moveTo>
                  <a:lnTo>
                    <a:pt x="112000" y="87692"/>
                  </a:lnTo>
                  <a:lnTo>
                    <a:pt x="112000" y="73846"/>
                  </a:lnTo>
                  <a:lnTo>
                    <a:pt x="120000" y="64615"/>
                  </a:lnTo>
                  <a:lnTo>
                    <a:pt x="112000" y="50769"/>
                  </a:lnTo>
                  <a:lnTo>
                    <a:pt x="112000" y="50769"/>
                  </a:lnTo>
                  <a:lnTo>
                    <a:pt x="106666" y="50769"/>
                  </a:lnTo>
                  <a:lnTo>
                    <a:pt x="98666" y="50769"/>
                  </a:lnTo>
                  <a:lnTo>
                    <a:pt x="98666" y="50769"/>
                  </a:lnTo>
                  <a:lnTo>
                    <a:pt x="98666" y="41538"/>
                  </a:lnTo>
                  <a:lnTo>
                    <a:pt x="93333" y="41538"/>
                  </a:lnTo>
                  <a:lnTo>
                    <a:pt x="88000" y="50769"/>
                  </a:lnTo>
                  <a:lnTo>
                    <a:pt x="80000" y="50769"/>
                  </a:lnTo>
                  <a:lnTo>
                    <a:pt x="80000" y="50769"/>
                  </a:lnTo>
                  <a:lnTo>
                    <a:pt x="80000" y="50769"/>
                  </a:lnTo>
                  <a:lnTo>
                    <a:pt x="80000" y="50769"/>
                  </a:lnTo>
                  <a:lnTo>
                    <a:pt x="80000" y="41538"/>
                  </a:lnTo>
                  <a:lnTo>
                    <a:pt x="74666" y="41538"/>
                  </a:lnTo>
                  <a:lnTo>
                    <a:pt x="74666" y="41538"/>
                  </a:lnTo>
                  <a:lnTo>
                    <a:pt x="69333" y="41538"/>
                  </a:lnTo>
                  <a:lnTo>
                    <a:pt x="69333" y="41538"/>
                  </a:lnTo>
                  <a:lnTo>
                    <a:pt x="69333" y="32307"/>
                  </a:lnTo>
                  <a:lnTo>
                    <a:pt x="61333" y="32307"/>
                  </a:lnTo>
                  <a:lnTo>
                    <a:pt x="61333" y="32307"/>
                  </a:lnTo>
                  <a:lnTo>
                    <a:pt x="56000" y="18461"/>
                  </a:lnTo>
                  <a:lnTo>
                    <a:pt x="56000" y="9230"/>
                  </a:lnTo>
                  <a:lnTo>
                    <a:pt x="56000" y="9230"/>
                  </a:lnTo>
                  <a:lnTo>
                    <a:pt x="50666" y="9230"/>
                  </a:lnTo>
                  <a:lnTo>
                    <a:pt x="50666" y="9230"/>
                  </a:lnTo>
                  <a:lnTo>
                    <a:pt x="37333" y="0"/>
                  </a:lnTo>
                  <a:lnTo>
                    <a:pt x="37333" y="0"/>
                  </a:lnTo>
                  <a:lnTo>
                    <a:pt x="37333" y="0"/>
                  </a:lnTo>
                  <a:lnTo>
                    <a:pt x="37333" y="0"/>
                  </a:lnTo>
                  <a:lnTo>
                    <a:pt x="32000" y="0"/>
                  </a:lnTo>
                  <a:lnTo>
                    <a:pt x="32000" y="0"/>
                  </a:lnTo>
                  <a:lnTo>
                    <a:pt x="32000" y="9230"/>
                  </a:lnTo>
                  <a:lnTo>
                    <a:pt x="32000" y="9230"/>
                  </a:lnTo>
                  <a:lnTo>
                    <a:pt x="32000" y="18461"/>
                  </a:lnTo>
                  <a:lnTo>
                    <a:pt x="32000" y="18461"/>
                  </a:lnTo>
                  <a:lnTo>
                    <a:pt x="24000" y="18461"/>
                  </a:lnTo>
                  <a:lnTo>
                    <a:pt x="24000" y="18461"/>
                  </a:lnTo>
                  <a:lnTo>
                    <a:pt x="18666" y="32307"/>
                  </a:lnTo>
                  <a:lnTo>
                    <a:pt x="18666" y="32307"/>
                  </a:lnTo>
                  <a:lnTo>
                    <a:pt x="18666" y="41538"/>
                  </a:lnTo>
                  <a:lnTo>
                    <a:pt x="10666" y="41538"/>
                  </a:lnTo>
                  <a:lnTo>
                    <a:pt x="10666" y="41538"/>
                  </a:lnTo>
                  <a:lnTo>
                    <a:pt x="5333" y="41538"/>
                  </a:lnTo>
                  <a:lnTo>
                    <a:pt x="0" y="50769"/>
                  </a:lnTo>
                  <a:lnTo>
                    <a:pt x="0" y="64615"/>
                  </a:lnTo>
                  <a:lnTo>
                    <a:pt x="0" y="64615"/>
                  </a:lnTo>
                  <a:lnTo>
                    <a:pt x="0" y="64615"/>
                  </a:lnTo>
                  <a:lnTo>
                    <a:pt x="5333" y="73846"/>
                  </a:lnTo>
                  <a:lnTo>
                    <a:pt x="10666" y="87692"/>
                  </a:lnTo>
                  <a:lnTo>
                    <a:pt x="24000" y="87692"/>
                  </a:lnTo>
                  <a:lnTo>
                    <a:pt x="37333" y="96923"/>
                  </a:lnTo>
                  <a:lnTo>
                    <a:pt x="56000" y="106153"/>
                  </a:lnTo>
                  <a:lnTo>
                    <a:pt x="74666" y="120000"/>
                  </a:lnTo>
                  <a:lnTo>
                    <a:pt x="74666" y="120000"/>
                  </a:lnTo>
                  <a:lnTo>
                    <a:pt x="69333" y="120000"/>
                  </a:lnTo>
                  <a:lnTo>
                    <a:pt x="69333" y="120000"/>
                  </a:lnTo>
                  <a:lnTo>
                    <a:pt x="61333" y="106153"/>
                  </a:lnTo>
                  <a:lnTo>
                    <a:pt x="69333" y="106153"/>
                  </a:lnTo>
                  <a:lnTo>
                    <a:pt x="80000" y="120000"/>
                  </a:lnTo>
                  <a:lnTo>
                    <a:pt x="88000" y="120000"/>
                  </a:lnTo>
                  <a:lnTo>
                    <a:pt x="98666" y="120000"/>
                  </a:lnTo>
                  <a:lnTo>
                    <a:pt x="98666" y="120000"/>
                  </a:lnTo>
                  <a:lnTo>
                    <a:pt x="106666" y="120000"/>
                  </a:lnTo>
                  <a:lnTo>
                    <a:pt x="106666" y="106153"/>
                  </a:lnTo>
                  <a:lnTo>
                    <a:pt x="106666" y="106153"/>
                  </a:lnTo>
                  <a:lnTo>
                    <a:pt x="106666" y="96923"/>
                  </a:lnTo>
                  <a:lnTo>
                    <a:pt x="112000" y="96923"/>
                  </a:lnTo>
                  <a:lnTo>
                    <a:pt x="112000" y="96923"/>
                  </a:lnTo>
                  <a:lnTo>
                    <a:pt x="112000" y="87692"/>
                  </a:lnTo>
                  <a:lnTo>
                    <a:pt x="112000" y="87692"/>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97" name="Shape 497"/>
            <p:cNvSpPr/>
            <p:nvPr/>
          </p:nvSpPr>
          <p:spPr>
            <a:xfrm>
              <a:off x="4101" y="2139"/>
              <a:ext cx="300" cy="300"/>
            </a:xfrm>
            <a:custGeom>
              <a:avLst/>
              <a:gdLst/>
              <a:ahLst/>
              <a:cxnLst/>
              <a:rect l="0" t="0" r="0" b="0"/>
              <a:pathLst>
                <a:path w="120000" h="120000" extrusionOk="0">
                  <a:moveTo>
                    <a:pt x="120000" y="118829"/>
                  </a:moveTo>
                  <a:lnTo>
                    <a:pt x="120000" y="118829"/>
                  </a:lnTo>
                  <a:lnTo>
                    <a:pt x="116283" y="114731"/>
                  </a:lnTo>
                  <a:lnTo>
                    <a:pt x="113628" y="111804"/>
                  </a:lnTo>
                  <a:lnTo>
                    <a:pt x="110973" y="110634"/>
                  </a:lnTo>
                  <a:lnTo>
                    <a:pt x="109911" y="110634"/>
                  </a:lnTo>
                  <a:lnTo>
                    <a:pt x="109911" y="108878"/>
                  </a:lnTo>
                  <a:lnTo>
                    <a:pt x="108849" y="107707"/>
                  </a:lnTo>
                  <a:lnTo>
                    <a:pt x="107256" y="103609"/>
                  </a:lnTo>
                  <a:lnTo>
                    <a:pt x="107256" y="101853"/>
                  </a:lnTo>
                  <a:lnTo>
                    <a:pt x="106194" y="97756"/>
                  </a:lnTo>
                  <a:lnTo>
                    <a:pt x="106194" y="96585"/>
                  </a:lnTo>
                  <a:lnTo>
                    <a:pt x="107256" y="95414"/>
                  </a:lnTo>
                  <a:lnTo>
                    <a:pt x="107256" y="95414"/>
                  </a:lnTo>
                  <a:lnTo>
                    <a:pt x="107256" y="95414"/>
                  </a:lnTo>
                  <a:lnTo>
                    <a:pt x="108849" y="95414"/>
                  </a:lnTo>
                  <a:lnTo>
                    <a:pt x="107256" y="93658"/>
                  </a:lnTo>
                  <a:lnTo>
                    <a:pt x="106194" y="92487"/>
                  </a:lnTo>
                  <a:lnTo>
                    <a:pt x="105132" y="91317"/>
                  </a:lnTo>
                  <a:lnTo>
                    <a:pt x="103539" y="89560"/>
                  </a:lnTo>
                  <a:lnTo>
                    <a:pt x="99823" y="81365"/>
                  </a:lnTo>
                  <a:lnTo>
                    <a:pt x="97699" y="77268"/>
                  </a:lnTo>
                  <a:lnTo>
                    <a:pt x="96106" y="74341"/>
                  </a:lnTo>
                  <a:lnTo>
                    <a:pt x="93451" y="70243"/>
                  </a:lnTo>
                  <a:lnTo>
                    <a:pt x="91327" y="63219"/>
                  </a:lnTo>
                  <a:lnTo>
                    <a:pt x="89734" y="62048"/>
                  </a:lnTo>
                  <a:lnTo>
                    <a:pt x="89734" y="57951"/>
                  </a:lnTo>
                  <a:lnTo>
                    <a:pt x="88672" y="55024"/>
                  </a:lnTo>
                  <a:lnTo>
                    <a:pt x="88672" y="55024"/>
                  </a:lnTo>
                  <a:lnTo>
                    <a:pt x="87610" y="53853"/>
                  </a:lnTo>
                  <a:lnTo>
                    <a:pt x="87610" y="52097"/>
                  </a:lnTo>
                  <a:lnTo>
                    <a:pt x="86017" y="50926"/>
                  </a:lnTo>
                  <a:lnTo>
                    <a:pt x="86017" y="49756"/>
                  </a:lnTo>
                  <a:lnTo>
                    <a:pt x="86017" y="46829"/>
                  </a:lnTo>
                  <a:lnTo>
                    <a:pt x="84955" y="45658"/>
                  </a:lnTo>
                  <a:lnTo>
                    <a:pt x="83893" y="45658"/>
                  </a:lnTo>
                  <a:lnTo>
                    <a:pt x="82300" y="42731"/>
                  </a:lnTo>
                  <a:lnTo>
                    <a:pt x="80176" y="39804"/>
                  </a:lnTo>
                  <a:lnTo>
                    <a:pt x="78584" y="38634"/>
                  </a:lnTo>
                  <a:lnTo>
                    <a:pt x="78584" y="36878"/>
                  </a:lnTo>
                  <a:lnTo>
                    <a:pt x="78584" y="36878"/>
                  </a:lnTo>
                  <a:lnTo>
                    <a:pt x="77522" y="35707"/>
                  </a:lnTo>
                  <a:lnTo>
                    <a:pt x="75929" y="34536"/>
                  </a:lnTo>
                  <a:lnTo>
                    <a:pt x="75929" y="32780"/>
                  </a:lnTo>
                  <a:lnTo>
                    <a:pt x="75929" y="30439"/>
                  </a:lnTo>
                  <a:lnTo>
                    <a:pt x="75929" y="28682"/>
                  </a:lnTo>
                  <a:lnTo>
                    <a:pt x="74867" y="28682"/>
                  </a:lnTo>
                  <a:lnTo>
                    <a:pt x="73805" y="25756"/>
                  </a:lnTo>
                  <a:lnTo>
                    <a:pt x="73805" y="24585"/>
                  </a:lnTo>
                  <a:lnTo>
                    <a:pt x="73805" y="23414"/>
                  </a:lnTo>
                  <a:lnTo>
                    <a:pt x="74867" y="23414"/>
                  </a:lnTo>
                  <a:lnTo>
                    <a:pt x="73805" y="21658"/>
                  </a:lnTo>
                  <a:lnTo>
                    <a:pt x="74867" y="20487"/>
                  </a:lnTo>
                  <a:lnTo>
                    <a:pt x="75929" y="23414"/>
                  </a:lnTo>
                  <a:lnTo>
                    <a:pt x="75929" y="25756"/>
                  </a:lnTo>
                  <a:lnTo>
                    <a:pt x="77522" y="27512"/>
                  </a:lnTo>
                  <a:lnTo>
                    <a:pt x="77522" y="28682"/>
                  </a:lnTo>
                  <a:lnTo>
                    <a:pt x="78584" y="30439"/>
                  </a:lnTo>
                  <a:lnTo>
                    <a:pt x="80176" y="31609"/>
                  </a:lnTo>
                  <a:lnTo>
                    <a:pt x="81238" y="32780"/>
                  </a:lnTo>
                  <a:lnTo>
                    <a:pt x="82300" y="35707"/>
                  </a:lnTo>
                  <a:lnTo>
                    <a:pt x="82300" y="36878"/>
                  </a:lnTo>
                  <a:lnTo>
                    <a:pt x="82300" y="38634"/>
                  </a:lnTo>
                  <a:lnTo>
                    <a:pt x="83893" y="40975"/>
                  </a:lnTo>
                  <a:lnTo>
                    <a:pt x="86017" y="42731"/>
                  </a:lnTo>
                  <a:lnTo>
                    <a:pt x="87610" y="45658"/>
                  </a:lnTo>
                  <a:lnTo>
                    <a:pt x="89734" y="48000"/>
                  </a:lnTo>
                  <a:lnTo>
                    <a:pt x="92389" y="48000"/>
                  </a:lnTo>
                  <a:lnTo>
                    <a:pt x="92389" y="46829"/>
                  </a:lnTo>
                  <a:lnTo>
                    <a:pt x="93451" y="45658"/>
                  </a:lnTo>
                  <a:lnTo>
                    <a:pt x="93451" y="43902"/>
                  </a:lnTo>
                  <a:lnTo>
                    <a:pt x="93451" y="40975"/>
                  </a:lnTo>
                  <a:lnTo>
                    <a:pt x="95044" y="35707"/>
                  </a:lnTo>
                  <a:lnTo>
                    <a:pt x="96106" y="30439"/>
                  </a:lnTo>
                  <a:lnTo>
                    <a:pt x="97699" y="27512"/>
                  </a:lnTo>
                  <a:lnTo>
                    <a:pt x="97699" y="27512"/>
                  </a:lnTo>
                  <a:lnTo>
                    <a:pt x="97699" y="25756"/>
                  </a:lnTo>
                  <a:lnTo>
                    <a:pt x="96106" y="23414"/>
                  </a:lnTo>
                  <a:lnTo>
                    <a:pt x="95044" y="20487"/>
                  </a:lnTo>
                  <a:lnTo>
                    <a:pt x="95044" y="17560"/>
                  </a:lnTo>
                  <a:lnTo>
                    <a:pt x="93451" y="15219"/>
                  </a:lnTo>
                  <a:lnTo>
                    <a:pt x="93451" y="15219"/>
                  </a:lnTo>
                  <a:lnTo>
                    <a:pt x="92389" y="13463"/>
                  </a:lnTo>
                  <a:lnTo>
                    <a:pt x="91327" y="10536"/>
                  </a:lnTo>
                  <a:lnTo>
                    <a:pt x="91327" y="8195"/>
                  </a:lnTo>
                  <a:lnTo>
                    <a:pt x="89734" y="5268"/>
                  </a:lnTo>
                  <a:lnTo>
                    <a:pt x="89734" y="5268"/>
                  </a:lnTo>
                  <a:lnTo>
                    <a:pt x="89734" y="4097"/>
                  </a:lnTo>
                  <a:lnTo>
                    <a:pt x="88672" y="5268"/>
                  </a:lnTo>
                  <a:lnTo>
                    <a:pt x="86017" y="6439"/>
                  </a:lnTo>
                  <a:lnTo>
                    <a:pt x="84955" y="6439"/>
                  </a:lnTo>
                  <a:lnTo>
                    <a:pt x="82300" y="6439"/>
                  </a:lnTo>
                  <a:lnTo>
                    <a:pt x="80176" y="8195"/>
                  </a:lnTo>
                  <a:lnTo>
                    <a:pt x="80176" y="6439"/>
                  </a:lnTo>
                  <a:lnTo>
                    <a:pt x="80176" y="6439"/>
                  </a:lnTo>
                  <a:lnTo>
                    <a:pt x="77522" y="6439"/>
                  </a:lnTo>
                  <a:lnTo>
                    <a:pt x="77522" y="6439"/>
                  </a:lnTo>
                  <a:lnTo>
                    <a:pt x="74867" y="8195"/>
                  </a:lnTo>
                  <a:lnTo>
                    <a:pt x="74867" y="8195"/>
                  </a:lnTo>
                  <a:lnTo>
                    <a:pt x="73805" y="6439"/>
                  </a:lnTo>
                  <a:lnTo>
                    <a:pt x="72212" y="5268"/>
                  </a:lnTo>
                  <a:lnTo>
                    <a:pt x="71150" y="5268"/>
                  </a:lnTo>
                  <a:lnTo>
                    <a:pt x="71150" y="5268"/>
                  </a:lnTo>
                  <a:lnTo>
                    <a:pt x="71150" y="5268"/>
                  </a:lnTo>
                  <a:lnTo>
                    <a:pt x="71150" y="6439"/>
                  </a:lnTo>
                  <a:lnTo>
                    <a:pt x="71150" y="6439"/>
                  </a:lnTo>
                  <a:lnTo>
                    <a:pt x="70088" y="6439"/>
                  </a:lnTo>
                  <a:lnTo>
                    <a:pt x="70088" y="6439"/>
                  </a:lnTo>
                  <a:lnTo>
                    <a:pt x="68495" y="5268"/>
                  </a:lnTo>
                  <a:lnTo>
                    <a:pt x="67433" y="5268"/>
                  </a:lnTo>
                  <a:lnTo>
                    <a:pt x="66371" y="5268"/>
                  </a:lnTo>
                  <a:lnTo>
                    <a:pt x="67433" y="4097"/>
                  </a:lnTo>
                  <a:lnTo>
                    <a:pt x="67433" y="2341"/>
                  </a:lnTo>
                  <a:lnTo>
                    <a:pt x="70088" y="4097"/>
                  </a:lnTo>
                  <a:lnTo>
                    <a:pt x="70088" y="4097"/>
                  </a:lnTo>
                  <a:lnTo>
                    <a:pt x="68495" y="2341"/>
                  </a:lnTo>
                  <a:lnTo>
                    <a:pt x="67433" y="1170"/>
                  </a:lnTo>
                  <a:lnTo>
                    <a:pt x="67433" y="2341"/>
                  </a:lnTo>
                  <a:lnTo>
                    <a:pt x="64778" y="2341"/>
                  </a:lnTo>
                  <a:lnTo>
                    <a:pt x="63716" y="2341"/>
                  </a:lnTo>
                  <a:lnTo>
                    <a:pt x="61061" y="1170"/>
                  </a:lnTo>
                  <a:lnTo>
                    <a:pt x="60000" y="1170"/>
                  </a:lnTo>
                  <a:lnTo>
                    <a:pt x="60000" y="1170"/>
                  </a:lnTo>
                  <a:lnTo>
                    <a:pt x="60000" y="2341"/>
                  </a:lnTo>
                  <a:lnTo>
                    <a:pt x="58407" y="2341"/>
                  </a:lnTo>
                  <a:lnTo>
                    <a:pt x="57345" y="2341"/>
                  </a:lnTo>
                  <a:lnTo>
                    <a:pt x="56283" y="4097"/>
                  </a:lnTo>
                  <a:lnTo>
                    <a:pt x="54690" y="4097"/>
                  </a:lnTo>
                  <a:lnTo>
                    <a:pt x="58407" y="2341"/>
                  </a:lnTo>
                  <a:lnTo>
                    <a:pt x="58407" y="1170"/>
                  </a:lnTo>
                  <a:lnTo>
                    <a:pt x="54690" y="2341"/>
                  </a:lnTo>
                  <a:lnTo>
                    <a:pt x="53628" y="2341"/>
                  </a:lnTo>
                  <a:lnTo>
                    <a:pt x="53628" y="4097"/>
                  </a:lnTo>
                  <a:lnTo>
                    <a:pt x="52566" y="4097"/>
                  </a:lnTo>
                  <a:lnTo>
                    <a:pt x="52566" y="4097"/>
                  </a:lnTo>
                  <a:lnTo>
                    <a:pt x="52566" y="5268"/>
                  </a:lnTo>
                  <a:lnTo>
                    <a:pt x="50973" y="5268"/>
                  </a:lnTo>
                  <a:lnTo>
                    <a:pt x="49911" y="5268"/>
                  </a:lnTo>
                  <a:lnTo>
                    <a:pt x="49911" y="5268"/>
                  </a:lnTo>
                  <a:lnTo>
                    <a:pt x="46194" y="8195"/>
                  </a:lnTo>
                  <a:lnTo>
                    <a:pt x="45132" y="9365"/>
                  </a:lnTo>
                  <a:lnTo>
                    <a:pt x="43539" y="9365"/>
                  </a:lnTo>
                  <a:lnTo>
                    <a:pt x="42477" y="10536"/>
                  </a:lnTo>
                  <a:lnTo>
                    <a:pt x="40884" y="10536"/>
                  </a:lnTo>
                  <a:lnTo>
                    <a:pt x="39823" y="10536"/>
                  </a:lnTo>
                  <a:lnTo>
                    <a:pt x="38761" y="9365"/>
                  </a:lnTo>
                  <a:lnTo>
                    <a:pt x="36106" y="8195"/>
                  </a:lnTo>
                  <a:lnTo>
                    <a:pt x="31327" y="6439"/>
                  </a:lnTo>
                  <a:lnTo>
                    <a:pt x="29734" y="6439"/>
                  </a:lnTo>
                  <a:lnTo>
                    <a:pt x="27610" y="6439"/>
                  </a:lnTo>
                  <a:lnTo>
                    <a:pt x="26017" y="5268"/>
                  </a:lnTo>
                  <a:lnTo>
                    <a:pt x="23362" y="4097"/>
                  </a:lnTo>
                  <a:lnTo>
                    <a:pt x="19646" y="2341"/>
                  </a:lnTo>
                  <a:lnTo>
                    <a:pt x="15929" y="2341"/>
                  </a:lnTo>
                  <a:lnTo>
                    <a:pt x="11150" y="1170"/>
                  </a:lnTo>
                  <a:lnTo>
                    <a:pt x="6371" y="2341"/>
                  </a:lnTo>
                  <a:lnTo>
                    <a:pt x="4778" y="2341"/>
                  </a:lnTo>
                  <a:lnTo>
                    <a:pt x="3716" y="0"/>
                  </a:lnTo>
                  <a:lnTo>
                    <a:pt x="3716" y="1170"/>
                  </a:lnTo>
                  <a:lnTo>
                    <a:pt x="3716" y="1170"/>
                  </a:lnTo>
                  <a:lnTo>
                    <a:pt x="2123" y="2341"/>
                  </a:lnTo>
                  <a:lnTo>
                    <a:pt x="2123" y="2341"/>
                  </a:lnTo>
                  <a:lnTo>
                    <a:pt x="1061" y="4097"/>
                  </a:lnTo>
                  <a:lnTo>
                    <a:pt x="1061" y="6439"/>
                  </a:lnTo>
                  <a:lnTo>
                    <a:pt x="1061" y="8195"/>
                  </a:lnTo>
                  <a:lnTo>
                    <a:pt x="2123" y="9365"/>
                  </a:lnTo>
                  <a:lnTo>
                    <a:pt x="2123" y="10536"/>
                  </a:lnTo>
                  <a:lnTo>
                    <a:pt x="2123" y="12292"/>
                  </a:lnTo>
                  <a:lnTo>
                    <a:pt x="2123" y="13463"/>
                  </a:lnTo>
                  <a:lnTo>
                    <a:pt x="2123" y="15219"/>
                  </a:lnTo>
                  <a:lnTo>
                    <a:pt x="1061" y="17560"/>
                  </a:lnTo>
                  <a:lnTo>
                    <a:pt x="0" y="17560"/>
                  </a:lnTo>
                  <a:lnTo>
                    <a:pt x="1061" y="19317"/>
                  </a:lnTo>
                  <a:lnTo>
                    <a:pt x="1061" y="21658"/>
                  </a:lnTo>
                  <a:lnTo>
                    <a:pt x="1061" y="23414"/>
                  </a:lnTo>
                  <a:lnTo>
                    <a:pt x="2123" y="25756"/>
                  </a:lnTo>
                  <a:lnTo>
                    <a:pt x="2123" y="28682"/>
                  </a:lnTo>
                  <a:lnTo>
                    <a:pt x="3716" y="30439"/>
                  </a:lnTo>
                  <a:lnTo>
                    <a:pt x="3716" y="30439"/>
                  </a:lnTo>
                  <a:lnTo>
                    <a:pt x="3716" y="32780"/>
                  </a:lnTo>
                  <a:lnTo>
                    <a:pt x="3716" y="35707"/>
                  </a:lnTo>
                  <a:lnTo>
                    <a:pt x="3716" y="38634"/>
                  </a:lnTo>
                  <a:lnTo>
                    <a:pt x="3716" y="40975"/>
                  </a:lnTo>
                  <a:lnTo>
                    <a:pt x="3716" y="43902"/>
                  </a:lnTo>
                  <a:lnTo>
                    <a:pt x="3716" y="46829"/>
                  </a:lnTo>
                  <a:lnTo>
                    <a:pt x="3716" y="49756"/>
                  </a:lnTo>
                  <a:lnTo>
                    <a:pt x="3716" y="53853"/>
                  </a:lnTo>
                  <a:lnTo>
                    <a:pt x="3716" y="56195"/>
                  </a:lnTo>
                  <a:lnTo>
                    <a:pt x="4778" y="59121"/>
                  </a:lnTo>
                  <a:lnTo>
                    <a:pt x="4778" y="62048"/>
                  </a:lnTo>
                  <a:lnTo>
                    <a:pt x="4778" y="64975"/>
                  </a:lnTo>
                  <a:lnTo>
                    <a:pt x="4778" y="67317"/>
                  </a:lnTo>
                  <a:lnTo>
                    <a:pt x="4778" y="70243"/>
                  </a:lnTo>
                  <a:lnTo>
                    <a:pt x="4778" y="73170"/>
                  </a:lnTo>
                  <a:lnTo>
                    <a:pt x="4778" y="76097"/>
                  </a:lnTo>
                  <a:lnTo>
                    <a:pt x="4778" y="78439"/>
                  </a:lnTo>
                  <a:lnTo>
                    <a:pt x="4778" y="81365"/>
                  </a:lnTo>
                  <a:lnTo>
                    <a:pt x="4778" y="84292"/>
                  </a:lnTo>
                  <a:lnTo>
                    <a:pt x="4778" y="86634"/>
                  </a:lnTo>
                  <a:lnTo>
                    <a:pt x="4778" y="89560"/>
                  </a:lnTo>
                  <a:lnTo>
                    <a:pt x="4778" y="92487"/>
                  </a:lnTo>
                  <a:lnTo>
                    <a:pt x="4778" y="95414"/>
                  </a:lnTo>
                  <a:lnTo>
                    <a:pt x="4778" y="97756"/>
                  </a:lnTo>
                  <a:lnTo>
                    <a:pt x="4778" y="100682"/>
                  </a:lnTo>
                  <a:lnTo>
                    <a:pt x="4778" y="103609"/>
                  </a:lnTo>
                  <a:lnTo>
                    <a:pt x="4778" y="106536"/>
                  </a:lnTo>
                  <a:lnTo>
                    <a:pt x="4778" y="108878"/>
                  </a:lnTo>
                  <a:lnTo>
                    <a:pt x="6371" y="111804"/>
                  </a:lnTo>
                  <a:lnTo>
                    <a:pt x="6371" y="114731"/>
                  </a:lnTo>
                  <a:lnTo>
                    <a:pt x="6371" y="117658"/>
                  </a:lnTo>
                  <a:lnTo>
                    <a:pt x="6371" y="120000"/>
                  </a:lnTo>
                  <a:lnTo>
                    <a:pt x="13805" y="120000"/>
                  </a:lnTo>
                  <a:lnTo>
                    <a:pt x="17522" y="120000"/>
                  </a:lnTo>
                  <a:lnTo>
                    <a:pt x="19646" y="120000"/>
                  </a:lnTo>
                  <a:lnTo>
                    <a:pt x="23362" y="120000"/>
                  </a:lnTo>
                  <a:lnTo>
                    <a:pt x="31327" y="120000"/>
                  </a:lnTo>
                  <a:lnTo>
                    <a:pt x="35044" y="120000"/>
                  </a:lnTo>
                  <a:lnTo>
                    <a:pt x="38761" y="120000"/>
                  </a:lnTo>
                  <a:lnTo>
                    <a:pt x="42477" y="120000"/>
                  </a:lnTo>
                  <a:lnTo>
                    <a:pt x="46194" y="120000"/>
                  </a:lnTo>
                  <a:lnTo>
                    <a:pt x="49911" y="120000"/>
                  </a:lnTo>
                  <a:lnTo>
                    <a:pt x="53628" y="120000"/>
                  </a:lnTo>
                  <a:lnTo>
                    <a:pt x="57345" y="120000"/>
                  </a:lnTo>
                  <a:lnTo>
                    <a:pt x="61061" y="120000"/>
                  </a:lnTo>
                  <a:lnTo>
                    <a:pt x="64778" y="120000"/>
                  </a:lnTo>
                  <a:lnTo>
                    <a:pt x="66371" y="120000"/>
                  </a:lnTo>
                  <a:lnTo>
                    <a:pt x="66371" y="120000"/>
                  </a:lnTo>
                  <a:lnTo>
                    <a:pt x="67433" y="117658"/>
                  </a:lnTo>
                  <a:lnTo>
                    <a:pt x="67433" y="117658"/>
                  </a:lnTo>
                  <a:lnTo>
                    <a:pt x="68495" y="117658"/>
                  </a:lnTo>
                  <a:lnTo>
                    <a:pt x="68495" y="117658"/>
                  </a:lnTo>
                  <a:lnTo>
                    <a:pt x="68495" y="118829"/>
                  </a:lnTo>
                  <a:lnTo>
                    <a:pt x="68495" y="120000"/>
                  </a:lnTo>
                  <a:lnTo>
                    <a:pt x="70088" y="120000"/>
                  </a:lnTo>
                  <a:lnTo>
                    <a:pt x="72212" y="120000"/>
                  </a:lnTo>
                  <a:lnTo>
                    <a:pt x="75929" y="120000"/>
                  </a:lnTo>
                  <a:lnTo>
                    <a:pt x="80176" y="120000"/>
                  </a:lnTo>
                  <a:lnTo>
                    <a:pt x="82300" y="120000"/>
                  </a:lnTo>
                  <a:lnTo>
                    <a:pt x="92389" y="120000"/>
                  </a:lnTo>
                  <a:lnTo>
                    <a:pt x="95044" y="120000"/>
                  </a:lnTo>
                  <a:lnTo>
                    <a:pt x="98761" y="120000"/>
                  </a:lnTo>
                  <a:lnTo>
                    <a:pt x="101415" y="120000"/>
                  </a:lnTo>
                  <a:lnTo>
                    <a:pt x="105132" y="120000"/>
                  </a:lnTo>
                  <a:lnTo>
                    <a:pt x="107256" y="120000"/>
                  </a:lnTo>
                  <a:lnTo>
                    <a:pt x="110973" y="120000"/>
                  </a:lnTo>
                  <a:lnTo>
                    <a:pt x="113628" y="120000"/>
                  </a:lnTo>
                  <a:lnTo>
                    <a:pt x="117345" y="120000"/>
                  </a:lnTo>
                  <a:lnTo>
                    <a:pt x="120000" y="120000"/>
                  </a:lnTo>
                  <a:lnTo>
                    <a:pt x="120000" y="118829"/>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98" name="Shape 498"/>
            <p:cNvSpPr/>
            <p:nvPr/>
          </p:nvSpPr>
          <p:spPr>
            <a:xfrm>
              <a:off x="2147" y="2777"/>
              <a:ext cx="0" cy="0"/>
            </a:xfrm>
            <a:custGeom>
              <a:avLst/>
              <a:gdLst/>
              <a:ahLst/>
              <a:cxnLst/>
              <a:rect l="0" t="0" r="0" b="0"/>
              <a:pathLst>
                <a:path w="120000" h="120000" extrusionOk="0">
                  <a:moveTo>
                    <a:pt x="18113" y="83211"/>
                  </a:moveTo>
                  <a:lnTo>
                    <a:pt x="18113" y="83211"/>
                  </a:lnTo>
                  <a:lnTo>
                    <a:pt x="18113" y="78832"/>
                  </a:lnTo>
                  <a:lnTo>
                    <a:pt x="21509" y="78832"/>
                  </a:lnTo>
                  <a:lnTo>
                    <a:pt x="21509" y="78832"/>
                  </a:lnTo>
                  <a:lnTo>
                    <a:pt x="23773" y="76204"/>
                  </a:lnTo>
                  <a:lnTo>
                    <a:pt x="21509" y="76204"/>
                  </a:lnTo>
                  <a:lnTo>
                    <a:pt x="21509" y="76204"/>
                  </a:lnTo>
                  <a:lnTo>
                    <a:pt x="18113" y="76204"/>
                  </a:lnTo>
                  <a:lnTo>
                    <a:pt x="15849" y="78832"/>
                  </a:lnTo>
                  <a:lnTo>
                    <a:pt x="15849" y="78832"/>
                  </a:lnTo>
                  <a:lnTo>
                    <a:pt x="15849" y="80583"/>
                  </a:lnTo>
                  <a:lnTo>
                    <a:pt x="15849" y="83211"/>
                  </a:lnTo>
                  <a:lnTo>
                    <a:pt x="15849" y="83211"/>
                  </a:lnTo>
                  <a:lnTo>
                    <a:pt x="18113" y="83211"/>
                  </a:lnTo>
                  <a:close/>
                  <a:moveTo>
                    <a:pt x="45283" y="4379"/>
                  </a:moveTo>
                  <a:lnTo>
                    <a:pt x="45283" y="1751"/>
                  </a:lnTo>
                  <a:lnTo>
                    <a:pt x="43018" y="1751"/>
                  </a:lnTo>
                  <a:lnTo>
                    <a:pt x="43018" y="1751"/>
                  </a:lnTo>
                  <a:lnTo>
                    <a:pt x="43018" y="4379"/>
                  </a:lnTo>
                  <a:lnTo>
                    <a:pt x="45283" y="4379"/>
                  </a:lnTo>
                  <a:close/>
                  <a:moveTo>
                    <a:pt x="120000" y="39416"/>
                  </a:moveTo>
                  <a:lnTo>
                    <a:pt x="120000" y="39416"/>
                  </a:lnTo>
                  <a:lnTo>
                    <a:pt x="120000" y="36788"/>
                  </a:lnTo>
                  <a:lnTo>
                    <a:pt x="120000" y="36788"/>
                  </a:lnTo>
                  <a:lnTo>
                    <a:pt x="120000" y="36788"/>
                  </a:lnTo>
                  <a:lnTo>
                    <a:pt x="117735" y="35036"/>
                  </a:lnTo>
                  <a:lnTo>
                    <a:pt x="117735" y="33284"/>
                  </a:lnTo>
                  <a:lnTo>
                    <a:pt x="114339" y="30656"/>
                  </a:lnTo>
                  <a:lnTo>
                    <a:pt x="114339" y="30656"/>
                  </a:lnTo>
                  <a:lnTo>
                    <a:pt x="112075" y="28905"/>
                  </a:lnTo>
                  <a:lnTo>
                    <a:pt x="112075" y="28905"/>
                  </a:lnTo>
                  <a:lnTo>
                    <a:pt x="114339" y="28905"/>
                  </a:lnTo>
                  <a:lnTo>
                    <a:pt x="117735" y="28905"/>
                  </a:lnTo>
                  <a:lnTo>
                    <a:pt x="117735" y="28905"/>
                  </a:lnTo>
                  <a:lnTo>
                    <a:pt x="120000" y="28905"/>
                  </a:lnTo>
                  <a:lnTo>
                    <a:pt x="120000" y="28905"/>
                  </a:lnTo>
                  <a:lnTo>
                    <a:pt x="117735" y="27153"/>
                  </a:lnTo>
                  <a:lnTo>
                    <a:pt x="112075" y="24525"/>
                  </a:lnTo>
                  <a:lnTo>
                    <a:pt x="109811" y="24525"/>
                  </a:lnTo>
                  <a:lnTo>
                    <a:pt x="106415" y="24525"/>
                  </a:lnTo>
                  <a:lnTo>
                    <a:pt x="106415" y="22773"/>
                  </a:lnTo>
                  <a:lnTo>
                    <a:pt x="104150" y="21021"/>
                  </a:lnTo>
                  <a:lnTo>
                    <a:pt x="104150" y="21021"/>
                  </a:lnTo>
                  <a:lnTo>
                    <a:pt x="98490" y="18394"/>
                  </a:lnTo>
                  <a:lnTo>
                    <a:pt x="98490" y="18394"/>
                  </a:lnTo>
                  <a:lnTo>
                    <a:pt x="96226" y="18394"/>
                  </a:lnTo>
                  <a:lnTo>
                    <a:pt x="96226" y="21021"/>
                  </a:lnTo>
                  <a:lnTo>
                    <a:pt x="96226" y="21021"/>
                  </a:lnTo>
                  <a:lnTo>
                    <a:pt x="96226" y="22773"/>
                  </a:lnTo>
                  <a:lnTo>
                    <a:pt x="92830" y="22773"/>
                  </a:lnTo>
                  <a:lnTo>
                    <a:pt x="92830" y="22773"/>
                  </a:lnTo>
                  <a:lnTo>
                    <a:pt x="90566" y="22773"/>
                  </a:lnTo>
                  <a:lnTo>
                    <a:pt x="90566" y="22773"/>
                  </a:lnTo>
                  <a:lnTo>
                    <a:pt x="90566" y="22773"/>
                  </a:lnTo>
                  <a:lnTo>
                    <a:pt x="88301" y="22773"/>
                  </a:lnTo>
                  <a:lnTo>
                    <a:pt x="88301" y="22773"/>
                  </a:lnTo>
                  <a:lnTo>
                    <a:pt x="84905" y="22773"/>
                  </a:lnTo>
                  <a:lnTo>
                    <a:pt x="82641" y="21021"/>
                  </a:lnTo>
                  <a:lnTo>
                    <a:pt x="82641" y="21021"/>
                  </a:lnTo>
                  <a:lnTo>
                    <a:pt x="80377" y="21021"/>
                  </a:lnTo>
                  <a:lnTo>
                    <a:pt x="76981" y="21021"/>
                  </a:lnTo>
                  <a:lnTo>
                    <a:pt x="74716" y="21021"/>
                  </a:lnTo>
                  <a:lnTo>
                    <a:pt x="74716" y="18394"/>
                  </a:lnTo>
                  <a:lnTo>
                    <a:pt x="74716" y="14014"/>
                  </a:lnTo>
                  <a:lnTo>
                    <a:pt x="74716" y="14014"/>
                  </a:lnTo>
                  <a:lnTo>
                    <a:pt x="72452" y="14014"/>
                  </a:lnTo>
                  <a:lnTo>
                    <a:pt x="72452" y="14014"/>
                  </a:lnTo>
                  <a:lnTo>
                    <a:pt x="69056" y="14014"/>
                  </a:lnTo>
                  <a:lnTo>
                    <a:pt x="69056" y="12262"/>
                  </a:lnTo>
                  <a:lnTo>
                    <a:pt x="69056" y="12262"/>
                  </a:lnTo>
                  <a:lnTo>
                    <a:pt x="66792" y="12262"/>
                  </a:lnTo>
                  <a:lnTo>
                    <a:pt x="61132" y="10510"/>
                  </a:lnTo>
                  <a:lnTo>
                    <a:pt x="58867" y="7883"/>
                  </a:lnTo>
                  <a:lnTo>
                    <a:pt x="55471" y="7883"/>
                  </a:lnTo>
                  <a:lnTo>
                    <a:pt x="53207" y="4379"/>
                  </a:lnTo>
                  <a:lnTo>
                    <a:pt x="50943" y="4379"/>
                  </a:lnTo>
                  <a:lnTo>
                    <a:pt x="47547" y="4379"/>
                  </a:lnTo>
                  <a:lnTo>
                    <a:pt x="47547" y="1751"/>
                  </a:lnTo>
                  <a:lnTo>
                    <a:pt x="45283" y="0"/>
                  </a:lnTo>
                  <a:lnTo>
                    <a:pt x="45283" y="0"/>
                  </a:lnTo>
                  <a:lnTo>
                    <a:pt x="45283" y="1751"/>
                  </a:lnTo>
                  <a:lnTo>
                    <a:pt x="45283" y="4379"/>
                  </a:lnTo>
                  <a:lnTo>
                    <a:pt x="37358" y="6131"/>
                  </a:lnTo>
                  <a:lnTo>
                    <a:pt x="31698" y="7883"/>
                  </a:lnTo>
                  <a:lnTo>
                    <a:pt x="29433" y="7883"/>
                  </a:lnTo>
                  <a:lnTo>
                    <a:pt x="26037" y="7883"/>
                  </a:lnTo>
                  <a:lnTo>
                    <a:pt x="23773" y="10510"/>
                  </a:lnTo>
                  <a:lnTo>
                    <a:pt x="23773" y="10510"/>
                  </a:lnTo>
                  <a:lnTo>
                    <a:pt x="21509" y="12262"/>
                  </a:lnTo>
                  <a:lnTo>
                    <a:pt x="18113" y="12262"/>
                  </a:lnTo>
                  <a:lnTo>
                    <a:pt x="18113" y="16642"/>
                  </a:lnTo>
                  <a:lnTo>
                    <a:pt x="21509" y="18394"/>
                  </a:lnTo>
                  <a:lnTo>
                    <a:pt x="18113" y="24525"/>
                  </a:lnTo>
                  <a:lnTo>
                    <a:pt x="18113" y="27153"/>
                  </a:lnTo>
                  <a:lnTo>
                    <a:pt x="15849" y="28905"/>
                  </a:lnTo>
                  <a:lnTo>
                    <a:pt x="13584" y="30656"/>
                  </a:lnTo>
                  <a:lnTo>
                    <a:pt x="10188" y="33284"/>
                  </a:lnTo>
                  <a:lnTo>
                    <a:pt x="10188" y="35036"/>
                  </a:lnTo>
                  <a:lnTo>
                    <a:pt x="13584" y="36788"/>
                  </a:lnTo>
                  <a:lnTo>
                    <a:pt x="15849" y="39416"/>
                  </a:lnTo>
                  <a:lnTo>
                    <a:pt x="13584" y="39416"/>
                  </a:lnTo>
                  <a:lnTo>
                    <a:pt x="10188" y="36788"/>
                  </a:lnTo>
                  <a:lnTo>
                    <a:pt x="10188" y="39416"/>
                  </a:lnTo>
                  <a:lnTo>
                    <a:pt x="7924" y="43795"/>
                  </a:lnTo>
                  <a:lnTo>
                    <a:pt x="7924" y="43795"/>
                  </a:lnTo>
                  <a:lnTo>
                    <a:pt x="2264" y="45547"/>
                  </a:lnTo>
                  <a:lnTo>
                    <a:pt x="2264" y="47299"/>
                  </a:lnTo>
                  <a:lnTo>
                    <a:pt x="2264" y="51678"/>
                  </a:lnTo>
                  <a:lnTo>
                    <a:pt x="5660" y="51678"/>
                  </a:lnTo>
                  <a:lnTo>
                    <a:pt x="2264" y="57810"/>
                  </a:lnTo>
                  <a:lnTo>
                    <a:pt x="5660" y="60437"/>
                  </a:lnTo>
                  <a:lnTo>
                    <a:pt x="5660" y="62189"/>
                  </a:lnTo>
                  <a:lnTo>
                    <a:pt x="5660" y="66569"/>
                  </a:lnTo>
                  <a:lnTo>
                    <a:pt x="2264" y="66569"/>
                  </a:lnTo>
                  <a:lnTo>
                    <a:pt x="0" y="68321"/>
                  </a:lnTo>
                  <a:lnTo>
                    <a:pt x="2264" y="68321"/>
                  </a:lnTo>
                  <a:lnTo>
                    <a:pt x="2264" y="68321"/>
                  </a:lnTo>
                  <a:lnTo>
                    <a:pt x="2264" y="70072"/>
                  </a:lnTo>
                  <a:lnTo>
                    <a:pt x="7924" y="70072"/>
                  </a:lnTo>
                  <a:lnTo>
                    <a:pt x="13584" y="74452"/>
                  </a:lnTo>
                  <a:lnTo>
                    <a:pt x="13584" y="76204"/>
                  </a:lnTo>
                  <a:lnTo>
                    <a:pt x="15849" y="76204"/>
                  </a:lnTo>
                  <a:lnTo>
                    <a:pt x="15849" y="76204"/>
                  </a:lnTo>
                  <a:lnTo>
                    <a:pt x="15849" y="76204"/>
                  </a:lnTo>
                  <a:lnTo>
                    <a:pt x="18113" y="74452"/>
                  </a:lnTo>
                  <a:lnTo>
                    <a:pt x="21509" y="70072"/>
                  </a:lnTo>
                  <a:lnTo>
                    <a:pt x="21509" y="70072"/>
                  </a:lnTo>
                  <a:lnTo>
                    <a:pt x="21509" y="74452"/>
                  </a:lnTo>
                  <a:lnTo>
                    <a:pt x="21509" y="74452"/>
                  </a:lnTo>
                  <a:lnTo>
                    <a:pt x="23773" y="74452"/>
                  </a:lnTo>
                  <a:lnTo>
                    <a:pt x="23773" y="72700"/>
                  </a:lnTo>
                  <a:lnTo>
                    <a:pt x="23773" y="66569"/>
                  </a:lnTo>
                  <a:lnTo>
                    <a:pt x="23773" y="63941"/>
                  </a:lnTo>
                  <a:lnTo>
                    <a:pt x="23773" y="66569"/>
                  </a:lnTo>
                  <a:lnTo>
                    <a:pt x="23773" y="66569"/>
                  </a:lnTo>
                  <a:lnTo>
                    <a:pt x="23773" y="70072"/>
                  </a:lnTo>
                  <a:lnTo>
                    <a:pt x="26037" y="72700"/>
                  </a:lnTo>
                  <a:lnTo>
                    <a:pt x="26037" y="74452"/>
                  </a:lnTo>
                  <a:lnTo>
                    <a:pt x="26037" y="78832"/>
                  </a:lnTo>
                  <a:lnTo>
                    <a:pt x="23773" y="84963"/>
                  </a:lnTo>
                  <a:lnTo>
                    <a:pt x="23773" y="84963"/>
                  </a:lnTo>
                  <a:lnTo>
                    <a:pt x="21509" y="86715"/>
                  </a:lnTo>
                  <a:lnTo>
                    <a:pt x="21509" y="86715"/>
                  </a:lnTo>
                  <a:lnTo>
                    <a:pt x="18113" y="89343"/>
                  </a:lnTo>
                  <a:lnTo>
                    <a:pt x="15849" y="89343"/>
                  </a:lnTo>
                  <a:lnTo>
                    <a:pt x="15849" y="89343"/>
                  </a:lnTo>
                  <a:lnTo>
                    <a:pt x="15849" y="89343"/>
                  </a:lnTo>
                  <a:lnTo>
                    <a:pt x="15849" y="91094"/>
                  </a:lnTo>
                  <a:lnTo>
                    <a:pt x="15849" y="91094"/>
                  </a:lnTo>
                  <a:lnTo>
                    <a:pt x="15849" y="91094"/>
                  </a:lnTo>
                  <a:lnTo>
                    <a:pt x="15849" y="91094"/>
                  </a:lnTo>
                  <a:lnTo>
                    <a:pt x="15849" y="92846"/>
                  </a:lnTo>
                  <a:lnTo>
                    <a:pt x="18113" y="92846"/>
                  </a:lnTo>
                  <a:lnTo>
                    <a:pt x="18113" y="95474"/>
                  </a:lnTo>
                  <a:lnTo>
                    <a:pt x="18113" y="95474"/>
                  </a:lnTo>
                  <a:lnTo>
                    <a:pt x="18113" y="95474"/>
                  </a:lnTo>
                  <a:lnTo>
                    <a:pt x="18113" y="97226"/>
                  </a:lnTo>
                  <a:lnTo>
                    <a:pt x="18113" y="98978"/>
                  </a:lnTo>
                  <a:lnTo>
                    <a:pt x="18113" y="98978"/>
                  </a:lnTo>
                  <a:lnTo>
                    <a:pt x="18113" y="98978"/>
                  </a:lnTo>
                  <a:lnTo>
                    <a:pt x="15849" y="98978"/>
                  </a:lnTo>
                  <a:lnTo>
                    <a:pt x="15849" y="101605"/>
                  </a:lnTo>
                  <a:lnTo>
                    <a:pt x="15849" y="101605"/>
                  </a:lnTo>
                  <a:lnTo>
                    <a:pt x="13584" y="101605"/>
                  </a:lnTo>
                  <a:lnTo>
                    <a:pt x="13584" y="101605"/>
                  </a:lnTo>
                  <a:lnTo>
                    <a:pt x="13584" y="101605"/>
                  </a:lnTo>
                  <a:lnTo>
                    <a:pt x="13584" y="103357"/>
                  </a:lnTo>
                  <a:lnTo>
                    <a:pt x="13584" y="103357"/>
                  </a:lnTo>
                  <a:lnTo>
                    <a:pt x="13584" y="105985"/>
                  </a:lnTo>
                  <a:lnTo>
                    <a:pt x="15849" y="105985"/>
                  </a:lnTo>
                  <a:lnTo>
                    <a:pt x="13584" y="107737"/>
                  </a:lnTo>
                  <a:lnTo>
                    <a:pt x="13584" y="107737"/>
                  </a:lnTo>
                  <a:lnTo>
                    <a:pt x="13584" y="109489"/>
                  </a:lnTo>
                  <a:lnTo>
                    <a:pt x="13584" y="109489"/>
                  </a:lnTo>
                  <a:lnTo>
                    <a:pt x="15849" y="109489"/>
                  </a:lnTo>
                  <a:lnTo>
                    <a:pt x="15849" y="107737"/>
                  </a:lnTo>
                  <a:lnTo>
                    <a:pt x="18113" y="107737"/>
                  </a:lnTo>
                  <a:lnTo>
                    <a:pt x="18113" y="107737"/>
                  </a:lnTo>
                  <a:lnTo>
                    <a:pt x="18113" y="105985"/>
                  </a:lnTo>
                  <a:lnTo>
                    <a:pt x="21509" y="107737"/>
                  </a:lnTo>
                  <a:lnTo>
                    <a:pt x="23773" y="107737"/>
                  </a:lnTo>
                  <a:lnTo>
                    <a:pt x="26037" y="109489"/>
                  </a:lnTo>
                  <a:lnTo>
                    <a:pt x="26037" y="109489"/>
                  </a:lnTo>
                  <a:lnTo>
                    <a:pt x="29433" y="109489"/>
                  </a:lnTo>
                  <a:lnTo>
                    <a:pt x="29433" y="109489"/>
                  </a:lnTo>
                  <a:lnTo>
                    <a:pt x="31698" y="109489"/>
                  </a:lnTo>
                  <a:lnTo>
                    <a:pt x="31698" y="112116"/>
                  </a:lnTo>
                  <a:lnTo>
                    <a:pt x="35094" y="113868"/>
                  </a:lnTo>
                  <a:lnTo>
                    <a:pt x="35094" y="115620"/>
                  </a:lnTo>
                  <a:lnTo>
                    <a:pt x="37358" y="115620"/>
                  </a:lnTo>
                  <a:lnTo>
                    <a:pt x="37358" y="118248"/>
                  </a:lnTo>
                  <a:lnTo>
                    <a:pt x="39622" y="118248"/>
                  </a:lnTo>
                  <a:lnTo>
                    <a:pt x="39622" y="118248"/>
                  </a:lnTo>
                  <a:lnTo>
                    <a:pt x="43018" y="120000"/>
                  </a:lnTo>
                  <a:lnTo>
                    <a:pt x="43018" y="118248"/>
                  </a:lnTo>
                  <a:lnTo>
                    <a:pt x="45283" y="118248"/>
                  </a:lnTo>
                  <a:lnTo>
                    <a:pt x="45283" y="118248"/>
                  </a:lnTo>
                  <a:lnTo>
                    <a:pt x="45283" y="115620"/>
                  </a:lnTo>
                  <a:lnTo>
                    <a:pt x="45283" y="115620"/>
                  </a:lnTo>
                  <a:lnTo>
                    <a:pt x="45283" y="115620"/>
                  </a:lnTo>
                  <a:lnTo>
                    <a:pt x="45283" y="113868"/>
                  </a:lnTo>
                  <a:lnTo>
                    <a:pt x="47547" y="113868"/>
                  </a:lnTo>
                  <a:lnTo>
                    <a:pt x="50943" y="112116"/>
                  </a:lnTo>
                  <a:lnTo>
                    <a:pt x="50943" y="112116"/>
                  </a:lnTo>
                  <a:lnTo>
                    <a:pt x="50943" y="109489"/>
                  </a:lnTo>
                  <a:lnTo>
                    <a:pt x="50943" y="109489"/>
                  </a:lnTo>
                  <a:lnTo>
                    <a:pt x="50943" y="109489"/>
                  </a:lnTo>
                  <a:lnTo>
                    <a:pt x="50943" y="107737"/>
                  </a:lnTo>
                  <a:lnTo>
                    <a:pt x="50943" y="107737"/>
                  </a:lnTo>
                  <a:lnTo>
                    <a:pt x="50943" y="105985"/>
                  </a:lnTo>
                  <a:lnTo>
                    <a:pt x="53207" y="103357"/>
                  </a:lnTo>
                  <a:lnTo>
                    <a:pt x="53207" y="101605"/>
                  </a:lnTo>
                  <a:lnTo>
                    <a:pt x="53207" y="101605"/>
                  </a:lnTo>
                  <a:lnTo>
                    <a:pt x="53207" y="98978"/>
                  </a:lnTo>
                  <a:lnTo>
                    <a:pt x="53207" y="98978"/>
                  </a:lnTo>
                  <a:lnTo>
                    <a:pt x="55471" y="97226"/>
                  </a:lnTo>
                  <a:lnTo>
                    <a:pt x="55471" y="97226"/>
                  </a:lnTo>
                  <a:lnTo>
                    <a:pt x="55471" y="95474"/>
                  </a:lnTo>
                  <a:lnTo>
                    <a:pt x="55471" y="95474"/>
                  </a:lnTo>
                  <a:lnTo>
                    <a:pt x="55471" y="92846"/>
                  </a:lnTo>
                  <a:lnTo>
                    <a:pt x="55471" y="91094"/>
                  </a:lnTo>
                  <a:lnTo>
                    <a:pt x="55471" y="89343"/>
                  </a:lnTo>
                  <a:lnTo>
                    <a:pt x="58867" y="89343"/>
                  </a:lnTo>
                  <a:lnTo>
                    <a:pt x="58867" y="89343"/>
                  </a:lnTo>
                  <a:lnTo>
                    <a:pt x="58867" y="91094"/>
                  </a:lnTo>
                  <a:lnTo>
                    <a:pt x="58867" y="91094"/>
                  </a:lnTo>
                  <a:lnTo>
                    <a:pt x="58867" y="91094"/>
                  </a:lnTo>
                  <a:lnTo>
                    <a:pt x="61132" y="91094"/>
                  </a:lnTo>
                  <a:lnTo>
                    <a:pt x="61132" y="91094"/>
                  </a:lnTo>
                  <a:lnTo>
                    <a:pt x="61132" y="91094"/>
                  </a:lnTo>
                  <a:lnTo>
                    <a:pt x="61132" y="89343"/>
                  </a:lnTo>
                  <a:lnTo>
                    <a:pt x="61132" y="89343"/>
                  </a:lnTo>
                  <a:lnTo>
                    <a:pt x="61132" y="89343"/>
                  </a:lnTo>
                  <a:lnTo>
                    <a:pt x="61132" y="86715"/>
                  </a:lnTo>
                  <a:lnTo>
                    <a:pt x="63396" y="86715"/>
                  </a:lnTo>
                  <a:lnTo>
                    <a:pt x="63396" y="83211"/>
                  </a:lnTo>
                  <a:lnTo>
                    <a:pt x="66792" y="83211"/>
                  </a:lnTo>
                  <a:lnTo>
                    <a:pt x="72452" y="80583"/>
                  </a:lnTo>
                  <a:lnTo>
                    <a:pt x="74716" y="80583"/>
                  </a:lnTo>
                  <a:lnTo>
                    <a:pt x="76981" y="78832"/>
                  </a:lnTo>
                  <a:lnTo>
                    <a:pt x="82641" y="76204"/>
                  </a:lnTo>
                  <a:lnTo>
                    <a:pt x="88301" y="76204"/>
                  </a:lnTo>
                  <a:lnTo>
                    <a:pt x="90566" y="74452"/>
                  </a:lnTo>
                  <a:lnTo>
                    <a:pt x="96226" y="72700"/>
                  </a:lnTo>
                  <a:lnTo>
                    <a:pt x="98490" y="70072"/>
                  </a:lnTo>
                  <a:lnTo>
                    <a:pt x="100754" y="68321"/>
                  </a:lnTo>
                  <a:lnTo>
                    <a:pt x="104150" y="66569"/>
                  </a:lnTo>
                  <a:lnTo>
                    <a:pt x="106415" y="62189"/>
                  </a:lnTo>
                  <a:lnTo>
                    <a:pt x="112075" y="57810"/>
                  </a:lnTo>
                  <a:lnTo>
                    <a:pt x="112075" y="56058"/>
                  </a:lnTo>
                  <a:lnTo>
                    <a:pt x="114339" y="56058"/>
                  </a:lnTo>
                  <a:lnTo>
                    <a:pt x="114339" y="51678"/>
                  </a:lnTo>
                  <a:lnTo>
                    <a:pt x="117735" y="47299"/>
                  </a:lnTo>
                  <a:lnTo>
                    <a:pt x="117735" y="45547"/>
                  </a:lnTo>
                  <a:lnTo>
                    <a:pt x="117735" y="43795"/>
                  </a:lnTo>
                  <a:lnTo>
                    <a:pt x="117735" y="43795"/>
                  </a:lnTo>
                  <a:lnTo>
                    <a:pt x="120000" y="45547"/>
                  </a:lnTo>
                  <a:lnTo>
                    <a:pt x="120000" y="45547"/>
                  </a:lnTo>
                  <a:lnTo>
                    <a:pt x="120000" y="45547"/>
                  </a:lnTo>
                  <a:lnTo>
                    <a:pt x="120000" y="45547"/>
                  </a:lnTo>
                  <a:lnTo>
                    <a:pt x="120000" y="39416"/>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499" name="Shape 499"/>
            <p:cNvSpPr/>
            <p:nvPr/>
          </p:nvSpPr>
          <p:spPr>
            <a:xfrm>
              <a:off x="5951" y="2983"/>
              <a:ext cx="0" cy="0"/>
            </a:xfrm>
            <a:custGeom>
              <a:avLst/>
              <a:gdLst/>
              <a:ahLst/>
              <a:cxnLst/>
              <a:rect l="0" t="0" r="0" b="0"/>
              <a:pathLst>
                <a:path w="120000" h="120000" extrusionOk="0">
                  <a:moveTo>
                    <a:pt x="0" y="96923"/>
                  </a:moveTo>
                  <a:lnTo>
                    <a:pt x="0" y="106153"/>
                  </a:lnTo>
                  <a:lnTo>
                    <a:pt x="0" y="106153"/>
                  </a:lnTo>
                  <a:lnTo>
                    <a:pt x="0" y="106153"/>
                  </a:lnTo>
                  <a:lnTo>
                    <a:pt x="3934" y="106153"/>
                  </a:lnTo>
                  <a:lnTo>
                    <a:pt x="9836" y="106153"/>
                  </a:lnTo>
                  <a:lnTo>
                    <a:pt x="9836" y="106153"/>
                  </a:lnTo>
                  <a:lnTo>
                    <a:pt x="9836" y="106153"/>
                  </a:lnTo>
                  <a:lnTo>
                    <a:pt x="13770" y="96923"/>
                  </a:lnTo>
                  <a:lnTo>
                    <a:pt x="13770" y="96923"/>
                  </a:lnTo>
                  <a:lnTo>
                    <a:pt x="13770" y="87692"/>
                  </a:lnTo>
                  <a:lnTo>
                    <a:pt x="3934" y="96923"/>
                  </a:lnTo>
                  <a:lnTo>
                    <a:pt x="0" y="96923"/>
                  </a:lnTo>
                  <a:close/>
                  <a:moveTo>
                    <a:pt x="120000" y="9230"/>
                  </a:moveTo>
                  <a:lnTo>
                    <a:pt x="116065" y="9230"/>
                  </a:lnTo>
                  <a:lnTo>
                    <a:pt x="110163" y="9230"/>
                  </a:lnTo>
                  <a:lnTo>
                    <a:pt x="110163" y="0"/>
                  </a:lnTo>
                  <a:lnTo>
                    <a:pt x="106229" y="9230"/>
                  </a:lnTo>
                  <a:lnTo>
                    <a:pt x="106229" y="9230"/>
                  </a:lnTo>
                  <a:lnTo>
                    <a:pt x="102295" y="9230"/>
                  </a:lnTo>
                  <a:lnTo>
                    <a:pt x="96393" y="18461"/>
                  </a:lnTo>
                  <a:lnTo>
                    <a:pt x="92459" y="18461"/>
                  </a:lnTo>
                  <a:lnTo>
                    <a:pt x="78688" y="18461"/>
                  </a:lnTo>
                  <a:lnTo>
                    <a:pt x="68852" y="18461"/>
                  </a:lnTo>
                  <a:lnTo>
                    <a:pt x="64918" y="18461"/>
                  </a:lnTo>
                  <a:lnTo>
                    <a:pt x="51147" y="32307"/>
                  </a:lnTo>
                  <a:lnTo>
                    <a:pt x="45245" y="32307"/>
                  </a:lnTo>
                  <a:lnTo>
                    <a:pt x="41311" y="32307"/>
                  </a:lnTo>
                  <a:lnTo>
                    <a:pt x="41311" y="41538"/>
                  </a:lnTo>
                  <a:lnTo>
                    <a:pt x="37377" y="50769"/>
                  </a:lnTo>
                  <a:lnTo>
                    <a:pt x="31475" y="64615"/>
                  </a:lnTo>
                  <a:lnTo>
                    <a:pt x="31475" y="73846"/>
                  </a:lnTo>
                  <a:lnTo>
                    <a:pt x="31475" y="73846"/>
                  </a:lnTo>
                  <a:lnTo>
                    <a:pt x="31475" y="73846"/>
                  </a:lnTo>
                  <a:lnTo>
                    <a:pt x="37377" y="64615"/>
                  </a:lnTo>
                  <a:lnTo>
                    <a:pt x="41311" y="73846"/>
                  </a:lnTo>
                  <a:lnTo>
                    <a:pt x="41311" y="73846"/>
                  </a:lnTo>
                  <a:lnTo>
                    <a:pt x="41311" y="73846"/>
                  </a:lnTo>
                  <a:lnTo>
                    <a:pt x="37377" y="87692"/>
                  </a:lnTo>
                  <a:lnTo>
                    <a:pt x="31475" y="87692"/>
                  </a:lnTo>
                  <a:lnTo>
                    <a:pt x="31475" y="87692"/>
                  </a:lnTo>
                  <a:lnTo>
                    <a:pt x="31475" y="96923"/>
                  </a:lnTo>
                  <a:lnTo>
                    <a:pt x="31475" y="96923"/>
                  </a:lnTo>
                  <a:lnTo>
                    <a:pt x="31475" y="96923"/>
                  </a:lnTo>
                  <a:lnTo>
                    <a:pt x="37377" y="106153"/>
                  </a:lnTo>
                  <a:lnTo>
                    <a:pt x="37377" y="120000"/>
                  </a:lnTo>
                  <a:lnTo>
                    <a:pt x="41311" y="106153"/>
                  </a:lnTo>
                  <a:lnTo>
                    <a:pt x="51147" y="96923"/>
                  </a:lnTo>
                  <a:lnTo>
                    <a:pt x="59016" y="87692"/>
                  </a:lnTo>
                  <a:lnTo>
                    <a:pt x="64918" y="87692"/>
                  </a:lnTo>
                  <a:lnTo>
                    <a:pt x="68852" y="87692"/>
                  </a:lnTo>
                  <a:lnTo>
                    <a:pt x="68852" y="73846"/>
                  </a:lnTo>
                  <a:lnTo>
                    <a:pt x="74754" y="73846"/>
                  </a:lnTo>
                  <a:lnTo>
                    <a:pt x="78688" y="64615"/>
                  </a:lnTo>
                  <a:lnTo>
                    <a:pt x="82622" y="64615"/>
                  </a:lnTo>
                  <a:lnTo>
                    <a:pt x="88524" y="64615"/>
                  </a:lnTo>
                  <a:lnTo>
                    <a:pt x="88524" y="64615"/>
                  </a:lnTo>
                  <a:lnTo>
                    <a:pt x="92459" y="50769"/>
                  </a:lnTo>
                  <a:lnTo>
                    <a:pt x="96393" y="41538"/>
                  </a:lnTo>
                  <a:lnTo>
                    <a:pt x="102295" y="41538"/>
                  </a:lnTo>
                  <a:lnTo>
                    <a:pt x="106229" y="41538"/>
                  </a:lnTo>
                  <a:lnTo>
                    <a:pt x="116065" y="32307"/>
                  </a:lnTo>
                  <a:lnTo>
                    <a:pt x="120000" y="9230"/>
                  </a:lnTo>
                  <a:lnTo>
                    <a:pt x="120000" y="923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00" name="Shape 500"/>
            <p:cNvSpPr/>
            <p:nvPr/>
          </p:nvSpPr>
          <p:spPr>
            <a:xfrm>
              <a:off x="2338" y="2387"/>
              <a:ext cx="0" cy="0"/>
            </a:xfrm>
            <a:custGeom>
              <a:avLst/>
              <a:gdLst/>
              <a:ahLst/>
              <a:cxnLst/>
              <a:rect l="0" t="0" r="0" b="0"/>
              <a:pathLst>
                <a:path w="120000" h="120000" extrusionOk="0">
                  <a:moveTo>
                    <a:pt x="116470" y="63673"/>
                  </a:moveTo>
                  <a:lnTo>
                    <a:pt x="116470" y="63673"/>
                  </a:lnTo>
                  <a:lnTo>
                    <a:pt x="107647" y="51428"/>
                  </a:lnTo>
                  <a:lnTo>
                    <a:pt x="104117" y="46530"/>
                  </a:lnTo>
                  <a:lnTo>
                    <a:pt x="98823" y="46530"/>
                  </a:lnTo>
                  <a:lnTo>
                    <a:pt x="95294" y="46530"/>
                  </a:lnTo>
                  <a:lnTo>
                    <a:pt x="91764" y="46530"/>
                  </a:lnTo>
                  <a:lnTo>
                    <a:pt x="86470" y="46530"/>
                  </a:lnTo>
                  <a:lnTo>
                    <a:pt x="82941" y="39183"/>
                  </a:lnTo>
                  <a:lnTo>
                    <a:pt x="79411" y="39183"/>
                  </a:lnTo>
                  <a:lnTo>
                    <a:pt x="79411" y="39183"/>
                  </a:lnTo>
                  <a:lnTo>
                    <a:pt x="79411" y="39183"/>
                  </a:lnTo>
                  <a:lnTo>
                    <a:pt x="82941" y="34285"/>
                  </a:lnTo>
                  <a:lnTo>
                    <a:pt x="86470" y="39183"/>
                  </a:lnTo>
                  <a:lnTo>
                    <a:pt x="91764" y="34285"/>
                  </a:lnTo>
                  <a:lnTo>
                    <a:pt x="91764" y="34285"/>
                  </a:lnTo>
                  <a:lnTo>
                    <a:pt x="91764" y="29387"/>
                  </a:lnTo>
                  <a:lnTo>
                    <a:pt x="74117" y="34285"/>
                  </a:lnTo>
                  <a:lnTo>
                    <a:pt x="74117" y="29387"/>
                  </a:lnTo>
                  <a:lnTo>
                    <a:pt x="70588" y="22040"/>
                  </a:lnTo>
                  <a:lnTo>
                    <a:pt x="70588" y="17142"/>
                  </a:lnTo>
                  <a:lnTo>
                    <a:pt x="70588" y="12244"/>
                  </a:lnTo>
                  <a:lnTo>
                    <a:pt x="70588" y="12244"/>
                  </a:lnTo>
                  <a:lnTo>
                    <a:pt x="67058" y="17142"/>
                  </a:lnTo>
                  <a:lnTo>
                    <a:pt x="61764" y="17142"/>
                  </a:lnTo>
                  <a:lnTo>
                    <a:pt x="58235" y="12244"/>
                  </a:lnTo>
                  <a:lnTo>
                    <a:pt x="52941" y="12244"/>
                  </a:lnTo>
                  <a:lnTo>
                    <a:pt x="52941" y="4897"/>
                  </a:lnTo>
                  <a:lnTo>
                    <a:pt x="49411" y="4897"/>
                  </a:lnTo>
                  <a:lnTo>
                    <a:pt x="49411" y="4897"/>
                  </a:lnTo>
                  <a:lnTo>
                    <a:pt x="45882" y="4897"/>
                  </a:lnTo>
                  <a:lnTo>
                    <a:pt x="45882" y="0"/>
                  </a:lnTo>
                  <a:lnTo>
                    <a:pt x="40588" y="0"/>
                  </a:lnTo>
                  <a:lnTo>
                    <a:pt x="37058" y="0"/>
                  </a:lnTo>
                  <a:lnTo>
                    <a:pt x="28235" y="4897"/>
                  </a:lnTo>
                  <a:lnTo>
                    <a:pt x="28235" y="4897"/>
                  </a:lnTo>
                  <a:lnTo>
                    <a:pt x="24705" y="0"/>
                  </a:lnTo>
                  <a:lnTo>
                    <a:pt x="21176" y="0"/>
                  </a:lnTo>
                  <a:lnTo>
                    <a:pt x="15882" y="4897"/>
                  </a:lnTo>
                  <a:lnTo>
                    <a:pt x="15882" y="4897"/>
                  </a:lnTo>
                  <a:lnTo>
                    <a:pt x="15882" y="4897"/>
                  </a:lnTo>
                  <a:lnTo>
                    <a:pt x="12352" y="12244"/>
                  </a:lnTo>
                  <a:lnTo>
                    <a:pt x="12352" y="12244"/>
                  </a:lnTo>
                  <a:lnTo>
                    <a:pt x="12352" y="12244"/>
                  </a:lnTo>
                  <a:lnTo>
                    <a:pt x="12352" y="22040"/>
                  </a:lnTo>
                  <a:lnTo>
                    <a:pt x="12352" y="29387"/>
                  </a:lnTo>
                  <a:lnTo>
                    <a:pt x="12352" y="29387"/>
                  </a:lnTo>
                  <a:lnTo>
                    <a:pt x="12352" y="34285"/>
                  </a:lnTo>
                  <a:lnTo>
                    <a:pt x="12352" y="39183"/>
                  </a:lnTo>
                  <a:lnTo>
                    <a:pt x="12352" y="39183"/>
                  </a:lnTo>
                  <a:lnTo>
                    <a:pt x="12352" y="39183"/>
                  </a:lnTo>
                  <a:lnTo>
                    <a:pt x="12352" y="46530"/>
                  </a:lnTo>
                  <a:lnTo>
                    <a:pt x="8823" y="51428"/>
                  </a:lnTo>
                  <a:lnTo>
                    <a:pt x="8823" y="51428"/>
                  </a:lnTo>
                  <a:lnTo>
                    <a:pt x="8823" y="56326"/>
                  </a:lnTo>
                  <a:lnTo>
                    <a:pt x="8823" y="56326"/>
                  </a:lnTo>
                  <a:lnTo>
                    <a:pt x="8823" y="63673"/>
                  </a:lnTo>
                  <a:lnTo>
                    <a:pt x="3529" y="68571"/>
                  </a:lnTo>
                  <a:lnTo>
                    <a:pt x="3529" y="68571"/>
                  </a:lnTo>
                  <a:lnTo>
                    <a:pt x="0" y="68571"/>
                  </a:lnTo>
                  <a:lnTo>
                    <a:pt x="0" y="68571"/>
                  </a:lnTo>
                  <a:lnTo>
                    <a:pt x="0" y="75918"/>
                  </a:lnTo>
                  <a:lnTo>
                    <a:pt x="3529" y="80816"/>
                  </a:lnTo>
                  <a:lnTo>
                    <a:pt x="8823" y="80816"/>
                  </a:lnTo>
                  <a:lnTo>
                    <a:pt x="8823" y="85714"/>
                  </a:lnTo>
                  <a:lnTo>
                    <a:pt x="3529" y="85714"/>
                  </a:lnTo>
                  <a:lnTo>
                    <a:pt x="3529" y="97959"/>
                  </a:lnTo>
                  <a:lnTo>
                    <a:pt x="8823" y="97959"/>
                  </a:lnTo>
                  <a:lnTo>
                    <a:pt x="8823" y="102857"/>
                  </a:lnTo>
                  <a:lnTo>
                    <a:pt x="8823" y="102857"/>
                  </a:lnTo>
                  <a:lnTo>
                    <a:pt x="8823" y="110204"/>
                  </a:lnTo>
                  <a:lnTo>
                    <a:pt x="8823" y="110204"/>
                  </a:lnTo>
                  <a:lnTo>
                    <a:pt x="12352" y="110204"/>
                  </a:lnTo>
                  <a:lnTo>
                    <a:pt x="12352" y="115102"/>
                  </a:lnTo>
                  <a:lnTo>
                    <a:pt x="12352" y="119999"/>
                  </a:lnTo>
                  <a:lnTo>
                    <a:pt x="15882" y="115102"/>
                  </a:lnTo>
                  <a:lnTo>
                    <a:pt x="15882" y="115102"/>
                  </a:lnTo>
                  <a:lnTo>
                    <a:pt x="21176" y="110204"/>
                  </a:lnTo>
                  <a:lnTo>
                    <a:pt x="24705" y="97959"/>
                  </a:lnTo>
                  <a:lnTo>
                    <a:pt x="28235" y="93061"/>
                  </a:lnTo>
                  <a:lnTo>
                    <a:pt x="28235" y="85714"/>
                  </a:lnTo>
                  <a:lnTo>
                    <a:pt x="28235" y="85714"/>
                  </a:lnTo>
                  <a:lnTo>
                    <a:pt x="28235" y="85714"/>
                  </a:lnTo>
                  <a:lnTo>
                    <a:pt x="33529" y="85714"/>
                  </a:lnTo>
                  <a:lnTo>
                    <a:pt x="37058" y="80816"/>
                  </a:lnTo>
                  <a:lnTo>
                    <a:pt x="40588" y="80816"/>
                  </a:lnTo>
                  <a:lnTo>
                    <a:pt x="45882" y="85714"/>
                  </a:lnTo>
                  <a:lnTo>
                    <a:pt x="45882" y="85714"/>
                  </a:lnTo>
                  <a:lnTo>
                    <a:pt x="58235" y="85714"/>
                  </a:lnTo>
                  <a:lnTo>
                    <a:pt x="58235" y="85714"/>
                  </a:lnTo>
                  <a:lnTo>
                    <a:pt x="61764" y="80816"/>
                  </a:lnTo>
                  <a:lnTo>
                    <a:pt x="61764" y="80816"/>
                  </a:lnTo>
                  <a:lnTo>
                    <a:pt x="67058" y="80816"/>
                  </a:lnTo>
                  <a:lnTo>
                    <a:pt x="70588" y="75918"/>
                  </a:lnTo>
                  <a:lnTo>
                    <a:pt x="74117" y="75918"/>
                  </a:lnTo>
                  <a:lnTo>
                    <a:pt x="79411" y="80816"/>
                  </a:lnTo>
                  <a:lnTo>
                    <a:pt x="82941" y="80816"/>
                  </a:lnTo>
                  <a:lnTo>
                    <a:pt x="86470" y="75918"/>
                  </a:lnTo>
                  <a:lnTo>
                    <a:pt x="95294" y="80816"/>
                  </a:lnTo>
                  <a:lnTo>
                    <a:pt x="98823" y="80816"/>
                  </a:lnTo>
                  <a:lnTo>
                    <a:pt x="104117" y="80816"/>
                  </a:lnTo>
                  <a:lnTo>
                    <a:pt x="104117" y="85714"/>
                  </a:lnTo>
                  <a:lnTo>
                    <a:pt x="104117" y="85714"/>
                  </a:lnTo>
                  <a:lnTo>
                    <a:pt x="104117" y="85714"/>
                  </a:lnTo>
                  <a:lnTo>
                    <a:pt x="107647" y="85714"/>
                  </a:lnTo>
                  <a:lnTo>
                    <a:pt x="107647" y="85714"/>
                  </a:lnTo>
                  <a:lnTo>
                    <a:pt x="111176" y="80816"/>
                  </a:lnTo>
                  <a:lnTo>
                    <a:pt x="111176" y="80816"/>
                  </a:lnTo>
                  <a:lnTo>
                    <a:pt x="111176" y="80816"/>
                  </a:lnTo>
                  <a:lnTo>
                    <a:pt x="116470" y="75918"/>
                  </a:lnTo>
                  <a:lnTo>
                    <a:pt x="120000" y="68571"/>
                  </a:lnTo>
                  <a:lnTo>
                    <a:pt x="116470" y="63673"/>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01" name="Shape 501"/>
            <p:cNvSpPr/>
            <p:nvPr/>
          </p:nvSpPr>
          <p:spPr>
            <a:xfrm>
              <a:off x="2524" y="2477"/>
              <a:ext cx="0" cy="0"/>
            </a:xfrm>
            <a:custGeom>
              <a:avLst/>
              <a:gdLst/>
              <a:ahLst/>
              <a:cxnLst/>
              <a:rect l="0" t="0" r="0" b="0"/>
              <a:pathLst>
                <a:path w="120000" h="120000" extrusionOk="0">
                  <a:moveTo>
                    <a:pt x="120000" y="26666"/>
                  </a:moveTo>
                  <a:lnTo>
                    <a:pt x="48000" y="26666"/>
                  </a:lnTo>
                  <a:lnTo>
                    <a:pt x="0" y="0"/>
                  </a:lnTo>
                  <a:lnTo>
                    <a:pt x="0" y="26666"/>
                  </a:lnTo>
                  <a:lnTo>
                    <a:pt x="0" y="26666"/>
                  </a:lnTo>
                  <a:lnTo>
                    <a:pt x="0" y="93333"/>
                  </a:lnTo>
                  <a:lnTo>
                    <a:pt x="48000" y="120000"/>
                  </a:lnTo>
                  <a:lnTo>
                    <a:pt x="48000" y="120000"/>
                  </a:lnTo>
                  <a:lnTo>
                    <a:pt x="120000" y="93333"/>
                  </a:lnTo>
                  <a:lnTo>
                    <a:pt x="120000" y="26666"/>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02" name="Shape 502"/>
            <p:cNvSpPr/>
            <p:nvPr/>
          </p:nvSpPr>
          <p:spPr>
            <a:xfrm>
              <a:off x="4426" y="2540"/>
              <a:ext cx="0" cy="0"/>
            </a:xfrm>
            <a:custGeom>
              <a:avLst/>
              <a:gdLst/>
              <a:ahLst/>
              <a:cxnLst/>
              <a:rect l="0" t="0" r="0" b="0"/>
              <a:pathLst>
                <a:path w="120000" h="120000" extrusionOk="0">
                  <a:moveTo>
                    <a:pt x="108387" y="26666"/>
                  </a:moveTo>
                  <a:lnTo>
                    <a:pt x="108387" y="16666"/>
                  </a:lnTo>
                  <a:lnTo>
                    <a:pt x="92903" y="0"/>
                  </a:lnTo>
                  <a:lnTo>
                    <a:pt x="92903" y="0"/>
                  </a:lnTo>
                  <a:lnTo>
                    <a:pt x="81290" y="0"/>
                  </a:lnTo>
                  <a:lnTo>
                    <a:pt x="73548" y="0"/>
                  </a:lnTo>
                  <a:lnTo>
                    <a:pt x="73548" y="0"/>
                  </a:lnTo>
                  <a:lnTo>
                    <a:pt x="73548" y="10000"/>
                  </a:lnTo>
                  <a:lnTo>
                    <a:pt x="73548" y="16666"/>
                  </a:lnTo>
                  <a:lnTo>
                    <a:pt x="61935" y="16666"/>
                  </a:lnTo>
                  <a:lnTo>
                    <a:pt x="61935" y="26666"/>
                  </a:lnTo>
                  <a:lnTo>
                    <a:pt x="46451" y="10000"/>
                  </a:lnTo>
                  <a:lnTo>
                    <a:pt x="46451" y="10000"/>
                  </a:lnTo>
                  <a:lnTo>
                    <a:pt x="46451" y="10000"/>
                  </a:lnTo>
                  <a:lnTo>
                    <a:pt x="46451" y="16666"/>
                  </a:lnTo>
                  <a:lnTo>
                    <a:pt x="34838" y="26666"/>
                  </a:lnTo>
                  <a:lnTo>
                    <a:pt x="27096" y="40000"/>
                  </a:lnTo>
                  <a:lnTo>
                    <a:pt x="19354" y="56666"/>
                  </a:lnTo>
                  <a:lnTo>
                    <a:pt x="7741" y="56666"/>
                  </a:lnTo>
                  <a:lnTo>
                    <a:pt x="0" y="63333"/>
                  </a:lnTo>
                  <a:lnTo>
                    <a:pt x="0" y="73333"/>
                  </a:lnTo>
                  <a:lnTo>
                    <a:pt x="0" y="80000"/>
                  </a:lnTo>
                  <a:lnTo>
                    <a:pt x="0" y="86666"/>
                  </a:lnTo>
                  <a:lnTo>
                    <a:pt x="0" y="103333"/>
                  </a:lnTo>
                  <a:lnTo>
                    <a:pt x="0" y="120000"/>
                  </a:lnTo>
                  <a:lnTo>
                    <a:pt x="7741" y="120000"/>
                  </a:lnTo>
                  <a:lnTo>
                    <a:pt x="19354" y="120000"/>
                  </a:lnTo>
                  <a:lnTo>
                    <a:pt x="19354" y="120000"/>
                  </a:lnTo>
                  <a:lnTo>
                    <a:pt x="27096" y="120000"/>
                  </a:lnTo>
                  <a:lnTo>
                    <a:pt x="34838" y="120000"/>
                  </a:lnTo>
                  <a:lnTo>
                    <a:pt x="54193" y="113333"/>
                  </a:lnTo>
                  <a:lnTo>
                    <a:pt x="54193" y="113333"/>
                  </a:lnTo>
                  <a:lnTo>
                    <a:pt x="61935" y="113333"/>
                  </a:lnTo>
                  <a:lnTo>
                    <a:pt x="73548" y="113333"/>
                  </a:lnTo>
                  <a:lnTo>
                    <a:pt x="73548" y="120000"/>
                  </a:lnTo>
                  <a:lnTo>
                    <a:pt x="81290" y="120000"/>
                  </a:lnTo>
                  <a:lnTo>
                    <a:pt x="81290" y="120000"/>
                  </a:lnTo>
                  <a:lnTo>
                    <a:pt x="92903" y="103333"/>
                  </a:lnTo>
                  <a:lnTo>
                    <a:pt x="100645" y="96666"/>
                  </a:lnTo>
                  <a:lnTo>
                    <a:pt x="108387" y="80000"/>
                  </a:lnTo>
                  <a:lnTo>
                    <a:pt x="100645" y="80000"/>
                  </a:lnTo>
                  <a:lnTo>
                    <a:pt x="92903" y="80000"/>
                  </a:lnTo>
                  <a:lnTo>
                    <a:pt x="81290" y="80000"/>
                  </a:lnTo>
                  <a:lnTo>
                    <a:pt x="73548" y="80000"/>
                  </a:lnTo>
                  <a:lnTo>
                    <a:pt x="61935" y="80000"/>
                  </a:lnTo>
                  <a:lnTo>
                    <a:pt x="54193" y="80000"/>
                  </a:lnTo>
                  <a:lnTo>
                    <a:pt x="54193" y="80000"/>
                  </a:lnTo>
                  <a:lnTo>
                    <a:pt x="54193" y="80000"/>
                  </a:lnTo>
                  <a:lnTo>
                    <a:pt x="61935" y="80000"/>
                  </a:lnTo>
                  <a:lnTo>
                    <a:pt x="73548" y="63333"/>
                  </a:lnTo>
                  <a:lnTo>
                    <a:pt x="92903" y="56666"/>
                  </a:lnTo>
                  <a:lnTo>
                    <a:pt x="108387" y="50000"/>
                  </a:lnTo>
                  <a:lnTo>
                    <a:pt x="108387" y="50000"/>
                  </a:lnTo>
                  <a:lnTo>
                    <a:pt x="108387" y="40000"/>
                  </a:lnTo>
                  <a:lnTo>
                    <a:pt x="120000" y="33333"/>
                  </a:lnTo>
                  <a:lnTo>
                    <a:pt x="108387" y="26666"/>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03" name="Shape 503"/>
            <p:cNvSpPr/>
            <p:nvPr/>
          </p:nvSpPr>
          <p:spPr>
            <a:xfrm>
              <a:off x="3813" y="1602"/>
              <a:ext cx="0" cy="0"/>
            </a:xfrm>
            <a:custGeom>
              <a:avLst/>
              <a:gdLst/>
              <a:ahLst/>
              <a:cxnLst/>
              <a:rect l="0" t="0" r="0" b="0"/>
              <a:pathLst>
                <a:path w="120000" h="120000" extrusionOk="0">
                  <a:moveTo>
                    <a:pt x="62752" y="112131"/>
                  </a:moveTo>
                  <a:lnTo>
                    <a:pt x="59449" y="112131"/>
                  </a:lnTo>
                  <a:lnTo>
                    <a:pt x="57247" y="112131"/>
                  </a:lnTo>
                  <a:lnTo>
                    <a:pt x="55045" y="112131"/>
                  </a:lnTo>
                  <a:lnTo>
                    <a:pt x="51743" y="106229"/>
                  </a:lnTo>
                  <a:lnTo>
                    <a:pt x="49541" y="106229"/>
                  </a:lnTo>
                  <a:lnTo>
                    <a:pt x="49541" y="112131"/>
                  </a:lnTo>
                  <a:lnTo>
                    <a:pt x="49541" y="116065"/>
                  </a:lnTo>
                  <a:lnTo>
                    <a:pt x="57247" y="120000"/>
                  </a:lnTo>
                  <a:lnTo>
                    <a:pt x="59449" y="116065"/>
                  </a:lnTo>
                  <a:lnTo>
                    <a:pt x="59449" y="120000"/>
                  </a:lnTo>
                  <a:lnTo>
                    <a:pt x="62752" y="116065"/>
                  </a:lnTo>
                  <a:lnTo>
                    <a:pt x="62752" y="116065"/>
                  </a:lnTo>
                  <a:lnTo>
                    <a:pt x="62752" y="112131"/>
                  </a:lnTo>
                  <a:close/>
                  <a:moveTo>
                    <a:pt x="36330" y="106229"/>
                  </a:moveTo>
                  <a:lnTo>
                    <a:pt x="36330" y="106229"/>
                  </a:lnTo>
                  <a:lnTo>
                    <a:pt x="34128" y="106229"/>
                  </a:lnTo>
                  <a:lnTo>
                    <a:pt x="36330" y="106229"/>
                  </a:lnTo>
                  <a:lnTo>
                    <a:pt x="36330" y="112131"/>
                  </a:lnTo>
                  <a:lnTo>
                    <a:pt x="39633" y="112131"/>
                  </a:lnTo>
                  <a:lnTo>
                    <a:pt x="39633" y="112131"/>
                  </a:lnTo>
                  <a:lnTo>
                    <a:pt x="39633" y="112131"/>
                  </a:lnTo>
                  <a:lnTo>
                    <a:pt x="39633" y="112131"/>
                  </a:lnTo>
                  <a:lnTo>
                    <a:pt x="36330" y="106229"/>
                  </a:lnTo>
                  <a:close/>
                  <a:moveTo>
                    <a:pt x="72660" y="102295"/>
                  </a:moveTo>
                  <a:lnTo>
                    <a:pt x="72660" y="102295"/>
                  </a:lnTo>
                  <a:lnTo>
                    <a:pt x="70458" y="102295"/>
                  </a:lnTo>
                  <a:lnTo>
                    <a:pt x="70458" y="102295"/>
                  </a:lnTo>
                  <a:lnTo>
                    <a:pt x="70458" y="102295"/>
                  </a:lnTo>
                  <a:lnTo>
                    <a:pt x="70458" y="106229"/>
                  </a:lnTo>
                  <a:lnTo>
                    <a:pt x="67155" y="106229"/>
                  </a:lnTo>
                  <a:lnTo>
                    <a:pt x="67155" y="106229"/>
                  </a:lnTo>
                  <a:lnTo>
                    <a:pt x="67155" y="106229"/>
                  </a:lnTo>
                  <a:lnTo>
                    <a:pt x="70458" y="112131"/>
                  </a:lnTo>
                  <a:lnTo>
                    <a:pt x="72660" y="106229"/>
                  </a:lnTo>
                  <a:lnTo>
                    <a:pt x="75963" y="106229"/>
                  </a:lnTo>
                  <a:lnTo>
                    <a:pt x="75963" y="106229"/>
                  </a:lnTo>
                  <a:lnTo>
                    <a:pt x="75963" y="106229"/>
                  </a:lnTo>
                  <a:lnTo>
                    <a:pt x="72660" y="102295"/>
                  </a:lnTo>
                  <a:close/>
                  <a:moveTo>
                    <a:pt x="30825" y="106229"/>
                  </a:moveTo>
                  <a:lnTo>
                    <a:pt x="28623" y="102295"/>
                  </a:lnTo>
                  <a:lnTo>
                    <a:pt x="28623" y="102295"/>
                  </a:lnTo>
                  <a:lnTo>
                    <a:pt x="28623" y="102295"/>
                  </a:lnTo>
                  <a:lnTo>
                    <a:pt x="28623" y="106229"/>
                  </a:lnTo>
                  <a:lnTo>
                    <a:pt x="28623" y="112131"/>
                  </a:lnTo>
                  <a:lnTo>
                    <a:pt x="30825" y="112131"/>
                  </a:lnTo>
                  <a:lnTo>
                    <a:pt x="34128" y="112131"/>
                  </a:lnTo>
                  <a:lnTo>
                    <a:pt x="34128" y="106229"/>
                  </a:lnTo>
                  <a:lnTo>
                    <a:pt x="30825" y="106229"/>
                  </a:lnTo>
                  <a:close/>
                  <a:moveTo>
                    <a:pt x="47339" y="102295"/>
                  </a:moveTo>
                  <a:lnTo>
                    <a:pt x="44036" y="106229"/>
                  </a:lnTo>
                  <a:lnTo>
                    <a:pt x="44036" y="106229"/>
                  </a:lnTo>
                  <a:lnTo>
                    <a:pt x="41834" y="112131"/>
                  </a:lnTo>
                  <a:lnTo>
                    <a:pt x="41834" y="112131"/>
                  </a:lnTo>
                  <a:lnTo>
                    <a:pt x="44036" y="116065"/>
                  </a:lnTo>
                  <a:lnTo>
                    <a:pt x="44036" y="116065"/>
                  </a:lnTo>
                  <a:lnTo>
                    <a:pt x="44036" y="112131"/>
                  </a:lnTo>
                  <a:lnTo>
                    <a:pt x="47339" y="102295"/>
                  </a:lnTo>
                  <a:lnTo>
                    <a:pt x="47339" y="96393"/>
                  </a:lnTo>
                  <a:lnTo>
                    <a:pt x="47339" y="96393"/>
                  </a:lnTo>
                  <a:lnTo>
                    <a:pt x="47339" y="102295"/>
                  </a:lnTo>
                  <a:close/>
                  <a:moveTo>
                    <a:pt x="120000" y="96393"/>
                  </a:moveTo>
                  <a:lnTo>
                    <a:pt x="112293" y="92459"/>
                  </a:lnTo>
                  <a:lnTo>
                    <a:pt x="112293" y="96393"/>
                  </a:lnTo>
                  <a:lnTo>
                    <a:pt x="112293" y="102295"/>
                  </a:lnTo>
                  <a:lnTo>
                    <a:pt x="114495" y="102295"/>
                  </a:lnTo>
                  <a:lnTo>
                    <a:pt x="116697" y="106229"/>
                  </a:lnTo>
                  <a:lnTo>
                    <a:pt x="120000" y="102295"/>
                  </a:lnTo>
                  <a:lnTo>
                    <a:pt x="120000" y="102295"/>
                  </a:lnTo>
                  <a:lnTo>
                    <a:pt x="120000" y="96393"/>
                  </a:lnTo>
                  <a:close/>
                  <a:moveTo>
                    <a:pt x="44036" y="88524"/>
                  </a:moveTo>
                  <a:lnTo>
                    <a:pt x="44036" y="82622"/>
                  </a:lnTo>
                  <a:lnTo>
                    <a:pt x="41834" y="82622"/>
                  </a:lnTo>
                  <a:lnTo>
                    <a:pt x="41834" y="78688"/>
                  </a:lnTo>
                  <a:lnTo>
                    <a:pt x="39633" y="82622"/>
                  </a:lnTo>
                  <a:lnTo>
                    <a:pt x="39633" y="82622"/>
                  </a:lnTo>
                  <a:lnTo>
                    <a:pt x="36330" y="82622"/>
                  </a:lnTo>
                  <a:lnTo>
                    <a:pt x="36330" y="82622"/>
                  </a:lnTo>
                  <a:lnTo>
                    <a:pt x="30825" y="82622"/>
                  </a:lnTo>
                  <a:lnTo>
                    <a:pt x="28623" y="82622"/>
                  </a:lnTo>
                  <a:lnTo>
                    <a:pt x="28623" y="92459"/>
                  </a:lnTo>
                  <a:lnTo>
                    <a:pt x="30825" y="96393"/>
                  </a:lnTo>
                  <a:lnTo>
                    <a:pt x="30825" y="96393"/>
                  </a:lnTo>
                  <a:lnTo>
                    <a:pt x="30825" y="96393"/>
                  </a:lnTo>
                  <a:lnTo>
                    <a:pt x="36330" y="102295"/>
                  </a:lnTo>
                  <a:lnTo>
                    <a:pt x="39633" y="102295"/>
                  </a:lnTo>
                  <a:lnTo>
                    <a:pt x="41834" y="102295"/>
                  </a:lnTo>
                  <a:lnTo>
                    <a:pt x="44036" y="102295"/>
                  </a:lnTo>
                  <a:lnTo>
                    <a:pt x="44036" y="96393"/>
                  </a:lnTo>
                  <a:lnTo>
                    <a:pt x="44036" y="92459"/>
                  </a:lnTo>
                  <a:lnTo>
                    <a:pt x="47339" y="92459"/>
                  </a:lnTo>
                  <a:lnTo>
                    <a:pt x="44036" y="88524"/>
                  </a:lnTo>
                  <a:close/>
                  <a:moveTo>
                    <a:pt x="75963" y="78688"/>
                  </a:moveTo>
                  <a:lnTo>
                    <a:pt x="75963" y="78688"/>
                  </a:lnTo>
                  <a:lnTo>
                    <a:pt x="75963" y="78688"/>
                  </a:lnTo>
                  <a:lnTo>
                    <a:pt x="75963" y="78688"/>
                  </a:lnTo>
                  <a:lnTo>
                    <a:pt x="75963" y="82622"/>
                  </a:lnTo>
                  <a:lnTo>
                    <a:pt x="75963" y="82622"/>
                  </a:lnTo>
                  <a:lnTo>
                    <a:pt x="78165" y="82622"/>
                  </a:lnTo>
                  <a:lnTo>
                    <a:pt x="78165" y="78688"/>
                  </a:lnTo>
                  <a:lnTo>
                    <a:pt x="75963" y="78688"/>
                  </a:lnTo>
                  <a:close/>
                  <a:moveTo>
                    <a:pt x="41834" y="74754"/>
                  </a:moveTo>
                  <a:lnTo>
                    <a:pt x="41834" y="74754"/>
                  </a:lnTo>
                  <a:lnTo>
                    <a:pt x="41834" y="74754"/>
                  </a:lnTo>
                  <a:lnTo>
                    <a:pt x="41834" y="74754"/>
                  </a:lnTo>
                  <a:lnTo>
                    <a:pt x="44036" y="68852"/>
                  </a:lnTo>
                  <a:lnTo>
                    <a:pt x="41834" y="68852"/>
                  </a:lnTo>
                  <a:lnTo>
                    <a:pt x="41834" y="64918"/>
                  </a:lnTo>
                  <a:lnTo>
                    <a:pt x="41834" y="68852"/>
                  </a:lnTo>
                  <a:lnTo>
                    <a:pt x="41834" y="68852"/>
                  </a:lnTo>
                  <a:lnTo>
                    <a:pt x="41834" y="74754"/>
                  </a:lnTo>
                  <a:lnTo>
                    <a:pt x="41834" y="74754"/>
                  </a:lnTo>
                  <a:close/>
                  <a:moveTo>
                    <a:pt x="70458" y="96393"/>
                  </a:moveTo>
                  <a:lnTo>
                    <a:pt x="72660" y="92459"/>
                  </a:lnTo>
                  <a:lnTo>
                    <a:pt x="72660" y="88524"/>
                  </a:lnTo>
                  <a:lnTo>
                    <a:pt x="70458" y="88524"/>
                  </a:lnTo>
                  <a:lnTo>
                    <a:pt x="70458" y="88524"/>
                  </a:lnTo>
                  <a:lnTo>
                    <a:pt x="70458" y="82622"/>
                  </a:lnTo>
                  <a:lnTo>
                    <a:pt x="70458" y="82622"/>
                  </a:lnTo>
                  <a:lnTo>
                    <a:pt x="72660" y="78688"/>
                  </a:lnTo>
                  <a:lnTo>
                    <a:pt x="75963" y="78688"/>
                  </a:lnTo>
                  <a:lnTo>
                    <a:pt x="75963" y="78688"/>
                  </a:lnTo>
                  <a:lnTo>
                    <a:pt x="75963" y="78688"/>
                  </a:lnTo>
                  <a:lnTo>
                    <a:pt x="75963" y="74754"/>
                  </a:lnTo>
                  <a:lnTo>
                    <a:pt x="75963" y="68852"/>
                  </a:lnTo>
                  <a:lnTo>
                    <a:pt x="75963" y="68852"/>
                  </a:lnTo>
                  <a:lnTo>
                    <a:pt x="75963" y="64918"/>
                  </a:lnTo>
                  <a:lnTo>
                    <a:pt x="75963" y="64918"/>
                  </a:lnTo>
                  <a:lnTo>
                    <a:pt x="75963" y="64918"/>
                  </a:lnTo>
                  <a:lnTo>
                    <a:pt x="72660" y="60983"/>
                  </a:lnTo>
                  <a:lnTo>
                    <a:pt x="70458" y="60983"/>
                  </a:lnTo>
                  <a:lnTo>
                    <a:pt x="70458" y="60983"/>
                  </a:lnTo>
                  <a:lnTo>
                    <a:pt x="67155" y="64918"/>
                  </a:lnTo>
                  <a:lnTo>
                    <a:pt x="62752" y="68852"/>
                  </a:lnTo>
                  <a:lnTo>
                    <a:pt x="64954" y="68852"/>
                  </a:lnTo>
                  <a:lnTo>
                    <a:pt x="64954" y="68852"/>
                  </a:lnTo>
                  <a:lnTo>
                    <a:pt x="64954" y="74754"/>
                  </a:lnTo>
                  <a:lnTo>
                    <a:pt x="64954" y="74754"/>
                  </a:lnTo>
                  <a:lnTo>
                    <a:pt x="62752" y="74754"/>
                  </a:lnTo>
                  <a:lnTo>
                    <a:pt x="62752" y="78688"/>
                  </a:lnTo>
                  <a:lnTo>
                    <a:pt x="62752" y="78688"/>
                  </a:lnTo>
                  <a:lnTo>
                    <a:pt x="59449" y="78688"/>
                  </a:lnTo>
                  <a:lnTo>
                    <a:pt x="59449" y="74754"/>
                  </a:lnTo>
                  <a:lnTo>
                    <a:pt x="59449" y="68852"/>
                  </a:lnTo>
                  <a:lnTo>
                    <a:pt x="59449" y="68852"/>
                  </a:lnTo>
                  <a:lnTo>
                    <a:pt x="57247" y="68852"/>
                  </a:lnTo>
                  <a:lnTo>
                    <a:pt x="57247" y="68852"/>
                  </a:lnTo>
                  <a:lnTo>
                    <a:pt x="57247" y="68852"/>
                  </a:lnTo>
                  <a:lnTo>
                    <a:pt x="55045" y="74754"/>
                  </a:lnTo>
                  <a:lnTo>
                    <a:pt x="55045" y="74754"/>
                  </a:lnTo>
                  <a:lnTo>
                    <a:pt x="51743" y="74754"/>
                  </a:lnTo>
                  <a:lnTo>
                    <a:pt x="49541" y="74754"/>
                  </a:lnTo>
                  <a:lnTo>
                    <a:pt x="49541" y="78688"/>
                  </a:lnTo>
                  <a:lnTo>
                    <a:pt x="49541" y="78688"/>
                  </a:lnTo>
                  <a:lnTo>
                    <a:pt x="49541" y="78688"/>
                  </a:lnTo>
                  <a:lnTo>
                    <a:pt x="51743" y="82622"/>
                  </a:lnTo>
                  <a:lnTo>
                    <a:pt x="51743" y="82622"/>
                  </a:lnTo>
                  <a:lnTo>
                    <a:pt x="51743" y="82622"/>
                  </a:lnTo>
                  <a:lnTo>
                    <a:pt x="51743" y="88524"/>
                  </a:lnTo>
                  <a:lnTo>
                    <a:pt x="51743" y="92459"/>
                  </a:lnTo>
                  <a:lnTo>
                    <a:pt x="55045" y="96393"/>
                  </a:lnTo>
                  <a:lnTo>
                    <a:pt x="55045" y="96393"/>
                  </a:lnTo>
                  <a:lnTo>
                    <a:pt x="55045" y="96393"/>
                  </a:lnTo>
                  <a:lnTo>
                    <a:pt x="57247" y="96393"/>
                  </a:lnTo>
                  <a:lnTo>
                    <a:pt x="59449" y="96393"/>
                  </a:lnTo>
                  <a:lnTo>
                    <a:pt x="59449" y="102295"/>
                  </a:lnTo>
                  <a:lnTo>
                    <a:pt x="59449" y="102295"/>
                  </a:lnTo>
                  <a:lnTo>
                    <a:pt x="62752" y="106229"/>
                  </a:lnTo>
                  <a:lnTo>
                    <a:pt x="62752" y="106229"/>
                  </a:lnTo>
                  <a:lnTo>
                    <a:pt x="62752" y="116065"/>
                  </a:lnTo>
                  <a:lnTo>
                    <a:pt x="67155" y="112131"/>
                  </a:lnTo>
                  <a:lnTo>
                    <a:pt x="67155" y="106229"/>
                  </a:lnTo>
                  <a:lnTo>
                    <a:pt x="67155" y="106229"/>
                  </a:lnTo>
                  <a:lnTo>
                    <a:pt x="67155" y="102295"/>
                  </a:lnTo>
                  <a:lnTo>
                    <a:pt x="67155" y="96393"/>
                  </a:lnTo>
                  <a:lnTo>
                    <a:pt x="70458" y="96393"/>
                  </a:lnTo>
                  <a:close/>
                  <a:moveTo>
                    <a:pt x="26422" y="106229"/>
                  </a:moveTo>
                  <a:lnTo>
                    <a:pt x="26422" y="106229"/>
                  </a:lnTo>
                  <a:lnTo>
                    <a:pt x="26422" y="102295"/>
                  </a:lnTo>
                  <a:lnTo>
                    <a:pt x="23119" y="102295"/>
                  </a:lnTo>
                  <a:lnTo>
                    <a:pt x="23119" y="102295"/>
                  </a:lnTo>
                  <a:lnTo>
                    <a:pt x="23119" y="102295"/>
                  </a:lnTo>
                  <a:lnTo>
                    <a:pt x="26422" y="96393"/>
                  </a:lnTo>
                  <a:lnTo>
                    <a:pt x="26422" y="92459"/>
                  </a:lnTo>
                  <a:lnTo>
                    <a:pt x="26422" y="92459"/>
                  </a:lnTo>
                  <a:lnTo>
                    <a:pt x="26422" y="88524"/>
                  </a:lnTo>
                  <a:lnTo>
                    <a:pt x="23119" y="82622"/>
                  </a:lnTo>
                  <a:lnTo>
                    <a:pt x="26422" y="82622"/>
                  </a:lnTo>
                  <a:lnTo>
                    <a:pt x="28623" y="82622"/>
                  </a:lnTo>
                  <a:lnTo>
                    <a:pt x="28623" y="78688"/>
                  </a:lnTo>
                  <a:lnTo>
                    <a:pt x="30825" y="78688"/>
                  </a:lnTo>
                  <a:lnTo>
                    <a:pt x="30825" y="74754"/>
                  </a:lnTo>
                  <a:lnTo>
                    <a:pt x="30825" y="74754"/>
                  </a:lnTo>
                  <a:lnTo>
                    <a:pt x="30825" y="74754"/>
                  </a:lnTo>
                  <a:lnTo>
                    <a:pt x="30825" y="74754"/>
                  </a:lnTo>
                  <a:lnTo>
                    <a:pt x="30825" y="68852"/>
                  </a:lnTo>
                  <a:lnTo>
                    <a:pt x="34128" y="68852"/>
                  </a:lnTo>
                  <a:lnTo>
                    <a:pt x="34128" y="68852"/>
                  </a:lnTo>
                  <a:lnTo>
                    <a:pt x="34128" y="68852"/>
                  </a:lnTo>
                  <a:lnTo>
                    <a:pt x="36330" y="64918"/>
                  </a:lnTo>
                  <a:lnTo>
                    <a:pt x="36330" y="55081"/>
                  </a:lnTo>
                  <a:lnTo>
                    <a:pt x="39633" y="55081"/>
                  </a:lnTo>
                  <a:lnTo>
                    <a:pt x="39633" y="55081"/>
                  </a:lnTo>
                  <a:lnTo>
                    <a:pt x="41834" y="60983"/>
                  </a:lnTo>
                  <a:lnTo>
                    <a:pt x="41834" y="60983"/>
                  </a:lnTo>
                  <a:lnTo>
                    <a:pt x="44036" y="55081"/>
                  </a:lnTo>
                  <a:lnTo>
                    <a:pt x="47339" y="55081"/>
                  </a:lnTo>
                  <a:lnTo>
                    <a:pt x="47339" y="51147"/>
                  </a:lnTo>
                  <a:lnTo>
                    <a:pt x="47339" y="51147"/>
                  </a:lnTo>
                  <a:lnTo>
                    <a:pt x="47339" y="45245"/>
                  </a:lnTo>
                  <a:lnTo>
                    <a:pt x="47339" y="45245"/>
                  </a:lnTo>
                  <a:lnTo>
                    <a:pt x="39633" y="45245"/>
                  </a:lnTo>
                  <a:lnTo>
                    <a:pt x="39633" y="45245"/>
                  </a:lnTo>
                  <a:lnTo>
                    <a:pt x="36330" y="41311"/>
                  </a:lnTo>
                  <a:lnTo>
                    <a:pt x="36330" y="37377"/>
                  </a:lnTo>
                  <a:lnTo>
                    <a:pt x="36330" y="31475"/>
                  </a:lnTo>
                  <a:lnTo>
                    <a:pt x="36330" y="27540"/>
                  </a:lnTo>
                  <a:lnTo>
                    <a:pt x="36330" y="27540"/>
                  </a:lnTo>
                  <a:lnTo>
                    <a:pt x="39633" y="17704"/>
                  </a:lnTo>
                  <a:lnTo>
                    <a:pt x="41834" y="17704"/>
                  </a:lnTo>
                  <a:lnTo>
                    <a:pt x="41834" y="13770"/>
                  </a:lnTo>
                  <a:lnTo>
                    <a:pt x="41834" y="9836"/>
                  </a:lnTo>
                  <a:lnTo>
                    <a:pt x="39633" y="3934"/>
                  </a:lnTo>
                  <a:lnTo>
                    <a:pt x="39633" y="3934"/>
                  </a:lnTo>
                  <a:lnTo>
                    <a:pt x="39633" y="0"/>
                  </a:lnTo>
                  <a:lnTo>
                    <a:pt x="41834" y="0"/>
                  </a:lnTo>
                  <a:lnTo>
                    <a:pt x="41834" y="0"/>
                  </a:lnTo>
                  <a:lnTo>
                    <a:pt x="36330" y="3934"/>
                  </a:lnTo>
                  <a:lnTo>
                    <a:pt x="30825" y="3934"/>
                  </a:lnTo>
                  <a:lnTo>
                    <a:pt x="28623" y="9836"/>
                  </a:lnTo>
                  <a:lnTo>
                    <a:pt x="23119" y="17704"/>
                  </a:lnTo>
                  <a:lnTo>
                    <a:pt x="23119" y="17704"/>
                  </a:lnTo>
                  <a:lnTo>
                    <a:pt x="20917" y="23606"/>
                  </a:lnTo>
                  <a:lnTo>
                    <a:pt x="15412" y="23606"/>
                  </a:lnTo>
                  <a:lnTo>
                    <a:pt x="13211" y="23606"/>
                  </a:lnTo>
                  <a:lnTo>
                    <a:pt x="13211" y="23606"/>
                  </a:lnTo>
                  <a:lnTo>
                    <a:pt x="7706" y="23606"/>
                  </a:lnTo>
                  <a:lnTo>
                    <a:pt x="5504" y="27540"/>
                  </a:lnTo>
                  <a:lnTo>
                    <a:pt x="3302" y="31475"/>
                  </a:lnTo>
                  <a:lnTo>
                    <a:pt x="3302" y="31475"/>
                  </a:lnTo>
                  <a:lnTo>
                    <a:pt x="3302" y="37377"/>
                  </a:lnTo>
                  <a:lnTo>
                    <a:pt x="3302" y="37377"/>
                  </a:lnTo>
                  <a:lnTo>
                    <a:pt x="5504" y="41311"/>
                  </a:lnTo>
                  <a:lnTo>
                    <a:pt x="7706" y="37377"/>
                  </a:lnTo>
                  <a:lnTo>
                    <a:pt x="11009" y="37377"/>
                  </a:lnTo>
                  <a:lnTo>
                    <a:pt x="13211" y="31475"/>
                  </a:lnTo>
                  <a:lnTo>
                    <a:pt x="15412" y="27540"/>
                  </a:lnTo>
                  <a:lnTo>
                    <a:pt x="15412" y="27540"/>
                  </a:lnTo>
                  <a:lnTo>
                    <a:pt x="18715" y="27540"/>
                  </a:lnTo>
                  <a:lnTo>
                    <a:pt x="18715" y="31475"/>
                  </a:lnTo>
                  <a:lnTo>
                    <a:pt x="18715" y="37377"/>
                  </a:lnTo>
                  <a:lnTo>
                    <a:pt x="18715" y="37377"/>
                  </a:lnTo>
                  <a:lnTo>
                    <a:pt x="15412" y="37377"/>
                  </a:lnTo>
                  <a:lnTo>
                    <a:pt x="15412" y="37377"/>
                  </a:lnTo>
                  <a:lnTo>
                    <a:pt x="13211" y="37377"/>
                  </a:lnTo>
                  <a:lnTo>
                    <a:pt x="11009" y="41311"/>
                  </a:lnTo>
                  <a:lnTo>
                    <a:pt x="11009" y="45245"/>
                  </a:lnTo>
                  <a:lnTo>
                    <a:pt x="11009" y="45245"/>
                  </a:lnTo>
                  <a:lnTo>
                    <a:pt x="7706" y="45245"/>
                  </a:lnTo>
                  <a:lnTo>
                    <a:pt x="7706" y="45245"/>
                  </a:lnTo>
                  <a:lnTo>
                    <a:pt x="5504" y="45245"/>
                  </a:lnTo>
                  <a:lnTo>
                    <a:pt x="3302" y="41311"/>
                  </a:lnTo>
                  <a:lnTo>
                    <a:pt x="3302" y="41311"/>
                  </a:lnTo>
                  <a:lnTo>
                    <a:pt x="0" y="41311"/>
                  </a:lnTo>
                  <a:lnTo>
                    <a:pt x="0" y="55081"/>
                  </a:lnTo>
                  <a:lnTo>
                    <a:pt x="0" y="60983"/>
                  </a:lnTo>
                  <a:lnTo>
                    <a:pt x="0" y="64918"/>
                  </a:lnTo>
                  <a:lnTo>
                    <a:pt x="0" y="68852"/>
                  </a:lnTo>
                  <a:lnTo>
                    <a:pt x="0" y="82622"/>
                  </a:lnTo>
                  <a:lnTo>
                    <a:pt x="3302" y="82622"/>
                  </a:lnTo>
                  <a:lnTo>
                    <a:pt x="7706" y="88524"/>
                  </a:lnTo>
                  <a:lnTo>
                    <a:pt x="7706" y="92459"/>
                  </a:lnTo>
                  <a:lnTo>
                    <a:pt x="7706" y="96393"/>
                  </a:lnTo>
                  <a:lnTo>
                    <a:pt x="7706" y="102295"/>
                  </a:lnTo>
                  <a:lnTo>
                    <a:pt x="7706" y="102295"/>
                  </a:lnTo>
                  <a:lnTo>
                    <a:pt x="7706" y="106229"/>
                  </a:lnTo>
                  <a:lnTo>
                    <a:pt x="7706" y="106229"/>
                  </a:lnTo>
                  <a:lnTo>
                    <a:pt x="7706" y="106229"/>
                  </a:lnTo>
                  <a:lnTo>
                    <a:pt x="13211" y="106229"/>
                  </a:lnTo>
                  <a:lnTo>
                    <a:pt x="13211" y="112131"/>
                  </a:lnTo>
                  <a:lnTo>
                    <a:pt x="18715" y="112131"/>
                  </a:lnTo>
                  <a:lnTo>
                    <a:pt x="18715" y="112131"/>
                  </a:lnTo>
                  <a:lnTo>
                    <a:pt x="20917" y="112131"/>
                  </a:lnTo>
                  <a:lnTo>
                    <a:pt x="23119" y="112131"/>
                  </a:lnTo>
                  <a:lnTo>
                    <a:pt x="26422" y="112131"/>
                  </a:lnTo>
                  <a:lnTo>
                    <a:pt x="26422" y="112131"/>
                  </a:lnTo>
                  <a:lnTo>
                    <a:pt x="26422" y="112131"/>
                  </a:lnTo>
                  <a:lnTo>
                    <a:pt x="26422" y="112131"/>
                  </a:lnTo>
                  <a:lnTo>
                    <a:pt x="26422" y="106229"/>
                  </a:lnTo>
                  <a:lnTo>
                    <a:pt x="26422" y="106229"/>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04" name="Shape 504"/>
            <p:cNvSpPr/>
            <p:nvPr/>
          </p:nvSpPr>
          <p:spPr>
            <a:xfrm>
              <a:off x="3879" y="2697"/>
              <a:ext cx="300" cy="300"/>
            </a:xfrm>
            <a:custGeom>
              <a:avLst/>
              <a:gdLst/>
              <a:ahLst/>
              <a:cxnLst/>
              <a:rect l="0" t="0" r="0" b="0"/>
              <a:pathLst>
                <a:path w="120000" h="120000" extrusionOk="0">
                  <a:moveTo>
                    <a:pt x="119325" y="19187"/>
                  </a:moveTo>
                  <a:lnTo>
                    <a:pt x="119325" y="19187"/>
                  </a:lnTo>
                  <a:lnTo>
                    <a:pt x="119325" y="19187"/>
                  </a:lnTo>
                  <a:lnTo>
                    <a:pt x="119325" y="19187"/>
                  </a:lnTo>
                  <a:lnTo>
                    <a:pt x="118314" y="19187"/>
                  </a:lnTo>
                  <a:lnTo>
                    <a:pt x="118314" y="18578"/>
                  </a:lnTo>
                  <a:lnTo>
                    <a:pt x="117640" y="18578"/>
                  </a:lnTo>
                  <a:lnTo>
                    <a:pt x="117640" y="18578"/>
                  </a:lnTo>
                  <a:lnTo>
                    <a:pt x="116966" y="18578"/>
                  </a:lnTo>
                  <a:lnTo>
                    <a:pt x="115955" y="17969"/>
                  </a:lnTo>
                  <a:lnTo>
                    <a:pt x="115955" y="17055"/>
                  </a:lnTo>
                  <a:lnTo>
                    <a:pt x="116966" y="16446"/>
                  </a:lnTo>
                  <a:lnTo>
                    <a:pt x="116966" y="15837"/>
                  </a:lnTo>
                  <a:lnTo>
                    <a:pt x="116966" y="14923"/>
                  </a:lnTo>
                  <a:lnTo>
                    <a:pt x="116966" y="14923"/>
                  </a:lnTo>
                  <a:lnTo>
                    <a:pt x="116966" y="14923"/>
                  </a:lnTo>
                  <a:lnTo>
                    <a:pt x="116966" y="14314"/>
                  </a:lnTo>
                  <a:lnTo>
                    <a:pt x="115955" y="14314"/>
                  </a:lnTo>
                  <a:lnTo>
                    <a:pt x="116966" y="13401"/>
                  </a:lnTo>
                  <a:lnTo>
                    <a:pt x="116966" y="12791"/>
                  </a:lnTo>
                  <a:lnTo>
                    <a:pt x="116966" y="12182"/>
                  </a:lnTo>
                  <a:lnTo>
                    <a:pt x="117640" y="12182"/>
                  </a:lnTo>
                  <a:lnTo>
                    <a:pt x="117640" y="11269"/>
                  </a:lnTo>
                  <a:lnTo>
                    <a:pt x="116966" y="11269"/>
                  </a:lnTo>
                  <a:lnTo>
                    <a:pt x="116966" y="10659"/>
                  </a:lnTo>
                  <a:lnTo>
                    <a:pt x="116966" y="10659"/>
                  </a:lnTo>
                  <a:lnTo>
                    <a:pt x="115955" y="10659"/>
                  </a:lnTo>
                  <a:lnTo>
                    <a:pt x="115955" y="10050"/>
                  </a:lnTo>
                  <a:lnTo>
                    <a:pt x="115955" y="10659"/>
                  </a:lnTo>
                  <a:lnTo>
                    <a:pt x="115280" y="10659"/>
                  </a:lnTo>
                  <a:lnTo>
                    <a:pt x="115280" y="10050"/>
                  </a:lnTo>
                  <a:lnTo>
                    <a:pt x="115280" y="10050"/>
                  </a:lnTo>
                  <a:lnTo>
                    <a:pt x="115280" y="9137"/>
                  </a:lnTo>
                  <a:lnTo>
                    <a:pt x="114606" y="9137"/>
                  </a:lnTo>
                  <a:lnTo>
                    <a:pt x="114606" y="8527"/>
                  </a:lnTo>
                  <a:lnTo>
                    <a:pt x="112921" y="7918"/>
                  </a:lnTo>
                  <a:lnTo>
                    <a:pt x="111910" y="7005"/>
                  </a:lnTo>
                  <a:lnTo>
                    <a:pt x="111235" y="6395"/>
                  </a:lnTo>
                  <a:lnTo>
                    <a:pt x="110561" y="5482"/>
                  </a:lnTo>
                  <a:lnTo>
                    <a:pt x="110561" y="4873"/>
                  </a:lnTo>
                  <a:lnTo>
                    <a:pt x="109550" y="4263"/>
                  </a:lnTo>
                  <a:lnTo>
                    <a:pt x="108876" y="4263"/>
                  </a:lnTo>
                  <a:lnTo>
                    <a:pt x="108202" y="4263"/>
                  </a:lnTo>
                  <a:lnTo>
                    <a:pt x="108202" y="4873"/>
                  </a:lnTo>
                  <a:lnTo>
                    <a:pt x="106516" y="5482"/>
                  </a:lnTo>
                  <a:lnTo>
                    <a:pt x="106516" y="5482"/>
                  </a:lnTo>
                  <a:lnTo>
                    <a:pt x="105842" y="4873"/>
                  </a:lnTo>
                  <a:lnTo>
                    <a:pt x="104831" y="4873"/>
                  </a:lnTo>
                  <a:lnTo>
                    <a:pt x="103483" y="4873"/>
                  </a:lnTo>
                  <a:lnTo>
                    <a:pt x="103483" y="4873"/>
                  </a:lnTo>
                  <a:lnTo>
                    <a:pt x="102471" y="5482"/>
                  </a:lnTo>
                  <a:lnTo>
                    <a:pt x="101797" y="5482"/>
                  </a:lnTo>
                  <a:lnTo>
                    <a:pt x="101797" y="5482"/>
                  </a:lnTo>
                  <a:lnTo>
                    <a:pt x="100786" y="5482"/>
                  </a:lnTo>
                  <a:lnTo>
                    <a:pt x="100786" y="5482"/>
                  </a:lnTo>
                  <a:lnTo>
                    <a:pt x="100112" y="5482"/>
                  </a:lnTo>
                  <a:lnTo>
                    <a:pt x="99438" y="5482"/>
                  </a:lnTo>
                  <a:lnTo>
                    <a:pt x="99438" y="4873"/>
                  </a:lnTo>
                  <a:lnTo>
                    <a:pt x="99438" y="4873"/>
                  </a:lnTo>
                  <a:lnTo>
                    <a:pt x="98426" y="4263"/>
                  </a:lnTo>
                  <a:lnTo>
                    <a:pt x="97752" y="4263"/>
                  </a:lnTo>
                  <a:lnTo>
                    <a:pt x="97752" y="4263"/>
                  </a:lnTo>
                  <a:lnTo>
                    <a:pt x="97752" y="3350"/>
                  </a:lnTo>
                  <a:lnTo>
                    <a:pt x="97078" y="2741"/>
                  </a:lnTo>
                  <a:lnTo>
                    <a:pt x="97078" y="2741"/>
                  </a:lnTo>
                  <a:lnTo>
                    <a:pt x="96067" y="2131"/>
                  </a:lnTo>
                  <a:lnTo>
                    <a:pt x="95393" y="1218"/>
                  </a:lnTo>
                  <a:lnTo>
                    <a:pt x="95393" y="609"/>
                  </a:lnTo>
                  <a:lnTo>
                    <a:pt x="93707" y="609"/>
                  </a:lnTo>
                  <a:lnTo>
                    <a:pt x="93033" y="609"/>
                  </a:lnTo>
                  <a:lnTo>
                    <a:pt x="93033" y="609"/>
                  </a:lnTo>
                  <a:lnTo>
                    <a:pt x="92359" y="1218"/>
                  </a:lnTo>
                  <a:lnTo>
                    <a:pt x="91348" y="1218"/>
                  </a:lnTo>
                  <a:lnTo>
                    <a:pt x="91348" y="1218"/>
                  </a:lnTo>
                  <a:lnTo>
                    <a:pt x="90674" y="1218"/>
                  </a:lnTo>
                  <a:lnTo>
                    <a:pt x="87303" y="609"/>
                  </a:lnTo>
                  <a:lnTo>
                    <a:pt x="84943" y="0"/>
                  </a:lnTo>
                  <a:lnTo>
                    <a:pt x="84943" y="0"/>
                  </a:lnTo>
                  <a:lnTo>
                    <a:pt x="83595" y="0"/>
                  </a:lnTo>
                  <a:lnTo>
                    <a:pt x="82584" y="0"/>
                  </a:lnTo>
                  <a:lnTo>
                    <a:pt x="81910" y="1218"/>
                  </a:lnTo>
                  <a:lnTo>
                    <a:pt x="81910" y="1218"/>
                  </a:lnTo>
                  <a:lnTo>
                    <a:pt x="81235" y="2131"/>
                  </a:lnTo>
                  <a:lnTo>
                    <a:pt x="80224" y="2131"/>
                  </a:lnTo>
                  <a:lnTo>
                    <a:pt x="78876" y="2131"/>
                  </a:lnTo>
                  <a:lnTo>
                    <a:pt x="77191" y="1218"/>
                  </a:lnTo>
                  <a:lnTo>
                    <a:pt x="76179" y="1218"/>
                  </a:lnTo>
                  <a:lnTo>
                    <a:pt x="75505" y="2131"/>
                  </a:lnTo>
                  <a:lnTo>
                    <a:pt x="73820" y="2741"/>
                  </a:lnTo>
                  <a:lnTo>
                    <a:pt x="73146" y="2741"/>
                  </a:lnTo>
                  <a:lnTo>
                    <a:pt x="72471" y="2741"/>
                  </a:lnTo>
                  <a:lnTo>
                    <a:pt x="70786" y="3350"/>
                  </a:lnTo>
                  <a:lnTo>
                    <a:pt x="70786" y="3350"/>
                  </a:lnTo>
                  <a:lnTo>
                    <a:pt x="70112" y="3350"/>
                  </a:lnTo>
                  <a:lnTo>
                    <a:pt x="69101" y="3350"/>
                  </a:lnTo>
                  <a:lnTo>
                    <a:pt x="68426" y="3350"/>
                  </a:lnTo>
                  <a:lnTo>
                    <a:pt x="67752" y="3350"/>
                  </a:lnTo>
                  <a:lnTo>
                    <a:pt x="66741" y="3350"/>
                  </a:lnTo>
                  <a:lnTo>
                    <a:pt x="66067" y="4263"/>
                  </a:lnTo>
                  <a:lnTo>
                    <a:pt x="66067" y="4263"/>
                  </a:lnTo>
                  <a:lnTo>
                    <a:pt x="65056" y="4873"/>
                  </a:lnTo>
                  <a:lnTo>
                    <a:pt x="64382" y="6395"/>
                  </a:lnTo>
                  <a:lnTo>
                    <a:pt x="64382" y="7005"/>
                  </a:lnTo>
                  <a:lnTo>
                    <a:pt x="64382" y="7005"/>
                  </a:lnTo>
                  <a:lnTo>
                    <a:pt x="64382" y="7005"/>
                  </a:lnTo>
                  <a:lnTo>
                    <a:pt x="61348" y="6395"/>
                  </a:lnTo>
                  <a:lnTo>
                    <a:pt x="59662" y="6395"/>
                  </a:lnTo>
                  <a:lnTo>
                    <a:pt x="58988" y="6395"/>
                  </a:lnTo>
                  <a:lnTo>
                    <a:pt x="57303" y="6395"/>
                  </a:lnTo>
                  <a:lnTo>
                    <a:pt x="57303" y="5482"/>
                  </a:lnTo>
                  <a:lnTo>
                    <a:pt x="56629" y="6395"/>
                  </a:lnTo>
                  <a:lnTo>
                    <a:pt x="56629" y="5482"/>
                  </a:lnTo>
                  <a:lnTo>
                    <a:pt x="54943" y="5482"/>
                  </a:lnTo>
                  <a:lnTo>
                    <a:pt x="53932" y="4873"/>
                  </a:lnTo>
                  <a:lnTo>
                    <a:pt x="53258" y="4873"/>
                  </a:lnTo>
                  <a:lnTo>
                    <a:pt x="52584" y="4873"/>
                  </a:lnTo>
                  <a:lnTo>
                    <a:pt x="51573" y="4263"/>
                  </a:lnTo>
                  <a:lnTo>
                    <a:pt x="51573" y="3350"/>
                  </a:lnTo>
                  <a:lnTo>
                    <a:pt x="50224" y="2741"/>
                  </a:lnTo>
                  <a:lnTo>
                    <a:pt x="49213" y="2131"/>
                  </a:lnTo>
                  <a:lnTo>
                    <a:pt x="48539" y="1218"/>
                  </a:lnTo>
                  <a:lnTo>
                    <a:pt x="47865" y="1218"/>
                  </a:lnTo>
                  <a:lnTo>
                    <a:pt x="46853" y="609"/>
                  </a:lnTo>
                  <a:lnTo>
                    <a:pt x="46179" y="609"/>
                  </a:lnTo>
                  <a:lnTo>
                    <a:pt x="44494" y="1218"/>
                  </a:lnTo>
                  <a:lnTo>
                    <a:pt x="42808" y="2131"/>
                  </a:lnTo>
                  <a:lnTo>
                    <a:pt x="41460" y="4873"/>
                  </a:lnTo>
                  <a:lnTo>
                    <a:pt x="40449" y="5482"/>
                  </a:lnTo>
                  <a:lnTo>
                    <a:pt x="40449" y="5482"/>
                  </a:lnTo>
                  <a:lnTo>
                    <a:pt x="39775" y="6395"/>
                  </a:lnTo>
                  <a:lnTo>
                    <a:pt x="40449" y="7005"/>
                  </a:lnTo>
                  <a:lnTo>
                    <a:pt x="40449" y="8527"/>
                  </a:lnTo>
                  <a:lnTo>
                    <a:pt x="40449" y="10050"/>
                  </a:lnTo>
                  <a:lnTo>
                    <a:pt x="40449" y="11269"/>
                  </a:lnTo>
                  <a:lnTo>
                    <a:pt x="40449" y="12791"/>
                  </a:lnTo>
                  <a:lnTo>
                    <a:pt x="39775" y="13401"/>
                  </a:lnTo>
                  <a:lnTo>
                    <a:pt x="39775" y="14923"/>
                  </a:lnTo>
                  <a:lnTo>
                    <a:pt x="39101" y="16446"/>
                  </a:lnTo>
                  <a:lnTo>
                    <a:pt x="38089" y="17969"/>
                  </a:lnTo>
                  <a:lnTo>
                    <a:pt x="36741" y="20710"/>
                  </a:lnTo>
                  <a:lnTo>
                    <a:pt x="37415" y="22842"/>
                  </a:lnTo>
                  <a:lnTo>
                    <a:pt x="36741" y="23756"/>
                  </a:lnTo>
                  <a:lnTo>
                    <a:pt x="36741" y="24365"/>
                  </a:lnTo>
                  <a:lnTo>
                    <a:pt x="35730" y="26497"/>
                  </a:lnTo>
                  <a:lnTo>
                    <a:pt x="35730" y="28020"/>
                  </a:lnTo>
                  <a:lnTo>
                    <a:pt x="35730" y="30152"/>
                  </a:lnTo>
                  <a:lnTo>
                    <a:pt x="35730" y="32284"/>
                  </a:lnTo>
                  <a:lnTo>
                    <a:pt x="35056" y="33807"/>
                  </a:lnTo>
                  <a:lnTo>
                    <a:pt x="35056" y="35939"/>
                  </a:lnTo>
                  <a:lnTo>
                    <a:pt x="35056" y="37157"/>
                  </a:lnTo>
                  <a:lnTo>
                    <a:pt x="33370" y="38680"/>
                  </a:lnTo>
                  <a:lnTo>
                    <a:pt x="31685" y="40203"/>
                  </a:lnTo>
                  <a:lnTo>
                    <a:pt x="31011" y="40812"/>
                  </a:lnTo>
                  <a:lnTo>
                    <a:pt x="30337" y="40812"/>
                  </a:lnTo>
                  <a:lnTo>
                    <a:pt x="29325" y="41725"/>
                  </a:lnTo>
                  <a:lnTo>
                    <a:pt x="29325" y="41725"/>
                  </a:lnTo>
                  <a:lnTo>
                    <a:pt x="28651" y="42335"/>
                  </a:lnTo>
                  <a:lnTo>
                    <a:pt x="27977" y="44467"/>
                  </a:lnTo>
                  <a:lnTo>
                    <a:pt x="26966" y="45380"/>
                  </a:lnTo>
                  <a:lnTo>
                    <a:pt x="26966" y="46598"/>
                  </a:lnTo>
                  <a:lnTo>
                    <a:pt x="25617" y="47512"/>
                  </a:lnTo>
                  <a:lnTo>
                    <a:pt x="25617" y="47512"/>
                  </a:lnTo>
                  <a:lnTo>
                    <a:pt x="25617" y="48121"/>
                  </a:lnTo>
                  <a:lnTo>
                    <a:pt x="25617" y="49644"/>
                  </a:lnTo>
                  <a:lnTo>
                    <a:pt x="25617" y="53299"/>
                  </a:lnTo>
                  <a:lnTo>
                    <a:pt x="25617" y="54517"/>
                  </a:lnTo>
                  <a:lnTo>
                    <a:pt x="24606" y="56040"/>
                  </a:lnTo>
                  <a:lnTo>
                    <a:pt x="23932" y="58172"/>
                  </a:lnTo>
                  <a:lnTo>
                    <a:pt x="23258" y="58781"/>
                  </a:lnTo>
                  <a:lnTo>
                    <a:pt x="22247" y="59695"/>
                  </a:lnTo>
                  <a:lnTo>
                    <a:pt x="21573" y="59695"/>
                  </a:lnTo>
                  <a:lnTo>
                    <a:pt x="20561" y="60304"/>
                  </a:lnTo>
                  <a:lnTo>
                    <a:pt x="20561" y="60304"/>
                  </a:lnTo>
                  <a:lnTo>
                    <a:pt x="19887" y="61218"/>
                  </a:lnTo>
                  <a:lnTo>
                    <a:pt x="19213" y="61218"/>
                  </a:lnTo>
                  <a:lnTo>
                    <a:pt x="18202" y="62436"/>
                  </a:lnTo>
                  <a:lnTo>
                    <a:pt x="17528" y="63959"/>
                  </a:lnTo>
                  <a:lnTo>
                    <a:pt x="15842" y="64568"/>
                  </a:lnTo>
                  <a:lnTo>
                    <a:pt x="15842" y="65482"/>
                  </a:lnTo>
                  <a:lnTo>
                    <a:pt x="15168" y="65482"/>
                  </a:lnTo>
                  <a:lnTo>
                    <a:pt x="15168" y="64568"/>
                  </a:lnTo>
                  <a:lnTo>
                    <a:pt x="14494" y="64568"/>
                  </a:lnTo>
                  <a:lnTo>
                    <a:pt x="14494" y="64568"/>
                  </a:lnTo>
                  <a:lnTo>
                    <a:pt x="14494" y="64568"/>
                  </a:lnTo>
                  <a:lnTo>
                    <a:pt x="14494" y="64568"/>
                  </a:lnTo>
                  <a:lnTo>
                    <a:pt x="14494" y="64568"/>
                  </a:lnTo>
                  <a:lnTo>
                    <a:pt x="14494" y="63959"/>
                  </a:lnTo>
                  <a:lnTo>
                    <a:pt x="13483" y="63350"/>
                  </a:lnTo>
                  <a:lnTo>
                    <a:pt x="14494" y="62436"/>
                  </a:lnTo>
                  <a:lnTo>
                    <a:pt x="14494" y="62436"/>
                  </a:lnTo>
                  <a:lnTo>
                    <a:pt x="14494" y="61827"/>
                  </a:lnTo>
                  <a:lnTo>
                    <a:pt x="14494" y="61827"/>
                  </a:lnTo>
                  <a:lnTo>
                    <a:pt x="13483" y="61218"/>
                  </a:lnTo>
                  <a:lnTo>
                    <a:pt x="13483" y="61218"/>
                  </a:lnTo>
                  <a:lnTo>
                    <a:pt x="12808" y="61827"/>
                  </a:lnTo>
                  <a:lnTo>
                    <a:pt x="12134" y="61827"/>
                  </a:lnTo>
                  <a:lnTo>
                    <a:pt x="12134" y="61827"/>
                  </a:lnTo>
                  <a:lnTo>
                    <a:pt x="11123" y="62436"/>
                  </a:lnTo>
                  <a:lnTo>
                    <a:pt x="11123" y="62436"/>
                  </a:lnTo>
                  <a:lnTo>
                    <a:pt x="10449" y="62436"/>
                  </a:lnTo>
                  <a:lnTo>
                    <a:pt x="10449" y="62436"/>
                  </a:lnTo>
                  <a:lnTo>
                    <a:pt x="10449" y="62436"/>
                  </a:lnTo>
                  <a:lnTo>
                    <a:pt x="9438" y="62436"/>
                  </a:lnTo>
                  <a:lnTo>
                    <a:pt x="9438" y="62436"/>
                  </a:lnTo>
                  <a:lnTo>
                    <a:pt x="9438" y="63350"/>
                  </a:lnTo>
                  <a:lnTo>
                    <a:pt x="9438" y="63350"/>
                  </a:lnTo>
                  <a:lnTo>
                    <a:pt x="9438" y="63959"/>
                  </a:lnTo>
                  <a:lnTo>
                    <a:pt x="9438" y="63959"/>
                  </a:lnTo>
                  <a:lnTo>
                    <a:pt x="8764" y="64568"/>
                  </a:lnTo>
                  <a:lnTo>
                    <a:pt x="8089" y="64568"/>
                  </a:lnTo>
                  <a:lnTo>
                    <a:pt x="8089" y="64568"/>
                  </a:lnTo>
                  <a:lnTo>
                    <a:pt x="7078" y="64568"/>
                  </a:lnTo>
                  <a:lnTo>
                    <a:pt x="7078" y="64568"/>
                  </a:lnTo>
                  <a:lnTo>
                    <a:pt x="6404" y="63959"/>
                  </a:lnTo>
                  <a:lnTo>
                    <a:pt x="6404" y="63959"/>
                  </a:lnTo>
                  <a:lnTo>
                    <a:pt x="6404" y="63350"/>
                  </a:lnTo>
                  <a:lnTo>
                    <a:pt x="6404" y="63350"/>
                  </a:lnTo>
                  <a:lnTo>
                    <a:pt x="5730" y="63350"/>
                  </a:lnTo>
                  <a:lnTo>
                    <a:pt x="5730" y="63350"/>
                  </a:lnTo>
                  <a:lnTo>
                    <a:pt x="5730" y="63959"/>
                  </a:lnTo>
                  <a:lnTo>
                    <a:pt x="4719" y="63959"/>
                  </a:lnTo>
                  <a:lnTo>
                    <a:pt x="4044" y="63959"/>
                  </a:lnTo>
                  <a:lnTo>
                    <a:pt x="3370" y="65482"/>
                  </a:lnTo>
                  <a:lnTo>
                    <a:pt x="2359" y="65482"/>
                  </a:lnTo>
                  <a:lnTo>
                    <a:pt x="2359" y="66091"/>
                  </a:lnTo>
                  <a:lnTo>
                    <a:pt x="2359" y="66091"/>
                  </a:lnTo>
                  <a:lnTo>
                    <a:pt x="1685" y="66091"/>
                  </a:lnTo>
                  <a:lnTo>
                    <a:pt x="1685" y="66091"/>
                  </a:lnTo>
                  <a:lnTo>
                    <a:pt x="1685" y="66700"/>
                  </a:lnTo>
                  <a:lnTo>
                    <a:pt x="2359" y="66700"/>
                  </a:lnTo>
                  <a:lnTo>
                    <a:pt x="2359" y="68223"/>
                  </a:lnTo>
                  <a:lnTo>
                    <a:pt x="2359" y="70355"/>
                  </a:lnTo>
                  <a:lnTo>
                    <a:pt x="1685" y="70355"/>
                  </a:lnTo>
                  <a:lnTo>
                    <a:pt x="1685" y="70355"/>
                  </a:lnTo>
                  <a:lnTo>
                    <a:pt x="1011" y="70355"/>
                  </a:lnTo>
                  <a:lnTo>
                    <a:pt x="0" y="70355"/>
                  </a:lnTo>
                  <a:lnTo>
                    <a:pt x="0" y="71269"/>
                  </a:lnTo>
                  <a:lnTo>
                    <a:pt x="1011" y="71878"/>
                  </a:lnTo>
                  <a:lnTo>
                    <a:pt x="1685" y="71878"/>
                  </a:lnTo>
                  <a:lnTo>
                    <a:pt x="1685" y="72487"/>
                  </a:lnTo>
                  <a:lnTo>
                    <a:pt x="2359" y="72487"/>
                  </a:lnTo>
                  <a:lnTo>
                    <a:pt x="3370" y="71878"/>
                  </a:lnTo>
                  <a:lnTo>
                    <a:pt x="4044" y="71878"/>
                  </a:lnTo>
                  <a:lnTo>
                    <a:pt x="4044" y="71269"/>
                  </a:lnTo>
                  <a:lnTo>
                    <a:pt x="4719" y="71269"/>
                  </a:lnTo>
                  <a:lnTo>
                    <a:pt x="5730" y="71269"/>
                  </a:lnTo>
                  <a:lnTo>
                    <a:pt x="6404" y="71269"/>
                  </a:lnTo>
                  <a:lnTo>
                    <a:pt x="7078" y="71878"/>
                  </a:lnTo>
                  <a:lnTo>
                    <a:pt x="7078" y="71269"/>
                  </a:lnTo>
                  <a:lnTo>
                    <a:pt x="7078" y="71269"/>
                  </a:lnTo>
                  <a:lnTo>
                    <a:pt x="9438" y="71269"/>
                  </a:lnTo>
                  <a:lnTo>
                    <a:pt x="9438" y="71269"/>
                  </a:lnTo>
                  <a:lnTo>
                    <a:pt x="11123" y="71269"/>
                  </a:lnTo>
                  <a:lnTo>
                    <a:pt x="12134" y="71269"/>
                  </a:lnTo>
                  <a:lnTo>
                    <a:pt x="12808" y="71269"/>
                  </a:lnTo>
                  <a:lnTo>
                    <a:pt x="13483" y="71878"/>
                  </a:lnTo>
                  <a:lnTo>
                    <a:pt x="15842" y="71878"/>
                  </a:lnTo>
                  <a:lnTo>
                    <a:pt x="15842" y="71878"/>
                  </a:lnTo>
                  <a:lnTo>
                    <a:pt x="18202" y="71269"/>
                  </a:lnTo>
                  <a:lnTo>
                    <a:pt x="20561" y="71269"/>
                  </a:lnTo>
                  <a:lnTo>
                    <a:pt x="22247" y="71269"/>
                  </a:lnTo>
                  <a:lnTo>
                    <a:pt x="24606" y="71269"/>
                  </a:lnTo>
                  <a:lnTo>
                    <a:pt x="26292" y="71269"/>
                  </a:lnTo>
                  <a:lnTo>
                    <a:pt x="26292" y="71878"/>
                  </a:lnTo>
                  <a:lnTo>
                    <a:pt x="26966" y="71878"/>
                  </a:lnTo>
                  <a:lnTo>
                    <a:pt x="27977" y="72487"/>
                  </a:lnTo>
                  <a:lnTo>
                    <a:pt x="27977" y="72487"/>
                  </a:lnTo>
                  <a:lnTo>
                    <a:pt x="27977" y="73401"/>
                  </a:lnTo>
                  <a:lnTo>
                    <a:pt x="28651" y="73401"/>
                  </a:lnTo>
                  <a:lnTo>
                    <a:pt x="28651" y="74010"/>
                  </a:lnTo>
                  <a:lnTo>
                    <a:pt x="28651" y="74619"/>
                  </a:lnTo>
                  <a:lnTo>
                    <a:pt x="28651" y="75532"/>
                  </a:lnTo>
                  <a:lnTo>
                    <a:pt x="28651" y="76142"/>
                  </a:lnTo>
                  <a:lnTo>
                    <a:pt x="28651" y="77055"/>
                  </a:lnTo>
                  <a:lnTo>
                    <a:pt x="29325" y="78274"/>
                  </a:lnTo>
                  <a:lnTo>
                    <a:pt x="30337" y="79187"/>
                  </a:lnTo>
                  <a:lnTo>
                    <a:pt x="30337" y="79796"/>
                  </a:lnTo>
                  <a:lnTo>
                    <a:pt x="30337" y="80406"/>
                  </a:lnTo>
                  <a:lnTo>
                    <a:pt x="30337" y="81319"/>
                  </a:lnTo>
                  <a:lnTo>
                    <a:pt x="31011" y="81319"/>
                  </a:lnTo>
                  <a:lnTo>
                    <a:pt x="31011" y="81928"/>
                  </a:lnTo>
                  <a:lnTo>
                    <a:pt x="31685" y="82538"/>
                  </a:lnTo>
                  <a:lnTo>
                    <a:pt x="32696" y="84060"/>
                  </a:lnTo>
                  <a:lnTo>
                    <a:pt x="33370" y="85583"/>
                  </a:lnTo>
                  <a:lnTo>
                    <a:pt x="33370" y="85583"/>
                  </a:lnTo>
                  <a:lnTo>
                    <a:pt x="34382" y="85583"/>
                  </a:lnTo>
                  <a:lnTo>
                    <a:pt x="35056" y="85583"/>
                  </a:lnTo>
                  <a:lnTo>
                    <a:pt x="35730" y="85583"/>
                  </a:lnTo>
                  <a:lnTo>
                    <a:pt x="36741" y="85583"/>
                  </a:lnTo>
                  <a:lnTo>
                    <a:pt x="36741" y="85583"/>
                  </a:lnTo>
                  <a:lnTo>
                    <a:pt x="37415" y="85583"/>
                  </a:lnTo>
                  <a:lnTo>
                    <a:pt x="38089" y="84974"/>
                  </a:lnTo>
                  <a:lnTo>
                    <a:pt x="39775" y="84974"/>
                  </a:lnTo>
                  <a:lnTo>
                    <a:pt x="39775" y="84974"/>
                  </a:lnTo>
                  <a:lnTo>
                    <a:pt x="40449" y="84974"/>
                  </a:lnTo>
                  <a:lnTo>
                    <a:pt x="42134" y="84974"/>
                  </a:lnTo>
                  <a:lnTo>
                    <a:pt x="42134" y="84974"/>
                  </a:lnTo>
                  <a:lnTo>
                    <a:pt x="43820" y="84974"/>
                  </a:lnTo>
                  <a:lnTo>
                    <a:pt x="44494" y="84974"/>
                  </a:lnTo>
                  <a:lnTo>
                    <a:pt x="45505" y="83451"/>
                  </a:lnTo>
                  <a:lnTo>
                    <a:pt x="45505" y="82538"/>
                  </a:lnTo>
                  <a:lnTo>
                    <a:pt x="45505" y="82538"/>
                  </a:lnTo>
                  <a:lnTo>
                    <a:pt x="45505" y="81928"/>
                  </a:lnTo>
                  <a:lnTo>
                    <a:pt x="45505" y="81319"/>
                  </a:lnTo>
                  <a:lnTo>
                    <a:pt x="45505" y="80406"/>
                  </a:lnTo>
                  <a:lnTo>
                    <a:pt x="46179" y="79796"/>
                  </a:lnTo>
                  <a:lnTo>
                    <a:pt x="46853" y="79187"/>
                  </a:lnTo>
                  <a:lnTo>
                    <a:pt x="48539" y="78274"/>
                  </a:lnTo>
                  <a:lnTo>
                    <a:pt x="49213" y="78274"/>
                  </a:lnTo>
                  <a:lnTo>
                    <a:pt x="50224" y="78274"/>
                  </a:lnTo>
                  <a:lnTo>
                    <a:pt x="51573" y="78274"/>
                  </a:lnTo>
                  <a:lnTo>
                    <a:pt x="52584" y="78274"/>
                  </a:lnTo>
                  <a:lnTo>
                    <a:pt x="52584" y="78274"/>
                  </a:lnTo>
                  <a:lnTo>
                    <a:pt x="52584" y="79796"/>
                  </a:lnTo>
                  <a:lnTo>
                    <a:pt x="52584" y="79796"/>
                  </a:lnTo>
                  <a:lnTo>
                    <a:pt x="52584" y="80406"/>
                  </a:lnTo>
                  <a:lnTo>
                    <a:pt x="52584" y="80406"/>
                  </a:lnTo>
                  <a:lnTo>
                    <a:pt x="54943" y="80406"/>
                  </a:lnTo>
                  <a:lnTo>
                    <a:pt x="56629" y="80406"/>
                  </a:lnTo>
                  <a:lnTo>
                    <a:pt x="57977" y="80406"/>
                  </a:lnTo>
                  <a:lnTo>
                    <a:pt x="59662" y="80406"/>
                  </a:lnTo>
                  <a:lnTo>
                    <a:pt x="60337" y="80406"/>
                  </a:lnTo>
                  <a:lnTo>
                    <a:pt x="60337" y="80406"/>
                  </a:lnTo>
                  <a:lnTo>
                    <a:pt x="60337" y="81319"/>
                  </a:lnTo>
                  <a:lnTo>
                    <a:pt x="60337" y="82538"/>
                  </a:lnTo>
                  <a:lnTo>
                    <a:pt x="60337" y="84060"/>
                  </a:lnTo>
                  <a:lnTo>
                    <a:pt x="60337" y="85583"/>
                  </a:lnTo>
                  <a:lnTo>
                    <a:pt x="60337" y="87715"/>
                  </a:lnTo>
                  <a:lnTo>
                    <a:pt x="60337" y="89847"/>
                  </a:lnTo>
                  <a:lnTo>
                    <a:pt x="60337" y="91370"/>
                  </a:lnTo>
                  <a:lnTo>
                    <a:pt x="60337" y="92893"/>
                  </a:lnTo>
                  <a:lnTo>
                    <a:pt x="60337" y="95025"/>
                  </a:lnTo>
                  <a:lnTo>
                    <a:pt x="60337" y="95634"/>
                  </a:lnTo>
                  <a:lnTo>
                    <a:pt x="61348" y="96243"/>
                  </a:lnTo>
                  <a:lnTo>
                    <a:pt x="62022" y="97157"/>
                  </a:lnTo>
                  <a:lnTo>
                    <a:pt x="62696" y="98375"/>
                  </a:lnTo>
                  <a:lnTo>
                    <a:pt x="62696" y="99898"/>
                  </a:lnTo>
                  <a:lnTo>
                    <a:pt x="62696" y="100812"/>
                  </a:lnTo>
                  <a:lnTo>
                    <a:pt x="62696" y="100812"/>
                  </a:lnTo>
                  <a:lnTo>
                    <a:pt x="62696" y="101421"/>
                  </a:lnTo>
                  <a:lnTo>
                    <a:pt x="62696" y="102030"/>
                  </a:lnTo>
                  <a:lnTo>
                    <a:pt x="62696" y="102944"/>
                  </a:lnTo>
                  <a:lnTo>
                    <a:pt x="62696" y="103553"/>
                  </a:lnTo>
                  <a:lnTo>
                    <a:pt x="62022" y="103553"/>
                  </a:lnTo>
                  <a:lnTo>
                    <a:pt x="62696" y="104162"/>
                  </a:lnTo>
                  <a:lnTo>
                    <a:pt x="62696" y="105076"/>
                  </a:lnTo>
                  <a:lnTo>
                    <a:pt x="62696" y="105685"/>
                  </a:lnTo>
                  <a:lnTo>
                    <a:pt x="62696" y="105685"/>
                  </a:lnTo>
                  <a:lnTo>
                    <a:pt x="62696" y="105685"/>
                  </a:lnTo>
                  <a:lnTo>
                    <a:pt x="63707" y="105685"/>
                  </a:lnTo>
                  <a:lnTo>
                    <a:pt x="64382" y="105076"/>
                  </a:lnTo>
                  <a:lnTo>
                    <a:pt x="64382" y="105076"/>
                  </a:lnTo>
                  <a:lnTo>
                    <a:pt x="65056" y="105076"/>
                  </a:lnTo>
                  <a:lnTo>
                    <a:pt x="66067" y="105076"/>
                  </a:lnTo>
                  <a:lnTo>
                    <a:pt x="67752" y="105076"/>
                  </a:lnTo>
                  <a:lnTo>
                    <a:pt x="68426" y="105076"/>
                  </a:lnTo>
                  <a:lnTo>
                    <a:pt x="70112" y="104162"/>
                  </a:lnTo>
                  <a:lnTo>
                    <a:pt x="70786" y="104162"/>
                  </a:lnTo>
                  <a:lnTo>
                    <a:pt x="70786" y="104162"/>
                  </a:lnTo>
                  <a:lnTo>
                    <a:pt x="71460" y="104162"/>
                  </a:lnTo>
                  <a:lnTo>
                    <a:pt x="72471" y="104162"/>
                  </a:lnTo>
                  <a:lnTo>
                    <a:pt x="73146" y="104162"/>
                  </a:lnTo>
                  <a:lnTo>
                    <a:pt x="73146" y="104162"/>
                  </a:lnTo>
                  <a:lnTo>
                    <a:pt x="73146" y="103553"/>
                  </a:lnTo>
                  <a:lnTo>
                    <a:pt x="73146" y="103553"/>
                  </a:lnTo>
                  <a:lnTo>
                    <a:pt x="73820" y="103553"/>
                  </a:lnTo>
                  <a:lnTo>
                    <a:pt x="73820" y="103553"/>
                  </a:lnTo>
                  <a:lnTo>
                    <a:pt x="74831" y="104162"/>
                  </a:lnTo>
                  <a:lnTo>
                    <a:pt x="74831" y="104162"/>
                  </a:lnTo>
                  <a:lnTo>
                    <a:pt x="74831" y="105076"/>
                  </a:lnTo>
                  <a:lnTo>
                    <a:pt x="75505" y="105076"/>
                  </a:lnTo>
                  <a:lnTo>
                    <a:pt x="76179" y="105076"/>
                  </a:lnTo>
                  <a:lnTo>
                    <a:pt x="76179" y="106294"/>
                  </a:lnTo>
                  <a:lnTo>
                    <a:pt x="76179" y="106294"/>
                  </a:lnTo>
                  <a:lnTo>
                    <a:pt x="75505" y="107208"/>
                  </a:lnTo>
                  <a:lnTo>
                    <a:pt x="76179" y="107208"/>
                  </a:lnTo>
                  <a:lnTo>
                    <a:pt x="76179" y="107208"/>
                  </a:lnTo>
                  <a:lnTo>
                    <a:pt x="77191" y="107208"/>
                  </a:lnTo>
                  <a:lnTo>
                    <a:pt x="77865" y="106294"/>
                  </a:lnTo>
                  <a:lnTo>
                    <a:pt x="77865" y="106294"/>
                  </a:lnTo>
                  <a:lnTo>
                    <a:pt x="78876" y="106294"/>
                  </a:lnTo>
                  <a:lnTo>
                    <a:pt x="79550" y="106294"/>
                  </a:lnTo>
                  <a:lnTo>
                    <a:pt x="80224" y="106294"/>
                  </a:lnTo>
                  <a:lnTo>
                    <a:pt x="81235" y="105685"/>
                  </a:lnTo>
                  <a:lnTo>
                    <a:pt x="81235" y="105685"/>
                  </a:lnTo>
                  <a:lnTo>
                    <a:pt x="81910" y="105685"/>
                  </a:lnTo>
                  <a:lnTo>
                    <a:pt x="81910" y="105685"/>
                  </a:lnTo>
                  <a:lnTo>
                    <a:pt x="81910" y="106294"/>
                  </a:lnTo>
                  <a:lnTo>
                    <a:pt x="81910" y="107208"/>
                  </a:lnTo>
                  <a:lnTo>
                    <a:pt x="81910" y="107817"/>
                  </a:lnTo>
                  <a:lnTo>
                    <a:pt x="81910" y="108730"/>
                  </a:lnTo>
                  <a:lnTo>
                    <a:pt x="82584" y="108730"/>
                  </a:lnTo>
                  <a:lnTo>
                    <a:pt x="82584" y="108730"/>
                  </a:lnTo>
                  <a:lnTo>
                    <a:pt x="82584" y="109340"/>
                  </a:lnTo>
                  <a:lnTo>
                    <a:pt x="83595" y="109340"/>
                  </a:lnTo>
                  <a:lnTo>
                    <a:pt x="84943" y="109949"/>
                  </a:lnTo>
                  <a:lnTo>
                    <a:pt x="85955" y="109949"/>
                  </a:lnTo>
                  <a:lnTo>
                    <a:pt x="86629" y="109949"/>
                  </a:lnTo>
                  <a:lnTo>
                    <a:pt x="86629" y="109949"/>
                  </a:lnTo>
                  <a:lnTo>
                    <a:pt x="88314" y="110862"/>
                  </a:lnTo>
                  <a:lnTo>
                    <a:pt x="88988" y="110862"/>
                  </a:lnTo>
                  <a:lnTo>
                    <a:pt x="89662" y="110862"/>
                  </a:lnTo>
                  <a:lnTo>
                    <a:pt x="90674" y="110862"/>
                  </a:lnTo>
                  <a:lnTo>
                    <a:pt x="91348" y="110862"/>
                  </a:lnTo>
                  <a:lnTo>
                    <a:pt x="91348" y="110862"/>
                  </a:lnTo>
                  <a:lnTo>
                    <a:pt x="92359" y="109949"/>
                  </a:lnTo>
                  <a:lnTo>
                    <a:pt x="92359" y="109949"/>
                  </a:lnTo>
                  <a:lnTo>
                    <a:pt x="92359" y="109949"/>
                  </a:lnTo>
                  <a:lnTo>
                    <a:pt x="92359" y="108730"/>
                  </a:lnTo>
                  <a:lnTo>
                    <a:pt x="93033" y="108730"/>
                  </a:lnTo>
                  <a:lnTo>
                    <a:pt x="93033" y="108730"/>
                  </a:lnTo>
                  <a:lnTo>
                    <a:pt x="93033" y="107817"/>
                  </a:lnTo>
                  <a:lnTo>
                    <a:pt x="93707" y="108730"/>
                  </a:lnTo>
                  <a:lnTo>
                    <a:pt x="93707" y="109340"/>
                  </a:lnTo>
                  <a:lnTo>
                    <a:pt x="94719" y="110862"/>
                  </a:lnTo>
                  <a:lnTo>
                    <a:pt x="95393" y="111472"/>
                  </a:lnTo>
                  <a:lnTo>
                    <a:pt x="95393" y="112081"/>
                  </a:lnTo>
                  <a:lnTo>
                    <a:pt x="96067" y="112081"/>
                  </a:lnTo>
                  <a:lnTo>
                    <a:pt x="96067" y="112994"/>
                  </a:lnTo>
                  <a:lnTo>
                    <a:pt x="97078" y="112994"/>
                  </a:lnTo>
                  <a:lnTo>
                    <a:pt x="97752" y="112994"/>
                  </a:lnTo>
                  <a:lnTo>
                    <a:pt x="98426" y="112994"/>
                  </a:lnTo>
                  <a:lnTo>
                    <a:pt x="100112" y="113604"/>
                  </a:lnTo>
                  <a:lnTo>
                    <a:pt x="100786" y="113604"/>
                  </a:lnTo>
                  <a:lnTo>
                    <a:pt x="100786" y="114213"/>
                  </a:lnTo>
                  <a:lnTo>
                    <a:pt x="100786" y="114213"/>
                  </a:lnTo>
                  <a:lnTo>
                    <a:pt x="101797" y="115126"/>
                  </a:lnTo>
                  <a:lnTo>
                    <a:pt x="101797" y="115736"/>
                  </a:lnTo>
                  <a:lnTo>
                    <a:pt x="101797" y="116649"/>
                  </a:lnTo>
                  <a:lnTo>
                    <a:pt x="102471" y="116649"/>
                  </a:lnTo>
                  <a:lnTo>
                    <a:pt x="102471" y="116649"/>
                  </a:lnTo>
                  <a:lnTo>
                    <a:pt x="103483" y="116649"/>
                  </a:lnTo>
                  <a:lnTo>
                    <a:pt x="103483" y="117258"/>
                  </a:lnTo>
                  <a:lnTo>
                    <a:pt x="104157" y="117868"/>
                  </a:lnTo>
                  <a:lnTo>
                    <a:pt x="104157" y="118781"/>
                  </a:lnTo>
                  <a:lnTo>
                    <a:pt x="104157" y="119390"/>
                  </a:lnTo>
                  <a:lnTo>
                    <a:pt x="104831" y="119390"/>
                  </a:lnTo>
                  <a:lnTo>
                    <a:pt x="104831" y="120000"/>
                  </a:lnTo>
                  <a:lnTo>
                    <a:pt x="105842" y="120000"/>
                  </a:lnTo>
                  <a:lnTo>
                    <a:pt x="106516" y="119390"/>
                  </a:lnTo>
                  <a:lnTo>
                    <a:pt x="107191" y="119390"/>
                  </a:lnTo>
                  <a:lnTo>
                    <a:pt x="107191" y="118781"/>
                  </a:lnTo>
                  <a:lnTo>
                    <a:pt x="108202" y="118781"/>
                  </a:lnTo>
                  <a:lnTo>
                    <a:pt x="108202" y="118781"/>
                  </a:lnTo>
                  <a:lnTo>
                    <a:pt x="108876" y="119390"/>
                  </a:lnTo>
                  <a:lnTo>
                    <a:pt x="108876" y="119390"/>
                  </a:lnTo>
                  <a:lnTo>
                    <a:pt x="108876" y="120000"/>
                  </a:lnTo>
                  <a:lnTo>
                    <a:pt x="108876" y="120000"/>
                  </a:lnTo>
                  <a:lnTo>
                    <a:pt x="109550" y="120000"/>
                  </a:lnTo>
                  <a:lnTo>
                    <a:pt x="109550" y="120000"/>
                  </a:lnTo>
                  <a:lnTo>
                    <a:pt x="109550" y="119390"/>
                  </a:lnTo>
                  <a:lnTo>
                    <a:pt x="109550" y="118781"/>
                  </a:lnTo>
                  <a:lnTo>
                    <a:pt x="109550" y="117258"/>
                  </a:lnTo>
                  <a:lnTo>
                    <a:pt x="109550" y="116649"/>
                  </a:lnTo>
                  <a:lnTo>
                    <a:pt x="109550" y="115126"/>
                  </a:lnTo>
                  <a:lnTo>
                    <a:pt x="109550" y="113604"/>
                  </a:lnTo>
                  <a:lnTo>
                    <a:pt x="109550" y="112994"/>
                  </a:lnTo>
                  <a:lnTo>
                    <a:pt x="109550" y="112081"/>
                  </a:lnTo>
                  <a:lnTo>
                    <a:pt x="109550" y="112081"/>
                  </a:lnTo>
                  <a:lnTo>
                    <a:pt x="108876" y="112081"/>
                  </a:lnTo>
                  <a:lnTo>
                    <a:pt x="108202" y="112081"/>
                  </a:lnTo>
                  <a:lnTo>
                    <a:pt x="108202" y="112081"/>
                  </a:lnTo>
                  <a:lnTo>
                    <a:pt x="108202" y="112994"/>
                  </a:lnTo>
                  <a:lnTo>
                    <a:pt x="108202" y="112994"/>
                  </a:lnTo>
                  <a:lnTo>
                    <a:pt x="108202" y="113604"/>
                  </a:lnTo>
                  <a:lnTo>
                    <a:pt x="108202" y="113604"/>
                  </a:lnTo>
                  <a:lnTo>
                    <a:pt x="107191" y="113604"/>
                  </a:lnTo>
                  <a:lnTo>
                    <a:pt x="106516" y="113604"/>
                  </a:lnTo>
                  <a:lnTo>
                    <a:pt x="105842" y="112994"/>
                  </a:lnTo>
                  <a:lnTo>
                    <a:pt x="104831" y="112994"/>
                  </a:lnTo>
                  <a:lnTo>
                    <a:pt x="104831" y="112081"/>
                  </a:lnTo>
                  <a:lnTo>
                    <a:pt x="104157" y="111472"/>
                  </a:lnTo>
                  <a:lnTo>
                    <a:pt x="103483" y="111472"/>
                  </a:lnTo>
                  <a:lnTo>
                    <a:pt x="101797" y="109949"/>
                  </a:lnTo>
                  <a:lnTo>
                    <a:pt x="101797" y="109949"/>
                  </a:lnTo>
                  <a:lnTo>
                    <a:pt x="101797" y="109340"/>
                  </a:lnTo>
                  <a:lnTo>
                    <a:pt x="100786" y="108730"/>
                  </a:lnTo>
                  <a:lnTo>
                    <a:pt x="100786" y="108730"/>
                  </a:lnTo>
                  <a:lnTo>
                    <a:pt x="100786" y="107817"/>
                  </a:lnTo>
                  <a:lnTo>
                    <a:pt x="100786" y="107817"/>
                  </a:lnTo>
                  <a:lnTo>
                    <a:pt x="100786" y="106294"/>
                  </a:lnTo>
                  <a:lnTo>
                    <a:pt x="101797" y="105076"/>
                  </a:lnTo>
                  <a:lnTo>
                    <a:pt x="101797" y="104162"/>
                  </a:lnTo>
                  <a:lnTo>
                    <a:pt x="101797" y="102944"/>
                  </a:lnTo>
                  <a:lnTo>
                    <a:pt x="102471" y="102030"/>
                  </a:lnTo>
                  <a:lnTo>
                    <a:pt x="102471" y="101421"/>
                  </a:lnTo>
                  <a:lnTo>
                    <a:pt x="102471" y="100812"/>
                  </a:lnTo>
                  <a:lnTo>
                    <a:pt x="102471" y="99898"/>
                  </a:lnTo>
                  <a:lnTo>
                    <a:pt x="102471" y="98375"/>
                  </a:lnTo>
                  <a:lnTo>
                    <a:pt x="102471" y="97766"/>
                  </a:lnTo>
                  <a:lnTo>
                    <a:pt x="102471" y="97157"/>
                  </a:lnTo>
                  <a:lnTo>
                    <a:pt x="102471" y="95634"/>
                  </a:lnTo>
                  <a:lnTo>
                    <a:pt x="102471" y="95025"/>
                  </a:lnTo>
                  <a:lnTo>
                    <a:pt x="100786" y="93502"/>
                  </a:lnTo>
                  <a:lnTo>
                    <a:pt x="100786" y="92893"/>
                  </a:lnTo>
                  <a:lnTo>
                    <a:pt x="101797" y="92893"/>
                  </a:lnTo>
                  <a:lnTo>
                    <a:pt x="102471" y="91979"/>
                  </a:lnTo>
                  <a:lnTo>
                    <a:pt x="103483" y="91979"/>
                  </a:lnTo>
                  <a:lnTo>
                    <a:pt x="103483" y="91370"/>
                  </a:lnTo>
                  <a:lnTo>
                    <a:pt x="104157" y="90456"/>
                  </a:lnTo>
                  <a:lnTo>
                    <a:pt x="104157" y="89847"/>
                  </a:lnTo>
                  <a:lnTo>
                    <a:pt x="104831" y="89847"/>
                  </a:lnTo>
                  <a:lnTo>
                    <a:pt x="104831" y="89238"/>
                  </a:lnTo>
                  <a:lnTo>
                    <a:pt x="104157" y="88324"/>
                  </a:lnTo>
                  <a:lnTo>
                    <a:pt x="104831" y="88324"/>
                  </a:lnTo>
                  <a:lnTo>
                    <a:pt x="106516" y="87715"/>
                  </a:lnTo>
                  <a:lnTo>
                    <a:pt x="108202" y="87715"/>
                  </a:lnTo>
                  <a:lnTo>
                    <a:pt x="109550" y="87715"/>
                  </a:lnTo>
                  <a:lnTo>
                    <a:pt x="111910" y="87106"/>
                  </a:lnTo>
                  <a:lnTo>
                    <a:pt x="113595" y="87106"/>
                  </a:lnTo>
                  <a:lnTo>
                    <a:pt x="115280" y="86192"/>
                  </a:lnTo>
                  <a:lnTo>
                    <a:pt x="115955" y="86192"/>
                  </a:lnTo>
                  <a:lnTo>
                    <a:pt x="115955" y="85583"/>
                  </a:lnTo>
                  <a:lnTo>
                    <a:pt x="115280" y="84974"/>
                  </a:lnTo>
                  <a:lnTo>
                    <a:pt x="115280" y="84060"/>
                  </a:lnTo>
                  <a:lnTo>
                    <a:pt x="114606" y="82538"/>
                  </a:lnTo>
                  <a:lnTo>
                    <a:pt x="113595" y="81928"/>
                  </a:lnTo>
                  <a:lnTo>
                    <a:pt x="113595" y="81319"/>
                  </a:lnTo>
                  <a:lnTo>
                    <a:pt x="113595" y="79796"/>
                  </a:lnTo>
                  <a:lnTo>
                    <a:pt x="112921" y="79187"/>
                  </a:lnTo>
                  <a:lnTo>
                    <a:pt x="112921" y="78274"/>
                  </a:lnTo>
                  <a:lnTo>
                    <a:pt x="111910" y="78274"/>
                  </a:lnTo>
                  <a:lnTo>
                    <a:pt x="111235" y="77664"/>
                  </a:lnTo>
                  <a:lnTo>
                    <a:pt x="110561" y="77055"/>
                  </a:lnTo>
                  <a:lnTo>
                    <a:pt x="109550" y="76142"/>
                  </a:lnTo>
                  <a:lnTo>
                    <a:pt x="108876" y="74619"/>
                  </a:lnTo>
                  <a:lnTo>
                    <a:pt x="108876" y="74010"/>
                  </a:lnTo>
                  <a:lnTo>
                    <a:pt x="108202" y="73401"/>
                  </a:lnTo>
                  <a:lnTo>
                    <a:pt x="108202" y="72487"/>
                  </a:lnTo>
                  <a:lnTo>
                    <a:pt x="108202" y="71878"/>
                  </a:lnTo>
                  <a:lnTo>
                    <a:pt x="108876" y="71269"/>
                  </a:lnTo>
                  <a:lnTo>
                    <a:pt x="108876" y="70355"/>
                  </a:lnTo>
                  <a:lnTo>
                    <a:pt x="108876" y="69746"/>
                  </a:lnTo>
                  <a:lnTo>
                    <a:pt x="108876" y="69137"/>
                  </a:lnTo>
                  <a:lnTo>
                    <a:pt x="108202" y="68223"/>
                  </a:lnTo>
                  <a:lnTo>
                    <a:pt x="108202" y="67614"/>
                  </a:lnTo>
                  <a:lnTo>
                    <a:pt x="108202" y="66700"/>
                  </a:lnTo>
                  <a:lnTo>
                    <a:pt x="107191" y="66091"/>
                  </a:lnTo>
                  <a:lnTo>
                    <a:pt x="107191" y="65482"/>
                  </a:lnTo>
                  <a:lnTo>
                    <a:pt x="107191" y="64568"/>
                  </a:lnTo>
                  <a:lnTo>
                    <a:pt x="107191" y="63959"/>
                  </a:lnTo>
                  <a:lnTo>
                    <a:pt x="108202" y="62436"/>
                  </a:lnTo>
                  <a:lnTo>
                    <a:pt x="108202" y="62436"/>
                  </a:lnTo>
                  <a:lnTo>
                    <a:pt x="108202" y="61218"/>
                  </a:lnTo>
                  <a:lnTo>
                    <a:pt x="107191" y="60304"/>
                  </a:lnTo>
                  <a:lnTo>
                    <a:pt x="106516" y="58781"/>
                  </a:lnTo>
                  <a:lnTo>
                    <a:pt x="106516" y="58172"/>
                  </a:lnTo>
                  <a:lnTo>
                    <a:pt x="106516" y="57563"/>
                  </a:lnTo>
                  <a:lnTo>
                    <a:pt x="106516" y="56040"/>
                  </a:lnTo>
                  <a:lnTo>
                    <a:pt x="106516" y="55431"/>
                  </a:lnTo>
                  <a:lnTo>
                    <a:pt x="106516" y="54517"/>
                  </a:lnTo>
                  <a:lnTo>
                    <a:pt x="106516" y="53908"/>
                  </a:lnTo>
                  <a:lnTo>
                    <a:pt x="106516" y="53299"/>
                  </a:lnTo>
                  <a:lnTo>
                    <a:pt x="106516" y="52385"/>
                  </a:lnTo>
                  <a:lnTo>
                    <a:pt x="105842" y="51776"/>
                  </a:lnTo>
                  <a:lnTo>
                    <a:pt x="105842" y="51776"/>
                  </a:lnTo>
                  <a:lnTo>
                    <a:pt x="105842" y="51776"/>
                  </a:lnTo>
                  <a:lnTo>
                    <a:pt x="105842" y="50862"/>
                  </a:lnTo>
                  <a:lnTo>
                    <a:pt x="104831" y="50862"/>
                  </a:lnTo>
                  <a:lnTo>
                    <a:pt x="104831" y="50862"/>
                  </a:lnTo>
                  <a:lnTo>
                    <a:pt x="104831" y="50253"/>
                  </a:lnTo>
                  <a:lnTo>
                    <a:pt x="104831" y="49644"/>
                  </a:lnTo>
                  <a:lnTo>
                    <a:pt x="104831" y="48730"/>
                  </a:lnTo>
                  <a:lnTo>
                    <a:pt x="104831" y="48730"/>
                  </a:lnTo>
                  <a:lnTo>
                    <a:pt x="105842" y="48730"/>
                  </a:lnTo>
                  <a:lnTo>
                    <a:pt x="106516" y="48121"/>
                  </a:lnTo>
                  <a:lnTo>
                    <a:pt x="106516" y="48121"/>
                  </a:lnTo>
                  <a:lnTo>
                    <a:pt x="106516" y="47512"/>
                  </a:lnTo>
                  <a:lnTo>
                    <a:pt x="106516" y="46598"/>
                  </a:lnTo>
                  <a:lnTo>
                    <a:pt x="106516" y="45989"/>
                  </a:lnTo>
                  <a:lnTo>
                    <a:pt x="106516" y="45380"/>
                  </a:lnTo>
                  <a:lnTo>
                    <a:pt x="106516" y="44467"/>
                  </a:lnTo>
                  <a:lnTo>
                    <a:pt x="107191" y="44467"/>
                  </a:lnTo>
                  <a:lnTo>
                    <a:pt x="107191" y="43857"/>
                  </a:lnTo>
                  <a:lnTo>
                    <a:pt x="108202" y="42944"/>
                  </a:lnTo>
                  <a:lnTo>
                    <a:pt x="108202" y="42944"/>
                  </a:lnTo>
                  <a:lnTo>
                    <a:pt x="108876" y="42944"/>
                  </a:lnTo>
                  <a:lnTo>
                    <a:pt x="108876" y="42335"/>
                  </a:lnTo>
                  <a:lnTo>
                    <a:pt x="108876" y="42335"/>
                  </a:lnTo>
                  <a:lnTo>
                    <a:pt x="108876" y="40812"/>
                  </a:lnTo>
                  <a:lnTo>
                    <a:pt x="108876" y="40203"/>
                  </a:lnTo>
                  <a:lnTo>
                    <a:pt x="108876" y="39593"/>
                  </a:lnTo>
                  <a:lnTo>
                    <a:pt x="108876" y="38680"/>
                  </a:lnTo>
                  <a:lnTo>
                    <a:pt x="109550" y="38071"/>
                  </a:lnTo>
                  <a:lnTo>
                    <a:pt x="109550" y="37157"/>
                  </a:lnTo>
                  <a:lnTo>
                    <a:pt x="109550" y="36548"/>
                  </a:lnTo>
                  <a:lnTo>
                    <a:pt x="109550" y="34416"/>
                  </a:lnTo>
                  <a:lnTo>
                    <a:pt x="109550" y="34416"/>
                  </a:lnTo>
                  <a:lnTo>
                    <a:pt x="109550" y="32893"/>
                  </a:lnTo>
                  <a:lnTo>
                    <a:pt x="110561" y="32893"/>
                  </a:lnTo>
                  <a:lnTo>
                    <a:pt x="110561" y="32893"/>
                  </a:lnTo>
                  <a:lnTo>
                    <a:pt x="110561" y="32284"/>
                  </a:lnTo>
                  <a:lnTo>
                    <a:pt x="111235" y="30761"/>
                  </a:lnTo>
                  <a:lnTo>
                    <a:pt x="111235" y="30761"/>
                  </a:lnTo>
                  <a:lnTo>
                    <a:pt x="111235" y="29238"/>
                  </a:lnTo>
                  <a:lnTo>
                    <a:pt x="111235" y="28629"/>
                  </a:lnTo>
                  <a:lnTo>
                    <a:pt x="111235" y="28629"/>
                  </a:lnTo>
                  <a:lnTo>
                    <a:pt x="111910" y="28020"/>
                  </a:lnTo>
                  <a:lnTo>
                    <a:pt x="112921" y="27106"/>
                  </a:lnTo>
                  <a:lnTo>
                    <a:pt x="112921" y="26497"/>
                  </a:lnTo>
                  <a:lnTo>
                    <a:pt x="113595" y="25888"/>
                  </a:lnTo>
                  <a:lnTo>
                    <a:pt x="114606" y="25888"/>
                  </a:lnTo>
                  <a:lnTo>
                    <a:pt x="114606" y="25888"/>
                  </a:lnTo>
                  <a:lnTo>
                    <a:pt x="117640" y="22842"/>
                  </a:lnTo>
                  <a:lnTo>
                    <a:pt x="119325" y="21319"/>
                  </a:lnTo>
                  <a:lnTo>
                    <a:pt x="119325" y="20710"/>
                  </a:lnTo>
                  <a:lnTo>
                    <a:pt x="119325" y="20101"/>
                  </a:lnTo>
                  <a:lnTo>
                    <a:pt x="120000" y="20101"/>
                  </a:lnTo>
                  <a:lnTo>
                    <a:pt x="119325" y="19187"/>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05" name="Shape 505"/>
            <p:cNvSpPr/>
            <p:nvPr/>
          </p:nvSpPr>
          <p:spPr>
            <a:xfrm>
              <a:off x="3874" y="1734"/>
              <a:ext cx="0" cy="0"/>
            </a:xfrm>
            <a:custGeom>
              <a:avLst/>
              <a:gdLst/>
              <a:ahLst/>
              <a:cxnLst/>
              <a:rect l="0" t="0" r="0" b="0"/>
              <a:pathLst>
                <a:path w="120000" h="120000" extrusionOk="0">
                  <a:moveTo>
                    <a:pt x="117837" y="71538"/>
                  </a:moveTo>
                  <a:lnTo>
                    <a:pt x="117837" y="71538"/>
                  </a:lnTo>
                  <a:lnTo>
                    <a:pt x="115675" y="60000"/>
                  </a:lnTo>
                  <a:lnTo>
                    <a:pt x="115675" y="60000"/>
                  </a:lnTo>
                  <a:lnTo>
                    <a:pt x="115675" y="60000"/>
                  </a:lnTo>
                  <a:lnTo>
                    <a:pt x="115675" y="55384"/>
                  </a:lnTo>
                  <a:lnTo>
                    <a:pt x="112432" y="55384"/>
                  </a:lnTo>
                  <a:lnTo>
                    <a:pt x="110270" y="55384"/>
                  </a:lnTo>
                  <a:lnTo>
                    <a:pt x="110270" y="55384"/>
                  </a:lnTo>
                  <a:lnTo>
                    <a:pt x="107027" y="55384"/>
                  </a:lnTo>
                  <a:lnTo>
                    <a:pt x="107027" y="55384"/>
                  </a:lnTo>
                  <a:lnTo>
                    <a:pt x="104864" y="48461"/>
                  </a:lnTo>
                  <a:lnTo>
                    <a:pt x="104864" y="48461"/>
                  </a:lnTo>
                  <a:lnTo>
                    <a:pt x="104864" y="48461"/>
                  </a:lnTo>
                  <a:lnTo>
                    <a:pt x="104864" y="48461"/>
                  </a:lnTo>
                  <a:lnTo>
                    <a:pt x="104864" y="48461"/>
                  </a:lnTo>
                  <a:lnTo>
                    <a:pt x="104864" y="48461"/>
                  </a:lnTo>
                  <a:lnTo>
                    <a:pt x="102702" y="55384"/>
                  </a:lnTo>
                  <a:lnTo>
                    <a:pt x="99459" y="48461"/>
                  </a:lnTo>
                  <a:lnTo>
                    <a:pt x="99459" y="48461"/>
                  </a:lnTo>
                  <a:lnTo>
                    <a:pt x="99459" y="48461"/>
                  </a:lnTo>
                  <a:lnTo>
                    <a:pt x="97297" y="43846"/>
                  </a:lnTo>
                  <a:lnTo>
                    <a:pt x="97297" y="43846"/>
                  </a:lnTo>
                  <a:lnTo>
                    <a:pt x="97297" y="43846"/>
                  </a:lnTo>
                  <a:lnTo>
                    <a:pt x="97297" y="43846"/>
                  </a:lnTo>
                  <a:lnTo>
                    <a:pt x="99459" y="43846"/>
                  </a:lnTo>
                  <a:lnTo>
                    <a:pt x="99459" y="39230"/>
                  </a:lnTo>
                  <a:lnTo>
                    <a:pt x="99459" y="39230"/>
                  </a:lnTo>
                  <a:lnTo>
                    <a:pt x="99459" y="39230"/>
                  </a:lnTo>
                  <a:lnTo>
                    <a:pt x="97297" y="39230"/>
                  </a:lnTo>
                  <a:lnTo>
                    <a:pt x="97297" y="39230"/>
                  </a:lnTo>
                  <a:lnTo>
                    <a:pt x="95135" y="39230"/>
                  </a:lnTo>
                  <a:lnTo>
                    <a:pt x="95135" y="39230"/>
                  </a:lnTo>
                  <a:lnTo>
                    <a:pt x="89729" y="32307"/>
                  </a:lnTo>
                  <a:lnTo>
                    <a:pt x="87567" y="32307"/>
                  </a:lnTo>
                  <a:lnTo>
                    <a:pt x="84324" y="32307"/>
                  </a:lnTo>
                  <a:lnTo>
                    <a:pt x="84324" y="32307"/>
                  </a:lnTo>
                  <a:lnTo>
                    <a:pt x="84324" y="32307"/>
                  </a:lnTo>
                  <a:lnTo>
                    <a:pt x="87567" y="39230"/>
                  </a:lnTo>
                  <a:lnTo>
                    <a:pt x="87567" y="39230"/>
                  </a:lnTo>
                  <a:lnTo>
                    <a:pt x="84324" y="43846"/>
                  </a:lnTo>
                  <a:lnTo>
                    <a:pt x="84324" y="43846"/>
                  </a:lnTo>
                  <a:lnTo>
                    <a:pt x="82162" y="43846"/>
                  </a:lnTo>
                  <a:lnTo>
                    <a:pt x="82162" y="43846"/>
                  </a:lnTo>
                  <a:lnTo>
                    <a:pt x="82162" y="43846"/>
                  </a:lnTo>
                  <a:lnTo>
                    <a:pt x="80000" y="43846"/>
                  </a:lnTo>
                  <a:lnTo>
                    <a:pt x="80000" y="43846"/>
                  </a:lnTo>
                  <a:lnTo>
                    <a:pt x="76756" y="39230"/>
                  </a:lnTo>
                  <a:lnTo>
                    <a:pt x="74594" y="32307"/>
                  </a:lnTo>
                  <a:lnTo>
                    <a:pt x="74594" y="32307"/>
                  </a:lnTo>
                  <a:lnTo>
                    <a:pt x="74594" y="32307"/>
                  </a:lnTo>
                  <a:lnTo>
                    <a:pt x="71351" y="32307"/>
                  </a:lnTo>
                  <a:lnTo>
                    <a:pt x="71351" y="32307"/>
                  </a:lnTo>
                  <a:lnTo>
                    <a:pt x="71351" y="27692"/>
                  </a:lnTo>
                  <a:lnTo>
                    <a:pt x="74594" y="27692"/>
                  </a:lnTo>
                  <a:lnTo>
                    <a:pt x="74594" y="27692"/>
                  </a:lnTo>
                  <a:lnTo>
                    <a:pt x="74594" y="27692"/>
                  </a:lnTo>
                  <a:lnTo>
                    <a:pt x="74594" y="27692"/>
                  </a:lnTo>
                  <a:lnTo>
                    <a:pt x="76756" y="23076"/>
                  </a:lnTo>
                  <a:lnTo>
                    <a:pt x="76756" y="23076"/>
                  </a:lnTo>
                  <a:lnTo>
                    <a:pt x="74594" y="23076"/>
                  </a:lnTo>
                  <a:lnTo>
                    <a:pt x="74594" y="23076"/>
                  </a:lnTo>
                  <a:lnTo>
                    <a:pt x="69189" y="23076"/>
                  </a:lnTo>
                  <a:lnTo>
                    <a:pt x="69189" y="23076"/>
                  </a:lnTo>
                  <a:lnTo>
                    <a:pt x="69189" y="23076"/>
                  </a:lnTo>
                  <a:lnTo>
                    <a:pt x="67027" y="23076"/>
                  </a:lnTo>
                  <a:lnTo>
                    <a:pt x="67027" y="16153"/>
                  </a:lnTo>
                  <a:lnTo>
                    <a:pt x="67027" y="16153"/>
                  </a:lnTo>
                  <a:lnTo>
                    <a:pt x="63783" y="16153"/>
                  </a:lnTo>
                  <a:lnTo>
                    <a:pt x="61621" y="16153"/>
                  </a:lnTo>
                  <a:lnTo>
                    <a:pt x="59459" y="11538"/>
                  </a:lnTo>
                  <a:lnTo>
                    <a:pt x="59459" y="11538"/>
                  </a:lnTo>
                  <a:lnTo>
                    <a:pt x="56216" y="11538"/>
                  </a:lnTo>
                  <a:lnTo>
                    <a:pt x="56216" y="11538"/>
                  </a:lnTo>
                  <a:lnTo>
                    <a:pt x="56216" y="11538"/>
                  </a:lnTo>
                  <a:lnTo>
                    <a:pt x="56216" y="6923"/>
                  </a:lnTo>
                  <a:lnTo>
                    <a:pt x="54054" y="6923"/>
                  </a:lnTo>
                  <a:lnTo>
                    <a:pt x="51891" y="6923"/>
                  </a:lnTo>
                  <a:lnTo>
                    <a:pt x="51891" y="6923"/>
                  </a:lnTo>
                  <a:lnTo>
                    <a:pt x="51891" y="6923"/>
                  </a:lnTo>
                  <a:lnTo>
                    <a:pt x="51891" y="11538"/>
                  </a:lnTo>
                  <a:lnTo>
                    <a:pt x="48648" y="11538"/>
                  </a:lnTo>
                  <a:lnTo>
                    <a:pt x="48648" y="11538"/>
                  </a:lnTo>
                  <a:lnTo>
                    <a:pt x="48648" y="11538"/>
                  </a:lnTo>
                  <a:lnTo>
                    <a:pt x="46486" y="11538"/>
                  </a:lnTo>
                  <a:lnTo>
                    <a:pt x="46486" y="11538"/>
                  </a:lnTo>
                  <a:lnTo>
                    <a:pt x="46486" y="11538"/>
                  </a:lnTo>
                  <a:lnTo>
                    <a:pt x="44324" y="11538"/>
                  </a:lnTo>
                  <a:lnTo>
                    <a:pt x="44324" y="6923"/>
                  </a:lnTo>
                  <a:lnTo>
                    <a:pt x="44324" y="6923"/>
                  </a:lnTo>
                  <a:lnTo>
                    <a:pt x="44324" y="6923"/>
                  </a:lnTo>
                  <a:lnTo>
                    <a:pt x="44324" y="6923"/>
                  </a:lnTo>
                  <a:lnTo>
                    <a:pt x="44324" y="6923"/>
                  </a:lnTo>
                  <a:lnTo>
                    <a:pt x="41081" y="0"/>
                  </a:lnTo>
                  <a:lnTo>
                    <a:pt x="38918" y="0"/>
                  </a:lnTo>
                  <a:lnTo>
                    <a:pt x="38918" y="0"/>
                  </a:lnTo>
                  <a:lnTo>
                    <a:pt x="38918" y="6923"/>
                  </a:lnTo>
                  <a:lnTo>
                    <a:pt x="38918" y="6923"/>
                  </a:lnTo>
                  <a:lnTo>
                    <a:pt x="38918" y="6923"/>
                  </a:lnTo>
                  <a:lnTo>
                    <a:pt x="41081" y="6923"/>
                  </a:lnTo>
                  <a:lnTo>
                    <a:pt x="41081" y="11538"/>
                  </a:lnTo>
                  <a:lnTo>
                    <a:pt x="38918" y="11538"/>
                  </a:lnTo>
                  <a:lnTo>
                    <a:pt x="35675" y="11538"/>
                  </a:lnTo>
                  <a:lnTo>
                    <a:pt x="33513" y="11538"/>
                  </a:lnTo>
                  <a:lnTo>
                    <a:pt x="31351" y="16153"/>
                  </a:lnTo>
                  <a:lnTo>
                    <a:pt x="28108" y="16153"/>
                  </a:lnTo>
                  <a:lnTo>
                    <a:pt x="25945" y="16153"/>
                  </a:lnTo>
                  <a:lnTo>
                    <a:pt x="25945" y="16153"/>
                  </a:lnTo>
                  <a:lnTo>
                    <a:pt x="25945" y="23076"/>
                  </a:lnTo>
                  <a:lnTo>
                    <a:pt x="23783" y="23076"/>
                  </a:lnTo>
                  <a:lnTo>
                    <a:pt x="23783" y="23076"/>
                  </a:lnTo>
                  <a:lnTo>
                    <a:pt x="23783" y="23076"/>
                  </a:lnTo>
                  <a:lnTo>
                    <a:pt x="23783" y="23076"/>
                  </a:lnTo>
                  <a:lnTo>
                    <a:pt x="20540" y="23076"/>
                  </a:lnTo>
                  <a:lnTo>
                    <a:pt x="20540" y="23076"/>
                  </a:lnTo>
                  <a:lnTo>
                    <a:pt x="20540" y="23076"/>
                  </a:lnTo>
                  <a:lnTo>
                    <a:pt x="20540" y="27692"/>
                  </a:lnTo>
                  <a:lnTo>
                    <a:pt x="16216" y="27692"/>
                  </a:lnTo>
                  <a:lnTo>
                    <a:pt x="16216" y="27692"/>
                  </a:lnTo>
                  <a:lnTo>
                    <a:pt x="16216" y="32307"/>
                  </a:lnTo>
                  <a:lnTo>
                    <a:pt x="16216" y="32307"/>
                  </a:lnTo>
                  <a:lnTo>
                    <a:pt x="12972" y="32307"/>
                  </a:lnTo>
                  <a:lnTo>
                    <a:pt x="12972" y="32307"/>
                  </a:lnTo>
                  <a:lnTo>
                    <a:pt x="10810" y="32307"/>
                  </a:lnTo>
                  <a:lnTo>
                    <a:pt x="10810" y="32307"/>
                  </a:lnTo>
                  <a:lnTo>
                    <a:pt x="8648" y="32307"/>
                  </a:lnTo>
                  <a:lnTo>
                    <a:pt x="8648" y="32307"/>
                  </a:lnTo>
                  <a:lnTo>
                    <a:pt x="5405" y="39230"/>
                  </a:lnTo>
                  <a:lnTo>
                    <a:pt x="5405" y="43846"/>
                  </a:lnTo>
                  <a:lnTo>
                    <a:pt x="3243" y="43846"/>
                  </a:lnTo>
                  <a:lnTo>
                    <a:pt x="3243" y="39230"/>
                  </a:lnTo>
                  <a:lnTo>
                    <a:pt x="3243" y="39230"/>
                  </a:lnTo>
                  <a:lnTo>
                    <a:pt x="0" y="39230"/>
                  </a:lnTo>
                  <a:lnTo>
                    <a:pt x="0" y="39230"/>
                  </a:lnTo>
                  <a:lnTo>
                    <a:pt x="0" y="39230"/>
                  </a:lnTo>
                  <a:lnTo>
                    <a:pt x="0" y="39230"/>
                  </a:lnTo>
                  <a:lnTo>
                    <a:pt x="0" y="39230"/>
                  </a:lnTo>
                  <a:lnTo>
                    <a:pt x="3243" y="43846"/>
                  </a:lnTo>
                  <a:lnTo>
                    <a:pt x="3243" y="43846"/>
                  </a:lnTo>
                  <a:lnTo>
                    <a:pt x="3243" y="43846"/>
                  </a:lnTo>
                  <a:lnTo>
                    <a:pt x="3243" y="48461"/>
                  </a:lnTo>
                  <a:lnTo>
                    <a:pt x="5405" y="48461"/>
                  </a:lnTo>
                  <a:lnTo>
                    <a:pt x="8648" y="55384"/>
                  </a:lnTo>
                  <a:lnTo>
                    <a:pt x="8648" y="55384"/>
                  </a:lnTo>
                  <a:lnTo>
                    <a:pt x="8648" y="55384"/>
                  </a:lnTo>
                  <a:lnTo>
                    <a:pt x="8648" y="60000"/>
                  </a:lnTo>
                  <a:lnTo>
                    <a:pt x="8648" y="60000"/>
                  </a:lnTo>
                  <a:lnTo>
                    <a:pt x="8648" y="60000"/>
                  </a:lnTo>
                  <a:lnTo>
                    <a:pt x="5405" y="66923"/>
                  </a:lnTo>
                  <a:lnTo>
                    <a:pt x="5405" y="66923"/>
                  </a:lnTo>
                  <a:lnTo>
                    <a:pt x="8648" y="66923"/>
                  </a:lnTo>
                  <a:lnTo>
                    <a:pt x="8648" y="66923"/>
                  </a:lnTo>
                  <a:lnTo>
                    <a:pt x="8648" y="71538"/>
                  </a:lnTo>
                  <a:lnTo>
                    <a:pt x="10810" y="76153"/>
                  </a:lnTo>
                  <a:lnTo>
                    <a:pt x="10810" y="76153"/>
                  </a:lnTo>
                  <a:lnTo>
                    <a:pt x="12972" y="83076"/>
                  </a:lnTo>
                  <a:lnTo>
                    <a:pt x="12972" y="83076"/>
                  </a:lnTo>
                  <a:lnTo>
                    <a:pt x="16216" y="83076"/>
                  </a:lnTo>
                  <a:lnTo>
                    <a:pt x="18378" y="87692"/>
                  </a:lnTo>
                  <a:lnTo>
                    <a:pt x="18378" y="92307"/>
                  </a:lnTo>
                  <a:lnTo>
                    <a:pt x="20540" y="92307"/>
                  </a:lnTo>
                  <a:lnTo>
                    <a:pt x="20540" y="92307"/>
                  </a:lnTo>
                  <a:lnTo>
                    <a:pt x="23783" y="99230"/>
                  </a:lnTo>
                  <a:lnTo>
                    <a:pt x="23783" y="99230"/>
                  </a:lnTo>
                  <a:lnTo>
                    <a:pt x="23783" y="99230"/>
                  </a:lnTo>
                  <a:lnTo>
                    <a:pt x="25945" y="99230"/>
                  </a:lnTo>
                  <a:lnTo>
                    <a:pt x="25945" y="99230"/>
                  </a:lnTo>
                  <a:lnTo>
                    <a:pt x="28108" y="103846"/>
                  </a:lnTo>
                  <a:lnTo>
                    <a:pt x="31351" y="108461"/>
                  </a:lnTo>
                  <a:lnTo>
                    <a:pt x="31351" y="108461"/>
                  </a:lnTo>
                  <a:lnTo>
                    <a:pt x="31351" y="108461"/>
                  </a:lnTo>
                  <a:lnTo>
                    <a:pt x="33513" y="108461"/>
                  </a:lnTo>
                  <a:lnTo>
                    <a:pt x="33513" y="115384"/>
                  </a:lnTo>
                  <a:lnTo>
                    <a:pt x="35675" y="115384"/>
                  </a:lnTo>
                  <a:lnTo>
                    <a:pt x="38918" y="120000"/>
                  </a:lnTo>
                  <a:lnTo>
                    <a:pt x="41081" y="120000"/>
                  </a:lnTo>
                  <a:lnTo>
                    <a:pt x="41081" y="115384"/>
                  </a:lnTo>
                  <a:lnTo>
                    <a:pt x="44324" y="115384"/>
                  </a:lnTo>
                  <a:lnTo>
                    <a:pt x="44324" y="115384"/>
                  </a:lnTo>
                  <a:lnTo>
                    <a:pt x="46486" y="120000"/>
                  </a:lnTo>
                  <a:lnTo>
                    <a:pt x="46486" y="115384"/>
                  </a:lnTo>
                  <a:lnTo>
                    <a:pt x="48648" y="108461"/>
                  </a:lnTo>
                  <a:lnTo>
                    <a:pt x="48648" y="108461"/>
                  </a:lnTo>
                  <a:lnTo>
                    <a:pt x="51891" y="108461"/>
                  </a:lnTo>
                  <a:lnTo>
                    <a:pt x="51891" y="108461"/>
                  </a:lnTo>
                  <a:lnTo>
                    <a:pt x="51891" y="99230"/>
                  </a:lnTo>
                  <a:lnTo>
                    <a:pt x="51891" y="99230"/>
                  </a:lnTo>
                  <a:lnTo>
                    <a:pt x="54054" y="99230"/>
                  </a:lnTo>
                  <a:lnTo>
                    <a:pt x="54054" y="99230"/>
                  </a:lnTo>
                  <a:lnTo>
                    <a:pt x="54054" y="103846"/>
                  </a:lnTo>
                  <a:lnTo>
                    <a:pt x="56216" y="99230"/>
                  </a:lnTo>
                  <a:lnTo>
                    <a:pt x="56216" y="99230"/>
                  </a:lnTo>
                  <a:lnTo>
                    <a:pt x="56216" y="99230"/>
                  </a:lnTo>
                  <a:lnTo>
                    <a:pt x="59459" y="99230"/>
                  </a:lnTo>
                  <a:lnTo>
                    <a:pt x="61621" y="103846"/>
                  </a:lnTo>
                  <a:lnTo>
                    <a:pt x="63783" y="103846"/>
                  </a:lnTo>
                  <a:lnTo>
                    <a:pt x="67027" y="103846"/>
                  </a:lnTo>
                  <a:lnTo>
                    <a:pt x="67027" y="103846"/>
                  </a:lnTo>
                  <a:lnTo>
                    <a:pt x="71351" y="108461"/>
                  </a:lnTo>
                  <a:lnTo>
                    <a:pt x="74594" y="108461"/>
                  </a:lnTo>
                  <a:lnTo>
                    <a:pt x="76756" y="108461"/>
                  </a:lnTo>
                  <a:lnTo>
                    <a:pt x="76756" y="108461"/>
                  </a:lnTo>
                  <a:lnTo>
                    <a:pt x="80000" y="108461"/>
                  </a:lnTo>
                  <a:lnTo>
                    <a:pt x="80000" y="108461"/>
                  </a:lnTo>
                  <a:lnTo>
                    <a:pt x="80000" y="108461"/>
                  </a:lnTo>
                  <a:lnTo>
                    <a:pt x="82162" y="108461"/>
                  </a:lnTo>
                  <a:lnTo>
                    <a:pt x="84324" y="108461"/>
                  </a:lnTo>
                  <a:lnTo>
                    <a:pt x="84324" y="115384"/>
                  </a:lnTo>
                  <a:lnTo>
                    <a:pt x="84324" y="115384"/>
                  </a:lnTo>
                  <a:lnTo>
                    <a:pt x="87567" y="115384"/>
                  </a:lnTo>
                  <a:lnTo>
                    <a:pt x="87567" y="120000"/>
                  </a:lnTo>
                  <a:lnTo>
                    <a:pt x="87567" y="115384"/>
                  </a:lnTo>
                  <a:lnTo>
                    <a:pt x="89729" y="108461"/>
                  </a:lnTo>
                  <a:lnTo>
                    <a:pt x="89729" y="103846"/>
                  </a:lnTo>
                  <a:lnTo>
                    <a:pt x="89729" y="103846"/>
                  </a:lnTo>
                  <a:lnTo>
                    <a:pt x="91891" y="103846"/>
                  </a:lnTo>
                  <a:lnTo>
                    <a:pt x="95135" y="108461"/>
                  </a:lnTo>
                  <a:lnTo>
                    <a:pt x="97297" y="103846"/>
                  </a:lnTo>
                  <a:lnTo>
                    <a:pt x="99459" y="103846"/>
                  </a:lnTo>
                  <a:lnTo>
                    <a:pt x="102702" y="103846"/>
                  </a:lnTo>
                  <a:lnTo>
                    <a:pt x="102702" y="99230"/>
                  </a:lnTo>
                  <a:lnTo>
                    <a:pt x="102702" y="99230"/>
                  </a:lnTo>
                  <a:lnTo>
                    <a:pt x="104864" y="99230"/>
                  </a:lnTo>
                  <a:lnTo>
                    <a:pt x="104864" y="99230"/>
                  </a:lnTo>
                  <a:lnTo>
                    <a:pt x="107027" y="92307"/>
                  </a:lnTo>
                  <a:lnTo>
                    <a:pt x="107027" y="92307"/>
                  </a:lnTo>
                  <a:lnTo>
                    <a:pt x="107027" y="87692"/>
                  </a:lnTo>
                  <a:lnTo>
                    <a:pt x="107027" y="87692"/>
                  </a:lnTo>
                  <a:lnTo>
                    <a:pt x="107027" y="87692"/>
                  </a:lnTo>
                  <a:lnTo>
                    <a:pt x="110270" y="83076"/>
                  </a:lnTo>
                  <a:lnTo>
                    <a:pt x="110270" y="83076"/>
                  </a:lnTo>
                  <a:lnTo>
                    <a:pt x="112432" y="83076"/>
                  </a:lnTo>
                  <a:lnTo>
                    <a:pt x="112432" y="76153"/>
                  </a:lnTo>
                  <a:lnTo>
                    <a:pt x="112432" y="76153"/>
                  </a:lnTo>
                  <a:lnTo>
                    <a:pt x="115675" y="76153"/>
                  </a:lnTo>
                  <a:lnTo>
                    <a:pt x="115675" y="76153"/>
                  </a:lnTo>
                  <a:lnTo>
                    <a:pt x="117837" y="76153"/>
                  </a:lnTo>
                  <a:lnTo>
                    <a:pt x="117837" y="76153"/>
                  </a:lnTo>
                  <a:lnTo>
                    <a:pt x="120000" y="76153"/>
                  </a:lnTo>
                  <a:lnTo>
                    <a:pt x="117837" y="71538"/>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06" name="Shape 506"/>
            <p:cNvSpPr/>
            <p:nvPr/>
          </p:nvSpPr>
          <p:spPr>
            <a:xfrm>
              <a:off x="4230" y="2056"/>
              <a:ext cx="0" cy="0"/>
            </a:xfrm>
            <a:custGeom>
              <a:avLst/>
              <a:gdLst/>
              <a:ahLst/>
              <a:cxnLst/>
              <a:rect l="0" t="0" r="0" b="0"/>
              <a:pathLst>
                <a:path w="120000" h="120000" extrusionOk="0">
                  <a:moveTo>
                    <a:pt x="120000" y="0"/>
                  </a:moveTo>
                  <a:lnTo>
                    <a:pt x="120000" y="0"/>
                  </a:lnTo>
                  <a:lnTo>
                    <a:pt x="113684" y="0"/>
                  </a:lnTo>
                  <a:lnTo>
                    <a:pt x="104210" y="0"/>
                  </a:lnTo>
                  <a:lnTo>
                    <a:pt x="104210" y="11428"/>
                  </a:lnTo>
                  <a:lnTo>
                    <a:pt x="97894" y="11428"/>
                  </a:lnTo>
                  <a:lnTo>
                    <a:pt x="75789" y="22857"/>
                  </a:lnTo>
                  <a:lnTo>
                    <a:pt x="69473" y="22857"/>
                  </a:lnTo>
                  <a:lnTo>
                    <a:pt x="53684" y="22857"/>
                  </a:lnTo>
                  <a:lnTo>
                    <a:pt x="44210" y="22857"/>
                  </a:lnTo>
                  <a:lnTo>
                    <a:pt x="37894" y="22857"/>
                  </a:lnTo>
                  <a:lnTo>
                    <a:pt x="37894" y="40000"/>
                  </a:lnTo>
                  <a:lnTo>
                    <a:pt x="31578" y="51428"/>
                  </a:lnTo>
                  <a:lnTo>
                    <a:pt x="31578" y="51428"/>
                  </a:lnTo>
                  <a:lnTo>
                    <a:pt x="22105" y="51428"/>
                  </a:lnTo>
                  <a:lnTo>
                    <a:pt x="22105" y="51428"/>
                  </a:lnTo>
                  <a:lnTo>
                    <a:pt x="15789" y="51428"/>
                  </a:lnTo>
                  <a:lnTo>
                    <a:pt x="9473" y="68571"/>
                  </a:lnTo>
                  <a:lnTo>
                    <a:pt x="9473" y="68571"/>
                  </a:lnTo>
                  <a:lnTo>
                    <a:pt x="0" y="68571"/>
                  </a:lnTo>
                  <a:lnTo>
                    <a:pt x="0" y="80000"/>
                  </a:lnTo>
                  <a:lnTo>
                    <a:pt x="9473" y="108571"/>
                  </a:lnTo>
                  <a:lnTo>
                    <a:pt x="9473" y="108571"/>
                  </a:lnTo>
                  <a:lnTo>
                    <a:pt x="15789" y="108571"/>
                  </a:lnTo>
                  <a:lnTo>
                    <a:pt x="22105" y="120000"/>
                  </a:lnTo>
                  <a:lnTo>
                    <a:pt x="31578" y="120000"/>
                  </a:lnTo>
                  <a:lnTo>
                    <a:pt x="37894" y="120000"/>
                  </a:lnTo>
                  <a:lnTo>
                    <a:pt x="37894" y="120000"/>
                  </a:lnTo>
                  <a:lnTo>
                    <a:pt x="37894" y="120000"/>
                  </a:lnTo>
                  <a:lnTo>
                    <a:pt x="44210" y="120000"/>
                  </a:lnTo>
                  <a:lnTo>
                    <a:pt x="44210" y="120000"/>
                  </a:lnTo>
                  <a:lnTo>
                    <a:pt x="44210" y="120000"/>
                  </a:lnTo>
                  <a:lnTo>
                    <a:pt x="44210" y="108571"/>
                  </a:lnTo>
                  <a:lnTo>
                    <a:pt x="44210" y="108571"/>
                  </a:lnTo>
                  <a:lnTo>
                    <a:pt x="53684" y="108571"/>
                  </a:lnTo>
                  <a:lnTo>
                    <a:pt x="60000" y="108571"/>
                  </a:lnTo>
                  <a:lnTo>
                    <a:pt x="69473" y="108571"/>
                  </a:lnTo>
                  <a:lnTo>
                    <a:pt x="69473" y="91428"/>
                  </a:lnTo>
                  <a:lnTo>
                    <a:pt x="82105" y="80000"/>
                  </a:lnTo>
                  <a:lnTo>
                    <a:pt x="82105" y="80000"/>
                  </a:lnTo>
                  <a:lnTo>
                    <a:pt x="82105" y="80000"/>
                  </a:lnTo>
                  <a:lnTo>
                    <a:pt x="91578" y="80000"/>
                  </a:lnTo>
                  <a:lnTo>
                    <a:pt x="97894" y="80000"/>
                  </a:lnTo>
                  <a:lnTo>
                    <a:pt x="97894" y="68571"/>
                  </a:lnTo>
                  <a:lnTo>
                    <a:pt x="97894" y="68571"/>
                  </a:lnTo>
                  <a:lnTo>
                    <a:pt x="91578" y="51428"/>
                  </a:lnTo>
                  <a:lnTo>
                    <a:pt x="91578" y="51428"/>
                  </a:lnTo>
                  <a:lnTo>
                    <a:pt x="91578" y="40000"/>
                  </a:lnTo>
                  <a:lnTo>
                    <a:pt x="120000" y="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07" name="Shape 507"/>
            <p:cNvSpPr/>
            <p:nvPr/>
          </p:nvSpPr>
          <p:spPr>
            <a:xfrm>
              <a:off x="2112" y="2318"/>
              <a:ext cx="300" cy="0"/>
            </a:xfrm>
            <a:custGeom>
              <a:avLst/>
              <a:gdLst/>
              <a:ahLst/>
              <a:cxnLst/>
              <a:rect l="0" t="0" r="0" b="0"/>
              <a:pathLst>
                <a:path w="120000" h="120000" extrusionOk="0">
                  <a:moveTo>
                    <a:pt x="25263" y="49014"/>
                  </a:moveTo>
                  <a:lnTo>
                    <a:pt x="25263" y="49014"/>
                  </a:lnTo>
                  <a:lnTo>
                    <a:pt x="25263" y="43943"/>
                  </a:lnTo>
                  <a:lnTo>
                    <a:pt x="22105" y="43943"/>
                  </a:lnTo>
                  <a:lnTo>
                    <a:pt x="20842" y="49014"/>
                  </a:lnTo>
                  <a:lnTo>
                    <a:pt x="20842" y="49014"/>
                  </a:lnTo>
                  <a:lnTo>
                    <a:pt x="22105" y="55774"/>
                  </a:lnTo>
                  <a:lnTo>
                    <a:pt x="20842" y="55774"/>
                  </a:lnTo>
                  <a:lnTo>
                    <a:pt x="20842" y="60845"/>
                  </a:lnTo>
                  <a:lnTo>
                    <a:pt x="18947" y="55774"/>
                  </a:lnTo>
                  <a:lnTo>
                    <a:pt x="18947" y="55774"/>
                  </a:lnTo>
                  <a:lnTo>
                    <a:pt x="18947" y="55774"/>
                  </a:lnTo>
                  <a:lnTo>
                    <a:pt x="18947" y="60845"/>
                  </a:lnTo>
                  <a:lnTo>
                    <a:pt x="20842" y="60845"/>
                  </a:lnTo>
                  <a:lnTo>
                    <a:pt x="20842" y="64225"/>
                  </a:lnTo>
                  <a:lnTo>
                    <a:pt x="22105" y="64225"/>
                  </a:lnTo>
                  <a:lnTo>
                    <a:pt x="25263" y="60845"/>
                  </a:lnTo>
                  <a:lnTo>
                    <a:pt x="26526" y="55774"/>
                  </a:lnTo>
                  <a:lnTo>
                    <a:pt x="26526" y="55774"/>
                  </a:lnTo>
                  <a:lnTo>
                    <a:pt x="25263" y="52394"/>
                  </a:lnTo>
                  <a:lnTo>
                    <a:pt x="25263" y="49014"/>
                  </a:lnTo>
                  <a:close/>
                  <a:moveTo>
                    <a:pt x="120000" y="104788"/>
                  </a:moveTo>
                  <a:lnTo>
                    <a:pt x="120000" y="104788"/>
                  </a:lnTo>
                  <a:lnTo>
                    <a:pt x="120000" y="104788"/>
                  </a:lnTo>
                  <a:lnTo>
                    <a:pt x="118736" y="104788"/>
                  </a:lnTo>
                  <a:lnTo>
                    <a:pt x="117473" y="104788"/>
                  </a:lnTo>
                  <a:lnTo>
                    <a:pt x="117473" y="99718"/>
                  </a:lnTo>
                  <a:lnTo>
                    <a:pt x="115578" y="96338"/>
                  </a:lnTo>
                  <a:lnTo>
                    <a:pt x="114315" y="92957"/>
                  </a:lnTo>
                  <a:lnTo>
                    <a:pt x="113052" y="92957"/>
                  </a:lnTo>
                  <a:lnTo>
                    <a:pt x="111157" y="87887"/>
                  </a:lnTo>
                  <a:lnTo>
                    <a:pt x="109894" y="87887"/>
                  </a:lnTo>
                  <a:lnTo>
                    <a:pt x="108631" y="87887"/>
                  </a:lnTo>
                  <a:lnTo>
                    <a:pt x="105473" y="87887"/>
                  </a:lnTo>
                  <a:lnTo>
                    <a:pt x="104210" y="87887"/>
                  </a:lnTo>
                  <a:lnTo>
                    <a:pt x="104210" y="87887"/>
                  </a:lnTo>
                  <a:lnTo>
                    <a:pt x="102315" y="87887"/>
                  </a:lnTo>
                  <a:lnTo>
                    <a:pt x="102315" y="87887"/>
                  </a:lnTo>
                  <a:lnTo>
                    <a:pt x="104210" y="84507"/>
                  </a:lnTo>
                  <a:lnTo>
                    <a:pt x="105473" y="84507"/>
                  </a:lnTo>
                  <a:lnTo>
                    <a:pt x="104210" y="81126"/>
                  </a:lnTo>
                  <a:lnTo>
                    <a:pt x="104210" y="81126"/>
                  </a:lnTo>
                  <a:lnTo>
                    <a:pt x="105473" y="81126"/>
                  </a:lnTo>
                  <a:lnTo>
                    <a:pt x="105473" y="76056"/>
                  </a:lnTo>
                  <a:lnTo>
                    <a:pt x="104210" y="76056"/>
                  </a:lnTo>
                  <a:lnTo>
                    <a:pt x="102315" y="76056"/>
                  </a:lnTo>
                  <a:lnTo>
                    <a:pt x="99157" y="72676"/>
                  </a:lnTo>
                  <a:lnTo>
                    <a:pt x="97894" y="72676"/>
                  </a:lnTo>
                  <a:lnTo>
                    <a:pt x="96631" y="67605"/>
                  </a:lnTo>
                  <a:lnTo>
                    <a:pt x="94736" y="67605"/>
                  </a:lnTo>
                  <a:lnTo>
                    <a:pt x="93473" y="67605"/>
                  </a:lnTo>
                  <a:lnTo>
                    <a:pt x="93473" y="64225"/>
                  </a:lnTo>
                  <a:lnTo>
                    <a:pt x="93473" y="64225"/>
                  </a:lnTo>
                  <a:lnTo>
                    <a:pt x="92210" y="64225"/>
                  </a:lnTo>
                  <a:lnTo>
                    <a:pt x="90315" y="67605"/>
                  </a:lnTo>
                  <a:lnTo>
                    <a:pt x="92210" y="64225"/>
                  </a:lnTo>
                  <a:lnTo>
                    <a:pt x="92210" y="64225"/>
                  </a:lnTo>
                  <a:lnTo>
                    <a:pt x="90315" y="60845"/>
                  </a:lnTo>
                  <a:lnTo>
                    <a:pt x="89052" y="55774"/>
                  </a:lnTo>
                  <a:lnTo>
                    <a:pt x="89052" y="60845"/>
                  </a:lnTo>
                  <a:lnTo>
                    <a:pt x="87789" y="60845"/>
                  </a:lnTo>
                  <a:lnTo>
                    <a:pt x="87789" y="60845"/>
                  </a:lnTo>
                  <a:lnTo>
                    <a:pt x="87789" y="60845"/>
                  </a:lnTo>
                  <a:lnTo>
                    <a:pt x="85894" y="55774"/>
                  </a:lnTo>
                  <a:lnTo>
                    <a:pt x="87789" y="55774"/>
                  </a:lnTo>
                  <a:lnTo>
                    <a:pt x="87789" y="55774"/>
                  </a:lnTo>
                  <a:lnTo>
                    <a:pt x="89052" y="55774"/>
                  </a:lnTo>
                  <a:lnTo>
                    <a:pt x="87789" y="55774"/>
                  </a:lnTo>
                  <a:lnTo>
                    <a:pt x="87789" y="52394"/>
                  </a:lnTo>
                  <a:lnTo>
                    <a:pt x="85894" y="52394"/>
                  </a:lnTo>
                  <a:lnTo>
                    <a:pt x="84631" y="49014"/>
                  </a:lnTo>
                  <a:lnTo>
                    <a:pt x="84631" y="49014"/>
                  </a:lnTo>
                  <a:lnTo>
                    <a:pt x="84631" y="49014"/>
                  </a:lnTo>
                  <a:lnTo>
                    <a:pt x="84631" y="49014"/>
                  </a:lnTo>
                  <a:lnTo>
                    <a:pt x="84631" y="52394"/>
                  </a:lnTo>
                  <a:lnTo>
                    <a:pt x="84631" y="52394"/>
                  </a:lnTo>
                  <a:lnTo>
                    <a:pt x="83368" y="49014"/>
                  </a:lnTo>
                  <a:lnTo>
                    <a:pt x="80210" y="43943"/>
                  </a:lnTo>
                  <a:lnTo>
                    <a:pt x="80210" y="43943"/>
                  </a:lnTo>
                  <a:lnTo>
                    <a:pt x="78315" y="40563"/>
                  </a:lnTo>
                  <a:lnTo>
                    <a:pt x="72631" y="28732"/>
                  </a:lnTo>
                  <a:lnTo>
                    <a:pt x="71368" y="28732"/>
                  </a:lnTo>
                  <a:lnTo>
                    <a:pt x="71368" y="28732"/>
                  </a:lnTo>
                  <a:lnTo>
                    <a:pt x="71368" y="28732"/>
                  </a:lnTo>
                  <a:lnTo>
                    <a:pt x="69473" y="28732"/>
                  </a:lnTo>
                  <a:lnTo>
                    <a:pt x="66947" y="28732"/>
                  </a:lnTo>
                  <a:lnTo>
                    <a:pt x="65052" y="28732"/>
                  </a:lnTo>
                  <a:lnTo>
                    <a:pt x="65052" y="28732"/>
                  </a:lnTo>
                  <a:lnTo>
                    <a:pt x="63789" y="23661"/>
                  </a:lnTo>
                  <a:lnTo>
                    <a:pt x="62526" y="20281"/>
                  </a:lnTo>
                  <a:lnTo>
                    <a:pt x="62526" y="16901"/>
                  </a:lnTo>
                  <a:lnTo>
                    <a:pt x="59368" y="11830"/>
                  </a:lnTo>
                  <a:lnTo>
                    <a:pt x="60631" y="11830"/>
                  </a:lnTo>
                  <a:lnTo>
                    <a:pt x="59368" y="11830"/>
                  </a:lnTo>
                  <a:lnTo>
                    <a:pt x="57473" y="11830"/>
                  </a:lnTo>
                  <a:lnTo>
                    <a:pt x="57473" y="8450"/>
                  </a:lnTo>
                  <a:lnTo>
                    <a:pt x="56210" y="8450"/>
                  </a:lnTo>
                  <a:lnTo>
                    <a:pt x="54947" y="8450"/>
                  </a:lnTo>
                  <a:lnTo>
                    <a:pt x="53052" y="8450"/>
                  </a:lnTo>
                  <a:lnTo>
                    <a:pt x="53052" y="8450"/>
                  </a:lnTo>
                  <a:lnTo>
                    <a:pt x="51789" y="8450"/>
                  </a:lnTo>
                  <a:lnTo>
                    <a:pt x="51789" y="5070"/>
                  </a:lnTo>
                  <a:lnTo>
                    <a:pt x="50526" y="5070"/>
                  </a:lnTo>
                  <a:lnTo>
                    <a:pt x="47368" y="5070"/>
                  </a:lnTo>
                  <a:lnTo>
                    <a:pt x="46105" y="5070"/>
                  </a:lnTo>
                  <a:lnTo>
                    <a:pt x="44210" y="5070"/>
                  </a:lnTo>
                  <a:lnTo>
                    <a:pt x="44210" y="5070"/>
                  </a:lnTo>
                  <a:lnTo>
                    <a:pt x="44210" y="0"/>
                  </a:lnTo>
                  <a:lnTo>
                    <a:pt x="42947" y="5070"/>
                  </a:lnTo>
                  <a:lnTo>
                    <a:pt x="39789" y="5070"/>
                  </a:lnTo>
                  <a:lnTo>
                    <a:pt x="36631" y="0"/>
                  </a:lnTo>
                  <a:lnTo>
                    <a:pt x="34105" y="0"/>
                  </a:lnTo>
                  <a:lnTo>
                    <a:pt x="30947" y="0"/>
                  </a:lnTo>
                  <a:lnTo>
                    <a:pt x="27789" y="5070"/>
                  </a:lnTo>
                  <a:lnTo>
                    <a:pt x="27789" y="5070"/>
                  </a:lnTo>
                  <a:lnTo>
                    <a:pt x="22105" y="8450"/>
                  </a:lnTo>
                  <a:lnTo>
                    <a:pt x="20842" y="8450"/>
                  </a:lnTo>
                  <a:lnTo>
                    <a:pt x="11368" y="20281"/>
                  </a:lnTo>
                  <a:lnTo>
                    <a:pt x="10105" y="20281"/>
                  </a:lnTo>
                  <a:lnTo>
                    <a:pt x="8842" y="23661"/>
                  </a:lnTo>
                  <a:lnTo>
                    <a:pt x="6947" y="28732"/>
                  </a:lnTo>
                  <a:lnTo>
                    <a:pt x="6947" y="32112"/>
                  </a:lnTo>
                  <a:lnTo>
                    <a:pt x="6947" y="40563"/>
                  </a:lnTo>
                  <a:lnTo>
                    <a:pt x="5684" y="40563"/>
                  </a:lnTo>
                  <a:lnTo>
                    <a:pt x="5684" y="40563"/>
                  </a:lnTo>
                  <a:lnTo>
                    <a:pt x="4421" y="40563"/>
                  </a:lnTo>
                  <a:lnTo>
                    <a:pt x="4421" y="40563"/>
                  </a:lnTo>
                  <a:lnTo>
                    <a:pt x="0" y="49014"/>
                  </a:lnTo>
                  <a:lnTo>
                    <a:pt x="0" y="49014"/>
                  </a:lnTo>
                  <a:lnTo>
                    <a:pt x="0" y="49014"/>
                  </a:lnTo>
                  <a:lnTo>
                    <a:pt x="1263" y="49014"/>
                  </a:lnTo>
                  <a:lnTo>
                    <a:pt x="2526" y="49014"/>
                  </a:lnTo>
                  <a:lnTo>
                    <a:pt x="2526" y="43943"/>
                  </a:lnTo>
                  <a:lnTo>
                    <a:pt x="4421" y="43943"/>
                  </a:lnTo>
                  <a:lnTo>
                    <a:pt x="4421" y="43943"/>
                  </a:lnTo>
                  <a:lnTo>
                    <a:pt x="4421" y="49014"/>
                  </a:lnTo>
                  <a:lnTo>
                    <a:pt x="4421" y="52394"/>
                  </a:lnTo>
                  <a:lnTo>
                    <a:pt x="4421" y="49014"/>
                  </a:lnTo>
                  <a:lnTo>
                    <a:pt x="6947" y="49014"/>
                  </a:lnTo>
                  <a:lnTo>
                    <a:pt x="8842" y="43943"/>
                  </a:lnTo>
                  <a:lnTo>
                    <a:pt x="10105" y="43943"/>
                  </a:lnTo>
                  <a:lnTo>
                    <a:pt x="10105" y="43943"/>
                  </a:lnTo>
                  <a:lnTo>
                    <a:pt x="11368" y="40563"/>
                  </a:lnTo>
                  <a:lnTo>
                    <a:pt x="11368" y="37183"/>
                  </a:lnTo>
                  <a:lnTo>
                    <a:pt x="11368" y="37183"/>
                  </a:lnTo>
                  <a:lnTo>
                    <a:pt x="14526" y="37183"/>
                  </a:lnTo>
                  <a:lnTo>
                    <a:pt x="14526" y="37183"/>
                  </a:lnTo>
                  <a:lnTo>
                    <a:pt x="15789" y="37183"/>
                  </a:lnTo>
                  <a:lnTo>
                    <a:pt x="15789" y="37183"/>
                  </a:lnTo>
                  <a:lnTo>
                    <a:pt x="15789" y="37183"/>
                  </a:lnTo>
                  <a:lnTo>
                    <a:pt x="17684" y="37183"/>
                  </a:lnTo>
                  <a:lnTo>
                    <a:pt x="18947" y="32112"/>
                  </a:lnTo>
                  <a:lnTo>
                    <a:pt x="20842" y="28732"/>
                  </a:lnTo>
                  <a:lnTo>
                    <a:pt x="20842" y="28732"/>
                  </a:lnTo>
                  <a:lnTo>
                    <a:pt x="22105" y="28732"/>
                  </a:lnTo>
                  <a:lnTo>
                    <a:pt x="22105" y="23661"/>
                  </a:lnTo>
                  <a:lnTo>
                    <a:pt x="25263" y="20281"/>
                  </a:lnTo>
                  <a:lnTo>
                    <a:pt x="25263" y="20281"/>
                  </a:lnTo>
                  <a:lnTo>
                    <a:pt x="26526" y="16901"/>
                  </a:lnTo>
                  <a:lnTo>
                    <a:pt x="35368" y="20281"/>
                  </a:lnTo>
                  <a:lnTo>
                    <a:pt x="36631" y="20281"/>
                  </a:lnTo>
                  <a:lnTo>
                    <a:pt x="36631" y="20281"/>
                  </a:lnTo>
                  <a:lnTo>
                    <a:pt x="36631" y="20281"/>
                  </a:lnTo>
                  <a:lnTo>
                    <a:pt x="38526" y="20281"/>
                  </a:lnTo>
                  <a:lnTo>
                    <a:pt x="38526" y="23661"/>
                  </a:lnTo>
                  <a:lnTo>
                    <a:pt x="36631" y="23661"/>
                  </a:lnTo>
                  <a:lnTo>
                    <a:pt x="36631" y="23661"/>
                  </a:lnTo>
                  <a:lnTo>
                    <a:pt x="34105" y="28732"/>
                  </a:lnTo>
                  <a:lnTo>
                    <a:pt x="34105" y="28732"/>
                  </a:lnTo>
                  <a:lnTo>
                    <a:pt x="34105" y="32112"/>
                  </a:lnTo>
                  <a:lnTo>
                    <a:pt x="35368" y="37183"/>
                  </a:lnTo>
                  <a:lnTo>
                    <a:pt x="35368" y="37183"/>
                  </a:lnTo>
                  <a:lnTo>
                    <a:pt x="39789" y="37183"/>
                  </a:lnTo>
                  <a:lnTo>
                    <a:pt x="41684" y="40563"/>
                  </a:lnTo>
                  <a:lnTo>
                    <a:pt x="41684" y="40563"/>
                  </a:lnTo>
                  <a:lnTo>
                    <a:pt x="42947" y="37183"/>
                  </a:lnTo>
                  <a:lnTo>
                    <a:pt x="42947" y="37183"/>
                  </a:lnTo>
                  <a:lnTo>
                    <a:pt x="42947" y="32112"/>
                  </a:lnTo>
                  <a:lnTo>
                    <a:pt x="44210" y="37183"/>
                  </a:lnTo>
                  <a:lnTo>
                    <a:pt x="44210" y="37183"/>
                  </a:lnTo>
                  <a:lnTo>
                    <a:pt x="44210" y="40563"/>
                  </a:lnTo>
                  <a:lnTo>
                    <a:pt x="44210" y="40563"/>
                  </a:lnTo>
                  <a:lnTo>
                    <a:pt x="46105" y="40563"/>
                  </a:lnTo>
                  <a:lnTo>
                    <a:pt x="50526" y="40563"/>
                  </a:lnTo>
                  <a:lnTo>
                    <a:pt x="50526" y="40563"/>
                  </a:lnTo>
                  <a:lnTo>
                    <a:pt x="50526" y="40563"/>
                  </a:lnTo>
                  <a:lnTo>
                    <a:pt x="51789" y="40563"/>
                  </a:lnTo>
                  <a:lnTo>
                    <a:pt x="53052" y="43943"/>
                  </a:lnTo>
                  <a:lnTo>
                    <a:pt x="53052" y="49014"/>
                  </a:lnTo>
                  <a:lnTo>
                    <a:pt x="54947" y="49014"/>
                  </a:lnTo>
                  <a:lnTo>
                    <a:pt x="56210" y="52394"/>
                  </a:lnTo>
                  <a:lnTo>
                    <a:pt x="62526" y="55774"/>
                  </a:lnTo>
                  <a:lnTo>
                    <a:pt x="63789" y="60845"/>
                  </a:lnTo>
                  <a:lnTo>
                    <a:pt x="65052" y="60845"/>
                  </a:lnTo>
                  <a:lnTo>
                    <a:pt x="69473" y="55774"/>
                  </a:lnTo>
                  <a:lnTo>
                    <a:pt x="69473" y="55774"/>
                  </a:lnTo>
                  <a:lnTo>
                    <a:pt x="71368" y="60845"/>
                  </a:lnTo>
                  <a:lnTo>
                    <a:pt x="71368" y="64225"/>
                  </a:lnTo>
                  <a:lnTo>
                    <a:pt x="71368" y="67605"/>
                  </a:lnTo>
                  <a:lnTo>
                    <a:pt x="72631" y="76056"/>
                  </a:lnTo>
                  <a:lnTo>
                    <a:pt x="72631" y="76056"/>
                  </a:lnTo>
                  <a:lnTo>
                    <a:pt x="72631" y="81126"/>
                  </a:lnTo>
                  <a:lnTo>
                    <a:pt x="73894" y="81126"/>
                  </a:lnTo>
                  <a:lnTo>
                    <a:pt x="75789" y="87887"/>
                  </a:lnTo>
                  <a:lnTo>
                    <a:pt x="77052" y="87887"/>
                  </a:lnTo>
                  <a:lnTo>
                    <a:pt x="78315" y="87887"/>
                  </a:lnTo>
                  <a:lnTo>
                    <a:pt x="81473" y="87887"/>
                  </a:lnTo>
                  <a:lnTo>
                    <a:pt x="83368" y="87887"/>
                  </a:lnTo>
                  <a:lnTo>
                    <a:pt x="84631" y="87887"/>
                  </a:lnTo>
                  <a:lnTo>
                    <a:pt x="85894" y="92957"/>
                  </a:lnTo>
                  <a:lnTo>
                    <a:pt x="85894" y="92957"/>
                  </a:lnTo>
                  <a:lnTo>
                    <a:pt x="85894" y="92957"/>
                  </a:lnTo>
                  <a:lnTo>
                    <a:pt x="87789" y="96338"/>
                  </a:lnTo>
                  <a:lnTo>
                    <a:pt x="87789" y="96338"/>
                  </a:lnTo>
                  <a:lnTo>
                    <a:pt x="87789" y="99718"/>
                  </a:lnTo>
                  <a:lnTo>
                    <a:pt x="85894" y="99718"/>
                  </a:lnTo>
                  <a:lnTo>
                    <a:pt x="85894" y="104788"/>
                  </a:lnTo>
                  <a:lnTo>
                    <a:pt x="81473" y="111549"/>
                  </a:lnTo>
                  <a:lnTo>
                    <a:pt x="78315" y="120000"/>
                  </a:lnTo>
                  <a:lnTo>
                    <a:pt x="81473" y="120000"/>
                  </a:lnTo>
                  <a:lnTo>
                    <a:pt x="84631" y="116619"/>
                  </a:lnTo>
                  <a:lnTo>
                    <a:pt x="87789" y="116619"/>
                  </a:lnTo>
                  <a:lnTo>
                    <a:pt x="89052" y="116619"/>
                  </a:lnTo>
                  <a:lnTo>
                    <a:pt x="89052" y="116619"/>
                  </a:lnTo>
                  <a:lnTo>
                    <a:pt x="93473" y="116619"/>
                  </a:lnTo>
                  <a:lnTo>
                    <a:pt x="96631" y="116619"/>
                  </a:lnTo>
                  <a:lnTo>
                    <a:pt x="96631" y="116619"/>
                  </a:lnTo>
                  <a:lnTo>
                    <a:pt x="101052" y="116619"/>
                  </a:lnTo>
                  <a:lnTo>
                    <a:pt x="102315" y="116619"/>
                  </a:lnTo>
                  <a:lnTo>
                    <a:pt x="104210" y="116619"/>
                  </a:lnTo>
                  <a:lnTo>
                    <a:pt x="106736" y="116619"/>
                  </a:lnTo>
                  <a:lnTo>
                    <a:pt x="108631" y="116619"/>
                  </a:lnTo>
                  <a:lnTo>
                    <a:pt x="108631" y="116619"/>
                  </a:lnTo>
                  <a:lnTo>
                    <a:pt x="108631" y="111549"/>
                  </a:lnTo>
                  <a:lnTo>
                    <a:pt x="108631" y="116619"/>
                  </a:lnTo>
                  <a:lnTo>
                    <a:pt x="108631" y="116619"/>
                  </a:lnTo>
                  <a:lnTo>
                    <a:pt x="108631" y="116619"/>
                  </a:lnTo>
                  <a:lnTo>
                    <a:pt x="109894" y="116619"/>
                  </a:lnTo>
                  <a:lnTo>
                    <a:pt x="111157" y="116619"/>
                  </a:lnTo>
                  <a:lnTo>
                    <a:pt x="113052" y="111549"/>
                  </a:lnTo>
                  <a:lnTo>
                    <a:pt x="114315" y="111549"/>
                  </a:lnTo>
                  <a:lnTo>
                    <a:pt x="117473" y="111549"/>
                  </a:lnTo>
                  <a:lnTo>
                    <a:pt x="118736" y="111549"/>
                  </a:lnTo>
                  <a:lnTo>
                    <a:pt x="120000" y="108169"/>
                  </a:lnTo>
                  <a:lnTo>
                    <a:pt x="120000" y="108169"/>
                  </a:lnTo>
                  <a:lnTo>
                    <a:pt x="120000" y="104788"/>
                  </a:lnTo>
                  <a:lnTo>
                    <a:pt x="120000" y="104788"/>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08" name="Shape 508"/>
            <p:cNvSpPr/>
            <p:nvPr/>
          </p:nvSpPr>
          <p:spPr>
            <a:xfrm>
              <a:off x="3898" y="1829"/>
              <a:ext cx="0" cy="0"/>
            </a:xfrm>
            <a:custGeom>
              <a:avLst/>
              <a:gdLst/>
              <a:ahLst/>
              <a:cxnLst/>
              <a:rect l="0" t="0" r="0" b="0"/>
              <a:pathLst>
                <a:path w="120000" h="120000" extrusionOk="0">
                  <a:moveTo>
                    <a:pt x="37575" y="85479"/>
                  </a:moveTo>
                  <a:lnTo>
                    <a:pt x="37575" y="88767"/>
                  </a:lnTo>
                  <a:lnTo>
                    <a:pt x="40000" y="88767"/>
                  </a:lnTo>
                  <a:lnTo>
                    <a:pt x="40000" y="88767"/>
                  </a:lnTo>
                  <a:lnTo>
                    <a:pt x="40000" y="85479"/>
                  </a:lnTo>
                  <a:lnTo>
                    <a:pt x="37575" y="85479"/>
                  </a:lnTo>
                  <a:close/>
                  <a:moveTo>
                    <a:pt x="33939" y="80547"/>
                  </a:moveTo>
                  <a:lnTo>
                    <a:pt x="33939" y="80547"/>
                  </a:lnTo>
                  <a:lnTo>
                    <a:pt x="33939" y="80547"/>
                  </a:lnTo>
                  <a:lnTo>
                    <a:pt x="37575" y="85479"/>
                  </a:lnTo>
                  <a:lnTo>
                    <a:pt x="37575" y="85479"/>
                  </a:lnTo>
                  <a:lnTo>
                    <a:pt x="33939" y="80547"/>
                  </a:lnTo>
                  <a:close/>
                  <a:moveTo>
                    <a:pt x="29090" y="69041"/>
                  </a:moveTo>
                  <a:lnTo>
                    <a:pt x="31515" y="73972"/>
                  </a:lnTo>
                  <a:lnTo>
                    <a:pt x="31515" y="73972"/>
                  </a:lnTo>
                  <a:lnTo>
                    <a:pt x="33939" y="73972"/>
                  </a:lnTo>
                  <a:lnTo>
                    <a:pt x="33939" y="77260"/>
                  </a:lnTo>
                  <a:lnTo>
                    <a:pt x="33939" y="73972"/>
                  </a:lnTo>
                  <a:lnTo>
                    <a:pt x="37575" y="73972"/>
                  </a:lnTo>
                  <a:lnTo>
                    <a:pt x="37575" y="73972"/>
                  </a:lnTo>
                  <a:lnTo>
                    <a:pt x="33939" y="73972"/>
                  </a:lnTo>
                  <a:lnTo>
                    <a:pt x="31515" y="69041"/>
                  </a:lnTo>
                  <a:lnTo>
                    <a:pt x="29090" y="65753"/>
                  </a:lnTo>
                  <a:lnTo>
                    <a:pt x="29090" y="65753"/>
                  </a:lnTo>
                  <a:lnTo>
                    <a:pt x="29090" y="65753"/>
                  </a:lnTo>
                  <a:lnTo>
                    <a:pt x="25454" y="62465"/>
                  </a:lnTo>
                  <a:lnTo>
                    <a:pt x="25454" y="65753"/>
                  </a:lnTo>
                  <a:lnTo>
                    <a:pt x="29090" y="69041"/>
                  </a:lnTo>
                  <a:lnTo>
                    <a:pt x="29090" y="69041"/>
                  </a:lnTo>
                  <a:close/>
                  <a:moveTo>
                    <a:pt x="29090" y="62465"/>
                  </a:moveTo>
                  <a:lnTo>
                    <a:pt x="29090" y="62465"/>
                  </a:lnTo>
                  <a:lnTo>
                    <a:pt x="25454" y="57534"/>
                  </a:lnTo>
                  <a:lnTo>
                    <a:pt x="25454" y="57534"/>
                  </a:lnTo>
                  <a:lnTo>
                    <a:pt x="25454" y="57534"/>
                  </a:lnTo>
                  <a:lnTo>
                    <a:pt x="25454" y="57534"/>
                  </a:lnTo>
                  <a:lnTo>
                    <a:pt x="25454" y="57534"/>
                  </a:lnTo>
                  <a:lnTo>
                    <a:pt x="25454" y="62465"/>
                  </a:lnTo>
                  <a:lnTo>
                    <a:pt x="25454" y="62465"/>
                  </a:lnTo>
                  <a:lnTo>
                    <a:pt x="29090" y="62465"/>
                  </a:lnTo>
                  <a:close/>
                  <a:moveTo>
                    <a:pt x="29090" y="54246"/>
                  </a:moveTo>
                  <a:lnTo>
                    <a:pt x="25454" y="46027"/>
                  </a:lnTo>
                  <a:lnTo>
                    <a:pt x="25454" y="46027"/>
                  </a:lnTo>
                  <a:lnTo>
                    <a:pt x="23030" y="42739"/>
                  </a:lnTo>
                  <a:lnTo>
                    <a:pt x="23030" y="42739"/>
                  </a:lnTo>
                  <a:lnTo>
                    <a:pt x="23030" y="46027"/>
                  </a:lnTo>
                  <a:lnTo>
                    <a:pt x="20606" y="46027"/>
                  </a:lnTo>
                  <a:lnTo>
                    <a:pt x="20606" y="46027"/>
                  </a:lnTo>
                  <a:lnTo>
                    <a:pt x="23030" y="50958"/>
                  </a:lnTo>
                  <a:lnTo>
                    <a:pt x="23030" y="50958"/>
                  </a:lnTo>
                  <a:lnTo>
                    <a:pt x="23030" y="54246"/>
                  </a:lnTo>
                  <a:lnTo>
                    <a:pt x="25454" y="54246"/>
                  </a:lnTo>
                  <a:lnTo>
                    <a:pt x="29090" y="54246"/>
                  </a:lnTo>
                  <a:close/>
                  <a:moveTo>
                    <a:pt x="119999" y="42739"/>
                  </a:moveTo>
                  <a:lnTo>
                    <a:pt x="119999" y="42739"/>
                  </a:lnTo>
                  <a:lnTo>
                    <a:pt x="119999" y="42739"/>
                  </a:lnTo>
                  <a:lnTo>
                    <a:pt x="119999" y="42739"/>
                  </a:lnTo>
                  <a:lnTo>
                    <a:pt x="117575" y="37808"/>
                  </a:lnTo>
                  <a:lnTo>
                    <a:pt x="113939" y="37808"/>
                  </a:lnTo>
                  <a:lnTo>
                    <a:pt x="111515" y="34520"/>
                  </a:lnTo>
                  <a:lnTo>
                    <a:pt x="111515" y="34520"/>
                  </a:lnTo>
                  <a:lnTo>
                    <a:pt x="111515" y="34520"/>
                  </a:lnTo>
                  <a:lnTo>
                    <a:pt x="113939" y="31232"/>
                  </a:lnTo>
                  <a:lnTo>
                    <a:pt x="111515" y="31232"/>
                  </a:lnTo>
                  <a:lnTo>
                    <a:pt x="111515" y="31232"/>
                  </a:lnTo>
                  <a:lnTo>
                    <a:pt x="109090" y="31232"/>
                  </a:lnTo>
                  <a:lnTo>
                    <a:pt x="111515" y="26301"/>
                  </a:lnTo>
                  <a:lnTo>
                    <a:pt x="109090" y="23013"/>
                  </a:lnTo>
                  <a:lnTo>
                    <a:pt x="109090" y="23013"/>
                  </a:lnTo>
                  <a:lnTo>
                    <a:pt x="109090" y="19726"/>
                  </a:lnTo>
                  <a:lnTo>
                    <a:pt x="109090" y="19726"/>
                  </a:lnTo>
                  <a:lnTo>
                    <a:pt x="109090" y="19726"/>
                  </a:lnTo>
                  <a:lnTo>
                    <a:pt x="109090" y="19726"/>
                  </a:lnTo>
                  <a:lnTo>
                    <a:pt x="109090" y="19726"/>
                  </a:lnTo>
                  <a:lnTo>
                    <a:pt x="105454" y="19726"/>
                  </a:lnTo>
                  <a:lnTo>
                    <a:pt x="105454" y="19726"/>
                  </a:lnTo>
                  <a:lnTo>
                    <a:pt x="103030" y="23013"/>
                  </a:lnTo>
                  <a:lnTo>
                    <a:pt x="103030" y="23013"/>
                  </a:lnTo>
                  <a:lnTo>
                    <a:pt x="100606" y="23013"/>
                  </a:lnTo>
                  <a:lnTo>
                    <a:pt x="100606" y="23013"/>
                  </a:lnTo>
                  <a:lnTo>
                    <a:pt x="96969" y="23013"/>
                  </a:lnTo>
                  <a:lnTo>
                    <a:pt x="96969" y="23013"/>
                  </a:lnTo>
                  <a:lnTo>
                    <a:pt x="90909" y="23013"/>
                  </a:lnTo>
                  <a:lnTo>
                    <a:pt x="88484" y="23013"/>
                  </a:lnTo>
                  <a:lnTo>
                    <a:pt x="86060" y="23013"/>
                  </a:lnTo>
                  <a:lnTo>
                    <a:pt x="82424" y="19726"/>
                  </a:lnTo>
                  <a:lnTo>
                    <a:pt x="82424" y="19726"/>
                  </a:lnTo>
                  <a:lnTo>
                    <a:pt x="82424" y="19726"/>
                  </a:lnTo>
                  <a:lnTo>
                    <a:pt x="80000" y="19726"/>
                  </a:lnTo>
                  <a:lnTo>
                    <a:pt x="77575" y="14794"/>
                  </a:lnTo>
                  <a:lnTo>
                    <a:pt x="77575" y="14794"/>
                  </a:lnTo>
                  <a:lnTo>
                    <a:pt x="73939" y="11506"/>
                  </a:lnTo>
                  <a:lnTo>
                    <a:pt x="71515" y="11506"/>
                  </a:lnTo>
                  <a:lnTo>
                    <a:pt x="69090" y="8219"/>
                  </a:lnTo>
                  <a:lnTo>
                    <a:pt x="69090" y="3287"/>
                  </a:lnTo>
                  <a:lnTo>
                    <a:pt x="65454" y="3287"/>
                  </a:lnTo>
                  <a:lnTo>
                    <a:pt x="63030" y="0"/>
                  </a:lnTo>
                  <a:lnTo>
                    <a:pt x="60606" y="0"/>
                  </a:lnTo>
                  <a:lnTo>
                    <a:pt x="60606" y="0"/>
                  </a:lnTo>
                  <a:lnTo>
                    <a:pt x="56969" y="0"/>
                  </a:lnTo>
                  <a:lnTo>
                    <a:pt x="56969" y="0"/>
                  </a:lnTo>
                  <a:lnTo>
                    <a:pt x="56969" y="0"/>
                  </a:lnTo>
                  <a:lnTo>
                    <a:pt x="54545" y="0"/>
                  </a:lnTo>
                  <a:lnTo>
                    <a:pt x="56969" y="3287"/>
                  </a:lnTo>
                  <a:lnTo>
                    <a:pt x="54545" y="3287"/>
                  </a:lnTo>
                  <a:lnTo>
                    <a:pt x="54545" y="3287"/>
                  </a:lnTo>
                  <a:lnTo>
                    <a:pt x="50909" y="3287"/>
                  </a:lnTo>
                  <a:lnTo>
                    <a:pt x="50909" y="8219"/>
                  </a:lnTo>
                  <a:lnTo>
                    <a:pt x="48484" y="8219"/>
                  </a:lnTo>
                  <a:lnTo>
                    <a:pt x="48484" y="8219"/>
                  </a:lnTo>
                  <a:lnTo>
                    <a:pt x="46060" y="8219"/>
                  </a:lnTo>
                  <a:lnTo>
                    <a:pt x="46060" y="8219"/>
                  </a:lnTo>
                  <a:lnTo>
                    <a:pt x="42424" y="8219"/>
                  </a:lnTo>
                  <a:lnTo>
                    <a:pt x="42424" y="11506"/>
                  </a:lnTo>
                  <a:lnTo>
                    <a:pt x="42424" y="11506"/>
                  </a:lnTo>
                  <a:lnTo>
                    <a:pt x="42424" y="11506"/>
                  </a:lnTo>
                  <a:lnTo>
                    <a:pt x="42424" y="14794"/>
                  </a:lnTo>
                  <a:lnTo>
                    <a:pt x="46060" y="14794"/>
                  </a:lnTo>
                  <a:lnTo>
                    <a:pt x="46060" y="19726"/>
                  </a:lnTo>
                  <a:lnTo>
                    <a:pt x="42424" y="19726"/>
                  </a:lnTo>
                  <a:lnTo>
                    <a:pt x="42424" y="23013"/>
                  </a:lnTo>
                  <a:lnTo>
                    <a:pt x="40000" y="23013"/>
                  </a:lnTo>
                  <a:lnTo>
                    <a:pt x="37575" y="26301"/>
                  </a:lnTo>
                  <a:lnTo>
                    <a:pt x="37575" y="26301"/>
                  </a:lnTo>
                  <a:lnTo>
                    <a:pt x="37575" y="26301"/>
                  </a:lnTo>
                  <a:lnTo>
                    <a:pt x="37575" y="26301"/>
                  </a:lnTo>
                  <a:lnTo>
                    <a:pt x="37575" y="31232"/>
                  </a:lnTo>
                  <a:lnTo>
                    <a:pt x="37575" y="31232"/>
                  </a:lnTo>
                  <a:lnTo>
                    <a:pt x="37575" y="31232"/>
                  </a:lnTo>
                  <a:lnTo>
                    <a:pt x="37575" y="34520"/>
                  </a:lnTo>
                  <a:lnTo>
                    <a:pt x="37575" y="34520"/>
                  </a:lnTo>
                  <a:lnTo>
                    <a:pt x="37575" y="34520"/>
                  </a:lnTo>
                  <a:lnTo>
                    <a:pt x="33939" y="34520"/>
                  </a:lnTo>
                  <a:lnTo>
                    <a:pt x="31515" y="34520"/>
                  </a:lnTo>
                  <a:lnTo>
                    <a:pt x="29090" y="34520"/>
                  </a:lnTo>
                  <a:lnTo>
                    <a:pt x="29090" y="34520"/>
                  </a:lnTo>
                  <a:lnTo>
                    <a:pt x="25454" y="34520"/>
                  </a:lnTo>
                  <a:lnTo>
                    <a:pt x="25454" y="31232"/>
                  </a:lnTo>
                  <a:lnTo>
                    <a:pt x="23030" y="31232"/>
                  </a:lnTo>
                  <a:lnTo>
                    <a:pt x="23030" y="31232"/>
                  </a:lnTo>
                  <a:lnTo>
                    <a:pt x="23030" y="26301"/>
                  </a:lnTo>
                  <a:lnTo>
                    <a:pt x="23030" y="26301"/>
                  </a:lnTo>
                  <a:lnTo>
                    <a:pt x="23030" y="26301"/>
                  </a:lnTo>
                  <a:lnTo>
                    <a:pt x="20606" y="31232"/>
                  </a:lnTo>
                  <a:lnTo>
                    <a:pt x="20606" y="34520"/>
                  </a:lnTo>
                  <a:lnTo>
                    <a:pt x="16969" y="34520"/>
                  </a:lnTo>
                  <a:lnTo>
                    <a:pt x="16969" y="34520"/>
                  </a:lnTo>
                  <a:lnTo>
                    <a:pt x="14545" y="34520"/>
                  </a:lnTo>
                  <a:lnTo>
                    <a:pt x="10909" y="34520"/>
                  </a:lnTo>
                  <a:lnTo>
                    <a:pt x="10909" y="31232"/>
                  </a:lnTo>
                  <a:lnTo>
                    <a:pt x="10909" y="34520"/>
                  </a:lnTo>
                  <a:lnTo>
                    <a:pt x="10909" y="34520"/>
                  </a:lnTo>
                  <a:lnTo>
                    <a:pt x="8484" y="34520"/>
                  </a:lnTo>
                  <a:lnTo>
                    <a:pt x="8484" y="34520"/>
                  </a:lnTo>
                  <a:lnTo>
                    <a:pt x="2424" y="34520"/>
                  </a:lnTo>
                  <a:lnTo>
                    <a:pt x="2424" y="31232"/>
                  </a:lnTo>
                  <a:lnTo>
                    <a:pt x="0" y="34520"/>
                  </a:lnTo>
                  <a:lnTo>
                    <a:pt x="2424" y="42739"/>
                  </a:lnTo>
                  <a:lnTo>
                    <a:pt x="2424" y="42739"/>
                  </a:lnTo>
                  <a:lnTo>
                    <a:pt x="2424" y="46027"/>
                  </a:lnTo>
                  <a:lnTo>
                    <a:pt x="6060" y="54246"/>
                  </a:lnTo>
                  <a:lnTo>
                    <a:pt x="8484" y="57534"/>
                  </a:lnTo>
                  <a:lnTo>
                    <a:pt x="8484" y="57534"/>
                  </a:lnTo>
                  <a:lnTo>
                    <a:pt x="10909" y="57534"/>
                  </a:lnTo>
                  <a:lnTo>
                    <a:pt x="10909" y="54246"/>
                  </a:lnTo>
                  <a:lnTo>
                    <a:pt x="14545" y="54246"/>
                  </a:lnTo>
                  <a:lnTo>
                    <a:pt x="16969" y="46027"/>
                  </a:lnTo>
                  <a:lnTo>
                    <a:pt x="16969" y="37808"/>
                  </a:lnTo>
                  <a:lnTo>
                    <a:pt x="16969" y="37808"/>
                  </a:lnTo>
                  <a:lnTo>
                    <a:pt x="20606" y="37808"/>
                  </a:lnTo>
                  <a:lnTo>
                    <a:pt x="23030" y="37808"/>
                  </a:lnTo>
                  <a:lnTo>
                    <a:pt x="23030" y="42739"/>
                  </a:lnTo>
                  <a:lnTo>
                    <a:pt x="29090" y="46027"/>
                  </a:lnTo>
                  <a:lnTo>
                    <a:pt x="29090" y="54246"/>
                  </a:lnTo>
                  <a:lnTo>
                    <a:pt x="29090" y="57534"/>
                  </a:lnTo>
                  <a:lnTo>
                    <a:pt x="29090" y="62465"/>
                  </a:lnTo>
                  <a:lnTo>
                    <a:pt x="31515" y="65753"/>
                  </a:lnTo>
                  <a:lnTo>
                    <a:pt x="37575" y="73972"/>
                  </a:lnTo>
                  <a:lnTo>
                    <a:pt x="40000" y="73972"/>
                  </a:lnTo>
                  <a:lnTo>
                    <a:pt x="40000" y="77260"/>
                  </a:lnTo>
                  <a:lnTo>
                    <a:pt x="40000" y="77260"/>
                  </a:lnTo>
                  <a:lnTo>
                    <a:pt x="37575" y="77260"/>
                  </a:lnTo>
                  <a:lnTo>
                    <a:pt x="37575" y="77260"/>
                  </a:lnTo>
                  <a:lnTo>
                    <a:pt x="33939" y="77260"/>
                  </a:lnTo>
                  <a:lnTo>
                    <a:pt x="33939" y="77260"/>
                  </a:lnTo>
                  <a:lnTo>
                    <a:pt x="33939" y="80547"/>
                  </a:lnTo>
                  <a:lnTo>
                    <a:pt x="42424" y="88767"/>
                  </a:lnTo>
                  <a:lnTo>
                    <a:pt x="46060" y="93698"/>
                  </a:lnTo>
                  <a:lnTo>
                    <a:pt x="48484" y="96986"/>
                  </a:lnTo>
                  <a:lnTo>
                    <a:pt x="50909" y="96986"/>
                  </a:lnTo>
                  <a:lnTo>
                    <a:pt x="50909" y="100273"/>
                  </a:lnTo>
                  <a:lnTo>
                    <a:pt x="50909" y="100273"/>
                  </a:lnTo>
                  <a:lnTo>
                    <a:pt x="50909" y="100273"/>
                  </a:lnTo>
                  <a:lnTo>
                    <a:pt x="54545" y="105205"/>
                  </a:lnTo>
                  <a:lnTo>
                    <a:pt x="54545" y="105205"/>
                  </a:lnTo>
                  <a:lnTo>
                    <a:pt x="56969" y="100273"/>
                  </a:lnTo>
                  <a:lnTo>
                    <a:pt x="60606" y="100273"/>
                  </a:lnTo>
                  <a:lnTo>
                    <a:pt x="65454" y="105205"/>
                  </a:lnTo>
                  <a:lnTo>
                    <a:pt x="71515" y="108493"/>
                  </a:lnTo>
                  <a:lnTo>
                    <a:pt x="77575" y="111780"/>
                  </a:lnTo>
                  <a:lnTo>
                    <a:pt x="80000" y="116712"/>
                  </a:lnTo>
                  <a:lnTo>
                    <a:pt x="82424" y="119999"/>
                  </a:lnTo>
                  <a:lnTo>
                    <a:pt x="86060" y="119999"/>
                  </a:lnTo>
                  <a:lnTo>
                    <a:pt x="86060" y="119999"/>
                  </a:lnTo>
                  <a:lnTo>
                    <a:pt x="86060" y="119999"/>
                  </a:lnTo>
                  <a:lnTo>
                    <a:pt x="86060" y="119999"/>
                  </a:lnTo>
                  <a:lnTo>
                    <a:pt x="86060" y="119999"/>
                  </a:lnTo>
                  <a:lnTo>
                    <a:pt x="80000" y="111780"/>
                  </a:lnTo>
                  <a:lnTo>
                    <a:pt x="80000" y="108493"/>
                  </a:lnTo>
                  <a:lnTo>
                    <a:pt x="80000" y="108493"/>
                  </a:lnTo>
                  <a:lnTo>
                    <a:pt x="77575" y="105205"/>
                  </a:lnTo>
                  <a:lnTo>
                    <a:pt x="77575" y="105205"/>
                  </a:lnTo>
                  <a:lnTo>
                    <a:pt x="73939" y="100273"/>
                  </a:lnTo>
                  <a:lnTo>
                    <a:pt x="71515" y="96986"/>
                  </a:lnTo>
                  <a:lnTo>
                    <a:pt x="65454" y="93698"/>
                  </a:lnTo>
                  <a:lnTo>
                    <a:pt x="65454" y="93698"/>
                  </a:lnTo>
                  <a:lnTo>
                    <a:pt x="63030" y="88767"/>
                  </a:lnTo>
                  <a:lnTo>
                    <a:pt x="63030" y="85479"/>
                  </a:lnTo>
                  <a:lnTo>
                    <a:pt x="60606" y="85479"/>
                  </a:lnTo>
                  <a:lnTo>
                    <a:pt x="56969" y="80547"/>
                  </a:lnTo>
                  <a:lnTo>
                    <a:pt x="56969" y="77260"/>
                  </a:lnTo>
                  <a:lnTo>
                    <a:pt x="54545" y="73972"/>
                  </a:lnTo>
                  <a:lnTo>
                    <a:pt x="54545" y="69041"/>
                  </a:lnTo>
                  <a:lnTo>
                    <a:pt x="54545" y="69041"/>
                  </a:lnTo>
                  <a:lnTo>
                    <a:pt x="54545" y="69041"/>
                  </a:lnTo>
                  <a:lnTo>
                    <a:pt x="48484" y="62465"/>
                  </a:lnTo>
                  <a:lnTo>
                    <a:pt x="46060" y="62465"/>
                  </a:lnTo>
                  <a:lnTo>
                    <a:pt x="46060" y="57534"/>
                  </a:lnTo>
                  <a:lnTo>
                    <a:pt x="46060" y="50958"/>
                  </a:lnTo>
                  <a:lnTo>
                    <a:pt x="48484" y="42739"/>
                  </a:lnTo>
                  <a:lnTo>
                    <a:pt x="48484" y="42739"/>
                  </a:lnTo>
                  <a:lnTo>
                    <a:pt x="48484" y="42739"/>
                  </a:lnTo>
                  <a:lnTo>
                    <a:pt x="50909" y="42739"/>
                  </a:lnTo>
                  <a:lnTo>
                    <a:pt x="50909" y="42739"/>
                  </a:lnTo>
                  <a:lnTo>
                    <a:pt x="54545" y="46027"/>
                  </a:lnTo>
                  <a:lnTo>
                    <a:pt x="56969" y="50958"/>
                  </a:lnTo>
                  <a:lnTo>
                    <a:pt x="56969" y="50958"/>
                  </a:lnTo>
                  <a:lnTo>
                    <a:pt x="60606" y="46027"/>
                  </a:lnTo>
                  <a:lnTo>
                    <a:pt x="60606" y="42739"/>
                  </a:lnTo>
                  <a:lnTo>
                    <a:pt x="63030" y="42739"/>
                  </a:lnTo>
                  <a:lnTo>
                    <a:pt x="69090" y="42739"/>
                  </a:lnTo>
                  <a:lnTo>
                    <a:pt x="69090" y="42739"/>
                  </a:lnTo>
                  <a:lnTo>
                    <a:pt x="73939" y="42739"/>
                  </a:lnTo>
                  <a:lnTo>
                    <a:pt x="77575" y="46027"/>
                  </a:lnTo>
                  <a:lnTo>
                    <a:pt x="77575" y="42739"/>
                  </a:lnTo>
                  <a:lnTo>
                    <a:pt x="77575" y="42739"/>
                  </a:lnTo>
                  <a:lnTo>
                    <a:pt x="80000" y="46027"/>
                  </a:lnTo>
                  <a:lnTo>
                    <a:pt x="82424" y="46027"/>
                  </a:lnTo>
                  <a:lnTo>
                    <a:pt x="82424" y="46027"/>
                  </a:lnTo>
                  <a:lnTo>
                    <a:pt x="86060" y="42739"/>
                  </a:lnTo>
                  <a:lnTo>
                    <a:pt x="86060" y="46027"/>
                  </a:lnTo>
                  <a:lnTo>
                    <a:pt x="88484" y="46027"/>
                  </a:lnTo>
                  <a:lnTo>
                    <a:pt x="88484" y="46027"/>
                  </a:lnTo>
                  <a:lnTo>
                    <a:pt x="90909" y="46027"/>
                  </a:lnTo>
                  <a:lnTo>
                    <a:pt x="90909" y="46027"/>
                  </a:lnTo>
                  <a:lnTo>
                    <a:pt x="94545" y="46027"/>
                  </a:lnTo>
                  <a:lnTo>
                    <a:pt x="96969" y="46027"/>
                  </a:lnTo>
                  <a:lnTo>
                    <a:pt x="96969" y="46027"/>
                  </a:lnTo>
                  <a:lnTo>
                    <a:pt x="100606" y="46027"/>
                  </a:lnTo>
                  <a:lnTo>
                    <a:pt x="100606" y="46027"/>
                  </a:lnTo>
                  <a:lnTo>
                    <a:pt x="103030" y="46027"/>
                  </a:lnTo>
                  <a:lnTo>
                    <a:pt x="105454" y="46027"/>
                  </a:lnTo>
                  <a:lnTo>
                    <a:pt x="105454" y="50958"/>
                  </a:lnTo>
                  <a:lnTo>
                    <a:pt x="109090" y="54246"/>
                  </a:lnTo>
                  <a:lnTo>
                    <a:pt x="109090" y="54246"/>
                  </a:lnTo>
                  <a:lnTo>
                    <a:pt x="109090" y="54246"/>
                  </a:lnTo>
                  <a:lnTo>
                    <a:pt x="109090" y="57534"/>
                  </a:lnTo>
                  <a:lnTo>
                    <a:pt x="111515" y="57534"/>
                  </a:lnTo>
                  <a:lnTo>
                    <a:pt x="111515" y="57534"/>
                  </a:lnTo>
                  <a:lnTo>
                    <a:pt x="111515" y="54246"/>
                  </a:lnTo>
                  <a:lnTo>
                    <a:pt x="111515" y="54246"/>
                  </a:lnTo>
                  <a:lnTo>
                    <a:pt x="113939" y="54246"/>
                  </a:lnTo>
                  <a:lnTo>
                    <a:pt x="113939" y="54246"/>
                  </a:lnTo>
                  <a:lnTo>
                    <a:pt x="113939" y="54246"/>
                  </a:lnTo>
                  <a:lnTo>
                    <a:pt x="113939" y="54246"/>
                  </a:lnTo>
                  <a:lnTo>
                    <a:pt x="113939" y="46027"/>
                  </a:lnTo>
                  <a:lnTo>
                    <a:pt x="113939" y="46027"/>
                  </a:lnTo>
                  <a:lnTo>
                    <a:pt x="113939" y="42739"/>
                  </a:lnTo>
                  <a:lnTo>
                    <a:pt x="113939" y="42739"/>
                  </a:lnTo>
                  <a:lnTo>
                    <a:pt x="117575" y="42739"/>
                  </a:lnTo>
                  <a:lnTo>
                    <a:pt x="117575" y="42739"/>
                  </a:lnTo>
                  <a:lnTo>
                    <a:pt x="119999" y="42739"/>
                  </a:lnTo>
                  <a:lnTo>
                    <a:pt x="119999" y="42739"/>
                  </a:lnTo>
                  <a:lnTo>
                    <a:pt x="119999" y="42739"/>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09" name="Shape 509"/>
            <p:cNvSpPr/>
            <p:nvPr/>
          </p:nvSpPr>
          <p:spPr>
            <a:xfrm>
              <a:off x="2064" y="2571"/>
              <a:ext cx="0" cy="0"/>
            </a:xfrm>
            <a:custGeom>
              <a:avLst/>
              <a:gdLst/>
              <a:ahLst/>
              <a:cxnLst/>
              <a:rect l="0" t="0" r="0" b="0"/>
              <a:pathLst>
                <a:path w="120000" h="120000" extrusionOk="0">
                  <a:moveTo>
                    <a:pt x="114193" y="60000"/>
                  </a:moveTo>
                  <a:lnTo>
                    <a:pt x="110322" y="60000"/>
                  </a:lnTo>
                  <a:lnTo>
                    <a:pt x="110322" y="56363"/>
                  </a:lnTo>
                  <a:lnTo>
                    <a:pt x="106451" y="56363"/>
                  </a:lnTo>
                  <a:lnTo>
                    <a:pt x="100645" y="47272"/>
                  </a:lnTo>
                  <a:lnTo>
                    <a:pt x="100645" y="43636"/>
                  </a:lnTo>
                  <a:lnTo>
                    <a:pt x="92903" y="34545"/>
                  </a:lnTo>
                  <a:lnTo>
                    <a:pt x="87096" y="30909"/>
                  </a:lnTo>
                  <a:lnTo>
                    <a:pt x="87096" y="18181"/>
                  </a:lnTo>
                  <a:lnTo>
                    <a:pt x="83225" y="12727"/>
                  </a:lnTo>
                  <a:lnTo>
                    <a:pt x="83225" y="12727"/>
                  </a:lnTo>
                  <a:lnTo>
                    <a:pt x="83225" y="12727"/>
                  </a:lnTo>
                  <a:lnTo>
                    <a:pt x="83225" y="12727"/>
                  </a:lnTo>
                  <a:lnTo>
                    <a:pt x="79354" y="18181"/>
                  </a:lnTo>
                  <a:lnTo>
                    <a:pt x="79354" y="18181"/>
                  </a:lnTo>
                  <a:lnTo>
                    <a:pt x="73548" y="18181"/>
                  </a:lnTo>
                  <a:lnTo>
                    <a:pt x="63870" y="18181"/>
                  </a:lnTo>
                  <a:lnTo>
                    <a:pt x="63870" y="18181"/>
                  </a:lnTo>
                  <a:lnTo>
                    <a:pt x="63870" y="18181"/>
                  </a:lnTo>
                  <a:lnTo>
                    <a:pt x="63870" y="12727"/>
                  </a:lnTo>
                  <a:lnTo>
                    <a:pt x="60000" y="12727"/>
                  </a:lnTo>
                  <a:lnTo>
                    <a:pt x="60000" y="9090"/>
                  </a:lnTo>
                  <a:lnTo>
                    <a:pt x="56129" y="9090"/>
                  </a:lnTo>
                  <a:lnTo>
                    <a:pt x="56129" y="9090"/>
                  </a:lnTo>
                  <a:lnTo>
                    <a:pt x="46451" y="5454"/>
                  </a:lnTo>
                  <a:lnTo>
                    <a:pt x="46451" y="5454"/>
                  </a:lnTo>
                  <a:lnTo>
                    <a:pt x="42580" y="9090"/>
                  </a:lnTo>
                  <a:lnTo>
                    <a:pt x="36774" y="9090"/>
                  </a:lnTo>
                  <a:lnTo>
                    <a:pt x="29032" y="5454"/>
                  </a:lnTo>
                  <a:lnTo>
                    <a:pt x="23225" y="5454"/>
                  </a:lnTo>
                  <a:lnTo>
                    <a:pt x="15483" y="0"/>
                  </a:lnTo>
                  <a:lnTo>
                    <a:pt x="15483" y="0"/>
                  </a:lnTo>
                  <a:lnTo>
                    <a:pt x="15483" y="0"/>
                  </a:lnTo>
                  <a:lnTo>
                    <a:pt x="15483" y="0"/>
                  </a:lnTo>
                  <a:lnTo>
                    <a:pt x="9677" y="5454"/>
                  </a:lnTo>
                  <a:lnTo>
                    <a:pt x="9677" y="5454"/>
                  </a:lnTo>
                  <a:lnTo>
                    <a:pt x="9677" y="5454"/>
                  </a:lnTo>
                  <a:lnTo>
                    <a:pt x="9677" y="5454"/>
                  </a:lnTo>
                  <a:lnTo>
                    <a:pt x="9677" y="5454"/>
                  </a:lnTo>
                  <a:lnTo>
                    <a:pt x="9677" y="9090"/>
                  </a:lnTo>
                  <a:lnTo>
                    <a:pt x="5806" y="12727"/>
                  </a:lnTo>
                  <a:lnTo>
                    <a:pt x="0" y="12727"/>
                  </a:lnTo>
                  <a:lnTo>
                    <a:pt x="5806" y="12727"/>
                  </a:lnTo>
                  <a:lnTo>
                    <a:pt x="9677" y="18181"/>
                  </a:lnTo>
                  <a:lnTo>
                    <a:pt x="9677" y="18181"/>
                  </a:lnTo>
                  <a:lnTo>
                    <a:pt x="9677" y="21818"/>
                  </a:lnTo>
                  <a:lnTo>
                    <a:pt x="9677" y="21818"/>
                  </a:lnTo>
                  <a:lnTo>
                    <a:pt x="9677" y="25454"/>
                  </a:lnTo>
                  <a:lnTo>
                    <a:pt x="5806" y="30909"/>
                  </a:lnTo>
                  <a:lnTo>
                    <a:pt x="0" y="34545"/>
                  </a:lnTo>
                  <a:lnTo>
                    <a:pt x="5806" y="43636"/>
                  </a:lnTo>
                  <a:lnTo>
                    <a:pt x="5806" y="47272"/>
                  </a:lnTo>
                  <a:lnTo>
                    <a:pt x="9677" y="52727"/>
                  </a:lnTo>
                  <a:lnTo>
                    <a:pt x="19354" y="52727"/>
                  </a:lnTo>
                  <a:lnTo>
                    <a:pt x="23225" y="60000"/>
                  </a:lnTo>
                  <a:lnTo>
                    <a:pt x="29032" y="60000"/>
                  </a:lnTo>
                  <a:lnTo>
                    <a:pt x="29032" y="60000"/>
                  </a:lnTo>
                  <a:lnTo>
                    <a:pt x="29032" y="60000"/>
                  </a:lnTo>
                  <a:lnTo>
                    <a:pt x="32903" y="56363"/>
                  </a:lnTo>
                  <a:lnTo>
                    <a:pt x="36774" y="52727"/>
                  </a:lnTo>
                  <a:lnTo>
                    <a:pt x="36774" y="52727"/>
                  </a:lnTo>
                  <a:lnTo>
                    <a:pt x="32903" y="47272"/>
                  </a:lnTo>
                  <a:lnTo>
                    <a:pt x="29032" y="47272"/>
                  </a:lnTo>
                  <a:lnTo>
                    <a:pt x="23225" y="43636"/>
                  </a:lnTo>
                  <a:lnTo>
                    <a:pt x="23225" y="34545"/>
                  </a:lnTo>
                  <a:lnTo>
                    <a:pt x="23225" y="40000"/>
                  </a:lnTo>
                  <a:lnTo>
                    <a:pt x="23225" y="40000"/>
                  </a:lnTo>
                  <a:lnTo>
                    <a:pt x="32903" y="43636"/>
                  </a:lnTo>
                  <a:lnTo>
                    <a:pt x="42580" y="52727"/>
                  </a:lnTo>
                  <a:lnTo>
                    <a:pt x="46451" y="56363"/>
                  </a:lnTo>
                  <a:lnTo>
                    <a:pt x="42580" y="56363"/>
                  </a:lnTo>
                  <a:lnTo>
                    <a:pt x="42580" y="60000"/>
                  </a:lnTo>
                  <a:lnTo>
                    <a:pt x="46451" y="65454"/>
                  </a:lnTo>
                  <a:lnTo>
                    <a:pt x="50322" y="65454"/>
                  </a:lnTo>
                  <a:lnTo>
                    <a:pt x="60000" y="69090"/>
                  </a:lnTo>
                  <a:lnTo>
                    <a:pt x="60000" y="69090"/>
                  </a:lnTo>
                  <a:lnTo>
                    <a:pt x="69677" y="72727"/>
                  </a:lnTo>
                  <a:lnTo>
                    <a:pt x="73548" y="78181"/>
                  </a:lnTo>
                  <a:lnTo>
                    <a:pt x="79354" y="81818"/>
                  </a:lnTo>
                  <a:lnTo>
                    <a:pt x="79354" y="87272"/>
                  </a:lnTo>
                  <a:lnTo>
                    <a:pt x="79354" y="90909"/>
                  </a:lnTo>
                  <a:lnTo>
                    <a:pt x="79354" y="94545"/>
                  </a:lnTo>
                  <a:lnTo>
                    <a:pt x="73548" y="100000"/>
                  </a:lnTo>
                  <a:lnTo>
                    <a:pt x="79354" y="103636"/>
                  </a:lnTo>
                  <a:lnTo>
                    <a:pt x="79354" y="107272"/>
                  </a:lnTo>
                  <a:lnTo>
                    <a:pt x="83225" y="107272"/>
                  </a:lnTo>
                  <a:lnTo>
                    <a:pt x="87096" y="107272"/>
                  </a:lnTo>
                  <a:lnTo>
                    <a:pt x="87096" y="107272"/>
                  </a:lnTo>
                  <a:lnTo>
                    <a:pt x="87096" y="103636"/>
                  </a:lnTo>
                  <a:lnTo>
                    <a:pt x="87096" y="103636"/>
                  </a:lnTo>
                  <a:lnTo>
                    <a:pt x="83225" y="100000"/>
                  </a:lnTo>
                  <a:lnTo>
                    <a:pt x="83225" y="94545"/>
                  </a:lnTo>
                  <a:lnTo>
                    <a:pt x="87096" y="94545"/>
                  </a:lnTo>
                  <a:lnTo>
                    <a:pt x="92903" y="100000"/>
                  </a:lnTo>
                  <a:lnTo>
                    <a:pt x="92903" y="100000"/>
                  </a:lnTo>
                  <a:lnTo>
                    <a:pt x="96774" y="103636"/>
                  </a:lnTo>
                  <a:lnTo>
                    <a:pt x="96774" y="107272"/>
                  </a:lnTo>
                  <a:lnTo>
                    <a:pt x="96774" y="112727"/>
                  </a:lnTo>
                  <a:lnTo>
                    <a:pt x="100645" y="116363"/>
                  </a:lnTo>
                  <a:lnTo>
                    <a:pt x="100645" y="120000"/>
                  </a:lnTo>
                  <a:lnTo>
                    <a:pt x="100645" y="116363"/>
                  </a:lnTo>
                  <a:lnTo>
                    <a:pt x="100645" y="116363"/>
                  </a:lnTo>
                  <a:lnTo>
                    <a:pt x="100645" y="112727"/>
                  </a:lnTo>
                  <a:lnTo>
                    <a:pt x="96774" y="112727"/>
                  </a:lnTo>
                  <a:lnTo>
                    <a:pt x="96774" y="112727"/>
                  </a:lnTo>
                  <a:lnTo>
                    <a:pt x="100645" y="107272"/>
                  </a:lnTo>
                  <a:lnTo>
                    <a:pt x="106451" y="107272"/>
                  </a:lnTo>
                  <a:lnTo>
                    <a:pt x="106451" y="103636"/>
                  </a:lnTo>
                  <a:lnTo>
                    <a:pt x="106451" y="103636"/>
                  </a:lnTo>
                  <a:lnTo>
                    <a:pt x="106451" y="100000"/>
                  </a:lnTo>
                  <a:lnTo>
                    <a:pt x="100645" y="94545"/>
                  </a:lnTo>
                  <a:lnTo>
                    <a:pt x="106451" y="90909"/>
                  </a:lnTo>
                  <a:lnTo>
                    <a:pt x="106451" y="90909"/>
                  </a:lnTo>
                  <a:lnTo>
                    <a:pt x="110322" y="90909"/>
                  </a:lnTo>
                  <a:lnTo>
                    <a:pt x="110322" y="87272"/>
                  </a:lnTo>
                  <a:lnTo>
                    <a:pt x="110322" y="87272"/>
                  </a:lnTo>
                  <a:lnTo>
                    <a:pt x="110322" y="87272"/>
                  </a:lnTo>
                  <a:lnTo>
                    <a:pt x="106451" y="81818"/>
                  </a:lnTo>
                  <a:lnTo>
                    <a:pt x="100645" y="81818"/>
                  </a:lnTo>
                  <a:lnTo>
                    <a:pt x="106451" y="72727"/>
                  </a:lnTo>
                  <a:lnTo>
                    <a:pt x="106451" y="69090"/>
                  </a:lnTo>
                  <a:lnTo>
                    <a:pt x="106451" y="65454"/>
                  </a:lnTo>
                  <a:lnTo>
                    <a:pt x="106451" y="65454"/>
                  </a:lnTo>
                  <a:lnTo>
                    <a:pt x="106451" y="65454"/>
                  </a:lnTo>
                  <a:lnTo>
                    <a:pt x="110322" y="65454"/>
                  </a:lnTo>
                  <a:lnTo>
                    <a:pt x="110322" y="60000"/>
                  </a:lnTo>
                  <a:lnTo>
                    <a:pt x="110322" y="65454"/>
                  </a:lnTo>
                  <a:lnTo>
                    <a:pt x="114193" y="65454"/>
                  </a:lnTo>
                  <a:lnTo>
                    <a:pt x="114193" y="65454"/>
                  </a:lnTo>
                  <a:lnTo>
                    <a:pt x="120000" y="65454"/>
                  </a:lnTo>
                  <a:lnTo>
                    <a:pt x="120000" y="65454"/>
                  </a:lnTo>
                  <a:lnTo>
                    <a:pt x="120000" y="65454"/>
                  </a:lnTo>
                  <a:lnTo>
                    <a:pt x="114193" y="6000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10" name="Shape 510"/>
            <p:cNvSpPr/>
            <p:nvPr/>
          </p:nvSpPr>
          <p:spPr>
            <a:xfrm>
              <a:off x="3860" y="2730"/>
              <a:ext cx="0" cy="300"/>
            </a:xfrm>
            <a:custGeom>
              <a:avLst/>
              <a:gdLst/>
              <a:ahLst/>
              <a:cxnLst/>
              <a:rect l="0" t="0" r="0" b="0"/>
              <a:pathLst>
                <a:path w="120000" h="120000" extrusionOk="0">
                  <a:moveTo>
                    <a:pt x="120000" y="2608"/>
                  </a:moveTo>
                  <a:lnTo>
                    <a:pt x="118273" y="2608"/>
                  </a:lnTo>
                  <a:lnTo>
                    <a:pt x="118273" y="1304"/>
                  </a:lnTo>
                  <a:lnTo>
                    <a:pt x="118273" y="1304"/>
                  </a:lnTo>
                  <a:lnTo>
                    <a:pt x="113956" y="1304"/>
                  </a:lnTo>
                  <a:lnTo>
                    <a:pt x="113956" y="1304"/>
                  </a:lnTo>
                  <a:lnTo>
                    <a:pt x="112230" y="2608"/>
                  </a:lnTo>
                  <a:lnTo>
                    <a:pt x="112230" y="2608"/>
                  </a:lnTo>
                  <a:lnTo>
                    <a:pt x="112230" y="1304"/>
                  </a:lnTo>
                  <a:lnTo>
                    <a:pt x="110503" y="1304"/>
                  </a:lnTo>
                  <a:lnTo>
                    <a:pt x="110503" y="1304"/>
                  </a:lnTo>
                  <a:lnTo>
                    <a:pt x="107913" y="1304"/>
                  </a:lnTo>
                  <a:lnTo>
                    <a:pt x="107913" y="1304"/>
                  </a:lnTo>
                  <a:lnTo>
                    <a:pt x="107913" y="1304"/>
                  </a:lnTo>
                  <a:lnTo>
                    <a:pt x="106187" y="1304"/>
                  </a:lnTo>
                  <a:lnTo>
                    <a:pt x="101870" y="0"/>
                  </a:lnTo>
                  <a:lnTo>
                    <a:pt x="101870" y="0"/>
                  </a:lnTo>
                  <a:lnTo>
                    <a:pt x="100143" y="0"/>
                  </a:lnTo>
                  <a:lnTo>
                    <a:pt x="97553" y="1304"/>
                  </a:lnTo>
                  <a:lnTo>
                    <a:pt x="97553" y="1304"/>
                  </a:lnTo>
                  <a:lnTo>
                    <a:pt x="94100" y="1304"/>
                  </a:lnTo>
                  <a:lnTo>
                    <a:pt x="89784" y="1304"/>
                  </a:lnTo>
                  <a:lnTo>
                    <a:pt x="88057" y="1304"/>
                  </a:lnTo>
                  <a:lnTo>
                    <a:pt x="88057" y="2608"/>
                  </a:lnTo>
                  <a:lnTo>
                    <a:pt x="88057" y="2608"/>
                  </a:lnTo>
                  <a:lnTo>
                    <a:pt x="85467" y="4565"/>
                  </a:lnTo>
                  <a:lnTo>
                    <a:pt x="85467" y="5869"/>
                  </a:lnTo>
                  <a:lnTo>
                    <a:pt x="85467" y="7173"/>
                  </a:lnTo>
                  <a:lnTo>
                    <a:pt x="85467" y="7173"/>
                  </a:lnTo>
                  <a:lnTo>
                    <a:pt x="85467" y="9130"/>
                  </a:lnTo>
                  <a:lnTo>
                    <a:pt x="85467" y="10434"/>
                  </a:lnTo>
                  <a:lnTo>
                    <a:pt x="85467" y="12391"/>
                  </a:lnTo>
                  <a:lnTo>
                    <a:pt x="83741" y="13695"/>
                  </a:lnTo>
                  <a:lnTo>
                    <a:pt x="83741" y="15000"/>
                  </a:lnTo>
                  <a:lnTo>
                    <a:pt x="82014" y="18260"/>
                  </a:lnTo>
                  <a:lnTo>
                    <a:pt x="82014" y="19565"/>
                  </a:lnTo>
                  <a:lnTo>
                    <a:pt x="82014" y="19565"/>
                  </a:lnTo>
                  <a:lnTo>
                    <a:pt x="82014" y="19565"/>
                  </a:lnTo>
                  <a:lnTo>
                    <a:pt x="79424" y="21521"/>
                  </a:lnTo>
                  <a:lnTo>
                    <a:pt x="79424" y="21521"/>
                  </a:lnTo>
                  <a:lnTo>
                    <a:pt x="79424" y="22826"/>
                  </a:lnTo>
                  <a:lnTo>
                    <a:pt x="79424" y="24130"/>
                  </a:lnTo>
                  <a:lnTo>
                    <a:pt x="79424" y="26086"/>
                  </a:lnTo>
                  <a:lnTo>
                    <a:pt x="79424" y="27391"/>
                  </a:lnTo>
                  <a:lnTo>
                    <a:pt x="79424" y="27391"/>
                  </a:lnTo>
                  <a:lnTo>
                    <a:pt x="79424" y="27391"/>
                  </a:lnTo>
                  <a:lnTo>
                    <a:pt x="79424" y="27391"/>
                  </a:lnTo>
                  <a:lnTo>
                    <a:pt x="77697" y="26086"/>
                  </a:lnTo>
                  <a:lnTo>
                    <a:pt x="75971" y="26086"/>
                  </a:lnTo>
                  <a:lnTo>
                    <a:pt x="73381" y="24130"/>
                  </a:lnTo>
                  <a:lnTo>
                    <a:pt x="71654" y="24130"/>
                  </a:lnTo>
                  <a:lnTo>
                    <a:pt x="69064" y="24130"/>
                  </a:lnTo>
                  <a:lnTo>
                    <a:pt x="67338" y="24130"/>
                  </a:lnTo>
                  <a:lnTo>
                    <a:pt x="65611" y="22826"/>
                  </a:lnTo>
                  <a:lnTo>
                    <a:pt x="65611" y="22826"/>
                  </a:lnTo>
                  <a:lnTo>
                    <a:pt x="65611" y="22826"/>
                  </a:lnTo>
                  <a:lnTo>
                    <a:pt x="63021" y="22826"/>
                  </a:lnTo>
                  <a:lnTo>
                    <a:pt x="63021" y="22826"/>
                  </a:lnTo>
                  <a:lnTo>
                    <a:pt x="61294" y="22826"/>
                  </a:lnTo>
                  <a:lnTo>
                    <a:pt x="59568" y="22826"/>
                  </a:lnTo>
                  <a:lnTo>
                    <a:pt x="59568" y="22826"/>
                  </a:lnTo>
                  <a:lnTo>
                    <a:pt x="59568" y="21521"/>
                  </a:lnTo>
                  <a:lnTo>
                    <a:pt x="56978" y="22826"/>
                  </a:lnTo>
                  <a:lnTo>
                    <a:pt x="56978" y="21521"/>
                  </a:lnTo>
                  <a:lnTo>
                    <a:pt x="56978" y="21521"/>
                  </a:lnTo>
                  <a:lnTo>
                    <a:pt x="56978" y="21521"/>
                  </a:lnTo>
                  <a:lnTo>
                    <a:pt x="55251" y="19565"/>
                  </a:lnTo>
                  <a:lnTo>
                    <a:pt x="53525" y="21521"/>
                  </a:lnTo>
                  <a:lnTo>
                    <a:pt x="50935" y="21521"/>
                  </a:lnTo>
                  <a:lnTo>
                    <a:pt x="47482" y="21521"/>
                  </a:lnTo>
                  <a:lnTo>
                    <a:pt x="43165" y="21521"/>
                  </a:lnTo>
                  <a:lnTo>
                    <a:pt x="38848" y="21521"/>
                  </a:lnTo>
                  <a:lnTo>
                    <a:pt x="34532" y="21521"/>
                  </a:lnTo>
                  <a:lnTo>
                    <a:pt x="34532" y="21521"/>
                  </a:lnTo>
                  <a:lnTo>
                    <a:pt x="32805" y="24130"/>
                  </a:lnTo>
                  <a:lnTo>
                    <a:pt x="32805" y="26086"/>
                  </a:lnTo>
                  <a:lnTo>
                    <a:pt x="32805" y="27391"/>
                  </a:lnTo>
                  <a:lnTo>
                    <a:pt x="32805" y="29347"/>
                  </a:lnTo>
                  <a:lnTo>
                    <a:pt x="32805" y="30652"/>
                  </a:lnTo>
                  <a:lnTo>
                    <a:pt x="32805" y="31956"/>
                  </a:lnTo>
                  <a:lnTo>
                    <a:pt x="32805" y="31956"/>
                  </a:lnTo>
                  <a:lnTo>
                    <a:pt x="32805" y="33913"/>
                  </a:lnTo>
                  <a:lnTo>
                    <a:pt x="32805" y="33913"/>
                  </a:lnTo>
                  <a:lnTo>
                    <a:pt x="34532" y="33913"/>
                  </a:lnTo>
                  <a:lnTo>
                    <a:pt x="34532" y="33913"/>
                  </a:lnTo>
                  <a:lnTo>
                    <a:pt x="38848" y="31956"/>
                  </a:lnTo>
                  <a:lnTo>
                    <a:pt x="40575" y="31956"/>
                  </a:lnTo>
                  <a:lnTo>
                    <a:pt x="43165" y="30652"/>
                  </a:lnTo>
                  <a:lnTo>
                    <a:pt x="47482" y="31956"/>
                  </a:lnTo>
                  <a:lnTo>
                    <a:pt x="49208" y="31956"/>
                  </a:lnTo>
                  <a:lnTo>
                    <a:pt x="49208" y="31956"/>
                  </a:lnTo>
                  <a:lnTo>
                    <a:pt x="50935" y="35217"/>
                  </a:lnTo>
                  <a:lnTo>
                    <a:pt x="50935" y="35217"/>
                  </a:lnTo>
                  <a:lnTo>
                    <a:pt x="50935" y="36521"/>
                  </a:lnTo>
                  <a:lnTo>
                    <a:pt x="53525" y="38478"/>
                  </a:lnTo>
                  <a:lnTo>
                    <a:pt x="53525" y="38478"/>
                  </a:lnTo>
                  <a:lnTo>
                    <a:pt x="53525" y="39782"/>
                  </a:lnTo>
                  <a:lnTo>
                    <a:pt x="50935" y="39782"/>
                  </a:lnTo>
                  <a:lnTo>
                    <a:pt x="50935" y="41086"/>
                  </a:lnTo>
                  <a:lnTo>
                    <a:pt x="50935" y="41086"/>
                  </a:lnTo>
                  <a:lnTo>
                    <a:pt x="50935" y="43043"/>
                  </a:lnTo>
                  <a:lnTo>
                    <a:pt x="49208" y="43043"/>
                  </a:lnTo>
                  <a:lnTo>
                    <a:pt x="47482" y="43043"/>
                  </a:lnTo>
                  <a:lnTo>
                    <a:pt x="47482" y="43043"/>
                  </a:lnTo>
                  <a:lnTo>
                    <a:pt x="47482" y="44347"/>
                  </a:lnTo>
                  <a:lnTo>
                    <a:pt x="44892" y="46304"/>
                  </a:lnTo>
                  <a:lnTo>
                    <a:pt x="44892" y="46304"/>
                  </a:lnTo>
                  <a:lnTo>
                    <a:pt x="43165" y="47608"/>
                  </a:lnTo>
                  <a:lnTo>
                    <a:pt x="44892" y="48913"/>
                  </a:lnTo>
                  <a:lnTo>
                    <a:pt x="43165" y="52173"/>
                  </a:lnTo>
                  <a:lnTo>
                    <a:pt x="43165" y="53478"/>
                  </a:lnTo>
                  <a:lnTo>
                    <a:pt x="44892" y="53478"/>
                  </a:lnTo>
                  <a:lnTo>
                    <a:pt x="47482" y="53478"/>
                  </a:lnTo>
                  <a:lnTo>
                    <a:pt x="47482" y="55434"/>
                  </a:lnTo>
                  <a:lnTo>
                    <a:pt x="49208" y="55434"/>
                  </a:lnTo>
                  <a:lnTo>
                    <a:pt x="49208" y="56739"/>
                  </a:lnTo>
                  <a:lnTo>
                    <a:pt x="50935" y="56739"/>
                  </a:lnTo>
                  <a:lnTo>
                    <a:pt x="53525" y="58043"/>
                  </a:lnTo>
                  <a:lnTo>
                    <a:pt x="53525" y="58043"/>
                  </a:lnTo>
                  <a:lnTo>
                    <a:pt x="53525" y="60000"/>
                  </a:lnTo>
                  <a:lnTo>
                    <a:pt x="53525" y="61304"/>
                  </a:lnTo>
                  <a:lnTo>
                    <a:pt x="53525" y="64565"/>
                  </a:lnTo>
                  <a:lnTo>
                    <a:pt x="53525" y="65869"/>
                  </a:lnTo>
                  <a:lnTo>
                    <a:pt x="53525" y="67826"/>
                  </a:lnTo>
                  <a:lnTo>
                    <a:pt x="53525" y="70434"/>
                  </a:lnTo>
                  <a:lnTo>
                    <a:pt x="53525" y="72391"/>
                  </a:lnTo>
                  <a:lnTo>
                    <a:pt x="53525" y="72391"/>
                  </a:lnTo>
                  <a:lnTo>
                    <a:pt x="53525" y="73695"/>
                  </a:lnTo>
                  <a:lnTo>
                    <a:pt x="53525" y="73695"/>
                  </a:lnTo>
                  <a:lnTo>
                    <a:pt x="50935" y="76956"/>
                  </a:lnTo>
                  <a:lnTo>
                    <a:pt x="50935" y="76956"/>
                  </a:lnTo>
                  <a:lnTo>
                    <a:pt x="50935" y="76956"/>
                  </a:lnTo>
                  <a:lnTo>
                    <a:pt x="49208" y="78260"/>
                  </a:lnTo>
                  <a:lnTo>
                    <a:pt x="49208" y="80217"/>
                  </a:lnTo>
                  <a:lnTo>
                    <a:pt x="49208" y="80217"/>
                  </a:lnTo>
                  <a:lnTo>
                    <a:pt x="49208" y="81521"/>
                  </a:lnTo>
                  <a:lnTo>
                    <a:pt x="49208" y="81521"/>
                  </a:lnTo>
                  <a:lnTo>
                    <a:pt x="49208" y="82826"/>
                  </a:lnTo>
                  <a:lnTo>
                    <a:pt x="49208" y="82826"/>
                  </a:lnTo>
                  <a:lnTo>
                    <a:pt x="47482" y="84782"/>
                  </a:lnTo>
                  <a:lnTo>
                    <a:pt x="47482" y="84782"/>
                  </a:lnTo>
                  <a:lnTo>
                    <a:pt x="44892" y="84782"/>
                  </a:lnTo>
                  <a:lnTo>
                    <a:pt x="43165" y="84782"/>
                  </a:lnTo>
                  <a:lnTo>
                    <a:pt x="43165" y="84782"/>
                  </a:lnTo>
                  <a:lnTo>
                    <a:pt x="43165" y="82826"/>
                  </a:lnTo>
                  <a:lnTo>
                    <a:pt x="43165" y="82826"/>
                  </a:lnTo>
                  <a:lnTo>
                    <a:pt x="43165" y="81521"/>
                  </a:lnTo>
                  <a:lnTo>
                    <a:pt x="43165" y="80217"/>
                  </a:lnTo>
                  <a:lnTo>
                    <a:pt x="40575" y="80217"/>
                  </a:lnTo>
                  <a:lnTo>
                    <a:pt x="40575" y="81521"/>
                  </a:lnTo>
                  <a:lnTo>
                    <a:pt x="38848" y="81521"/>
                  </a:lnTo>
                  <a:lnTo>
                    <a:pt x="37122" y="82826"/>
                  </a:lnTo>
                  <a:lnTo>
                    <a:pt x="34532" y="84782"/>
                  </a:lnTo>
                  <a:lnTo>
                    <a:pt x="32805" y="82826"/>
                  </a:lnTo>
                  <a:lnTo>
                    <a:pt x="28489" y="82826"/>
                  </a:lnTo>
                  <a:lnTo>
                    <a:pt x="28489" y="80217"/>
                  </a:lnTo>
                  <a:lnTo>
                    <a:pt x="26762" y="78260"/>
                  </a:lnTo>
                  <a:lnTo>
                    <a:pt x="26762" y="76956"/>
                  </a:lnTo>
                  <a:lnTo>
                    <a:pt x="25035" y="76956"/>
                  </a:lnTo>
                  <a:lnTo>
                    <a:pt x="25035" y="75652"/>
                  </a:lnTo>
                  <a:lnTo>
                    <a:pt x="22446" y="75652"/>
                  </a:lnTo>
                  <a:lnTo>
                    <a:pt x="20719" y="76956"/>
                  </a:lnTo>
                  <a:lnTo>
                    <a:pt x="20719" y="76956"/>
                  </a:lnTo>
                  <a:lnTo>
                    <a:pt x="20719" y="78260"/>
                  </a:lnTo>
                  <a:lnTo>
                    <a:pt x="20719" y="78260"/>
                  </a:lnTo>
                  <a:lnTo>
                    <a:pt x="20719" y="80217"/>
                  </a:lnTo>
                  <a:lnTo>
                    <a:pt x="20719" y="80217"/>
                  </a:lnTo>
                  <a:lnTo>
                    <a:pt x="20719" y="80217"/>
                  </a:lnTo>
                  <a:lnTo>
                    <a:pt x="20719" y="81521"/>
                  </a:lnTo>
                  <a:lnTo>
                    <a:pt x="20719" y="82826"/>
                  </a:lnTo>
                  <a:lnTo>
                    <a:pt x="14676" y="84782"/>
                  </a:lnTo>
                  <a:lnTo>
                    <a:pt x="14676" y="82826"/>
                  </a:lnTo>
                  <a:lnTo>
                    <a:pt x="12086" y="82826"/>
                  </a:lnTo>
                  <a:lnTo>
                    <a:pt x="12086" y="82826"/>
                  </a:lnTo>
                  <a:lnTo>
                    <a:pt x="8633" y="82826"/>
                  </a:lnTo>
                  <a:lnTo>
                    <a:pt x="8633" y="82826"/>
                  </a:lnTo>
                  <a:lnTo>
                    <a:pt x="6043" y="82826"/>
                  </a:lnTo>
                  <a:lnTo>
                    <a:pt x="6043" y="82826"/>
                  </a:lnTo>
                  <a:lnTo>
                    <a:pt x="6043" y="82826"/>
                  </a:lnTo>
                  <a:lnTo>
                    <a:pt x="6043" y="86086"/>
                  </a:lnTo>
                  <a:lnTo>
                    <a:pt x="6043" y="87391"/>
                  </a:lnTo>
                  <a:lnTo>
                    <a:pt x="6043" y="89347"/>
                  </a:lnTo>
                  <a:lnTo>
                    <a:pt x="6043" y="89347"/>
                  </a:lnTo>
                  <a:lnTo>
                    <a:pt x="8633" y="90652"/>
                  </a:lnTo>
                  <a:lnTo>
                    <a:pt x="8633" y="90652"/>
                  </a:lnTo>
                  <a:lnTo>
                    <a:pt x="8633" y="90652"/>
                  </a:lnTo>
                  <a:lnTo>
                    <a:pt x="10359" y="92608"/>
                  </a:lnTo>
                  <a:lnTo>
                    <a:pt x="10359" y="92608"/>
                  </a:lnTo>
                  <a:lnTo>
                    <a:pt x="8633" y="92608"/>
                  </a:lnTo>
                  <a:lnTo>
                    <a:pt x="8633" y="93913"/>
                  </a:lnTo>
                  <a:lnTo>
                    <a:pt x="8633" y="93913"/>
                  </a:lnTo>
                  <a:lnTo>
                    <a:pt x="10359" y="95217"/>
                  </a:lnTo>
                  <a:lnTo>
                    <a:pt x="12086" y="95217"/>
                  </a:lnTo>
                  <a:lnTo>
                    <a:pt x="12086" y="97173"/>
                  </a:lnTo>
                  <a:lnTo>
                    <a:pt x="12086" y="97173"/>
                  </a:lnTo>
                  <a:lnTo>
                    <a:pt x="12086" y="98478"/>
                  </a:lnTo>
                  <a:lnTo>
                    <a:pt x="12086" y="98478"/>
                  </a:lnTo>
                  <a:lnTo>
                    <a:pt x="10359" y="99782"/>
                  </a:lnTo>
                  <a:lnTo>
                    <a:pt x="10359" y="99782"/>
                  </a:lnTo>
                  <a:lnTo>
                    <a:pt x="12086" y="99782"/>
                  </a:lnTo>
                  <a:lnTo>
                    <a:pt x="12086" y="101739"/>
                  </a:lnTo>
                  <a:lnTo>
                    <a:pt x="10359" y="101739"/>
                  </a:lnTo>
                  <a:lnTo>
                    <a:pt x="10359" y="101739"/>
                  </a:lnTo>
                  <a:lnTo>
                    <a:pt x="8633" y="101739"/>
                  </a:lnTo>
                  <a:lnTo>
                    <a:pt x="8633" y="101739"/>
                  </a:lnTo>
                  <a:lnTo>
                    <a:pt x="6043" y="99782"/>
                  </a:lnTo>
                  <a:lnTo>
                    <a:pt x="6043" y="98478"/>
                  </a:lnTo>
                  <a:lnTo>
                    <a:pt x="2589" y="101739"/>
                  </a:lnTo>
                  <a:lnTo>
                    <a:pt x="2589" y="101739"/>
                  </a:lnTo>
                  <a:lnTo>
                    <a:pt x="0" y="103043"/>
                  </a:lnTo>
                  <a:lnTo>
                    <a:pt x="0" y="104347"/>
                  </a:lnTo>
                  <a:lnTo>
                    <a:pt x="4316" y="107608"/>
                  </a:lnTo>
                  <a:lnTo>
                    <a:pt x="4316" y="109565"/>
                  </a:lnTo>
                  <a:lnTo>
                    <a:pt x="8633" y="112173"/>
                  </a:lnTo>
                  <a:lnTo>
                    <a:pt x="10359" y="114130"/>
                  </a:lnTo>
                  <a:lnTo>
                    <a:pt x="10359" y="115434"/>
                  </a:lnTo>
                  <a:lnTo>
                    <a:pt x="10359" y="115434"/>
                  </a:lnTo>
                  <a:lnTo>
                    <a:pt x="10359" y="115434"/>
                  </a:lnTo>
                  <a:lnTo>
                    <a:pt x="12086" y="116739"/>
                  </a:lnTo>
                  <a:lnTo>
                    <a:pt x="12086" y="118695"/>
                  </a:lnTo>
                  <a:lnTo>
                    <a:pt x="14676" y="120000"/>
                  </a:lnTo>
                  <a:lnTo>
                    <a:pt x="14676" y="120000"/>
                  </a:lnTo>
                  <a:lnTo>
                    <a:pt x="14676" y="118695"/>
                  </a:lnTo>
                  <a:lnTo>
                    <a:pt x="16402" y="116739"/>
                  </a:lnTo>
                  <a:lnTo>
                    <a:pt x="16402" y="116739"/>
                  </a:lnTo>
                  <a:lnTo>
                    <a:pt x="18992" y="116739"/>
                  </a:lnTo>
                  <a:lnTo>
                    <a:pt x="18992" y="115434"/>
                  </a:lnTo>
                  <a:lnTo>
                    <a:pt x="20719" y="115434"/>
                  </a:lnTo>
                  <a:lnTo>
                    <a:pt x="20719" y="114130"/>
                  </a:lnTo>
                  <a:lnTo>
                    <a:pt x="22446" y="114130"/>
                  </a:lnTo>
                  <a:lnTo>
                    <a:pt x="25035" y="112173"/>
                  </a:lnTo>
                  <a:lnTo>
                    <a:pt x="25035" y="112173"/>
                  </a:lnTo>
                  <a:lnTo>
                    <a:pt x="26762" y="112173"/>
                  </a:lnTo>
                  <a:lnTo>
                    <a:pt x="26762" y="112173"/>
                  </a:lnTo>
                  <a:lnTo>
                    <a:pt x="28489" y="112173"/>
                  </a:lnTo>
                  <a:lnTo>
                    <a:pt x="28489" y="114130"/>
                  </a:lnTo>
                  <a:lnTo>
                    <a:pt x="31079" y="114130"/>
                  </a:lnTo>
                  <a:lnTo>
                    <a:pt x="31079" y="114130"/>
                  </a:lnTo>
                  <a:lnTo>
                    <a:pt x="31079" y="114130"/>
                  </a:lnTo>
                  <a:lnTo>
                    <a:pt x="32805" y="114130"/>
                  </a:lnTo>
                  <a:lnTo>
                    <a:pt x="32805" y="114130"/>
                  </a:lnTo>
                  <a:lnTo>
                    <a:pt x="32805" y="115434"/>
                  </a:lnTo>
                  <a:lnTo>
                    <a:pt x="32805" y="115434"/>
                  </a:lnTo>
                  <a:lnTo>
                    <a:pt x="34532" y="116739"/>
                  </a:lnTo>
                  <a:lnTo>
                    <a:pt x="34532" y="116739"/>
                  </a:lnTo>
                  <a:lnTo>
                    <a:pt x="37122" y="116739"/>
                  </a:lnTo>
                  <a:lnTo>
                    <a:pt x="37122" y="116739"/>
                  </a:lnTo>
                  <a:lnTo>
                    <a:pt x="38848" y="116739"/>
                  </a:lnTo>
                  <a:lnTo>
                    <a:pt x="40575" y="115434"/>
                  </a:lnTo>
                  <a:lnTo>
                    <a:pt x="40575" y="115434"/>
                  </a:lnTo>
                  <a:lnTo>
                    <a:pt x="40575" y="114130"/>
                  </a:lnTo>
                  <a:lnTo>
                    <a:pt x="40575" y="114130"/>
                  </a:lnTo>
                  <a:lnTo>
                    <a:pt x="40575" y="112173"/>
                  </a:lnTo>
                  <a:lnTo>
                    <a:pt x="40575" y="112173"/>
                  </a:lnTo>
                  <a:lnTo>
                    <a:pt x="43165" y="112173"/>
                  </a:lnTo>
                  <a:lnTo>
                    <a:pt x="43165" y="112173"/>
                  </a:lnTo>
                  <a:lnTo>
                    <a:pt x="43165" y="112173"/>
                  </a:lnTo>
                  <a:lnTo>
                    <a:pt x="44892" y="112173"/>
                  </a:lnTo>
                  <a:lnTo>
                    <a:pt x="44892" y="112173"/>
                  </a:lnTo>
                  <a:lnTo>
                    <a:pt x="47482" y="110869"/>
                  </a:lnTo>
                  <a:lnTo>
                    <a:pt x="47482" y="110869"/>
                  </a:lnTo>
                  <a:lnTo>
                    <a:pt x="49208" y="110869"/>
                  </a:lnTo>
                  <a:lnTo>
                    <a:pt x="50935" y="109565"/>
                  </a:lnTo>
                  <a:lnTo>
                    <a:pt x="50935" y="109565"/>
                  </a:lnTo>
                  <a:lnTo>
                    <a:pt x="53525" y="110869"/>
                  </a:lnTo>
                  <a:lnTo>
                    <a:pt x="53525" y="110869"/>
                  </a:lnTo>
                  <a:lnTo>
                    <a:pt x="53525" y="112173"/>
                  </a:lnTo>
                  <a:lnTo>
                    <a:pt x="53525" y="112173"/>
                  </a:lnTo>
                  <a:lnTo>
                    <a:pt x="50935" y="114130"/>
                  </a:lnTo>
                  <a:lnTo>
                    <a:pt x="53525" y="115434"/>
                  </a:lnTo>
                  <a:lnTo>
                    <a:pt x="53525" y="116739"/>
                  </a:lnTo>
                  <a:lnTo>
                    <a:pt x="53525" y="116739"/>
                  </a:lnTo>
                  <a:lnTo>
                    <a:pt x="53525" y="116739"/>
                  </a:lnTo>
                  <a:lnTo>
                    <a:pt x="53525" y="116739"/>
                  </a:lnTo>
                  <a:lnTo>
                    <a:pt x="53525" y="116739"/>
                  </a:lnTo>
                  <a:lnTo>
                    <a:pt x="55251" y="116739"/>
                  </a:lnTo>
                  <a:lnTo>
                    <a:pt x="55251" y="118695"/>
                  </a:lnTo>
                  <a:lnTo>
                    <a:pt x="56978" y="118695"/>
                  </a:lnTo>
                  <a:lnTo>
                    <a:pt x="56978" y="116739"/>
                  </a:lnTo>
                  <a:lnTo>
                    <a:pt x="61294" y="115434"/>
                  </a:lnTo>
                  <a:lnTo>
                    <a:pt x="63021" y="112173"/>
                  </a:lnTo>
                  <a:lnTo>
                    <a:pt x="65611" y="109565"/>
                  </a:lnTo>
                  <a:lnTo>
                    <a:pt x="67338" y="109565"/>
                  </a:lnTo>
                  <a:lnTo>
                    <a:pt x="69064" y="107608"/>
                  </a:lnTo>
                  <a:lnTo>
                    <a:pt x="69064" y="107608"/>
                  </a:lnTo>
                  <a:lnTo>
                    <a:pt x="71654" y="106304"/>
                  </a:lnTo>
                  <a:lnTo>
                    <a:pt x="73381" y="106304"/>
                  </a:lnTo>
                  <a:lnTo>
                    <a:pt x="75971" y="104347"/>
                  </a:lnTo>
                  <a:lnTo>
                    <a:pt x="77697" y="103043"/>
                  </a:lnTo>
                  <a:lnTo>
                    <a:pt x="79424" y="98478"/>
                  </a:lnTo>
                  <a:lnTo>
                    <a:pt x="82014" y="95217"/>
                  </a:lnTo>
                  <a:lnTo>
                    <a:pt x="82014" y="92608"/>
                  </a:lnTo>
                  <a:lnTo>
                    <a:pt x="82014" y="84782"/>
                  </a:lnTo>
                  <a:lnTo>
                    <a:pt x="82014" y="81521"/>
                  </a:lnTo>
                  <a:lnTo>
                    <a:pt x="82014" y="80217"/>
                  </a:lnTo>
                  <a:lnTo>
                    <a:pt x="82014" y="80217"/>
                  </a:lnTo>
                  <a:lnTo>
                    <a:pt x="85467" y="78260"/>
                  </a:lnTo>
                  <a:lnTo>
                    <a:pt x="85467" y="75652"/>
                  </a:lnTo>
                  <a:lnTo>
                    <a:pt x="88057" y="73695"/>
                  </a:lnTo>
                  <a:lnTo>
                    <a:pt x="89784" y="69130"/>
                  </a:lnTo>
                  <a:lnTo>
                    <a:pt x="91510" y="67826"/>
                  </a:lnTo>
                  <a:lnTo>
                    <a:pt x="91510" y="67826"/>
                  </a:lnTo>
                  <a:lnTo>
                    <a:pt x="94100" y="65869"/>
                  </a:lnTo>
                  <a:lnTo>
                    <a:pt x="95827" y="65869"/>
                  </a:lnTo>
                  <a:lnTo>
                    <a:pt x="97553" y="64565"/>
                  </a:lnTo>
                  <a:lnTo>
                    <a:pt x="101870" y="61304"/>
                  </a:lnTo>
                  <a:lnTo>
                    <a:pt x="106187" y="58043"/>
                  </a:lnTo>
                  <a:lnTo>
                    <a:pt x="106187" y="55434"/>
                  </a:lnTo>
                  <a:lnTo>
                    <a:pt x="106187" y="50869"/>
                  </a:lnTo>
                  <a:lnTo>
                    <a:pt x="107913" y="47608"/>
                  </a:lnTo>
                  <a:lnTo>
                    <a:pt x="107913" y="43043"/>
                  </a:lnTo>
                  <a:lnTo>
                    <a:pt x="107913" y="38478"/>
                  </a:lnTo>
                  <a:lnTo>
                    <a:pt x="107913" y="35217"/>
                  </a:lnTo>
                  <a:lnTo>
                    <a:pt x="110503" y="30652"/>
                  </a:lnTo>
                  <a:lnTo>
                    <a:pt x="110503" y="29347"/>
                  </a:lnTo>
                  <a:lnTo>
                    <a:pt x="112230" y="27391"/>
                  </a:lnTo>
                  <a:lnTo>
                    <a:pt x="110503" y="22826"/>
                  </a:lnTo>
                  <a:lnTo>
                    <a:pt x="113956" y="16956"/>
                  </a:lnTo>
                  <a:lnTo>
                    <a:pt x="116546" y="13695"/>
                  </a:lnTo>
                  <a:lnTo>
                    <a:pt x="118273" y="10434"/>
                  </a:lnTo>
                  <a:lnTo>
                    <a:pt x="118273" y="7173"/>
                  </a:lnTo>
                  <a:lnTo>
                    <a:pt x="120000" y="5869"/>
                  </a:lnTo>
                  <a:lnTo>
                    <a:pt x="120000" y="2608"/>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11" name="Shape 511"/>
            <p:cNvSpPr/>
            <p:nvPr/>
          </p:nvSpPr>
          <p:spPr>
            <a:xfrm>
              <a:off x="2185" y="2545"/>
              <a:ext cx="300" cy="300"/>
            </a:xfrm>
            <a:custGeom>
              <a:avLst/>
              <a:gdLst/>
              <a:ahLst/>
              <a:cxnLst/>
              <a:rect l="0" t="0" r="0" b="0"/>
              <a:pathLst>
                <a:path w="120000" h="120000" extrusionOk="0">
                  <a:moveTo>
                    <a:pt x="8571" y="71728"/>
                  </a:moveTo>
                  <a:lnTo>
                    <a:pt x="8571" y="70708"/>
                  </a:lnTo>
                  <a:lnTo>
                    <a:pt x="8571" y="70708"/>
                  </a:lnTo>
                  <a:lnTo>
                    <a:pt x="8571" y="70708"/>
                  </a:lnTo>
                  <a:lnTo>
                    <a:pt x="8571" y="70028"/>
                  </a:lnTo>
                  <a:lnTo>
                    <a:pt x="7499" y="70708"/>
                  </a:lnTo>
                  <a:lnTo>
                    <a:pt x="7499" y="70708"/>
                  </a:lnTo>
                  <a:lnTo>
                    <a:pt x="8571" y="71728"/>
                  </a:lnTo>
                  <a:close/>
                  <a:moveTo>
                    <a:pt x="119999" y="80566"/>
                  </a:moveTo>
                  <a:lnTo>
                    <a:pt x="119999" y="79546"/>
                  </a:lnTo>
                  <a:lnTo>
                    <a:pt x="119999" y="78866"/>
                  </a:lnTo>
                  <a:lnTo>
                    <a:pt x="119999" y="78186"/>
                  </a:lnTo>
                  <a:lnTo>
                    <a:pt x="119999" y="78186"/>
                  </a:lnTo>
                  <a:lnTo>
                    <a:pt x="119999" y="77167"/>
                  </a:lnTo>
                  <a:lnTo>
                    <a:pt x="118392" y="76487"/>
                  </a:lnTo>
                  <a:lnTo>
                    <a:pt x="118392" y="75467"/>
                  </a:lnTo>
                  <a:lnTo>
                    <a:pt x="118392" y="74787"/>
                  </a:lnTo>
                  <a:lnTo>
                    <a:pt x="118392" y="74787"/>
                  </a:lnTo>
                  <a:lnTo>
                    <a:pt x="118392" y="74107"/>
                  </a:lnTo>
                  <a:lnTo>
                    <a:pt x="117321" y="74107"/>
                  </a:lnTo>
                  <a:lnTo>
                    <a:pt x="117321" y="73087"/>
                  </a:lnTo>
                  <a:lnTo>
                    <a:pt x="117321" y="72407"/>
                  </a:lnTo>
                  <a:lnTo>
                    <a:pt x="117321" y="72407"/>
                  </a:lnTo>
                  <a:lnTo>
                    <a:pt x="117321" y="71728"/>
                  </a:lnTo>
                  <a:lnTo>
                    <a:pt x="115714" y="71728"/>
                  </a:lnTo>
                  <a:lnTo>
                    <a:pt x="115714" y="70708"/>
                  </a:lnTo>
                  <a:lnTo>
                    <a:pt x="114642" y="70028"/>
                  </a:lnTo>
                  <a:lnTo>
                    <a:pt x="113571" y="70028"/>
                  </a:lnTo>
                  <a:lnTo>
                    <a:pt x="113571" y="70028"/>
                  </a:lnTo>
                  <a:lnTo>
                    <a:pt x="113571" y="69348"/>
                  </a:lnTo>
                  <a:lnTo>
                    <a:pt x="113571" y="69348"/>
                  </a:lnTo>
                  <a:lnTo>
                    <a:pt x="111964" y="69348"/>
                  </a:lnTo>
                  <a:lnTo>
                    <a:pt x="111964" y="69348"/>
                  </a:lnTo>
                  <a:lnTo>
                    <a:pt x="110892" y="69348"/>
                  </a:lnTo>
                  <a:lnTo>
                    <a:pt x="110892" y="69348"/>
                  </a:lnTo>
                  <a:lnTo>
                    <a:pt x="110892" y="68328"/>
                  </a:lnTo>
                  <a:lnTo>
                    <a:pt x="114642" y="66628"/>
                  </a:lnTo>
                  <a:lnTo>
                    <a:pt x="115714" y="65269"/>
                  </a:lnTo>
                  <a:lnTo>
                    <a:pt x="115714" y="65269"/>
                  </a:lnTo>
                  <a:lnTo>
                    <a:pt x="115714" y="65269"/>
                  </a:lnTo>
                  <a:lnTo>
                    <a:pt x="115714" y="65269"/>
                  </a:lnTo>
                  <a:lnTo>
                    <a:pt x="115714" y="64249"/>
                  </a:lnTo>
                  <a:lnTo>
                    <a:pt x="114642" y="62889"/>
                  </a:lnTo>
                  <a:lnTo>
                    <a:pt x="114642" y="62889"/>
                  </a:lnTo>
                  <a:lnTo>
                    <a:pt x="113571" y="61869"/>
                  </a:lnTo>
                  <a:lnTo>
                    <a:pt x="113571" y="61869"/>
                  </a:lnTo>
                  <a:lnTo>
                    <a:pt x="111964" y="60509"/>
                  </a:lnTo>
                  <a:lnTo>
                    <a:pt x="111964" y="59490"/>
                  </a:lnTo>
                  <a:lnTo>
                    <a:pt x="111964" y="58810"/>
                  </a:lnTo>
                  <a:lnTo>
                    <a:pt x="111964" y="57790"/>
                  </a:lnTo>
                  <a:lnTo>
                    <a:pt x="111964" y="57110"/>
                  </a:lnTo>
                  <a:lnTo>
                    <a:pt x="110892" y="57110"/>
                  </a:lnTo>
                  <a:lnTo>
                    <a:pt x="110892" y="55410"/>
                  </a:lnTo>
                  <a:lnTo>
                    <a:pt x="111964" y="54050"/>
                  </a:lnTo>
                  <a:lnTo>
                    <a:pt x="111964" y="52351"/>
                  </a:lnTo>
                  <a:lnTo>
                    <a:pt x="111964" y="51671"/>
                  </a:lnTo>
                  <a:lnTo>
                    <a:pt x="111964" y="50651"/>
                  </a:lnTo>
                  <a:lnTo>
                    <a:pt x="113571" y="49971"/>
                  </a:lnTo>
                  <a:lnTo>
                    <a:pt x="113571" y="48951"/>
                  </a:lnTo>
                  <a:lnTo>
                    <a:pt x="113571" y="48271"/>
                  </a:lnTo>
                  <a:lnTo>
                    <a:pt x="114642" y="47592"/>
                  </a:lnTo>
                  <a:lnTo>
                    <a:pt x="115714" y="46572"/>
                  </a:lnTo>
                  <a:lnTo>
                    <a:pt x="115714" y="45892"/>
                  </a:lnTo>
                  <a:lnTo>
                    <a:pt x="115714" y="45212"/>
                  </a:lnTo>
                  <a:lnTo>
                    <a:pt x="115714" y="45212"/>
                  </a:lnTo>
                  <a:lnTo>
                    <a:pt x="114642" y="44192"/>
                  </a:lnTo>
                  <a:lnTo>
                    <a:pt x="113571" y="44192"/>
                  </a:lnTo>
                  <a:lnTo>
                    <a:pt x="111964" y="44192"/>
                  </a:lnTo>
                  <a:lnTo>
                    <a:pt x="110892" y="44192"/>
                  </a:lnTo>
                  <a:lnTo>
                    <a:pt x="109821" y="45212"/>
                  </a:lnTo>
                  <a:lnTo>
                    <a:pt x="106071" y="45212"/>
                  </a:lnTo>
                  <a:lnTo>
                    <a:pt x="103392" y="45212"/>
                  </a:lnTo>
                  <a:lnTo>
                    <a:pt x="100714" y="45212"/>
                  </a:lnTo>
                  <a:lnTo>
                    <a:pt x="99642" y="45212"/>
                  </a:lnTo>
                  <a:lnTo>
                    <a:pt x="98035" y="45212"/>
                  </a:lnTo>
                  <a:lnTo>
                    <a:pt x="98035" y="45892"/>
                  </a:lnTo>
                  <a:lnTo>
                    <a:pt x="96964" y="45212"/>
                  </a:lnTo>
                  <a:lnTo>
                    <a:pt x="96964" y="45212"/>
                  </a:lnTo>
                  <a:lnTo>
                    <a:pt x="95892" y="45212"/>
                  </a:lnTo>
                  <a:lnTo>
                    <a:pt x="95892" y="45212"/>
                  </a:lnTo>
                  <a:lnTo>
                    <a:pt x="94285" y="44192"/>
                  </a:lnTo>
                  <a:lnTo>
                    <a:pt x="93214" y="42832"/>
                  </a:lnTo>
                  <a:lnTo>
                    <a:pt x="92142" y="41133"/>
                  </a:lnTo>
                  <a:lnTo>
                    <a:pt x="90535" y="39433"/>
                  </a:lnTo>
                  <a:lnTo>
                    <a:pt x="89464" y="39433"/>
                  </a:lnTo>
                  <a:lnTo>
                    <a:pt x="89464" y="39433"/>
                  </a:lnTo>
                  <a:lnTo>
                    <a:pt x="88392" y="39433"/>
                  </a:lnTo>
                  <a:lnTo>
                    <a:pt x="86785" y="39433"/>
                  </a:lnTo>
                  <a:lnTo>
                    <a:pt x="86785" y="38753"/>
                  </a:lnTo>
                  <a:lnTo>
                    <a:pt x="85714" y="38753"/>
                  </a:lnTo>
                  <a:lnTo>
                    <a:pt x="84642" y="38753"/>
                  </a:lnTo>
                  <a:lnTo>
                    <a:pt x="84642" y="38753"/>
                  </a:lnTo>
                  <a:lnTo>
                    <a:pt x="83035" y="38753"/>
                  </a:lnTo>
                  <a:lnTo>
                    <a:pt x="80357" y="39433"/>
                  </a:lnTo>
                  <a:lnTo>
                    <a:pt x="79285" y="39433"/>
                  </a:lnTo>
                  <a:lnTo>
                    <a:pt x="79285" y="39433"/>
                  </a:lnTo>
                  <a:lnTo>
                    <a:pt x="76607" y="38753"/>
                  </a:lnTo>
                  <a:lnTo>
                    <a:pt x="75535" y="38753"/>
                  </a:lnTo>
                  <a:lnTo>
                    <a:pt x="72857" y="38753"/>
                  </a:lnTo>
                  <a:lnTo>
                    <a:pt x="71785" y="39433"/>
                  </a:lnTo>
                  <a:lnTo>
                    <a:pt x="71785" y="38753"/>
                  </a:lnTo>
                  <a:lnTo>
                    <a:pt x="70714" y="38753"/>
                  </a:lnTo>
                  <a:lnTo>
                    <a:pt x="69107" y="37053"/>
                  </a:lnTo>
                  <a:lnTo>
                    <a:pt x="69107" y="36373"/>
                  </a:lnTo>
                  <a:lnTo>
                    <a:pt x="68035" y="36373"/>
                  </a:lnTo>
                  <a:lnTo>
                    <a:pt x="68035" y="36373"/>
                  </a:lnTo>
                  <a:lnTo>
                    <a:pt x="66964" y="35354"/>
                  </a:lnTo>
                  <a:lnTo>
                    <a:pt x="66964" y="35354"/>
                  </a:lnTo>
                  <a:lnTo>
                    <a:pt x="66964" y="34674"/>
                  </a:lnTo>
                  <a:lnTo>
                    <a:pt x="66964" y="33994"/>
                  </a:lnTo>
                  <a:lnTo>
                    <a:pt x="66964" y="32974"/>
                  </a:lnTo>
                  <a:lnTo>
                    <a:pt x="66964" y="32294"/>
                  </a:lnTo>
                  <a:lnTo>
                    <a:pt x="68035" y="31274"/>
                  </a:lnTo>
                  <a:lnTo>
                    <a:pt x="68035" y="31274"/>
                  </a:lnTo>
                  <a:lnTo>
                    <a:pt x="68035" y="30594"/>
                  </a:lnTo>
                  <a:lnTo>
                    <a:pt x="68035" y="29915"/>
                  </a:lnTo>
                  <a:lnTo>
                    <a:pt x="68035" y="28895"/>
                  </a:lnTo>
                  <a:lnTo>
                    <a:pt x="66964" y="28215"/>
                  </a:lnTo>
                  <a:lnTo>
                    <a:pt x="65357" y="27535"/>
                  </a:lnTo>
                  <a:lnTo>
                    <a:pt x="65357" y="25835"/>
                  </a:lnTo>
                  <a:lnTo>
                    <a:pt x="64285" y="24135"/>
                  </a:lnTo>
                  <a:lnTo>
                    <a:pt x="64285" y="23456"/>
                  </a:lnTo>
                  <a:lnTo>
                    <a:pt x="62678" y="24135"/>
                  </a:lnTo>
                  <a:lnTo>
                    <a:pt x="62678" y="23456"/>
                  </a:lnTo>
                  <a:lnTo>
                    <a:pt x="62678" y="23456"/>
                  </a:lnTo>
                  <a:lnTo>
                    <a:pt x="61607" y="22436"/>
                  </a:lnTo>
                  <a:lnTo>
                    <a:pt x="61607" y="23456"/>
                  </a:lnTo>
                  <a:lnTo>
                    <a:pt x="60535" y="23456"/>
                  </a:lnTo>
                  <a:lnTo>
                    <a:pt x="58928" y="23456"/>
                  </a:lnTo>
                  <a:lnTo>
                    <a:pt x="58928" y="23456"/>
                  </a:lnTo>
                  <a:lnTo>
                    <a:pt x="58928" y="23456"/>
                  </a:lnTo>
                  <a:lnTo>
                    <a:pt x="58928" y="22436"/>
                  </a:lnTo>
                  <a:lnTo>
                    <a:pt x="60535" y="21756"/>
                  </a:lnTo>
                  <a:lnTo>
                    <a:pt x="61607" y="21076"/>
                  </a:lnTo>
                  <a:lnTo>
                    <a:pt x="61607" y="20056"/>
                  </a:lnTo>
                  <a:lnTo>
                    <a:pt x="62678" y="19376"/>
                  </a:lnTo>
                  <a:lnTo>
                    <a:pt x="62678" y="16997"/>
                  </a:lnTo>
                  <a:lnTo>
                    <a:pt x="64285" y="16317"/>
                  </a:lnTo>
                  <a:lnTo>
                    <a:pt x="64285" y="13597"/>
                  </a:lnTo>
                  <a:lnTo>
                    <a:pt x="66964" y="12237"/>
                  </a:lnTo>
                  <a:lnTo>
                    <a:pt x="66964" y="11218"/>
                  </a:lnTo>
                  <a:lnTo>
                    <a:pt x="68035" y="10538"/>
                  </a:lnTo>
                  <a:lnTo>
                    <a:pt x="68035" y="9858"/>
                  </a:lnTo>
                  <a:lnTo>
                    <a:pt x="69107" y="9858"/>
                  </a:lnTo>
                  <a:lnTo>
                    <a:pt x="71785" y="8838"/>
                  </a:lnTo>
                  <a:lnTo>
                    <a:pt x="74464" y="5779"/>
                  </a:lnTo>
                  <a:lnTo>
                    <a:pt x="74464" y="5779"/>
                  </a:lnTo>
                  <a:lnTo>
                    <a:pt x="76607" y="4759"/>
                  </a:lnTo>
                  <a:lnTo>
                    <a:pt x="79285" y="4759"/>
                  </a:lnTo>
                  <a:lnTo>
                    <a:pt x="80357" y="4079"/>
                  </a:lnTo>
                  <a:lnTo>
                    <a:pt x="80357" y="4079"/>
                  </a:lnTo>
                  <a:lnTo>
                    <a:pt x="80357" y="4079"/>
                  </a:lnTo>
                  <a:lnTo>
                    <a:pt x="81964" y="4079"/>
                  </a:lnTo>
                  <a:lnTo>
                    <a:pt x="83035" y="2379"/>
                  </a:lnTo>
                  <a:lnTo>
                    <a:pt x="83035" y="1699"/>
                  </a:lnTo>
                  <a:lnTo>
                    <a:pt x="81964" y="1019"/>
                  </a:lnTo>
                  <a:lnTo>
                    <a:pt x="79285" y="0"/>
                  </a:lnTo>
                  <a:lnTo>
                    <a:pt x="79285" y="0"/>
                  </a:lnTo>
                  <a:lnTo>
                    <a:pt x="78214" y="0"/>
                  </a:lnTo>
                  <a:lnTo>
                    <a:pt x="75535" y="1019"/>
                  </a:lnTo>
                  <a:lnTo>
                    <a:pt x="75535" y="1019"/>
                  </a:lnTo>
                  <a:lnTo>
                    <a:pt x="75535" y="1699"/>
                  </a:lnTo>
                  <a:lnTo>
                    <a:pt x="74464" y="1699"/>
                  </a:lnTo>
                  <a:lnTo>
                    <a:pt x="72857" y="1699"/>
                  </a:lnTo>
                  <a:lnTo>
                    <a:pt x="72857" y="2379"/>
                  </a:lnTo>
                  <a:lnTo>
                    <a:pt x="71785" y="4079"/>
                  </a:lnTo>
                  <a:lnTo>
                    <a:pt x="70714" y="4759"/>
                  </a:lnTo>
                  <a:lnTo>
                    <a:pt x="66964" y="4759"/>
                  </a:lnTo>
                  <a:lnTo>
                    <a:pt x="60535" y="8158"/>
                  </a:lnTo>
                  <a:lnTo>
                    <a:pt x="57857" y="8158"/>
                  </a:lnTo>
                  <a:lnTo>
                    <a:pt x="56785" y="8158"/>
                  </a:lnTo>
                  <a:lnTo>
                    <a:pt x="55178" y="8158"/>
                  </a:lnTo>
                  <a:lnTo>
                    <a:pt x="54107" y="8158"/>
                  </a:lnTo>
                  <a:lnTo>
                    <a:pt x="53035" y="8158"/>
                  </a:lnTo>
                  <a:lnTo>
                    <a:pt x="51428" y="8158"/>
                  </a:lnTo>
                  <a:lnTo>
                    <a:pt x="51428" y="9858"/>
                  </a:lnTo>
                  <a:lnTo>
                    <a:pt x="50357" y="10538"/>
                  </a:lnTo>
                  <a:lnTo>
                    <a:pt x="50357" y="11218"/>
                  </a:lnTo>
                  <a:lnTo>
                    <a:pt x="50357" y="12237"/>
                  </a:lnTo>
                  <a:lnTo>
                    <a:pt x="49285" y="12237"/>
                  </a:lnTo>
                  <a:lnTo>
                    <a:pt x="49285" y="11218"/>
                  </a:lnTo>
                  <a:lnTo>
                    <a:pt x="49285" y="10538"/>
                  </a:lnTo>
                  <a:lnTo>
                    <a:pt x="50357" y="10538"/>
                  </a:lnTo>
                  <a:lnTo>
                    <a:pt x="50357" y="10538"/>
                  </a:lnTo>
                  <a:lnTo>
                    <a:pt x="50357" y="10538"/>
                  </a:lnTo>
                  <a:lnTo>
                    <a:pt x="49285" y="10538"/>
                  </a:lnTo>
                  <a:lnTo>
                    <a:pt x="44999" y="9858"/>
                  </a:lnTo>
                  <a:lnTo>
                    <a:pt x="44999" y="9858"/>
                  </a:lnTo>
                  <a:lnTo>
                    <a:pt x="42857" y="11218"/>
                  </a:lnTo>
                  <a:lnTo>
                    <a:pt x="41249" y="12237"/>
                  </a:lnTo>
                  <a:lnTo>
                    <a:pt x="41249" y="12237"/>
                  </a:lnTo>
                  <a:lnTo>
                    <a:pt x="39107" y="12917"/>
                  </a:lnTo>
                  <a:lnTo>
                    <a:pt x="39107" y="13597"/>
                  </a:lnTo>
                  <a:lnTo>
                    <a:pt x="37500" y="15297"/>
                  </a:lnTo>
                  <a:lnTo>
                    <a:pt x="36428" y="16317"/>
                  </a:lnTo>
                  <a:lnTo>
                    <a:pt x="36428" y="16317"/>
                  </a:lnTo>
                  <a:lnTo>
                    <a:pt x="36428" y="16317"/>
                  </a:lnTo>
                  <a:lnTo>
                    <a:pt x="37500" y="16317"/>
                  </a:lnTo>
                  <a:lnTo>
                    <a:pt x="37500" y="16317"/>
                  </a:lnTo>
                  <a:lnTo>
                    <a:pt x="37500" y="16997"/>
                  </a:lnTo>
                  <a:lnTo>
                    <a:pt x="37500" y="17677"/>
                  </a:lnTo>
                  <a:lnTo>
                    <a:pt x="36428" y="18696"/>
                  </a:lnTo>
                  <a:lnTo>
                    <a:pt x="36428" y="19376"/>
                  </a:lnTo>
                  <a:lnTo>
                    <a:pt x="36428" y="20056"/>
                  </a:lnTo>
                  <a:lnTo>
                    <a:pt x="36428" y="21076"/>
                  </a:lnTo>
                  <a:lnTo>
                    <a:pt x="36428" y="21756"/>
                  </a:lnTo>
                  <a:lnTo>
                    <a:pt x="35357" y="21756"/>
                  </a:lnTo>
                  <a:lnTo>
                    <a:pt x="33750" y="21756"/>
                  </a:lnTo>
                  <a:lnTo>
                    <a:pt x="32678" y="21756"/>
                  </a:lnTo>
                  <a:lnTo>
                    <a:pt x="31607" y="22436"/>
                  </a:lnTo>
                  <a:lnTo>
                    <a:pt x="29999" y="25155"/>
                  </a:lnTo>
                  <a:lnTo>
                    <a:pt x="25178" y="26515"/>
                  </a:lnTo>
                  <a:lnTo>
                    <a:pt x="25178" y="27535"/>
                  </a:lnTo>
                  <a:lnTo>
                    <a:pt x="23571" y="27535"/>
                  </a:lnTo>
                  <a:lnTo>
                    <a:pt x="23571" y="27535"/>
                  </a:lnTo>
                  <a:lnTo>
                    <a:pt x="23571" y="28215"/>
                  </a:lnTo>
                  <a:lnTo>
                    <a:pt x="23571" y="28215"/>
                  </a:lnTo>
                  <a:lnTo>
                    <a:pt x="25178" y="29915"/>
                  </a:lnTo>
                  <a:lnTo>
                    <a:pt x="25178" y="32294"/>
                  </a:lnTo>
                  <a:lnTo>
                    <a:pt x="23571" y="32294"/>
                  </a:lnTo>
                  <a:lnTo>
                    <a:pt x="23571" y="32294"/>
                  </a:lnTo>
                  <a:lnTo>
                    <a:pt x="22499" y="32294"/>
                  </a:lnTo>
                  <a:lnTo>
                    <a:pt x="22499" y="32294"/>
                  </a:lnTo>
                  <a:lnTo>
                    <a:pt x="22499" y="31274"/>
                  </a:lnTo>
                  <a:lnTo>
                    <a:pt x="23571" y="31274"/>
                  </a:lnTo>
                  <a:lnTo>
                    <a:pt x="23571" y="31274"/>
                  </a:lnTo>
                  <a:lnTo>
                    <a:pt x="23571" y="30594"/>
                  </a:lnTo>
                  <a:lnTo>
                    <a:pt x="22499" y="30594"/>
                  </a:lnTo>
                  <a:lnTo>
                    <a:pt x="22499" y="29915"/>
                  </a:lnTo>
                  <a:lnTo>
                    <a:pt x="21428" y="28895"/>
                  </a:lnTo>
                  <a:lnTo>
                    <a:pt x="19821" y="28215"/>
                  </a:lnTo>
                  <a:lnTo>
                    <a:pt x="18750" y="27535"/>
                  </a:lnTo>
                  <a:lnTo>
                    <a:pt x="18750" y="27535"/>
                  </a:lnTo>
                  <a:lnTo>
                    <a:pt x="18750" y="27535"/>
                  </a:lnTo>
                  <a:lnTo>
                    <a:pt x="17678" y="28215"/>
                  </a:lnTo>
                  <a:lnTo>
                    <a:pt x="17678" y="28215"/>
                  </a:lnTo>
                  <a:lnTo>
                    <a:pt x="18750" y="28895"/>
                  </a:lnTo>
                  <a:lnTo>
                    <a:pt x="18750" y="28895"/>
                  </a:lnTo>
                  <a:lnTo>
                    <a:pt x="18750" y="29915"/>
                  </a:lnTo>
                  <a:lnTo>
                    <a:pt x="19821" y="30594"/>
                  </a:lnTo>
                  <a:lnTo>
                    <a:pt x="19821" y="31274"/>
                  </a:lnTo>
                  <a:lnTo>
                    <a:pt x="19821" y="32294"/>
                  </a:lnTo>
                  <a:lnTo>
                    <a:pt x="19821" y="32294"/>
                  </a:lnTo>
                  <a:lnTo>
                    <a:pt x="18750" y="32294"/>
                  </a:lnTo>
                  <a:lnTo>
                    <a:pt x="18750" y="32974"/>
                  </a:lnTo>
                  <a:lnTo>
                    <a:pt x="18750" y="33994"/>
                  </a:lnTo>
                  <a:lnTo>
                    <a:pt x="18750" y="33994"/>
                  </a:lnTo>
                  <a:lnTo>
                    <a:pt x="16071" y="34674"/>
                  </a:lnTo>
                  <a:lnTo>
                    <a:pt x="16071" y="35354"/>
                  </a:lnTo>
                  <a:lnTo>
                    <a:pt x="16071" y="34674"/>
                  </a:lnTo>
                  <a:lnTo>
                    <a:pt x="14999" y="34674"/>
                  </a:lnTo>
                  <a:lnTo>
                    <a:pt x="14999" y="33994"/>
                  </a:lnTo>
                  <a:lnTo>
                    <a:pt x="14999" y="33994"/>
                  </a:lnTo>
                  <a:lnTo>
                    <a:pt x="14999" y="33994"/>
                  </a:lnTo>
                  <a:lnTo>
                    <a:pt x="14999" y="33994"/>
                  </a:lnTo>
                  <a:lnTo>
                    <a:pt x="13928" y="34674"/>
                  </a:lnTo>
                  <a:lnTo>
                    <a:pt x="14999" y="35354"/>
                  </a:lnTo>
                  <a:lnTo>
                    <a:pt x="13928" y="35354"/>
                  </a:lnTo>
                  <a:lnTo>
                    <a:pt x="13928" y="36373"/>
                  </a:lnTo>
                  <a:lnTo>
                    <a:pt x="12321" y="37053"/>
                  </a:lnTo>
                  <a:lnTo>
                    <a:pt x="13928" y="37733"/>
                  </a:lnTo>
                  <a:lnTo>
                    <a:pt x="14999" y="39433"/>
                  </a:lnTo>
                  <a:lnTo>
                    <a:pt x="14999" y="40113"/>
                  </a:lnTo>
                  <a:lnTo>
                    <a:pt x="14999" y="40113"/>
                  </a:lnTo>
                  <a:lnTo>
                    <a:pt x="16071" y="41133"/>
                  </a:lnTo>
                  <a:lnTo>
                    <a:pt x="17678" y="41133"/>
                  </a:lnTo>
                  <a:lnTo>
                    <a:pt x="17678" y="41813"/>
                  </a:lnTo>
                  <a:lnTo>
                    <a:pt x="17678" y="42832"/>
                  </a:lnTo>
                  <a:lnTo>
                    <a:pt x="17678" y="44192"/>
                  </a:lnTo>
                  <a:lnTo>
                    <a:pt x="16071" y="44192"/>
                  </a:lnTo>
                  <a:lnTo>
                    <a:pt x="16071" y="44192"/>
                  </a:lnTo>
                  <a:lnTo>
                    <a:pt x="16071" y="45212"/>
                  </a:lnTo>
                  <a:lnTo>
                    <a:pt x="17678" y="46572"/>
                  </a:lnTo>
                  <a:lnTo>
                    <a:pt x="18750" y="47592"/>
                  </a:lnTo>
                  <a:lnTo>
                    <a:pt x="17678" y="48271"/>
                  </a:lnTo>
                  <a:lnTo>
                    <a:pt x="14999" y="49971"/>
                  </a:lnTo>
                  <a:lnTo>
                    <a:pt x="16071" y="50651"/>
                  </a:lnTo>
                  <a:lnTo>
                    <a:pt x="17678" y="50651"/>
                  </a:lnTo>
                  <a:lnTo>
                    <a:pt x="17678" y="51671"/>
                  </a:lnTo>
                  <a:lnTo>
                    <a:pt x="17678" y="53031"/>
                  </a:lnTo>
                  <a:lnTo>
                    <a:pt x="17678" y="54730"/>
                  </a:lnTo>
                  <a:lnTo>
                    <a:pt x="17678" y="54730"/>
                  </a:lnTo>
                  <a:lnTo>
                    <a:pt x="17678" y="55410"/>
                  </a:lnTo>
                  <a:lnTo>
                    <a:pt x="17678" y="56430"/>
                  </a:lnTo>
                  <a:lnTo>
                    <a:pt x="17678" y="57110"/>
                  </a:lnTo>
                  <a:lnTo>
                    <a:pt x="16071" y="57790"/>
                  </a:lnTo>
                  <a:lnTo>
                    <a:pt x="16071" y="57790"/>
                  </a:lnTo>
                  <a:lnTo>
                    <a:pt x="16071" y="58810"/>
                  </a:lnTo>
                  <a:lnTo>
                    <a:pt x="14999" y="58810"/>
                  </a:lnTo>
                  <a:lnTo>
                    <a:pt x="14999" y="58810"/>
                  </a:lnTo>
                  <a:lnTo>
                    <a:pt x="16071" y="58810"/>
                  </a:lnTo>
                  <a:lnTo>
                    <a:pt x="16071" y="59490"/>
                  </a:lnTo>
                  <a:lnTo>
                    <a:pt x="16071" y="59490"/>
                  </a:lnTo>
                  <a:lnTo>
                    <a:pt x="16071" y="60509"/>
                  </a:lnTo>
                  <a:lnTo>
                    <a:pt x="16071" y="61189"/>
                  </a:lnTo>
                  <a:lnTo>
                    <a:pt x="17678" y="60509"/>
                  </a:lnTo>
                  <a:lnTo>
                    <a:pt x="17678" y="60509"/>
                  </a:lnTo>
                  <a:lnTo>
                    <a:pt x="17678" y="61189"/>
                  </a:lnTo>
                  <a:lnTo>
                    <a:pt x="17678" y="61869"/>
                  </a:lnTo>
                  <a:lnTo>
                    <a:pt x="18750" y="61869"/>
                  </a:lnTo>
                  <a:lnTo>
                    <a:pt x="18750" y="61189"/>
                  </a:lnTo>
                  <a:lnTo>
                    <a:pt x="19821" y="61189"/>
                  </a:lnTo>
                  <a:lnTo>
                    <a:pt x="17678" y="63569"/>
                  </a:lnTo>
                  <a:lnTo>
                    <a:pt x="16071" y="64249"/>
                  </a:lnTo>
                  <a:lnTo>
                    <a:pt x="16071" y="65269"/>
                  </a:lnTo>
                  <a:lnTo>
                    <a:pt x="16071" y="65269"/>
                  </a:lnTo>
                  <a:lnTo>
                    <a:pt x="14999" y="65949"/>
                  </a:lnTo>
                  <a:lnTo>
                    <a:pt x="14999" y="66628"/>
                  </a:lnTo>
                  <a:lnTo>
                    <a:pt x="13928" y="67648"/>
                  </a:lnTo>
                  <a:lnTo>
                    <a:pt x="13928" y="67648"/>
                  </a:lnTo>
                  <a:lnTo>
                    <a:pt x="12321" y="67648"/>
                  </a:lnTo>
                  <a:lnTo>
                    <a:pt x="12321" y="67648"/>
                  </a:lnTo>
                  <a:lnTo>
                    <a:pt x="13928" y="68328"/>
                  </a:lnTo>
                  <a:lnTo>
                    <a:pt x="13928" y="68328"/>
                  </a:lnTo>
                  <a:lnTo>
                    <a:pt x="12321" y="69348"/>
                  </a:lnTo>
                  <a:lnTo>
                    <a:pt x="11249" y="70028"/>
                  </a:lnTo>
                  <a:lnTo>
                    <a:pt x="11249" y="70028"/>
                  </a:lnTo>
                  <a:lnTo>
                    <a:pt x="11249" y="70028"/>
                  </a:lnTo>
                  <a:lnTo>
                    <a:pt x="11249" y="70028"/>
                  </a:lnTo>
                  <a:lnTo>
                    <a:pt x="9642" y="70708"/>
                  </a:lnTo>
                  <a:lnTo>
                    <a:pt x="9642" y="70708"/>
                  </a:lnTo>
                  <a:lnTo>
                    <a:pt x="9642" y="70708"/>
                  </a:lnTo>
                  <a:lnTo>
                    <a:pt x="8571" y="71728"/>
                  </a:lnTo>
                  <a:lnTo>
                    <a:pt x="8571" y="71728"/>
                  </a:lnTo>
                  <a:lnTo>
                    <a:pt x="7499" y="71728"/>
                  </a:lnTo>
                  <a:lnTo>
                    <a:pt x="5892" y="71728"/>
                  </a:lnTo>
                  <a:lnTo>
                    <a:pt x="5892" y="71728"/>
                  </a:lnTo>
                  <a:lnTo>
                    <a:pt x="4821" y="71728"/>
                  </a:lnTo>
                  <a:lnTo>
                    <a:pt x="4821" y="71728"/>
                  </a:lnTo>
                  <a:lnTo>
                    <a:pt x="3749" y="72407"/>
                  </a:lnTo>
                  <a:lnTo>
                    <a:pt x="3749" y="72407"/>
                  </a:lnTo>
                  <a:lnTo>
                    <a:pt x="3749" y="74787"/>
                  </a:lnTo>
                  <a:lnTo>
                    <a:pt x="3749" y="75467"/>
                  </a:lnTo>
                  <a:lnTo>
                    <a:pt x="3749" y="76487"/>
                  </a:lnTo>
                  <a:lnTo>
                    <a:pt x="2142" y="76487"/>
                  </a:lnTo>
                  <a:lnTo>
                    <a:pt x="0" y="76487"/>
                  </a:lnTo>
                  <a:lnTo>
                    <a:pt x="0" y="78186"/>
                  </a:lnTo>
                  <a:lnTo>
                    <a:pt x="1071" y="78186"/>
                  </a:lnTo>
                  <a:lnTo>
                    <a:pt x="1071" y="78866"/>
                  </a:lnTo>
                  <a:lnTo>
                    <a:pt x="1071" y="78866"/>
                  </a:lnTo>
                  <a:lnTo>
                    <a:pt x="2142" y="79546"/>
                  </a:lnTo>
                  <a:lnTo>
                    <a:pt x="2142" y="80566"/>
                  </a:lnTo>
                  <a:lnTo>
                    <a:pt x="3749" y="80566"/>
                  </a:lnTo>
                  <a:lnTo>
                    <a:pt x="4821" y="80566"/>
                  </a:lnTo>
                  <a:lnTo>
                    <a:pt x="5892" y="81926"/>
                  </a:lnTo>
                  <a:lnTo>
                    <a:pt x="7499" y="81926"/>
                  </a:lnTo>
                  <a:lnTo>
                    <a:pt x="8571" y="82946"/>
                  </a:lnTo>
                  <a:lnTo>
                    <a:pt x="11249" y="83626"/>
                  </a:lnTo>
                  <a:lnTo>
                    <a:pt x="12321" y="83626"/>
                  </a:lnTo>
                  <a:lnTo>
                    <a:pt x="12321" y="83626"/>
                  </a:lnTo>
                  <a:lnTo>
                    <a:pt x="12321" y="84305"/>
                  </a:lnTo>
                  <a:lnTo>
                    <a:pt x="13928" y="84305"/>
                  </a:lnTo>
                  <a:lnTo>
                    <a:pt x="13928" y="84305"/>
                  </a:lnTo>
                  <a:lnTo>
                    <a:pt x="14999" y="84305"/>
                  </a:lnTo>
                  <a:lnTo>
                    <a:pt x="14999" y="84305"/>
                  </a:lnTo>
                  <a:lnTo>
                    <a:pt x="14999" y="86005"/>
                  </a:lnTo>
                  <a:lnTo>
                    <a:pt x="14999" y="87025"/>
                  </a:lnTo>
                  <a:lnTo>
                    <a:pt x="16071" y="87025"/>
                  </a:lnTo>
                  <a:lnTo>
                    <a:pt x="17678" y="87025"/>
                  </a:lnTo>
                  <a:lnTo>
                    <a:pt x="18750" y="87025"/>
                  </a:lnTo>
                  <a:lnTo>
                    <a:pt x="18750" y="87025"/>
                  </a:lnTo>
                  <a:lnTo>
                    <a:pt x="19821" y="87705"/>
                  </a:lnTo>
                  <a:lnTo>
                    <a:pt x="21428" y="87705"/>
                  </a:lnTo>
                  <a:lnTo>
                    <a:pt x="21428" y="87705"/>
                  </a:lnTo>
                  <a:lnTo>
                    <a:pt x="22499" y="87705"/>
                  </a:lnTo>
                  <a:lnTo>
                    <a:pt x="22499" y="87705"/>
                  </a:lnTo>
                  <a:lnTo>
                    <a:pt x="22499" y="87705"/>
                  </a:lnTo>
                  <a:lnTo>
                    <a:pt x="23571" y="87705"/>
                  </a:lnTo>
                  <a:lnTo>
                    <a:pt x="23571" y="87705"/>
                  </a:lnTo>
                  <a:lnTo>
                    <a:pt x="25178" y="87705"/>
                  </a:lnTo>
                  <a:lnTo>
                    <a:pt x="25178" y="87025"/>
                  </a:lnTo>
                  <a:lnTo>
                    <a:pt x="25178" y="87025"/>
                  </a:lnTo>
                  <a:lnTo>
                    <a:pt x="25178" y="86005"/>
                  </a:lnTo>
                  <a:lnTo>
                    <a:pt x="26249" y="86005"/>
                  </a:lnTo>
                  <a:lnTo>
                    <a:pt x="26249" y="86005"/>
                  </a:lnTo>
                  <a:lnTo>
                    <a:pt x="28928" y="87025"/>
                  </a:lnTo>
                  <a:lnTo>
                    <a:pt x="28928" y="87025"/>
                  </a:lnTo>
                  <a:lnTo>
                    <a:pt x="29999" y="87705"/>
                  </a:lnTo>
                  <a:lnTo>
                    <a:pt x="29999" y="88385"/>
                  </a:lnTo>
                  <a:lnTo>
                    <a:pt x="31607" y="88385"/>
                  </a:lnTo>
                  <a:lnTo>
                    <a:pt x="32678" y="88385"/>
                  </a:lnTo>
                  <a:lnTo>
                    <a:pt x="35357" y="89405"/>
                  </a:lnTo>
                  <a:lnTo>
                    <a:pt x="36428" y="90084"/>
                  </a:lnTo>
                  <a:lnTo>
                    <a:pt x="36428" y="89405"/>
                  </a:lnTo>
                  <a:lnTo>
                    <a:pt x="37500" y="89405"/>
                  </a:lnTo>
                  <a:lnTo>
                    <a:pt x="37500" y="89405"/>
                  </a:lnTo>
                  <a:lnTo>
                    <a:pt x="39107" y="90084"/>
                  </a:lnTo>
                  <a:lnTo>
                    <a:pt x="39107" y="90084"/>
                  </a:lnTo>
                  <a:lnTo>
                    <a:pt x="40178" y="90764"/>
                  </a:lnTo>
                  <a:lnTo>
                    <a:pt x="40178" y="90764"/>
                  </a:lnTo>
                  <a:lnTo>
                    <a:pt x="41249" y="90764"/>
                  </a:lnTo>
                  <a:lnTo>
                    <a:pt x="41249" y="90764"/>
                  </a:lnTo>
                  <a:lnTo>
                    <a:pt x="41249" y="90764"/>
                  </a:lnTo>
                  <a:lnTo>
                    <a:pt x="41249" y="91784"/>
                  </a:lnTo>
                  <a:lnTo>
                    <a:pt x="42857" y="91784"/>
                  </a:lnTo>
                  <a:lnTo>
                    <a:pt x="42857" y="91784"/>
                  </a:lnTo>
                  <a:lnTo>
                    <a:pt x="43928" y="92464"/>
                  </a:lnTo>
                  <a:lnTo>
                    <a:pt x="43928" y="92464"/>
                  </a:lnTo>
                  <a:lnTo>
                    <a:pt x="43928" y="93144"/>
                  </a:lnTo>
                  <a:lnTo>
                    <a:pt x="44999" y="93144"/>
                  </a:lnTo>
                  <a:lnTo>
                    <a:pt x="44999" y="94164"/>
                  </a:lnTo>
                  <a:lnTo>
                    <a:pt x="44999" y="94844"/>
                  </a:lnTo>
                  <a:lnTo>
                    <a:pt x="46607" y="94844"/>
                  </a:lnTo>
                  <a:lnTo>
                    <a:pt x="46607" y="95864"/>
                  </a:lnTo>
                  <a:lnTo>
                    <a:pt x="46607" y="95864"/>
                  </a:lnTo>
                  <a:lnTo>
                    <a:pt x="46607" y="96543"/>
                  </a:lnTo>
                  <a:lnTo>
                    <a:pt x="47678" y="96543"/>
                  </a:lnTo>
                  <a:lnTo>
                    <a:pt x="49285" y="96543"/>
                  </a:lnTo>
                  <a:lnTo>
                    <a:pt x="49285" y="97223"/>
                  </a:lnTo>
                  <a:lnTo>
                    <a:pt x="50357" y="97223"/>
                  </a:lnTo>
                  <a:lnTo>
                    <a:pt x="50357" y="98243"/>
                  </a:lnTo>
                  <a:lnTo>
                    <a:pt x="51428" y="98243"/>
                  </a:lnTo>
                  <a:lnTo>
                    <a:pt x="51428" y="98243"/>
                  </a:lnTo>
                  <a:lnTo>
                    <a:pt x="53035" y="98243"/>
                  </a:lnTo>
                  <a:lnTo>
                    <a:pt x="53035" y="98923"/>
                  </a:lnTo>
                  <a:lnTo>
                    <a:pt x="54107" y="99603"/>
                  </a:lnTo>
                  <a:lnTo>
                    <a:pt x="54107" y="99603"/>
                  </a:lnTo>
                  <a:lnTo>
                    <a:pt x="54107" y="100623"/>
                  </a:lnTo>
                  <a:lnTo>
                    <a:pt x="54107" y="101303"/>
                  </a:lnTo>
                  <a:lnTo>
                    <a:pt x="54107" y="101303"/>
                  </a:lnTo>
                  <a:lnTo>
                    <a:pt x="55178" y="102322"/>
                  </a:lnTo>
                  <a:lnTo>
                    <a:pt x="55178" y="102322"/>
                  </a:lnTo>
                  <a:lnTo>
                    <a:pt x="56785" y="102322"/>
                  </a:lnTo>
                  <a:lnTo>
                    <a:pt x="56785" y="102322"/>
                  </a:lnTo>
                  <a:lnTo>
                    <a:pt x="57857" y="102322"/>
                  </a:lnTo>
                  <a:lnTo>
                    <a:pt x="57857" y="103002"/>
                  </a:lnTo>
                  <a:lnTo>
                    <a:pt x="57857" y="103682"/>
                  </a:lnTo>
                  <a:lnTo>
                    <a:pt x="57857" y="104702"/>
                  </a:lnTo>
                  <a:lnTo>
                    <a:pt x="57857" y="104702"/>
                  </a:lnTo>
                  <a:lnTo>
                    <a:pt x="57857" y="105382"/>
                  </a:lnTo>
                  <a:lnTo>
                    <a:pt x="57857" y="105382"/>
                  </a:lnTo>
                  <a:lnTo>
                    <a:pt x="58928" y="106062"/>
                  </a:lnTo>
                  <a:lnTo>
                    <a:pt x="58928" y="106062"/>
                  </a:lnTo>
                  <a:lnTo>
                    <a:pt x="60535" y="106062"/>
                  </a:lnTo>
                  <a:lnTo>
                    <a:pt x="60535" y="107082"/>
                  </a:lnTo>
                  <a:lnTo>
                    <a:pt x="61607" y="107082"/>
                  </a:lnTo>
                  <a:lnTo>
                    <a:pt x="62678" y="106062"/>
                  </a:lnTo>
                  <a:lnTo>
                    <a:pt x="62678" y="106062"/>
                  </a:lnTo>
                  <a:lnTo>
                    <a:pt x="62678" y="106062"/>
                  </a:lnTo>
                  <a:lnTo>
                    <a:pt x="64285" y="106062"/>
                  </a:lnTo>
                  <a:lnTo>
                    <a:pt x="64285" y="106062"/>
                  </a:lnTo>
                  <a:lnTo>
                    <a:pt x="65357" y="107082"/>
                  </a:lnTo>
                  <a:lnTo>
                    <a:pt x="66964" y="107082"/>
                  </a:lnTo>
                  <a:lnTo>
                    <a:pt x="66964" y="106062"/>
                  </a:lnTo>
                  <a:lnTo>
                    <a:pt x="68035" y="106062"/>
                  </a:lnTo>
                  <a:lnTo>
                    <a:pt x="69107" y="106062"/>
                  </a:lnTo>
                  <a:lnTo>
                    <a:pt x="69107" y="106062"/>
                  </a:lnTo>
                  <a:lnTo>
                    <a:pt x="70714" y="105382"/>
                  </a:lnTo>
                  <a:lnTo>
                    <a:pt x="70714" y="105382"/>
                  </a:lnTo>
                  <a:lnTo>
                    <a:pt x="71785" y="104702"/>
                  </a:lnTo>
                  <a:lnTo>
                    <a:pt x="71785" y="104702"/>
                  </a:lnTo>
                  <a:lnTo>
                    <a:pt x="72857" y="105382"/>
                  </a:lnTo>
                  <a:lnTo>
                    <a:pt x="74464" y="105382"/>
                  </a:lnTo>
                  <a:lnTo>
                    <a:pt x="74464" y="105382"/>
                  </a:lnTo>
                  <a:lnTo>
                    <a:pt x="75535" y="106062"/>
                  </a:lnTo>
                  <a:lnTo>
                    <a:pt x="75535" y="106062"/>
                  </a:lnTo>
                  <a:lnTo>
                    <a:pt x="76607" y="106062"/>
                  </a:lnTo>
                  <a:lnTo>
                    <a:pt x="76607" y="106062"/>
                  </a:lnTo>
                  <a:lnTo>
                    <a:pt x="78214" y="105382"/>
                  </a:lnTo>
                  <a:lnTo>
                    <a:pt x="79285" y="105382"/>
                  </a:lnTo>
                  <a:lnTo>
                    <a:pt x="79285" y="105382"/>
                  </a:lnTo>
                  <a:lnTo>
                    <a:pt x="80357" y="105382"/>
                  </a:lnTo>
                  <a:lnTo>
                    <a:pt x="81964" y="106062"/>
                  </a:lnTo>
                  <a:lnTo>
                    <a:pt x="83035" y="107082"/>
                  </a:lnTo>
                  <a:lnTo>
                    <a:pt x="83035" y="107082"/>
                  </a:lnTo>
                  <a:lnTo>
                    <a:pt x="84642" y="107082"/>
                  </a:lnTo>
                  <a:lnTo>
                    <a:pt x="85714" y="107082"/>
                  </a:lnTo>
                  <a:lnTo>
                    <a:pt x="85714" y="107762"/>
                  </a:lnTo>
                  <a:lnTo>
                    <a:pt x="86785" y="107762"/>
                  </a:lnTo>
                  <a:lnTo>
                    <a:pt x="86785" y="107762"/>
                  </a:lnTo>
                  <a:lnTo>
                    <a:pt x="88392" y="108441"/>
                  </a:lnTo>
                  <a:lnTo>
                    <a:pt x="88392" y="108441"/>
                  </a:lnTo>
                  <a:lnTo>
                    <a:pt x="88392" y="108441"/>
                  </a:lnTo>
                  <a:lnTo>
                    <a:pt x="89464" y="108441"/>
                  </a:lnTo>
                  <a:lnTo>
                    <a:pt x="88392" y="109461"/>
                  </a:lnTo>
                  <a:lnTo>
                    <a:pt x="88392" y="110141"/>
                  </a:lnTo>
                  <a:lnTo>
                    <a:pt x="86785" y="111841"/>
                  </a:lnTo>
                  <a:lnTo>
                    <a:pt x="85714" y="112521"/>
                  </a:lnTo>
                  <a:lnTo>
                    <a:pt x="83035" y="114900"/>
                  </a:lnTo>
                  <a:lnTo>
                    <a:pt x="81964" y="116600"/>
                  </a:lnTo>
                  <a:lnTo>
                    <a:pt x="83035" y="116600"/>
                  </a:lnTo>
                  <a:lnTo>
                    <a:pt x="84642" y="117280"/>
                  </a:lnTo>
                  <a:lnTo>
                    <a:pt x="84642" y="117280"/>
                  </a:lnTo>
                  <a:lnTo>
                    <a:pt x="85714" y="116600"/>
                  </a:lnTo>
                  <a:lnTo>
                    <a:pt x="85714" y="116600"/>
                  </a:lnTo>
                  <a:lnTo>
                    <a:pt x="86785" y="116600"/>
                  </a:lnTo>
                  <a:lnTo>
                    <a:pt x="86785" y="116600"/>
                  </a:lnTo>
                  <a:lnTo>
                    <a:pt x="86785" y="117280"/>
                  </a:lnTo>
                  <a:lnTo>
                    <a:pt x="88392" y="118300"/>
                  </a:lnTo>
                  <a:lnTo>
                    <a:pt x="88392" y="118300"/>
                  </a:lnTo>
                  <a:lnTo>
                    <a:pt x="89464" y="118980"/>
                  </a:lnTo>
                  <a:lnTo>
                    <a:pt x="89464" y="118980"/>
                  </a:lnTo>
                  <a:lnTo>
                    <a:pt x="90535" y="120000"/>
                  </a:lnTo>
                  <a:lnTo>
                    <a:pt x="90535" y="120000"/>
                  </a:lnTo>
                  <a:lnTo>
                    <a:pt x="90535" y="118300"/>
                  </a:lnTo>
                  <a:lnTo>
                    <a:pt x="90535" y="115920"/>
                  </a:lnTo>
                  <a:lnTo>
                    <a:pt x="92142" y="113541"/>
                  </a:lnTo>
                  <a:lnTo>
                    <a:pt x="92142" y="111161"/>
                  </a:lnTo>
                  <a:lnTo>
                    <a:pt x="93214" y="108441"/>
                  </a:lnTo>
                  <a:lnTo>
                    <a:pt x="93214" y="106062"/>
                  </a:lnTo>
                  <a:lnTo>
                    <a:pt x="93214" y="103682"/>
                  </a:lnTo>
                  <a:lnTo>
                    <a:pt x="94285" y="102322"/>
                  </a:lnTo>
                  <a:lnTo>
                    <a:pt x="94285" y="101303"/>
                  </a:lnTo>
                  <a:lnTo>
                    <a:pt x="94285" y="99603"/>
                  </a:lnTo>
                  <a:lnTo>
                    <a:pt x="94285" y="98243"/>
                  </a:lnTo>
                  <a:lnTo>
                    <a:pt x="95892" y="98243"/>
                  </a:lnTo>
                  <a:lnTo>
                    <a:pt x="94285" y="97223"/>
                  </a:lnTo>
                  <a:lnTo>
                    <a:pt x="94285" y="97223"/>
                  </a:lnTo>
                  <a:lnTo>
                    <a:pt x="94285" y="97223"/>
                  </a:lnTo>
                  <a:lnTo>
                    <a:pt x="94285" y="96543"/>
                  </a:lnTo>
                  <a:lnTo>
                    <a:pt x="94285" y="96543"/>
                  </a:lnTo>
                  <a:lnTo>
                    <a:pt x="94285" y="96543"/>
                  </a:lnTo>
                  <a:lnTo>
                    <a:pt x="94285" y="95864"/>
                  </a:lnTo>
                  <a:lnTo>
                    <a:pt x="93214" y="95864"/>
                  </a:lnTo>
                  <a:lnTo>
                    <a:pt x="93214" y="95864"/>
                  </a:lnTo>
                  <a:lnTo>
                    <a:pt x="93214" y="95864"/>
                  </a:lnTo>
                  <a:lnTo>
                    <a:pt x="93214" y="94844"/>
                  </a:lnTo>
                  <a:lnTo>
                    <a:pt x="93214" y="94844"/>
                  </a:lnTo>
                  <a:lnTo>
                    <a:pt x="93214" y="94164"/>
                  </a:lnTo>
                  <a:lnTo>
                    <a:pt x="93214" y="94164"/>
                  </a:lnTo>
                  <a:lnTo>
                    <a:pt x="93214" y="94164"/>
                  </a:lnTo>
                  <a:lnTo>
                    <a:pt x="93214" y="93144"/>
                  </a:lnTo>
                  <a:lnTo>
                    <a:pt x="93214" y="93144"/>
                  </a:lnTo>
                  <a:lnTo>
                    <a:pt x="93214" y="93144"/>
                  </a:lnTo>
                  <a:lnTo>
                    <a:pt x="92142" y="92464"/>
                  </a:lnTo>
                  <a:lnTo>
                    <a:pt x="92142" y="92464"/>
                  </a:lnTo>
                  <a:lnTo>
                    <a:pt x="90535" y="91784"/>
                  </a:lnTo>
                  <a:lnTo>
                    <a:pt x="89464" y="91784"/>
                  </a:lnTo>
                  <a:lnTo>
                    <a:pt x="88392" y="90764"/>
                  </a:lnTo>
                  <a:lnTo>
                    <a:pt x="88392" y="90084"/>
                  </a:lnTo>
                  <a:lnTo>
                    <a:pt x="88392" y="89405"/>
                  </a:lnTo>
                  <a:lnTo>
                    <a:pt x="88392" y="87705"/>
                  </a:lnTo>
                  <a:lnTo>
                    <a:pt x="88392" y="86005"/>
                  </a:lnTo>
                  <a:lnTo>
                    <a:pt x="88392" y="85325"/>
                  </a:lnTo>
                  <a:lnTo>
                    <a:pt x="89464" y="85325"/>
                  </a:lnTo>
                  <a:lnTo>
                    <a:pt x="89464" y="85325"/>
                  </a:lnTo>
                  <a:lnTo>
                    <a:pt x="90535" y="85325"/>
                  </a:lnTo>
                  <a:lnTo>
                    <a:pt x="90535" y="85325"/>
                  </a:lnTo>
                  <a:lnTo>
                    <a:pt x="92142" y="84305"/>
                  </a:lnTo>
                  <a:lnTo>
                    <a:pt x="92142" y="84305"/>
                  </a:lnTo>
                  <a:lnTo>
                    <a:pt x="92142" y="84305"/>
                  </a:lnTo>
                  <a:lnTo>
                    <a:pt x="93214" y="84305"/>
                  </a:lnTo>
                  <a:lnTo>
                    <a:pt x="93214" y="84305"/>
                  </a:lnTo>
                  <a:lnTo>
                    <a:pt x="93214" y="84305"/>
                  </a:lnTo>
                  <a:lnTo>
                    <a:pt x="93214" y="84305"/>
                  </a:lnTo>
                  <a:lnTo>
                    <a:pt x="94285" y="84305"/>
                  </a:lnTo>
                  <a:lnTo>
                    <a:pt x="94285" y="84305"/>
                  </a:lnTo>
                  <a:lnTo>
                    <a:pt x="95892" y="84305"/>
                  </a:lnTo>
                  <a:lnTo>
                    <a:pt x="95892" y="84305"/>
                  </a:lnTo>
                  <a:lnTo>
                    <a:pt x="95892" y="84305"/>
                  </a:lnTo>
                  <a:lnTo>
                    <a:pt x="95892" y="84305"/>
                  </a:lnTo>
                  <a:lnTo>
                    <a:pt x="95892" y="84305"/>
                  </a:lnTo>
                  <a:lnTo>
                    <a:pt x="96964" y="84305"/>
                  </a:lnTo>
                  <a:lnTo>
                    <a:pt x="96964" y="84305"/>
                  </a:lnTo>
                  <a:lnTo>
                    <a:pt x="96964" y="84305"/>
                  </a:lnTo>
                  <a:lnTo>
                    <a:pt x="96964" y="84305"/>
                  </a:lnTo>
                  <a:lnTo>
                    <a:pt x="96964" y="84305"/>
                  </a:lnTo>
                  <a:lnTo>
                    <a:pt x="96964" y="84305"/>
                  </a:lnTo>
                  <a:lnTo>
                    <a:pt x="96964" y="84305"/>
                  </a:lnTo>
                  <a:lnTo>
                    <a:pt x="96964" y="83626"/>
                  </a:lnTo>
                  <a:lnTo>
                    <a:pt x="96964" y="83626"/>
                  </a:lnTo>
                  <a:lnTo>
                    <a:pt x="96964" y="82946"/>
                  </a:lnTo>
                  <a:lnTo>
                    <a:pt x="96964" y="82946"/>
                  </a:lnTo>
                  <a:lnTo>
                    <a:pt x="96964" y="81926"/>
                  </a:lnTo>
                  <a:lnTo>
                    <a:pt x="96964" y="81926"/>
                  </a:lnTo>
                  <a:lnTo>
                    <a:pt x="95892" y="81926"/>
                  </a:lnTo>
                  <a:lnTo>
                    <a:pt x="95892" y="81926"/>
                  </a:lnTo>
                  <a:lnTo>
                    <a:pt x="94285" y="81926"/>
                  </a:lnTo>
                  <a:lnTo>
                    <a:pt x="94285" y="81926"/>
                  </a:lnTo>
                  <a:lnTo>
                    <a:pt x="94285" y="81926"/>
                  </a:lnTo>
                  <a:lnTo>
                    <a:pt x="94285" y="81926"/>
                  </a:lnTo>
                  <a:lnTo>
                    <a:pt x="93214" y="81926"/>
                  </a:lnTo>
                  <a:lnTo>
                    <a:pt x="93214" y="81246"/>
                  </a:lnTo>
                  <a:lnTo>
                    <a:pt x="92142" y="81926"/>
                  </a:lnTo>
                  <a:lnTo>
                    <a:pt x="92142" y="81246"/>
                  </a:lnTo>
                  <a:lnTo>
                    <a:pt x="90535" y="81246"/>
                  </a:lnTo>
                  <a:lnTo>
                    <a:pt x="90535" y="81926"/>
                  </a:lnTo>
                  <a:lnTo>
                    <a:pt x="90535" y="79546"/>
                  </a:lnTo>
                  <a:lnTo>
                    <a:pt x="90535" y="78186"/>
                  </a:lnTo>
                  <a:lnTo>
                    <a:pt x="90535" y="77167"/>
                  </a:lnTo>
                  <a:lnTo>
                    <a:pt x="90535" y="77167"/>
                  </a:lnTo>
                  <a:lnTo>
                    <a:pt x="92142" y="77167"/>
                  </a:lnTo>
                  <a:lnTo>
                    <a:pt x="93214" y="77167"/>
                  </a:lnTo>
                  <a:lnTo>
                    <a:pt x="93214" y="76487"/>
                  </a:lnTo>
                  <a:lnTo>
                    <a:pt x="93214" y="76487"/>
                  </a:lnTo>
                  <a:lnTo>
                    <a:pt x="94285" y="76487"/>
                  </a:lnTo>
                  <a:lnTo>
                    <a:pt x="95892" y="77167"/>
                  </a:lnTo>
                  <a:lnTo>
                    <a:pt x="95892" y="77167"/>
                  </a:lnTo>
                  <a:lnTo>
                    <a:pt x="98035" y="77167"/>
                  </a:lnTo>
                  <a:lnTo>
                    <a:pt x="99642" y="77167"/>
                  </a:lnTo>
                  <a:lnTo>
                    <a:pt x="102321" y="77167"/>
                  </a:lnTo>
                  <a:lnTo>
                    <a:pt x="104464" y="77167"/>
                  </a:lnTo>
                  <a:lnTo>
                    <a:pt x="107142" y="77167"/>
                  </a:lnTo>
                  <a:lnTo>
                    <a:pt x="107142" y="77167"/>
                  </a:lnTo>
                  <a:lnTo>
                    <a:pt x="107142" y="76487"/>
                  </a:lnTo>
                  <a:lnTo>
                    <a:pt x="107142" y="76487"/>
                  </a:lnTo>
                  <a:lnTo>
                    <a:pt x="107142" y="75467"/>
                  </a:lnTo>
                  <a:lnTo>
                    <a:pt x="107142" y="75467"/>
                  </a:lnTo>
                  <a:lnTo>
                    <a:pt x="107142" y="74787"/>
                  </a:lnTo>
                  <a:lnTo>
                    <a:pt x="108214" y="75467"/>
                  </a:lnTo>
                  <a:lnTo>
                    <a:pt x="108214" y="75467"/>
                  </a:lnTo>
                  <a:lnTo>
                    <a:pt x="108214" y="76487"/>
                  </a:lnTo>
                  <a:lnTo>
                    <a:pt x="109821" y="76487"/>
                  </a:lnTo>
                  <a:lnTo>
                    <a:pt x="109821" y="76487"/>
                  </a:lnTo>
                  <a:lnTo>
                    <a:pt x="110892" y="76487"/>
                  </a:lnTo>
                  <a:lnTo>
                    <a:pt x="110892" y="76487"/>
                  </a:lnTo>
                  <a:lnTo>
                    <a:pt x="111964" y="75467"/>
                  </a:lnTo>
                  <a:lnTo>
                    <a:pt x="113571" y="74787"/>
                  </a:lnTo>
                  <a:lnTo>
                    <a:pt x="113571" y="74787"/>
                  </a:lnTo>
                  <a:lnTo>
                    <a:pt x="114642" y="74107"/>
                  </a:lnTo>
                  <a:lnTo>
                    <a:pt x="114642" y="74107"/>
                  </a:lnTo>
                  <a:lnTo>
                    <a:pt x="114642" y="74107"/>
                  </a:lnTo>
                  <a:lnTo>
                    <a:pt x="115714" y="74107"/>
                  </a:lnTo>
                  <a:lnTo>
                    <a:pt x="115714" y="74787"/>
                  </a:lnTo>
                  <a:lnTo>
                    <a:pt x="117321" y="76487"/>
                  </a:lnTo>
                  <a:lnTo>
                    <a:pt x="118392" y="77167"/>
                  </a:lnTo>
                  <a:lnTo>
                    <a:pt x="118392" y="78186"/>
                  </a:lnTo>
                  <a:lnTo>
                    <a:pt x="118392" y="79546"/>
                  </a:lnTo>
                  <a:lnTo>
                    <a:pt x="118392" y="80566"/>
                  </a:lnTo>
                  <a:lnTo>
                    <a:pt x="118392" y="80566"/>
                  </a:lnTo>
                  <a:lnTo>
                    <a:pt x="118392" y="81246"/>
                  </a:lnTo>
                  <a:lnTo>
                    <a:pt x="119999" y="80566"/>
                  </a:lnTo>
                  <a:lnTo>
                    <a:pt x="119999" y="80566"/>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12" name="Shape 512"/>
            <p:cNvSpPr/>
            <p:nvPr/>
          </p:nvSpPr>
          <p:spPr>
            <a:xfrm>
              <a:off x="4933" y="1685"/>
              <a:ext cx="900" cy="600"/>
            </a:xfrm>
            <a:custGeom>
              <a:avLst/>
              <a:gdLst/>
              <a:ahLst/>
              <a:cxnLst/>
              <a:rect l="0" t="0" r="0" b="0"/>
              <a:pathLst>
                <a:path w="120000" h="120000" extrusionOk="0">
                  <a:moveTo>
                    <a:pt x="93918" y="114626"/>
                  </a:moveTo>
                  <a:lnTo>
                    <a:pt x="93918" y="114301"/>
                  </a:lnTo>
                  <a:lnTo>
                    <a:pt x="93918" y="114301"/>
                  </a:lnTo>
                  <a:lnTo>
                    <a:pt x="93667" y="113812"/>
                  </a:lnTo>
                  <a:lnTo>
                    <a:pt x="93667" y="113812"/>
                  </a:lnTo>
                  <a:lnTo>
                    <a:pt x="93291" y="113487"/>
                  </a:lnTo>
                  <a:lnTo>
                    <a:pt x="93291" y="113487"/>
                  </a:lnTo>
                  <a:lnTo>
                    <a:pt x="93040" y="113812"/>
                  </a:lnTo>
                  <a:lnTo>
                    <a:pt x="93040" y="113812"/>
                  </a:lnTo>
                  <a:lnTo>
                    <a:pt x="93040" y="114301"/>
                  </a:lnTo>
                  <a:lnTo>
                    <a:pt x="92789" y="113812"/>
                  </a:lnTo>
                  <a:lnTo>
                    <a:pt x="92789" y="113812"/>
                  </a:lnTo>
                  <a:lnTo>
                    <a:pt x="92789" y="113812"/>
                  </a:lnTo>
                  <a:lnTo>
                    <a:pt x="92789" y="114301"/>
                  </a:lnTo>
                  <a:lnTo>
                    <a:pt x="92413" y="113812"/>
                  </a:lnTo>
                  <a:lnTo>
                    <a:pt x="92163" y="113812"/>
                  </a:lnTo>
                  <a:lnTo>
                    <a:pt x="92163" y="113812"/>
                  </a:lnTo>
                  <a:lnTo>
                    <a:pt x="91912" y="114301"/>
                  </a:lnTo>
                  <a:lnTo>
                    <a:pt x="91536" y="114301"/>
                  </a:lnTo>
                  <a:lnTo>
                    <a:pt x="91034" y="114301"/>
                  </a:lnTo>
                  <a:lnTo>
                    <a:pt x="91034" y="114301"/>
                  </a:lnTo>
                  <a:lnTo>
                    <a:pt x="90658" y="114301"/>
                  </a:lnTo>
                  <a:lnTo>
                    <a:pt x="90407" y="114301"/>
                  </a:lnTo>
                  <a:lnTo>
                    <a:pt x="90407" y="114301"/>
                  </a:lnTo>
                  <a:lnTo>
                    <a:pt x="90156" y="114626"/>
                  </a:lnTo>
                  <a:lnTo>
                    <a:pt x="90156" y="114626"/>
                  </a:lnTo>
                  <a:lnTo>
                    <a:pt x="90156" y="115115"/>
                  </a:lnTo>
                  <a:lnTo>
                    <a:pt x="90156" y="115115"/>
                  </a:lnTo>
                  <a:lnTo>
                    <a:pt x="90407" y="115115"/>
                  </a:lnTo>
                  <a:lnTo>
                    <a:pt x="90156" y="115115"/>
                  </a:lnTo>
                  <a:lnTo>
                    <a:pt x="89780" y="115440"/>
                  </a:lnTo>
                  <a:lnTo>
                    <a:pt x="89529" y="115766"/>
                  </a:lnTo>
                  <a:lnTo>
                    <a:pt x="89153" y="116255"/>
                  </a:lnTo>
                  <a:lnTo>
                    <a:pt x="89153" y="116255"/>
                  </a:lnTo>
                  <a:lnTo>
                    <a:pt x="88902" y="116580"/>
                  </a:lnTo>
                  <a:lnTo>
                    <a:pt x="88902" y="116580"/>
                  </a:lnTo>
                  <a:lnTo>
                    <a:pt x="89153" y="117720"/>
                  </a:lnTo>
                  <a:lnTo>
                    <a:pt x="89153" y="118046"/>
                  </a:lnTo>
                  <a:lnTo>
                    <a:pt x="89153" y="118534"/>
                  </a:lnTo>
                  <a:lnTo>
                    <a:pt x="89529" y="119348"/>
                  </a:lnTo>
                  <a:lnTo>
                    <a:pt x="90156" y="119674"/>
                  </a:lnTo>
                  <a:lnTo>
                    <a:pt x="90156" y="119674"/>
                  </a:lnTo>
                  <a:lnTo>
                    <a:pt x="90658" y="119674"/>
                  </a:lnTo>
                  <a:lnTo>
                    <a:pt x="91034" y="120000"/>
                  </a:lnTo>
                  <a:lnTo>
                    <a:pt x="91034" y="120000"/>
                  </a:lnTo>
                  <a:lnTo>
                    <a:pt x="91285" y="120000"/>
                  </a:lnTo>
                  <a:lnTo>
                    <a:pt x="91536" y="120000"/>
                  </a:lnTo>
                  <a:lnTo>
                    <a:pt x="91912" y="120000"/>
                  </a:lnTo>
                  <a:lnTo>
                    <a:pt x="91912" y="120000"/>
                  </a:lnTo>
                  <a:lnTo>
                    <a:pt x="91912" y="119674"/>
                  </a:lnTo>
                  <a:lnTo>
                    <a:pt x="91912" y="119674"/>
                  </a:lnTo>
                  <a:lnTo>
                    <a:pt x="92413" y="119674"/>
                  </a:lnTo>
                  <a:lnTo>
                    <a:pt x="92413" y="119674"/>
                  </a:lnTo>
                  <a:lnTo>
                    <a:pt x="92413" y="119348"/>
                  </a:lnTo>
                  <a:lnTo>
                    <a:pt x="92413" y="119348"/>
                  </a:lnTo>
                  <a:lnTo>
                    <a:pt x="92413" y="119348"/>
                  </a:lnTo>
                  <a:lnTo>
                    <a:pt x="92789" y="118860"/>
                  </a:lnTo>
                  <a:lnTo>
                    <a:pt x="93040" y="118534"/>
                  </a:lnTo>
                  <a:lnTo>
                    <a:pt x="93040" y="118534"/>
                  </a:lnTo>
                  <a:lnTo>
                    <a:pt x="93040" y="118534"/>
                  </a:lnTo>
                  <a:lnTo>
                    <a:pt x="93291" y="118534"/>
                  </a:lnTo>
                  <a:lnTo>
                    <a:pt x="93291" y="118534"/>
                  </a:lnTo>
                  <a:lnTo>
                    <a:pt x="93291" y="118046"/>
                  </a:lnTo>
                  <a:lnTo>
                    <a:pt x="93291" y="117720"/>
                  </a:lnTo>
                  <a:lnTo>
                    <a:pt x="93291" y="117394"/>
                  </a:lnTo>
                  <a:lnTo>
                    <a:pt x="93291" y="116906"/>
                  </a:lnTo>
                  <a:lnTo>
                    <a:pt x="93291" y="116906"/>
                  </a:lnTo>
                  <a:lnTo>
                    <a:pt x="93667" y="116906"/>
                  </a:lnTo>
                  <a:lnTo>
                    <a:pt x="93667" y="116580"/>
                  </a:lnTo>
                  <a:lnTo>
                    <a:pt x="93918" y="115440"/>
                  </a:lnTo>
                  <a:lnTo>
                    <a:pt x="93918" y="115440"/>
                  </a:lnTo>
                  <a:lnTo>
                    <a:pt x="94169" y="115440"/>
                  </a:lnTo>
                  <a:lnTo>
                    <a:pt x="94169" y="115115"/>
                  </a:lnTo>
                  <a:lnTo>
                    <a:pt x="93918" y="114626"/>
                  </a:lnTo>
                  <a:close/>
                  <a:moveTo>
                    <a:pt x="98683" y="104206"/>
                  </a:moveTo>
                  <a:lnTo>
                    <a:pt x="98683" y="104206"/>
                  </a:lnTo>
                  <a:lnTo>
                    <a:pt x="98307" y="104206"/>
                  </a:lnTo>
                  <a:lnTo>
                    <a:pt x="98307" y="104206"/>
                  </a:lnTo>
                  <a:lnTo>
                    <a:pt x="98683" y="104206"/>
                  </a:lnTo>
                  <a:lnTo>
                    <a:pt x="98683" y="104206"/>
                  </a:lnTo>
                  <a:lnTo>
                    <a:pt x="98934" y="104694"/>
                  </a:lnTo>
                  <a:lnTo>
                    <a:pt x="98683" y="104206"/>
                  </a:lnTo>
                  <a:lnTo>
                    <a:pt x="98683" y="104206"/>
                  </a:lnTo>
                  <a:close/>
                  <a:moveTo>
                    <a:pt x="108463" y="98507"/>
                  </a:moveTo>
                  <a:lnTo>
                    <a:pt x="108463" y="98507"/>
                  </a:lnTo>
                  <a:lnTo>
                    <a:pt x="108463" y="98507"/>
                  </a:lnTo>
                  <a:lnTo>
                    <a:pt x="108463" y="98507"/>
                  </a:lnTo>
                  <a:lnTo>
                    <a:pt x="108463" y="98833"/>
                  </a:lnTo>
                  <a:lnTo>
                    <a:pt x="108463" y="98833"/>
                  </a:lnTo>
                  <a:lnTo>
                    <a:pt x="108463" y="98507"/>
                  </a:lnTo>
                  <a:lnTo>
                    <a:pt x="108463" y="98507"/>
                  </a:lnTo>
                  <a:lnTo>
                    <a:pt x="108463" y="98507"/>
                  </a:lnTo>
                  <a:close/>
                  <a:moveTo>
                    <a:pt x="113103" y="85807"/>
                  </a:moveTo>
                  <a:lnTo>
                    <a:pt x="113103" y="85807"/>
                  </a:lnTo>
                  <a:lnTo>
                    <a:pt x="112852" y="86132"/>
                  </a:lnTo>
                  <a:lnTo>
                    <a:pt x="113103" y="86132"/>
                  </a:lnTo>
                  <a:lnTo>
                    <a:pt x="113103" y="86132"/>
                  </a:lnTo>
                  <a:lnTo>
                    <a:pt x="113103" y="86132"/>
                  </a:lnTo>
                  <a:lnTo>
                    <a:pt x="113103" y="86132"/>
                  </a:lnTo>
                  <a:lnTo>
                    <a:pt x="113103" y="85807"/>
                  </a:lnTo>
                  <a:close/>
                  <a:moveTo>
                    <a:pt x="113981" y="80434"/>
                  </a:moveTo>
                  <a:lnTo>
                    <a:pt x="113730" y="80434"/>
                  </a:lnTo>
                  <a:lnTo>
                    <a:pt x="113730" y="80759"/>
                  </a:lnTo>
                  <a:lnTo>
                    <a:pt x="113981" y="80759"/>
                  </a:lnTo>
                  <a:lnTo>
                    <a:pt x="114357" y="80759"/>
                  </a:lnTo>
                  <a:lnTo>
                    <a:pt x="114357" y="80759"/>
                  </a:lnTo>
                  <a:lnTo>
                    <a:pt x="113981" y="80759"/>
                  </a:lnTo>
                  <a:lnTo>
                    <a:pt x="113981" y="80434"/>
                  </a:lnTo>
                  <a:close/>
                  <a:moveTo>
                    <a:pt x="114608" y="79945"/>
                  </a:moveTo>
                  <a:lnTo>
                    <a:pt x="114357" y="79945"/>
                  </a:lnTo>
                  <a:lnTo>
                    <a:pt x="114357" y="79945"/>
                  </a:lnTo>
                  <a:lnTo>
                    <a:pt x="114608" y="79945"/>
                  </a:lnTo>
                  <a:lnTo>
                    <a:pt x="114608" y="80434"/>
                  </a:lnTo>
                  <a:lnTo>
                    <a:pt x="114608" y="79945"/>
                  </a:lnTo>
                  <a:lnTo>
                    <a:pt x="114608" y="79945"/>
                  </a:lnTo>
                  <a:close/>
                  <a:moveTo>
                    <a:pt x="113730" y="79294"/>
                  </a:moveTo>
                  <a:lnTo>
                    <a:pt x="113479" y="79294"/>
                  </a:lnTo>
                  <a:lnTo>
                    <a:pt x="113479" y="79620"/>
                  </a:lnTo>
                  <a:lnTo>
                    <a:pt x="113730" y="79620"/>
                  </a:lnTo>
                  <a:lnTo>
                    <a:pt x="113981" y="79620"/>
                  </a:lnTo>
                  <a:lnTo>
                    <a:pt x="114357" y="79945"/>
                  </a:lnTo>
                  <a:lnTo>
                    <a:pt x="114357" y="79945"/>
                  </a:lnTo>
                  <a:lnTo>
                    <a:pt x="114357" y="79620"/>
                  </a:lnTo>
                  <a:lnTo>
                    <a:pt x="113981" y="79620"/>
                  </a:lnTo>
                  <a:lnTo>
                    <a:pt x="113730" y="79294"/>
                  </a:lnTo>
                  <a:close/>
                  <a:moveTo>
                    <a:pt x="111347" y="74246"/>
                  </a:moveTo>
                  <a:lnTo>
                    <a:pt x="111097" y="73921"/>
                  </a:lnTo>
                  <a:lnTo>
                    <a:pt x="111097" y="73921"/>
                  </a:lnTo>
                  <a:lnTo>
                    <a:pt x="110721" y="73921"/>
                  </a:lnTo>
                  <a:lnTo>
                    <a:pt x="110470" y="73432"/>
                  </a:lnTo>
                  <a:lnTo>
                    <a:pt x="110219" y="73432"/>
                  </a:lnTo>
                  <a:lnTo>
                    <a:pt x="110470" y="73921"/>
                  </a:lnTo>
                  <a:lnTo>
                    <a:pt x="110721" y="74246"/>
                  </a:lnTo>
                  <a:lnTo>
                    <a:pt x="111097" y="74246"/>
                  </a:lnTo>
                  <a:lnTo>
                    <a:pt x="111974" y="74572"/>
                  </a:lnTo>
                  <a:lnTo>
                    <a:pt x="111974" y="74572"/>
                  </a:lnTo>
                  <a:lnTo>
                    <a:pt x="111974" y="74572"/>
                  </a:lnTo>
                  <a:lnTo>
                    <a:pt x="111974" y="74246"/>
                  </a:lnTo>
                  <a:lnTo>
                    <a:pt x="111347" y="74246"/>
                  </a:lnTo>
                  <a:close/>
                  <a:moveTo>
                    <a:pt x="120000" y="27679"/>
                  </a:moveTo>
                  <a:lnTo>
                    <a:pt x="119623" y="27191"/>
                  </a:lnTo>
                  <a:lnTo>
                    <a:pt x="119623" y="26865"/>
                  </a:lnTo>
                  <a:lnTo>
                    <a:pt x="119623" y="26540"/>
                  </a:lnTo>
                  <a:lnTo>
                    <a:pt x="120000" y="26540"/>
                  </a:lnTo>
                  <a:lnTo>
                    <a:pt x="120000" y="26540"/>
                  </a:lnTo>
                  <a:lnTo>
                    <a:pt x="120000" y="26540"/>
                  </a:lnTo>
                  <a:lnTo>
                    <a:pt x="120000" y="26051"/>
                  </a:lnTo>
                  <a:lnTo>
                    <a:pt x="120000" y="26051"/>
                  </a:lnTo>
                  <a:lnTo>
                    <a:pt x="120000" y="25725"/>
                  </a:lnTo>
                  <a:lnTo>
                    <a:pt x="119623" y="25725"/>
                  </a:lnTo>
                  <a:lnTo>
                    <a:pt x="119623" y="25400"/>
                  </a:lnTo>
                  <a:lnTo>
                    <a:pt x="119623" y="25400"/>
                  </a:lnTo>
                  <a:lnTo>
                    <a:pt x="120000" y="25400"/>
                  </a:lnTo>
                  <a:lnTo>
                    <a:pt x="120000" y="25400"/>
                  </a:lnTo>
                  <a:lnTo>
                    <a:pt x="120000" y="24911"/>
                  </a:lnTo>
                  <a:lnTo>
                    <a:pt x="120000" y="24911"/>
                  </a:lnTo>
                  <a:lnTo>
                    <a:pt x="119623" y="24586"/>
                  </a:lnTo>
                  <a:lnTo>
                    <a:pt x="119623" y="24586"/>
                  </a:lnTo>
                  <a:lnTo>
                    <a:pt x="120000" y="24260"/>
                  </a:lnTo>
                  <a:lnTo>
                    <a:pt x="120000" y="24260"/>
                  </a:lnTo>
                  <a:lnTo>
                    <a:pt x="120000" y="24260"/>
                  </a:lnTo>
                  <a:lnTo>
                    <a:pt x="119623" y="23772"/>
                  </a:lnTo>
                  <a:lnTo>
                    <a:pt x="119623" y="23772"/>
                  </a:lnTo>
                  <a:lnTo>
                    <a:pt x="119623" y="23446"/>
                  </a:lnTo>
                  <a:lnTo>
                    <a:pt x="119623" y="23446"/>
                  </a:lnTo>
                  <a:lnTo>
                    <a:pt x="119623" y="22957"/>
                  </a:lnTo>
                  <a:lnTo>
                    <a:pt x="119373" y="22632"/>
                  </a:lnTo>
                  <a:lnTo>
                    <a:pt x="119373" y="22306"/>
                  </a:lnTo>
                  <a:lnTo>
                    <a:pt x="119373" y="22306"/>
                  </a:lnTo>
                  <a:lnTo>
                    <a:pt x="119373" y="21818"/>
                  </a:lnTo>
                  <a:lnTo>
                    <a:pt x="118996" y="21818"/>
                  </a:lnTo>
                  <a:lnTo>
                    <a:pt x="118996" y="21492"/>
                  </a:lnTo>
                  <a:lnTo>
                    <a:pt x="118996" y="21166"/>
                  </a:lnTo>
                  <a:lnTo>
                    <a:pt x="118996" y="21166"/>
                  </a:lnTo>
                  <a:lnTo>
                    <a:pt x="118996" y="20678"/>
                  </a:lnTo>
                  <a:lnTo>
                    <a:pt x="118746" y="20678"/>
                  </a:lnTo>
                  <a:lnTo>
                    <a:pt x="118746" y="20352"/>
                  </a:lnTo>
                  <a:lnTo>
                    <a:pt x="118996" y="20352"/>
                  </a:lnTo>
                  <a:lnTo>
                    <a:pt x="118996" y="20352"/>
                  </a:lnTo>
                  <a:lnTo>
                    <a:pt x="118996" y="20352"/>
                  </a:lnTo>
                  <a:lnTo>
                    <a:pt x="118996" y="20352"/>
                  </a:lnTo>
                  <a:lnTo>
                    <a:pt x="119373" y="20352"/>
                  </a:lnTo>
                  <a:lnTo>
                    <a:pt x="119373" y="20027"/>
                  </a:lnTo>
                  <a:lnTo>
                    <a:pt x="119373" y="20027"/>
                  </a:lnTo>
                  <a:lnTo>
                    <a:pt x="119373" y="19538"/>
                  </a:lnTo>
                  <a:lnTo>
                    <a:pt x="119373" y="19538"/>
                  </a:lnTo>
                  <a:lnTo>
                    <a:pt x="119373" y="19213"/>
                  </a:lnTo>
                  <a:lnTo>
                    <a:pt x="118996" y="18724"/>
                  </a:lnTo>
                  <a:lnTo>
                    <a:pt x="118996" y="18724"/>
                  </a:lnTo>
                  <a:lnTo>
                    <a:pt x="118746" y="18398"/>
                  </a:lnTo>
                  <a:lnTo>
                    <a:pt x="118495" y="18398"/>
                  </a:lnTo>
                  <a:lnTo>
                    <a:pt x="118495" y="18073"/>
                  </a:lnTo>
                  <a:lnTo>
                    <a:pt x="118495" y="18073"/>
                  </a:lnTo>
                  <a:lnTo>
                    <a:pt x="118495" y="17584"/>
                  </a:lnTo>
                  <a:lnTo>
                    <a:pt x="118495" y="17584"/>
                  </a:lnTo>
                  <a:lnTo>
                    <a:pt x="118495" y="17584"/>
                  </a:lnTo>
                  <a:lnTo>
                    <a:pt x="117868" y="17259"/>
                  </a:lnTo>
                  <a:lnTo>
                    <a:pt x="117617" y="17259"/>
                  </a:lnTo>
                  <a:lnTo>
                    <a:pt x="117617" y="17259"/>
                  </a:lnTo>
                  <a:lnTo>
                    <a:pt x="117241" y="16933"/>
                  </a:lnTo>
                  <a:lnTo>
                    <a:pt x="117241" y="17259"/>
                  </a:lnTo>
                  <a:lnTo>
                    <a:pt x="116739" y="17259"/>
                  </a:lnTo>
                  <a:lnTo>
                    <a:pt x="116363" y="17584"/>
                  </a:lnTo>
                  <a:lnTo>
                    <a:pt x="116363" y="18073"/>
                  </a:lnTo>
                  <a:lnTo>
                    <a:pt x="116112" y="18073"/>
                  </a:lnTo>
                  <a:lnTo>
                    <a:pt x="115862" y="18073"/>
                  </a:lnTo>
                  <a:lnTo>
                    <a:pt x="115485" y="18073"/>
                  </a:lnTo>
                  <a:lnTo>
                    <a:pt x="115235" y="18073"/>
                  </a:lnTo>
                  <a:lnTo>
                    <a:pt x="115235" y="18398"/>
                  </a:lnTo>
                  <a:lnTo>
                    <a:pt x="114858" y="18398"/>
                  </a:lnTo>
                  <a:lnTo>
                    <a:pt x="114858" y="18398"/>
                  </a:lnTo>
                  <a:lnTo>
                    <a:pt x="114608" y="18724"/>
                  </a:lnTo>
                  <a:lnTo>
                    <a:pt x="114858" y="19213"/>
                  </a:lnTo>
                  <a:lnTo>
                    <a:pt x="114608" y="19213"/>
                  </a:lnTo>
                  <a:lnTo>
                    <a:pt x="114608" y="19213"/>
                  </a:lnTo>
                  <a:lnTo>
                    <a:pt x="113981" y="19213"/>
                  </a:lnTo>
                  <a:lnTo>
                    <a:pt x="113479" y="19538"/>
                  </a:lnTo>
                  <a:lnTo>
                    <a:pt x="112852" y="19538"/>
                  </a:lnTo>
                  <a:lnTo>
                    <a:pt x="112601" y="19213"/>
                  </a:lnTo>
                  <a:lnTo>
                    <a:pt x="112225" y="19213"/>
                  </a:lnTo>
                  <a:lnTo>
                    <a:pt x="111974" y="19213"/>
                  </a:lnTo>
                  <a:lnTo>
                    <a:pt x="111724" y="19213"/>
                  </a:lnTo>
                  <a:lnTo>
                    <a:pt x="111724" y="19213"/>
                  </a:lnTo>
                  <a:lnTo>
                    <a:pt x="111347" y="19213"/>
                  </a:lnTo>
                  <a:lnTo>
                    <a:pt x="111347" y="18724"/>
                  </a:lnTo>
                  <a:lnTo>
                    <a:pt x="111097" y="18398"/>
                  </a:lnTo>
                  <a:lnTo>
                    <a:pt x="110721" y="18398"/>
                  </a:lnTo>
                  <a:lnTo>
                    <a:pt x="110470" y="18073"/>
                  </a:lnTo>
                  <a:lnTo>
                    <a:pt x="110470" y="17584"/>
                  </a:lnTo>
                  <a:lnTo>
                    <a:pt x="110219" y="17259"/>
                  </a:lnTo>
                  <a:lnTo>
                    <a:pt x="110219" y="16933"/>
                  </a:lnTo>
                  <a:lnTo>
                    <a:pt x="109843" y="16933"/>
                  </a:lnTo>
                  <a:lnTo>
                    <a:pt x="109592" y="16933"/>
                  </a:lnTo>
                  <a:lnTo>
                    <a:pt x="109592" y="16445"/>
                  </a:lnTo>
                  <a:lnTo>
                    <a:pt x="109341" y="16119"/>
                  </a:lnTo>
                  <a:lnTo>
                    <a:pt x="109341" y="16119"/>
                  </a:lnTo>
                  <a:lnTo>
                    <a:pt x="109341" y="15630"/>
                  </a:lnTo>
                  <a:lnTo>
                    <a:pt x="108965" y="15305"/>
                  </a:lnTo>
                  <a:lnTo>
                    <a:pt x="108463" y="15305"/>
                  </a:lnTo>
                  <a:lnTo>
                    <a:pt x="108087" y="15305"/>
                  </a:lnTo>
                  <a:lnTo>
                    <a:pt x="107836" y="14979"/>
                  </a:lnTo>
                  <a:lnTo>
                    <a:pt x="106959" y="14165"/>
                  </a:lnTo>
                  <a:lnTo>
                    <a:pt x="106332" y="14165"/>
                  </a:lnTo>
                  <a:lnTo>
                    <a:pt x="106332" y="14165"/>
                  </a:lnTo>
                  <a:lnTo>
                    <a:pt x="106081" y="13839"/>
                  </a:lnTo>
                  <a:lnTo>
                    <a:pt x="105705" y="13839"/>
                  </a:lnTo>
                  <a:lnTo>
                    <a:pt x="105705" y="13839"/>
                  </a:lnTo>
                  <a:lnTo>
                    <a:pt x="105705" y="13839"/>
                  </a:lnTo>
                  <a:lnTo>
                    <a:pt x="105705" y="13839"/>
                  </a:lnTo>
                  <a:lnTo>
                    <a:pt x="105454" y="13839"/>
                  </a:lnTo>
                  <a:lnTo>
                    <a:pt x="105454" y="13839"/>
                  </a:lnTo>
                  <a:lnTo>
                    <a:pt x="105203" y="13839"/>
                  </a:lnTo>
                  <a:lnTo>
                    <a:pt x="105203" y="13839"/>
                  </a:lnTo>
                  <a:lnTo>
                    <a:pt x="105203" y="13839"/>
                  </a:lnTo>
                  <a:lnTo>
                    <a:pt x="104827" y="13351"/>
                  </a:lnTo>
                  <a:lnTo>
                    <a:pt x="104576" y="13351"/>
                  </a:lnTo>
                  <a:lnTo>
                    <a:pt x="104326" y="13351"/>
                  </a:lnTo>
                  <a:lnTo>
                    <a:pt x="104326" y="13351"/>
                  </a:lnTo>
                  <a:lnTo>
                    <a:pt x="104326" y="13025"/>
                  </a:lnTo>
                  <a:lnTo>
                    <a:pt x="103949" y="13025"/>
                  </a:lnTo>
                  <a:lnTo>
                    <a:pt x="103949" y="13025"/>
                  </a:lnTo>
                  <a:lnTo>
                    <a:pt x="103699" y="13025"/>
                  </a:lnTo>
                  <a:lnTo>
                    <a:pt x="103072" y="13025"/>
                  </a:lnTo>
                  <a:lnTo>
                    <a:pt x="102445" y="13025"/>
                  </a:lnTo>
                  <a:lnTo>
                    <a:pt x="102194" y="13025"/>
                  </a:lnTo>
                  <a:lnTo>
                    <a:pt x="101943" y="12700"/>
                  </a:lnTo>
                  <a:lnTo>
                    <a:pt x="101567" y="12700"/>
                  </a:lnTo>
                  <a:lnTo>
                    <a:pt x="101567" y="12211"/>
                  </a:lnTo>
                  <a:lnTo>
                    <a:pt x="101316" y="12211"/>
                  </a:lnTo>
                  <a:lnTo>
                    <a:pt x="101065" y="11886"/>
                  </a:lnTo>
                  <a:lnTo>
                    <a:pt x="100689" y="11886"/>
                  </a:lnTo>
                  <a:lnTo>
                    <a:pt x="100689" y="11397"/>
                  </a:lnTo>
                  <a:lnTo>
                    <a:pt x="100689" y="11071"/>
                  </a:lnTo>
                  <a:lnTo>
                    <a:pt x="100188" y="10746"/>
                  </a:lnTo>
                  <a:lnTo>
                    <a:pt x="99811" y="10257"/>
                  </a:lnTo>
                  <a:lnTo>
                    <a:pt x="99811" y="10257"/>
                  </a:lnTo>
                  <a:lnTo>
                    <a:pt x="99811" y="10257"/>
                  </a:lnTo>
                  <a:lnTo>
                    <a:pt x="99561" y="9932"/>
                  </a:lnTo>
                  <a:lnTo>
                    <a:pt x="99561" y="9932"/>
                  </a:lnTo>
                  <a:lnTo>
                    <a:pt x="99561" y="9932"/>
                  </a:lnTo>
                  <a:lnTo>
                    <a:pt x="99561" y="9606"/>
                  </a:lnTo>
                  <a:lnTo>
                    <a:pt x="99310" y="9118"/>
                  </a:lnTo>
                  <a:lnTo>
                    <a:pt x="98934" y="8792"/>
                  </a:lnTo>
                  <a:lnTo>
                    <a:pt x="98056" y="8466"/>
                  </a:lnTo>
                  <a:lnTo>
                    <a:pt x="97805" y="7978"/>
                  </a:lnTo>
                  <a:lnTo>
                    <a:pt x="97805" y="7652"/>
                  </a:lnTo>
                  <a:lnTo>
                    <a:pt x="97429" y="7652"/>
                  </a:lnTo>
                  <a:lnTo>
                    <a:pt x="97429" y="7164"/>
                  </a:lnTo>
                  <a:lnTo>
                    <a:pt x="97178" y="7164"/>
                  </a:lnTo>
                  <a:lnTo>
                    <a:pt x="97178" y="6838"/>
                  </a:lnTo>
                  <a:lnTo>
                    <a:pt x="97178" y="6838"/>
                  </a:lnTo>
                  <a:lnTo>
                    <a:pt x="96927" y="6838"/>
                  </a:lnTo>
                  <a:lnTo>
                    <a:pt x="96927" y="6512"/>
                  </a:lnTo>
                  <a:lnTo>
                    <a:pt x="96927" y="6512"/>
                  </a:lnTo>
                  <a:lnTo>
                    <a:pt x="96551" y="6512"/>
                  </a:lnTo>
                  <a:lnTo>
                    <a:pt x="96551" y="6024"/>
                  </a:lnTo>
                  <a:lnTo>
                    <a:pt x="96300" y="6024"/>
                  </a:lnTo>
                  <a:lnTo>
                    <a:pt x="96050" y="5698"/>
                  </a:lnTo>
                  <a:lnTo>
                    <a:pt x="95673" y="5373"/>
                  </a:lnTo>
                  <a:lnTo>
                    <a:pt x="95423" y="4884"/>
                  </a:lnTo>
                  <a:lnTo>
                    <a:pt x="95172" y="4559"/>
                  </a:lnTo>
                  <a:lnTo>
                    <a:pt x="94796" y="4559"/>
                  </a:lnTo>
                  <a:lnTo>
                    <a:pt x="94796" y="4233"/>
                  </a:lnTo>
                  <a:lnTo>
                    <a:pt x="94796" y="4233"/>
                  </a:lnTo>
                  <a:lnTo>
                    <a:pt x="94545" y="3744"/>
                  </a:lnTo>
                  <a:lnTo>
                    <a:pt x="94545" y="3744"/>
                  </a:lnTo>
                  <a:lnTo>
                    <a:pt x="94545" y="3744"/>
                  </a:lnTo>
                  <a:lnTo>
                    <a:pt x="94169" y="3744"/>
                  </a:lnTo>
                  <a:lnTo>
                    <a:pt x="94169" y="3419"/>
                  </a:lnTo>
                  <a:lnTo>
                    <a:pt x="93918" y="3419"/>
                  </a:lnTo>
                  <a:lnTo>
                    <a:pt x="93918" y="3419"/>
                  </a:lnTo>
                  <a:lnTo>
                    <a:pt x="93667" y="2930"/>
                  </a:lnTo>
                  <a:lnTo>
                    <a:pt x="93667" y="2930"/>
                  </a:lnTo>
                  <a:lnTo>
                    <a:pt x="93291" y="2930"/>
                  </a:lnTo>
                  <a:lnTo>
                    <a:pt x="93291" y="2930"/>
                  </a:lnTo>
                  <a:lnTo>
                    <a:pt x="93291" y="2605"/>
                  </a:lnTo>
                  <a:lnTo>
                    <a:pt x="93291" y="2605"/>
                  </a:lnTo>
                  <a:lnTo>
                    <a:pt x="93291" y="2605"/>
                  </a:lnTo>
                  <a:lnTo>
                    <a:pt x="93291" y="2605"/>
                  </a:lnTo>
                  <a:lnTo>
                    <a:pt x="93040" y="2605"/>
                  </a:lnTo>
                  <a:lnTo>
                    <a:pt x="92789" y="2279"/>
                  </a:lnTo>
                  <a:lnTo>
                    <a:pt x="92789" y="2279"/>
                  </a:lnTo>
                  <a:lnTo>
                    <a:pt x="92413" y="2279"/>
                  </a:lnTo>
                  <a:lnTo>
                    <a:pt x="92413" y="2279"/>
                  </a:lnTo>
                  <a:lnTo>
                    <a:pt x="92163" y="1791"/>
                  </a:lnTo>
                  <a:lnTo>
                    <a:pt x="92163" y="1791"/>
                  </a:lnTo>
                  <a:lnTo>
                    <a:pt x="92163" y="1791"/>
                  </a:lnTo>
                  <a:lnTo>
                    <a:pt x="91912" y="1465"/>
                  </a:lnTo>
                  <a:lnTo>
                    <a:pt x="91912" y="1465"/>
                  </a:lnTo>
                  <a:lnTo>
                    <a:pt x="91536" y="1465"/>
                  </a:lnTo>
                  <a:lnTo>
                    <a:pt x="91285" y="1465"/>
                  </a:lnTo>
                  <a:lnTo>
                    <a:pt x="90658" y="1139"/>
                  </a:lnTo>
                  <a:lnTo>
                    <a:pt x="90407" y="1139"/>
                  </a:lnTo>
                  <a:lnTo>
                    <a:pt x="90407" y="1139"/>
                  </a:lnTo>
                  <a:lnTo>
                    <a:pt x="90156" y="1139"/>
                  </a:lnTo>
                  <a:lnTo>
                    <a:pt x="90156" y="1139"/>
                  </a:lnTo>
                  <a:lnTo>
                    <a:pt x="90156" y="1139"/>
                  </a:lnTo>
                  <a:lnTo>
                    <a:pt x="89529" y="1139"/>
                  </a:lnTo>
                  <a:lnTo>
                    <a:pt x="89153" y="1139"/>
                  </a:lnTo>
                  <a:lnTo>
                    <a:pt x="88902" y="651"/>
                  </a:lnTo>
                  <a:lnTo>
                    <a:pt x="88652" y="651"/>
                  </a:lnTo>
                  <a:lnTo>
                    <a:pt x="88652" y="325"/>
                  </a:lnTo>
                  <a:lnTo>
                    <a:pt x="88275" y="651"/>
                  </a:lnTo>
                  <a:lnTo>
                    <a:pt x="88025" y="325"/>
                  </a:lnTo>
                  <a:lnTo>
                    <a:pt x="87147" y="0"/>
                  </a:lnTo>
                  <a:lnTo>
                    <a:pt x="86896" y="0"/>
                  </a:lnTo>
                  <a:lnTo>
                    <a:pt x="86896" y="0"/>
                  </a:lnTo>
                  <a:lnTo>
                    <a:pt x="86896" y="0"/>
                  </a:lnTo>
                  <a:lnTo>
                    <a:pt x="86896" y="0"/>
                  </a:lnTo>
                  <a:lnTo>
                    <a:pt x="86520" y="0"/>
                  </a:lnTo>
                  <a:lnTo>
                    <a:pt x="86269" y="0"/>
                  </a:lnTo>
                  <a:lnTo>
                    <a:pt x="86018" y="0"/>
                  </a:lnTo>
                  <a:lnTo>
                    <a:pt x="85642" y="0"/>
                  </a:lnTo>
                  <a:lnTo>
                    <a:pt x="85391" y="325"/>
                  </a:lnTo>
                  <a:lnTo>
                    <a:pt x="85015" y="325"/>
                  </a:lnTo>
                  <a:lnTo>
                    <a:pt x="84764" y="325"/>
                  </a:lnTo>
                  <a:lnTo>
                    <a:pt x="84514" y="0"/>
                  </a:lnTo>
                  <a:lnTo>
                    <a:pt x="84137" y="325"/>
                  </a:lnTo>
                  <a:lnTo>
                    <a:pt x="83636" y="325"/>
                  </a:lnTo>
                  <a:lnTo>
                    <a:pt x="83009" y="651"/>
                  </a:lnTo>
                  <a:lnTo>
                    <a:pt x="82131" y="651"/>
                  </a:lnTo>
                  <a:lnTo>
                    <a:pt x="81880" y="1139"/>
                  </a:lnTo>
                  <a:lnTo>
                    <a:pt x="81880" y="1791"/>
                  </a:lnTo>
                  <a:lnTo>
                    <a:pt x="81504" y="2279"/>
                  </a:lnTo>
                  <a:lnTo>
                    <a:pt x="81253" y="2279"/>
                  </a:lnTo>
                  <a:lnTo>
                    <a:pt x="81253" y="2605"/>
                  </a:lnTo>
                  <a:lnTo>
                    <a:pt x="81504" y="2930"/>
                  </a:lnTo>
                  <a:lnTo>
                    <a:pt x="81880" y="2930"/>
                  </a:lnTo>
                  <a:lnTo>
                    <a:pt x="82131" y="2930"/>
                  </a:lnTo>
                  <a:lnTo>
                    <a:pt x="82382" y="2930"/>
                  </a:lnTo>
                  <a:lnTo>
                    <a:pt x="82758" y="2930"/>
                  </a:lnTo>
                  <a:lnTo>
                    <a:pt x="83009" y="3419"/>
                  </a:lnTo>
                  <a:lnTo>
                    <a:pt x="83009" y="3744"/>
                  </a:lnTo>
                  <a:lnTo>
                    <a:pt x="83260" y="4233"/>
                  </a:lnTo>
                  <a:lnTo>
                    <a:pt x="83636" y="4233"/>
                  </a:lnTo>
                  <a:lnTo>
                    <a:pt x="83887" y="4559"/>
                  </a:lnTo>
                  <a:lnTo>
                    <a:pt x="83887" y="4884"/>
                  </a:lnTo>
                  <a:lnTo>
                    <a:pt x="83636" y="5373"/>
                  </a:lnTo>
                  <a:lnTo>
                    <a:pt x="83260" y="5698"/>
                  </a:lnTo>
                  <a:lnTo>
                    <a:pt x="83260" y="6512"/>
                  </a:lnTo>
                  <a:lnTo>
                    <a:pt x="83260" y="6838"/>
                  </a:lnTo>
                  <a:lnTo>
                    <a:pt x="83260" y="7164"/>
                  </a:lnTo>
                  <a:lnTo>
                    <a:pt x="83260" y="7652"/>
                  </a:lnTo>
                  <a:lnTo>
                    <a:pt x="83260" y="7978"/>
                  </a:lnTo>
                  <a:lnTo>
                    <a:pt x="83260" y="7978"/>
                  </a:lnTo>
                  <a:lnTo>
                    <a:pt x="83260" y="8466"/>
                  </a:lnTo>
                  <a:lnTo>
                    <a:pt x="83260" y="8792"/>
                  </a:lnTo>
                  <a:lnTo>
                    <a:pt x="83260" y="9118"/>
                  </a:lnTo>
                  <a:lnTo>
                    <a:pt x="83636" y="9118"/>
                  </a:lnTo>
                  <a:lnTo>
                    <a:pt x="83260" y="9606"/>
                  </a:lnTo>
                  <a:lnTo>
                    <a:pt x="83260" y="9606"/>
                  </a:lnTo>
                  <a:lnTo>
                    <a:pt x="83260" y="9932"/>
                  </a:lnTo>
                  <a:lnTo>
                    <a:pt x="83260" y="10257"/>
                  </a:lnTo>
                  <a:lnTo>
                    <a:pt x="83260" y="10257"/>
                  </a:lnTo>
                  <a:lnTo>
                    <a:pt x="83260" y="10257"/>
                  </a:lnTo>
                  <a:lnTo>
                    <a:pt x="83636" y="10257"/>
                  </a:lnTo>
                  <a:lnTo>
                    <a:pt x="83887" y="10746"/>
                  </a:lnTo>
                  <a:lnTo>
                    <a:pt x="84137" y="11071"/>
                  </a:lnTo>
                  <a:lnTo>
                    <a:pt x="84137" y="11397"/>
                  </a:lnTo>
                  <a:lnTo>
                    <a:pt x="83887" y="11397"/>
                  </a:lnTo>
                  <a:lnTo>
                    <a:pt x="83636" y="11886"/>
                  </a:lnTo>
                  <a:lnTo>
                    <a:pt x="83260" y="11886"/>
                  </a:lnTo>
                  <a:lnTo>
                    <a:pt x="82758" y="12211"/>
                  </a:lnTo>
                  <a:lnTo>
                    <a:pt x="82382" y="12700"/>
                  </a:lnTo>
                  <a:lnTo>
                    <a:pt x="82131" y="13351"/>
                  </a:lnTo>
                  <a:lnTo>
                    <a:pt x="82131" y="13351"/>
                  </a:lnTo>
                  <a:lnTo>
                    <a:pt x="81880" y="13025"/>
                  </a:lnTo>
                  <a:lnTo>
                    <a:pt x="81253" y="13025"/>
                  </a:lnTo>
                  <a:lnTo>
                    <a:pt x="80626" y="13025"/>
                  </a:lnTo>
                  <a:lnTo>
                    <a:pt x="80000" y="12700"/>
                  </a:lnTo>
                  <a:lnTo>
                    <a:pt x="79749" y="12700"/>
                  </a:lnTo>
                  <a:lnTo>
                    <a:pt x="79122" y="12211"/>
                  </a:lnTo>
                  <a:lnTo>
                    <a:pt x="79122" y="12700"/>
                  </a:lnTo>
                  <a:lnTo>
                    <a:pt x="79122" y="13351"/>
                  </a:lnTo>
                  <a:lnTo>
                    <a:pt x="79122" y="14491"/>
                  </a:lnTo>
                  <a:lnTo>
                    <a:pt x="79498" y="14979"/>
                  </a:lnTo>
                  <a:lnTo>
                    <a:pt x="79498" y="15305"/>
                  </a:lnTo>
                  <a:lnTo>
                    <a:pt x="79498" y="15305"/>
                  </a:lnTo>
                  <a:lnTo>
                    <a:pt x="79498" y="15630"/>
                  </a:lnTo>
                  <a:lnTo>
                    <a:pt x="79498" y="16119"/>
                  </a:lnTo>
                  <a:lnTo>
                    <a:pt x="79122" y="16445"/>
                  </a:lnTo>
                  <a:lnTo>
                    <a:pt x="79498" y="16933"/>
                  </a:lnTo>
                  <a:lnTo>
                    <a:pt x="79498" y="17259"/>
                  </a:lnTo>
                  <a:lnTo>
                    <a:pt x="79749" y="17584"/>
                  </a:lnTo>
                  <a:lnTo>
                    <a:pt x="79498" y="17584"/>
                  </a:lnTo>
                  <a:lnTo>
                    <a:pt x="79122" y="18073"/>
                  </a:lnTo>
                  <a:lnTo>
                    <a:pt x="79749" y="18398"/>
                  </a:lnTo>
                  <a:lnTo>
                    <a:pt x="79749" y="18724"/>
                  </a:lnTo>
                  <a:lnTo>
                    <a:pt x="80000" y="19213"/>
                  </a:lnTo>
                  <a:lnTo>
                    <a:pt x="80376" y="19213"/>
                  </a:lnTo>
                  <a:lnTo>
                    <a:pt x="80626" y="19213"/>
                  </a:lnTo>
                  <a:lnTo>
                    <a:pt x="80877" y="19213"/>
                  </a:lnTo>
                  <a:lnTo>
                    <a:pt x="80877" y="19213"/>
                  </a:lnTo>
                  <a:lnTo>
                    <a:pt x="81253" y="18724"/>
                  </a:lnTo>
                  <a:lnTo>
                    <a:pt x="81253" y="18724"/>
                  </a:lnTo>
                  <a:lnTo>
                    <a:pt x="81504" y="18724"/>
                  </a:lnTo>
                  <a:lnTo>
                    <a:pt x="81880" y="18724"/>
                  </a:lnTo>
                  <a:lnTo>
                    <a:pt x="82131" y="18724"/>
                  </a:lnTo>
                  <a:lnTo>
                    <a:pt x="82131" y="18724"/>
                  </a:lnTo>
                  <a:lnTo>
                    <a:pt x="82382" y="18724"/>
                  </a:lnTo>
                  <a:lnTo>
                    <a:pt x="82758" y="18724"/>
                  </a:lnTo>
                  <a:lnTo>
                    <a:pt x="83009" y="18724"/>
                  </a:lnTo>
                  <a:lnTo>
                    <a:pt x="83260" y="19213"/>
                  </a:lnTo>
                  <a:lnTo>
                    <a:pt x="83636" y="19538"/>
                  </a:lnTo>
                  <a:lnTo>
                    <a:pt x="83636" y="19538"/>
                  </a:lnTo>
                  <a:lnTo>
                    <a:pt x="83887" y="19538"/>
                  </a:lnTo>
                  <a:lnTo>
                    <a:pt x="83887" y="19213"/>
                  </a:lnTo>
                  <a:lnTo>
                    <a:pt x="83887" y="18724"/>
                  </a:lnTo>
                  <a:lnTo>
                    <a:pt x="83887" y="18724"/>
                  </a:lnTo>
                  <a:lnTo>
                    <a:pt x="84137" y="18398"/>
                  </a:lnTo>
                  <a:lnTo>
                    <a:pt x="84137" y="18398"/>
                  </a:lnTo>
                  <a:lnTo>
                    <a:pt x="84514" y="18398"/>
                  </a:lnTo>
                  <a:lnTo>
                    <a:pt x="84514" y="18398"/>
                  </a:lnTo>
                  <a:lnTo>
                    <a:pt x="84764" y="18398"/>
                  </a:lnTo>
                  <a:lnTo>
                    <a:pt x="85015" y="18398"/>
                  </a:lnTo>
                  <a:lnTo>
                    <a:pt x="85642" y="18398"/>
                  </a:lnTo>
                  <a:lnTo>
                    <a:pt x="85642" y="18398"/>
                  </a:lnTo>
                  <a:lnTo>
                    <a:pt x="86269" y="18724"/>
                  </a:lnTo>
                  <a:lnTo>
                    <a:pt x="86520" y="19213"/>
                  </a:lnTo>
                  <a:lnTo>
                    <a:pt x="86896" y="19213"/>
                  </a:lnTo>
                  <a:lnTo>
                    <a:pt x="86896" y="19213"/>
                  </a:lnTo>
                  <a:lnTo>
                    <a:pt x="87147" y="19538"/>
                  </a:lnTo>
                  <a:lnTo>
                    <a:pt x="87147" y="19538"/>
                  </a:lnTo>
                  <a:lnTo>
                    <a:pt x="87398" y="19538"/>
                  </a:lnTo>
                  <a:lnTo>
                    <a:pt x="87398" y="20027"/>
                  </a:lnTo>
                  <a:lnTo>
                    <a:pt x="87774" y="20027"/>
                  </a:lnTo>
                  <a:lnTo>
                    <a:pt x="87774" y="20027"/>
                  </a:lnTo>
                  <a:lnTo>
                    <a:pt x="88025" y="20027"/>
                  </a:lnTo>
                  <a:lnTo>
                    <a:pt x="88025" y="20352"/>
                  </a:lnTo>
                  <a:lnTo>
                    <a:pt x="88025" y="20352"/>
                  </a:lnTo>
                  <a:lnTo>
                    <a:pt x="88275" y="20352"/>
                  </a:lnTo>
                  <a:lnTo>
                    <a:pt x="88652" y="20678"/>
                  </a:lnTo>
                  <a:lnTo>
                    <a:pt x="88902" y="21166"/>
                  </a:lnTo>
                  <a:lnTo>
                    <a:pt x="89153" y="21166"/>
                  </a:lnTo>
                  <a:lnTo>
                    <a:pt x="89529" y="21492"/>
                  </a:lnTo>
                  <a:lnTo>
                    <a:pt x="89529" y="21492"/>
                  </a:lnTo>
                  <a:lnTo>
                    <a:pt x="89780" y="21818"/>
                  </a:lnTo>
                  <a:lnTo>
                    <a:pt x="89780" y="21818"/>
                  </a:lnTo>
                  <a:lnTo>
                    <a:pt x="90156" y="22306"/>
                  </a:lnTo>
                  <a:lnTo>
                    <a:pt x="90156" y="22306"/>
                  </a:lnTo>
                  <a:lnTo>
                    <a:pt x="90407" y="22632"/>
                  </a:lnTo>
                  <a:lnTo>
                    <a:pt x="90407" y="22632"/>
                  </a:lnTo>
                  <a:lnTo>
                    <a:pt x="90156" y="22957"/>
                  </a:lnTo>
                  <a:lnTo>
                    <a:pt x="90156" y="22957"/>
                  </a:lnTo>
                  <a:lnTo>
                    <a:pt x="89780" y="22957"/>
                  </a:lnTo>
                  <a:lnTo>
                    <a:pt x="89529" y="22957"/>
                  </a:lnTo>
                  <a:lnTo>
                    <a:pt x="89153" y="22957"/>
                  </a:lnTo>
                  <a:lnTo>
                    <a:pt x="88902" y="22957"/>
                  </a:lnTo>
                  <a:lnTo>
                    <a:pt x="88652" y="22632"/>
                  </a:lnTo>
                  <a:lnTo>
                    <a:pt x="88275" y="22632"/>
                  </a:lnTo>
                  <a:lnTo>
                    <a:pt x="88025" y="22632"/>
                  </a:lnTo>
                  <a:lnTo>
                    <a:pt x="88025" y="22632"/>
                  </a:lnTo>
                  <a:lnTo>
                    <a:pt x="88025" y="22632"/>
                  </a:lnTo>
                  <a:lnTo>
                    <a:pt x="87774" y="22632"/>
                  </a:lnTo>
                  <a:lnTo>
                    <a:pt x="87774" y="22632"/>
                  </a:lnTo>
                  <a:lnTo>
                    <a:pt x="87147" y="22632"/>
                  </a:lnTo>
                  <a:lnTo>
                    <a:pt x="87147" y="22632"/>
                  </a:lnTo>
                  <a:lnTo>
                    <a:pt x="86896" y="22632"/>
                  </a:lnTo>
                  <a:lnTo>
                    <a:pt x="86520" y="22632"/>
                  </a:lnTo>
                  <a:lnTo>
                    <a:pt x="86269" y="22957"/>
                  </a:lnTo>
                  <a:lnTo>
                    <a:pt x="86269" y="23446"/>
                  </a:lnTo>
                  <a:lnTo>
                    <a:pt x="86018" y="23446"/>
                  </a:lnTo>
                  <a:lnTo>
                    <a:pt x="86018" y="23446"/>
                  </a:lnTo>
                  <a:lnTo>
                    <a:pt x="85642" y="22957"/>
                  </a:lnTo>
                  <a:lnTo>
                    <a:pt x="85642" y="22957"/>
                  </a:lnTo>
                  <a:lnTo>
                    <a:pt x="85391" y="22957"/>
                  </a:lnTo>
                  <a:lnTo>
                    <a:pt x="85391" y="22957"/>
                  </a:lnTo>
                  <a:lnTo>
                    <a:pt x="85391" y="23446"/>
                  </a:lnTo>
                  <a:lnTo>
                    <a:pt x="85391" y="23446"/>
                  </a:lnTo>
                  <a:lnTo>
                    <a:pt x="85391" y="23772"/>
                  </a:lnTo>
                  <a:lnTo>
                    <a:pt x="85391" y="23772"/>
                  </a:lnTo>
                  <a:lnTo>
                    <a:pt x="85391" y="23772"/>
                  </a:lnTo>
                  <a:lnTo>
                    <a:pt x="85015" y="23772"/>
                  </a:lnTo>
                  <a:lnTo>
                    <a:pt x="84764" y="23772"/>
                  </a:lnTo>
                  <a:lnTo>
                    <a:pt x="84514" y="23772"/>
                  </a:lnTo>
                  <a:lnTo>
                    <a:pt x="84137" y="23772"/>
                  </a:lnTo>
                  <a:lnTo>
                    <a:pt x="84137" y="23772"/>
                  </a:lnTo>
                  <a:lnTo>
                    <a:pt x="84137" y="23772"/>
                  </a:lnTo>
                  <a:lnTo>
                    <a:pt x="83887" y="24260"/>
                  </a:lnTo>
                  <a:lnTo>
                    <a:pt x="83887" y="24260"/>
                  </a:lnTo>
                  <a:lnTo>
                    <a:pt x="83887" y="24586"/>
                  </a:lnTo>
                  <a:lnTo>
                    <a:pt x="83887" y="24586"/>
                  </a:lnTo>
                  <a:lnTo>
                    <a:pt x="83887" y="25400"/>
                  </a:lnTo>
                  <a:lnTo>
                    <a:pt x="83887" y="25400"/>
                  </a:lnTo>
                  <a:lnTo>
                    <a:pt x="83887" y="25725"/>
                  </a:lnTo>
                  <a:lnTo>
                    <a:pt x="83887" y="25725"/>
                  </a:lnTo>
                  <a:lnTo>
                    <a:pt x="83887" y="25725"/>
                  </a:lnTo>
                  <a:lnTo>
                    <a:pt x="83887" y="26051"/>
                  </a:lnTo>
                  <a:lnTo>
                    <a:pt x="83636" y="26051"/>
                  </a:lnTo>
                  <a:lnTo>
                    <a:pt x="83636" y="26051"/>
                  </a:lnTo>
                  <a:lnTo>
                    <a:pt x="83260" y="26540"/>
                  </a:lnTo>
                  <a:lnTo>
                    <a:pt x="83260" y="26865"/>
                  </a:lnTo>
                  <a:lnTo>
                    <a:pt x="83009" y="26865"/>
                  </a:lnTo>
                  <a:lnTo>
                    <a:pt x="82758" y="26865"/>
                  </a:lnTo>
                  <a:lnTo>
                    <a:pt x="82382" y="26865"/>
                  </a:lnTo>
                  <a:lnTo>
                    <a:pt x="82131" y="27191"/>
                  </a:lnTo>
                  <a:lnTo>
                    <a:pt x="81880" y="27191"/>
                  </a:lnTo>
                  <a:lnTo>
                    <a:pt x="81253" y="26865"/>
                  </a:lnTo>
                  <a:lnTo>
                    <a:pt x="81253" y="26865"/>
                  </a:lnTo>
                  <a:lnTo>
                    <a:pt x="80877" y="27191"/>
                  </a:lnTo>
                  <a:lnTo>
                    <a:pt x="80877" y="27191"/>
                  </a:lnTo>
                  <a:lnTo>
                    <a:pt x="80877" y="27191"/>
                  </a:lnTo>
                  <a:lnTo>
                    <a:pt x="80877" y="27679"/>
                  </a:lnTo>
                  <a:lnTo>
                    <a:pt x="80877" y="27679"/>
                  </a:lnTo>
                  <a:lnTo>
                    <a:pt x="80626" y="28005"/>
                  </a:lnTo>
                  <a:lnTo>
                    <a:pt x="80626" y="28005"/>
                  </a:lnTo>
                  <a:lnTo>
                    <a:pt x="80626" y="28819"/>
                  </a:lnTo>
                  <a:lnTo>
                    <a:pt x="80376" y="28819"/>
                  </a:lnTo>
                  <a:lnTo>
                    <a:pt x="80376" y="28819"/>
                  </a:lnTo>
                  <a:lnTo>
                    <a:pt x="80376" y="29145"/>
                  </a:lnTo>
                  <a:lnTo>
                    <a:pt x="80000" y="29145"/>
                  </a:lnTo>
                  <a:lnTo>
                    <a:pt x="80000" y="29633"/>
                  </a:lnTo>
                  <a:lnTo>
                    <a:pt x="79749" y="29633"/>
                  </a:lnTo>
                  <a:lnTo>
                    <a:pt x="79498" y="29633"/>
                  </a:lnTo>
                  <a:lnTo>
                    <a:pt x="79498" y="29633"/>
                  </a:lnTo>
                  <a:lnTo>
                    <a:pt x="79122" y="29145"/>
                  </a:lnTo>
                  <a:lnTo>
                    <a:pt x="78871" y="29145"/>
                  </a:lnTo>
                  <a:lnTo>
                    <a:pt x="78620" y="29145"/>
                  </a:lnTo>
                  <a:lnTo>
                    <a:pt x="77742" y="29145"/>
                  </a:lnTo>
                  <a:lnTo>
                    <a:pt x="77366" y="28819"/>
                  </a:lnTo>
                  <a:lnTo>
                    <a:pt x="77115" y="28493"/>
                  </a:lnTo>
                  <a:lnTo>
                    <a:pt x="76739" y="28005"/>
                  </a:lnTo>
                  <a:lnTo>
                    <a:pt x="76739" y="28005"/>
                  </a:lnTo>
                  <a:lnTo>
                    <a:pt x="76238" y="28005"/>
                  </a:lnTo>
                  <a:lnTo>
                    <a:pt x="76238" y="28005"/>
                  </a:lnTo>
                  <a:lnTo>
                    <a:pt x="75862" y="28005"/>
                  </a:lnTo>
                  <a:lnTo>
                    <a:pt x="75611" y="28819"/>
                  </a:lnTo>
                  <a:lnTo>
                    <a:pt x="75611" y="28819"/>
                  </a:lnTo>
                  <a:lnTo>
                    <a:pt x="75611" y="29145"/>
                  </a:lnTo>
                  <a:lnTo>
                    <a:pt x="75611" y="29633"/>
                  </a:lnTo>
                  <a:lnTo>
                    <a:pt x="75611" y="29959"/>
                  </a:lnTo>
                  <a:lnTo>
                    <a:pt x="75611" y="30284"/>
                  </a:lnTo>
                  <a:lnTo>
                    <a:pt x="75611" y="30773"/>
                  </a:lnTo>
                  <a:lnTo>
                    <a:pt x="75611" y="30773"/>
                  </a:lnTo>
                  <a:lnTo>
                    <a:pt x="75862" y="30773"/>
                  </a:lnTo>
                  <a:lnTo>
                    <a:pt x="75862" y="31099"/>
                  </a:lnTo>
                  <a:lnTo>
                    <a:pt x="76238" y="31424"/>
                  </a:lnTo>
                  <a:lnTo>
                    <a:pt x="76489" y="31424"/>
                  </a:lnTo>
                  <a:lnTo>
                    <a:pt x="76739" y="31913"/>
                  </a:lnTo>
                  <a:lnTo>
                    <a:pt x="77115" y="32238"/>
                  </a:lnTo>
                  <a:lnTo>
                    <a:pt x="77366" y="32238"/>
                  </a:lnTo>
                  <a:lnTo>
                    <a:pt x="77366" y="32727"/>
                  </a:lnTo>
                  <a:lnTo>
                    <a:pt x="77742" y="32727"/>
                  </a:lnTo>
                  <a:lnTo>
                    <a:pt x="77742" y="33052"/>
                  </a:lnTo>
                  <a:lnTo>
                    <a:pt x="77742" y="33052"/>
                  </a:lnTo>
                  <a:lnTo>
                    <a:pt x="77366" y="33052"/>
                  </a:lnTo>
                  <a:lnTo>
                    <a:pt x="77366" y="33378"/>
                  </a:lnTo>
                  <a:lnTo>
                    <a:pt x="77115" y="33378"/>
                  </a:lnTo>
                  <a:lnTo>
                    <a:pt x="77115" y="33867"/>
                  </a:lnTo>
                  <a:lnTo>
                    <a:pt x="77115" y="33867"/>
                  </a:lnTo>
                  <a:lnTo>
                    <a:pt x="76739" y="33867"/>
                  </a:lnTo>
                  <a:lnTo>
                    <a:pt x="76489" y="34192"/>
                  </a:lnTo>
                  <a:lnTo>
                    <a:pt x="76238" y="34192"/>
                  </a:lnTo>
                  <a:lnTo>
                    <a:pt x="76238" y="34192"/>
                  </a:lnTo>
                  <a:lnTo>
                    <a:pt x="75862" y="34518"/>
                  </a:lnTo>
                  <a:lnTo>
                    <a:pt x="75862" y="34518"/>
                  </a:lnTo>
                  <a:lnTo>
                    <a:pt x="75862" y="35006"/>
                  </a:lnTo>
                  <a:lnTo>
                    <a:pt x="75862" y="35006"/>
                  </a:lnTo>
                  <a:lnTo>
                    <a:pt x="75611" y="35332"/>
                  </a:lnTo>
                  <a:lnTo>
                    <a:pt x="75611" y="35658"/>
                  </a:lnTo>
                  <a:lnTo>
                    <a:pt x="75611" y="35658"/>
                  </a:lnTo>
                  <a:lnTo>
                    <a:pt x="75611" y="35658"/>
                  </a:lnTo>
                  <a:lnTo>
                    <a:pt x="75611" y="36146"/>
                  </a:lnTo>
                  <a:lnTo>
                    <a:pt x="75360" y="36146"/>
                  </a:lnTo>
                  <a:lnTo>
                    <a:pt x="74984" y="36146"/>
                  </a:lnTo>
                  <a:lnTo>
                    <a:pt x="74984" y="36472"/>
                  </a:lnTo>
                  <a:lnTo>
                    <a:pt x="74482" y="36472"/>
                  </a:lnTo>
                  <a:lnTo>
                    <a:pt x="74482" y="36960"/>
                  </a:lnTo>
                  <a:lnTo>
                    <a:pt x="74106" y="36960"/>
                  </a:lnTo>
                  <a:lnTo>
                    <a:pt x="73855" y="37286"/>
                  </a:lnTo>
                  <a:lnTo>
                    <a:pt x="73605" y="37286"/>
                  </a:lnTo>
                  <a:lnTo>
                    <a:pt x="73228" y="37286"/>
                  </a:lnTo>
                  <a:lnTo>
                    <a:pt x="72601" y="37286"/>
                  </a:lnTo>
                  <a:lnTo>
                    <a:pt x="72351" y="37286"/>
                  </a:lnTo>
                  <a:lnTo>
                    <a:pt x="72100" y="37286"/>
                  </a:lnTo>
                  <a:lnTo>
                    <a:pt x="71473" y="37286"/>
                  </a:lnTo>
                  <a:lnTo>
                    <a:pt x="71222" y="37286"/>
                  </a:lnTo>
                  <a:lnTo>
                    <a:pt x="70846" y="37286"/>
                  </a:lnTo>
                  <a:lnTo>
                    <a:pt x="70595" y="37286"/>
                  </a:lnTo>
                  <a:lnTo>
                    <a:pt x="70344" y="37286"/>
                  </a:lnTo>
                  <a:lnTo>
                    <a:pt x="69467" y="37611"/>
                  </a:lnTo>
                  <a:lnTo>
                    <a:pt x="69090" y="37611"/>
                  </a:lnTo>
                  <a:lnTo>
                    <a:pt x="68463" y="37611"/>
                  </a:lnTo>
                  <a:lnTo>
                    <a:pt x="68463" y="37611"/>
                  </a:lnTo>
                  <a:lnTo>
                    <a:pt x="68213" y="37611"/>
                  </a:lnTo>
                  <a:lnTo>
                    <a:pt x="67962" y="38100"/>
                  </a:lnTo>
                  <a:lnTo>
                    <a:pt x="67962" y="38100"/>
                  </a:lnTo>
                  <a:lnTo>
                    <a:pt x="67586" y="38100"/>
                  </a:lnTo>
                  <a:lnTo>
                    <a:pt x="66708" y="38751"/>
                  </a:lnTo>
                  <a:lnTo>
                    <a:pt x="66206" y="39240"/>
                  </a:lnTo>
                  <a:lnTo>
                    <a:pt x="66206" y="39240"/>
                  </a:lnTo>
                  <a:lnTo>
                    <a:pt x="65830" y="39565"/>
                  </a:lnTo>
                  <a:lnTo>
                    <a:pt x="65579" y="39565"/>
                  </a:lnTo>
                  <a:lnTo>
                    <a:pt x="65579" y="39565"/>
                  </a:lnTo>
                  <a:lnTo>
                    <a:pt x="65579" y="39891"/>
                  </a:lnTo>
                  <a:lnTo>
                    <a:pt x="65329" y="39891"/>
                  </a:lnTo>
                  <a:lnTo>
                    <a:pt x="64952" y="39891"/>
                  </a:lnTo>
                  <a:lnTo>
                    <a:pt x="64952" y="39891"/>
                  </a:lnTo>
                  <a:lnTo>
                    <a:pt x="64326" y="39565"/>
                  </a:lnTo>
                  <a:lnTo>
                    <a:pt x="64075" y="39240"/>
                  </a:lnTo>
                  <a:lnTo>
                    <a:pt x="63448" y="39240"/>
                  </a:lnTo>
                  <a:lnTo>
                    <a:pt x="62946" y="39240"/>
                  </a:lnTo>
                  <a:lnTo>
                    <a:pt x="62570" y="39565"/>
                  </a:lnTo>
                  <a:lnTo>
                    <a:pt x="61692" y="39240"/>
                  </a:lnTo>
                  <a:lnTo>
                    <a:pt x="61442" y="38751"/>
                  </a:lnTo>
                  <a:lnTo>
                    <a:pt x="60815" y="38426"/>
                  </a:lnTo>
                  <a:lnTo>
                    <a:pt x="60188" y="38426"/>
                  </a:lnTo>
                  <a:lnTo>
                    <a:pt x="59686" y="38426"/>
                  </a:lnTo>
                  <a:lnTo>
                    <a:pt x="58808" y="38100"/>
                  </a:lnTo>
                  <a:lnTo>
                    <a:pt x="58181" y="38100"/>
                  </a:lnTo>
                  <a:lnTo>
                    <a:pt x="57931" y="37611"/>
                  </a:lnTo>
                  <a:lnTo>
                    <a:pt x="57554" y="36960"/>
                  </a:lnTo>
                  <a:lnTo>
                    <a:pt x="57304" y="36960"/>
                  </a:lnTo>
                  <a:lnTo>
                    <a:pt x="57053" y="36960"/>
                  </a:lnTo>
                  <a:lnTo>
                    <a:pt x="57053" y="36960"/>
                  </a:lnTo>
                  <a:lnTo>
                    <a:pt x="56426" y="36960"/>
                  </a:lnTo>
                  <a:lnTo>
                    <a:pt x="56050" y="36960"/>
                  </a:lnTo>
                  <a:lnTo>
                    <a:pt x="55172" y="36472"/>
                  </a:lnTo>
                  <a:lnTo>
                    <a:pt x="54670" y="36472"/>
                  </a:lnTo>
                  <a:lnTo>
                    <a:pt x="53793" y="36472"/>
                  </a:lnTo>
                  <a:lnTo>
                    <a:pt x="53416" y="36472"/>
                  </a:lnTo>
                  <a:lnTo>
                    <a:pt x="53166" y="36472"/>
                  </a:lnTo>
                  <a:lnTo>
                    <a:pt x="52539" y="36960"/>
                  </a:lnTo>
                  <a:lnTo>
                    <a:pt x="51410" y="36472"/>
                  </a:lnTo>
                  <a:lnTo>
                    <a:pt x="50783" y="36472"/>
                  </a:lnTo>
                  <a:lnTo>
                    <a:pt x="49905" y="36472"/>
                  </a:lnTo>
                  <a:lnTo>
                    <a:pt x="48777" y="36146"/>
                  </a:lnTo>
                  <a:lnTo>
                    <a:pt x="47523" y="36146"/>
                  </a:lnTo>
                  <a:lnTo>
                    <a:pt x="46896" y="36146"/>
                  </a:lnTo>
                  <a:lnTo>
                    <a:pt x="46394" y="36146"/>
                  </a:lnTo>
                  <a:lnTo>
                    <a:pt x="45768" y="36146"/>
                  </a:lnTo>
                  <a:lnTo>
                    <a:pt x="45768" y="36146"/>
                  </a:lnTo>
                  <a:lnTo>
                    <a:pt x="45768" y="35658"/>
                  </a:lnTo>
                  <a:lnTo>
                    <a:pt x="45517" y="35658"/>
                  </a:lnTo>
                  <a:lnTo>
                    <a:pt x="45141" y="35332"/>
                  </a:lnTo>
                  <a:lnTo>
                    <a:pt x="44890" y="35006"/>
                  </a:lnTo>
                  <a:lnTo>
                    <a:pt x="44263" y="34518"/>
                  </a:lnTo>
                  <a:lnTo>
                    <a:pt x="44263" y="34518"/>
                  </a:lnTo>
                  <a:lnTo>
                    <a:pt x="44012" y="34192"/>
                  </a:lnTo>
                  <a:lnTo>
                    <a:pt x="43385" y="33052"/>
                  </a:lnTo>
                  <a:lnTo>
                    <a:pt x="43134" y="32727"/>
                  </a:lnTo>
                  <a:lnTo>
                    <a:pt x="43134" y="32238"/>
                  </a:lnTo>
                  <a:lnTo>
                    <a:pt x="42758" y="32238"/>
                  </a:lnTo>
                  <a:lnTo>
                    <a:pt x="42758" y="31913"/>
                  </a:lnTo>
                  <a:lnTo>
                    <a:pt x="42507" y="31913"/>
                  </a:lnTo>
                  <a:lnTo>
                    <a:pt x="42257" y="31913"/>
                  </a:lnTo>
                  <a:lnTo>
                    <a:pt x="42257" y="31424"/>
                  </a:lnTo>
                  <a:lnTo>
                    <a:pt x="42257" y="31424"/>
                  </a:lnTo>
                  <a:lnTo>
                    <a:pt x="42257" y="31099"/>
                  </a:lnTo>
                  <a:lnTo>
                    <a:pt x="42257" y="31099"/>
                  </a:lnTo>
                  <a:lnTo>
                    <a:pt x="41630" y="31099"/>
                  </a:lnTo>
                  <a:lnTo>
                    <a:pt x="41003" y="31099"/>
                  </a:lnTo>
                  <a:lnTo>
                    <a:pt x="40752" y="30773"/>
                  </a:lnTo>
                  <a:lnTo>
                    <a:pt x="40125" y="30284"/>
                  </a:lnTo>
                  <a:lnTo>
                    <a:pt x="39874" y="30284"/>
                  </a:lnTo>
                  <a:lnTo>
                    <a:pt x="39247" y="29959"/>
                  </a:lnTo>
                  <a:lnTo>
                    <a:pt x="38620" y="29633"/>
                  </a:lnTo>
                  <a:lnTo>
                    <a:pt x="38620" y="29633"/>
                  </a:lnTo>
                  <a:lnTo>
                    <a:pt x="38119" y="29145"/>
                  </a:lnTo>
                  <a:lnTo>
                    <a:pt x="37742" y="28819"/>
                  </a:lnTo>
                  <a:lnTo>
                    <a:pt x="37492" y="28819"/>
                  </a:lnTo>
                  <a:lnTo>
                    <a:pt x="37241" y="28819"/>
                  </a:lnTo>
                  <a:lnTo>
                    <a:pt x="36363" y="28493"/>
                  </a:lnTo>
                  <a:lnTo>
                    <a:pt x="35987" y="28493"/>
                  </a:lnTo>
                  <a:lnTo>
                    <a:pt x="35360" y="28493"/>
                  </a:lnTo>
                  <a:lnTo>
                    <a:pt x="35109" y="28493"/>
                  </a:lnTo>
                  <a:lnTo>
                    <a:pt x="34482" y="28493"/>
                  </a:lnTo>
                  <a:lnTo>
                    <a:pt x="34231" y="28005"/>
                  </a:lnTo>
                  <a:lnTo>
                    <a:pt x="33981" y="28005"/>
                  </a:lnTo>
                  <a:lnTo>
                    <a:pt x="33605" y="28005"/>
                  </a:lnTo>
                  <a:lnTo>
                    <a:pt x="33354" y="28005"/>
                  </a:lnTo>
                  <a:lnTo>
                    <a:pt x="33354" y="28005"/>
                  </a:lnTo>
                  <a:lnTo>
                    <a:pt x="33103" y="28005"/>
                  </a:lnTo>
                  <a:lnTo>
                    <a:pt x="32727" y="28005"/>
                  </a:lnTo>
                  <a:lnTo>
                    <a:pt x="32476" y="28005"/>
                  </a:lnTo>
                  <a:lnTo>
                    <a:pt x="32476" y="27679"/>
                  </a:lnTo>
                  <a:lnTo>
                    <a:pt x="32225" y="27679"/>
                  </a:lnTo>
                  <a:lnTo>
                    <a:pt x="31849" y="27679"/>
                  </a:lnTo>
                  <a:lnTo>
                    <a:pt x="31849" y="27679"/>
                  </a:lnTo>
                  <a:lnTo>
                    <a:pt x="31849" y="27679"/>
                  </a:lnTo>
                  <a:lnTo>
                    <a:pt x="31598" y="27679"/>
                  </a:lnTo>
                  <a:lnTo>
                    <a:pt x="31222" y="27191"/>
                  </a:lnTo>
                  <a:lnTo>
                    <a:pt x="31222" y="26865"/>
                  </a:lnTo>
                  <a:lnTo>
                    <a:pt x="31222" y="26865"/>
                  </a:lnTo>
                  <a:lnTo>
                    <a:pt x="30971" y="26540"/>
                  </a:lnTo>
                  <a:lnTo>
                    <a:pt x="30971" y="26540"/>
                  </a:lnTo>
                  <a:lnTo>
                    <a:pt x="30971" y="26051"/>
                  </a:lnTo>
                  <a:lnTo>
                    <a:pt x="30971" y="25400"/>
                  </a:lnTo>
                  <a:lnTo>
                    <a:pt x="30971" y="25400"/>
                  </a:lnTo>
                  <a:lnTo>
                    <a:pt x="30971" y="25400"/>
                  </a:lnTo>
                  <a:lnTo>
                    <a:pt x="31222" y="24911"/>
                  </a:lnTo>
                  <a:lnTo>
                    <a:pt x="31222" y="24911"/>
                  </a:lnTo>
                  <a:lnTo>
                    <a:pt x="31222" y="24586"/>
                  </a:lnTo>
                  <a:lnTo>
                    <a:pt x="30971" y="24586"/>
                  </a:lnTo>
                  <a:lnTo>
                    <a:pt x="30721" y="24260"/>
                  </a:lnTo>
                  <a:lnTo>
                    <a:pt x="30721" y="23772"/>
                  </a:lnTo>
                  <a:lnTo>
                    <a:pt x="30721" y="23772"/>
                  </a:lnTo>
                  <a:lnTo>
                    <a:pt x="30721" y="23446"/>
                  </a:lnTo>
                  <a:lnTo>
                    <a:pt x="30721" y="22957"/>
                  </a:lnTo>
                  <a:lnTo>
                    <a:pt x="30721" y="22957"/>
                  </a:lnTo>
                  <a:lnTo>
                    <a:pt x="30721" y="22632"/>
                  </a:lnTo>
                  <a:lnTo>
                    <a:pt x="30344" y="22632"/>
                  </a:lnTo>
                  <a:lnTo>
                    <a:pt x="30094" y="22306"/>
                  </a:lnTo>
                  <a:lnTo>
                    <a:pt x="30094" y="21818"/>
                  </a:lnTo>
                  <a:lnTo>
                    <a:pt x="29843" y="21818"/>
                  </a:lnTo>
                  <a:lnTo>
                    <a:pt x="29467" y="21492"/>
                  </a:lnTo>
                  <a:lnTo>
                    <a:pt x="29467" y="21492"/>
                  </a:lnTo>
                  <a:lnTo>
                    <a:pt x="29216" y="21166"/>
                  </a:lnTo>
                  <a:lnTo>
                    <a:pt x="28965" y="20678"/>
                  </a:lnTo>
                  <a:lnTo>
                    <a:pt x="28965" y="20678"/>
                  </a:lnTo>
                  <a:lnTo>
                    <a:pt x="28589" y="20352"/>
                  </a:lnTo>
                  <a:lnTo>
                    <a:pt x="28589" y="20027"/>
                  </a:lnTo>
                  <a:lnTo>
                    <a:pt x="28338" y="20027"/>
                  </a:lnTo>
                  <a:lnTo>
                    <a:pt x="28338" y="19538"/>
                  </a:lnTo>
                  <a:lnTo>
                    <a:pt x="28087" y="19538"/>
                  </a:lnTo>
                  <a:lnTo>
                    <a:pt x="28087" y="19538"/>
                  </a:lnTo>
                  <a:lnTo>
                    <a:pt x="27711" y="19213"/>
                  </a:lnTo>
                  <a:lnTo>
                    <a:pt x="27711" y="19213"/>
                  </a:lnTo>
                  <a:lnTo>
                    <a:pt x="27460" y="18724"/>
                  </a:lnTo>
                  <a:lnTo>
                    <a:pt x="27460" y="18724"/>
                  </a:lnTo>
                  <a:lnTo>
                    <a:pt x="27460" y="18724"/>
                  </a:lnTo>
                  <a:lnTo>
                    <a:pt x="27084" y="18724"/>
                  </a:lnTo>
                  <a:lnTo>
                    <a:pt x="27084" y="18724"/>
                  </a:lnTo>
                  <a:lnTo>
                    <a:pt x="26833" y="18724"/>
                  </a:lnTo>
                  <a:lnTo>
                    <a:pt x="26833" y="18724"/>
                  </a:lnTo>
                  <a:lnTo>
                    <a:pt x="26833" y="18724"/>
                  </a:lnTo>
                  <a:lnTo>
                    <a:pt x="26583" y="18724"/>
                  </a:lnTo>
                  <a:lnTo>
                    <a:pt x="26583" y="18724"/>
                  </a:lnTo>
                  <a:lnTo>
                    <a:pt x="26206" y="18398"/>
                  </a:lnTo>
                  <a:lnTo>
                    <a:pt x="25956" y="18398"/>
                  </a:lnTo>
                  <a:lnTo>
                    <a:pt x="25705" y="18398"/>
                  </a:lnTo>
                  <a:lnTo>
                    <a:pt x="25329" y="18398"/>
                  </a:lnTo>
                  <a:lnTo>
                    <a:pt x="25329" y="18398"/>
                  </a:lnTo>
                  <a:lnTo>
                    <a:pt x="25078" y="18398"/>
                  </a:lnTo>
                  <a:lnTo>
                    <a:pt x="25078" y="18073"/>
                  </a:lnTo>
                  <a:lnTo>
                    <a:pt x="24827" y="18073"/>
                  </a:lnTo>
                  <a:lnTo>
                    <a:pt x="24827" y="18073"/>
                  </a:lnTo>
                  <a:lnTo>
                    <a:pt x="24200" y="17584"/>
                  </a:lnTo>
                  <a:lnTo>
                    <a:pt x="23949" y="17584"/>
                  </a:lnTo>
                  <a:lnTo>
                    <a:pt x="23949" y="17259"/>
                  </a:lnTo>
                  <a:lnTo>
                    <a:pt x="23573" y="16933"/>
                  </a:lnTo>
                  <a:lnTo>
                    <a:pt x="23573" y="16933"/>
                  </a:lnTo>
                  <a:lnTo>
                    <a:pt x="23322" y="16933"/>
                  </a:lnTo>
                  <a:lnTo>
                    <a:pt x="22695" y="16445"/>
                  </a:lnTo>
                  <a:lnTo>
                    <a:pt x="22695" y="16445"/>
                  </a:lnTo>
                  <a:lnTo>
                    <a:pt x="22445" y="16445"/>
                  </a:lnTo>
                  <a:lnTo>
                    <a:pt x="22445" y="16445"/>
                  </a:lnTo>
                  <a:lnTo>
                    <a:pt x="22445" y="16119"/>
                  </a:lnTo>
                  <a:lnTo>
                    <a:pt x="22445" y="16119"/>
                  </a:lnTo>
                  <a:lnTo>
                    <a:pt x="22445" y="16119"/>
                  </a:lnTo>
                  <a:lnTo>
                    <a:pt x="22445" y="16119"/>
                  </a:lnTo>
                  <a:lnTo>
                    <a:pt x="22445" y="15630"/>
                  </a:lnTo>
                  <a:lnTo>
                    <a:pt x="22068" y="15630"/>
                  </a:lnTo>
                  <a:lnTo>
                    <a:pt x="21818" y="15630"/>
                  </a:lnTo>
                  <a:lnTo>
                    <a:pt x="21818" y="15305"/>
                  </a:lnTo>
                  <a:lnTo>
                    <a:pt x="21567" y="15305"/>
                  </a:lnTo>
                  <a:lnTo>
                    <a:pt x="21567" y="15305"/>
                  </a:lnTo>
                  <a:lnTo>
                    <a:pt x="21567" y="15305"/>
                  </a:lnTo>
                  <a:lnTo>
                    <a:pt x="21818" y="14979"/>
                  </a:lnTo>
                  <a:lnTo>
                    <a:pt x="21818" y="14979"/>
                  </a:lnTo>
                  <a:lnTo>
                    <a:pt x="21567" y="14979"/>
                  </a:lnTo>
                  <a:lnTo>
                    <a:pt x="21567" y="14491"/>
                  </a:lnTo>
                  <a:lnTo>
                    <a:pt x="21567" y="14491"/>
                  </a:lnTo>
                  <a:lnTo>
                    <a:pt x="21567" y="14491"/>
                  </a:lnTo>
                  <a:lnTo>
                    <a:pt x="21191" y="14491"/>
                  </a:lnTo>
                  <a:lnTo>
                    <a:pt x="21191" y="14491"/>
                  </a:lnTo>
                  <a:lnTo>
                    <a:pt x="20940" y="14491"/>
                  </a:lnTo>
                  <a:lnTo>
                    <a:pt x="20940" y="14491"/>
                  </a:lnTo>
                  <a:lnTo>
                    <a:pt x="20940" y="14491"/>
                  </a:lnTo>
                  <a:lnTo>
                    <a:pt x="20689" y="14491"/>
                  </a:lnTo>
                  <a:lnTo>
                    <a:pt x="20689" y="14491"/>
                  </a:lnTo>
                  <a:lnTo>
                    <a:pt x="20313" y="14491"/>
                  </a:lnTo>
                  <a:lnTo>
                    <a:pt x="20062" y="14491"/>
                  </a:lnTo>
                  <a:lnTo>
                    <a:pt x="19811" y="14491"/>
                  </a:lnTo>
                  <a:lnTo>
                    <a:pt x="19811" y="14491"/>
                  </a:lnTo>
                  <a:lnTo>
                    <a:pt x="19435" y="14979"/>
                  </a:lnTo>
                  <a:lnTo>
                    <a:pt x="19435" y="14979"/>
                  </a:lnTo>
                  <a:lnTo>
                    <a:pt x="19435" y="15305"/>
                  </a:lnTo>
                  <a:lnTo>
                    <a:pt x="19435" y="15305"/>
                  </a:lnTo>
                  <a:lnTo>
                    <a:pt x="19811" y="16119"/>
                  </a:lnTo>
                  <a:lnTo>
                    <a:pt x="19811" y="16119"/>
                  </a:lnTo>
                  <a:lnTo>
                    <a:pt x="19435" y="16445"/>
                  </a:lnTo>
                  <a:lnTo>
                    <a:pt x="19435" y="16445"/>
                  </a:lnTo>
                  <a:lnTo>
                    <a:pt x="19184" y="16933"/>
                  </a:lnTo>
                  <a:lnTo>
                    <a:pt x="18934" y="16933"/>
                  </a:lnTo>
                  <a:lnTo>
                    <a:pt x="18557" y="16933"/>
                  </a:lnTo>
                  <a:lnTo>
                    <a:pt x="18307" y="16933"/>
                  </a:lnTo>
                  <a:lnTo>
                    <a:pt x="17931" y="16933"/>
                  </a:lnTo>
                  <a:lnTo>
                    <a:pt x="17931" y="17259"/>
                  </a:lnTo>
                  <a:lnTo>
                    <a:pt x="17931" y="17584"/>
                  </a:lnTo>
                  <a:lnTo>
                    <a:pt x="17931" y="17584"/>
                  </a:lnTo>
                  <a:lnTo>
                    <a:pt x="17931" y="18073"/>
                  </a:lnTo>
                  <a:lnTo>
                    <a:pt x="17931" y="18398"/>
                  </a:lnTo>
                  <a:lnTo>
                    <a:pt x="18307" y="19213"/>
                  </a:lnTo>
                  <a:lnTo>
                    <a:pt x="18557" y="20027"/>
                  </a:lnTo>
                  <a:lnTo>
                    <a:pt x="18557" y="20027"/>
                  </a:lnTo>
                  <a:lnTo>
                    <a:pt x="18934" y="20352"/>
                  </a:lnTo>
                  <a:lnTo>
                    <a:pt x="18934" y="20678"/>
                  </a:lnTo>
                  <a:lnTo>
                    <a:pt x="18934" y="20678"/>
                  </a:lnTo>
                  <a:lnTo>
                    <a:pt x="18934" y="21166"/>
                  </a:lnTo>
                  <a:lnTo>
                    <a:pt x="18934" y="21492"/>
                  </a:lnTo>
                  <a:lnTo>
                    <a:pt x="18934" y="21492"/>
                  </a:lnTo>
                  <a:lnTo>
                    <a:pt x="18557" y="21492"/>
                  </a:lnTo>
                  <a:lnTo>
                    <a:pt x="18307" y="21492"/>
                  </a:lnTo>
                  <a:lnTo>
                    <a:pt x="17931" y="21818"/>
                  </a:lnTo>
                  <a:lnTo>
                    <a:pt x="17931" y="21818"/>
                  </a:lnTo>
                  <a:lnTo>
                    <a:pt x="17680" y="22306"/>
                  </a:lnTo>
                  <a:lnTo>
                    <a:pt x="17680" y="22306"/>
                  </a:lnTo>
                  <a:lnTo>
                    <a:pt x="17429" y="22306"/>
                  </a:lnTo>
                  <a:lnTo>
                    <a:pt x="17429" y="21818"/>
                  </a:lnTo>
                  <a:lnTo>
                    <a:pt x="17053" y="21818"/>
                  </a:lnTo>
                  <a:lnTo>
                    <a:pt x="17053" y="21818"/>
                  </a:lnTo>
                  <a:lnTo>
                    <a:pt x="16802" y="21818"/>
                  </a:lnTo>
                  <a:lnTo>
                    <a:pt x="16551" y="21818"/>
                  </a:lnTo>
                  <a:lnTo>
                    <a:pt x="16175" y="21818"/>
                  </a:lnTo>
                  <a:lnTo>
                    <a:pt x="15924" y="21818"/>
                  </a:lnTo>
                  <a:lnTo>
                    <a:pt x="15924" y="21818"/>
                  </a:lnTo>
                  <a:lnTo>
                    <a:pt x="15297" y="21818"/>
                  </a:lnTo>
                  <a:lnTo>
                    <a:pt x="15047" y="21492"/>
                  </a:lnTo>
                  <a:lnTo>
                    <a:pt x="15047" y="21492"/>
                  </a:lnTo>
                  <a:lnTo>
                    <a:pt x="14420" y="21492"/>
                  </a:lnTo>
                  <a:lnTo>
                    <a:pt x="13793" y="21166"/>
                  </a:lnTo>
                  <a:lnTo>
                    <a:pt x="13793" y="21166"/>
                  </a:lnTo>
                  <a:lnTo>
                    <a:pt x="13542" y="21166"/>
                  </a:lnTo>
                  <a:lnTo>
                    <a:pt x="13542" y="21166"/>
                  </a:lnTo>
                  <a:lnTo>
                    <a:pt x="13542" y="21492"/>
                  </a:lnTo>
                  <a:lnTo>
                    <a:pt x="13793" y="21818"/>
                  </a:lnTo>
                  <a:lnTo>
                    <a:pt x="13542" y="22957"/>
                  </a:lnTo>
                  <a:lnTo>
                    <a:pt x="13542" y="23772"/>
                  </a:lnTo>
                  <a:lnTo>
                    <a:pt x="13542" y="24586"/>
                  </a:lnTo>
                  <a:lnTo>
                    <a:pt x="13542" y="24911"/>
                  </a:lnTo>
                  <a:lnTo>
                    <a:pt x="13542" y="25725"/>
                  </a:lnTo>
                  <a:lnTo>
                    <a:pt x="13542" y="26051"/>
                  </a:lnTo>
                  <a:lnTo>
                    <a:pt x="13542" y="26540"/>
                  </a:lnTo>
                  <a:lnTo>
                    <a:pt x="13542" y="26540"/>
                  </a:lnTo>
                  <a:lnTo>
                    <a:pt x="13542" y="26540"/>
                  </a:lnTo>
                  <a:lnTo>
                    <a:pt x="13793" y="26865"/>
                  </a:lnTo>
                  <a:lnTo>
                    <a:pt x="14169" y="26865"/>
                  </a:lnTo>
                  <a:lnTo>
                    <a:pt x="14420" y="26865"/>
                  </a:lnTo>
                  <a:lnTo>
                    <a:pt x="14420" y="27191"/>
                  </a:lnTo>
                  <a:lnTo>
                    <a:pt x="14420" y="27191"/>
                  </a:lnTo>
                  <a:lnTo>
                    <a:pt x="14420" y="27679"/>
                  </a:lnTo>
                  <a:lnTo>
                    <a:pt x="14420" y="28005"/>
                  </a:lnTo>
                  <a:lnTo>
                    <a:pt x="14420" y="28005"/>
                  </a:lnTo>
                  <a:lnTo>
                    <a:pt x="14420" y="28005"/>
                  </a:lnTo>
                  <a:lnTo>
                    <a:pt x="14169" y="27679"/>
                  </a:lnTo>
                  <a:lnTo>
                    <a:pt x="13793" y="27679"/>
                  </a:lnTo>
                  <a:lnTo>
                    <a:pt x="13793" y="27679"/>
                  </a:lnTo>
                  <a:lnTo>
                    <a:pt x="13542" y="27679"/>
                  </a:lnTo>
                  <a:lnTo>
                    <a:pt x="13291" y="28005"/>
                  </a:lnTo>
                  <a:lnTo>
                    <a:pt x="13291" y="28005"/>
                  </a:lnTo>
                  <a:lnTo>
                    <a:pt x="12915" y="27679"/>
                  </a:lnTo>
                  <a:lnTo>
                    <a:pt x="12915" y="27679"/>
                  </a:lnTo>
                  <a:lnTo>
                    <a:pt x="12664" y="27191"/>
                  </a:lnTo>
                  <a:lnTo>
                    <a:pt x="12413" y="27191"/>
                  </a:lnTo>
                  <a:lnTo>
                    <a:pt x="12413" y="27191"/>
                  </a:lnTo>
                  <a:lnTo>
                    <a:pt x="11786" y="27679"/>
                  </a:lnTo>
                  <a:lnTo>
                    <a:pt x="11159" y="27679"/>
                  </a:lnTo>
                  <a:lnTo>
                    <a:pt x="10909" y="28005"/>
                  </a:lnTo>
                  <a:lnTo>
                    <a:pt x="10909" y="28005"/>
                  </a:lnTo>
                  <a:lnTo>
                    <a:pt x="10658" y="28005"/>
                  </a:lnTo>
                  <a:lnTo>
                    <a:pt x="10282" y="28005"/>
                  </a:lnTo>
                  <a:lnTo>
                    <a:pt x="10031" y="28005"/>
                  </a:lnTo>
                  <a:lnTo>
                    <a:pt x="9655" y="28493"/>
                  </a:lnTo>
                  <a:lnTo>
                    <a:pt x="9404" y="28493"/>
                  </a:lnTo>
                  <a:lnTo>
                    <a:pt x="9153" y="28819"/>
                  </a:lnTo>
                  <a:lnTo>
                    <a:pt x="9153" y="29145"/>
                  </a:lnTo>
                  <a:lnTo>
                    <a:pt x="9153" y="29145"/>
                  </a:lnTo>
                  <a:lnTo>
                    <a:pt x="9404" y="29145"/>
                  </a:lnTo>
                  <a:lnTo>
                    <a:pt x="9404" y="29145"/>
                  </a:lnTo>
                  <a:lnTo>
                    <a:pt x="9655" y="29145"/>
                  </a:lnTo>
                  <a:lnTo>
                    <a:pt x="10031" y="29145"/>
                  </a:lnTo>
                  <a:lnTo>
                    <a:pt x="10282" y="29633"/>
                  </a:lnTo>
                  <a:lnTo>
                    <a:pt x="10658" y="29633"/>
                  </a:lnTo>
                  <a:lnTo>
                    <a:pt x="10658" y="29633"/>
                  </a:lnTo>
                  <a:lnTo>
                    <a:pt x="10658" y="29633"/>
                  </a:lnTo>
                  <a:lnTo>
                    <a:pt x="10282" y="29633"/>
                  </a:lnTo>
                  <a:lnTo>
                    <a:pt x="10282" y="29959"/>
                  </a:lnTo>
                  <a:lnTo>
                    <a:pt x="10282" y="29959"/>
                  </a:lnTo>
                  <a:lnTo>
                    <a:pt x="10282" y="29959"/>
                  </a:lnTo>
                  <a:lnTo>
                    <a:pt x="10658" y="30284"/>
                  </a:lnTo>
                  <a:lnTo>
                    <a:pt x="10658" y="30773"/>
                  </a:lnTo>
                  <a:lnTo>
                    <a:pt x="10658" y="31099"/>
                  </a:lnTo>
                  <a:lnTo>
                    <a:pt x="10909" y="31424"/>
                  </a:lnTo>
                  <a:lnTo>
                    <a:pt x="10909" y="31424"/>
                  </a:lnTo>
                  <a:lnTo>
                    <a:pt x="10909" y="31913"/>
                  </a:lnTo>
                  <a:lnTo>
                    <a:pt x="11159" y="32238"/>
                  </a:lnTo>
                  <a:lnTo>
                    <a:pt x="11159" y="32238"/>
                  </a:lnTo>
                  <a:lnTo>
                    <a:pt x="11786" y="33052"/>
                  </a:lnTo>
                  <a:lnTo>
                    <a:pt x="11786" y="33378"/>
                  </a:lnTo>
                  <a:lnTo>
                    <a:pt x="12037" y="33867"/>
                  </a:lnTo>
                  <a:lnTo>
                    <a:pt x="12037" y="34192"/>
                  </a:lnTo>
                  <a:lnTo>
                    <a:pt x="12037" y="34192"/>
                  </a:lnTo>
                  <a:lnTo>
                    <a:pt x="12413" y="34518"/>
                  </a:lnTo>
                  <a:lnTo>
                    <a:pt x="12413" y="34518"/>
                  </a:lnTo>
                  <a:lnTo>
                    <a:pt x="12413" y="34518"/>
                  </a:lnTo>
                  <a:lnTo>
                    <a:pt x="12664" y="35006"/>
                  </a:lnTo>
                  <a:lnTo>
                    <a:pt x="12413" y="35006"/>
                  </a:lnTo>
                  <a:lnTo>
                    <a:pt x="12037" y="35006"/>
                  </a:lnTo>
                  <a:lnTo>
                    <a:pt x="12037" y="35006"/>
                  </a:lnTo>
                  <a:lnTo>
                    <a:pt x="11786" y="35332"/>
                  </a:lnTo>
                  <a:lnTo>
                    <a:pt x="11786" y="35332"/>
                  </a:lnTo>
                  <a:lnTo>
                    <a:pt x="11786" y="35332"/>
                  </a:lnTo>
                  <a:lnTo>
                    <a:pt x="11786" y="35332"/>
                  </a:lnTo>
                  <a:lnTo>
                    <a:pt x="12037" y="35332"/>
                  </a:lnTo>
                  <a:lnTo>
                    <a:pt x="12037" y="35658"/>
                  </a:lnTo>
                  <a:lnTo>
                    <a:pt x="12413" y="35658"/>
                  </a:lnTo>
                  <a:lnTo>
                    <a:pt x="12037" y="35658"/>
                  </a:lnTo>
                  <a:lnTo>
                    <a:pt x="11786" y="36146"/>
                  </a:lnTo>
                  <a:lnTo>
                    <a:pt x="11536" y="36146"/>
                  </a:lnTo>
                  <a:lnTo>
                    <a:pt x="11536" y="36472"/>
                  </a:lnTo>
                  <a:lnTo>
                    <a:pt x="11786" y="36472"/>
                  </a:lnTo>
                  <a:lnTo>
                    <a:pt x="11786" y="36960"/>
                  </a:lnTo>
                  <a:lnTo>
                    <a:pt x="11786" y="37286"/>
                  </a:lnTo>
                  <a:lnTo>
                    <a:pt x="12037" y="37611"/>
                  </a:lnTo>
                  <a:lnTo>
                    <a:pt x="12037" y="37611"/>
                  </a:lnTo>
                  <a:lnTo>
                    <a:pt x="12037" y="38100"/>
                  </a:lnTo>
                  <a:lnTo>
                    <a:pt x="12037" y="38100"/>
                  </a:lnTo>
                  <a:lnTo>
                    <a:pt x="12037" y="38100"/>
                  </a:lnTo>
                  <a:lnTo>
                    <a:pt x="12413" y="38426"/>
                  </a:lnTo>
                  <a:lnTo>
                    <a:pt x="12413" y="38426"/>
                  </a:lnTo>
                  <a:lnTo>
                    <a:pt x="12413" y="38426"/>
                  </a:lnTo>
                  <a:lnTo>
                    <a:pt x="11536" y="38426"/>
                  </a:lnTo>
                  <a:lnTo>
                    <a:pt x="11536" y="38751"/>
                  </a:lnTo>
                  <a:lnTo>
                    <a:pt x="11536" y="38751"/>
                  </a:lnTo>
                  <a:lnTo>
                    <a:pt x="10909" y="39240"/>
                  </a:lnTo>
                  <a:lnTo>
                    <a:pt x="10658" y="39240"/>
                  </a:lnTo>
                  <a:lnTo>
                    <a:pt x="10658" y="39240"/>
                  </a:lnTo>
                  <a:lnTo>
                    <a:pt x="10282" y="39565"/>
                  </a:lnTo>
                  <a:lnTo>
                    <a:pt x="9404" y="39891"/>
                  </a:lnTo>
                  <a:lnTo>
                    <a:pt x="9153" y="40379"/>
                  </a:lnTo>
                  <a:lnTo>
                    <a:pt x="8777" y="40705"/>
                  </a:lnTo>
                  <a:lnTo>
                    <a:pt x="8777" y="40705"/>
                  </a:lnTo>
                  <a:lnTo>
                    <a:pt x="8777" y="40705"/>
                  </a:lnTo>
                  <a:lnTo>
                    <a:pt x="8777" y="41194"/>
                  </a:lnTo>
                  <a:lnTo>
                    <a:pt x="8526" y="41845"/>
                  </a:lnTo>
                  <a:lnTo>
                    <a:pt x="8275" y="41845"/>
                  </a:lnTo>
                  <a:lnTo>
                    <a:pt x="7899" y="41845"/>
                  </a:lnTo>
                  <a:lnTo>
                    <a:pt x="7648" y="41845"/>
                  </a:lnTo>
                  <a:lnTo>
                    <a:pt x="7398" y="41845"/>
                  </a:lnTo>
                  <a:lnTo>
                    <a:pt x="6771" y="41845"/>
                  </a:lnTo>
                  <a:lnTo>
                    <a:pt x="6520" y="41845"/>
                  </a:lnTo>
                  <a:lnTo>
                    <a:pt x="6144" y="41845"/>
                  </a:lnTo>
                  <a:lnTo>
                    <a:pt x="5893" y="41845"/>
                  </a:lnTo>
                  <a:lnTo>
                    <a:pt x="5893" y="41845"/>
                  </a:lnTo>
                  <a:lnTo>
                    <a:pt x="5517" y="42659"/>
                  </a:lnTo>
                  <a:lnTo>
                    <a:pt x="5517" y="42659"/>
                  </a:lnTo>
                  <a:lnTo>
                    <a:pt x="5517" y="42659"/>
                  </a:lnTo>
                  <a:lnTo>
                    <a:pt x="5517" y="42985"/>
                  </a:lnTo>
                  <a:lnTo>
                    <a:pt x="5517" y="43473"/>
                  </a:lnTo>
                  <a:lnTo>
                    <a:pt x="5517" y="43799"/>
                  </a:lnTo>
                  <a:lnTo>
                    <a:pt x="5517" y="43799"/>
                  </a:lnTo>
                  <a:lnTo>
                    <a:pt x="5266" y="44124"/>
                  </a:lnTo>
                  <a:lnTo>
                    <a:pt x="5266" y="44124"/>
                  </a:lnTo>
                  <a:lnTo>
                    <a:pt x="5015" y="43799"/>
                  </a:lnTo>
                  <a:lnTo>
                    <a:pt x="5015" y="43799"/>
                  </a:lnTo>
                  <a:lnTo>
                    <a:pt x="5015" y="44124"/>
                  </a:lnTo>
                  <a:lnTo>
                    <a:pt x="4639" y="44124"/>
                  </a:lnTo>
                  <a:lnTo>
                    <a:pt x="4388" y="44124"/>
                  </a:lnTo>
                  <a:lnTo>
                    <a:pt x="4388" y="44124"/>
                  </a:lnTo>
                  <a:lnTo>
                    <a:pt x="3761" y="44124"/>
                  </a:lnTo>
                  <a:lnTo>
                    <a:pt x="3761" y="44124"/>
                  </a:lnTo>
                  <a:lnTo>
                    <a:pt x="3510" y="43473"/>
                  </a:lnTo>
                  <a:lnTo>
                    <a:pt x="3510" y="43473"/>
                  </a:lnTo>
                  <a:lnTo>
                    <a:pt x="3510" y="43473"/>
                  </a:lnTo>
                  <a:lnTo>
                    <a:pt x="3260" y="43473"/>
                  </a:lnTo>
                  <a:lnTo>
                    <a:pt x="2884" y="43799"/>
                  </a:lnTo>
                  <a:lnTo>
                    <a:pt x="2633" y="43799"/>
                  </a:lnTo>
                  <a:lnTo>
                    <a:pt x="2382" y="43799"/>
                  </a:lnTo>
                  <a:lnTo>
                    <a:pt x="2006" y="43799"/>
                  </a:lnTo>
                  <a:lnTo>
                    <a:pt x="2006" y="43799"/>
                  </a:lnTo>
                  <a:lnTo>
                    <a:pt x="2006" y="43799"/>
                  </a:lnTo>
                  <a:lnTo>
                    <a:pt x="2006" y="43799"/>
                  </a:lnTo>
                  <a:lnTo>
                    <a:pt x="2006" y="44124"/>
                  </a:lnTo>
                  <a:lnTo>
                    <a:pt x="2006" y="44124"/>
                  </a:lnTo>
                  <a:lnTo>
                    <a:pt x="2006" y="44124"/>
                  </a:lnTo>
                  <a:lnTo>
                    <a:pt x="1755" y="44124"/>
                  </a:lnTo>
                  <a:lnTo>
                    <a:pt x="1755" y="44613"/>
                  </a:lnTo>
                  <a:lnTo>
                    <a:pt x="1128" y="44938"/>
                  </a:lnTo>
                  <a:lnTo>
                    <a:pt x="877" y="44938"/>
                  </a:lnTo>
                  <a:lnTo>
                    <a:pt x="501" y="44938"/>
                  </a:lnTo>
                  <a:lnTo>
                    <a:pt x="501" y="45427"/>
                  </a:lnTo>
                  <a:lnTo>
                    <a:pt x="501" y="45427"/>
                  </a:lnTo>
                  <a:lnTo>
                    <a:pt x="250" y="45427"/>
                  </a:lnTo>
                  <a:lnTo>
                    <a:pt x="250" y="45427"/>
                  </a:lnTo>
                  <a:lnTo>
                    <a:pt x="250" y="45753"/>
                  </a:lnTo>
                  <a:lnTo>
                    <a:pt x="250" y="45753"/>
                  </a:lnTo>
                  <a:lnTo>
                    <a:pt x="250" y="45753"/>
                  </a:lnTo>
                  <a:lnTo>
                    <a:pt x="501" y="46078"/>
                  </a:lnTo>
                  <a:lnTo>
                    <a:pt x="501" y="46567"/>
                  </a:lnTo>
                  <a:lnTo>
                    <a:pt x="501" y="46567"/>
                  </a:lnTo>
                  <a:lnTo>
                    <a:pt x="501" y="46567"/>
                  </a:lnTo>
                  <a:lnTo>
                    <a:pt x="501" y="46892"/>
                  </a:lnTo>
                  <a:lnTo>
                    <a:pt x="250" y="46892"/>
                  </a:lnTo>
                  <a:lnTo>
                    <a:pt x="0" y="46892"/>
                  </a:lnTo>
                  <a:lnTo>
                    <a:pt x="0" y="47218"/>
                  </a:lnTo>
                  <a:lnTo>
                    <a:pt x="250" y="47706"/>
                  </a:lnTo>
                  <a:lnTo>
                    <a:pt x="250" y="47706"/>
                  </a:lnTo>
                  <a:lnTo>
                    <a:pt x="501" y="48032"/>
                  </a:lnTo>
                  <a:lnTo>
                    <a:pt x="501" y="48358"/>
                  </a:lnTo>
                  <a:lnTo>
                    <a:pt x="877" y="48358"/>
                  </a:lnTo>
                  <a:lnTo>
                    <a:pt x="877" y="48846"/>
                  </a:lnTo>
                  <a:lnTo>
                    <a:pt x="877" y="48846"/>
                  </a:lnTo>
                  <a:lnTo>
                    <a:pt x="501" y="48846"/>
                  </a:lnTo>
                  <a:lnTo>
                    <a:pt x="501" y="48846"/>
                  </a:lnTo>
                  <a:lnTo>
                    <a:pt x="501" y="49172"/>
                  </a:lnTo>
                  <a:lnTo>
                    <a:pt x="501" y="49172"/>
                  </a:lnTo>
                  <a:lnTo>
                    <a:pt x="877" y="49660"/>
                  </a:lnTo>
                  <a:lnTo>
                    <a:pt x="877" y="49986"/>
                  </a:lnTo>
                  <a:lnTo>
                    <a:pt x="1128" y="49986"/>
                  </a:lnTo>
                  <a:lnTo>
                    <a:pt x="1379" y="49986"/>
                  </a:lnTo>
                  <a:lnTo>
                    <a:pt x="1379" y="49986"/>
                  </a:lnTo>
                  <a:lnTo>
                    <a:pt x="1379" y="49986"/>
                  </a:lnTo>
                  <a:lnTo>
                    <a:pt x="1755" y="49660"/>
                  </a:lnTo>
                  <a:lnTo>
                    <a:pt x="1755" y="49660"/>
                  </a:lnTo>
                  <a:lnTo>
                    <a:pt x="2006" y="49660"/>
                  </a:lnTo>
                  <a:lnTo>
                    <a:pt x="2633" y="49986"/>
                  </a:lnTo>
                  <a:lnTo>
                    <a:pt x="3260" y="50312"/>
                  </a:lnTo>
                  <a:lnTo>
                    <a:pt x="3260" y="50312"/>
                  </a:lnTo>
                  <a:lnTo>
                    <a:pt x="3260" y="50800"/>
                  </a:lnTo>
                  <a:lnTo>
                    <a:pt x="3260" y="51126"/>
                  </a:lnTo>
                  <a:lnTo>
                    <a:pt x="3260" y="51451"/>
                  </a:lnTo>
                  <a:lnTo>
                    <a:pt x="3510" y="51451"/>
                  </a:lnTo>
                  <a:lnTo>
                    <a:pt x="3510" y="51940"/>
                  </a:lnTo>
                  <a:lnTo>
                    <a:pt x="3761" y="52265"/>
                  </a:lnTo>
                  <a:lnTo>
                    <a:pt x="3761" y="52591"/>
                  </a:lnTo>
                  <a:lnTo>
                    <a:pt x="3761" y="52591"/>
                  </a:lnTo>
                  <a:lnTo>
                    <a:pt x="4137" y="52591"/>
                  </a:lnTo>
                  <a:lnTo>
                    <a:pt x="4137" y="53080"/>
                  </a:lnTo>
                  <a:lnTo>
                    <a:pt x="4137" y="53405"/>
                  </a:lnTo>
                  <a:lnTo>
                    <a:pt x="4137" y="53405"/>
                  </a:lnTo>
                  <a:lnTo>
                    <a:pt x="4137" y="53894"/>
                  </a:lnTo>
                  <a:lnTo>
                    <a:pt x="4388" y="53894"/>
                  </a:lnTo>
                  <a:lnTo>
                    <a:pt x="4639" y="54219"/>
                  </a:lnTo>
                  <a:lnTo>
                    <a:pt x="4639" y="54219"/>
                  </a:lnTo>
                  <a:lnTo>
                    <a:pt x="4388" y="54545"/>
                  </a:lnTo>
                  <a:lnTo>
                    <a:pt x="4388" y="54545"/>
                  </a:lnTo>
                  <a:lnTo>
                    <a:pt x="4137" y="54545"/>
                  </a:lnTo>
                  <a:lnTo>
                    <a:pt x="4137" y="54545"/>
                  </a:lnTo>
                  <a:lnTo>
                    <a:pt x="3761" y="54545"/>
                  </a:lnTo>
                  <a:lnTo>
                    <a:pt x="3761" y="54545"/>
                  </a:lnTo>
                  <a:lnTo>
                    <a:pt x="3761" y="54545"/>
                  </a:lnTo>
                  <a:lnTo>
                    <a:pt x="3761" y="54545"/>
                  </a:lnTo>
                  <a:lnTo>
                    <a:pt x="3510" y="54545"/>
                  </a:lnTo>
                  <a:lnTo>
                    <a:pt x="3260" y="55033"/>
                  </a:lnTo>
                  <a:lnTo>
                    <a:pt x="3260" y="55033"/>
                  </a:lnTo>
                  <a:lnTo>
                    <a:pt x="3510" y="55359"/>
                  </a:lnTo>
                  <a:lnTo>
                    <a:pt x="3510" y="55359"/>
                  </a:lnTo>
                  <a:lnTo>
                    <a:pt x="3510" y="55359"/>
                  </a:lnTo>
                  <a:lnTo>
                    <a:pt x="3761" y="55359"/>
                  </a:lnTo>
                  <a:lnTo>
                    <a:pt x="3761" y="55359"/>
                  </a:lnTo>
                  <a:lnTo>
                    <a:pt x="4137" y="55359"/>
                  </a:lnTo>
                  <a:lnTo>
                    <a:pt x="4388" y="55685"/>
                  </a:lnTo>
                  <a:lnTo>
                    <a:pt x="4388" y="55685"/>
                  </a:lnTo>
                  <a:lnTo>
                    <a:pt x="4388" y="55685"/>
                  </a:lnTo>
                  <a:lnTo>
                    <a:pt x="4639" y="55359"/>
                  </a:lnTo>
                  <a:lnTo>
                    <a:pt x="5015" y="55685"/>
                  </a:lnTo>
                  <a:lnTo>
                    <a:pt x="5266" y="55685"/>
                  </a:lnTo>
                  <a:lnTo>
                    <a:pt x="5517" y="55685"/>
                  </a:lnTo>
                  <a:lnTo>
                    <a:pt x="5517" y="56499"/>
                  </a:lnTo>
                  <a:lnTo>
                    <a:pt x="5893" y="56499"/>
                  </a:lnTo>
                  <a:lnTo>
                    <a:pt x="5893" y="56499"/>
                  </a:lnTo>
                  <a:lnTo>
                    <a:pt x="6144" y="56499"/>
                  </a:lnTo>
                  <a:lnTo>
                    <a:pt x="6520" y="56499"/>
                  </a:lnTo>
                  <a:lnTo>
                    <a:pt x="6771" y="56824"/>
                  </a:lnTo>
                  <a:lnTo>
                    <a:pt x="6771" y="56824"/>
                  </a:lnTo>
                  <a:lnTo>
                    <a:pt x="7021" y="57313"/>
                  </a:lnTo>
                  <a:lnTo>
                    <a:pt x="7021" y="57313"/>
                  </a:lnTo>
                  <a:lnTo>
                    <a:pt x="7021" y="57639"/>
                  </a:lnTo>
                  <a:lnTo>
                    <a:pt x="7398" y="58453"/>
                  </a:lnTo>
                  <a:lnTo>
                    <a:pt x="7021" y="58453"/>
                  </a:lnTo>
                  <a:lnTo>
                    <a:pt x="7021" y="58778"/>
                  </a:lnTo>
                  <a:lnTo>
                    <a:pt x="7021" y="58778"/>
                  </a:lnTo>
                  <a:lnTo>
                    <a:pt x="7398" y="58778"/>
                  </a:lnTo>
                  <a:lnTo>
                    <a:pt x="7398" y="59267"/>
                  </a:lnTo>
                  <a:lnTo>
                    <a:pt x="7648" y="59267"/>
                  </a:lnTo>
                  <a:lnTo>
                    <a:pt x="7648" y="59267"/>
                  </a:lnTo>
                  <a:lnTo>
                    <a:pt x="7899" y="59592"/>
                  </a:lnTo>
                  <a:lnTo>
                    <a:pt x="7899" y="59592"/>
                  </a:lnTo>
                  <a:lnTo>
                    <a:pt x="7899" y="59592"/>
                  </a:lnTo>
                  <a:lnTo>
                    <a:pt x="8275" y="59592"/>
                  </a:lnTo>
                  <a:lnTo>
                    <a:pt x="8526" y="59592"/>
                  </a:lnTo>
                  <a:lnTo>
                    <a:pt x="8526" y="59267"/>
                  </a:lnTo>
                  <a:lnTo>
                    <a:pt x="8777" y="59918"/>
                  </a:lnTo>
                  <a:lnTo>
                    <a:pt x="8777" y="59918"/>
                  </a:lnTo>
                  <a:lnTo>
                    <a:pt x="9153" y="59918"/>
                  </a:lnTo>
                  <a:lnTo>
                    <a:pt x="9153" y="60407"/>
                  </a:lnTo>
                  <a:lnTo>
                    <a:pt x="9404" y="60407"/>
                  </a:lnTo>
                  <a:lnTo>
                    <a:pt x="10031" y="60732"/>
                  </a:lnTo>
                  <a:lnTo>
                    <a:pt x="10658" y="60732"/>
                  </a:lnTo>
                  <a:lnTo>
                    <a:pt x="10909" y="60732"/>
                  </a:lnTo>
                  <a:lnTo>
                    <a:pt x="10909" y="60732"/>
                  </a:lnTo>
                  <a:lnTo>
                    <a:pt x="11159" y="60732"/>
                  </a:lnTo>
                  <a:lnTo>
                    <a:pt x="11536" y="60732"/>
                  </a:lnTo>
                  <a:lnTo>
                    <a:pt x="11536" y="60732"/>
                  </a:lnTo>
                  <a:lnTo>
                    <a:pt x="11786" y="60732"/>
                  </a:lnTo>
                  <a:lnTo>
                    <a:pt x="11786" y="60732"/>
                  </a:lnTo>
                  <a:lnTo>
                    <a:pt x="11786" y="60732"/>
                  </a:lnTo>
                  <a:lnTo>
                    <a:pt x="11786" y="60732"/>
                  </a:lnTo>
                  <a:lnTo>
                    <a:pt x="12037" y="60732"/>
                  </a:lnTo>
                  <a:lnTo>
                    <a:pt x="12037" y="60732"/>
                  </a:lnTo>
                  <a:lnTo>
                    <a:pt x="12037" y="60732"/>
                  </a:lnTo>
                  <a:lnTo>
                    <a:pt x="12037" y="60732"/>
                  </a:lnTo>
                  <a:lnTo>
                    <a:pt x="12037" y="61546"/>
                  </a:lnTo>
                  <a:lnTo>
                    <a:pt x="12413" y="61546"/>
                  </a:lnTo>
                  <a:lnTo>
                    <a:pt x="12413" y="61872"/>
                  </a:lnTo>
                  <a:lnTo>
                    <a:pt x="12664" y="62686"/>
                  </a:lnTo>
                  <a:lnTo>
                    <a:pt x="12915" y="63500"/>
                  </a:lnTo>
                  <a:lnTo>
                    <a:pt x="13291" y="63826"/>
                  </a:lnTo>
                  <a:lnTo>
                    <a:pt x="13291" y="63826"/>
                  </a:lnTo>
                  <a:lnTo>
                    <a:pt x="13793" y="64151"/>
                  </a:lnTo>
                  <a:lnTo>
                    <a:pt x="14169" y="64151"/>
                  </a:lnTo>
                  <a:lnTo>
                    <a:pt x="14420" y="64151"/>
                  </a:lnTo>
                  <a:lnTo>
                    <a:pt x="14796" y="64640"/>
                  </a:lnTo>
                  <a:lnTo>
                    <a:pt x="14796" y="64640"/>
                  </a:lnTo>
                  <a:lnTo>
                    <a:pt x="15047" y="64966"/>
                  </a:lnTo>
                  <a:lnTo>
                    <a:pt x="15047" y="64966"/>
                  </a:lnTo>
                  <a:lnTo>
                    <a:pt x="15047" y="64966"/>
                  </a:lnTo>
                  <a:lnTo>
                    <a:pt x="15047" y="65454"/>
                  </a:lnTo>
                  <a:lnTo>
                    <a:pt x="14420" y="65780"/>
                  </a:lnTo>
                  <a:lnTo>
                    <a:pt x="14420" y="65780"/>
                  </a:lnTo>
                  <a:lnTo>
                    <a:pt x="14420" y="65780"/>
                  </a:lnTo>
                  <a:lnTo>
                    <a:pt x="14796" y="66594"/>
                  </a:lnTo>
                  <a:lnTo>
                    <a:pt x="14796" y="66594"/>
                  </a:lnTo>
                  <a:lnTo>
                    <a:pt x="15047" y="67245"/>
                  </a:lnTo>
                  <a:lnTo>
                    <a:pt x="15047" y="67734"/>
                  </a:lnTo>
                  <a:lnTo>
                    <a:pt x="15297" y="68059"/>
                  </a:lnTo>
                  <a:lnTo>
                    <a:pt x="15297" y="68059"/>
                  </a:lnTo>
                  <a:lnTo>
                    <a:pt x="15297" y="68059"/>
                  </a:lnTo>
                  <a:lnTo>
                    <a:pt x="15673" y="68385"/>
                  </a:lnTo>
                  <a:lnTo>
                    <a:pt x="15673" y="68385"/>
                  </a:lnTo>
                  <a:lnTo>
                    <a:pt x="15924" y="68385"/>
                  </a:lnTo>
                  <a:lnTo>
                    <a:pt x="15924" y="68873"/>
                  </a:lnTo>
                  <a:lnTo>
                    <a:pt x="15924" y="68873"/>
                  </a:lnTo>
                  <a:lnTo>
                    <a:pt x="15924" y="69199"/>
                  </a:lnTo>
                  <a:lnTo>
                    <a:pt x="15924" y="69199"/>
                  </a:lnTo>
                  <a:lnTo>
                    <a:pt x="15924" y="69199"/>
                  </a:lnTo>
                  <a:lnTo>
                    <a:pt x="15924" y="69199"/>
                  </a:lnTo>
                  <a:lnTo>
                    <a:pt x="16175" y="69687"/>
                  </a:lnTo>
                  <a:lnTo>
                    <a:pt x="16175" y="70013"/>
                  </a:lnTo>
                  <a:lnTo>
                    <a:pt x="16175" y="70013"/>
                  </a:lnTo>
                  <a:lnTo>
                    <a:pt x="16551" y="70339"/>
                  </a:lnTo>
                  <a:lnTo>
                    <a:pt x="16551" y="70339"/>
                  </a:lnTo>
                  <a:lnTo>
                    <a:pt x="16551" y="70827"/>
                  </a:lnTo>
                  <a:lnTo>
                    <a:pt x="16551" y="71153"/>
                  </a:lnTo>
                  <a:lnTo>
                    <a:pt x="16551" y="71153"/>
                  </a:lnTo>
                  <a:lnTo>
                    <a:pt x="16551" y="71153"/>
                  </a:lnTo>
                  <a:lnTo>
                    <a:pt x="16175" y="71153"/>
                  </a:lnTo>
                  <a:lnTo>
                    <a:pt x="16175" y="71478"/>
                  </a:lnTo>
                  <a:lnTo>
                    <a:pt x="16175" y="71478"/>
                  </a:lnTo>
                  <a:lnTo>
                    <a:pt x="15924" y="71478"/>
                  </a:lnTo>
                  <a:lnTo>
                    <a:pt x="15673" y="71478"/>
                  </a:lnTo>
                  <a:lnTo>
                    <a:pt x="15673" y="71153"/>
                  </a:lnTo>
                  <a:lnTo>
                    <a:pt x="15297" y="71153"/>
                  </a:lnTo>
                  <a:lnTo>
                    <a:pt x="15297" y="70827"/>
                  </a:lnTo>
                  <a:lnTo>
                    <a:pt x="15297" y="70827"/>
                  </a:lnTo>
                  <a:lnTo>
                    <a:pt x="15047" y="70827"/>
                  </a:lnTo>
                  <a:lnTo>
                    <a:pt x="15047" y="70827"/>
                  </a:lnTo>
                  <a:lnTo>
                    <a:pt x="14796" y="70827"/>
                  </a:lnTo>
                  <a:lnTo>
                    <a:pt x="14796" y="71153"/>
                  </a:lnTo>
                  <a:lnTo>
                    <a:pt x="14796" y="71153"/>
                  </a:lnTo>
                  <a:lnTo>
                    <a:pt x="14796" y="71153"/>
                  </a:lnTo>
                  <a:lnTo>
                    <a:pt x="14796" y="71478"/>
                  </a:lnTo>
                  <a:lnTo>
                    <a:pt x="15047" y="71967"/>
                  </a:lnTo>
                  <a:lnTo>
                    <a:pt x="15047" y="71967"/>
                  </a:lnTo>
                  <a:lnTo>
                    <a:pt x="15047" y="71967"/>
                  </a:lnTo>
                  <a:lnTo>
                    <a:pt x="15673" y="72618"/>
                  </a:lnTo>
                  <a:lnTo>
                    <a:pt x="15673" y="73107"/>
                  </a:lnTo>
                  <a:lnTo>
                    <a:pt x="15673" y="73107"/>
                  </a:lnTo>
                  <a:lnTo>
                    <a:pt x="15673" y="73107"/>
                  </a:lnTo>
                  <a:lnTo>
                    <a:pt x="15673" y="73432"/>
                  </a:lnTo>
                  <a:lnTo>
                    <a:pt x="15673" y="73921"/>
                  </a:lnTo>
                  <a:lnTo>
                    <a:pt x="15924" y="73921"/>
                  </a:lnTo>
                  <a:lnTo>
                    <a:pt x="15924" y="74246"/>
                  </a:lnTo>
                  <a:lnTo>
                    <a:pt x="15924" y="74246"/>
                  </a:lnTo>
                  <a:lnTo>
                    <a:pt x="15924" y="74572"/>
                  </a:lnTo>
                  <a:lnTo>
                    <a:pt x="15924" y="74572"/>
                  </a:lnTo>
                  <a:lnTo>
                    <a:pt x="16175" y="75061"/>
                  </a:lnTo>
                  <a:lnTo>
                    <a:pt x="16175" y="75386"/>
                  </a:lnTo>
                  <a:lnTo>
                    <a:pt x="16175" y="75386"/>
                  </a:lnTo>
                  <a:lnTo>
                    <a:pt x="16175" y="75386"/>
                  </a:lnTo>
                  <a:lnTo>
                    <a:pt x="16551" y="75061"/>
                  </a:lnTo>
                  <a:lnTo>
                    <a:pt x="16551" y="75061"/>
                  </a:lnTo>
                  <a:lnTo>
                    <a:pt x="16551" y="75061"/>
                  </a:lnTo>
                  <a:lnTo>
                    <a:pt x="16551" y="75061"/>
                  </a:lnTo>
                  <a:lnTo>
                    <a:pt x="16802" y="74572"/>
                  </a:lnTo>
                  <a:lnTo>
                    <a:pt x="16802" y="75061"/>
                  </a:lnTo>
                  <a:lnTo>
                    <a:pt x="17053" y="75386"/>
                  </a:lnTo>
                  <a:lnTo>
                    <a:pt x="17429" y="75712"/>
                  </a:lnTo>
                  <a:lnTo>
                    <a:pt x="17680" y="76200"/>
                  </a:lnTo>
                  <a:lnTo>
                    <a:pt x="17680" y="76200"/>
                  </a:lnTo>
                  <a:lnTo>
                    <a:pt x="17931" y="76200"/>
                  </a:lnTo>
                  <a:lnTo>
                    <a:pt x="17931" y="76526"/>
                  </a:lnTo>
                  <a:lnTo>
                    <a:pt x="18307" y="76526"/>
                  </a:lnTo>
                  <a:lnTo>
                    <a:pt x="18557" y="76526"/>
                  </a:lnTo>
                  <a:lnTo>
                    <a:pt x="18934" y="76526"/>
                  </a:lnTo>
                  <a:lnTo>
                    <a:pt x="18934" y="76526"/>
                  </a:lnTo>
                  <a:lnTo>
                    <a:pt x="18934" y="76526"/>
                  </a:lnTo>
                  <a:lnTo>
                    <a:pt x="19435" y="76852"/>
                  </a:lnTo>
                  <a:lnTo>
                    <a:pt x="19435" y="76852"/>
                  </a:lnTo>
                  <a:lnTo>
                    <a:pt x="19435" y="76852"/>
                  </a:lnTo>
                  <a:lnTo>
                    <a:pt x="19811" y="77340"/>
                  </a:lnTo>
                  <a:lnTo>
                    <a:pt x="19811" y="77666"/>
                  </a:lnTo>
                  <a:lnTo>
                    <a:pt x="19811" y="77666"/>
                  </a:lnTo>
                  <a:lnTo>
                    <a:pt x="19811" y="77666"/>
                  </a:lnTo>
                  <a:lnTo>
                    <a:pt x="20313" y="78154"/>
                  </a:lnTo>
                  <a:lnTo>
                    <a:pt x="20689" y="78154"/>
                  </a:lnTo>
                  <a:lnTo>
                    <a:pt x="20689" y="78154"/>
                  </a:lnTo>
                  <a:lnTo>
                    <a:pt x="20940" y="78154"/>
                  </a:lnTo>
                  <a:lnTo>
                    <a:pt x="20940" y="78480"/>
                  </a:lnTo>
                  <a:lnTo>
                    <a:pt x="21191" y="78805"/>
                  </a:lnTo>
                  <a:lnTo>
                    <a:pt x="21567" y="78805"/>
                  </a:lnTo>
                  <a:lnTo>
                    <a:pt x="21818" y="79294"/>
                  </a:lnTo>
                  <a:lnTo>
                    <a:pt x="21818" y="79294"/>
                  </a:lnTo>
                  <a:lnTo>
                    <a:pt x="22068" y="79620"/>
                  </a:lnTo>
                  <a:lnTo>
                    <a:pt x="22068" y="79620"/>
                  </a:lnTo>
                  <a:lnTo>
                    <a:pt x="22445" y="79294"/>
                  </a:lnTo>
                  <a:lnTo>
                    <a:pt x="22445" y="78480"/>
                  </a:lnTo>
                  <a:lnTo>
                    <a:pt x="23072" y="78480"/>
                  </a:lnTo>
                  <a:lnTo>
                    <a:pt x="23573" y="78480"/>
                  </a:lnTo>
                  <a:lnTo>
                    <a:pt x="23949" y="78480"/>
                  </a:lnTo>
                  <a:lnTo>
                    <a:pt x="24200" y="78805"/>
                  </a:lnTo>
                  <a:lnTo>
                    <a:pt x="24200" y="79294"/>
                  </a:lnTo>
                  <a:lnTo>
                    <a:pt x="24200" y="79294"/>
                  </a:lnTo>
                  <a:lnTo>
                    <a:pt x="24451" y="79620"/>
                  </a:lnTo>
                  <a:lnTo>
                    <a:pt x="25078" y="79945"/>
                  </a:lnTo>
                  <a:lnTo>
                    <a:pt x="25705" y="80434"/>
                  </a:lnTo>
                  <a:lnTo>
                    <a:pt x="25956" y="80759"/>
                  </a:lnTo>
                  <a:lnTo>
                    <a:pt x="26583" y="81085"/>
                  </a:lnTo>
                  <a:lnTo>
                    <a:pt x="26833" y="81085"/>
                  </a:lnTo>
                  <a:lnTo>
                    <a:pt x="27084" y="81085"/>
                  </a:lnTo>
                  <a:lnTo>
                    <a:pt x="27460" y="81573"/>
                  </a:lnTo>
                  <a:lnTo>
                    <a:pt x="27711" y="81899"/>
                  </a:lnTo>
                  <a:lnTo>
                    <a:pt x="28087" y="82388"/>
                  </a:lnTo>
                  <a:lnTo>
                    <a:pt x="28087" y="82388"/>
                  </a:lnTo>
                  <a:lnTo>
                    <a:pt x="28338" y="82388"/>
                  </a:lnTo>
                  <a:lnTo>
                    <a:pt x="28589" y="82388"/>
                  </a:lnTo>
                  <a:lnTo>
                    <a:pt x="28965" y="82388"/>
                  </a:lnTo>
                  <a:lnTo>
                    <a:pt x="29216" y="82388"/>
                  </a:lnTo>
                  <a:lnTo>
                    <a:pt x="29216" y="82713"/>
                  </a:lnTo>
                  <a:lnTo>
                    <a:pt x="29467" y="83039"/>
                  </a:lnTo>
                  <a:lnTo>
                    <a:pt x="29467" y="83527"/>
                  </a:lnTo>
                  <a:lnTo>
                    <a:pt x="29843" y="83527"/>
                  </a:lnTo>
                  <a:lnTo>
                    <a:pt x="30094" y="83853"/>
                  </a:lnTo>
                  <a:lnTo>
                    <a:pt x="30094" y="83853"/>
                  </a:lnTo>
                  <a:lnTo>
                    <a:pt x="30721" y="84179"/>
                  </a:lnTo>
                  <a:lnTo>
                    <a:pt x="30721" y="84179"/>
                  </a:lnTo>
                  <a:lnTo>
                    <a:pt x="30721" y="84667"/>
                  </a:lnTo>
                  <a:lnTo>
                    <a:pt x="30971" y="84667"/>
                  </a:lnTo>
                  <a:lnTo>
                    <a:pt x="30971" y="84667"/>
                  </a:lnTo>
                  <a:lnTo>
                    <a:pt x="31222" y="84667"/>
                  </a:lnTo>
                  <a:lnTo>
                    <a:pt x="31598" y="84667"/>
                  </a:lnTo>
                  <a:lnTo>
                    <a:pt x="31598" y="84667"/>
                  </a:lnTo>
                  <a:lnTo>
                    <a:pt x="31849" y="84667"/>
                  </a:lnTo>
                  <a:lnTo>
                    <a:pt x="31849" y="84667"/>
                  </a:lnTo>
                  <a:lnTo>
                    <a:pt x="31849" y="84993"/>
                  </a:lnTo>
                  <a:lnTo>
                    <a:pt x="31849" y="85318"/>
                  </a:lnTo>
                  <a:lnTo>
                    <a:pt x="31849" y="85318"/>
                  </a:lnTo>
                  <a:lnTo>
                    <a:pt x="32225" y="85318"/>
                  </a:lnTo>
                  <a:lnTo>
                    <a:pt x="32476" y="85807"/>
                  </a:lnTo>
                  <a:lnTo>
                    <a:pt x="33103" y="85807"/>
                  </a:lnTo>
                  <a:lnTo>
                    <a:pt x="33354" y="85807"/>
                  </a:lnTo>
                  <a:lnTo>
                    <a:pt x="33605" y="86132"/>
                  </a:lnTo>
                  <a:lnTo>
                    <a:pt x="33981" y="86621"/>
                  </a:lnTo>
                  <a:lnTo>
                    <a:pt x="33981" y="86947"/>
                  </a:lnTo>
                  <a:lnTo>
                    <a:pt x="33981" y="86947"/>
                  </a:lnTo>
                  <a:lnTo>
                    <a:pt x="34231" y="86947"/>
                  </a:lnTo>
                  <a:lnTo>
                    <a:pt x="34231" y="86621"/>
                  </a:lnTo>
                  <a:lnTo>
                    <a:pt x="34231" y="86132"/>
                  </a:lnTo>
                  <a:lnTo>
                    <a:pt x="34231" y="86132"/>
                  </a:lnTo>
                  <a:lnTo>
                    <a:pt x="34231" y="86132"/>
                  </a:lnTo>
                  <a:lnTo>
                    <a:pt x="34482" y="86621"/>
                  </a:lnTo>
                  <a:lnTo>
                    <a:pt x="34858" y="86621"/>
                  </a:lnTo>
                  <a:lnTo>
                    <a:pt x="34858" y="86947"/>
                  </a:lnTo>
                  <a:lnTo>
                    <a:pt x="35109" y="86947"/>
                  </a:lnTo>
                  <a:lnTo>
                    <a:pt x="35109" y="86621"/>
                  </a:lnTo>
                  <a:lnTo>
                    <a:pt x="35109" y="86132"/>
                  </a:lnTo>
                  <a:lnTo>
                    <a:pt x="35360" y="86132"/>
                  </a:lnTo>
                  <a:lnTo>
                    <a:pt x="35360" y="86132"/>
                  </a:lnTo>
                  <a:lnTo>
                    <a:pt x="35360" y="86132"/>
                  </a:lnTo>
                  <a:lnTo>
                    <a:pt x="35736" y="86621"/>
                  </a:lnTo>
                  <a:lnTo>
                    <a:pt x="35987" y="86621"/>
                  </a:lnTo>
                  <a:lnTo>
                    <a:pt x="35987" y="86621"/>
                  </a:lnTo>
                  <a:lnTo>
                    <a:pt x="36363" y="86947"/>
                  </a:lnTo>
                  <a:lnTo>
                    <a:pt x="36614" y="86947"/>
                  </a:lnTo>
                  <a:lnTo>
                    <a:pt x="36865" y="87272"/>
                  </a:lnTo>
                  <a:lnTo>
                    <a:pt x="37492" y="87272"/>
                  </a:lnTo>
                  <a:lnTo>
                    <a:pt x="37492" y="87272"/>
                  </a:lnTo>
                  <a:lnTo>
                    <a:pt x="37742" y="87272"/>
                  </a:lnTo>
                  <a:lnTo>
                    <a:pt x="37742" y="87272"/>
                  </a:lnTo>
                  <a:lnTo>
                    <a:pt x="38119" y="86947"/>
                  </a:lnTo>
                  <a:lnTo>
                    <a:pt x="38369" y="86947"/>
                  </a:lnTo>
                  <a:lnTo>
                    <a:pt x="38620" y="86947"/>
                  </a:lnTo>
                  <a:lnTo>
                    <a:pt x="38620" y="86947"/>
                  </a:lnTo>
                  <a:lnTo>
                    <a:pt x="38620" y="86947"/>
                  </a:lnTo>
                  <a:lnTo>
                    <a:pt x="38620" y="86947"/>
                  </a:lnTo>
                  <a:lnTo>
                    <a:pt x="38996" y="86621"/>
                  </a:lnTo>
                  <a:lnTo>
                    <a:pt x="39247" y="86621"/>
                  </a:lnTo>
                  <a:lnTo>
                    <a:pt x="39498" y="86621"/>
                  </a:lnTo>
                  <a:lnTo>
                    <a:pt x="39498" y="86621"/>
                  </a:lnTo>
                  <a:lnTo>
                    <a:pt x="39498" y="86621"/>
                  </a:lnTo>
                  <a:lnTo>
                    <a:pt x="39874" y="86132"/>
                  </a:lnTo>
                  <a:lnTo>
                    <a:pt x="39874" y="86132"/>
                  </a:lnTo>
                  <a:lnTo>
                    <a:pt x="40125" y="86621"/>
                  </a:lnTo>
                  <a:lnTo>
                    <a:pt x="40125" y="86621"/>
                  </a:lnTo>
                  <a:lnTo>
                    <a:pt x="40501" y="86947"/>
                  </a:lnTo>
                  <a:lnTo>
                    <a:pt x="40501" y="86947"/>
                  </a:lnTo>
                  <a:lnTo>
                    <a:pt x="40501" y="87272"/>
                  </a:lnTo>
                  <a:lnTo>
                    <a:pt x="40501" y="88086"/>
                  </a:lnTo>
                  <a:lnTo>
                    <a:pt x="40501" y="88412"/>
                  </a:lnTo>
                  <a:lnTo>
                    <a:pt x="40752" y="88900"/>
                  </a:lnTo>
                  <a:lnTo>
                    <a:pt x="40752" y="88900"/>
                  </a:lnTo>
                  <a:lnTo>
                    <a:pt x="40752" y="88412"/>
                  </a:lnTo>
                  <a:lnTo>
                    <a:pt x="41003" y="88086"/>
                  </a:lnTo>
                  <a:lnTo>
                    <a:pt x="41003" y="88086"/>
                  </a:lnTo>
                  <a:lnTo>
                    <a:pt x="41379" y="87761"/>
                  </a:lnTo>
                  <a:lnTo>
                    <a:pt x="41379" y="87272"/>
                  </a:lnTo>
                  <a:lnTo>
                    <a:pt x="41630" y="86621"/>
                  </a:lnTo>
                  <a:lnTo>
                    <a:pt x="41880" y="86132"/>
                  </a:lnTo>
                  <a:lnTo>
                    <a:pt x="41880" y="86132"/>
                  </a:lnTo>
                  <a:lnTo>
                    <a:pt x="42257" y="86132"/>
                  </a:lnTo>
                  <a:lnTo>
                    <a:pt x="42257" y="85807"/>
                  </a:lnTo>
                  <a:lnTo>
                    <a:pt x="42507" y="85807"/>
                  </a:lnTo>
                  <a:lnTo>
                    <a:pt x="42507" y="85318"/>
                  </a:lnTo>
                  <a:lnTo>
                    <a:pt x="42758" y="85318"/>
                  </a:lnTo>
                  <a:lnTo>
                    <a:pt x="43134" y="85318"/>
                  </a:lnTo>
                  <a:lnTo>
                    <a:pt x="43385" y="85807"/>
                  </a:lnTo>
                  <a:lnTo>
                    <a:pt x="43636" y="85807"/>
                  </a:lnTo>
                  <a:lnTo>
                    <a:pt x="43636" y="85807"/>
                  </a:lnTo>
                  <a:lnTo>
                    <a:pt x="43636" y="86132"/>
                  </a:lnTo>
                  <a:lnTo>
                    <a:pt x="43636" y="86132"/>
                  </a:lnTo>
                  <a:lnTo>
                    <a:pt x="43636" y="86132"/>
                  </a:lnTo>
                  <a:lnTo>
                    <a:pt x="43636" y="86132"/>
                  </a:lnTo>
                  <a:lnTo>
                    <a:pt x="44012" y="86132"/>
                  </a:lnTo>
                  <a:lnTo>
                    <a:pt x="44263" y="86132"/>
                  </a:lnTo>
                  <a:lnTo>
                    <a:pt x="44639" y="86132"/>
                  </a:lnTo>
                  <a:lnTo>
                    <a:pt x="44890" y="86621"/>
                  </a:lnTo>
                  <a:lnTo>
                    <a:pt x="45141" y="86621"/>
                  </a:lnTo>
                  <a:lnTo>
                    <a:pt x="45141" y="86621"/>
                  </a:lnTo>
                  <a:lnTo>
                    <a:pt x="45517" y="86621"/>
                  </a:lnTo>
                  <a:lnTo>
                    <a:pt x="45517" y="86621"/>
                  </a:lnTo>
                  <a:lnTo>
                    <a:pt x="45768" y="86132"/>
                  </a:lnTo>
                  <a:lnTo>
                    <a:pt x="45768" y="86132"/>
                  </a:lnTo>
                  <a:lnTo>
                    <a:pt x="45768" y="86132"/>
                  </a:lnTo>
                  <a:lnTo>
                    <a:pt x="46018" y="86621"/>
                  </a:lnTo>
                  <a:lnTo>
                    <a:pt x="46394" y="86621"/>
                  </a:lnTo>
                  <a:lnTo>
                    <a:pt x="46645" y="86621"/>
                  </a:lnTo>
                  <a:lnTo>
                    <a:pt x="46645" y="86947"/>
                  </a:lnTo>
                  <a:lnTo>
                    <a:pt x="46645" y="87272"/>
                  </a:lnTo>
                  <a:lnTo>
                    <a:pt x="46645" y="87272"/>
                  </a:lnTo>
                  <a:lnTo>
                    <a:pt x="46896" y="87272"/>
                  </a:lnTo>
                  <a:lnTo>
                    <a:pt x="47272" y="87272"/>
                  </a:lnTo>
                  <a:lnTo>
                    <a:pt x="47523" y="87272"/>
                  </a:lnTo>
                  <a:lnTo>
                    <a:pt x="47523" y="87272"/>
                  </a:lnTo>
                  <a:lnTo>
                    <a:pt x="47774" y="87272"/>
                  </a:lnTo>
                  <a:lnTo>
                    <a:pt x="47774" y="87272"/>
                  </a:lnTo>
                  <a:lnTo>
                    <a:pt x="48150" y="87272"/>
                  </a:lnTo>
                  <a:lnTo>
                    <a:pt x="48150" y="86947"/>
                  </a:lnTo>
                  <a:lnTo>
                    <a:pt x="48150" y="87272"/>
                  </a:lnTo>
                  <a:lnTo>
                    <a:pt x="48401" y="87272"/>
                  </a:lnTo>
                  <a:lnTo>
                    <a:pt x="48401" y="87272"/>
                  </a:lnTo>
                  <a:lnTo>
                    <a:pt x="48777" y="86947"/>
                  </a:lnTo>
                  <a:lnTo>
                    <a:pt x="48777" y="86947"/>
                  </a:lnTo>
                  <a:lnTo>
                    <a:pt x="49028" y="86621"/>
                  </a:lnTo>
                  <a:lnTo>
                    <a:pt x="49028" y="86621"/>
                  </a:lnTo>
                  <a:lnTo>
                    <a:pt x="49028" y="86621"/>
                  </a:lnTo>
                  <a:lnTo>
                    <a:pt x="49028" y="86621"/>
                  </a:lnTo>
                  <a:lnTo>
                    <a:pt x="49028" y="86132"/>
                  </a:lnTo>
                  <a:lnTo>
                    <a:pt x="49028" y="86132"/>
                  </a:lnTo>
                  <a:lnTo>
                    <a:pt x="49028" y="86132"/>
                  </a:lnTo>
                  <a:lnTo>
                    <a:pt x="49278" y="85807"/>
                  </a:lnTo>
                  <a:lnTo>
                    <a:pt x="49655" y="85318"/>
                  </a:lnTo>
                  <a:lnTo>
                    <a:pt x="49905" y="84993"/>
                  </a:lnTo>
                  <a:lnTo>
                    <a:pt x="49905" y="84993"/>
                  </a:lnTo>
                  <a:lnTo>
                    <a:pt x="49905" y="84667"/>
                  </a:lnTo>
                  <a:lnTo>
                    <a:pt x="49905" y="84179"/>
                  </a:lnTo>
                  <a:lnTo>
                    <a:pt x="50156" y="84179"/>
                  </a:lnTo>
                  <a:lnTo>
                    <a:pt x="50783" y="84179"/>
                  </a:lnTo>
                  <a:lnTo>
                    <a:pt x="51034" y="83853"/>
                  </a:lnTo>
                  <a:lnTo>
                    <a:pt x="51410" y="83853"/>
                  </a:lnTo>
                  <a:lnTo>
                    <a:pt x="51410" y="83527"/>
                  </a:lnTo>
                  <a:lnTo>
                    <a:pt x="51661" y="83527"/>
                  </a:lnTo>
                  <a:lnTo>
                    <a:pt x="51410" y="83039"/>
                  </a:lnTo>
                  <a:lnTo>
                    <a:pt x="51661" y="83039"/>
                  </a:lnTo>
                  <a:lnTo>
                    <a:pt x="51912" y="83039"/>
                  </a:lnTo>
                  <a:lnTo>
                    <a:pt x="51912" y="82713"/>
                  </a:lnTo>
                  <a:lnTo>
                    <a:pt x="52288" y="82388"/>
                  </a:lnTo>
                  <a:lnTo>
                    <a:pt x="52539" y="81899"/>
                  </a:lnTo>
                  <a:lnTo>
                    <a:pt x="52915" y="81899"/>
                  </a:lnTo>
                  <a:lnTo>
                    <a:pt x="52915" y="82388"/>
                  </a:lnTo>
                  <a:lnTo>
                    <a:pt x="53166" y="82388"/>
                  </a:lnTo>
                  <a:lnTo>
                    <a:pt x="53166" y="82713"/>
                  </a:lnTo>
                  <a:lnTo>
                    <a:pt x="53416" y="82713"/>
                  </a:lnTo>
                  <a:lnTo>
                    <a:pt x="53793" y="82713"/>
                  </a:lnTo>
                  <a:lnTo>
                    <a:pt x="54043" y="82713"/>
                  </a:lnTo>
                  <a:lnTo>
                    <a:pt x="54294" y="83039"/>
                  </a:lnTo>
                  <a:lnTo>
                    <a:pt x="54294" y="83039"/>
                  </a:lnTo>
                  <a:lnTo>
                    <a:pt x="54670" y="83039"/>
                  </a:lnTo>
                  <a:lnTo>
                    <a:pt x="54670" y="83039"/>
                  </a:lnTo>
                  <a:lnTo>
                    <a:pt x="54670" y="82713"/>
                  </a:lnTo>
                  <a:lnTo>
                    <a:pt x="54670" y="82713"/>
                  </a:lnTo>
                  <a:lnTo>
                    <a:pt x="54670" y="82713"/>
                  </a:lnTo>
                  <a:lnTo>
                    <a:pt x="54670" y="82388"/>
                  </a:lnTo>
                  <a:lnTo>
                    <a:pt x="55172" y="81899"/>
                  </a:lnTo>
                  <a:lnTo>
                    <a:pt x="55548" y="81899"/>
                  </a:lnTo>
                  <a:lnTo>
                    <a:pt x="55799" y="81573"/>
                  </a:lnTo>
                  <a:lnTo>
                    <a:pt x="55799" y="81573"/>
                  </a:lnTo>
                  <a:lnTo>
                    <a:pt x="56050" y="81899"/>
                  </a:lnTo>
                  <a:lnTo>
                    <a:pt x="56050" y="82388"/>
                  </a:lnTo>
                  <a:lnTo>
                    <a:pt x="56426" y="82388"/>
                  </a:lnTo>
                  <a:lnTo>
                    <a:pt x="56426" y="82388"/>
                  </a:lnTo>
                  <a:lnTo>
                    <a:pt x="56677" y="82388"/>
                  </a:lnTo>
                  <a:lnTo>
                    <a:pt x="56677" y="82388"/>
                  </a:lnTo>
                  <a:lnTo>
                    <a:pt x="56426" y="82713"/>
                  </a:lnTo>
                  <a:lnTo>
                    <a:pt x="56426" y="82713"/>
                  </a:lnTo>
                  <a:lnTo>
                    <a:pt x="56050" y="82713"/>
                  </a:lnTo>
                  <a:lnTo>
                    <a:pt x="56426" y="83039"/>
                  </a:lnTo>
                  <a:lnTo>
                    <a:pt x="56426" y="83527"/>
                  </a:lnTo>
                  <a:lnTo>
                    <a:pt x="56426" y="83527"/>
                  </a:lnTo>
                  <a:lnTo>
                    <a:pt x="56677" y="83039"/>
                  </a:lnTo>
                  <a:lnTo>
                    <a:pt x="57053" y="83039"/>
                  </a:lnTo>
                  <a:lnTo>
                    <a:pt x="57053" y="83039"/>
                  </a:lnTo>
                  <a:lnTo>
                    <a:pt x="57053" y="83039"/>
                  </a:lnTo>
                  <a:lnTo>
                    <a:pt x="57304" y="83853"/>
                  </a:lnTo>
                  <a:lnTo>
                    <a:pt x="57304" y="83853"/>
                  </a:lnTo>
                  <a:lnTo>
                    <a:pt x="57053" y="84667"/>
                  </a:lnTo>
                  <a:lnTo>
                    <a:pt x="57053" y="84667"/>
                  </a:lnTo>
                  <a:lnTo>
                    <a:pt x="57053" y="84993"/>
                  </a:lnTo>
                  <a:lnTo>
                    <a:pt x="57053" y="84993"/>
                  </a:lnTo>
                  <a:lnTo>
                    <a:pt x="57053" y="84993"/>
                  </a:lnTo>
                  <a:lnTo>
                    <a:pt x="57053" y="84993"/>
                  </a:lnTo>
                  <a:lnTo>
                    <a:pt x="57053" y="85318"/>
                  </a:lnTo>
                  <a:lnTo>
                    <a:pt x="57053" y="85318"/>
                  </a:lnTo>
                  <a:lnTo>
                    <a:pt x="57304" y="85318"/>
                  </a:lnTo>
                  <a:lnTo>
                    <a:pt x="57304" y="84993"/>
                  </a:lnTo>
                  <a:lnTo>
                    <a:pt x="57554" y="84993"/>
                  </a:lnTo>
                  <a:lnTo>
                    <a:pt x="57554" y="84993"/>
                  </a:lnTo>
                  <a:lnTo>
                    <a:pt x="58181" y="85318"/>
                  </a:lnTo>
                  <a:lnTo>
                    <a:pt x="58181" y="85318"/>
                  </a:lnTo>
                  <a:lnTo>
                    <a:pt x="58432" y="85318"/>
                  </a:lnTo>
                  <a:lnTo>
                    <a:pt x="58808" y="85318"/>
                  </a:lnTo>
                  <a:lnTo>
                    <a:pt x="58808" y="85318"/>
                  </a:lnTo>
                  <a:lnTo>
                    <a:pt x="59310" y="85807"/>
                  </a:lnTo>
                  <a:lnTo>
                    <a:pt x="59310" y="85807"/>
                  </a:lnTo>
                  <a:lnTo>
                    <a:pt x="59310" y="85807"/>
                  </a:lnTo>
                  <a:lnTo>
                    <a:pt x="59686" y="85318"/>
                  </a:lnTo>
                  <a:lnTo>
                    <a:pt x="59686" y="84993"/>
                  </a:lnTo>
                  <a:lnTo>
                    <a:pt x="59686" y="84993"/>
                  </a:lnTo>
                  <a:lnTo>
                    <a:pt x="59686" y="84667"/>
                  </a:lnTo>
                  <a:lnTo>
                    <a:pt x="59937" y="84667"/>
                  </a:lnTo>
                  <a:lnTo>
                    <a:pt x="59937" y="84993"/>
                  </a:lnTo>
                  <a:lnTo>
                    <a:pt x="59937" y="84993"/>
                  </a:lnTo>
                  <a:lnTo>
                    <a:pt x="60188" y="84993"/>
                  </a:lnTo>
                  <a:lnTo>
                    <a:pt x="60188" y="85318"/>
                  </a:lnTo>
                  <a:lnTo>
                    <a:pt x="60188" y="85318"/>
                  </a:lnTo>
                  <a:lnTo>
                    <a:pt x="60564" y="85318"/>
                  </a:lnTo>
                  <a:lnTo>
                    <a:pt x="60564" y="85318"/>
                  </a:lnTo>
                  <a:lnTo>
                    <a:pt x="60564" y="85318"/>
                  </a:lnTo>
                  <a:lnTo>
                    <a:pt x="60815" y="85807"/>
                  </a:lnTo>
                  <a:lnTo>
                    <a:pt x="61191" y="85807"/>
                  </a:lnTo>
                  <a:lnTo>
                    <a:pt x="61191" y="86132"/>
                  </a:lnTo>
                  <a:lnTo>
                    <a:pt x="61191" y="86621"/>
                  </a:lnTo>
                  <a:lnTo>
                    <a:pt x="61442" y="86621"/>
                  </a:lnTo>
                  <a:lnTo>
                    <a:pt x="61692" y="87761"/>
                  </a:lnTo>
                  <a:lnTo>
                    <a:pt x="61692" y="88086"/>
                  </a:lnTo>
                  <a:lnTo>
                    <a:pt x="62068" y="88086"/>
                  </a:lnTo>
                  <a:lnTo>
                    <a:pt x="62068" y="88086"/>
                  </a:lnTo>
                  <a:lnTo>
                    <a:pt x="62068" y="88086"/>
                  </a:lnTo>
                  <a:lnTo>
                    <a:pt x="62068" y="87761"/>
                  </a:lnTo>
                  <a:lnTo>
                    <a:pt x="62319" y="87761"/>
                  </a:lnTo>
                  <a:lnTo>
                    <a:pt x="62319" y="87761"/>
                  </a:lnTo>
                  <a:lnTo>
                    <a:pt x="62570" y="88086"/>
                  </a:lnTo>
                  <a:lnTo>
                    <a:pt x="62570" y="88086"/>
                  </a:lnTo>
                  <a:lnTo>
                    <a:pt x="62946" y="88412"/>
                  </a:lnTo>
                  <a:lnTo>
                    <a:pt x="62946" y="89226"/>
                  </a:lnTo>
                  <a:lnTo>
                    <a:pt x="62946" y="89226"/>
                  </a:lnTo>
                  <a:lnTo>
                    <a:pt x="63197" y="90040"/>
                  </a:lnTo>
                  <a:lnTo>
                    <a:pt x="63197" y="90366"/>
                  </a:lnTo>
                  <a:lnTo>
                    <a:pt x="63197" y="90854"/>
                  </a:lnTo>
                  <a:lnTo>
                    <a:pt x="63197" y="91180"/>
                  </a:lnTo>
                  <a:lnTo>
                    <a:pt x="63448" y="91506"/>
                  </a:lnTo>
                  <a:lnTo>
                    <a:pt x="63448" y="91994"/>
                  </a:lnTo>
                  <a:lnTo>
                    <a:pt x="63448" y="92320"/>
                  </a:lnTo>
                  <a:lnTo>
                    <a:pt x="63448" y="92645"/>
                  </a:lnTo>
                  <a:lnTo>
                    <a:pt x="63448" y="93134"/>
                  </a:lnTo>
                  <a:lnTo>
                    <a:pt x="63197" y="93134"/>
                  </a:lnTo>
                  <a:lnTo>
                    <a:pt x="63197" y="93134"/>
                  </a:lnTo>
                  <a:lnTo>
                    <a:pt x="63448" y="93459"/>
                  </a:lnTo>
                  <a:lnTo>
                    <a:pt x="63448" y="93785"/>
                  </a:lnTo>
                  <a:lnTo>
                    <a:pt x="63448" y="93785"/>
                  </a:lnTo>
                  <a:lnTo>
                    <a:pt x="63448" y="93785"/>
                  </a:lnTo>
                  <a:lnTo>
                    <a:pt x="63448" y="93785"/>
                  </a:lnTo>
                  <a:lnTo>
                    <a:pt x="63197" y="94274"/>
                  </a:lnTo>
                  <a:lnTo>
                    <a:pt x="63197" y="94599"/>
                  </a:lnTo>
                  <a:lnTo>
                    <a:pt x="62946" y="95088"/>
                  </a:lnTo>
                  <a:lnTo>
                    <a:pt x="62946" y="95088"/>
                  </a:lnTo>
                  <a:lnTo>
                    <a:pt x="62570" y="95088"/>
                  </a:lnTo>
                  <a:lnTo>
                    <a:pt x="62570" y="95088"/>
                  </a:lnTo>
                  <a:lnTo>
                    <a:pt x="62570" y="95413"/>
                  </a:lnTo>
                  <a:lnTo>
                    <a:pt x="62319" y="95739"/>
                  </a:lnTo>
                  <a:lnTo>
                    <a:pt x="62319" y="95739"/>
                  </a:lnTo>
                  <a:lnTo>
                    <a:pt x="62319" y="96227"/>
                  </a:lnTo>
                  <a:lnTo>
                    <a:pt x="62319" y="96227"/>
                  </a:lnTo>
                  <a:lnTo>
                    <a:pt x="62068" y="96227"/>
                  </a:lnTo>
                  <a:lnTo>
                    <a:pt x="62068" y="96227"/>
                  </a:lnTo>
                  <a:lnTo>
                    <a:pt x="61692" y="96879"/>
                  </a:lnTo>
                  <a:lnTo>
                    <a:pt x="61692" y="96879"/>
                  </a:lnTo>
                  <a:lnTo>
                    <a:pt x="62068" y="97367"/>
                  </a:lnTo>
                  <a:lnTo>
                    <a:pt x="62068" y="97367"/>
                  </a:lnTo>
                  <a:lnTo>
                    <a:pt x="61692" y="97367"/>
                  </a:lnTo>
                  <a:lnTo>
                    <a:pt x="61692" y="97693"/>
                  </a:lnTo>
                  <a:lnTo>
                    <a:pt x="61442" y="98018"/>
                  </a:lnTo>
                  <a:lnTo>
                    <a:pt x="61692" y="98507"/>
                  </a:lnTo>
                  <a:lnTo>
                    <a:pt x="61692" y="98833"/>
                  </a:lnTo>
                  <a:lnTo>
                    <a:pt x="61692" y="98833"/>
                  </a:lnTo>
                  <a:lnTo>
                    <a:pt x="62068" y="98833"/>
                  </a:lnTo>
                  <a:lnTo>
                    <a:pt x="62068" y="99321"/>
                  </a:lnTo>
                  <a:lnTo>
                    <a:pt x="62068" y="99647"/>
                  </a:lnTo>
                  <a:lnTo>
                    <a:pt x="62068" y="99972"/>
                  </a:lnTo>
                  <a:lnTo>
                    <a:pt x="62068" y="100461"/>
                  </a:lnTo>
                  <a:lnTo>
                    <a:pt x="62068" y="100786"/>
                  </a:lnTo>
                  <a:lnTo>
                    <a:pt x="62068" y="100786"/>
                  </a:lnTo>
                  <a:lnTo>
                    <a:pt x="62319" y="100786"/>
                  </a:lnTo>
                  <a:lnTo>
                    <a:pt x="62319" y="100461"/>
                  </a:lnTo>
                  <a:lnTo>
                    <a:pt x="62570" y="100461"/>
                  </a:lnTo>
                  <a:lnTo>
                    <a:pt x="62946" y="99972"/>
                  </a:lnTo>
                  <a:lnTo>
                    <a:pt x="63197" y="99972"/>
                  </a:lnTo>
                  <a:lnTo>
                    <a:pt x="63824" y="99972"/>
                  </a:lnTo>
                  <a:lnTo>
                    <a:pt x="64075" y="99972"/>
                  </a:lnTo>
                  <a:lnTo>
                    <a:pt x="64075" y="99972"/>
                  </a:lnTo>
                  <a:lnTo>
                    <a:pt x="64075" y="99972"/>
                  </a:lnTo>
                  <a:lnTo>
                    <a:pt x="64702" y="99972"/>
                  </a:lnTo>
                  <a:lnTo>
                    <a:pt x="64702" y="99972"/>
                  </a:lnTo>
                  <a:lnTo>
                    <a:pt x="64702" y="99972"/>
                  </a:lnTo>
                  <a:lnTo>
                    <a:pt x="64702" y="99972"/>
                  </a:lnTo>
                  <a:lnTo>
                    <a:pt x="64326" y="100461"/>
                  </a:lnTo>
                  <a:lnTo>
                    <a:pt x="64326" y="100786"/>
                  </a:lnTo>
                  <a:lnTo>
                    <a:pt x="64326" y="100786"/>
                  </a:lnTo>
                  <a:lnTo>
                    <a:pt x="64702" y="101112"/>
                  </a:lnTo>
                  <a:lnTo>
                    <a:pt x="64702" y="101112"/>
                  </a:lnTo>
                  <a:lnTo>
                    <a:pt x="64952" y="101601"/>
                  </a:lnTo>
                  <a:lnTo>
                    <a:pt x="64952" y="101926"/>
                  </a:lnTo>
                  <a:lnTo>
                    <a:pt x="64952" y="101926"/>
                  </a:lnTo>
                  <a:lnTo>
                    <a:pt x="64952" y="102252"/>
                  </a:lnTo>
                  <a:lnTo>
                    <a:pt x="65329" y="102252"/>
                  </a:lnTo>
                  <a:lnTo>
                    <a:pt x="65329" y="102740"/>
                  </a:lnTo>
                  <a:lnTo>
                    <a:pt x="65329" y="103066"/>
                  </a:lnTo>
                  <a:lnTo>
                    <a:pt x="65579" y="103554"/>
                  </a:lnTo>
                  <a:lnTo>
                    <a:pt x="66206" y="103554"/>
                  </a:lnTo>
                  <a:lnTo>
                    <a:pt x="66206" y="103554"/>
                  </a:lnTo>
                  <a:lnTo>
                    <a:pt x="66457" y="103554"/>
                  </a:lnTo>
                  <a:lnTo>
                    <a:pt x="66457" y="103554"/>
                  </a:lnTo>
                  <a:lnTo>
                    <a:pt x="66708" y="103880"/>
                  </a:lnTo>
                  <a:lnTo>
                    <a:pt x="66708" y="103880"/>
                  </a:lnTo>
                  <a:lnTo>
                    <a:pt x="66708" y="103880"/>
                  </a:lnTo>
                  <a:lnTo>
                    <a:pt x="66457" y="104206"/>
                  </a:lnTo>
                  <a:lnTo>
                    <a:pt x="66457" y="104694"/>
                  </a:lnTo>
                  <a:lnTo>
                    <a:pt x="66457" y="105020"/>
                  </a:lnTo>
                  <a:lnTo>
                    <a:pt x="66457" y="105345"/>
                  </a:lnTo>
                  <a:lnTo>
                    <a:pt x="66457" y="105834"/>
                  </a:lnTo>
                  <a:lnTo>
                    <a:pt x="66206" y="106160"/>
                  </a:lnTo>
                  <a:lnTo>
                    <a:pt x="66206" y="106648"/>
                  </a:lnTo>
                  <a:lnTo>
                    <a:pt x="66206" y="106648"/>
                  </a:lnTo>
                  <a:lnTo>
                    <a:pt x="66457" y="106648"/>
                  </a:lnTo>
                  <a:lnTo>
                    <a:pt x="66457" y="106974"/>
                  </a:lnTo>
                  <a:lnTo>
                    <a:pt x="66457" y="106974"/>
                  </a:lnTo>
                  <a:lnTo>
                    <a:pt x="66708" y="106974"/>
                  </a:lnTo>
                  <a:lnTo>
                    <a:pt x="67335" y="106974"/>
                  </a:lnTo>
                  <a:lnTo>
                    <a:pt x="67962" y="106974"/>
                  </a:lnTo>
                  <a:lnTo>
                    <a:pt x="67962" y="106974"/>
                  </a:lnTo>
                  <a:lnTo>
                    <a:pt x="68213" y="107299"/>
                  </a:lnTo>
                  <a:lnTo>
                    <a:pt x="68213" y="107299"/>
                  </a:lnTo>
                  <a:lnTo>
                    <a:pt x="68213" y="107788"/>
                  </a:lnTo>
                  <a:lnTo>
                    <a:pt x="68213" y="108113"/>
                  </a:lnTo>
                  <a:lnTo>
                    <a:pt x="68213" y="108113"/>
                  </a:lnTo>
                  <a:lnTo>
                    <a:pt x="68463" y="108113"/>
                  </a:lnTo>
                  <a:lnTo>
                    <a:pt x="68463" y="108439"/>
                  </a:lnTo>
                  <a:lnTo>
                    <a:pt x="68463" y="108439"/>
                  </a:lnTo>
                  <a:lnTo>
                    <a:pt x="68463" y="108928"/>
                  </a:lnTo>
                  <a:lnTo>
                    <a:pt x="68463" y="108928"/>
                  </a:lnTo>
                  <a:lnTo>
                    <a:pt x="68840" y="108928"/>
                  </a:lnTo>
                  <a:lnTo>
                    <a:pt x="68840" y="108928"/>
                  </a:lnTo>
                  <a:lnTo>
                    <a:pt x="69090" y="108928"/>
                  </a:lnTo>
                  <a:lnTo>
                    <a:pt x="69467" y="108928"/>
                  </a:lnTo>
                  <a:lnTo>
                    <a:pt x="69717" y="108928"/>
                  </a:lnTo>
                  <a:lnTo>
                    <a:pt x="69717" y="108928"/>
                  </a:lnTo>
                  <a:lnTo>
                    <a:pt x="69968" y="108928"/>
                  </a:lnTo>
                  <a:lnTo>
                    <a:pt x="70344" y="108439"/>
                  </a:lnTo>
                  <a:lnTo>
                    <a:pt x="70595" y="108113"/>
                  </a:lnTo>
                  <a:lnTo>
                    <a:pt x="70846" y="108113"/>
                  </a:lnTo>
                  <a:lnTo>
                    <a:pt x="70846" y="108113"/>
                  </a:lnTo>
                  <a:lnTo>
                    <a:pt x="70846" y="108113"/>
                  </a:lnTo>
                  <a:lnTo>
                    <a:pt x="70846" y="108113"/>
                  </a:lnTo>
                  <a:lnTo>
                    <a:pt x="70846" y="108439"/>
                  </a:lnTo>
                  <a:lnTo>
                    <a:pt x="70846" y="108439"/>
                  </a:lnTo>
                  <a:lnTo>
                    <a:pt x="71222" y="108928"/>
                  </a:lnTo>
                  <a:lnTo>
                    <a:pt x="71222" y="109253"/>
                  </a:lnTo>
                  <a:lnTo>
                    <a:pt x="71222" y="109253"/>
                  </a:lnTo>
                  <a:lnTo>
                    <a:pt x="71222" y="109253"/>
                  </a:lnTo>
                  <a:lnTo>
                    <a:pt x="71222" y="109579"/>
                  </a:lnTo>
                  <a:lnTo>
                    <a:pt x="71222" y="110067"/>
                  </a:lnTo>
                  <a:lnTo>
                    <a:pt x="71473" y="110067"/>
                  </a:lnTo>
                  <a:lnTo>
                    <a:pt x="71473" y="110067"/>
                  </a:lnTo>
                  <a:lnTo>
                    <a:pt x="71724" y="109579"/>
                  </a:lnTo>
                  <a:lnTo>
                    <a:pt x="72100" y="109579"/>
                  </a:lnTo>
                  <a:lnTo>
                    <a:pt x="72100" y="110067"/>
                  </a:lnTo>
                  <a:lnTo>
                    <a:pt x="72100" y="110067"/>
                  </a:lnTo>
                  <a:lnTo>
                    <a:pt x="72351" y="110067"/>
                  </a:lnTo>
                  <a:lnTo>
                    <a:pt x="72351" y="110067"/>
                  </a:lnTo>
                  <a:lnTo>
                    <a:pt x="72351" y="110067"/>
                  </a:lnTo>
                  <a:lnTo>
                    <a:pt x="72601" y="110067"/>
                  </a:lnTo>
                  <a:lnTo>
                    <a:pt x="72601" y="110067"/>
                  </a:lnTo>
                  <a:lnTo>
                    <a:pt x="72601" y="109579"/>
                  </a:lnTo>
                  <a:lnTo>
                    <a:pt x="72351" y="109579"/>
                  </a:lnTo>
                  <a:lnTo>
                    <a:pt x="72351" y="109579"/>
                  </a:lnTo>
                  <a:lnTo>
                    <a:pt x="72351" y="109253"/>
                  </a:lnTo>
                  <a:lnTo>
                    <a:pt x="72351" y="108928"/>
                  </a:lnTo>
                  <a:lnTo>
                    <a:pt x="72351" y="108439"/>
                  </a:lnTo>
                  <a:lnTo>
                    <a:pt x="72351" y="108113"/>
                  </a:lnTo>
                  <a:lnTo>
                    <a:pt x="72351" y="107788"/>
                  </a:lnTo>
                  <a:lnTo>
                    <a:pt x="72100" y="107788"/>
                  </a:lnTo>
                  <a:lnTo>
                    <a:pt x="71724" y="107299"/>
                  </a:lnTo>
                  <a:lnTo>
                    <a:pt x="71724" y="106974"/>
                  </a:lnTo>
                  <a:lnTo>
                    <a:pt x="71724" y="106974"/>
                  </a:lnTo>
                  <a:lnTo>
                    <a:pt x="71724" y="106648"/>
                  </a:lnTo>
                  <a:lnTo>
                    <a:pt x="71724" y="106648"/>
                  </a:lnTo>
                  <a:lnTo>
                    <a:pt x="71473" y="106160"/>
                  </a:lnTo>
                  <a:lnTo>
                    <a:pt x="71724" y="106160"/>
                  </a:lnTo>
                  <a:lnTo>
                    <a:pt x="71724" y="106160"/>
                  </a:lnTo>
                  <a:lnTo>
                    <a:pt x="71724" y="105834"/>
                  </a:lnTo>
                  <a:lnTo>
                    <a:pt x="71724" y="105345"/>
                  </a:lnTo>
                  <a:lnTo>
                    <a:pt x="72100" y="105345"/>
                  </a:lnTo>
                  <a:lnTo>
                    <a:pt x="72100" y="105345"/>
                  </a:lnTo>
                  <a:lnTo>
                    <a:pt x="72100" y="105345"/>
                  </a:lnTo>
                  <a:lnTo>
                    <a:pt x="72351" y="105834"/>
                  </a:lnTo>
                  <a:lnTo>
                    <a:pt x="72351" y="105834"/>
                  </a:lnTo>
                  <a:lnTo>
                    <a:pt x="72601" y="105834"/>
                  </a:lnTo>
                  <a:lnTo>
                    <a:pt x="72978" y="105834"/>
                  </a:lnTo>
                  <a:lnTo>
                    <a:pt x="72978" y="105834"/>
                  </a:lnTo>
                  <a:lnTo>
                    <a:pt x="72978" y="105834"/>
                  </a:lnTo>
                  <a:lnTo>
                    <a:pt x="73228" y="105345"/>
                  </a:lnTo>
                  <a:lnTo>
                    <a:pt x="73228" y="105345"/>
                  </a:lnTo>
                  <a:lnTo>
                    <a:pt x="73228" y="105020"/>
                  </a:lnTo>
                  <a:lnTo>
                    <a:pt x="73605" y="104694"/>
                  </a:lnTo>
                  <a:lnTo>
                    <a:pt x="73605" y="104694"/>
                  </a:lnTo>
                  <a:lnTo>
                    <a:pt x="73605" y="104694"/>
                  </a:lnTo>
                  <a:lnTo>
                    <a:pt x="73605" y="104694"/>
                  </a:lnTo>
                  <a:lnTo>
                    <a:pt x="73855" y="104694"/>
                  </a:lnTo>
                  <a:lnTo>
                    <a:pt x="74106" y="105020"/>
                  </a:lnTo>
                  <a:lnTo>
                    <a:pt x="74482" y="105020"/>
                  </a:lnTo>
                  <a:lnTo>
                    <a:pt x="74482" y="105345"/>
                  </a:lnTo>
                  <a:lnTo>
                    <a:pt x="74733" y="105345"/>
                  </a:lnTo>
                  <a:lnTo>
                    <a:pt x="74733" y="105834"/>
                  </a:lnTo>
                  <a:lnTo>
                    <a:pt x="74984" y="105834"/>
                  </a:lnTo>
                  <a:lnTo>
                    <a:pt x="74984" y="105345"/>
                  </a:lnTo>
                  <a:lnTo>
                    <a:pt x="74984" y="105345"/>
                  </a:lnTo>
                  <a:lnTo>
                    <a:pt x="74984" y="105020"/>
                  </a:lnTo>
                  <a:lnTo>
                    <a:pt x="75360" y="105020"/>
                  </a:lnTo>
                  <a:lnTo>
                    <a:pt x="75360" y="104694"/>
                  </a:lnTo>
                  <a:lnTo>
                    <a:pt x="75360" y="104694"/>
                  </a:lnTo>
                  <a:lnTo>
                    <a:pt x="75611" y="104694"/>
                  </a:lnTo>
                  <a:lnTo>
                    <a:pt x="75611" y="104694"/>
                  </a:lnTo>
                  <a:lnTo>
                    <a:pt x="75862" y="105020"/>
                  </a:lnTo>
                  <a:lnTo>
                    <a:pt x="75862" y="105020"/>
                  </a:lnTo>
                  <a:lnTo>
                    <a:pt x="75862" y="105020"/>
                  </a:lnTo>
                  <a:lnTo>
                    <a:pt x="76238" y="104694"/>
                  </a:lnTo>
                  <a:lnTo>
                    <a:pt x="76238" y="104694"/>
                  </a:lnTo>
                  <a:lnTo>
                    <a:pt x="76238" y="104694"/>
                  </a:lnTo>
                  <a:lnTo>
                    <a:pt x="76739" y="105345"/>
                  </a:lnTo>
                  <a:lnTo>
                    <a:pt x="77115" y="105345"/>
                  </a:lnTo>
                  <a:lnTo>
                    <a:pt x="77115" y="105345"/>
                  </a:lnTo>
                  <a:lnTo>
                    <a:pt x="77115" y="105020"/>
                  </a:lnTo>
                  <a:lnTo>
                    <a:pt x="77115" y="105020"/>
                  </a:lnTo>
                  <a:lnTo>
                    <a:pt x="77115" y="104694"/>
                  </a:lnTo>
                  <a:lnTo>
                    <a:pt x="77366" y="104206"/>
                  </a:lnTo>
                  <a:lnTo>
                    <a:pt x="77366" y="104206"/>
                  </a:lnTo>
                  <a:lnTo>
                    <a:pt x="77742" y="104694"/>
                  </a:lnTo>
                  <a:lnTo>
                    <a:pt x="77742" y="104694"/>
                  </a:lnTo>
                  <a:lnTo>
                    <a:pt x="77993" y="104694"/>
                  </a:lnTo>
                  <a:lnTo>
                    <a:pt x="78244" y="104206"/>
                  </a:lnTo>
                  <a:lnTo>
                    <a:pt x="78244" y="104206"/>
                  </a:lnTo>
                  <a:lnTo>
                    <a:pt x="78620" y="104206"/>
                  </a:lnTo>
                  <a:lnTo>
                    <a:pt x="78620" y="104206"/>
                  </a:lnTo>
                  <a:lnTo>
                    <a:pt x="78620" y="104206"/>
                  </a:lnTo>
                  <a:lnTo>
                    <a:pt x="78871" y="103880"/>
                  </a:lnTo>
                  <a:lnTo>
                    <a:pt x="78871" y="103880"/>
                  </a:lnTo>
                  <a:lnTo>
                    <a:pt x="78871" y="103554"/>
                  </a:lnTo>
                  <a:lnTo>
                    <a:pt x="78871" y="103066"/>
                  </a:lnTo>
                  <a:lnTo>
                    <a:pt x="78871" y="103066"/>
                  </a:lnTo>
                  <a:lnTo>
                    <a:pt x="79122" y="103066"/>
                  </a:lnTo>
                  <a:lnTo>
                    <a:pt x="79498" y="102740"/>
                  </a:lnTo>
                  <a:lnTo>
                    <a:pt x="79749" y="102740"/>
                  </a:lnTo>
                  <a:lnTo>
                    <a:pt x="79749" y="102740"/>
                  </a:lnTo>
                  <a:lnTo>
                    <a:pt x="79749" y="102740"/>
                  </a:lnTo>
                  <a:lnTo>
                    <a:pt x="80000" y="103066"/>
                  </a:lnTo>
                  <a:lnTo>
                    <a:pt x="80376" y="103066"/>
                  </a:lnTo>
                  <a:lnTo>
                    <a:pt x="80376" y="103554"/>
                  </a:lnTo>
                  <a:lnTo>
                    <a:pt x="80376" y="103554"/>
                  </a:lnTo>
                  <a:lnTo>
                    <a:pt x="80626" y="103554"/>
                  </a:lnTo>
                  <a:lnTo>
                    <a:pt x="80877" y="103880"/>
                  </a:lnTo>
                  <a:lnTo>
                    <a:pt x="81253" y="103880"/>
                  </a:lnTo>
                  <a:lnTo>
                    <a:pt x="81253" y="103880"/>
                  </a:lnTo>
                  <a:lnTo>
                    <a:pt x="81504" y="103880"/>
                  </a:lnTo>
                  <a:lnTo>
                    <a:pt x="81504" y="103880"/>
                  </a:lnTo>
                  <a:lnTo>
                    <a:pt x="81504" y="103880"/>
                  </a:lnTo>
                  <a:lnTo>
                    <a:pt x="81880" y="103880"/>
                  </a:lnTo>
                  <a:lnTo>
                    <a:pt x="81880" y="103880"/>
                  </a:lnTo>
                  <a:lnTo>
                    <a:pt x="82131" y="104206"/>
                  </a:lnTo>
                  <a:lnTo>
                    <a:pt x="82131" y="104206"/>
                  </a:lnTo>
                  <a:lnTo>
                    <a:pt x="82382" y="104206"/>
                  </a:lnTo>
                  <a:lnTo>
                    <a:pt x="82758" y="104206"/>
                  </a:lnTo>
                  <a:lnTo>
                    <a:pt x="82758" y="104206"/>
                  </a:lnTo>
                  <a:lnTo>
                    <a:pt x="83009" y="104206"/>
                  </a:lnTo>
                  <a:lnTo>
                    <a:pt x="83260" y="104694"/>
                  </a:lnTo>
                  <a:lnTo>
                    <a:pt x="83260" y="104694"/>
                  </a:lnTo>
                  <a:lnTo>
                    <a:pt x="83260" y="105020"/>
                  </a:lnTo>
                  <a:lnTo>
                    <a:pt x="83009" y="105020"/>
                  </a:lnTo>
                  <a:lnTo>
                    <a:pt x="83009" y="105020"/>
                  </a:lnTo>
                  <a:lnTo>
                    <a:pt x="83009" y="105345"/>
                  </a:lnTo>
                  <a:lnTo>
                    <a:pt x="83009" y="105834"/>
                  </a:lnTo>
                  <a:lnTo>
                    <a:pt x="83009" y="106160"/>
                  </a:lnTo>
                  <a:lnTo>
                    <a:pt x="83009" y="106160"/>
                  </a:lnTo>
                  <a:lnTo>
                    <a:pt x="83260" y="106160"/>
                  </a:lnTo>
                  <a:lnTo>
                    <a:pt x="83260" y="106160"/>
                  </a:lnTo>
                  <a:lnTo>
                    <a:pt x="83260" y="106648"/>
                  </a:lnTo>
                  <a:lnTo>
                    <a:pt x="83260" y="106974"/>
                  </a:lnTo>
                  <a:lnTo>
                    <a:pt x="83260" y="107299"/>
                  </a:lnTo>
                  <a:lnTo>
                    <a:pt x="83636" y="107299"/>
                  </a:lnTo>
                  <a:lnTo>
                    <a:pt x="83636" y="107299"/>
                  </a:lnTo>
                  <a:lnTo>
                    <a:pt x="83636" y="107299"/>
                  </a:lnTo>
                  <a:lnTo>
                    <a:pt x="83887" y="107299"/>
                  </a:lnTo>
                  <a:lnTo>
                    <a:pt x="84137" y="107299"/>
                  </a:lnTo>
                  <a:lnTo>
                    <a:pt x="84137" y="107299"/>
                  </a:lnTo>
                  <a:lnTo>
                    <a:pt x="84137" y="107788"/>
                  </a:lnTo>
                  <a:lnTo>
                    <a:pt x="84137" y="107788"/>
                  </a:lnTo>
                  <a:lnTo>
                    <a:pt x="84514" y="107788"/>
                  </a:lnTo>
                  <a:lnTo>
                    <a:pt x="84764" y="108113"/>
                  </a:lnTo>
                  <a:lnTo>
                    <a:pt x="84764" y="108113"/>
                  </a:lnTo>
                  <a:lnTo>
                    <a:pt x="85015" y="108439"/>
                  </a:lnTo>
                  <a:lnTo>
                    <a:pt x="85391" y="108439"/>
                  </a:lnTo>
                  <a:lnTo>
                    <a:pt x="85391" y="108439"/>
                  </a:lnTo>
                  <a:lnTo>
                    <a:pt x="85642" y="108439"/>
                  </a:lnTo>
                  <a:lnTo>
                    <a:pt x="86018" y="108439"/>
                  </a:lnTo>
                  <a:lnTo>
                    <a:pt x="86269" y="108439"/>
                  </a:lnTo>
                  <a:lnTo>
                    <a:pt x="86520" y="108928"/>
                  </a:lnTo>
                  <a:lnTo>
                    <a:pt x="86520" y="108928"/>
                  </a:lnTo>
                  <a:lnTo>
                    <a:pt x="86896" y="108928"/>
                  </a:lnTo>
                  <a:lnTo>
                    <a:pt x="86896" y="108439"/>
                  </a:lnTo>
                  <a:lnTo>
                    <a:pt x="87147" y="108928"/>
                  </a:lnTo>
                  <a:lnTo>
                    <a:pt x="87398" y="108439"/>
                  </a:lnTo>
                  <a:lnTo>
                    <a:pt x="87398" y="108113"/>
                  </a:lnTo>
                  <a:lnTo>
                    <a:pt x="87398" y="108113"/>
                  </a:lnTo>
                  <a:lnTo>
                    <a:pt x="87398" y="108113"/>
                  </a:lnTo>
                  <a:lnTo>
                    <a:pt x="87774" y="108439"/>
                  </a:lnTo>
                  <a:lnTo>
                    <a:pt x="87774" y="108439"/>
                  </a:lnTo>
                  <a:lnTo>
                    <a:pt x="87774" y="108439"/>
                  </a:lnTo>
                  <a:lnTo>
                    <a:pt x="87774" y="108113"/>
                  </a:lnTo>
                  <a:lnTo>
                    <a:pt x="87774" y="107788"/>
                  </a:lnTo>
                  <a:lnTo>
                    <a:pt x="87774" y="107299"/>
                  </a:lnTo>
                  <a:lnTo>
                    <a:pt x="87774" y="107299"/>
                  </a:lnTo>
                  <a:lnTo>
                    <a:pt x="88025" y="107788"/>
                  </a:lnTo>
                  <a:lnTo>
                    <a:pt x="88025" y="107788"/>
                  </a:lnTo>
                  <a:lnTo>
                    <a:pt x="88025" y="108113"/>
                  </a:lnTo>
                  <a:lnTo>
                    <a:pt x="88025" y="108113"/>
                  </a:lnTo>
                  <a:lnTo>
                    <a:pt x="88275" y="108439"/>
                  </a:lnTo>
                  <a:lnTo>
                    <a:pt x="88275" y="108439"/>
                  </a:lnTo>
                  <a:lnTo>
                    <a:pt x="88652" y="108439"/>
                  </a:lnTo>
                  <a:lnTo>
                    <a:pt x="88652" y="108439"/>
                  </a:lnTo>
                  <a:lnTo>
                    <a:pt x="88902" y="108439"/>
                  </a:lnTo>
                  <a:lnTo>
                    <a:pt x="89153" y="108439"/>
                  </a:lnTo>
                  <a:lnTo>
                    <a:pt x="89153" y="108928"/>
                  </a:lnTo>
                  <a:lnTo>
                    <a:pt x="89153" y="108928"/>
                  </a:lnTo>
                  <a:lnTo>
                    <a:pt x="89153" y="109253"/>
                  </a:lnTo>
                  <a:lnTo>
                    <a:pt x="89153" y="109253"/>
                  </a:lnTo>
                  <a:lnTo>
                    <a:pt x="89529" y="109253"/>
                  </a:lnTo>
                  <a:lnTo>
                    <a:pt x="89780" y="108928"/>
                  </a:lnTo>
                  <a:lnTo>
                    <a:pt x="90156" y="108928"/>
                  </a:lnTo>
                  <a:lnTo>
                    <a:pt x="90156" y="108928"/>
                  </a:lnTo>
                  <a:lnTo>
                    <a:pt x="90156" y="108113"/>
                  </a:lnTo>
                  <a:lnTo>
                    <a:pt x="90156" y="108113"/>
                  </a:lnTo>
                  <a:lnTo>
                    <a:pt x="90156" y="108439"/>
                  </a:lnTo>
                  <a:lnTo>
                    <a:pt x="90407" y="108928"/>
                  </a:lnTo>
                  <a:lnTo>
                    <a:pt x="90658" y="108928"/>
                  </a:lnTo>
                  <a:lnTo>
                    <a:pt x="90658" y="108928"/>
                  </a:lnTo>
                  <a:lnTo>
                    <a:pt x="91034" y="108928"/>
                  </a:lnTo>
                  <a:lnTo>
                    <a:pt x="91034" y="108928"/>
                  </a:lnTo>
                  <a:lnTo>
                    <a:pt x="91034" y="109253"/>
                  </a:lnTo>
                  <a:lnTo>
                    <a:pt x="90658" y="109579"/>
                  </a:lnTo>
                  <a:lnTo>
                    <a:pt x="90658" y="109579"/>
                  </a:lnTo>
                  <a:lnTo>
                    <a:pt x="90658" y="110067"/>
                  </a:lnTo>
                  <a:lnTo>
                    <a:pt x="90658" y="110393"/>
                  </a:lnTo>
                  <a:lnTo>
                    <a:pt x="90658" y="110881"/>
                  </a:lnTo>
                  <a:lnTo>
                    <a:pt x="90658" y="111207"/>
                  </a:lnTo>
                  <a:lnTo>
                    <a:pt x="91034" y="111207"/>
                  </a:lnTo>
                  <a:lnTo>
                    <a:pt x="91034" y="111207"/>
                  </a:lnTo>
                  <a:lnTo>
                    <a:pt x="91034" y="111533"/>
                  </a:lnTo>
                  <a:lnTo>
                    <a:pt x="91034" y="112021"/>
                  </a:lnTo>
                  <a:lnTo>
                    <a:pt x="91285" y="112347"/>
                  </a:lnTo>
                  <a:lnTo>
                    <a:pt x="91536" y="112347"/>
                  </a:lnTo>
                  <a:lnTo>
                    <a:pt x="91536" y="112347"/>
                  </a:lnTo>
                  <a:lnTo>
                    <a:pt x="91536" y="112672"/>
                  </a:lnTo>
                  <a:lnTo>
                    <a:pt x="91536" y="112672"/>
                  </a:lnTo>
                  <a:lnTo>
                    <a:pt x="91285" y="112672"/>
                  </a:lnTo>
                  <a:lnTo>
                    <a:pt x="91285" y="112672"/>
                  </a:lnTo>
                  <a:lnTo>
                    <a:pt x="91536" y="113161"/>
                  </a:lnTo>
                  <a:lnTo>
                    <a:pt x="91912" y="113161"/>
                  </a:lnTo>
                  <a:lnTo>
                    <a:pt x="92413" y="113161"/>
                  </a:lnTo>
                  <a:lnTo>
                    <a:pt x="92789" y="112672"/>
                  </a:lnTo>
                  <a:lnTo>
                    <a:pt x="92789" y="112672"/>
                  </a:lnTo>
                  <a:lnTo>
                    <a:pt x="92789" y="112347"/>
                  </a:lnTo>
                  <a:lnTo>
                    <a:pt x="92789" y="112347"/>
                  </a:lnTo>
                  <a:lnTo>
                    <a:pt x="92163" y="111533"/>
                  </a:lnTo>
                  <a:lnTo>
                    <a:pt x="92163" y="111533"/>
                  </a:lnTo>
                  <a:lnTo>
                    <a:pt x="92413" y="111533"/>
                  </a:lnTo>
                  <a:lnTo>
                    <a:pt x="92413" y="111207"/>
                  </a:lnTo>
                  <a:lnTo>
                    <a:pt x="92413" y="111207"/>
                  </a:lnTo>
                  <a:lnTo>
                    <a:pt x="91912" y="111207"/>
                  </a:lnTo>
                  <a:lnTo>
                    <a:pt x="91912" y="110881"/>
                  </a:lnTo>
                  <a:lnTo>
                    <a:pt x="91912" y="110393"/>
                  </a:lnTo>
                  <a:lnTo>
                    <a:pt x="92163" y="110067"/>
                  </a:lnTo>
                  <a:lnTo>
                    <a:pt x="92163" y="110067"/>
                  </a:lnTo>
                  <a:lnTo>
                    <a:pt x="92163" y="109579"/>
                  </a:lnTo>
                  <a:lnTo>
                    <a:pt x="92163" y="109579"/>
                  </a:lnTo>
                  <a:lnTo>
                    <a:pt x="92163" y="109579"/>
                  </a:lnTo>
                  <a:lnTo>
                    <a:pt x="92413" y="109579"/>
                  </a:lnTo>
                  <a:lnTo>
                    <a:pt x="92413" y="110067"/>
                  </a:lnTo>
                  <a:lnTo>
                    <a:pt x="92789" y="110067"/>
                  </a:lnTo>
                  <a:lnTo>
                    <a:pt x="92789" y="109579"/>
                  </a:lnTo>
                  <a:lnTo>
                    <a:pt x="93040" y="109253"/>
                  </a:lnTo>
                  <a:lnTo>
                    <a:pt x="93291" y="109253"/>
                  </a:lnTo>
                  <a:lnTo>
                    <a:pt x="93667" y="109253"/>
                  </a:lnTo>
                  <a:lnTo>
                    <a:pt x="93667" y="108928"/>
                  </a:lnTo>
                  <a:lnTo>
                    <a:pt x="93667" y="108928"/>
                  </a:lnTo>
                  <a:lnTo>
                    <a:pt x="93667" y="108928"/>
                  </a:lnTo>
                  <a:lnTo>
                    <a:pt x="93918" y="108928"/>
                  </a:lnTo>
                  <a:lnTo>
                    <a:pt x="93918" y="108928"/>
                  </a:lnTo>
                  <a:lnTo>
                    <a:pt x="94169" y="108928"/>
                  </a:lnTo>
                  <a:lnTo>
                    <a:pt x="94545" y="108928"/>
                  </a:lnTo>
                  <a:lnTo>
                    <a:pt x="94796" y="108928"/>
                  </a:lnTo>
                  <a:lnTo>
                    <a:pt x="95172" y="108439"/>
                  </a:lnTo>
                  <a:lnTo>
                    <a:pt x="95172" y="108439"/>
                  </a:lnTo>
                  <a:lnTo>
                    <a:pt x="95172" y="108113"/>
                  </a:lnTo>
                  <a:lnTo>
                    <a:pt x="95423" y="108113"/>
                  </a:lnTo>
                  <a:lnTo>
                    <a:pt x="95423" y="108113"/>
                  </a:lnTo>
                  <a:lnTo>
                    <a:pt x="95423" y="108113"/>
                  </a:lnTo>
                  <a:lnTo>
                    <a:pt x="95423" y="107788"/>
                  </a:lnTo>
                  <a:lnTo>
                    <a:pt x="95673" y="107788"/>
                  </a:lnTo>
                  <a:lnTo>
                    <a:pt x="96050" y="107788"/>
                  </a:lnTo>
                  <a:lnTo>
                    <a:pt x="96050" y="108113"/>
                  </a:lnTo>
                  <a:lnTo>
                    <a:pt x="96300" y="108113"/>
                  </a:lnTo>
                  <a:lnTo>
                    <a:pt x="96551" y="108113"/>
                  </a:lnTo>
                  <a:lnTo>
                    <a:pt x="96551" y="107788"/>
                  </a:lnTo>
                  <a:lnTo>
                    <a:pt x="96551" y="107299"/>
                  </a:lnTo>
                  <a:lnTo>
                    <a:pt x="96300" y="107299"/>
                  </a:lnTo>
                  <a:lnTo>
                    <a:pt x="96551" y="107299"/>
                  </a:lnTo>
                  <a:lnTo>
                    <a:pt x="96551" y="107299"/>
                  </a:lnTo>
                  <a:lnTo>
                    <a:pt x="96551" y="107299"/>
                  </a:lnTo>
                  <a:lnTo>
                    <a:pt x="96551" y="107788"/>
                  </a:lnTo>
                  <a:lnTo>
                    <a:pt x="96927" y="107788"/>
                  </a:lnTo>
                  <a:lnTo>
                    <a:pt x="96927" y="108113"/>
                  </a:lnTo>
                  <a:lnTo>
                    <a:pt x="97178" y="107788"/>
                  </a:lnTo>
                  <a:lnTo>
                    <a:pt x="97178" y="107788"/>
                  </a:lnTo>
                  <a:lnTo>
                    <a:pt x="97178" y="107299"/>
                  </a:lnTo>
                  <a:lnTo>
                    <a:pt x="97429" y="107299"/>
                  </a:lnTo>
                  <a:lnTo>
                    <a:pt x="97805" y="107788"/>
                  </a:lnTo>
                  <a:lnTo>
                    <a:pt x="97805" y="107299"/>
                  </a:lnTo>
                  <a:lnTo>
                    <a:pt x="97805" y="107299"/>
                  </a:lnTo>
                  <a:lnTo>
                    <a:pt x="97805" y="106974"/>
                  </a:lnTo>
                  <a:lnTo>
                    <a:pt x="98056" y="106648"/>
                  </a:lnTo>
                  <a:lnTo>
                    <a:pt x="98056" y="106974"/>
                  </a:lnTo>
                  <a:lnTo>
                    <a:pt x="98307" y="106974"/>
                  </a:lnTo>
                  <a:lnTo>
                    <a:pt x="98683" y="106648"/>
                  </a:lnTo>
                  <a:lnTo>
                    <a:pt x="98683" y="106648"/>
                  </a:lnTo>
                  <a:lnTo>
                    <a:pt x="98683" y="106648"/>
                  </a:lnTo>
                  <a:lnTo>
                    <a:pt x="98934" y="106648"/>
                  </a:lnTo>
                  <a:lnTo>
                    <a:pt x="98934" y="106648"/>
                  </a:lnTo>
                  <a:lnTo>
                    <a:pt x="98934" y="106648"/>
                  </a:lnTo>
                  <a:lnTo>
                    <a:pt x="98934" y="106160"/>
                  </a:lnTo>
                  <a:lnTo>
                    <a:pt x="98934" y="106160"/>
                  </a:lnTo>
                  <a:lnTo>
                    <a:pt x="98934" y="106648"/>
                  </a:lnTo>
                  <a:lnTo>
                    <a:pt x="98934" y="106648"/>
                  </a:lnTo>
                  <a:lnTo>
                    <a:pt x="98934" y="106160"/>
                  </a:lnTo>
                  <a:lnTo>
                    <a:pt x="98934" y="105834"/>
                  </a:lnTo>
                  <a:lnTo>
                    <a:pt x="98934" y="105834"/>
                  </a:lnTo>
                  <a:lnTo>
                    <a:pt x="98934" y="105020"/>
                  </a:lnTo>
                  <a:lnTo>
                    <a:pt x="98683" y="104694"/>
                  </a:lnTo>
                  <a:lnTo>
                    <a:pt x="98683" y="104694"/>
                  </a:lnTo>
                  <a:lnTo>
                    <a:pt x="98683" y="104694"/>
                  </a:lnTo>
                  <a:lnTo>
                    <a:pt x="98307" y="104206"/>
                  </a:lnTo>
                  <a:lnTo>
                    <a:pt x="98307" y="104206"/>
                  </a:lnTo>
                  <a:lnTo>
                    <a:pt x="98307" y="103880"/>
                  </a:lnTo>
                  <a:lnTo>
                    <a:pt x="98307" y="103880"/>
                  </a:lnTo>
                  <a:lnTo>
                    <a:pt x="98307" y="103880"/>
                  </a:lnTo>
                  <a:lnTo>
                    <a:pt x="98307" y="103554"/>
                  </a:lnTo>
                  <a:lnTo>
                    <a:pt x="98683" y="103554"/>
                  </a:lnTo>
                  <a:lnTo>
                    <a:pt x="98683" y="103554"/>
                  </a:lnTo>
                  <a:lnTo>
                    <a:pt x="98683" y="103554"/>
                  </a:lnTo>
                  <a:lnTo>
                    <a:pt x="98683" y="103880"/>
                  </a:lnTo>
                  <a:lnTo>
                    <a:pt x="98934" y="103880"/>
                  </a:lnTo>
                  <a:lnTo>
                    <a:pt x="98934" y="104206"/>
                  </a:lnTo>
                  <a:lnTo>
                    <a:pt x="98934" y="104206"/>
                  </a:lnTo>
                  <a:lnTo>
                    <a:pt x="99310" y="104694"/>
                  </a:lnTo>
                  <a:lnTo>
                    <a:pt x="99561" y="105020"/>
                  </a:lnTo>
                  <a:lnTo>
                    <a:pt x="99811" y="105345"/>
                  </a:lnTo>
                  <a:lnTo>
                    <a:pt x="99811" y="105345"/>
                  </a:lnTo>
                  <a:lnTo>
                    <a:pt x="99811" y="105345"/>
                  </a:lnTo>
                  <a:lnTo>
                    <a:pt x="100188" y="105345"/>
                  </a:lnTo>
                  <a:lnTo>
                    <a:pt x="100188" y="105345"/>
                  </a:lnTo>
                  <a:lnTo>
                    <a:pt x="100188" y="105345"/>
                  </a:lnTo>
                  <a:lnTo>
                    <a:pt x="100438" y="105345"/>
                  </a:lnTo>
                  <a:lnTo>
                    <a:pt x="100438" y="105345"/>
                  </a:lnTo>
                  <a:lnTo>
                    <a:pt x="100438" y="105345"/>
                  </a:lnTo>
                  <a:lnTo>
                    <a:pt x="100689" y="105020"/>
                  </a:lnTo>
                  <a:lnTo>
                    <a:pt x="100689" y="105020"/>
                  </a:lnTo>
                  <a:lnTo>
                    <a:pt x="101065" y="105345"/>
                  </a:lnTo>
                  <a:lnTo>
                    <a:pt x="101316" y="105345"/>
                  </a:lnTo>
                  <a:lnTo>
                    <a:pt x="101065" y="105020"/>
                  </a:lnTo>
                  <a:lnTo>
                    <a:pt x="101316" y="105020"/>
                  </a:lnTo>
                  <a:lnTo>
                    <a:pt x="101316" y="104694"/>
                  </a:lnTo>
                  <a:lnTo>
                    <a:pt x="101316" y="104694"/>
                  </a:lnTo>
                  <a:lnTo>
                    <a:pt x="101316" y="104694"/>
                  </a:lnTo>
                  <a:lnTo>
                    <a:pt x="101567" y="105020"/>
                  </a:lnTo>
                  <a:lnTo>
                    <a:pt x="101943" y="105020"/>
                  </a:lnTo>
                  <a:lnTo>
                    <a:pt x="101943" y="105020"/>
                  </a:lnTo>
                  <a:lnTo>
                    <a:pt x="101943" y="105020"/>
                  </a:lnTo>
                  <a:lnTo>
                    <a:pt x="102194" y="104694"/>
                  </a:lnTo>
                  <a:lnTo>
                    <a:pt x="102194" y="104694"/>
                  </a:lnTo>
                  <a:lnTo>
                    <a:pt x="102445" y="104206"/>
                  </a:lnTo>
                  <a:lnTo>
                    <a:pt x="102821" y="104694"/>
                  </a:lnTo>
                  <a:lnTo>
                    <a:pt x="103072" y="104694"/>
                  </a:lnTo>
                  <a:lnTo>
                    <a:pt x="103448" y="104694"/>
                  </a:lnTo>
                  <a:lnTo>
                    <a:pt x="103448" y="104694"/>
                  </a:lnTo>
                  <a:lnTo>
                    <a:pt x="103448" y="104206"/>
                  </a:lnTo>
                  <a:lnTo>
                    <a:pt x="103448" y="104206"/>
                  </a:lnTo>
                  <a:lnTo>
                    <a:pt x="103699" y="104206"/>
                  </a:lnTo>
                  <a:lnTo>
                    <a:pt x="103949" y="104206"/>
                  </a:lnTo>
                  <a:lnTo>
                    <a:pt x="104576" y="104206"/>
                  </a:lnTo>
                  <a:lnTo>
                    <a:pt x="104576" y="104206"/>
                  </a:lnTo>
                  <a:lnTo>
                    <a:pt x="104827" y="103880"/>
                  </a:lnTo>
                  <a:lnTo>
                    <a:pt x="104827" y="103880"/>
                  </a:lnTo>
                  <a:lnTo>
                    <a:pt x="104827" y="103880"/>
                  </a:lnTo>
                  <a:lnTo>
                    <a:pt x="105203" y="103880"/>
                  </a:lnTo>
                  <a:lnTo>
                    <a:pt x="105454" y="103880"/>
                  </a:lnTo>
                  <a:lnTo>
                    <a:pt x="105454" y="103880"/>
                  </a:lnTo>
                  <a:lnTo>
                    <a:pt x="105454" y="103066"/>
                  </a:lnTo>
                  <a:lnTo>
                    <a:pt x="105454" y="103066"/>
                  </a:lnTo>
                  <a:lnTo>
                    <a:pt x="105705" y="103066"/>
                  </a:lnTo>
                  <a:lnTo>
                    <a:pt x="105705" y="102740"/>
                  </a:lnTo>
                  <a:lnTo>
                    <a:pt x="105705" y="102740"/>
                  </a:lnTo>
                  <a:lnTo>
                    <a:pt x="105454" y="102740"/>
                  </a:lnTo>
                  <a:lnTo>
                    <a:pt x="105705" y="102252"/>
                  </a:lnTo>
                  <a:lnTo>
                    <a:pt x="105705" y="102252"/>
                  </a:lnTo>
                  <a:lnTo>
                    <a:pt x="106081" y="102252"/>
                  </a:lnTo>
                  <a:lnTo>
                    <a:pt x="106081" y="101601"/>
                  </a:lnTo>
                  <a:lnTo>
                    <a:pt x="106332" y="101601"/>
                  </a:lnTo>
                  <a:lnTo>
                    <a:pt x="106332" y="101926"/>
                  </a:lnTo>
                  <a:lnTo>
                    <a:pt x="106583" y="101601"/>
                  </a:lnTo>
                  <a:lnTo>
                    <a:pt x="106583" y="101601"/>
                  </a:lnTo>
                  <a:lnTo>
                    <a:pt x="106959" y="101112"/>
                  </a:lnTo>
                  <a:lnTo>
                    <a:pt x="106959" y="101112"/>
                  </a:lnTo>
                  <a:lnTo>
                    <a:pt x="106959" y="101601"/>
                  </a:lnTo>
                  <a:lnTo>
                    <a:pt x="107210" y="101601"/>
                  </a:lnTo>
                  <a:lnTo>
                    <a:pt x="107210" y="101601"/>
                  </a:lnTo>
                  <a:lnTo>
                    <a:pt x="107210" y="101112"/>
                  </a:lnTo>
                  <a:lnTo>
                    <a:pt x="107210" y="101112"/>
                  </a:lnTo>
                  <a:lnTo>
                    <a:pt x="107210" y="101112"/>
                  </a:lnTo>
                  <a:lnTo>
                    <a:pt x="107210" y="100786"/>
                  </a:lnTo>
                  <a:lnTo>
                    <a:pt x="107586" y="100786"/>
                  </a:lnTo>
                  <a:lnTo>
                    <a:pt x="107586" y="100786"/>
                  </a:lnTo>
                  <a:lnTo>
                    <a:pt x="107586" y="100461"/>
                  </a:lnTo>
                  <a:lnTo>
                    <a:pt x="107836" y="100461"/>
                  </a:lnTo>
                  <a:lnTo>
                    <a:pt x="108087" y="100461"/>
                  </a:lnTo>
                  <a:lnTo>
                    <a:pt x="108087" y="99972"/>
                  </a:lnTo>
                  <a:lnTo>
                    <a:pt x="108463" y="99647"/>
                  </a:lnTo>
                  <a:lnTo>
                    <a:pt x="108463" y="99321"/>
                  </a:lnTo>
                  <a:lnTo>
                    <a:pt x="108087" y="98833"/>
                  </a:lnTo>
                  <a:lnTo>
                    <a:pt x="107836" y="98833"/>
                  </a:lnTo>
                  <a:lnTo>
                    <a:pt x="107836" y="98833"/>
                  </a:lnTo>
                  <a:lnTo>
                    <a:pt x="107836" y="98833"/>
                  </a:lnTo>
                  <a:lnTo>
                    <a:pt x="107836" y="98507"/>
                  </a:lnTo>
                  <a:lnTo>
                    <a:pt x="107836" y="98833"/>
                  </a:lnTo>
                  <a:lnTo>
                    <a:pt x="108087" y="98507"/>
                  </a:lnTo>
                  <a:lnTo>
                    <a:pt x="108087" y="98507"/>
                  </a:lnTo>
                  <a:lnTo>
                    <a:pt x="108087" y="98018"/>
                  </a:lnTo>
                  <a:lnTo>
                    <a:pt x="108463" y="98018"/>
                  </a:lnTo>
                  <a:lnTo>
                    <a:pt x="108714" y="98507"/>
                  </a:lnTo>
                  <a:lnTo>
                    <a:pt x="108965" y="98018"/>
                  </a:lnTo>
                  <a:lnTo>
                    <a:pt x="109341" y="98507"/>
                  </a:lnTo>
                  <a:lnTo>
                    <a:pt x="109592" y="98018"/>
                  </a:lnTo>
                  <a:lnTo>
                    <a:pt x="109592" y="97693"/>
                  </a:lnTo>
                  <a:lnTo>
                    <a:pt x="109592" y="97693"/>
                  </a:lnTo>
                  <a:lnTo>
                    <a:pt x="109341" y="97693"/>
                  </a:lnTo>
                  <a:lnTo>
                    <a:pt x="109341" y="97367"/>
                  </a:lnTo>
                  <a:lnTo>
                    <a:pt x="109592" y="97367"/>
                  </a:lnTo>
                  <a:lnTo>
                    <a:pt x="109843" y="97367"/>
                  </a:lnTo>
                  <a:lnTo>
                    <a:pt x="109843" y="96879"/>
                  </a:lnTo>
                  <a:lnTo>
                    <a:pt x="109843" y="96879"/>
                  </a:lnTo>
                  <a:lnTo>
                    <a:pt x="109843" y="96553"/>
                  </a:lnTo>
                  <a:lnTo>
                    <a:pt x="109843" y="96227"/>
                  </a:lnTo>
                  <a:lnTo>
                    <a:pt x="109843" y="96227"/>
                  </a:lnTo>
                  <a:lnTo>
                    <a:pt x="110470" y="96227"/>
                  </a:lnTo>
                  <a:lnTo>
                    <a:pt x="110470" y="96227"/>
                  </a:lnTo>
                  <a:lnTo>
                    <a:pt x="110470" y="95739"/>
                  </a:lnTo>
                  <a:lnTo>
                    <a:pt x="110219" y="95739"/>
                  </a:lnTo>
                  <a:lnTo>
                    <a:pt x="110219" y="95413"/>
                  </a:lnTo>
                  <a:lnTo>
                    <a:pt x="110219" y="95413"/>
                  </a:lnTo>
                  <a:lnTo>
                    <a:pt x="110470" y="95413"/>
                  </a:lnTo>
                  <a:lnTo>
                    <a:pt x="110721" y="95413"/>
                  </a:lnTo>
                  <a:lnTo>
                    <a:pt x="110721" y="95413"/>
                  </a:lnTo>
                  <a:lnTo>
                    <a:pt x="111097" y="95413"/>
                  </a:lnTo>
                  <a:lnTo>
                    <a:pt x="111347" y="95739"/>
                  </a:lnTo>
                  <a:lnTo>
                    <a:pt x="111347" y="95413"/>
                  </a:lnTo>
                  <a:lnTo>
                    <a:pt x="111347" y="95413"/>
                  </a:lnTo>
                  <a:lnTo>
                    <a:pt x="111097" y="95088"/>
                  </a:lnTo>
                  <a:lnTo>
                    <a:pt x="111097" y="94599"/>
                  </a:lnTo>
                  <a:lnTo>
                    <a:pt x="111097" y="93785"/>
                  </a:lnTo>
                  <a:lnTo>
                    <a:pt x="111097" y="93785"/>
                  </a:lnTo>
                  <a:lnTo>
                    <a:pt x="111097" y="93459"/>
                  </a:lnTo>
                  <a:lnTo>
                    <a:pt x="110721" y="93459"/>
                  </a:lnTo>
                  <a:lnTo>
                    <a:pt x="110470" y="93459"/>
                  </a:lnTo>
                  <a:lnTo>
                    <a:pt x="110219" y="93459"/>
                  </a:lnTo>
                  <a:lnTo>
                    <a:pt x="110219" y="93459"/>
                  </a:lnTo>
                  <a:lnTo>
                    <a:pt x="109843" y="93134"/>
                  </a:lnTo>
                  <a:lnTo>
                    <a:pt x="109843" y="93134"/>
                  </a:lnTo>
                  <a:lnTo>
                    <a:pt x="110219" y="93134"/>
                  </a:lnTo>
                  <a:lnTo>
                    <a:pt x="110470" y="93134"/>
                  </a:lnTo>
                  <a:lnTo>
                    <a:pt x="110470" y="93134"/>
                  </a:lnTo>
                  <a:lnTo>
                    <a:pt x="110721" y="93134"/>
                  </a:lnTo>
                  <a:lnTo>
                    <a:pt x="111097" y="92645"/>
                  </a:lnTo>
                  <a:lnTo>
                    <a:pt x="111097" y="92320"/>
                  </a:lnTo>
                  <a:lnTo>
                    <a:pt x="111347" y="92320"/>
                  </a:lnTo>
                  <a:lnTo>
                    <a:pt x="111347" y="92320"/>
                  </a:lnTo>
                  <a:lnTo>
                    <a:pt x="111097" y="91994"/>
                  </a:lnTo>
                  <a:lnTo>
                    <a:pt x="111097" y="91994"/>
                  </a:lnTo>
                  <a:lnTo>
                    <a:pt x="111097" y="91506"/>
                  </a:lnTo>
                  <a:lnTo>
                    <a:pt x="110721" y="91180"/>
                  </a:lnTo>
                  <a:lnTo>
                    <a:pt x="110470" y="91180"/>
                  </a:lnTo>
                  <a:lnTo>
                    <a:pt x="110470" y="91180"/>
                  </a:lnTo>
                  <a:lnTo>
                    <a:pt x="110470" y="90854"/>
                  </a:lnTo>
                  <a:lnTo>
                    <a:pt x="110470" y="90854"/>
                  </a:lnTo>
                  <a:lnTo>
                    <a:pt x="110470" y="90854"/>
                  </a:lnTo>
                  <a:lnTo>
                    <a:pt x="110721" y="90854"/>
                  </a:lnTo>
                  <a:lnTo>
                    <a:pt x="110721" y="90854"/>
                  </a:lnTo>
                  <a:lnTo>
                    <a:pt x="110721" y="90366"/>
                  </a:lnTo>
                  <a:lnTo>
                    <a:pt x="110721" y="90366"/>
                  </a:lnTo>
                  <a:lnTo>
                    <a:pt x="110721" y="90854"/>
                  </a:lnTo>
                  <a:lnTo>
                    <a:pt x="111097" y="90854"/>
                  </a:lnTo>
                  <a:lnTo>
                    <a:pt x="111097" y="91180"/>
                  </a:lnTo>
                  <a:lnTo>
                    <a:pt x="111097" y="91180"/>
                  </a:lnTo>
                  <a:lnTo>
                    <a:pt x="111097" y="91180"/>
                  </a:lnTo>
                  <a:lnTo>
                    <a:pt x="111347" y="91506"/>
                  </a:lnTo>
                  <a:lnTo>
                    <a:pt x="111347" y="91180"/>
                  </a:lnTo>
                  <a:lnTo>
                    <a:pt x="111724" y="91180"/>
                  </a:lnTo>
                  <a:lnTo>
                    <a:pt x="111724" y="90854"/>
                  </a:lnTo>
                  <a:lnTo>
                    <a:pt x="111724" y="90366"/>
                  </a:lnTo>
                  <a:lnTo>
                    <a:pt x="111724" y="89552"/>
                  </a:lnTo>
                  <a:lnTo>
                    <a:pt x="111974" y="89552"/>
                  </a:lnTo>
                  <a:lnTo>
                    <a:pt x="111974" y="89226"/>
                  </a:lnTo>
                  <a:lnTo>
                    <a:pt x="112225" y="88900"/>
                  </a:lnTo>
                  <a:lnTo>
                    <a:pt x="112225" y="88412"/>
                  </a:lnTo>
                  <a:lnTo>
                    <a:pt x="112225" y="88412"/>
                  </a:lnTo>
                  <a:lnTo>
                    <a:pt x="112225" y="88086"/>
                  </a:lnTo>
                  <a:lnTo>
                    <a:pt x="112225" y="87761"/>
                  </a:lnTo>
                  <a:lnTo>
                    <a:pt x="112225" y="87761"/>
                  </a:lnTo>
                  <a:lnTo>
                    <a:pt x="112225" y="87272"/>
                  </a:lnTo>
                  <a:lnTo>
                    <a:pt x="112601" y="86947"/>
                  </a:lnTo>
                  <a:lnTo>
                    <a:pt x="112601" y="86947"/>
                  </a:lnTo>
                  <a:lnTo>
                    <a:pt x="112225" y="86621"/>
                  </a:lnTo>
                  <a:lnTo>
                    <a:pt x="112225" y="86621"/>
                  </a:lnTo>
                  <a:lnTo>
                    <a:pt x="112225" y="86621"/>
                  </a:lnTo>
                  <a:lnTo>
                    <a:pt x="112601" y="86621"/>
                  </a:lnTo>
                  <a:lnTo>
                    <a:pt x="112601" y="86621"/>
                  </a:lnTo>
                  <a:lnTo>
                    <a:pt x="112852" y="86132"/>
                  </a:lnTo>
                  <a:lnTo>
                    <a:pt x="112852" y="85318"/>
                  </a:lnTo>
                  <a:lnTo>
                    <a:pt x="112852" y="85318"/>
                  </a:lnTo>
                  <a:lnTo>
                    <a:pt x="113103" y="85318"/>
                  </a:lnTo>
                  <a:lnTo>
                    <a:pt x="113103" y="85807"/>
                  </a:lnTo>
                  <a:lnTo>
                    <a:pt x="113479" y="85807"/>
                  </a:lnTo>
                  <a:lnTo>
                    <a:pt x="113730" y="85318"/>
                  </a:lnTo>
                  <a:lnTo>
                    <a:pt x="113981" y="85318"/>
                  </a:lnTo>
                  <a:lnTo>
                    <a:pt x="113730" y="85318"/>
                  </a:lnTo>
                  <a:lnTo>
                    <a:pt x="113730" y="84667"/>
                  </a:lnTo>
                  <a:lnTo>
                    <a:pt x="113479" y="84179"/>
                  </a:lnTo>
                  <a:lnTo>
                    <a:pt x="113479" y="84179"/>
                  </a:lnTo>
                  <a:lnTo>
                    <a:pt x="113730" y="83853"/>
                  </a:lnTo>
                  <a:lnTo>
                    <a:pt x="113730" y="83853"/>
                  </a:lnTo>
                  <a:lnTo>
                    <a:pt x="113730" y="83527"/>
                  </a:lnTo>
                  <a:lnTo>
                    <a:pt x="113479" y="83527"/>
                  </a:lnTo>
                  <a:lnTo>
                    <a:pt x="113479" y="83527"/>
                  </a:lnTo>
                  <a:lnTo>
                    <a:pt x="113730" y="83527"/>
                  </a:lnTo>
                  <a:lnTo>
                    <a:pt x="113479" y="83039"/>
                  </a:lnTo>
                  <a:lnTo>
                    <a:pt x="113103" y="82713"/>
                  </a:lnTo>
                  <a:lnTo>
                    <a:pt x="112852" y="82713"/>
                  </a:lnTo>
                  <a:lnTo>
                    <a:pt x="113103" y="82388"/>
                  </a:lnTo>
                  <a:lnTo>
                    <a:pt x="113103" y="82388"/>
                  </a:lnTo>
                  <a:lnTo>
                    <a:pt x="113479" y="82388"/>
                  </a:lnTo>
                  <a:lnTo>
                    <a:pt x="113479" y="82388"/>
                  </a:lnTo>
                  <a:lnTo>
                    <a:pt x="113730" y="82388"/>
                  </a:lnTo>
                  <a:lnTo>
                    <a:pt x="113981" y="82713"/>
                  </a:lnTo>
                  <a:lnTo>
                    <a:pt x="113981" y="82713"/>
                  </a:lnTo>
                  <a:lnTo>
                    <a:pt x="113730" y="81573"/>
                  </a:lnTo>
                  <a:lnTo>
                    <a:pt x="113730" y="81085"/>
                  </a:lnTo>
                  <a:lnTo>
                    <a:pt x="113479" y="80759"/>
                  </a:lnTo>
                  <a:lnTo>
                    <a:pt x="113479" y="81085"/>
                  </a:lnTo>
                  <a:lnTo>
                    <a:pt x="113103" y="81573"/>
                  </a:lnTo>
                  <a:lnTo>
                    <a:pt x="112852" y="81573"/>
                  </a:lnTo>
                  <a:lnTo>
                    <a:pt x="112852" y="81085"/>
                  </a:lnTo>
                  <a:lnTo>
                    <a:pt x="113103" y="81085"/>
                  </a:lnTo>
                  <a:lnTo>
                    <a:pt x="113479" y="80434"/>
                  </a:lnTo>
                  <a:lnTo>
                    <a:pt x="113730" y="79945"/>
                  </a:lnTo>
                  <a:lnTo>
                    <a:pt x="113730" y="79945"/>
                  </a:lnTo>
                  <a:lnTo>
                    <a:pt x="113479" y="79945"/>
                  </a:lnTo>
                  <a:lnTo>
                    <a:pt x="113103" y="79945"/>
                  </a:lnTo>
                  <a:lnTo>
                    <a:pt x="112852" y="79620"/>
                  </a:lnTo>
                  <a:lnTo>
                    <a:pt x="111974" y="78805"/>
                  </a:lnTo>
                  <a:lnTo>
                    <a:pt x="111974" y="78805"/>
                  </a:lnTo>
                  <a:lnTo>
                    <a:pt x="111724" y="78480"/>
                  </a:lnTo>
                  <a:lnTo>
                    <a:pt x="111347" y="78480"/>
                  </a:lnTo>
                  <a:lnTo>
                    <a:pt x="111097" y="79294"/>
                  </a:lnTo>
                  <a:lnTo>
                    <a:pt x="110470" y="79294"/>
                  </a:lnTo>
                  <a:lnTo>
                    <a:pt x="109843" y="78480"/>
                  </a:lnTo>
                  <a:lnTo>
                    <a:pt x="109592" y="78805"/>
                  </a:lnTo>
                  <a:lnTo>
                    <a:pt x="109341" y="78805"/>
                  </a:lnTo>
                  <a:lnTo>
                    <a:pt x="109341" y="78805"/>
                  </a:lnTo>
                  <a:lnTo>
                    <a:pt x="109341" y="78805"/>
                  </a:lnTo>
                  <a:lnTo>
                    <a:pt x="109341" y="78805"/>
                  </a:lnTo>
                  <a:lnTo>
                    <a:pt x="109843" y="78480"/>
                  </a:lnTo>
                  <a:lnTo>
                    <a:pt x="110219" y="78480"/>
                  </a:lnTo>
                  <a:lnTo>
                    <a:pt x="110470" y="78480"/>
                  </a:lnTo>
                  <a:lnTo>
                    <a:pt x="110721" y="78480"/>
                  </a:lnTo>
                  <a:lnTo>
                    <a:pt x="110721" y="78154"/>
                  </a:lnTo>
                  <a:lnTo>
                    <a:pt x="110721" y="77666"/>
                  </a:lnTo>
                  <a:lnTo>
                    <a:pt x="111347" y="77340"/>
                  </a:lnTo>
                  <a:lnTo>
                    <a:pt x="111724" y="76852"/>
                  </a:lnTo>
                  <a:lnTo>
                    <a:pt x="111724" y="76852"/>
                  </a:lnTo>
                  <a:lnTo>
                    <a:pt x="112225" y="76526"/>
                  </a:lnTo>
                  <a:lnTo>
                    <a:pt x="112225" y="76526"/>
                  </a:lnTo>
                  <a:lnTo>
                    <a:pt x="112601" y="76526"/>
                  </a:lnTo>
                  <a:lnTo>
                    <a:pt x="112225" y="76200"/>
                  </a:lnTo>
                  <a:lnTo>
                    <a:pt x="112225" y="75712"/>
                  </a:lnTo>
                  <a:lnTo>
                    <a:pt x="111724" y="75061"/>
                  </a:lnTo>
                  <a:lnTo>
                    <a:pt x="110721" y="74572"/>
                  </a:lnTo>
                  <a:lnTo>
                    <a:pt x="110470" y="74246"/>
                  </a:lnTo>
                  <a:lnTo>
                    <a:pt x="109843" y="73921"/>
                  </a:lnTo>
                  <a:lnTo>
                    <a:pt x="109592" y="73921"/>
                  </a:lnTo>
                  <a:lnTo>
                    <a:pt x="109341" y="73432"/>
                  </a:lnTo>
                  <a:lnTo>
                    <a:pt x="109341" y="73107"/>
                  </a:lnTo>
                  <a:lnTo>
                    <a:pt x="108965" y="73107"/>
                  </a:lnTo>
                  <a:lnTo>
                    <a:pt x="108463" y="72618"/>
                  </a:lnTo>
                  <a:lnTo>
                    <a:pt x="108087" y="73107"/>
                  </a:lnTo>
                  <a:lnTo>
                    <a:pt x="107836" y="73107"/>
                  </a:lnTo>
                  <a:lnTo>
                    <a:pt x="107586" y="73107"/>
                  </a:lnTo>
                  <a:lnTo>
                    <a:pt x="107586" y="73107"/>
                  </a:lnTo>
                  <a:lnTo>
                    <a:pt x="107586" y="73107"/>
                  </a:lnTo>
                  <a:lnTo>
                    <a:pt x="107836" y="73107"/>
                  </a:lnTo>
                  <a:lnTo>
                    <a:pt x="108463" y="72293"/>
                  </a:lnTo>
                  <a:lnTo>
                    <a:pt x="108714" y="72618"/>
                  </a:lnTo>
                  <a:lnTo>
                    <a:pt x="109341" y="72618"/>
                  </a:lnTo>
                  <a:lnTo>
                    <a:pt x="109592" y="73432"/>
                  </a:lnTo>
                  <a:lnTo>
                    <a:pt x="110219" y="73432"/>
                  </a:lnTo>
                  <a:lnTo>
                    <a:pt x="110470" y="73432"/>
                  </a:lnTo>
                  <a:lnTo>
                    <a:pt x="110470" y="73432"/>
                  </a:lnTo>
                  <a:lnTo>
                    <a:pt x="111347" y="73921"/>
                  </a:lnTo>
                  <a:lnTo>
                    <a:pt x="111724" y="73921"/>
                  </a:lnTo>
                  <a:lnTo>
                    <a:pt x="111974" y="73921"/>
                  </a:lnTo>
                  <a:lnTo>
                    <a:pt x="111724" y="73432"/>
                  </a:lnTo>
                  <a:lnTo>
                    <a:pt x="111724" y="73107"/>
                  </a:lnTo>
                  <a:lnTo>
                    <a:pt x="111347" y="72618"/>
                  </a:lnTo>
                  <a:lnTo>
                    <a:pt x="111097" y="72618"/>
                  </a:lnTo>
                  <a:lnTo>
                    <a:pt x="110721" y="72293"/>
                  </a:lnTo>
                  <a:lnTo>
                    <a:pt x="110470" y="72293"/>
                  </a:lnTo>
                  <a:lnTo>
                    <a:pt x="110470" y="72293"/>
                  </a:lnTo>
                  <a:lnTo>
                    <a:pt x="110219" y="71478"/>
                  </a:lnTo>
                  <a:lnTo>
                    <a:pt x="109843" y="71478"/>
                  </a:lnTo>
                  <a:lnTo>
                    <a:pt x="109843" y="71153"/>
                  </a:lnTo>
                  <a:lnTo>
                    <a:pt x="108965" y="70827"/>
                  </a:lnTo>
                  <a:lnTo>
                    <a:pt x="108714" y="70827"/>
                  </a:lnTo>
                  <a:lnTo>
                    <a:pt x="108714" y="70339"/>
                  </a:lnTo>
                  <a:lnTo>
                    <a:pt x="108714" y="70013"/>
                  </a:lnTo>
                  <a:lnTo>
                    <a:pt x="108463" y="69199"/>
                  </a:lnTo>
                  <a:lnTo>
                    <a:pt x="107836" y="68385"/>
                  </a:lnTo>
                  <a:lnTo>
                    <a:pt x="107586" y="67734"/>
                  </a:lnTo>
                  <a:lnTo>
                    <a:pt x="106959" y="67245"/>
                  </a:lnTo>
                  <a:lnTo>
                    <a:pt x="106959" y="66919"/>
                  </a:lnTo>
                  <a:lnTo>
                    <a:pt x="106583" y="66594"/>
                  </a:lnTo>
                  <a:lnTo>
                    <a:pt x="106081" y="65454"/>
                  </a:lnTo>
                  <a:lnTo>
                    <a:pt x="106081" y="64966"/>
                  </a:lnTo>
                  <a:lnTo>
                    <a:pt x="105705" y="64966"/>
                  </a:lnTo>
                  <a:lnTo>
                    <a:pt x="105203" y="64640"/>
                  </a:lnTo>
                  <a:lnTo>
                    <a:pt x="104576" y="64151"/>
                  </a:lnTo>
                  <a:lnTo>
                    <a:pt x="104326" y="63826"/>
                  </a:lnTo>
                  <a:lnTo>
                    <a:pt x="103699" y="63500"/>
                  </a:lnTo>
                  <a:lnTo>
                    <a:pt x="103448" y="63500"/>
                  </a:lnTo>
                  <a:lnTo>
                    <a:pt x="103072" y="63500"/>
                  </a:lnTo>
                  <a:lnTo>
                    <a:pt x="103072" y="63012"/>
                  </a:lnTo>
                  <a:lnTo>
                    <a:pt x="102821" y="62360"/>
                  </a:lnTo>
                  <a:lnTo>
                    <a:pt x="103072" y="62360"/>
                  </a:lnTo>
                  <a:lnTo>
                    <a:pt x="103072" y="61546"/>
                  </a:lnTo>
                  <a:lnTo>
                    <a:pt x="103448" y="61058"/>
                  </a:lnTo>
                  <a:lnTo>
                    <a:pt x="103448" y="60732"/>
                  </a:lnTo>
                  <a:lnTo>
                    <a:pt x="103448" y="60407"/>
                  </a:lnTo>
                  <a:lnTo>
                    <a:pt x="103699" y="60407"/>
                  </a:lnTo>
                  <a:lnTo>
                    <a:pt x="103699" y="60407"/>
                  </a:lnTo>
                  <a:lnTo>
                    <a:pt x="103699" y="59918"/>
                  </a:lnTo>
                  <a:lnTo>
                    <a:pt x="103949" y="59918"/>
                  </a:lnTo>
                  <a:lnTo>
                    <a:pt x="103949" y="59592"/>
                  </a:lnTo>
                  <a:lnTo>
                    <a:pt x="103949" y="59592"/>
                  </a:lnTo>
                  <a:lnTo>
                    <a:pt x="104326" y="59267"/>
                  </a:lnTo>
                  <a:lnTo>
                    <a:pt x="104326" y="59267"/>
                  </a:lnTo>
                  <a:lnTo>
                    <a:pt x="104326" y="58778"/>
                  </a:lnTo>
                  <a:lnTo>
                    <a:pt x="103949" y="58778"/>
                  </a:lnTo>
                  <a:lnTo>
                    <a:pt x="103699" y="58453"/>
                  </a:lnTo>
                  <a:lnTo>
                    <a:pt x="103699" y="58453"/>
                  </a:lnTo>
                  <a:lnTo>
                    <a:pt x="103949" y="58453"/>
                  </a:lnTo>
                  <a:lnTo>
                    <a:pt x="103949" y="58127"/>
                  </a:lnTo>
                  <a:lnTo>
                    <a:pt x="104326" y="58127"/>
                  </a:lnTo>
                  <a:lnTo>
                    <a:pt x="104326" y="58453"/>
                  </a:lnTo>
                  <a:lnTo>
                    <a:pt x="104326" y="58453"/>
                  </a:lnTo>
                  <a:lnTo>
                    <a:pt x="104326" y="58778"/>
                  </a:lnTo>
                  <a:lnTo>
                    <a:pt x="104576" y="58778"/>
                  </a:lnTo>
                  <a:lnTo>
                    <a:pt x="104576" y="58453"/>
                  </a:lnTo>
                  <a:lnTo>
                    <a:pt x="104827" y="58453"/>
                  </a:lnTo>
                  <a:lnTo>
                    <a:pt x="104827" y="58453"/>
                  </a:lnTo>
                  <a:lnTo>
                    <a:pt x="104827" y="57639"/>
                  </a:lnTo>
                  <a:lnTo>
                    <a:pt x="104827" y="57639"/>
                  </a:lnTo>
                  <a:lnTo>
                    <a:pt x="104827" y="57313"/>
                  </a:lnTo>
                  <a:lnTo>
                    <a:pt x="105203" y="57639"/>
                  </a:lnTo>
                  <a:lnTo>
                    <a:pt x="105203" y="57313"/>
                  </a:lnTo>
                  <a:lnTo>
                    <a:pt x="105203" y="57313"/>
                  </a:lnTo>
                  <a:lnTo>
                    <a:pt x="105203" y="57313"/>
                  </a:lnTo>
                  <a:lnTo>
                    <a:pt x="104827" y="56824"/>
                  </a:lnTo>
                  <a:lnTo>
                    <a:pt x="104827" y="56824"/>
                  </a:lnTo>
                  <a:lnTo>
                    <a:pt x="104827" y="56824"/>
                  </a:lnTo>
                  <a:lnTo>
                    <a:pt x="105203" y="56824"/>
                  </a:lnTo>
                  <a:lnTo>
                    <a:pt x="105454" y="56824"/>
                  </a:lnTo>
                  <a:lnTo>
                    <a:pt x="105454" y="56499"/>
                  </a:lnTo>
                  <a:lnTo>
                    <a:pt x="106081" y="56499"/>
                  </a:lnTo>
                  <a:lnTo>
                    <a:pt x="106332" y="56173"/>
                  </a:lnTo>
                  <a:lnTo>
                    <a:pt x="106959" y="55685"/>
                  </a:lnTo>
                  <a:lnTo>
                    <a:pt x="107210" y="55685"/>
                  </a:lnTo>
                  <a:lnTo>
                    <a:pt x="107586" y="55685"/>
                  </a:lnTo>
                  <a:lnTo>
                    <a:pt x="107586" y="55685"/>
                  </a:lnTo>
                  <a:lnTo>
                    <a:pt x="107586" y="55685"/>
                  </a:lnTo>
                  <a:lnTo>
                    <a:pt x="107836" y="56173"/>
                  </a:lnTo>
                  <a:lnTo>
                    <a:pt x="107836" y="56173"/>
                  </a:lnTo>
                  <a:lnTo>
                    <a:pt x="107836" y="56173"/>
                  </a:lnTo>
                  <a:lnTo>
                    <a:pt x="108087" y="55685"/>
                  </a:lnTo>
                  <a:lnTo>
                    <a:pt x="108087" y="55685"/>
                  </a:lnTo>
                  <a:lnTo>
                    <a:pt x="108087" y="55359"/>
                  </a:lnTo>
                  <a:lnTo>
                    <a:pt x="108087" y="55359"/>
                  </a:lnTo>
                  <a:lnTo>
                    <a:pt x="107836" y="55359"/>
                  </a:lnTo>
                  <a:lnTo>
                    <a:pt x="108087" y="55033"/>
                  </a:lnTo>
                  <a:lnTo>
                    <a:pt x="108087" y="55033"/>
                  </a:lnTo>
                  <a:lnTo>
                    <a:pt x="107836" y="54219"/>
                  </a:lnTo>
                  <a:lnTo>
                    <a:pt x="108087" y="54219"/>
                  </a:lnTo>
                  <a:lnTo>
                    <a:pt x="107836" y="53894"/>
                  </a:lnTo>
                  <a:lnTo>
                    <a:pt x="107586" y="54219"/>
                  </a:lnTo>
                  <a:lnTo>
                    <a:pt x="107210" y="54219"/>
                  </a:lnTo>
                  <a:lnTo>
                    <a:pt x="106959" y="53894"/>
                  </a:lnTo>
                  <a:lnTo>
                    <a:pt x="106583" y="53894"/>
                  </a:lnTo>
                  <a:lnTo>
                    <a:pt x="106583" y="53894"/>
                  </a:lnTo>
                  <a:lnTo>
                    <a:pt x="106583" y="53894"/>
                  </a:lnTo>
                  <a:lnTo>
                    <a:pt x="106332" y="53894"/>
                  </a:lnTo>
                  <a:lnTo>
                    <a:pt x="106081" y="53894"/>
                  </a:lnTo>
                  <a:lnTo>
                    <a:pt x="105705" y="53894"/>
                  </a:lnTo>
                  <a:lnTo>
                    <a:pt x="105454" y="53894"/>
                  </a:lnTo>
                  <a:lnTo>
                    <a:pt x="105203" y="53405"/>
                  </a:lnTo>
                  <a:lnTo>
                    <a:pt x="104576" y="53405"/>
                  </a:lnTo>
                  <a:lnTo>
                    <a:pt x="104326" y="53080"/>
                  </a:lnTo>
                  <a:lnTo>
                    <a:pt x="103448" y="52591"/>
                  </a:lnTo>
                  <a:lnTo>
                    <a:pt x="102821" y="53080"/>
                  </a:lnTo>
                  <a:lnTo>
                    <a:pt x="102445" y="53080"/>
                  </a:lnTo>
                  <a:lnTo>
                    <a:pt x="102445" y="53080"/>
                  </a:lnTo>
                  <a:lnTo>
                    <a:pt x="102445" y="53080"/>
                  </a:lnTo>
                  <a:lnTo>
                    <a:pt x="102821" y="53405"/>
                  </a:lnTo>
                  <a:lnTo>
                    <a:pt x="102445" y="53894"/>
                  </a:lnTo>
                  <a:lnTo>
                    <a:pt x="101943" y="54219"/>
                  </a:lnTo>
                  <a:lnTo>
                    <a:pt x="102194" y="54545"/>
                  </a:lnTo>
                  <a:lnTo>
                    <a:pt x="102194" y="54545"/>
                  </a:lnTo>
                  <a:lnTo>
                    <a:pt x="101943" y="55033"/>
                  </a:lnTo>
                  <a:lnTo>
                    <a:pt x="101316" y="55033"/>
                  </a:lnTo>
                  <a:lnTo>
                    <a:pt x="101065" y="55033"/>
                  </a:lnTo>
                  <a:lnTo>
                    <a:pt x="100438" y="55033"/>
                  </a:lnTo>
                  <a:lnTo>
                    <a:pt x="100188" y="54545"/>
                  </a:lnTo>
                  <a:lnTo>
                    <a:pt x="100188" y="54219"/>
                  </a:lnTo>
                  <a:lnTo>
                    <a:pt x="99811" y="53894"/>
                  </a:lnTo>
                  <a:lnTo>
                    <a:pt x="99811" y="53405"/>
                  </a:lnTo>
                  <a:lnTo>
                    <a:pt x="99811" y="53080"/>
                  </a:lnTo>
                  <a:lnTo>
                    <a:pt x="99811" y="53080"/>
                  </a:lnTo>
                  <a:lnTo>
                    <a:pt x="99811" y="53080"/>
                  </a:lnTo>
                  <a:lnTo>
                    <a:pt x="99811" y="52591"/>
                  </a:lnTo>
                  <a:lnTo>
                    <a:pt x="99811" y="52591"/>
                  </a:lnTo>
                  <a:lnTo>
                    <a:pt x="99561" y="52265"/>
                  </a:lnTo>
                  <a:lnTo>
                    <a:pt x="99310" y="51940"/>
                  </a:lnTo>
                  <a:lnTo>
                    <a:pt x="98934" y="51451"/>
                  </a:lnTo>
                  <a:lnTo>
                    <a:pt x="98683" y="51451"/>
                  </a:lnTo>
                  <a:lnTo>
                    <a:pt x="98307" y="51451"/>
                  </a:lnTo>
                  <a:lnTo>
                    <a:pt x="97178" y="51451"/>
                  </a:lnTo>
                  <a:lnTo>
                    <a:pt x="96300" y="50800"/>
                  </a:lnTo>
                  <a:lnTo>
                    <a:pt x="96050" y="50312"/>
                  </a:lnTo>
                  <a:lnTo>
                    <a:pt x="95673" y="49986"/>
                  </a:lnTo>
                  <a:lnTo>
                    <a:pt x="95423" y="49660"/>
                  </a:lnTo>
                  <a:lnTo>
                    <a:pt x="95423" y="49172"/>
                  </a:lnTo>
                  <a:lnTo>
                    <a:pt x="95423" y="48032"/>
                  </a:lnTo>
                  <a:lnTo>
                    <a:pt x="95673" y="48032"/>
                  </a:lnTo>
                  <a:lnTo>
                    <a:pt x="96050" y="47706"/>
                  </a:lnTo>
                  <a:lnTo>
                    <a:pt x="96300" y="48032"/>
                  </a:lnTo>
                  <a:lnTo>
                    <a:pt x="96551" y="48358"/>
                  </a:lnTo>
                  <a:lnTo>
                    <a:pt x="97178" y="48032"/>
                  </a:lnTo>
                  <a:lnTo>
                    <a:pt x="97178" y="48032"/>
                  </a:lnTo>
                  <a:lnTo>
                    <a:pt x="97429" y="48032"/>
                  </a:lnTo>
                  <a:lnTo>
                    <a:pt x="97805" y="48032"/>
                  </a:lnTo>
                  <a:lnTo>
                    <a:pt x="98056" y="48032"/>
                  </a:lnTo>
                  <a:lnTo>
                    <a:pt x="98056" y="48032"/>
                  </a:lnTo>
                  <a:lnTo>
                    <a:pt x="98056" y="47706"/>
                  </a:lnTo>
                  <a:lnTo>
                    <a:pt x="98307" y="47218"/>
                  </a:lnTo>
                  <a:lnTo>
                    <a:pt x="98307" y="46567"/>
                  </a:lnTo>
                  <a:lnTo>
                    <a:pt x="98307" y="46078"/>
                  </a:lnTo>
                  <a:lnTo>
                    <a:pt x="98307" y="46078"/>
                  </a:lnTo>
                  <a:lnTo>
                    <a:pt x="98683" y="45427"/>
                  </a:lnTo>
                  <a:lnTo>
                    <a:pt x="98934" y="44938"/>
                  </a:lnTo>
                  <a:lnTo>
                    <a:pt x="99811" y="44613"/>
                  </a:lnTo>
                  <a:lnTo>
                    <a:pt x="100188" y="44613"/>
                  </a:lnTo>
                  <a:lnTo>
                    <a:pt x="100188" y="43473"/>
                  </a:lnTo>
                  <a:lnTo>
                    <a:pt x="100438" y="42985"/>
                  </a:lnTo>
                  <a:lnTo>
                    <a:pt x="100438" y="42985"/>
                  </a:lnTo>
                  <a:lnTo>
                    <a:pt x="100438" y="42659"/>
                  </a:lnTo>
                  <a:lnTo>
                    <a:pt x="100689" y="42659"/>
                  </a:lnTo>
                  <a:lnTo>
                    <a:pt x="100689" y="42333"/>
                  </a:lnTo>
                  <a:lnTo>
                    <a:pt x="101567" y="42333"/>
                  </a:lnTo>
                  <a:lnTo>
                    <a:pt x="101567" y="42659"/>
                  </a:lnTo>
                  <a:lnTo>
                    <a:pt x="101943" y="42659"/>
                  </a:lnTo>
                  <a:lnTo>
                    <a:pt x="101943" y="42333"/>
                  </a:lnTo>
                  <a:lnTo>
                    <a:pt x="101943" y="42333"/>
                  </a:lnTo>
                  <a:lnTo>
                    <a:pt x="101943" y="41845"/>
                  </a:lnTo>
                  <a:lnTo>
                    <a:pt x="102194" y="42659"/>
                  </a:lnTo>
                  <a:lnTo>
                    <a:pt x="103072" y="42985"/>
                  </a:lnTo>
                  <a:lnTo>
                    <a:pt x="103448" y="43473"/>
                  </a:lnTo>
                  <a:lnTo>
                    <a:pt x="103448" y="43473"/>
                  </a:lnTo>
                  <a:lnTo>
                    <a:pt x="103699" y="43799"/>
                  </a:lnTo>
                  <a:lnTo>
                    <a:pt x="103699" y="44124"/>
                  </a:lnTo>
                  <a:lnTo>
                    <a:pt x="103699" y="44124"/>
                  </a:lnTo>
                  <a:lnTo>
                    <a:pt x="103448" y="44938"/>
                  </a:lnTo>
                  <a:lnTo>
                    <a:pt x="103448" y="45427"/>
                  </a:lnTo>
                  <a:lnTo>
                    <a:pt x="103072" y="45427"/>
                  </a:lnTo>
                  <a:lnTo>
                    <a:pt x="102821" y="45753"/>
                  </a:lnTo>
                  <a:lnTo>
                    <a:pt x="102821" y="45753"/>
                  </a:lnTo>
                  <a:lnTo>
                    <a:pt x="102821" y="46078"/>
                  </a:lnTo>
                  <a:lnTo>
                    <a:pt x="103072" y="46567"/>
                  </a:lnTo>
                  <a:lnTo>
                    <a:pt x="102821" y="46567"/>
                  </a:lnTo>
                  <a:lnTo>
                    <a:pt x="102821" y="46567"/>
                  </a:lnTo>
                  <a:lnTo>
                    <a:pt x="102445" y="46567"/>
                  </a:lnTo>
                  <a:lnTo>
                    <a:pt x="102445" y="46892"/>
                  </a:lnTo>
                  <a:lnTo>
                    <a:pt x="102821" y="46892"/>
                  </a:lnTo>
                  <a:lnTo>
                    <a:pt x="102821" y="47218"/>
                  </a:lnTo>
                  <a:lnTo>
                    <a:pt x="103072" y="47218"/>
                  </a:lnTo>
                  <a:lnTo>
                    <a:pt x="103448" y="47218"/>
                  </a:lnTo>
                  <a:lnTo>
                    <a:pt x="103949" y="47218"/>
                  </a:lnTo>
                  <a:lnTo>
                    <a:pt x="103949" y="47218"/>
                  </a:lnTo>
                  <a:lnTo>
                    <a:pt x="103949" y="47218"/>
                  </a:lnTo>
                  <a:lnTo>
                    <a:pt x="103699" y="47706"/>
                  </a:lnTo>
                  <a:lnTo>
                    <a:pt x="103699" y="47706"/>
                  </a:lnTo>
                  <a:lnTo>
                    <a:pt x="103949" y="48032"/>
                  </a:lnTo>
                  <a:lnTo>
                    <a:pt x="103448" y="48846"/>
                  </a:lnTo>
                  <a:lnTo>
                    <a:pt x="103072" y="48846"/>
                  </a:lnTo>
                  <a:lnTo>
                    <a:pt x="103072" y="48846"/>
                  </a:lnTo>
                  <a:lnTo>
                    <a:pt x="103072" y="49172"/>
                  </a:lnTo>
                  <a:lnTo>
                    <a:pt x="103448" y="49660"/>
                  </a:lnTo>
                  <a:lnTo>
                    <a:pt x="103448" y="49660"/>
                  </a:lnTo>
                  <a:lnTo>
                    <a:pt x="103448" y="49172"/>
                  </a:lnTo>
                  <a:lnTo>
                    <a:pt x="103699" y="49172"/>
                  </a:lnTo>
                  <a:lnTo>
                    <a:pt x="103949" y="49172"/>
                  </a:lnTo>
                  <a:lnTo>
                    <a:pt x="104326" y="48846"/>
                  </a:lnTo>
                  <a:lnTo>
                    <a:pt x="104326" y="48846"/>
                  </a:lnTo>
                  <a:lnTo>
                    <a:pt x="103949" y="48846"/>
                  </a:lnTo>
                  <a:lnTo>
                    <a:pt x="103949" y="48358"/>
                  </a:lnTo>
                  <a:lnTo>
                    <a:pt x="104326" y="48358"/>
                  </a:lnTo>
                  <a:lnTo>
                    <a:pt x="104326" y="48358"/>
                  </a:lnTo>
                  <a:lnTo>
                    <a:pt x="104576" y="48358"/>
                  </a:lnTo>
                  <a:lnTo>
                    <a:pt x="104576" y="48358"/>
                  </a:lnTo>
                  <a:lnTo>
                    <a:pt x="104576" y="48358"/>
                  </a:lnTo>
                  <a:lnTo>
                    <a:pt x="104827" y="48032"/>
                  </a:lnTo>
                  <a:lnTo>
                    <a:pt x="104827" y="48032"/>
                  </a:lnTo>
                  <a:lnTo>
                    <a:pt x="104827" y="47706"/>
                  </a:lnTo>
                  <a:lnTo>
                    <a:pt x="105203" y="47218"/>
                  </a:lnTo>
                  <a:lnTo>
                    <a:pt x="105705" y="46567"/>
                  </a:lnTo>
                  <a:lnTo>
                    <a:pt x="106081" y="46567"/>
                  </a:lnTo>
                  <a:lnTo>
                    <a:pt x="106332" y="46078"/>
                  </a:lnTo>
                  <a:lnTo>
                    <a:pt x="106583" y="46078"/>
                  </a:lnTo>
                  <a:lnTo>
                    <a:pt x="106583" y="46078"/>
                  </a:lnTo>
                  <a:lnTo>
                    <a:pt x="106959" y="45753"/>
                  </a:lnTo>
                  <a:lnTo>
                    <a:pt x="107210" y="45753"/>
                  </a:lnTo>
                  <a:lnTo>
                    <a:pt x="107210" y="45753"/>
                  </a:lnTo>
                  <a:lnTo>
                    <a:pt x="107210" y="45753"/>
                  </a:lnTo>
                  <a:lnTo>
                    <a:pt x="107210" y="45427"/>
                  </a:lnTo>
                  <a:lnTo>
                    <a:pt x="107586" y="45753"/>
                  </a:lnTo>
                  <a:lnTo>
                    <a:pt x="108463" y="45753"/>
                  </a:lnTo>
                  <a:lnTo>
                    <a:pt x="108714" y="45427"/>
                  </a:lnTo>
                  <a:lnTo>
                    <a:pt x="108714" y="45427"/>
                  </a:lnTo>
                  <a:lnTo>
                    <a:pt x="108714" y="45427"/>
                  </a:lnTo>
                  <a:lnTo>
                    <a:pt x="108714" y="44938"/>
                  </a:lnTo>
                  <a:lnTo>
                    <a:pt x="108714" y="44613"/>
                  </a:lnTo>
                  <a:lnTo>
                    <a:pt x="108965" y="44124"/>
                  </a:lnTo>
                  <a:lnTo>
                    <a:pt x="108965" y="44124"/>
                  </a:lnTo>
                  <a:lnTo>
                    <a:pt x="109341" y="43799"/>
                  </a:lnTo>
                  <a:lnTo>
                    <a:pt x="109341" y="43799"/>
                  </a:lnTo>
                  <a:lnTo>
                    <a:pt x="109592" y="43799"/>
                  </a:lnTo>
                  <a:lnTo>
                    <a:pt x="109592" y="43799"/>
                  </a:lnTo>
                  <a:lnTo>
                    <a:pt x="109592" y="43473"/>
                  </a:lnTo>
                  <a:lnTo>
                    <a:pt x="109592" y="43473"/>
                  </a:lnTo>
                  <a:lnTo>
                    <a:pt x="109592" y="43473"/>
                  </a:lnTo>
                  <a:lnTo>
                    <a:pt x="109843" y="42985"/>
                  </a:lnTo>
                  <a:lnTo>
                    <a:pt x="110219" y="42985"/>
                  </a:lnTo>
                  <a:lnTo>
                    <a:pt x="110219" y="42659"/>
                  </a:lnTo>
                  <a:lnTo>
                    <a:pt x="110470" y="42659"/>
                  </a:lnTo>
                  <a:lnTo>
                    <a:pt x="110470" y="42659"/>
                  </a:lnTo>
                  <a:lnTo>
                    <a:pt x="110470" y="42659"/>
                  </a:lnTo>
                  <a:lnTo>
                    <a:pt x="110470" y="42659"/>
                  </a:lnTo>
                  <a:lnTo>
                    <a:pt x="110470" y="42333"/>
                  </a:lnTo>
                  <a:lnTo>
                    <a:pt x="110470" y="42333"/>
                  </a:lnTo>
                  <a:lnTo>
                    <a:pt x="110721" y="42333"/>
                  </a:lnTo>
                  <a:lnTo>
                    <a:pt x="111097" y="42333"/>
                  </a:lnTo>
                  <a:lnTo>
                    <a:pt x="111097" y="41845"/>
                  </a:lnTo>
                  <a:lnTo>
                    <a:pt x="111097" y="41845"/>
                  </a:lnTo>
                  <a:lnTo>
                    <a:pt x="111097" y="41845"/>
                  </a:lnTo>
                  <a:lnTo>
                    <a:pt x="111347" y="41519"/>
                  </a:lnTo>
                  <a:lnTo>
                    <a:pt x="111347" y="41194"/>
                  </a:lnTo>
                  <a:lnTo>
                    <a:pt x="111347" y="40705"/>
                  </a:lnTo>
                  <a:lnTo>
                    <a:pt x="111347" y="40705"/>
                  </a:lnTo>
                  <a:lnTo>
                    <a:pt x="111347" y="40705"/>
                  </a:lnTo>
                  <a:lnTo>
                    <a:pt x="111347" y="40705"/>
                  </a:lnTo>
                  <a:lnTo>
                    <a:pt x="111347" y="40379"/>
                  </a:lnTo>
                  <a:lnTo>
                    <a:pt x="111347" y="39891"/>
                  </a:lnTo>
                  <a:lnTo>
                    <a:pt x="111347" y="39891"/>
                  </a:lnTo>
                  <a:lnTo>
                    <a:pt x="111347" y="39565"/>
                  </a:lnTo>
                  <a:lnTo>
                    <a:pt x="111347" y="39565"/>
                  </a:lnTo>
                  <a:lnTo>
                    <a:pt x="111724" y="39565"/>
                  </a:lnTo>
                  <a:lnTo>
                    <a:pt x="111724" y="39565"/>
                  </a:lnTo>
                  <a:lnTo>
                    <a:pt x="111724" y="39565"/>
                  </a:lnTo>
                  <a:lnTo>
                    <a:pt x="111724" y="39240"/>
                  </a:lnTo>
                  <a:lnTo>
                    <a:pt x="111974" y="39565"/>
                  </a:lnTo>
                  <a:lnTo>
                    <a:pt x="111974" y="39565"/>
                  </a:lnTo>
                  <a:lnTo>
                    <a:pt x="112225" y="39565"/>
                  </a:lnTo>
                  <a:lnTo>
                    <a:pt x="112225" y="39891"/>
                  </a:lnTo>
                  <a:lnTo>
                    <a:pt x="112601" y="39891"/>
                  </a:lnTo>
                  <a:lnTo>
                    <a:pt x="112601" y="39891"/>
                  </a:lnTo>
                  <a:lnTo>
                    <a:pt x="112852" y="40379"/>
                  </a:lnTo>
                  <a:lnTo>
                    <a:pt x="112852" y="40379"/>
                  </a:lnTo>
                  <a:lnTo>
                    <a:pt x="113479" y="40379"/>
                  </a:lnTo>
                  <a:lnTo>
                    <a:pt x="113479" y="40379"/>
                  </a:lnTo>
                  <a:lnTo>
                    <a:pt x="113730" y="40379"/>
                  </a:lnTo>
                  <a:lnTo>
                    <a:pt x="113981" y="40379"/>
                  </a:lnTo>
                  <a:lnTo>
                    <a:pt x="114357" y="40379"/>
                  </a:lnTo>
                  <a:lnTo>
                    <a:pt x="114608" y="40379"/>
                  </a:lnTo>
                  <a:lnTo>
                    <a:pt x="114608" y="40705"/>
                  </a:lnTo>
                  <a:lnTo>
                    <a:pt x="114858" y="40705"/>
                  </a:lnTo>
                  <a:lnTo>
                    <a:pt x="114858" y="40705"/>
                  </a:lnTo>
                  <a:lnTo>
                    <a:pt x="114858" y="40379"/>
                  </a:lnTo>
                  <a:lnTo>
                    <a:pt x="114858" y="40379"/>
                  </a:lnTo>
                  <a:lnTo>
                    <a:pt x="114858" y="39891"/>
                  </a:lnTo>
                  <a:lnTo>
                    <a:pt x="114858" y="39891"/>
                  </a:lnTo>
                  <a:lnTo>
                    <a:pt x="114858" y="39891"/>
                  </a:lnTo>
                  <a:lnTo>
                    <a:pt x="114608" y="39565"/>
                  </a:lnTo>
                  <a:lnTo>
                    <a:pt x="114357" y="39565"/>
                  </a:lnTo>
                  <a:lnTo>
                    <a:pt x="114357" y="39240"/>
                  </a:lnTo>
                  <a:lnTo>
                    <a:pt x="113981" y="39240"/>
                  </a:lnTo>
                  <a:lnTo>
                    <a:pt x="113981" y="38751"/>
                  </a:lnTo>
                  <a:lnTo>
                    <a:pt x="113981" y="38751"/>
                  </a:lnTo>
                  <a:lnTo>
                    <a:pt x="113981" y="38751"/>
                  </a:lnTo>
                  <a:lnTo>
                    <a:pt x="113981" y="38426"/>
                  </a:lnTo>
                  <a:lnTo>
                    <a:pt x="114357" y="38426"/>
                  </a:lnTo>
                  <a:lnTo>
                    <a:pt x="114608" y="38426"/>
                  </a:lnTo>
                  <a:lnTo>
                    <a:pt x="115235" y="38426"/>
                  </a:lnTo>
                  <a:lnTo>
                    <a:pt x="115485" y="38426"/>
                  </a:lnTo>
                  <a:lnTo>
                    <a:pt x="115485" y="38426"/>
                  </a:lnTo>
                  <a:lnTo>
                    <a:pt x="115862" y="38426"/>
                  </a:lnTo>
                  <a:lnTo>
                    <a:pt x="115862" y="38426"/>
                  </a:lnTo>
                  <a:lnTo>
                    <a:pt x="115862" y="38100"/>
                  </a:lnTo>
                  <a:lnTo>
                    <a:pt x="116112" y="38100"/>
                  </a:lnTo>
                  <a:lnTo>
                    <a:pt x="116112" y="38100"/>
                  </a:lnTo>
                  <a:lnTo>
                    <a:pt x="116112" y="37611"/>
                  </a:lnTo>
                  <a:lnTo>
                    <a:pt x="116112" y="37611"/>
                  </a:lnTo>
                  <a:lnTo>
                    <a:pt x="116112" y="37286"/>
                  </a:lnTo>
                  <a:lnTo>
                    <a:pt x="116112" y="37286"/>
                  </a:lnTo>
                  <a:lnTo>
                    <a:pt x="116112" y="37286"/>
                  </a:lnTo>
                  <a:lnTo>
                    <a:pt x="116363" y="37286"/>
                  </a:lnTo>
                  <a:lnTo>
                    <a:pt x="116363" y="37286"/>
                  </a:lnTo>
                  <a:lnTo>
                    <a:pt x="116739" y="37286"/>
                  </a:lnTo>
                  <a:lnTo>
                    <a:pt x="116739" y="37286"/>
                  </a:lnTo>
                  <a:lnTo>
                    <a:pt x="116739" y="37286"/>
                  </a:lnTo>
                  <a:lnTo>
                    <a:pt x="116739" y="37286"/>
                  </a:lnTo>
                  <a:lnTo>
                    <a:pt x="116739" y="37286"/>
                  </a:lnTo>
                  <a:lnTo>
                    <a:pt x="116739" y="36960"/>
                  </a:lnTo>
                  <a:lnTo>
                    <a:pt x="116739" y="36472"/>
                  </a:lnTo>
                  <a:lnTo>
                    <a:pt x="116739" y="36146"/>
                  </a:lnTo>
                  <a:lnTo>
                    <a:pt x="116363" y="36146"/>
                  </a:lnTo>
                  <a:lnTo>
                    <a:pt x="116363" y="35658"/>
                  </a:lnTo>
                  <a:lnTo>
                    <a:pt x="116363" y="35332"/>
                  </a:lnTo>
                  <a:lnTo>
                    <a:pt x="116363" y="35332"/>
                  </a:lnTo>
                  <a:lnTo>
                    <a:pt x="116739" y="35332"/>
                  </a:lnTo>
                  <a:lnTo>
                    <a:pt x="116739" y="35332"/>
                  </a:lnTo>
                  <a:lnTo>
                    <a:pt x="116739" y="35332"/>
                  </a:lnTo>
                  <a:lnTo>
                    <a:pt x="116990" y="35332"/>
                  </a:lnTo>
                  <a:lnTo>
                    <a:pt x="116990" y="35332"/>
                  </a:lnTo>
                  <a:lnTo>
                    <a:pt x="116990" y="35658"/>
                  </a:lnTo>
                  <a:lnTo>
                    <a:pt x="117241" y="35658"/>
                  </a:lnTo>
                  <a:lnTo>
                    <a:pt x="117241" y="35658"/>
                  </a:lnTo>
                  <a:lnTo>
                    <a:pt x="117617" y="36146"/>
                  </a:lnTo>
                  <a:lnTo>
                    <a:pt x="117868" y="36472"/>
                  </a:lnTo>
                  <a:lnTo>
                    <a:pt x="117868" y="36472"/>
                  </a:lnTo>
                  <a:lnTo>
                    <a:pt x="118119" y="36472"/>
                  </a:lnTo>
                  <a:lnTo>
                    <a:pt x="118495" y="36960"/>
                  </a:lnTo>
                  <a:lnTo>
                    <a:pt x="118495" y="36960"/>
                  </a:lnTo>
                  <a:lnTo>
                    <a:pt x="118495" y="36960"/>
                  </a:lnTo>
                  <a:lnTo>
                    <a:pt x="118495" y="36472"/>
                  </a:lnTo>
                  <a:lnTo>
                    <a:pt x="118119" y="36472"/>
                  </a:lnTo>
                  <a:lnTo>
                    <a:pt x="118119" y="36472"/>
                  </a:lnTo>
                  <a:lnTo>
                    <a:pt x="117868" y="36146"/>
                  </a:lnTo>
                  <a:lnTo>
                    <a:pt x="117868" y="36146"/>
                  </a:lnTo>
                  <a:lnTo>
                    <a:pt x="117868" y="36146"/>
                  </a:lnTo>
                  <a:lnTo>
                    <a:pt x="118119" y="36146"/>
                  </a:lnTo>
                  <a:lnTo>
                    <a:pt x="118119" y="36146"/>
                  </a:lnTo>
                  <a:lnTo>
                    <a:pt x="118495" y="35658"/>
                  </a:lnTo>
                  <a:lnTo>
                    <a:pt x="118495" y="35658"/>
                  </a:lnTo>
                  <a:lnTo>
                    <a:pt x="118746" y="35658"/>
                  </a:lnTo>
                  <a:lnTo>
                    <a:pt x="118746" y="35658"/>
                  </a:lnTo>
                  <a:lnTo>
                    <a:pt x="118996" y="35658"/>
                  </a:lnTo>
                  <a:lnTo>
                    <a:pt x="118996" y="35658"/>
                  </a:lnTo>
                  <a:lnTo>
                    <a:pt x="118996" y="35332"/>
                  </a:lnTo>
                  <a:lnTo>
                    <a:pt x="118996" y="35332"/>
                  </a:lnTo>
                  <a:lnTo>
                    <a:pt x="118996" y="35006"/>
                  </a:lnTo>
                  <a:lnTo>
                    <a:pt x="118996" y="35006"/>
                  </a:lnTo>
                  <a:lnTo>
                    <a:pt x="118996" y="35006"/>
                  </a:lnTo>
                  <a:lnTo>
                    <a:pt x="118746" y="34518"/>
                  </a:lnTo>
                  <a:lnTo>
                    <a:pt x="118746" y="34192"/>
                  </a:lnTo>
                  <a:lnTo>
                    <a:pt x="118746" y="34192"/>
                  </a:lnTo>
                  <a:lnTo>
                    <a:pt x="118746" y="33867"/>
                  </a:lnTo>
                  <a:lnTo>
                    <a:pt x="118746" y="33867"/>
                  </a:lnTo>
                  <a:lnTo>
                    <a:pt x="118495" y="33867"/>
                  </a:lnTo>
                  <a:lnTo>
                    <a:pt x="118495" y="33867"/>
                  </a:lnTo>
                  <a:lnTo>
                    <a:pt x="118495" y="33378"/>
                  </a:lnTo>
                  <a:lnTo>
                    <a:pt x="118119" y="33052"/>
                  </a:lnTo>
                  <a:lnTo>
                    <a:pt x="118119" y="33052"/>
                  </a:lnTo>
                  <a:lnTo>
                    <a:pt x="117868" y="31913"/>
                  </a:lnTo>
                  <a:lnTo>
                    <a:pt x="117868" y="31913"/>
                  </a:lnTo>
                  <a:lnTo>
                    <a:pt x="116990" y="30284"/>
                  </a:lnTo>
                  <a:lnTo>
                    <a:pt x="116739" y="29959"/>
                  </a:lnTo>
                  <a:lnTo>
                    <a:pt x="116363" y="29959"/>
                  </a:lnTo>
                  <a:lnTo>
                    <a:pt x="116112" y="29633"/>
                  </a:lnTo>
                  <a:lnTo>
                    <a:pt x="116112" y="29145"/>
                  </a:lnTo>
                  <a:lnTo>
                    <a:pt x="116112" y="29145"/>
                  </a:lnTo>
                  <a:lnTo>
                    <a:pt x="116112" y="29145"/>
                  </a:lnTo>
                  <a:lnTo>
                    <a:pt x="116112" y="28819"/>
                  </a:lnTo>
                  <a:lnTo>
                    <a:pt x="116363" y="28819"/>
                  </a:lnTo>
                  <a:lnTo>
                    <a:pt x="116363" y="28819"/>
                  </a:lnTo>
                  <a:lnTo>
                    <a:pt x="116739" y="28819"/>
                  </a:lnTo>
                  <a:lnTo>
                    <a:pt x="116990" y="28493"/>
                  </a:lnTo>
                  <a:lnTo>
                    <a:pt x="116990" y="28005"/>
                  </a:lnTo>
                  <a:lnTo>
                    <a:pt x="116990" y="28005"/>
                  </a:lnTo>
                  <a:lnTo>
                    <a:pt x="116990" y="27679"/>
                  </a:lnTo>
                  <a:lnTo>
                    <a:pt x="116990" y="27679"/>
                  </a:lnTo>
                  <a:lnTo>
                    <a:pt x="116990" y="27191"/>
                  </a:lnTo>
                  <a:lnTo>
                    <a:pt x="116990" y="27191"/>
                  </a:lnTo>
                  <a:lnTo>
                    <a:pt x="117241" y="27679"/>
                  </a:lnTo>
                  <a:lnTo>
                    <a:pt x="117617" y="27679"/>
                  </a:lnTo>
                  <a:lnTo>
                    <a:pt x="117868" y="27679"/>
                  </a:lnTo>
                  <a:lnTo>
                    <a:pt x="117868" y="27679"/>
                  </a:lnTo>
                  <a:lnTo>
                    <a:pt x="118495" y="28005"/>
                  </a:lnTo>
                  <a:lnTo>
                    <a:pt x="118746" y="28005"/>
                  </a:lnTo>
                  <a:lnTo>
                    <a:pt x="118996" y="28005"/>
                  </a:lnTo>
                  <a:lnTo>
                    <a:pt x="119373" y="28005"/>
                  </a:lnTo>
                  <a:lnTo>
                    <a:pt x="119623" y="28005"/>
                  </a:lnTo>
                  <a:lnTo>
                    <a:pt x="119623" y="28493"/>
                  </a:lnTo>
                  <a:lnTo>
                    <a:pt x="120000" y="28493"/>
                  </a:lnTo>
                  <a:lnTo>
                    <a:pt x="120000" y="28005"/>
                  </a:lnTo>
                  <a:lnTo>
                    <a:pt x="120000" y="28005"/>
                  </a:lnTo>
                  <a:lnTo>
                    <a:pt x="120000" y="27679"/>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13" name="Shape 513"/>
            <p:cNvSpPr/>
            <p:nvPr/>
          </p:nvSpPr>
          <p:spPr>
            <a:xfrm>
              <a:off x="2366" y="3176"/>
              <a:ext cx="300" cy="899"/>
            </a:xfrm>
            <a:custGeom>
              <a:avLst/>
              <a:gdLst/>
              <a:ahLst/>
              <a:cxnLst/>
              <a:rect l="0" t="0" r="0" b="0"/>
              <a:pathLst>
                <a:path w="120000" h="120000" extrusionOk="0">
                  <a:moveTo>
                    <a:pt x="120000" y="118643"/>
                  </a:moveTo>
                  <a:lnTo>
                    <a:pt x="120000" y="118643"/>
                  </a:lnTo>
                  <a:lnTo>
                    <a:pt x="119172" y="118643"/>
                  </a:lnTo>
                  <a:lnTo>
                    <a:pt x="119172" y="118643"/>
                  </a:lnTo>
                  <a:lnTo>
                    <a:pt x="119172" y="118643"/>
                  </a:lnTo>
                  <a:lnTo>
                    <a:pt x="119172" y="118944"/>
                  </a:lnTo>
                  <a:lnTo>
                    <a:pt x="120000" y="118944"/>
                  </a:lnTo>
                  <a:lnTo>
                    <a:pt x="120000" y="118944"/>
                  </a:lnTo>
                  <a:lnTo>
                    <a:pt x="120000" y="118643"/>
                  </a:lnTo>
                  <a:lnTo>
                    <a:pt x="120000" y="118643"/>
                  </a:lnTo>
                  <a:lnTo>
                    <a:pt x="120000" y="118643"/>
                  </a:lnTo>
                  <a:close/>
                  <a:moveTo>
                    <a:pt x="114206" y="118944"/>
                  </a:moveTo>
                  <a:lnTo>
                    <a:pt x="115034" y="118944"/>
                  </a:lnTo>
                  <a:lnTo>
                    <a:pt x="115034" y="118944"/>
                  </a:lnTo>
                  <a:lnTo>
                    <a:pt x="116275" y="118643"/>
                  </a:lnTo>
                  <a:lnTo>
                    <a:pt x="116275" y="118643"/>
                  </a:lnTo>
                  <a:lnTo>
                    <a:pt x="116275" y="118643"/>
                  </a:lnTo>
                  <a:lnTo>
                    <a:pt x="116275" y="118341"/>
                  </a:lnTo>
                  <a:lnTo>
                    <a:pt x="115034" y="118341"/>
                  </a:lnTo>
                  <a:lnTo>
                    <a:pt x="114206" y="117889"/>
                  </a:lnTo>
                  <a:lnTo>
                    <a:pt x="112965" y="117889"/>
                  </a:lnTo>
                  <a:lnTo>
                    <a:pt x="110068" y="117889"/>
                  </a:lnTo>
                  <a:lnTo>
                    <a:pt x="108413" y="117889"/>
                  </a:lnTo>
                  <a:lnTo>
                    <a:pt x="107172" y="117889"/>
                  </a:lnTo>
                  <a:lnTo>
                    <a:pt x="108413" y="118341"/>
                  </a:lnTo>
                  <a:lnTo>
                    <a:pt x="109241" y="118643"/>
                  </a:lnTo>
                  <a:lnTo>
                    <a:pt x="110068" y="118643"/>
                  </a:lnTo>
                  <a:lnTo>
                    <a:pt x="110068" y="118643"/>
                  </a:lnTo>
                  <a:lnTo>
                    <a:pt x="112137" y="118944"/>
                  </a:lnTo>
                  <a:lnTo>
                    <a:pt x="112137" y="118944"/>
                  </a:lnTo>
                  <a:lnTo>
                    <a:pt x="112137" y="118643"/>
                  </a:lnTo>
                  <a:lnTo>
                    <a:pt x="112965" y="118643"/>
                  </a:lnTo>
                  <a:lnTo>
                    <a:pt x="112965" y="118643"/>
                  </a:lnTo>
                  <a:lnTo>
                    <a:pt x="112965" y="118643"/>
                  </a:lnTo>
                  <a:lnTo>
                    <a:pt x="114206" y="118643"/>
                  </a:lnTo>
                  <a:lnTo>
                    <a:pt x="114206" y="118643"/>
                  </a:lnTo>
                  <a:lnTo>
                    <a:pt x="114206" y="118643"/>
                  </a:lnTo>
                  <a:lnTo>
                    <a:pt x="114206" y="118944"/>
                  </a:lnTo>
                  <a:close/>
                  <a:moveTo>
                    <a:pt x="111310" y="119698"/>
                  </a:moveTo>
                  <a:lnTo>
                    <a:pt x="111310" y="119396"/>
                  </a:lnTo>
                  <a:lnTo>
                    <a:pt x="110068" y="119396"/>
                  </a:lnTo>
                  <a:lnTo>
                    <a:pt x="109241" y="118944"/>
                  </a:lnTo>
                  <a:lnTo>
                    <a:pt x="109241" y="118944"/>
                  </a:lnTo>
                  <a:lnTo>
                    <a:pt x="109241" y="118944"/>
                  </a:lnTo>
                  <a:lnTo>
                    <a:pt x="109241" y="118944"/>
                  </a:lnTo>
                  <a:lnTo>
                    <a:pt x="108413" y="118643"/>
                  </a:lnTo>
                  <a:lnTo>
                    <a:pt x="108413" y="118643"/>
                  </a:lnTo>
                  <a:lnTo>
                    <a:pt x="106344" y="118643"/>
                  </a:lnTo>
                  <a:lnTo>
                    <a:pt x="106344" y="118643"/>
                  </a:lnTo>
                  <a:lnTo>
                    <a:pt x="106344" y="118341"/>
                  </a:lnTo>
                  <a:lnTo>
                    <a:pt x="107172" y="118341"/>
                  </a:lnTo>
                  <a:lnTo>
                    <a:pt x="106344" y="117889"/>
                  </a:lnTo>
                  <a:lnTo>
                    <a:pt x="105517" y="117889"/>
                  </a:lnTo>
                  <a:lnTo>
                    <a:pt x="103448" y="118341"/>
                  </a:lnTo>
                  <a:lnTo>
                    <a:pt x="98482" y="117889"/>
                  </a:lnTo>
                  <a:lnTo>
                    <a:pt x="96413" y="117587"/>
                  </a:lnTo>
                  <a:lnTo>
                    <a:pt x="97655" y="118341"/>
                  </a:lnTo>
                  <a:lnTo>
                    <a:pt x="97655" y="118341"/>
                  </a:lnTo>
                  <a:lnTo>
                    <a:pt x="97655" y="118643"/>
                  </a:lnTo>
                  <a:lnTo>
                    <a:pt x="97655" y="118643"/>
                  </a:lnTo>
                  <a:lnTo>
                    <a:pt x="98482" y="118643"/>
                  </a:lnTo>
                  <a:lnTo>
                    <a:pt x="98482" y="118643"/>
                  </a:lnTo>
                  <a:lnTo>
                    <a:pt x="98482" y="118643"/>
                  </a:lnTo>
                  <a:lnTo>
                    <a:pt x="98482" y="118643"/>
                  </a:lnTo>
                  <a:lnTo>
                    <a:pt x="99724" y="118643"/>
                  </a:lnTo>
                  <a:lnTo>
                    <a:pt x="99724" y="118643"/>
                  </a:lnTo>
                  <a:lnTo>
                    <a:pt x="100551" y="118944"/>
                  </a:lnTo>
                  <a:lnTo>
                    <a:pt x="100551" y="118944"/>
                  </a:lnTo>
                  <a:lnTo>
                    <a:pt x="100551" y="118944"/>
                  </a:lnTo>
                  <a:lnTo>
                    <a:pt x="101379" y="119396"/>
                  </a:lnTo>
                  <a:lnTo>
                    <a:pt x="102620" y="119396"/>
                  </a:lnTo>
                  <a:lnTo>
                    <a:pt x="102620" y="119396"/>
                  </a:lnTo>
                  <a:lnTo>
                    <a:pt x="103448" y="119396"/>
                  </a:lnTo>
                  <a:lnTo>
                    <a:pt x="104275" y="119396"/>
                  </a:lnTo>
                  <a:lnTo>
                    <a:pt x="102620" y="119396"/>
                  </a:lnTo>
                  <a:lnTo>
                    <a:pt x="102620" y="118944"/>
                  </a:lnTo>
                  <a:lnTo>
                    <a:pt x="102620" y="118944"/>
                  </a:lnTo>
                  <a:lnTo>
                    <a:pt x="102620" y="118643"/>
                  </a:lnTo>
                  <a:lnTo>
                    <a:pt x="102620" y="118643"/>
                  </a:lnTo>
                  <a:lnTo>
                    <a:pt x="103448" y="118643"/>
                  </a:lnTo>
                  <a:lnTo>
                    <a:pt x="104275" y="118643"/>
                  </a:lnTo>
                  <a:lnTo>
                    <a:pt x="104275" y="118944"/>
                  </a:lnTo>
                  <a:lnTo>
                    <a:pt x="104275" y="118643"/>
                  </a:lnTo>
                  <a:lnTo>
                    <a:pt x="105517" y="118643"/>
                  </a:lnTo>
                  <a:lnTo>
                    <a:pt x="105517" y="118944"/>
                  </a:lnTo>
                  <a:lnTo>
                    <a:pt x="105517" y="118944"/>
                  </a:lnTo>
                  <a:lnTo>
                    <a:pt x="105517" y="119396"/>
                  </a:lnTo>
                  <a:lnTo>
                    <a:pt x="105517" y="119396"/>
                  </a:lnTo>
                  <a:lnTo>
                    <a:pt x="106344" y="119396"/>
                  </a:lnTo>
                  <a:lnTo>
                    <a:pt x="106344" y="119396"/>
                  </a:lnTo>
                  <a:lnTo>
                    <a:pt x="107172" y="119396"/>
                  </a:lnTo>
                  <a:lnTo>
                    <a:pt x="107172" y="119396"/>
                  </a:lnTo>
                  <a:lnTo>
                    <a:pt x="108413" y="119698"/>
                  </a:lnTo>
                  <a:lnTo>
                    <a:pt x="109241" y="119698"/>
                  </a:lnTo>
                  <a:lnTo>
                    <a:pt x="110068" y="119698"/>
                  </a:lnTo>
                  <a:lnTo>
                    <a:pt x="110068" y="119698"/>
                  </a:lnTo>
                  <a:lnTo>
                    <a:pt x="111310" y="120000"/>
                  </a:lnTo>
                  <a:lnTo>
                    <a:pt x="112137" y="120000"/>
                  </a:lnTo>
                  <a:lnTo>
                    <a:pt x="112137" y="120000"/>
                  </a:lnTo>
                  <a:lnTo>
                    <a:pt x="112137" y="119698"/>
                  </a:lnTo>
                  <a:lnTo>
                    <a:pt x="111310" y="119698"/>
                  </a:lnTo>
                  <a:close/>
                  <a:moveTo>
                    <a:pt x="93517" y="117889"/>
                  </a:moveTo>
                  <a:lnTo>
                    <a:pt x="92689" y="117889"/>
                  </a:lnTo>
                  <a:lnTo>
                    <a:pt x="92689" y="117889"/>
                  </a:lnTo>
                  <a:lnTo>
                    <a:pt x="91862" y="117889"/>
                  </a:lnTo>
                  <a:lnTo>
                    <a:pt x="91862" y="117889"/>
                  </a:lnTo>
                  <a:lnTo>
                    <a:pt x="90620" y="117889"/>
                  </a:lnTo>
                  <a:lnTo>
                    <a:pt x="90620" y="117889"/>
                  </a:lnTo>
                  <a:lnTo>
                    <a:pt x="89793" y="117587"/>
                  </a:lnTo>
                  <a:lnTo>
                    <a:pt x="88965" y="117587"/>
                  </a:lnTo>
                  <a:lnTo>
                    <a:pt x="88965" y="117587"/>
                  </a:lnTo>
                  <a:lnTo>
                    <a:pt x="86896" y="117587"/>
                  </a:lnTo>
                  <a:lnTo>
                    <a:pt x="86896" y="117587"/>
                  </a:lnTo>
                  <a:lnTo>
                    <a:pt x="86896" y="117587"/>
                  </a:lnTo>
                  <a:lnTo>
                    <a:pt x="86896" y="117889"/>
                  </a:lnTo>
                  <a:lnTo>
                    <a:pt x="87724" y="117889"/>
                  </a:lnTo>
                  <a:lnTo>
                    <a:pt x="87724" y="117889"/>
                  </a:lnTo>
                  <a:lnTo>
                    <a:pt x="87724" y="117889"/>
                  </a:lnTo>
                  <a:lnTo>
                    <a:pt x="87724" y="117889"/>
                  </a:lnTo>
                  <a:lnTo>
                    <a:pt x="87724" y="117587"/>
                  </a:lnTo>
                  <a:lnTo>
                    <a:pt x="88965" y="117889"/>
                  </a:lnTo>
                  <a:lnTo>
                    <a:pt x="88965" y="117889"/>
                  </a:lnTo>
                  <a:lnTo>
                    <a:pt x="90620" y="117889"/>
                  </a:lnTo>
                  <a:lnTo>
                    <a:pt x="90620" y="117889"/>
                  </a:lnTo>
                  <a:lnTo>
                    <a:pt x="90620" y="118341"/>
                  </a:lnTo>
                  <a:lnTo>
                    <a:pt x="90620" y="118341"/>
                  </a:lnTo>
                  <a:lnTo>
                    <a:pt x="91862" y="118341"/>
                  </a:lnTo>
                  <a:lnTo>
                    <a:pt x="92689" y="118341"/>
                  </a:lnTo>
                  <a:lnTo>
                    <a:pt x="92689" y="118341"/>
                  </a:lnTo>
                  <a:lnTo>
                    <a:pt x="92689" y="118341"/>
                  </a:lnTo>
                  <a:lnTo>
                    <a:pt x="93517" y="118341"/>
                  </a:lnTo>
                  <a:lnTo>
                    <a:pt x="93517" y="118341"/>
                  </a:lnTo>
                  <a:lnTo>
                    <a:pt x="93517" y="118643"/>
                  </a:lnTo>
                  <a:lnTo>
                    <a:pt x="93517" y="118643"/>
                  </a:lnTo>
                  <a:lnTo>
                    <a:pt x="94758" y="118643"/>
                  </a:lnTo>
                  <a:lnTo>
                    <a:pt x="94758" y="118643"/>
                  </a:lnTo>
                  <a:lnTo>
                    <a:pt x="95586" y="118341"/>
                  </a:lnTo>
                  <a:lnTo>
                    <a:pt x="95586" y="118341"/>
                  </a:lnTo>
                  <a:lnTo>
                    <a:pt x="93517" y="117889"/>
                  </a:lnTo>
                  <a:close/>
                  <a:moveTo>
                    <a:pt x="82758" y="115778"/>
                  </a:moveTo>
                  <a:lnTo>
                    <a:pt x="84000" y="115778"/>
                  </a:lnTo>
                  <a:lnTo>
                    <a:pt x="84827" y="116080"/>
                  </a:lnTo>
                  <a:lnTo>
                    <a:pt x="86896" y="116080"/>
                  </a:lnTo>
                  <a:lnTo>
                    <a:pt x="86896" y="116080"/>
                  </a:lnTo>
                  <a:lnTo>
                    <a:pt x="86896" y="116080"/>
                  </a:lnTo>
                  <a:lnTo>
                    <a:pt x="86896" y="115778"/>
                  </a:lnTo>
                  <a:lnTo>
                    <a:pt x="86896" y="115778"/>
                  </a:lnTo>
                  <a:lnTo>
                    <a:pt x="86896" y="115477"/>
                  </a:lnTo>
                  <a:lnTo>
                    <a:pt x="86068" y="115477"/>
                  </a:lnTo>
                  <a:lnTo>
                    <a:pt x="84827" y="115477"/>
                  </a:lnTo>
                  <a:lnTo>
                    <a:pt x="84000" y="115025"/>
                  </a:lnTo>
                  <a:lnTo>
                    <a:pt x="81931" y="115025"/>
                  </a:lnTo>
                  <a:lnTo>
                    <a:pt x="81103" y="114723"/>
                  </a:lnTo>
                  <a:lnTo>
                    <a:pt x="79034" y="114723"/>
                  </a:lnTo>
                  <a:lnTo>
                    <a:pt x="79034" y="114723"/>
                  </a:lnTo>
                  <a:lnTo>
                    <a:pt x="78206" y="114723"/>
                  </a:lnTo>
                  <a:lnTo>
                    <a:pt x="78206" y="115025"/>
                  </a:lnTo>
                  <a:lnTo>
                    <a:pt x="79034" y="115477"/>
                  </a:lnTo>
                  <a:lnTo>
                    <a:pt x="81103" y="115778"/>
                  </a:lnTo>
                  <a:lnTo>
                    <a:pt x="81103" y="116080"/>
                  </a:lnTo>
                  <a:lnTo>
                    <a:pt x="81931" y="115778"/>
                  </a:lnTo>
                  <a:lnTo>
                    <a:pt x="81931" y="115778"/>
                  </a:lnTo>
                  <a:lnTo>
                    <a:pt x="82758" y="115778"/>
                  </a:lnTo>
                  <a:lnTo>
                    <a:pt x="82758" y="115778"/>
                  </a:lnTo>
                  <a:close/>
                  <a:moveTo>
                    <a:pt x="76965" y="114422"/>
                  </a:moveTo>
                  <a:lnTo>
                    <a:pt x="76137" y="114422"/>
                  </a:lnTo>
                  <a:lnTo>
                    <a:pt x="76137" y="113969"/>
                  </a:lnTo>
                  <a:lnTo>
                    <a:pt x="75310" y="113969"/>
                  </a:lnTo>
                  <a:lnTo>
                    <a:pt x="74068" y="113668"/>
                  </a:lnTo>
                  <a:lnTo>
                    <a:pt x="73241" y="113668"/>
                  </a:lnTo>
                  <a:lnTo>
                    <a:pt x="72413" y="113668"/>
                  </a:lnTo>
                  <a:lnTo>
                    <a:pt x="72413" y="113668"/>
                  </a:lnTo>
                  <a:lnTo>
                    <a:pt x="72413" y="113668"/>
                  </a:lnTo>
                  <a:lnTo>
                    <a:pt x="71172" y="113668"/>
                  </a:lnTo>
                  <a:lnTo>
                    <a:pt x="71172" y="113216"/>
                  </a:lnTo>
                  <a:lnTo>
                    <a:pt x="70344" y="113216"/>
                  </a:lnTo>
                  <a:lnTo>
                    <a:pt x="70344" y="113216"/>
                  </a:lnTo>
                  <a:lnTo>
                    <a:pt x="70344" y="113216"/>
                  </a:lnTo>
                  <a:lnTo>
                    <a:pt x="70344" y="113216"/>
                  </a:lnTo>
                  <a:lnTo>
                    <a:pt x="69103" y="113216"/>
                  </a:lnTo>
                  <a:lnTo>
                    <a:pt x="70344" y="113216"/>
                  </a:lnTo>
                  <a:lnTo>
                    <a:pt x="70344" y="113668"/>
                  </a:lnTo>
                  <a:lnTo>
                    <a:pt x="68275" y="113216"/>
                  </a:lnTo>
                  <a:lnTo>
                    <a:pt x="67448" y="113216"/>
                  </a:lnTo>
                  <a:lnTo>
                    <a:pt x="66206" y="113216"/>
                  </a:lnTo>
                  <a:lnTo>
                    <a:pt x="65379" y="113668"/>
                  </a:lnTo>
                  <a:lnTo>
                    <a:pt x="67448" y="113668"/>
                  </a:lnTo>
                  <a:lnTo>
                    <a:pt x="67448" y="113969"/>
                  </a:lnTo>
                  <a:lnTo>
                    <a:pt x="68275" y="114422"/>
                  </a:lnTo>
                  <a:lnTo>
                    <a:pt x="69103" y="114422"/>
                  </a:lnTo>
                  <a:lnTo>
                    <a:pt x="69103" y="114422"/>
                  </a:lnTo>
                  <a:lnTo>
                    <a:pt x="69103" y="114422"/>
                  </a:lnTo>
                  <a:lnTo>
                    <a:pt x="70344" y="114422"/>
                  </a:lnTo>
                  <a:lnTo>
                    <a:pt x="70344" y="114723"/>
                  </a:lnTo>
                  <a:lnTo>
                    <a:pt x="70344" y="114723"/>
                  </a:lnTo>
                  <a:lnTo>
                    <a:pt x="71172" y="114723"/>
                  </a:lnTo>
                  <a:lnTo>
                    <a:pt x="71172" y="115025"/>
                  </a:lnTo>
                  <a:lnTo>
                    <a:pt x="72413" y="115025"/>
                  </a:lnTo>
                  <a:lnTo>
                    <a:pt x="72413" y="115025"/>
                  </a:lnTo>
                  <a:lnTo>
                    <a:pt x="72413" y="115025"/>
                  </a:lnTo>
                  <a:lnTo>
                    <a:pt x="72413" y="114723"/>
                  </a:lnTo>
                  <a:lnTo>
                    <a:pt x="72413" y="114723"/>
                  </a:lnTo>
                  <a:lnTo>
                    <a:pt x="72413" y="114723"/>
                  </a:lnTo>
                  <a:lnTo>
                    <a:pt x="72413" y="114723"/>
                  </a:lnTo>
                  <a:lnTo>
                    <a:pt x="73241" y="114723"/>
                  </a:lnTo>
                  <a:lnTo>
                    <a:pt x="73241" y="114723"/>
                  </a:lnTo>
                  <a:lnTo>
                    <a:pt x="74068" y="114723"/>
                  </a:lnTo>
                  <a:lnTo>
                    <a:pt x="74068" y="115025"/>
                  </a:lnTo>
                  <a:lnTo>
                    <a:pt x="74068" y="115025"/>
                  </a:lnTo>
                  <a:lnTo>
                    <a:pt x="73241" y="115477"/>
                  </a:lnTo>
                  <a:lnTo>
                    <a:pt x="74068" y="115477"/>
                  </a:lnTo>
                  <a:lnTo>
                    <a:pt x="74068" y="115477"/>
                  </a:lnTo>
                  <a:lnTo>
                    <a:pt x="74068" y="115477"/>
                  </a:lnTo>
                  <a:lnTo>
                    <a:pt x="74068" y="115477"/>
                  </a:lnTo>
                  <a:lnTo>
                    <a:pt x="75310" y="115477"/>
                  </a:lnTo>
                  <a:lnTo>
                    <a:pt x="75310" y="115477"/>
                  </a:lnTo>
                  <a:lnTo>
                    <a:pt x="76137" y="115477"/>
                  </a:lnTo>
                  <a:lnTo>
                    <a:pt x="76137" y="115025"/>
                  </a:lnTo>
                  <a:lnTo>
                    <a:pt x="76965" y="115025"/>
                  </a:lnTo>
                  <a:lnTo>
                    <a:pt x="76965" y="115025"/>
                  </a:lnTo>
                  <a:lnTo>
                    <a:pt x="76965" y="114723"/>
                  </a:lnTo>
                  <a:lnTo>
                    <a:pt x="76965" y="114723"/>
                  </a:lnTo>
                  <a:lnTo>
                    <a:pt x="76965" y="114422"/>
                  </a:lnTo>
                  <a:close/>
                  <a:moveTo>
                    <a:pt x="65379" y="112914"/>
                  </a:moveTo>
                  <a:lnTo>
                    <a:pt x="66206" y="112914"/>
                  </a:lnTo>
                  <a:lnTo>
                    <a:pt x="66206" y="112914"/>
                  </a:lnTo>
                  <a:lnTo>
                    <a:pt x="66206" y="112914"/>
                  </a:lnTo>
                  <a:lnTo>
                    <a:pt x="67448" y="112914"/>
                  </a:lnTo>
                  <a:lnTo>
                    <a:pt x="68275" y="113216"/>
                  </a:lnTo>
                  <a:lnTo>
                    <a:pt x="69103" y="112914"/>
                  </a:lnTo>
                  <a:lnTo>
                    <a:pt x="69103" y="112914"/>
                  </a:lnTo>
                  <a:lnTo>
                    <a:pt x="67448" y="112914"/>
                  </a:lnTo>
                  <a:lnTo>
                    <a:pt x="67448" y="112914"/>
                  </a:lnTo>
                  <a:lnTo>
                    <a:pt x="66206" y="112613"/>
                  </a:lnTo>
                  <a:lnTo>
                    <a:pt x="66206" y="112613"/>
                  </a:lnTo>
                  <a:lnTo>
                    <a:pt x="65379" y="112613"/>
                  </a:lnTo>
                  <a:lnTo>
                    <a:pt x="64551" y="112160"/>
                  </a:lnTo>
                  <a:lnTo>
                    <a:pt x="63310" y="112160"/>
                  </a:lnTo>
                  <a:lnTo>
                    <a:pt x="62482" y="112160"/>
                  </a:lnTo>
                  <a:lnTo>
                    <a:pt x="61655" y="111859"/>
                  </a:lnTo>
                  <a:lnTo>
                    <a:pt x="60413" y="111859"/>
                  </a:lnTo>
                  <a:lnTo>
                    <a:pt x="59586" y="111859"/>
                  </a:lnTo>
                  <a:lnTo>
                    <a:pt x="59586" y="111859"/>
                  </a:lnTo>
                  <a:lnTo>
                    <a:pt x="59586" y="111859"/>
                  </a:lnTo>
                  <a:lnTo>
                    <a:pt x="58758" y="111557"/>
                  </a:lnTo>
                  <a:lnTo>
                    <a:pt x="58758" y="111557"/>
                  </a:lnTo>
                  <a:lnTo>
                    <a:pt x="57517" y="111557"/>
                  </a:lnTo>
                  <a:lnTo>
                    <a:pt x="56689" y="111105"/>
                  </a:lnTo>
                  <a:lnTo>
                    <a:pt x="56689" y="111105"/>
                  </a:lnTo>
                  <a:lnTo>
                    <a:pt x="56689" y="111557"/>
                  </a:lnTo>
                  <a:lnTo>
                    <a:pt x="57517" y="111557"/>
                  </a:lnTo>
                  <a:lnTo>
                    <a:pt x="58758" y="111859"/>
                  </a:lnTo>
                  <a:lnTo>
                    <a:pt x="59586" y="111859"/>
                  </a:lnTo>
                  <a:lnTo>
                    <a:pt x="60413" y="112160"/>
                  </a:lnTo>
                  <a:lnTo>
                    <a:pt x="60413" y="112160"/>
                  </a:lnTo>
                  <a:lnTo>
                    <a:pt x="61655" y="112160"/>
                  </a:lnTo>
                  <a:lnTo>
                    <a:pt x="62482" y="112160"/>
                  </a:lnTo>
                  <a:lnTo>
                    <a:pt x="63310" y="112160"/>
                  </a:lnTo>
                  <a:lnTo>
                    <a:pt x="64551" y="112613"/>
                  </a:lnTo>
                  <a:lnTo>
                    <a:pt x="65379" y="112613"/>
                  </a:lnTo>
                  <a:lnTo>
                    <a:pt x="65379" y="112914"/>
                  </a:lnTo>
                  <a:close/>
                  <a:moveTo>
                    <a:pt x="97655" y="117135"/>
                  </a:moveTo>
                  <a:lnTo>
                    <a:pt x="98482" y="117587"/>
                  </a:lnTo>
                  <a:lnTo>
                    <a:pt x="99724" y="117587"/>
                  </a:lnTo>
                  <a:lnTo>
                    <a:pt x="102620" y="117889"/>
                  </a:lnTo>
                  <a:lnTo>
                    <a:pt x="103448" y="117587"/>
                  </a:lnTo>
                  <a:lnTo>
                    <a:pt x="103448" y="117587"/>
                  </a:lnTo>
                  <a:lnTo>
                    <a:pt x="104275" y="117587"/>
                  </a:lnTo>
                  <a:lnTo>
                    <a:pt x="103448" y="116834"/>
                  </a:lnTo>
                  <a:lnTo>
                    <a:pt x="102620" y="116080"/>
                  </a:lnTo>
                  <a:lnTo>
                    <a:pt x="101379" y="115025"/>
                  </a:lnTo>
                  <a:lnTo>
                    <a:pt x="100551" y="114422"/>
                  </a:lnTo>
                  <a:lnTo>
                    <a:pt x="99724" y="113668"/>
                  </a:lnTo>
                  <a:lnTo>
                    <a:pt x="98482" y="112914"/>
                  </a:lnTo>
                  <a:lnTo>
                    <a:pt x="96413" y="111859"/>
                  </a:lnTo>
                  <a:lnTo>
                    <a:pt x="95586" y="111105"/>
                  </a:lnTo>
                  <a:lnTo>
                    <a:pt x="95586" y="110804"/>
                  </a:lnTo>
                  <a:lnTo>
                    <a:pt x="94758" y="110804"/>
                  </a:lnTo>
                  <a:lnTo>
                    <a:pt x="94758" y="110804"/>
                  </a:lnTo>
                  <a:lnTo>
                    <a:pt x="92689" y="111105"/>
                  </a:lnTo>
                  <a:lnTo>
                    <a:pt x="92689" y="111105"/>
                  </a:lnTo>
                  <a:lnTo>
                    <a:pt x="89793" y="110502"/>
                  </a:lnTo>
                  <a:lnTo>
                    <a:pt x="89793" y="110502"/>
                  </a:lnTo>
                  <a:lnTo>
                    <a:pt x="88965" y="110804"/>
                  </a:lnTo>
                  <a:lnTo>
                    <a:pt x="88965" y="110804"/>
                  </a:lnTo>
                  <a:lnTo>
                    <a:pt x="88965" y="111105"/>
                  </a:lnTo>
                  <a:lnTo>
                    <a:pt x="87724" y="111557"/>
                  </a:lnTo>
                  <a:lnTo>
                    <a:pt x="87724" y="111557"/>
                  </a:lnTo>
                  <a:lnTo>
                    <a:pt x="87724" y="111557"/>
                  </a:lnTo>
                  <a:lnTo>
                    <a:pt x="86896" y="111557"/>
                  </a:lnTo>
                  <a:lnTo>
                    <a:pt x="86068" y="111105"/>
                  </a:lnTo>
                  <a:lnTo>
                    <a:pt x="84827" y="111105"/>
                  </a:lnTo>
                  <a:lnTo>
                    <a:pt x="84827" y="111105"/>
                  </a:lnTo>
                  <a:lnTo>
                    <a:pt x="86068" y="111557"/>
                  </a:lnTo>
                  <a:lnTo>
                    <a:pt x="86068" y="111557"/>
                  </a:lnTo>
                  <a:lnTo>
                    <a:pt x="86896" y="111859"/>
                  </a:lnTo>
                  <a:lnTo>
                    <a:pt x="86896" y="111859"/>
                  </a:lnTo>
                  <a:lnTo>
                    <a:pt x="86896" y="111859"/>
                  </a:lnTo>
                  <a:lnTo>
                    <a:pt x="86896" y="111859"/>
                  </a:lnTo>
                  <a:lnTo>
                    <a:pt x="86896" y="111859"/>
                  </a:lnTo>
                  <a:lnTo>
                    <a:pt x="86896" y="112160"/>
                  </a:lnTo>
                  <a:lnTo>
                    <a:pt x="86068" y="111859"/>
                  </a:lnTo>
                  <a:lnTo>
                    <a:pt x="86068" y="112160"/>
                  </a:lnTo>
                  <a:lnTo>
                    <a:pt x="86068" y="112160"/>
                  </a:lnTo>
                  <a:lnTo>
                    <a:pt x="86068" y="112613"/>
                  </a:lnTo>
                  <a:lnTo>
                    <a:pt x="86068" y="112613"/>
                  </a:lnTo>
                  <a:lnTo>
                    <a:pt x="86896" y="112914"/>
                  </a:lnTo>
                  <a:lnTo>
                    <a:pt x="87724" y="113216"/>
                  </a:lnTo>
                  <a:lnTo>
                    <a:pt x="88965" y="113216"/>
                  </a:lnTo>
                  <a:lnTo>
                    <a:pt x="89793" y="113216"/>
                  </a:lnTo>
                  <a:lnTo>
                    <a:pt x="90620" y="112914"/>
                  </a:lnTo>
                  <a:lnTo>
                    <a:pt x="90620" y="112914"/>
                  </a:lnTo>
                  <a:lnTo>
                    <a:pt x="91862" y="112914"/>
                  </a:lnTo>
                  <a:lnTo>
                    <a:pt x="92689" y="112914"/>
                  </a:lnTo>
                  <a:lnTo>
                    <a:pt x="93517" y="113216"/>
                  </a:lnTo>
                  <a:lnTo>
                    <a:pt x="93517" y="113216"/>
                  </a:lnTo>
                  <a:lnTo>
                    <a:pt x="94758" y="113668"/>
                  </a:lnTo>
                  <a:lnTo>
                    <a:pt x="94758" y="113668"/>
                  </a:lnTo>
                  <a:lnTo>
                    <a:pt x="92689" y="113969"/>
                  </a:lnTo>
                  <a:lnTo>
                    <a:pt x="91862" y="113969"/>
                  </a:lnTo>
                  <a:lnTo>
                    <a:pt x="90620" y="114422"/>
                  </a:lnTo>
                  <a:lnTo>
                    <a:pt x="90620" y="114422"/>
                  </a:lnTo>
                  <a:lnTo>
                    <a:pt x="90620" y="114723"/>
                  </a:lnTo>
                  <a:lnTo>
                    <a:pt x="91862" y="115025"/>
                  </a:lnTo>
                  <a:lnTo>
                    <a:pt x="92689" y="115477"/>
                  </a:lnTo>
                  <a:lnTo>
                    <a:pt x="99724" y="116080"/>
                  </a:lnTo>
                  <a:lnTo>
                    <a:pt x="100551" y="116080"/>
                  </a:lnTo>
                  <a:lnTo>
                    <a:pt x="100551" y="116532"/>
                  </a:lnTo>
                  <a:lnTo>
                    <a:pt x="100551" y="116532"/>
                  </a:lnTo>
                  <a:lnTo>
                    <a:pt x="100551" y="116532"/>
                  </a:lnTo>
                  <a:lnTo>
                    <a:pt x="99724" y="116532"/>
                  </a:lnTo>
                  <a:lnTo>
                    <a:pt x="99724" y="116834"/>
                  </a:lnTo>
                  <a:lnTo>
                    <a:pt x="99724" y="116834"/>
                  </a:lnTo>
                  <a:lnTo>
                    <a:pt x="99724" y="116834"/>
                  </a:lnTo>
                  <a:lnTo>
                    <a:pt x="98482" y="116532"/>
                  </a:lnTo>
                  <a:lnTo>
                    <a:pt x="98482" y="116532"/>
                  </a:lnTo>
                  <a:lnTo>
                    <a:pt x="97655" y="116080"/>
                  </a:lnTo>
                  <a:lnTo>
                    <a:pt x="96413" y="116080"/>
                  </a:lnTo>
                  <a:lnTo>
                    <a:pt x="95586" y="116080"/>
                  </a:lnTo>
                  <a:lnTo>
                    <a:pt x="94758" y="116080"/>
                  </a:lnTo>
                  <a:lnTo>
                    <a:pt x="94758" y="116080"/>
                  </a:lnTo>
                  <a:lnTo>
                    <a:pt x="93517" y="116080"/>
                  </a:lnTo>
                  <a:lnTo>
                    <a:pt x="92689" y="116080"/>
                  </a:lnTo>
                  <a:lnTo>
                    <a:pt x="92689" y="116080"/>
                  </a:lnTo>
                  <a:lnTo>
                    <a:pt x="91862" y="115778"/>
                  </a:lnTo>
                  <a:lnTo>
                    <a:pt x="90620" y="115477"/>
                  </a:lnTo>
                  <a:lnTo>
                    <a:pt x="89793" y="115477"/>
                  </a:lnTo>
                  <a:lnTo>
                    <a:pt x="88965" y="115025"/>
                  </a:lnTo>
                  <a:lnTo>
                    <a:pt x="89793" y="115025"/>
                  </a:lnTo>
                  <a:lnTo>
                    <a:pt x="89793" y="115025"/>
                  </a:lnTo>
                  <a:lnTo>
                    <a:pt x="88965" y="114723"/>
                  </a:lnTo>
                  <a:lnTo>
                    <a:pt x="87724" y="113969"/>
                  </a:lnTo>
                  <a:lnTo>
                    <a:pt x="86896" y="113969"/>
                  </a:lnTo>
                  <a:lnTo>
                    <a:pt x="86896" y="114422"/>
                  </a:lnTo>
                  <a:lnTo>
                    <a:pt x="87724" y="114422"/>
                  </a:lnTo>
                  <a:lnTo>
                    <a:pt x="86068" y="114723"/>
                  </a:lnTo>
                  <a:lnTo>
                    <a:pt x="86896" y="115025"/>
                  </a:lnTo>
                  <a:lnTo>
                    <a:pt x="86896" y="115477"/>
                  </a:lnTo>
                  <a:lnTo>
                    <a:pt x="88965" y="115778"/>
                  </a:lnTo>
                  <a:lnTo>
                    <a:pt x="89793" y="115778"/>
                  </a:lnTo>
                  <a:lnTo>
                    <a:pt x="89793" y="116080"/>
                  </a:lnTo>
                  <a:lnTo>
                    <a:pt x="90620" y="116080"/>
                  </a:lnTo>
                  <a:lnTo>
                    <a:pt x="92689" y="116532"/>
                  </a:lnTo>
                  <a:lnTo>
                    <a:pt x="92689" y="116532"/>
                  </a:lnTo>
                  <a:lnTo>
                    <a:pt x="91862" y="116532"/>
                  </a:lnTo>
                  <a:lnTo>
                    <a:pt x="90620" y="116532"/>
                  </a:lnTo>
                  <a:lnTo>
                    <a:pt x="89793" y="116532"/>
                  </a:lnTo>
                  <a:lnTo>
                    <a:pt x="89793" y="116080"/>
                  </a:lnTo>
                  <a:lnTo>
                    <a:pt x="89793" y="116080"/>
                  </a:lnTo>
                  <a:lnTo>
                    <a:pt x="88965" y="116080"/>
                  </a:lnTo>
                  <a:lnTo>
                    <a:pt x="87724" y="116080"/>
                  </a:lnTo>
                  <a:lnTo>
                    <a:pt x="87724" y="116080"/>
                  </a:lnTo>
                  <a:lnTo>
                    <a:pt x="87724" y="116080"/>
                  </a:lnTo>
                  <a:lnTo>
                    <a:pt x="87724" y="116532"/>
                  </a:lnTo>
                  <a:lnTo>
                    <a:pt x="87724" y="116532"/>
                  </a:lnTo>
                  <a:lnTo>
                    <a:pt x="86896" y="116532"/>
                  </a:lnTo>
                  <a:lnTo>
                    <a:pt x="84827" y="116080"/>
                  </a:lnTo>
                  <a:lnTo>
                    <a:pt x="84827" y="116080"/>
                  </a:lnTo>
                  <a:lnTo>
                    <a:pt x="84827" y="116532"/>
                  </a:lnTo>
                  <a:lnTo>
                    <a:pt x="84827" y="116532"/>
                  </a:lnTo>
                  <a:lnTo>
                    <a:pt x="84000" y="116532"/>
                  </a:lnTo>
                  <a:lnTo>
                    <a:pt x="82758" y="116532"/>
                  </a:lnTo>
                  <a:lnTo>
                    <a:pt x="82758" y="116532"/>
                  </a:lnTo>
                  <a:lnTo>
                    <a:pt x="82758" y="116532"/>
                  </a:lnTo>
                  <a:lnTo>
                    <a:pt x="81931" y="116532"/>
                  </a:lnTo>
                  <a:lnTo>
                    <a:pt x="81931" y="116532"/>
                  </a:lnTo>
                  <a:lnTo>
                    <a:pt x="82758" y="116834"/>
                  </a:lnTo>
                  <a:lnTo>
                    <a:pt x="82758" y="116834"/>
                  </a:lnTo>
                  <a:lnTo>
                    <a:pt x="86068" y="116834"/>
                  </a:lnTo>
                  <a:lnTo>
                    <a:pt x="87724" y="117135"/>
                  </a:lnTo>
                  <a:lnTo>
                    <a:pt x="89793" y="117135"/>
                  </a:lnTo>
                  <a:lnTo>
                    <a:pt x="90620" y="117135"/>
                  </a:lnTo>
                  <a:lnTo>
                    <a:pt x="92689" y="117587"/>
                  </a:lnTo>
                  <a:lnTo>
                    <a:pt x="93517" y="117135"/>
                  </a:lnTo>
                  <a:lnTo>
                    <a:pt x="93517" y="117135"/>
                  </a:lnTo>
                  <a:lnTo>
                    <a:pt x="94758" y="117587"/>
                  </a:lnTo>
                  <a:lnTo>
                    <a:pt x="94758" y="117587"/>
                  </a:lnTo>
                  <a:lnTo>
                    <a:pt x="95586" y="117587"/>
                  </a:lnTo>
                  <a:lnTo>
                    <a:pt x="96413" y="117587"/>
                  </a:lnTo>
                  <a:lnTo>
                    <a:pt x="96413" y="117135"/>
                  </a:lnTo>
                  <a:lnTo>
                    <a:pt x="97655" y="117135"/>
                  </a:lnTo>
                  <a:close/>
                  <a:moveTo>
                    <a:pt x="56689" y="108693"/>
                  </a:moveTo>
                  <a:lnTo>
                    <a:pt x="56689" y="108693"/>
                  </a:lnTo>
                  <a:lnTo>
                    <a:pt x="56689" y="108693"/>
                  </a:lnTo>
                  <a:lnTo>
                    <a:pt x="56689" y="108693"/>
                  </a:lnTo>
                  <a:lnTo>
                    <a:pt x="55448" y="108241"/>
                  </a:lnTo>
                  <a:lnTo>
                    <a:pt x="54620" y="108241"/>
                  </a:lnTo>
                  <a:lnTo>
                    <a:pt x="54620" y="108241"/>
                  </a:lnTo>
                  <a:lnTo>
                    <a:pt x="53793" y="108241"/>
                  </a:lnTo>
                  <a:lnTo>
                    <a:pt x="53793" y="108241"/>
                  </a:lnTo>
                  <a:lnTo>
                    <a:pt x="53793" y="108241"/>
                  </a:lnTo>
                  <a:lnTo>
                    <a:pt x="54620" y="108693"/>
                  </a:lnTo>
                  <a:lnTo>
                    <a:pt x="54620" y="108693"/>
                  </a:lnTo>
                  <a:lnTo>
                    <a:pt x="55448" y="108693"/>
                  </a:lnTo>
                  <a:lnTo>
                    <a:pt x="56689" y="108693"/>
                  </a:lnTo>
                  <a:lnTo>
                    <a:pt x="56689" y="108693"/>
                  </a:lnTo>
                  <a:close/>
                  <a:moveTo>
                    <a:pt x="54620" y="108994"/>
                  </a:moveTo>
                  <a:lnTo>
                    <a:pt x="53793" y="108994"/>
                  </a:lnTo>
                  <a:lnTo>
                    <a:pt x="52551" y="108693"/>
                  </a:lnTo>
                  <a:lnTo>
                    <a:pt x="51724" y="108693"/>
                  </a:lnTo>
                  <a:lnTo>
                    <a:pt x="51724" y="108241"/>
                  </a:lnTo>
                  <a:lnTo>
                    <a:pt x="50896" y="107939"/>
                  </a:lnTo>
                  <a:lnTo>
                    <a:pt x="50896" y="107939"/>
                  </a:lnTo>
                  <a:lnTo>
                    <a:pt x="50896" y="108241"/>
                  </a:lnTo>
                  <a:lnTo>
                    <a:pt x="49655" y="108241"/>
                  </a:lnTo>
                  <a:lnTo>
                    <a:pt x="49655" y="108241"/>
                  </a:lnTo>
                  <a:lnTo>
                    <a:pt x="50896" y="108693"/>
                  </a:lnTo>
                  <a:lnTo>
                    <a:pt x="51724" y="108994"/>
                  </a:lnTo>
                  <a:lnTo>
                    <a:pt x="52551" y="109296"/>
                  </a:lnTo>
                  <a:lnTo>
                    <a:pt x="53793" y="109748"/>
                  </a:lnTo>
                  <a:lnTo>
                    <a:pt x="54620" y="109748"/>
                  </a:lnTo>
                  <a:lnTo>
                    <a:pt x="53793" y="109296"/>
                  </a:lnTo>
                  <a:lnTo>
                    <a:pt x="54620" y="108994"/>
                  </a:lnTo>
                  <a:close/>
                  <a:moveTo>
                    <a:pt x="49655" y="107185"/>
                  </a:moveTo>
                  <a:lnTo>
                    <a:pt x="50896" y="107185"/>
                  </a:lnTo>
                  <a:lnTo>
                    <a:pt x="50896" y="107185"/>
                  </a:lnTo>
                  <a:lnTo>
                    <a:pt x="50896" y="107185"/>
                  </a:lnTo>
                  <a:lnTo>
                    <a:pt x="51724" y="107185"/>
                  </a:lnTo>
                  <a:lnTo>
                    <a:pt x="51724" y="106884"/>
                  </a:lnTo>
                  <a:lnTo>
                    <a:pt x="50896" y="106884"/>
                  </a:lnTo>
                  <a:lnTo>
                    <a:pt x="50896" y="106582"/>
                  </a:lnTo>
                  <a:lnTo>
                    <a:pt x="50896" y="106582"/>
                  </a:lnTo>
                  <a:lnTo>
                    <a:pt x="49655" y="106582"/>
                  </a:lnTo>
                  <a:lnTo>
                    <a:pt x="48827" y="106884"/>
                  </a:lnTo>
                  <a:lnTo>
                    <a:pt x="48000" y="106884"/>
                  </a:lnTo>
                  <a:lnTo>
                    <a:pt x="46758" y="106884"/>
                  </a:lnTo>
                  <a:lnTo>
                    <a:pt x="46758" y="107185"/>
                  </a:lnTo>
                  <a:lnTo>
                    <a:pt x="46758" y="107185"/>
                  </a:lnTo>
                  <a:lnTo>
                    <a:pt x="46758" y="107638"/>
                  </a:lnTo>
                  <a:lnTo>
                    <a:pt x="48000" y="107939"/>
                  </a:lnTo>
                  <a:lnTo>
                    <a:pt x="48000" y="107638"/>
                  </a:lnTo>
                  <a:lnTo>
                    <a:pt x="48000" y="107638"/>
                  </a:lnTo>
                  <a:lnTo>
                    <a:pt x="48000" y="107185"/>
                  </a:lnTo>
                  <a:lnTo>
                    <a:pt x="48827" y="107185"/>
                  </a:lnTo>
                  <a:lnTo>
                    <a:pt x="49655" y="107185"/>
                  </a:lnTo>
                  <a:lnTo>
                    <a:pt x="49655" y="107185"/>
                  </a:lnTo>
                  <a:close/>
                  <a:moveTo>
                    <a:pt x="43034" y="104321"/>
                  </a:moveTo>
                  <a:lnTo>
                    <a:pt x="41793" y="104321"/>
                  </a:lnTo>
                  <a:lnTo>
                    <a:pt x="41793" y="104321"/>
                  </a:lnTo>
                  <a:lnTo>
                    <a:pt x="41793" y="104773"/>
                  </a:lnTo>
                  <a:lnTo>
                    <a:pt x="41793" y="104773"/>
                  </a:lnTo>
                  <a:lnTo>
                    <a:pt x="43034" y="105075"/>
                  </a:lnTo>
                  <a:lnTo>
                    <a:pt x="43034" y="105075"/>
                  </a:lnTo>
                  <a:lnTo>
                    <a:pt x="43034" y="105075"/>
                  </a:lnTo>
                  <a:lnTo>
                    <a:pt x="43862" y="105075"/>
                  </a:lnTo>
                  <a:lnTo>
                    <a:pt x="43862" y="105075"/>
                  </a:lnTo>
                  <a:lnTo>
                    <a:pt x="43034" y="104773"/>
                  </a:lnTo>
                  <a:lnTo>
                    <a:pt x="43862" y="104773"/>
                  </a:lnTo>
                  <a:lnTo>
                    <a:pt x="43862" y="104773"/>
                  </a:lnTo>
                  <a:lnTo>
                    <a:pt x="43862" y="104321"/>
                  </a:lnTo>
                  <a:lnTo>
                    <a:pt x="43862" y="104321"/>
                  </a:lnTo>
                  <a:lnTo>
                    <a:pt x="43034" y="104321"/>
                  </a:lnTo>
                  <a:close/>
                  <a:moveTo>
                    <a:pt x="43034" y="102964"/>
                  </a:moveTo>
                  <a:lnTo>
                    <a:pt x="41793" y="102964"/>
                  </a:lnTo>
                  <a:lnTo>
                    <a:pt x="41793" y="102964"/>
                  </a:lnTo>
                  <a:lnTo>
                    <a:pt x="40965" y="102964"/>
                  </a:lnTo>
                  <a:lnTo>
                    <a:pt x="40965" y="103266"/>
                  </a:lnTo>
                  <a:lnTo>
                    <a:pt x="40965" y="103266"/>
                  </a:lnTo>
                  <a:lnTo>
                    <a:pt x="40965" y="103266"/>
                  </a:lnTo>
                  <a:lnTo>
                    <a:pt x="40965" y="103718"/>
                  </a:lnTo>
                  <a:lnTo>
                    <a:pt x="40965" y="104020"/>
                  </a:lnTo>
                  <a:lnTo>
                    <a:pt x="41793" y="104020"/>
                  </a:lnTo>
                  <a:lnTo>
                    <a:pt x="43034" y="104020"/>
                  </a:lnTo>
                  <a:lnTo>
                    <a:pt x="43862" y="103718"/>
                  </a:lnTo>
                  <a:lnTo>
                    <a:pt x="43862" y="103718"/>
                  </a:lnTo>
                  <a:lnTo>
                    <a:pt x="45103" y="103266"/>
                  </a:lnTo>
                  <a:lnTo>
                    <a:pt x="43862" y="103266"/>
                  </a:lnTo>
                  <a:lnTo>
                    <a:pt x="43034" y="102964"/>
                  </a:lnTo>
                  <a:close/>
                  <a:moveTo>
                    <a:pt x="38068" y="99346"/>
                  </a:moveTo>
                  <a:lnTo>
                    <a:pt x="37241" y="99346"/>
                  </a:lnTo>
                  <a:lnTo>
                    <a:pt x="37241" y="99045"/>
                  </a:lnTo>
                  <a:lnTo>
                    <a:pt x="36000" y="99045"/>
                  </a:lnTo>
                  <a:lnTo>
                    <a:pt x="36000" y="99045"/>
                  </a:lnTo>
                  <a:lnTo>
                    <a:pt x="35172" y="99346"/>
                  </a:lnTo>
                  <a:lnTo>
                    <a:pt x="34344" y="99346"/>
                  </a:lnTo>
                  <a:lnTo>
                    <a:pt x="34344" y="99346"/>
                  </a:lnTo>
                  <a:lnTo>
                    <a:pt x="34344" y="99346"/>
                  </a:lnTo>
                  <a:lnTo>
                    <a:pt x="34344" y="99798"/>
                  </a:lnTo>
                  <a:lnTo>
                    <a:pt x="35172" y="99798"/>
                  </a:lnTo>
                  <a:lnTo>
                    <a:pt x="35172" y="99798"/>
                  </a:lnTo>
                  <a:lnTo>
                    <a:pt x="35172" y="99798"/>
                  </a:lnTo>
                  <a:lnTo>
                    <a:pt x="36000" y="100100"/>
                  </a:lnTo>
                  <a:lnTo>
                    <a:pt x="35172" y="100100"/>
                  </a:lnTo>
                  <a:lnTo>
                    <a:pt x="35172" y="100402"/>
                  </a:lnTo>
                  <a:lnTo>
                    <a:pt x="36000" y="100402"/>
                  </a:lnTo>
                  <a:lnTo>
                    <a:pt x="36000" y="100402"/>
                  </a:lnTo>
                  <a:lnTo>
                    <a:pt x="37241" y="100100"/>
                  </a:lnTo>
                  <a:lnTo>
                    <a:pt x="37241" y="100100"/>
                  </a:lnTo>
                  <a:lnTo>
                    <a:pt x="38068" y="99346"/>
                  </a:lnTo>
                  <a:close/>
                  <a:moveTo>
                    <a:pt x="45931" y="102964"/>
                  </a:moveTo>
                  <a:lnTo>
                    <a:pt x="45931" y="102663"/>
                  </a:lnTo>
                  <a:lnTo>
                    <a:pt x="45931" y="102211"/>
                  </a:lnTo>
                  <a:lnTo>
                    <a:pt x="45931" y="102211"/>
                  </a:lnTo>
                  <a:lnTo>
                    <a:pt x="45103" y="101909"/>
                  </a:lnTo>
                  <a:lnTo>
                    <a:pt x="45103" y="101909"/>
                  </a:lnTo>
                  <a:lnTo>
                    <a:pt x="45103" y="101909"/>
                  </a:lnTo>
                  <a:lnTo>
                    <a:pt x="45103" y="101457"/>
                  </a:lnTo>
                  <a:lnTo>
                    <a:pt x="43862" y="101155"/>
                  </a:lnTo>
                  <a:lnTo>
                    <a:pt x="43862" y="100854"/>
                  </a:lnTo>
                  <a:lnTo>
                    <a:pt x="43034" y="100100"/>
                  </a:lnTo>
                  <a:lnTo>
                    <a:pt x="40965" y="99045"/>
                  </a:lnTo>
                  <a:lnTo>
                    <a:pt x="40965" y="99045"/>
                  </a:lnTo>
                  <a:lnTo>
                    <a:pt x="40965" y="99045"/>
                  </a:lnTo>
                  <a:lnTo>
                    <a:pt x="40137" y="99045"/>
                  </a:lnTo>
                  <a:lnTo>
                    <a:pt x="38896" y="98592"/>
                  </a:lnTo>
                  <a:lnTo>
                    <a:pt x="38896" y="98592"/>
                  </a:lnTo>
                  <a:lnTo>
                    <a:pt x="38068" y="99045"/>
                  </a:lnTo>
                  <a:lnTo>
                    <a:pt x="38068" y="99045"/>
                  </a:lnTo>
                  <a:lnTo>
                    <a:pt x="38068" y="99045"/>
                  </a:lnTo>
                  <a:lnTo>
                    <a:pt x="38896" y="99346"/>
                  </a:lnTo>
                  <a:lnTo>
                    <a:pt x="38896" y="99798"/>
                  </a:lnTo>
                  <a:lnTo>
                    <a:pt x="38896" y="99798"/>
                  </a:lnTo>
                  <a:lnTo>
                    <a:pt x="38068" y="100100"/>
                  </a:lnTo>
                  <a:lnTo>
                    <a:pt x="38068" y="100100"/>
                  </a:lnTo>
                  <a:lnTo>
                    <a:pt x="38896" y="100402"/>
                  </a:lnTo>
                  <a:lnTo>
                    <a:pt x="38896" y="100402"/>
                  </a:lnTo>
                  <a:lnTo>
                    <a:pt x="38896" y="100854"/>
                  </a:lnTo>
                  <a:lnTo>
                    <a:pt x="38068" y="100402"/>
                  </a:lnTo>
                  <a:lnTo>
                    <a:pt x="38068" y="100402"/>
                  </a:lnTo>
                  <a:lnTo>
                    <a:pt x="37241" y="100854"/>
                  </a:lnTo>
                  <a:lnTo>
                    <a:pt x="37241" y="100854"/>
                  </a:lnTo>
                  <a:lnTo>
                    <a:pt x="38068" y="101155"/>
                  </a:lnTo>
                  <a:lnTo>
                    <a:pt x="38068" y="101155"/>
                  </a:lnTo>
                  <a:lnTo>
                    <a:pt x="38896" y="101155"/>
                  </a:lnTo>
                  <a:lnTo>
                    <a:pt x="38896" y="101457"/>
                  </a:lnTo>
                  <a:lnTo>
                    <a:pt x="38068" y="101457"/>
                  </a:lnTo>
                  <a:lnTo>
                    <a:pt x="38068" y="101909"/>
                  </a:lnTo>
                  <a:lnTo>
                    <a:pt x="38068" y="102211"/>
                  </a:lnTo>
                  <a:lnTo>
                    <a:pt x="38896" y="102211"/>
                  </a:lnTo>
                  <a:lnTo>
                    <a:pt x="40137" y="102211"/>
                  </a:lnTo>
                  <a:lnTo>
                    <a:pt x="40965" y="102211"/>
                  </a:lnTo>
                  <a:lnTo>
                    <a:pt x="41793" y="102211"/>
                  </a:lnTo>
                  <a:lnTo>
                    <a:pt x="41793" y="102211"/>
                  </a:lnTo>
                  <a:lnTo>
                    <a:pt x="41793" y="102211"/>
                  </a:lnTo>
                  <a:lnTo>
                    <a:pt x="40965" y="101457"/>
                  </a:lnTo>
                  <a:lnTo>
                    <a:pt x="40965" y="101457"/>
                  </a:lnTo>
                  <a:lnTo>
                    <a:pt x="40965" y="101457"/>
                  </a:lnTo>
                  <a:lnTo>
                    <a:pt x="41793" y="101155"/>
                  </a:lnTo>
                  <a:lnTo>
                    <a:pt x="41793" y="101155"/>
                  </a:lnTo>
                  <a:lnTo>
                    <a:pt x="43034" y="101155"/>
                  </a:lnTo>
                  <a:lnTo>
                    <a:pt x="43034" y="101155"/>
                  </a:lnTo>
                  <a:lnTo>
                    <a:pt x="41793" y="101155"/>
                  </a:lnTo>
                  <a:lnTo>
                    <a:pt x="41793" y="101457"/>
                  </a:lnTo>
                  <a:lnTo>
                    <a:pt x="43034" y="101457"/>
                  </a:lnTo>
                  <a:lnTo>
                    <a:pt x="41793" y="101909"/>
                  </a:lnTo>
                  <a:lnTo>
                    <a:pt x="41793" y="101909"/>
                  </a:lnTo>
                  <a:lnTo>
                    <a:pt x="43034" y="101909"/>
                  </a:lnTo>
                  <a:lnTo>
                    <a:pt x="43034" y="102211"/>
                  </a:lnTo>
                  <a:lnTo>
                    <a:pt x="43862" y="102663"/>
                  </a:lnTo>
                  <a:lnTo>
                    <a:pt x="43862" y="102663"/>
                  </a:lnTo>
                  <a:lnTo>
                    <a:pt x="45103" y="102964"/>
                  </a:lnTo>
                  <a:lnTo>
                    <a:pt x="45103" y="102964"/>
                  </a:lnTo>
                  <a:lnTo>
                    <a:pt x="45931" y="102964"/>
                  </a:lnTo>
                  <a:lnTo>
                    <a:pt x="45931" y="102964"/>
                  </a:lnTo>
                  <a:close/>
                  <a:moveTo>
                    <a:pt x="35172" y="99045"/>
                  </a:moveTo>
                  <a:lnTo>
                    <a:pt x="36000" y="98592"/>
                  </a:lnTo>
                  <a:lnTo>
                    <a:pt x="36000" y="98592"/>
                  </a:lnTo>
                  <a:lnTo>
                    <a:pt x="35172" y="97989"/>
                  </a:lnTo>
                  <a:lnTo>
                    <a:pt x="34344" y="97236"/>
                  </a:lnTo>
                  <a:lnTo>
                    <a:pt x="33103" y="96934"/>
                  </a:lnTo>
                  <a:lnTo>
                    <a:pt x="32275" y="96482"/>
                  </a:lnTo>
                  <a:lnTo>
                    <a:pt x="31448" y="96934"/>
                  </a:lnTo>
                  <a:lnTo>
                    <a:pt x="31448" y="96934"/>
                  </a:lnTo>
                  <a:lnTo>
                    <a:pt x="32275" y="97236"/>
                  </a:lnTo>
                  <a:lnTo>
                    <a:pt x="32275" y="97236"/>
                  </a:lnTo>
                  <a:lnTo>
                    <a:pt x="33103" y="97537"/>
                  </a:lnTo>
                  <a:lnTo>
                    <a:pt x="33103" y="98291"/>
                  </a:lnTo>
                  <a:lnTo>
                    <a:pt x="34344" y="99045"/>
                  </a:lnTo>
                  <a:lnTo>
                    <a:pt x="34344" y="99045"/>
                  </a:lnTo>
                  <a:lnTo>
                    <a:pt x="35172" y="99045"/>
                  </a:lnTo>
                  <a:close/>
                  <a:moveTo>
                    <a:pt x="33103" y="96934"/>
                  </a:moveTo>
                  <a:lnTo>
                    <a:pt x="33103" y="96934"/>
                  </a:lnTo>
                  <a:lnTo>
                    <a:pt x="34344" y="97236"/>
                  </a:lnTo>
                  <a:lnTo>
                    <a:pt x="35172" y="97236"/>
                  </a:lnTo>
                  <a:lnTo>
                    <a:pt x="35172" y="97537"/>
                  </a:lnTo>
                  <a:lnTo>
                    <a:pt x="36000" y="97537"/>
                  </a:lnTo>
                  <a:lnTo>
                    <a:pt x="36000" y="97989"/>
                  </a:lnTo>
                  <a:lnTo>
                    <a:pt x="37241" y="98291"/>
                  </a:lnTo>
                  <a:lnTo>
                    <a:pt x="38068" y="98592"/>
                  </a:lnTo>
                  <a:lnTo>
                    <a:pt x="38896" y="98592"/>
                  </a:lnTo>
                  <a:lnTo>
                    <a:pt x="40137" y="98592"/>
                  </a:lnTo>
                  <a:lnTo>
                    <a:pt x="40137" y="98291"/>
                  </a:lnTo>
                  <a:lnTo>
                    <a:pt x="38896" y="97989"/>
                  </a:lnTo>
                  <a:lnTo>
                    <a:pt x="38896" y="97989"/>
                  </a:lnTo>
                  <a:lnTo>
                    <a:pt x="38896" y="97989"/>
                  </a:lnTo>
                  <a:lnTo>
                    <a:pt x="38896" y="97537"/>
                  </a:lnTo>
                  <a:lnTo>
                    <a:pt x="38068" y="97537"/>
                  </a:lnTo>
                  <a:lnTo>
                    <a:pt x="38068" y="97236"/>
                  </a:lnTo>
                  <a:lnTo>
                    <a:pt x="37241" y="97236"/>
                  </a:lnTo>
                  <a:lnTo>
                    <a:pt x="37241" y="96934"/>
                  </a:lnTo>
                  <a:lnTo>
                    <a:pt x="37241" y="96934"/>
                  </a:lnTo>
                  <a:lnTo>
                    <a:pt x="36000" y="96482"/>
                  </a:lnTo>
                  <a:lnTo>
                    <a:pt x="36000" y="96180"/>
                  </a:lnTo>
                  <a:lnTo>
                    <a:pt x="35172" y="96180"/>
                  </a:lnTo>
                  <a:lnTo>
                    <a:pt x="35172" y="96482"/>
                  </a:lnTo>
                  <a:lnTo>
                    <a:pt x="33103" y="96482"/>
                  </a:lnTo>
                  <a:lnTo>
                    <a:pt x="33103" y="96934"/>
                  </a:lnTo>
                  <a:close/>
                  <a:moveTo>
                    <a:pt x="34344" y="95879"/>
                  </a:moveTo>
                  <a:lnTo>
                    <a:pt x="33103" y="95879"/>
                  </a:lnTo>
                  <a:lnTo>
                    <a:pt x="32275" y="95879"/>
                  </a:lnTo>
                  <a:lnTo>
                    <a:pt x="32275" y="95879"/>
                  </a:lnTo>
                  <a:lnTo>
                    <a:pt x="33103" y="96180"/>
                  </a:lnTo>
                  <a:lnTo>
                    <a:pt x="33103" y="96180"/>
                  </a:lnTo>
                  <a:lnTo>
                    <a:pt x="33103" y="96180"/>
                  </a:lnTo>
                  <a:lnTo>
                    <a:pt x="34344" y="96180"/>
                  </a:lnTo>
                  <a:lnTo>
                    <a:pt x="34344" y="96180"/>
                  </a:lnTo>
                  <a:lnTo>
                    <a:pt x="35172" y="95879"/>
                  </a:lnTo>
                  <a:lnTo>
                    <a:pt x="34344" y="95879"/>
                  </a:lnTo>
                  <a:lnTo>
                    <a:pt x="34344" y="95879"/>
                  </a:lnTo>
                  <a:close/>
                  <a:moveTo>
                    <a:pt x="28137" y="89095"/>
                  </a:moveTo>
                  <a:lnTo>
                    <a:pt x="28137" y="89396"/>
                  </a:lnTo>
                  <a:lnTo>
                    <a:pt x="29379" y="89698"/>
                  </a:lnTo>
                  <a:lnTo>
                    <a:pt x="29379" y="89396"/>
                  </a:lnTo>
                  <a:lnTo>
                    <a:pt x="30206" y="89698"/>
                  </a:lnTo>
                  <a:lnTo>
                    <a:pt x="31448" y="89698"/>
                  </a:lnTo>
                  <a:lnTo>
                    <a:pt x="31448" y="89396"/>
                  </a:lnTo>
                  <a:lnTo>
                    <a:pt x="31448" y="89396"/>
                  </a:lnTo>
                  <a:lnTo>
                    <a:pt x="31448" y="89095"/>
                  </a:lnTo>
                  <a:lnTo>
                    <a:pt x="31448" y="89095"/>
                  </a:lnTo>
                  <a:lnTo>
                    <a:pt x="30206" y="88643"/>
                  </a:lnTo>
                  <a:lnTo>
                    <a:pt x="30206" y="88341"/>
                  </a:lnTo>
                  <a:lnTo>
                    <a:pt x="29379" y="88040"/>
                  </a:lnTo>
                  <a:lnTo>
                    <a:pt x="29379" y="88040"/>
                  </a:lnTo>
                  <a:lnTo>
                    <a:pt x="28137" y="88040"/>
                  </a:lnTo>
                  <a:lnTo>
                    <a:pt x="28137" y="88341"/>
                  </a:lnTo>
                  <a:lnTo>
                    <a:pt x="29379" y="88643"/>
                  </a:lnTo>
                  <a:lnTo>
                    <a:pt x="29379" y="89095"/>
                  </a:lnTo>
                  <a:lnTo>
                    <a:pt x="28137" y="89095"/>
                  </a:lnTo>
                  <a:close/>
                  <a:moveTo>
                    <a:pt x="22344" y="86532"/>
                  </a:moveTo>
                  <a:lnTo>
                    <a:pt x="22344" y="86532"/>
                  </a:lnTo>
                  <a:lnTo>
                    <a:pt x="22344" y="86532"/>
                  </a:lnTo>
                  <a:lnTo>
                    <a:pt x="22344" y="86532"/>
                  </a:lnTo>
                  <a:lnTo>
                    <a:pt x="23586" y="86834"/>
                  </a:lnTo>
                  <a:lnTo>
                    <a:pt x="23586" y="86834"/>
                  </a:lnTo>
                  <a:lnTo>
                    <a:pt x="23586" y="86532"/>
                  </a:lnTo>
                  <a:lnTo>
                    <a:pt x="23586" y="86532"/>
                  </a:lnTo>
                  <a:lnTo>
                    <a:pt x="23586" y="86532"/>
                  </a:lnTo>
                  <a:lnTo>
                    <a:pt x="22344" y="86532"/>
                  </a:lnTo>
                  <a:close/>
                  <a:moveTo>
                    <a:pt x="32275" y="86231"/>
                  </a:moveTo>
                  <a:lnTo>
                    <a:pt x="32275" y="86532"/>
                  </a:lnTo>
                  <a:lnTo>
                    <a:pt x="32275" y="86532"/>
                  </a:lnTo>
                  <a:lnTo>
                    <a:pt x="33103" y="86532"/>
                  </a:lnTo>
                  <a:lnTo>
                    <a:pt x="33103" y="86532"/>
                  </a:lnTo>
                  <a:lnTo>
                    <a:pt x="33103" y="86231"/>
                  </a:lnTo>
                  <a:lnTo>
                    <a:pt x="32275" y="86231"/>
                  </a:lnTo>
                  <a:lnTo>
                    <a:pt x="32275" y="85778"/>
                  </a:lnTo>
                  <a:lnTo>
                    <a:pt x="31448" y="85778"/>
                  </a:lnTo>
                  <a:lnTo>
                    <a:pt x="31448" y="85477"/>
                  </a:lnTo>
                  <a:lnTo>
                    <a:pt x="31448" y="85778"/>
                  </a:lnTo>
                  <a:lnTo>
                    <a:pt x="31448" y="85778"/>
                  </a:lnTo>
                  <a:lnTo>
                    <a:pt x="31448" y="85778"/>
                  </a:lnTo>
                  <a:lnTo>
                    <a:pt x="31448" y="86231"/>
                  </a:lnTo>
                  <a:lnTo>
                    <a:pt x="32275" y="86231"/>
                  </a:lnTo>
                  <a:close/>
                  <a:moveTo>
                    <a:pt x="34344" y="85778"/>
                  </a:moveTo>
                  <a:lnTo>
                    <a:pt x="33103" y="85778"/>
                  </a:lnTo>
                  <a:lnTo>
                    <a:pt x="34344" y="86231"/>
                  </a:lnTo>
                  <a:lnTo>
                    <a:pt x="34344" y="86231"/>
                  </a:lnTo>
                  <a:lnTo>
                    <a:pt x="35172" y="86532"/>
                  </a:lnTo>
                  <a:lnTo>
                    <a:pt x="36000" y="86532"/>
                  </a:lnTo>
                  <a:lnTo>
                    <a:pt x="37241" y="86532"/>
                  </a:lnTo>
                  <a:lnTo>
                    <a:pt x="38068" y="86231"/>
                  </a:lnTo>
                  <a:lnTo>
                    <a:pt x="38068" y="85778"/>
                  </a:lnTo>
                  <a:lnTo>
                    <a:pt x="38068" y="85778"/>
                  </a:lnTo>
                  <a:lnTo>
                    <a:pt x="38068" y="85477"/>
                  </a:lnTo>
                  <a:lnTo>
                    <a:pt x="37241" y="85477"/>
                  </a:lnTo>
                  <a:lnTo>
                    <a:pt x="35172" y="85175"/>
                  </a:lnTo>
                  <a:lnTo>
                    <a:pt x="34344" y="85175"/>
                  </a:lnTo>
                  <a:lnTo>
                    <a:pt x="34344" y="85175"/>
                  </a:lnTo>
                  <a:lnTo>
                    <a:pt x="34344" y="85175"/>
                  </a:lnTo>
                  <a:lnTo>
                    <a:pt x="34344" y="85477"/>
                  </a:lnTo>
                  <a:lnTo>
                    <a:pt x="34344" y="85477"/>
                  </a:lnTo>
                  <a:lnTo>
                    <a:pt x="34344" y="85477"/>
                  </a:lnTo>
                  <a:lnTo>
                    <a:pt x="34344" y="85778"/>
                  </a:lnTo>
                  <a:close/>
                  <a:moveTo>
                    <a:pt x="30206" y="85477"/>
                  </a:moveTo>
                  <a:lnTo>
                    <a:pt x="30206" y="85175"/>
                  </a:lnTo>
                  <a:lnTo>
                    <a:pt x="30206" y="85175"/>
                  </a:lnTo>
                  <a:lnTo>
                    <a:pt x="30206" y="84723"/>
                  </a:lnTo>
                  <a:lnTo>
                    <a:pt x="29379" y="84723"/>
                  </a:lnTo>
                  <a:lnTo>
                    <a:pt x="29379" y="84422"/>
                  </a:lnTo>
                  <a:lnTo>
                    <a:pt x="28137" y="84422"/>
                  </a:lnTo>
                  <a:lnTo>
                    <a:pt x="28137" y="84422"/>
                  </a:lnTo>
                  <a:lnTo>
                    <a:pt x="27310" y="84422"/>
                  </a:lnTo>
                  <a:lnTo>
                    <a:pt x="27310" y="84723"/>
                  </a:lnTo>
                  <a:lnTo>
                    <a:pt x="28137" y="85175"/>
                  </a:lnTo>
                  <a:lnTo>
                    <a:pt x="28137" y="85175"/>
                  </a:lnTo>
                  <a:lnTo>
                    <a:pt x="27310" y="85175"/>
                  </a:lnTo>
                  <a:lnTo>
                    <a:pt x="26482" y="85175"/>
                  </a:lnTo>
                  <a:lnTo>
                    <a:pt x="26482" y="85477"/>
                  </a:lnTo>
                  <a:lnTo>
                    <a:pt x="25241" y="85477"/>
                  </a:lnTo>
                  <a:lnTo>
                    <a:pt x="26482" y="85778"/>
                  </a:lnTo>
                  <a:lnTo>
                    <a:pt x="25241" y="85778"/>
                  </a:lnTo>
                  <a:lnTo>
                    <a:pt x="26482" y="86231"/>
                  </a:lnTo>
                  <a:lnTo>
                    <a:pt x="27310" y="86532"/>
                  </a:lnTo>
                  <a:lnTo>
                    <a:pt x="28137" y="86834"/>
                  </a:lnTo>
                  <a:lnTo>
                    <a:pt x="29379" y="87587"/>
                  </a:lnTo>
                  <a:lnTo>
                    <a:pt x="30206" y="87587"/>
                  </a:lnTo>
                  <a:lnTo>
                    <a:pt x="31448" y="88040"/>
                  </a:lnTo>
                  <a:lnTo>
                    <a:pt x="31448" y="88341"/>
                  </a:lnTo>
                  <a:lnTo>
                    <a:pt x="32275" y="88341"/>
                  </a:lnTo>
                  <a:lnTo>
                    <a:pt x="33103" y="88341"/>
                  </a:lnTo>
                  <a:lnTo>
                    <a:pt x="33103" y="88341"/>
                  </a:lnTo>
                  <a:lnTo>
                    <a:pt x="33103" y="88341"/>
                  </a:lnTo>
                  <a:lnTo>
                    <a:pt x="33103" y="88341"/>
                  </a:lnTo>
                  <a:lnTo>
                    <a:pt x="33103" y="88040"/>
                  </a:lnTo>
                  <a:lnTo>
                    <a:pt x="33103" y="88040"/>
                  </a:lnTo>
                  <a:lnTo>
                    <a:pt x="33103" y="88040"/>
                  </a:lnTo>
                  <a:lnTo>
                    <a:pt x="33103" y="87587"/>
                  </a:lnTo>
                  <a:lnTo>
                    <a:pt x="32275" y="87286"/>
                  </a:lnTo>
                  <a:lnTo>
                    <a:pt x="32275" y="86834"/>
                  </a:lnTo>
                  <a:lnTo>
                    <a:pt x="32275" y="86834"/>
                  </a:lnTo>
                  <a:lnTo>
                    <a:pt x="31448" y="86532"/>
                  </a:lnTo>
                  <a:lnTo>
                    <a:pt x="31448" y="86231"/>
                  </a:lnTo>
                  <a:lnTo>
                    <a:pt x="30206" y="85778"/>
                  </a:lnTo>
                  <a:lnTo>
                    <a:pt x="29379" y="85778"/>
                  </a:lnTo>
                  <a:lnTo>
                    <a:pt x="29379" y="85477"/>
                  </a:lnTo>
                  <a:lnTo>
                    <a:pt x="29379" y="85477"/>
                  </a:lnTo>
                  <a:lnTo>
                    <a:pt x="30206" y="85477"/>
                  </a:lnTo>
                  <a:lnTo>
                    <a:pt x="30206" y="85477"/>
                  </a:lnTo>
                  <a:close/>
                  <a:moveTo>
                    <a:pt x="28137" y="83366"/>
                  </a:moveTo>
                  <a:lnTo>
                    <a:pt x="27310" y="83366"/>
                  </a:lnTo>
                  <a:lnTo>
                    <a:pt x="27310" y="83366"/>
                  </a:lnTo>
                  <a:lnTo>
                    <a:pt x="26482" y="83366"/>
                  </a:lnTo>
                  <a:lnTo>
                    <a:pt x="26482" y="83668"/>
                  </a:lnTo>
                  <a:lnTo>
                    <a:pt x="26482" y="83668"/>
                  </a:lnTo>
                  <a:lnTo>
                    <a:pt x="27310" y="83668"/>
                  </a:lnTo>
                  <a:lnTo>
                    <a:pt x="27310" y="83668"/>
                  </a:lnTo>
                  <a:lnTo>
                    <a:pt x="27310" y="83668"/>
                  </a:lnTo>
                  <a:lnTo>
                    <a:pt x="28137" y="83668"/>
                  </a:lnTo>
                  <a:lnTo>
                    <a:pt x="28137" y="83668"/>
                  </a:lnTo>
                  <a:lnTo>
                    <a:pt x="28137" y="83366"/>
                  </a:lnTo>
                  <a:lnTo>
                    <a:pt x="28137" y="83366"/>
                  </a:lnTo>
                  <a:close/>
                  <a:moveTo>
                    <a:pt x="21517" y="82613"/>
                  </a:moveTo>
                  <a:lnTo>
                    <a:pt x="21517" y="82613"/>
                  </a:lnTo>
                  <a:lnTo>
                    <a:pt x="20689" y="82613"/>
                  </a:lnTo>
                  <a:lnTo>
                    <a:pt x="20689" y="82613"/>
                  </a:lnTo>
                  <a:lnTo>
                    <a:pt x="20689" y="82613"/>
                  </a:lnTo>
                  <a:lnTo>
                    <a:pt x="20689" y="82613"/>
                  </a:lnTo>
                  <a:lnTo>
                    <a:pt x="20689" y="82914"/>
                  </a:lnTo>
                  <a:lnTo>
                    <a:pt x="21517" y="82613"/>
                  </a:lnTo>
                  <a:lnTo>
                    <a:pt x="21517" y="82613"/>
                  </a:lnTo>
                  <a:lnTo>
                    <a:pt x="21517" y="82613"/>
                  </a:lnTo>
                  <a:close/>
                  <a:moveTo>
                    <a:pt x="26482" y="81859"/>
                  </a:moveTo>
                  <a:lnTo>
                    <a:pt x="27310" y="81859"/>
                  </a:lnTo>
                  <a:lnTo>
                    <a:pt x="27310" y="81859"/>
                  </a:lnTo>
                  <a:lnTo>
                    <a:pt x="26482" y="81557"/>
                  </a:lnTo>
                  <a:lnTo>
                    <a:pt x="27310" y="81256"/>
                  </a:lnTo>
                  <a:lnTo>
                    <a:pt x="27310" y="81256"/>
                  </a:lnTo>
                  <a:lnTo>
                    <a:pt x="27310" y="80804"/>
                  </a:lnTo>
                  <a:lnTo>
                    <a:pt x="27310" y="80804"/>
                  </a:lnTo>
                  <a:lnTo>
                    <a:pt x="27310" y="80502"/>
                  </a:lnTo>
                  <a:lnTo>
                    <a:pt x="26482" y="80201"/>
                  </a:lnTo>
                  <a:lnTo>
                    <a:pt x="25241" y="80201"/>
                  </a:lnTo>
                  <a:lnTo>
                    <a:pt x="24413" y="79748"/>
                  </a:lnTo>
                  <a:lnTo>
                    <a:pt x="24413" y="79748"/>
                  </a:lnTo>
                  <a:lnTo>
                    <a:pt x="24413" y="79447"/>
                  </a:lnTo>
                  <a:lnTo>
                    <a:pt x="25241" y="79447"/>
                  </a:lnTo>
                  <a:lnTo>
                    <a:pt x="25241" y="79447"/>
                  </a:lnTo>
                  <a:lnTo>
                    <a:pt x="25241" y="79447"/>
                  </a:lnTo>
                  <a:lnTo>
                    <a:pt x="26482" y="79447"/>
                  </a:lnTo>
                  <a:lnTo>
                    <a:pt x="25241" y="78994"/>
                  </a:lnTo>
                  <a:lnTo>
                    <a:pt x="25241" y="78693"/>
                  </a:lnTo>
                  <a:lnTo>
                    <a:pt x="25241" y="78693"/>
                  </a:lnTo>
                  <a:lnTo>
                    <a:pt x="25241" y="78391"/>
                  </a:lnTo>
                  <a:lnTo>
                    <a:pt x="25241" y="78391"/>
                  </a:lnTo>
                  <a:lnTo>
                    <a:pt x="24413" y="77939"/>
                  </a:lnTo>
                  <a:lnTo>
                    <a:pt x="24413" y="77638"/>
                  </a:lnTo>
                  <a:lnTo>
                    <a:pt x="23586" y="77638"/>
                  </a:lnTo>
                  <a:lnTo>
                    <a:pt x="22344" y="77336"/>
                  </a:lnTo>
                  <a:lnTo>
                    <a:pt x="19448" y="77336"/>
                  </a:lnTo>
                  <a:lnTo>
                    <a:pt x="19448" y="77336"/>
                  </a:lnTo>
                  <a:lnTo>
                    <a:pt x="20689" y="77336"/>
                  </a:lnTo>
                  <a:lnTo>
                    <a:pt x="20689" y="77638"/>
                  </a:lnTo>
                  <a:lnTo>
                    <a:pt x="20689" y="77939"/>
                  </a:lnTo>
                  <a:lnTo>
                    <a:pt x="20689" y="77939"/>
                  </a:lnTo>
                  <a:lnTo>
                    <a:pt x="20689" y="77939"/>
                  </a:lnTo>
                  <a:lnTo>
                    <a:pt x="20689" y="78391"/>
                  </a:lnTo>
                  <a:lnTo>
                    <a:pt x="20689" y="78693"/>
                  </a:lnTo>
                  <a:lnTo>
                    <a:pt x="20689" y="78693"/>
                  </a:lnTo>
                  <a:lnTo>
                    <a:pt x="20689" y="78994"/>
                  </a:lnTo>
                  <a:lnTo>
                    <a:pt x="20689" y="78994"/>
                  </a:lnTo>
                  <a:lnTo>
                    <a:pt x="20689" y="79447"/>
                  </a:lnTo>
                  <a:lnTo>
                    <a:pt x="21517" y="79748"/>
                  </a:lnTo>
                  <a:lnTo>
                    <a:pt x="22344" y="80502"/>
                  </a:lnTo>
                  <a:lnTo>
                    <a:pt x="22344" y="81256"/>
                  </a:lnTo>
                  <a:lnTo>
                    <a:pt x="22344" y="81557"/>
                  </a:lnTo>
                  <a:lnTo>
                    <a:pt x="22344" y="81557"/>
                  </a:lnTo>
                  <a:lnTo>
                    <a:pt x="22344" y="81557"/>
                  </a:lnTo>
                  <a:lnTo>
                    <a:pt x="23586" y="81859"/>
                  </a:lnTo>
                  <a:lnTo>
                    <a:pt x="24413" y="81859"/>
                  </a:lnTo>
                  <a:lnTo>
                    <a:pt x="25241" y="81859"/>
                  </a:lnTo>
                  <a:lnTo>
                    <a:pt x="26482" y="81859"/>
                  </a:lnTo>
                  <a:lnTo>
                    <a:pt x="26482" y="81859"/>
                  </a:lnTo>
                  <a:close/>
                  <a:moveTo>
                    <a:pt x="81103" y="114422"/>
                  </a:moveTo>
                  <a:lnTo>
                    <a:pt x="81931" y="114723"/>
                  </a:lnTo>
                  <a:lnTo>
                    <a:pt x="84000" y="114723"/>
                  </a:lnTo>
                  <a:lnTo>
                    <a:pt x="84827" y="114422"/>
                  </a:lnTo>
                  <a:lnTo>
                    <a:pt x="84827" y="114422"/>
                  </a:lnTo>
                  <a:lnTo>
                    <a:pt x="84827" y="113668"/>
                  </a:lnTo>
                  <a:lnTo>
                    <a:pt x="84000" y="113216"/>
                  </a:lnTo>
                  <a:lnTo>
                    <a:pt x="82758" y="113216"/>
                  </a:lnTo>
                  <a:lnTo>
                    <a:pt x="82758" y="112613"/>
                  </a:lnTo>
                  <a:lnTo>
                    <a:pt x="82758" y="111859"/>
                  </a:lnTo>
                  <a:lnTo>
                    <a:pt x="81931" y="111859"/>
                  </a:lnTo>
                  <a:lnTo>
                    <a:pt x="81931" y="111557"/>
                  </a:lnTo>
                  <a:lnTo>
                    <a:pt x="82758" y="111105"/>
                  </a:lnTo>
                  <a:lnTo>
                    <a:pt x="82758" y="111105"/>
                  </a:lnTo>
                  <a:lnTo>
                    <a:pt x="84000" y="111105"/>
                  </a:lnTo>
                  <a:lnTo>
                    <a:pt x="86896" y="110502"/>
                  </a:lnTo>
                  <a:lnTo>
                    <a:pt x="87724" y="110502"/>
                  </a:lnTo>
                  <a:lnTo>
                    <a:pt x="88965" y="110502"/>
                  </a:lnTo>
                  <a:lnTo>
                    <a:pt x="88965" y="110502"/>
                  </a:lnTo>
                  <a:lnTo>
                    <a:pt x="88965" y="109748"/>
                  </a:lnTo>
                  <a:lnTo>
                    <a:pt x="89793" y="109748"/>
                  </a:lnTo>
                  <a:lnTo>
                    <a:pt x="90620" y="109748"/>
                  </a:lnTo>
                  <a:lnTo>
                    <a:pt x="91862" y="109748"/>
                  </a:lnTo>
                  <a:lnTo>
                    <a:pt x="95586" y="110050"/>
                  </a:lnTo>
                  <a:lnTo>
                    <a:pt x="95586" y="109748"/>
                  </a:lnTo>
                  <a:lnTo>
                    <a:pt x="94758" y="109748"/>
                  </a:lnTo>
                  <a:lnTo>
                    <a:pt x="93517" y="109748"/>
                  </a:lnTo>
                  <a:lnTo>
                    <a:pt x="91862" y="109748"/>
                  </a:lnTo>
                  <a:lnTo>
                    <a:pt x="89793" y="109296"/>
                  </a:lnTo>
                  <a:lnTo>
                    <a:pt x="87724" y="109296"/>
                  </a:lnTo>
                  <a:lnTo>
                    <a:pt x="86068" y="109296"/>
                  </a:lnTo>
                  <a:lnTo>
                    <a:pt x="84000" y="108994"/>
                  </a:lnTo>
                  <a:lnTo>
                    <a:pt x="81103" y="108994"/>
                  </a:lnTo>
                  <a:lnTo>
                    <a:pt x="78206" y="108994"/>
                  </a:lnTo>
                  <a:lnTo>
                    <a:pt x="75310" y="108994"/>
                  </a:lnTo>
                  <a:lnTo>
                    <a:pt x="73241" y="108994"/>
                  </a:lnTo>
                  <a:lnTo>
                    <a:pt x="71172" y="108994"/>
                  </a:lnTo>
                  <a:lnTo>
                    <a:pt x="71172" y="108994"/>
                  </a:lnTo>
                  <a:lnTo>
                    <a:pt x="70344" y="108693"/>
                  </a:lnTo>
                  <a:lnTo>
                    <a:pt x="70344" y="108241"/>
                  </a:lnTo>
                  <a:lnTo>
                    <a:pt x="69103" y="108241"/>
                  </a:lnTo>
                  <a:lnTo>
                    <a:pt x="68275" y="107939"/>
                  </a:lnTo>
                  <a:lnTo>
                    <a:pt x="67448" y="107939"/>
                  </a:lnTo>
                  <a:lnTo>
                    <a:pt x="66206" y="107638"/>
                  </a:lnTo>
                  <a:lnTo>
                    <a:pt x="66206" y="107185"/>
                  </a:lnTo>
                  <a:lnTo>
                    <a:pt x="66206" y="106884"/>
                  </a:lnTo>
                  <a:lnTo>
                    <a:pt x="65379" y="106582"/>
                  </a:lnTo>
                  <a:lnTo>
                    <a:pt x="65379" y="106582"/>
                  </a:lnTo>
                  <a:lnTo>
                    <a:pt x="64551" y="106130"/>
                  </a:lnTo>
                  <a:lnTo>
                    <a:pt x="64551" y="106130"/>
                  </a:lnTo>
                  <a:lnTo>
                    <a:pt x="65379" y="106130"/>
                  </a:lnTo>
                  <a:lnTo>
                    <a:pt x="64551" y="105829"/>
                  </a:lnTo>
                  <a:lnTo>
                    <a:pt x="64551" y="105376"/>
                  </a:lnTo>
                  <a:lnTo>
                    <a:pt x="63310" y="105075"/>
                  </a:lnTo>
                  <a:lnTo>
                    <a:pt x="62482" y="104773"/>
                  </a:lnTo>
                  <a:lnTo>
                    <a:pt x="62482" y="104773"/>
                  </a:lnTo>
                  <a:lnTo>
                    <a:pt x="61655" y="104773"/>
                  </a:lnTo>
                  <a:lnTo>
                    <a:pt x="61655" y="104773"/>
                  </a:lnTo>
                  <a:lnTo>
                    <a:pt x="60413" y="104773"/>
                  </a:lnTo>
                  <a:lnTo>
                    <a:pt x="59586" y="104773"/>
                  </a:lnTo>
                  <a:lnTo>
                    <a:pt x="59586" y="105075"/>
                  </a:lnTo>
                  <a:lnTo>
                    <a:pt x="58758" y="105075"/>
                  </a:lnTo>
                  <a:lnTo>
                    <a:pt x="58758" y="105075"/>
                  </a:lnTo>
                  <a:lnTo>
                    <a:pt x="57517" y="105075"/>
                  </a:lnTo>
                  <a:lnTo>
                    <a:pt x="57517" y="104773"/>
                  </a:lnTo>
                  <a:lnTo>
                    <a:pt x="56689" y="104773"/>
                  </a:lnTo>
                  <a:lnTo>
                    <a:pt x="56689" y="104321"/>
                  </a:lnTo>
                  <a:lnTo>
                    <a:pt x="55448" y="104020"/>
                  </a:lnTo>
                  <a:lnTo>
                    <a:pt x="54620" y="103718"/>
                  </a:lnTo>
                  <a:lnTo>
                    <a:pt x="53793" y="103266"/>
                  </a:lnTo>
                  <a:lnTo>
                    <a:pt x="52551" y="102964"/>
                  </a:lnTo>
                  <a:lnTo>
                    <a:pt x="52551" y="102663"/>
                  </a:lnTo>
                  <a:lnTo>
                    <a:pt x="52551" y="102211"/>
                  </a:lnTo>
                  <a:lnTo>
                    <a:pt x="51724" y="101909"/>
                  </a:lnTo>
                  <a:lnTo>
                    <a:pt x="50896" y="101457"/>
                  </a:lnTo>
                  <a:lnTo>
                    <a:pt x="50896" y="101155"/>
                  </a:lnTo>
                  <a:lnTo>
                    <a:pt x="50896" y="100854"/>
                  </a:lnTo>
                  <a:lnTo>
                    <a:pt x="50896" y="100854"/>
                  </a:lnTo>
                  <a:lnTo>
                    <a:pt x="52551" y="100854"/>
                  </a:lnTo>
                  <a:lnTo>
                    <a:pt x="51724" y="100402"/>
                  </a:lnTo>
                  <a:lnTo>
                    <a:pt x="51724" y="100100"/>
                  </a:lnTo>
                  <a:lnTo>
                    <a:pt x="51724" y="99798"/>
                  </a:lnTo>
                  <a:lnTo>
                    <a:pt x="52551" y="99798"/>
                  </a:lnTo>
                  <a:lnTo>
                    <a:pt x="52551" y="99798"/>
                  </a:lnTo>
                  <a:lnTo>
                    <a:pt x="53793" y="99346"/>
                  </a:lnTo>
                  <a:lnTo>
                    <a:pt x="53793" y="99346"/>
                  </a:lnTo>
                  <a:lnTo>
                    <a:pt x="53793" y="99045"/>
                  </a:lnTo>
                  <a:lnTo>
                    <a:pt x="53793" y="99045"/>
                  </a:lnTo>
                  <a:lnTo>
                    <a:pt x="53793" y="98592"/>
                  </a:lnTo>
                  <a:lnTo>
                    <a:pt x="52551" y="98291"/>
                  </a:lnTo>
                  <a:lnTo>
                    <a:pt x="52551" y="97989"/>
                  </a:lnTo>
                  <a:lnTo>
                    <a:pt x="53793" y="97989"/>
                  </a:lnTo>
                  <a:lnTo>
                    <a:pt x="54620" y="97537"/>
                  </a:lnTo>
                  <a:lnTo>
                    <a:pt x="54620" y="97236"/>
                  </a:lnTo>
                  <a:lnTo>
                    <a:pt x="53793" y="96934"/>
                  </a:lnTo>
                  <a:lnTo>
                    <a:pt x="52551" y="96482"/>
                  </a:lnTo>
                  <a:lnTo>
                    <a:pt x="51724" y="96482"/>
                  </a:lnTo>
                  <a:lnTo>
                    <a:pt x="51724" y="96180"/>
                  </a:lnTo>
                  <a:lnTo>
                    <a:pt x="51724" y="95879"/>
                  </a:lnTo>
                  <a:lnTo>
                    <a:pt x="51724" y="95879"/>
                  </a:lnTo>
                  <a:lnTo>
                    <a:pt x="51724" y="95427"/>
                  </a:lnTo>
                  <a:lnTo>
                    <a:pt x="50896" y="95125"/>
                  </a:lnTo>
                  <a:lnTo>
                    <a:pt x="51724" y="94673"/>
                  </a:lnTo>
                  <a:lnTo>
                    <a:pt x="52551" y="94673"/>
                  </a:lnTo>
                  <a:lnTo>
                    <a:pt x="52551" y="94371"/>
                  </a:lnTo>
                  <a:lnTo>
                    <a:pt x="52551" y="94070"/>
                  </a:lnTo>
                  <a:lnTo>
                    <a:pt x="52551" y="94070"/>
                  </a:lnTo>
                  <a:lnTo>
                    <a:pt x="52551" y="94070"/>
                  </a:lnTo>
                  <a:lnTo>
                    <a:pt x="52551" y="93618"/>
                  </a:lnTo>
                  <a:lnTo>
                    <a:pt x="51724" y="93618"/>
                  </a:lnTo>
                  <a:lnTo>
                    <a:pt x="51724" y="93316"/>
                  </a:lnTo>
                  <a:lnTo>
                    <a:pt x="51724" y="93015"/>
                  </a:lnTo>
                  <a:lnTo>
                    <a:pt x="51724" y="93015"/>
                  </a:lnTo>
                  <a:lnTo>
                    <a:pt x="52551" y="92562"/>
                  </a:lnTo>
                  <a:lnTo>
                    <a:pt x="52551" y="92562"/>
                  </a:lnTo>
                  <a:lnTo>
                    <a:pt x="52551" y="92261"/>
                  </a:lnTo>
                  <a:lnTo>
                    <a:pt x="51724" y="91959"/>
                  </a:lnTo>
                  <a:lnTo>
                    <a:pt x="50896" y="91507"/>
                  </a:lnTo>
                  <a:lnTo>
                    <a:pt x="50896" y="91206"/>
                  </a:lnTo>
                  <a:lnTo>
                    <a:pt x="49655" y="91206"/>
                  </a:lnTo>
                  <a:lnTo>
                    <a:pt x="49655" y="90753"/>
                  </a:lnTo>
                  <a:lnTo>
                    <a:pt x="49655" y="90753"/>
                  </a:lnTo>
                  <a:lnTo>
                    <a:pt x="50896" y="90452"/>
                  </a:lnTo>
                  <a:lnTo>
                    <a:pt x="50896" y="90150"/>
                  </a:lnTo>
                  <a:lnTo>
                    <a:pt x="49655" y="90150"/>
                  </a:lnTo>
                  <a:lnTo>
                    <a:pt x="49655" y="89698"/>
                  </a:lnTo>
                  <a:lnTo>
                    <a:pt x="48827" y="89396"/>
                  </a:lnTo>
                  <a:lnTo>
                    <a:pt x="48827" y="89095"/>
                  </a:lnTo>
                  <a:lnTo>
                    <a:pt x="48827" y="89095"/>
                  </a:lnTo>
                  <a:lnTo>
                    <a:pt x="49655" y="89095"/>
                  </a:lnTo>
                  <a:lnTo>
                    <a:pt x="49655" y="88643"/>
                  </a:lnTo>
                  <a:lnTo>
                    <a:pt x="50896" y="88341"/>
                  </a:lnTo>
                  <a:lnTo>
                    <a:pt x="49655" y="88040"/>
                  </a:lnTo>
                  <a:lnTo>
                    <a:pt x="48827" y="88040"/>
                  </a:lnTo>
                  <a:lnTo>
                    <a:pt x="48000" y="87587"/>
                  </a:lnTo>
                  <a:lnTo>
                    <a:pt x="48000" y="86834"/>
                  </a:lnTo>
                  <a:lnTo>
                    <a:pt x="45931" y="86834"/>
                  </a:lnTo>
                  <a:lnTo>
                    <a:pt x="43862" y="86834"/>
                  </a:lnTo>
                  <a:lnTo>
                    <a:pt x="43862" y="86532"/>
                  </a:lnTo>
                  <a:lnTo>
                    <a:pt x="43862" y="86231"/>
                  </a:lnTo>
                  <a:lnTo>
                    <a:pt x="43862" y="86532"/>
                  </a:lnTo>
                  <a:lnTo>
                    <a:pt x="45931" y="86231"/>
                  </a:lnTo>
                  <a:lnTo>
                    <a:pt x="46758" y="86231"/>
                  </a:lnTo>
                  <a:lnTo>
                    <a:pt x="46758" y="86231"/>
                  </a:lnTo>
                  <a:lnTo>
                    <a:pt x="48000" y="86231"/>
                  </a:lnTo>
                  <a:lnTo>
                    <a:pt x="48827" y="86532"/>
                  </a:lnTo>
                  <a:lnTo>
                    <a:pt x="48827" y="86231"/>
                  </a:lnTo>
                  <a:lnTo>
                    <a:pt x="48827" y="85778"/>
                  </a:lnTo>
                  <a:lnTo>
                    <a:pt x="48827" y="85778"/>
                  </a:lnTo>
                  <a:lnTo>
                    <a:pt x="48827" y="85477"/>
                  </a:lnTo>
                  <a:lnTo>
                    <a:pt x="48827" y="85477"/>
                  </a:lnTo>
                  <a:lnTo>
                    <a:pt x="48000" y="85175"/>
                  </a:lnTo>
                  <a:lnTo>
                    <a:pt x="43862" y="85175"/>
                  </a:lnTo>
                  <a:lnTo>
                    <a:pt x="43862" y="85175"/>
                  </a:lnTo>
                  <a:lnTo>
                    <a:pt x="43034" y="84723"/>
                  </a:lnTo>
                  <a:lnTo>
                    <a:pt x="43034" y="84422"/>
                  </a:lnTo>
                  <a:lnTo>
                    <a:pt x="43034" y="84422"/>
                  </a:lnTo>
                  <a:lnTo>
                    <a:pt x="43034" y="84120"/>
                  </a:lnTo>
                  <a:lnTo>
                    <a:pt x="43034" y="84120"/>
                  </a:lnTo>
                  <a:lnTo>
                    <a:pt x="43034" y="83668"/>
                  </a:lnTo>
                  <a:lnTo>
                    <a:pt x="43034" y="83668"/>
                  </a:lnTo>
                  <a:lnTo>
                    <a:pt x="41793" y="83366"/>
                  </a:lnTo>
                  <a:lnTo>
                    <a:pt x="41793" y="82914"/>
                  </a:lnTo>
                  <a:lnTo>
                    <a:pt x="41793" y="82914"/>
                  </a:lnTo>
                  <a:lnTo>
                    <a:pt x="41793" y="82613"/>
                  </a:lnTo>
                  <a:lnTo>
                    <a:pt x="40965" y="82613"/>
                  </a:lnTo>
                  <a:lnTo>
                    <a:pt x="40137" y="82311"/>
                  </a:lnTo>
                  <a:lnTo>
                    <a:pt x="40137" y="81859"/>
                  </a:lnTo>
                  <a:lnTo>
                    <a:pt x="40137" y="81859"/>
                  </a:lnTo>
                  <a:lnTo>
                    <a:pt x="40965" y="81859"/>
                  </a:lnTo>
                  <a:lnTo>
                    <a:pt x="40965" y="81557"/>
                  </a:lnTo>
                  <a:lnTo>
                    <a:pt x="40137" y="81557"/>
                  </a:lnTo>
                  <a:lnTo>
                    <a:pt x="38896" y="81256"/>
                  </a:lnTo>
                  <a:lnTo>
                    <a:pt x="38068" y="81256"/>
                  </a:lnTo>
                  <a:lnTo>
                    <a:pt x="37241" y="81256"/>
                  </a:lnTo>
                  <a:lnTo>
                    <a:pt x="37241" y="80804"/>
                  </a:lnTo>
                  <a:lnTo>
                    <a:pt x="36000" y="80201"/>
                  </a:lnTo>
                  <a:lnTo>
                    <a:pt x="36000" y="79748"/>
                  </a:lnTo>
                  <a:lnTo>
                    <a:pt x="36000" y="79748"/>
                  </a:lnTo>
                  <a:lnTo>
                    <a:pt x="36000" y="79447"/>
                  </a:lnTo>
                  <a:lnTo>
                    <a:pt x="36000" y="79447"/>
                  </a:lnTo>
                  <a:lnTo>
                    <a:pt x="35172" y="78994"/>
                  </a:lnTo>
                  <a:lnTo>
                    <a:pt x="35172" y="78693"/>
                  </a:lnTo>
                  <a:lnTo>
                    <a:pt x="35172" y="78693"/>
                  </a:lnTo>
                  <a:lnTo>
                    <a:pt x="35172" y="78391"/>
                  </a:lnTo>
                  <a:lnTo>
                    <a:pt x="35172" y="78391"/>
                  </a:lnTo>
                  <a:lnTo>
                    <a:pt x="35172" y="78391"/>
                  </a:lnTo>
                  <a:lnTo>
                    <a:pt x="36000" y="78391"/>
                  </a:lnTo>
                  <a:lnTo>
                    <a:pt x="36000" y="78391"/>
                  </a:lnTo>
                  <a:lnTo>
                    <a:pt x="37241" y="77939"/>
                  </a:lnTo>
                  <a:lnTo>
                    <a:pt x="37241" y="77939"/>
                  </a:lnTo>
                  <a:lnTo>
                    <a:pt x="36000" y="77638"/>
                  </a:lnTo>
                  <a:lnTo>
                    <a:pt x="35172" y="77336"/>
                  </a:lnTo>
                  <a:lnTo>
                    <a:pt x="34344" y="76582"/>
                  </a:lnTo>
                  <a:lnTo>
                    <a:pt x="34344" y="76582"/>
                  </a:lnTo>
                  <a:lnTo>
                    <a:pt x="34344" y="76582"/>
                  </a:lnTo>
                  <a:lnTo>
                    <a:pt x="33103" y="75829"/>
                  </a:lnTo>
                  <a:lnTo>
                    <a:pt x="33103" y="75527"/>
                  </a:lnTo>
                  <a:lnTo>
                    <a:pt x="32275" y="74773"/>
                  </a:lnTo>
                  <a:lnTo>
                    <a:pt x="32275" y="74472"/>
                  </a:lnTo>
                  <a:lnTo>
                    <a:pt x="31448" y="74020"/>
                  </a:lnTo>
                  <a:lnTo>
                    <a:pt x="31448" y="73718"/>
                  </a:lnTo>
                  <a:lnTo>
                    <a:pt x="31448" y="73417"/>
                  </a:lnTo>
                  <a:lnTo>
                    <a:pt x="31448" y="73417"/>
                  </a:lnTo>
                  <a:lnTo>
                    <a:pt x="31448" y="72964"/>
                  </a:lnTo>
                  <a:lnTo>
                    <a:pt x="31448" y="72964"/>
                  </a:lnTo>
                  <a:lnTo>
                    <a:pt x="32275" y="72663"/>
                  </a:lnTo>
                  <a:lnTo>
                    <a:pt x="32275" y="72663"/>
                  </a:lnTo>
                  <a:lnTo>
                    <a:pt x="31448" y="72663"/>
                  </a:lnTo>
                  <a:lnTo>
                    <a:pt x="30206" y="72361"/>
                  </a:lnTo>
                  <a:lnTo>
                    <a:pt x="30206" y="72361"/>
                  </a:lnTo>
                  <a:lnTo>
                    <a:pt x="30206" y="71909"/>
                  </a:lnTo>
                  <a:lnTo>
                    <a:pt x="30206" y="71909"/>
                  </a:lnTo>
                  <a:lnTo>
                    <a:pt x="31448" y="71909"/>
                  </a:lnTo>
                  <a:lnTo>
                    <a:pt x="31448" y="71608"/>
                  </a:lnTo>
                  <a:lnTo>
                    <a:pt x="31448" y="71608"/>
                  </a:lnTo>
                  <a:lnTo>
                    <a:pt x="31448" y="71608"/>
                  </a:lnTo>
                  <a:lnTo>
                    <a:pt x="30206" y="71155"/>
                  </a:lnTo>
                  <a:lnTo>
                    <a:pt x="30206" y="70854"/>
                  </a:lnTo>
                  <a:lnTo>
                    <a:pt x="29379" y="70552"/>
                  </a:lnTo>
                  <a:lnTo>
                    <a:pt x="29379" y="70552"/>
                  </a:lnTo>
                  <a:lnTo>
                    <a:pt x="30206" y="70552"/>
                  </a:lnTo>
                  <a:lnTo>
                    <a:pt x="30206" y="70552"/>
                  </a:lnTo>
                  <a:lnTo>
                    <a:pt x="30206" y="70552"/>
                  </a:lnTo>
                  <a:lnTo>
                    <a:pt x="30206" y="70552"/>
                  </a:lnTo>
                  <a:lnTo>
                    <a:pt x="30206" y="70100"/>
                  </a:lnTo>
                  <a:lnTo>
                    <a:pt x="30206" y="70100"/>
                  </a:lnTo>
                  <a:lnTo>
                    <a:pt x="30206" y="69798"/>
                  </a:lnTo>
                  <a:lnTo>
                    <a:pt x="30206" y="69497"/>
                  </a:lnTo>
                  <a:lnTo>
                    <a:pt x="30206" y="69497"/>
                  </a:lnTo>
                  <a:lnTo>
                    <a:pt x="29379" y="68743"/>
                  </a:lnTo>
                  <a:lnTo>
                    <a:pt x="29379" y="68442"/>
                  </a:lnTo>
                  <a:lnTo>
                    <a:pt x="30206" y="68442"/>
                  </a:lnTo>
                  <a:lnTo>
                    <a:pt x="30206" y="67989"/>
                  </a:lnTo>
                  <a:lnTo>
                    <a:pt x="31448" y="67989"/>
                  </a:lnTo>
                  <a:lnTo>
                    <a:pt x="31448" y="67989"/>
                  </a:lnTo>
                  <a:lnTo>
                    <a:pt x="32275" y="67688"/>
                  </a:lnTo>
                  <a:lnTo>
                    <a:pt x="32275" y="67688"/>
                  </a:lnTo>
                  <a:lnTo>
                    <a:pt x="32275" y="67236"/>
                  </a:lnTo>
                  <a:lnTo>
                    <a:pt x="32275" y="67236"/>
                  </a:lnTo>
                  <a:lnTo>
                    <a:pt x="32275" y="66934"/>
                  </a:lnTo>
                  <a:lnTo>
                    <a:pt x="31448" y="66934"/>
                  </a:lnTo>
                  <a:lnTo>
                    <a:pt x="31448" y="66633"/>
                  </a:lnTo>
                  <a:lnTo>
                    <a:pt x="30206" y="66180"/>
                  </a:lnTo>
                  <a:lnTo>
                    <a:pt x="30206" y="65577"/>
                  </a:lnTo>
                  <a:lnTo>
                    <a:pt x="29379" y="65125"/>
                  </a:lnTo>
                  <a:lnTo>
                    <a:pt x="28137" y="64824"/>
                  </a:lnTo>
                  <a:lnTo>
                    <a:pt x="27310" y="64070"/>
                  </a:lnTo>
                  <a:lnTo>
                    <a:pt x="27310" y="64070"/>
                  </a:lnTo>
                  <a:lnTo>
                    <a:pt x="27310" y="63768"/>
                  </a:lnTo>
                  <a:lnTo>
                    <a:pt x="27310" y="63316"/>
                  </a:lnTo>
                  <a:lnTo>
                    <a:pt x="26482" y="63015"/>
                  </a:lnTo>
                  <a:lnTo>
                    <a:pt x="26482" y="63015"/>
                  </a:lnTo>
                  <a:lnTo>
                    <a:pt x="26482" y="62713"/>
                  </a:lnTo>
                  <a:lnTo>
                    <a:pt x="26482" y="62261"/>
                  </a:lnTo>
                  <a:lnTo>
                    <a:pt x="26482" y="61959"/>
                  </a:lnTo>
                  <a:lnTo>
                    <a:pt x="25241" y="61658"/>
                  </a:lnTo>
                  <a:lnTo>
                    <a:pt x="25241" y="61658"/>
                  </a:lnTo>
                  <a:lnTo>
                    <a:pt x="25241" y="61206"/>
                  </a:lnTo>
                  <a:lnTo>
                    <a:pt x="26482" y="60904"/>
                  </a:lnTo>
                  <a:lnTo>
                    <a:pt x="25241" y="60904"/>
                  </a:lnTo>
                  <a:lnTo>
                    <a:pt x="25241" y="60452"/>
                  </a:lnTo>
                  <a:lnTo>
                    <a:pt x="26482" y="60452"/>
                  </a:lnTo>
                  <a:lnTo>
                    <a:pt x="26482" y="60150"/>
                  </a:lnTo>
                  <a:lnTo>
                    <a:pt x="27310" y="60150"/>
                  </a:lnTo>
                  <a:lnTo>
                    <a:pt x="27310" y="60150"/>
                  </a:lnTo>
                  <a:lnTo>
                    <a:pt x="27310" y="60150"/>
                  </a:lnTo>
                  <a:lnTo>
                    <a:pt x="27310" y="60150"/>
                  </a:lnTo>
                  <a:lnTo>
                    <a:pt x="27310" y="59849"/>
                  </a:lnTo>
                  <a:lnTo>
                    <a:pt x="28137" y="59849"/>
                  </a:lnTo>
                  <a:lnTo>
                    <a:pt x="28137" y="59396"/>
                  </a:lnTo>
                  <a:lnTo>
                    <a:pt x="29379" y="59396"/>
                  </a:lnTo>
                  <a:lnTo>
                    <a:pt x="29379" y="59095"/>
                  </a:lnTo>
                  <a:lnTo>
                    <a:pt x="29379" y="58793"/>
                  </a:lnTo>
                  <a:lnTo>
                    <a:pt x="28137" y="58341"/>
                  </a:lnTo>
                  <a:lnTo>
                    <a:pt x="28137" y="58341"/>
                  </a:lnTo>
                  <a:lnTo>
                    <a:pt x="28137" y="57738"/>
                  </a:lnTo>
                  <a:lnTo>
                    <a:pt x="28137" y="57286"/>
                  </a:lnTo>
                  <a:lnTo>
                    <a:pt x="27310" y="57286"/>
                  </a:lnTo>
                  <a:lnTo>
                    <a:pt x="27310" y="56984"/>
                  </a:lnTo>
                  <a:lnTo>
                    <a:pt x="27310" y="56532"/>
                  </a:lnTo>
                  <a:lnTo>
                    <a:pt x="26482" y="56532"/>
                  </a:lnTo>
                  <a:lnTo>
                    <a:pt x="26482" y="56532"/>
                  </a:lnTo>
                  <a:lnTo>
                    <a:pt x="26482" y="56231"/>
                  </a:lnTo>
                  <a:lnTo>
                    <a:pt x="26482" y="56231"/>
                  </a:lnTo>
                  <a:lnTo>
                    <a:pt x="27310" y="56231"/>
                  </a:lnTo>
                  <a:lnTo>
                    <a:pt x="27310" y="55477"/>
                  </a:lnTo>
                  <a:lnTo>
                    <a:pt x="27310" y="55175"/>
                  </a:lnTo>
                  <a:lnTo>
                    <a:pt x="27310" y="54874"/>
                  </a:lnTo>
                  <a:lnTo>
                    <a:pt x="27310" y="54874"/>
                  </a:lnTo>
                  <a:lnTo>
                    <a:pt x="27310" y="54874"/>
                  </a:lnTo>
                  <a:lnTo>
                    <a:pt x="27310" y="54422"/>
                  </a:lnTo>
                  <a:lnTo>
                    <a:pt x="27310" y="54120"/>
                  </a:lnTo>
                  <a:lnTo>
                    <a:pt x="27310" y="53819"/>
                  </a:lnTo>
                  <a:lnTo>
                    <a:pt x="27310" y="53819"/>
                  </a:lnTo>
                  <a:lnTo>
                    <a:pt x="27310" y="53366"/>
                  </a:lnTo>
                  <a:lnTo>
                    <a:pt x="28137" y="53366"/>
                  </a:lnTo>
                  <a:lnTo>
                    <a:pt x="28137" y="53366"/>
                  </a:lnTo>
                  <a:lnTo>
                    <a:pt x="28137" y="53366"/>
                  </a:lnTo>
                  <a:lnTo>
                    <a:pt x="29379" y="53366"/>
                  </a:lnTo>
                  <a:lnTo>
                    <a:pt x="28137" y="53065"/>
                  </a:lnTo>
                  <a:lnTo>
                    <a:pt x="28137" y="52613"/>
                  </a:lnTo>
                  <a:lnTo>
                    <a:pt x="28137" y="52311"/>
                  </a:lnTo>
                  <a:lnTo>
                    <a:pt x="27310" y="51557"/>
                  </a:lnTo>
                  <a:lnTo>
                    <a:pt x="27310" y="51256"/>
                  </a:lnTo>
                  <a:lnTo>
                    <a:pt x="27310" y="50954"/>
                  </a:lnTo>
                  <a:lnTo>
                    <a:pt x="27310" y="50502"/>
                  </a:lnTo>
                  <a:lnTo>
                    <a:pt x="27310" y="50502"/>
                  </a:lnTo>
                  <a:lnTo>
                    <a:pt x="27310" y="50201"/>
                  </a:lnTo>
                  <a:lnTo>
                    <a:pt x="26482" y="50201"/>
                  </a:lnTo>
                  <a:lnTo>
                    <a:pt x="25241" y="50201"/>
                  </a:lnTo>
                  <a:lnTo>
                    <a:pt x="25241" y="50201"/>
                  </a:lnTo>
                  <a:lnTo>
                    <a:pt x="24413" y="49899"/>
                  </a:lnTo>
                  <a:lnTo>
                    <a:pt x="24413" y="49899"/>
                  </a:lnTo>
                  <a:lnTo>
                    <a:pt x="24413" y="49447"/>
                  </a:lnTo>
                  <a:lnTo>
                    <a:pt x="24413" y="49145"/>
                  </a:lnTo>
                  <a:lnTo>
                    <a:pt x="24413" y="49145"/>
                  </a:lnTo>
                  <a:lnTo>
                    <a:pt x="24413" y="48693"/>
                  </a:lnTo>
                  <a:lnTo>
                    <a:pt x="23586" y="48693"/>
                  </a:lnTo>
                  <a:lnTo>
                    <a:pt x="22344" y="48090"/>
                  </a:lnTo>
                  <a:lnTo>
                    <a:pt x="22344" y="47638"/>
                  </a:lnTo>
                  <a:lnTo>
                    <a:pt x="22344" y="47336"/>
                  </a:lnTo>
                  <a:lnTo>
                    <a:pt x="21517" y="47035"/>
                  </a:lnTo>
                  <a:lnTo>
                    <a:pt x="21517" y="47035"/>
                  </a:lnTo>
                  <a:lnTo>
                    <a:pt x="20689" y="46582"/>
                  </a:lnTo>
                  <a:lnTo>
                    <a:pt x="20689" y="46281"/>
                  </a:lnTo>
                  <a:lnTo>
                    <a:pt x="20689" y="46281"/>
                  </a:lnTo>
                  <a:lnTo>
                    <a:pt x="20689" y="46281"/>
                  </a:lnTo>
                  <a:lnTo>
                    <a:pt x="20689" y="45979"/>
                  </a:lnTo>
                  <a:lnTo>
                    <a:pt x="20689" y="45979"/>
                  </a:lnTo>
                  <a:lnTo>
                    <a:pt x="20689" y="45979"/>
                  </a:lnTo>
                  <a:lnTo>
                    <a:pt x="19448" y="45979"/>
                  </a:lnTo>
                  <a:lnTo>
                    <a:pt x="19448" y="45527"/>
                  </a:lnTo>
                  <a:lnTo>
                    <a:pt x="18620" y="45226"/>
                  </a:lnTo>
                  <a:lnTo>
                    <a:pt x="17793" y="44773"/>
                  </a:lnTo>
                  <a:lnTo>
                    <a:pt x="17793" y="44472"/>
                  </a:lnTo>
                  <a:lnTo>
                    <a:pt x="17793" y="44170"/>
                  </a:lnTo>
                  <a:lnTo>
                    <a:pt x="17793" y="43718"/>
                  </a:lnTo>
                  <a:lnTo>
                    <a:pt x="17793" y="43417"/>
                  </a:lnTo>
                  <a:lnTo>
                    <a:pt x="17793" y="43417"/>
                  </a:lnTo>
                  <a:lnTo>
                    <a:pt x="17793" y="43417"/>
                  </a:lnTo>
                  <a:lnTo>
                    <a:pt x="18620" y="43417"/>
                  </a:lnTo>
                  <a:lnTo>
                    <a:pt x="18620" y="43115"/>
                  </a:lnTo>
                  <a:lnTo>
                    <a:pt x="18620" y="43115"/>
                  </a:lnTo>
                  <a:lnTo>
                    <a:pt x="18620" y="43115"/>
                  </a:lnTo>
                  <a:lnTo>
                    <a:pt x="18620" y="42663"/>
                  </a:lnTo>
                  <a:lnTo>
                    <a:pt x="17793" y="42663"/>
                  </a:lnTo>
                  <a:lnTo>
                    <a:pt x="18620" y="42361"/>
                  </a:lnTo>
                  <a:lnTo>
                    <a:pt x="18620" y="42060"/>
                  </a:lnTo>
                  <a:lnTo>
                    <a:pt x="18620" y="41306"/>
                  </a:lnTo>
                  <a:lnTo>
                    <a:pt x="18620" y="41306"/>
                  </a:lnTo>
                  <a:lnTo>
                    <a:pt x="18620" y="40854"/>
                  </a:lnTo>
                  <a:lnTo>
                    <a:pt x="18620" y="40854"/>
                  </a:lnTo>
                  <a:lnTo>
                    <a:pt x="18620" y="40854"/>
                  </a:lnTo>
                  <a:lnTo>
                    <a:pt x="19448" y="40854"/>
                  </a:lnTo>
                  <a:lnTo>
                    <a:pt x="20689" y="40552"/>
                  </a:lnTo>
                  <a:lnTo>
                    <a:pt x="20689" y="40552"/>
                  </a:lnTo>
                  <a:lnTo>
                    <a:pt x="20689" y="40251"/>
                  </a:lnTo>
                  <a:lnTo>
                    <a:pt x="20689" y="40251"/>
                  </a:lnTo>
                  <a:lnTo>
                    <a:pt x="19448" y="40251"/>
                  </a:lnTo>
                  <a:lnTo>
                    <a:pt x="19448" y="40251"/>
                  </a:lnTo>
                  <a:lnTo>
                    <a:pt x="19448" y="39798"/>
                  </a:lnTo>
                  <a:lnTo>
                    <a:pt x="19448" y="39497"/>
                  </a:lnTo>
                  <a:lnTo>
                    <a:pt x="18620" y="39195"/>
                  </a:lnTo>
                  <a:lnTo>
                    <a:pt x="18620" y="38442"/>
                  </a:lnTo>
                  <a:lnTo>
                    <a:pt x="17793" y="37688"/>
                  </a:lnTo>
                  <a:lnTo>
                    <a:pt x="17793" y="37386"/>
                  </a:lnTo>
                  <a:lnTo>
                    <a:pt x="17793" y="36934"/>
                  </a:lnTo>
                  <a:lnTo>
                    <a:pt x="18620" y="36934"/>
                  </a:lnTo>
                  <a:lnTo>
                    <a:pt x="18620" y="36633"/>
                  </a:lnTo>
                  <a:lnTo>
                    <a:pt x="18620" y="35879"/>
                  </a:lnTo>
                  <a:lnTo>
                    <a:pt x="18620" y="35577"/>
                  </a:lnTo>
                  <a:lnTo>
                    <a:pt x="18620" y="35276"/>
                  </a:lnTo>
                  <a:lnTo>
                    <a:pt x="18620" y="34824"/>
                  </a:lnTo>
                  <a:lnTo>
                    <a:pt x="19448" y="34522"/>
                  </a:lnTo>
                  <a:lnTo>
                    <a:pt x="19448" y="34221"/>
                  </a:lnTo>
                  <a:lnTo>
                    <a:pt x="19448" y="34221"/>
                  </a:lnTo>
                  <a:lnTo>
                    <a:pt x="19448" y="34221"/>
                  </a:lnTo>
                  <a:lnTo>
                    <a:pt x="20689" y="33768"/>
                  </a:lnTo>
                  <a:lnTo>
                    <a:pt x="20689" y="33467"/>
                  </a:lnTo>
                  <a:lnTo>
                    <a:pt x="21517" y="33015"/>
                  </a:lnTo>
                  <a:lnTo>
                    <a:pt x="21517" y="33015"/>
                  </a:lnTo>
                  <a:lnTo>
                    <a:pt x="21517" y="32713"/>
                  </a:lnTo>
                  <a:lnTo>
                    <a:pt x="21517" y="31959"/>
                  </a:lnTo>
                  <a:lnTo>
                    <a:pt x="21517" y="31658"/>
                  </a:lnTo>
                  <a:lnTo>
                    <a:pt x="22344" y="31658"/>
                  </a:lnTo>
                  <a:lnTo>
                    <a:pt x="22344" y="30904"/>
                  </a:lnTo>
                  <a:lnTo>
                    <a:pt x="22344" y="30603"/>
                  </a:lnTo>
                  <a:lnTo>
                    <a:pt x="23586" y="30603"/>
                  </a:lnTo>
                  <a:lnTo>
                    <a:pt x="23586" y="30603"/>
                  </a:lnTo>
                  <a:lnTo>
                    <a:pt x="23586" y="30603"/>
                  </a:lnTo>
                  <a:lnTo>
                    <a:pt x="24413" y="30603"/>
                  </a:lnTo>
                  <a:lnTo>
                    <a:pt x="24413" y="30603"/>
                  </a:lnTo>
                  <a:lnTo>
                    <a:pt x="25241" y="30603"/>
                  </a:lnTo>
                  <a:lnTo>
                    <a:pt x="26482" y="30301"/>
                  </a:lnTo>
                  <a:lnTo>
                    <a:pt x="26482" y="30301"/>
                  </a:lnTo>
                  <a:lnTo>
                    <a:pt x="26482" y="29849"/>
                  </a:lnTo>
                  <a:lnTo>
                    <a:pt x="25241" y="29547"/>
                  </a:lnTo>
                  <a:lnTo>
                    <a:pt x="24413" y="29095"/>
                  </a:lnTo>
                  <a:lnTo>
                    <a:pt x="23586" y="28793"/>
                  </a:lnTo>
                  <a:lnTo>
                    <a:pt x="23586" y="28492"/>
                  </a:lnTo>
                  <a:lnTo>
                    <a:pt x="23586" y="28492"/>
                  </a:lnTo>
                  <a:lnTo>
                    <a:pt x="23586" y="28040"/>
                  </a:lnTo>
                  <a:lnTo>
                    <a:pt x="23586" y="28040"/>
                  </a:lnTo>
                  <a:lnTo>
                    <a:pt x="24413" y="27738"/>
                  </a:lnTo>
                  <a:lnTo>
                    <a:pt x="24413" y="27437"/>
                  </a:lnTo>
                  <a:lnTo>
                    <a:pt x="22344" y="26381"/>
                  </a:lnTo>
                  <a:lnTo>
                    <a:pt x="22344" y="25929"/>
                  </a:lnTo>
                  <a:lnTo>
                    <a:pt x="21517" y="25628"/>
                  </a:lnTo>
                  <a:lnTo>
                    <a:pt x="21517" y="25175"/>
                  </a:lnTo>
                  <a:lnTo>
                    <a:pt x="21517" y="24572"/>
                  </a:lnTo>
                  <a:lnTo>
                    <a:pt x="22344" y="24572"/>
                  </a:lnTo>
                  <a:lnTo>
                    <a:pt x="22344" y="24572"/>
                  </a:lnTo>
                  <a:lnTo>
                    <a:pt x="22344" y="24120"/>
                  </a:lnTo>
                  <a:lnTo>
                    <a:pt x="22344" y="24120"/>
                  </a:lnTo>
                  <a:lnTo>
                    <a:pt x="22344" y="24120"/>
                  </a:lnTo>
                  <a:lnTo>
                    <a:pt x="22344" y="23819"/>
                  </a:lnTo>
                  <a:lnTo>
                    <a:pt x="22344" y="23819"/>
                  </a:lnTo>
                  <a:lnTo>
                    <a:pt x="21517" y="23517"/>
                  </a:lnTo>
                  <a:lnTo>
                    <a:pt x="21517" y="23517"/>
                  </a:lnTo>
                  <a:lnTo>
                    <a:pt x="21517" y="23065"/>
                  </a:lnTo>
                  <a:lnTo>
                    <a:pt x="21517" y="22763"/>
                  </a:lnTo>
                  <a:lnTo>
                    <a:pt x="21517" y="22763"/>
                  </a:lnTo>
                  <a:lnTo>
                    <a:pt x="21517" y="22311"/>
                  </a:lnTo>
                  <a:lnTo>
                    <a:pt x="22344" y="22311"/>
                  </a:lnTo>
                  <a:lnTo>
                    <a:pt x="22344" y="22010"/>
                  </a:lnTo>
                  <a:lnTo>
                    <a:pt x="23586" y="22010"/>
                  </a:lnTo>
                  <a:lnTo>
                    <a:pt x="24413" y="21708"/>
                  </a:lnTo>
                  <a:lnTo>
                    <a:pt x="25241" y="21256"/>
                  </a:lnTo>
                  <a:lnTo>
                    <a:pt x="27310" y="20954"/>
                  </a:lnTo>
                  <a:lnTo>
                    <a:pt x="29379" y="20954"/>
                  </a:lnTo>
                  <a:lnTo>
                    <a:pt x="29379" y="20653"/>
                  </a:lnTo>
                  <a:lnTo>
                    <a:pt x="29379" y="20653"/>
                  </a:lnTo>
                  <a:lnTo>
                    <a:pt x="30206" y="19597"/>
                  </a:lnTo>
                  <a:lnTo>
                    <a:pt x="30206" y="18391"/>
                  </a:lnTo>
                  <a:lnTo>
                    <a:pt x="30206" y="17336"/>
                  </a:lnTo>
                  <a:lnTo>
                    <a:pt x="29379" y="17035"/>
                  </a:lnTo>
                  <a:lnTo>
                    <a:pt x="28137" y="17035"/>
                  </a:lnTo>
                  <a:lnTo>
                    <a:pt x="26482" y="17035"/>
                  </a:lnTo>
                  <a:lnTo>
                    <a:pt x="25241" y="17035"/>
                  </a:lnTo>
                  <a:lnTo>
                    <a:pt x="24413" y="17035"/>
                  </a:lnTo>
                  <a:lnTo>
                    <a:pt x="24413" y="17035"/>
                  </a:lnTo>
                  <a:lnTo>
                    <a:pt x="24413" y="17035"/>
                  </a:lnTo>
                  <a:lnTo>
                    <a:pt x="23586" y="16733"/>
                  </a:lnTo>
                  <a:lnTo>
                    <a:pt x="23586" y="16733"/>
                  </a:lnTo>
                  <a:lnTo>
                    <a:pt x="23586" y="16281"/>
                  </a:lnTo>
                  <a:lnTo>
                    <a:pt x="23586" y="15979"/>
                  </a:lnTo>
                  <a:lnTo>
                    <a:pt x="22344" y="15226"/>
                  </a:lnTo>
                  <a:lnTo>
                    <a:pt x="22344" y="15226"/>
                  </a:lnTo>
                  <a:lnTo>
                    <a:pt x="22344" y="14924"/>
                  </a:lnTo>
                  <a:lnTo>
                    <a:pt x="22344" y="14472"/>
                  </a:lnTo>
                  <a:lnTo>
                    <a:pt x="21517" y="14170"/>
                  </a:lnTo>
                  <a:lnTo>
                    <a:pt x="21517" y="13869"/>
                  </a:lnTo>
                  <a:lnTo>
                    <a:pt x="21517" y="13417"/>
                  </a:lnTo>
                  <a:lnTo>
                    <a:pt x="20689" y="13115"/>
                  </a:lnTo>
                  <a:lnTo>
                    <a:pt x="20689" y="12814"/>
                  </a:lnTo>
                  <a:lnTo>
                    <a:pt x="19448" y="12060"/>
                  </a:lnTo>
                  <a:lnTo>
                    <a:pt x="18620" y="11758"/>
                  </a:lnTo>
                  <a:lnTo>
                    <a:pt x="17793" y="11005"/>
                  </a:lnTo>
                  <a:lnTo>
                    <a:pt x="16551" y="11005"/>
                  </a:lnTo>
                  <a:lnTo>
                    <a:pt x="16551" y="11005"/>
                  </a:lnTo>
                  <a:lnTo>
                    <a:pt x="16551" y="10552"/>
                  </a:lnTo>
                  <a:lnTo>
                    <a:pt x="16551" y="10251"/>
                  </a:lnTo>
                  <a:lnTo>
                    <a:pt x="16551" y="10251"/>
                  </a:lnTo>
                  <a:lnTo>
                    <a:pt x="16551" y="9949"/>
                  </a:lnTo>
                  <a:lnTo>
                    <a:pt x="16551" y="9949"/>
                  </a:lnTo>
                  <a:lnTo>
                    <a:pt x="16551" y="9949"/>
                  </a:lnTo>
                  <a:lnTo>
                    <a:pt x="15724" y="9497"/>
                  </a:lnTo>
                  <a:lnTo>
                    <a:pt x="14482" y="9497"/>
                  </a:lnTo>
                  <a:lnTo>
                    <a:pt x="14482" y="9195"/>
                  </a:lnTo>
                  <a:lnTo>
                    <a:pt x="14482" y="9195"/>
                  </a:lnTo>
                  <a:lnTo>
                    <a:pt x="14482" y="9195"/>
                  </a:lnTo>
                  <a:lnTo>
                    <a:pt x="15724" y="8894"/>
                  </a:lnTo>
                  <a:lnTo>
                    <a:pt x="14482" y="8894"/>
                  </a:lnTo>
                  <a:lnTo>
                    <a:pt x="14482" y="8442"/>
                  </a:lnTo>
                  <a:lnTo>
                    <a:pt x="14482" y="8442"/>
                  </a:lnTo>
                  <a:lnTo>
                    <a:pt x="14482" y="8140"/>
                  </a:lnTo>
                  <a:lnTo>
                    <a:pt x="14482" y="8140"/>
                  </a:lnTo>
                  <a:lnTo>
                    <a:pt x="15724" y="8140"/>
                  </a:lnTo>
                  <a:lnTo>
                    <a:pt x="15724" y="7839"/>
                  </a:lnTo>
                  <a:lnTo>
                    <a:pt x="15724" y="7839"/>
                  </a:lnTo>
                  <a:lnTo>
                    <a:pt x="15724" y="7386"/>
                  </a:lnTo>
                  <a:lnTo>
                    <a:pt x="14482" y="7085"/>
                  </a:lnTo>
                  <a:lnTo>
                    <a:pt x="14482" y="7085"/>
                  </a:lnTo>
                  <a:lnTo>
                    <a:pt x="15724" y="6633"/>
                  </a:lnTo>
                  <a:lnTo>
                    <a:pt x="15724" y="6331"/>
                  </a:lnTo>
                  <a:lnTo>
                    <a:pt x="15724" y="6331"/>
                  </a:lnTo>
                  <a:lnTo>
                    <a:pt x="15724" y="6030"/>
                  </a:lnTo>
                  <a:lnTo>
                    <a:pt x="15724" y="6030"/>
                  </a:lnTo>
                  <a:lnTo>
                    <a:pt x="15724" y="6030"/>
                  </a:lnTo>
                  <a:lnTo>
                    <a:pt x="14482" y="5577"/>
                  </a:lnTo>
                  <a:lnTo>
                    <a:pt x="14482" y="5577"/>
                  </a:lnTo>
                  <a:lnTo>
                    <a:pt x="13655" y="5276"/>
                  </a:lnTo>
                  <a:lnTo>
                    <a:pt x="12827" y="5276"/>
                  </a:lnTo>
                  <a:lnTo>
                    <a:pt x="11586" y="4974"/>
                  </a:lnTo>
                  <a:lnTo>
                    <a:pt x="11586" y="4522"/>
                  </a:lnTo>
                  <a:lnTo>
                    <a:pt x="11586" y="4522"/>
                  </a:lnTo>
                  <a:lnTo>
                    <a:pt x="11586" y="4221"/>
                  </a:lnTo>
                  <a:lnTo>
                    <a:pt x="10758" y="3919"/>
                  </a:lnTo>
                  <a:lnTo>
                    <a:pt x="10758" y="3467"/>
                  </a:lnTo>
                  <a:lnTo>
                    <a:pt x="10758" y="3165"/>
                  </a:lnTo>
                  <a:lnTo>
                    <a:pt x="9931" y="2713"/>
                  </a:lnTo>
                  <a:lnTo>
                    <a:pt x="9931" y="2412"/>
                  </a:lnTo>
                  <a:lnTo>
                    <a:pt x="9931" y="2412"/>
                  </a:lnTo>
                  <a:lnTo>
                    <a:pt x="9931" y="2110"/>
                  </a:lnTo>
                  <a:lnTo>
                    <a:pt x="9931" y="2110"/>
                  </a:lnTo>
                  <a:lnTo>
                    <a:pt x="9931" y="1658"/>
                  </a:lnTo>
                  <a:lnTo>
                    <a:pt x="9931" y="1658"/>
                  </a:lnTo>
                  <a:lnTo>
                    <a:pt x="8689" y="1356"/>
                  </a:lnTo>
                  <a:lnTo>
                    <a:pt x="7862" y="1356"/>
                  </a:lnTo>
                  <a:lnTo>
                    <a:pt x="7862" y="1055"/>
                  </a:lnTo>
                  <a:lnTo>
                    <a:pt x="7034" y="301"/>
                  </a:lnTo>
                  <a:lnTo>
                    <a:pt x="5793" y="0"/>
                  </a:lnTo>
                  <a:lnTo>
                    <a:pt x="5793" y="301"/>
                  </a:lnTo>
                  <a:lnTo>
                    <a:pt x="4965" y="603"/>
                  </a:lnTo>
                  <a:lnTo>
                    <a:pt x="4137" y="603"/>
                  </a:lnTo>
                  <a:lnTo>
                    <a:pt x="4137" y="603"/>
                  </a:lnTo>
                  <a:lnTo>
                    <a:pt x="4137" y="1055"/>
                  </a:lnTo>
                  <a:lnTo>
                    <a:pt x="4137" y="1356"/>
                  </a:lnTo>
                  <a:lnTo>
                    <a:pt x="4965" y="1658"/>
                  </a:lnTo>
                  <a:lnTo>
                    <a:pt x="4137" y="2110"/>
                  </a:lnTo>
                  <a:lnTo>
                    <a:pt x="4137" y="2412"/>
                  </a:lnTo>
                  <a:lnTo>
                    <a:pt x="2896" y="2412"/>
                  </a:lnTo>
                  <a:lnTo>
                    <a:pt x="2068" y="2713"/>
                  </a:lnTo>
                  <a:lnTo>
                    <a:pt x="827" y="2713"/>
                  </a:lnTo>
                  <a:lnTo>
                    <a:pt x="0" y="2713"/>
                  </a:lnTo>
                  <a:lnTo>
                    <a:pt x="0" y="2713"/>
                  </a:lnTo>
                  <a:lnTo>
                    <a:pt x="827" y="2713"/>
                  </a:lnTo>
                  <a:lnTo>
                    <a:pt x="827" y="3467"/>
                  </a:lnTo>
                  <a:lnTo>
                    <a:pt x="827" y="4221"/>
                  </a:lnTo>
                  <a:lnTo>
                    <a:pt x="2068" y="5577"/>
                  </a:lnTo>
                  <a:lnTo>
                    <a:pt x="2896" y="6331"/>
                  </a:lnTo>
                  <a:lnTo>
                    <a:pt x="2896" y="6633"/>
                  </a:lnTo>
                  <a:lnTo>
                    <a:pt x="4137" y="7085"/>
                  </a:lnTo>
                  <a:lnTo>
                    <a:pt x="4137" y="7386"/>
                  </a:lnTo>
                  <a:lnTo>
                    <a:pt x="4137" y="8894"/>
                  </a:lnTo>
                  <a:lnTo>
                    <a:pt x="4137" y="9497"/>
                  </a:lnTo>
                  <a:lnTo>
                    <a:pt x="4137" y="10251"/>
                  </a:lnTo>
                  <a:lnTo>
                    <a:pt x="5793" y="12060"/>
                  </a:lnTo>
                  <a:lnTo>
                    <a:pt x="5793" y="12361"/>
                  </a:lnTo>
                  <a:lnTo>
                    <a:pt x="5793" y="12814"/>
                  </a:lnTo>
                  <a:lnTo>
                    <a:pt x="5793" y="13115"/>
                  </a:lnTo>
                  <a:lnTo>
                    <a:pt x="5793" y="13869"/>
                  </a:lnTo>
                  <a:lnTo>
                    <a:pt x="5793" y="14170"/>
                  </a:lnTo>
                  <a:lnTo>
                    <a:pt x="5793" y="14924"/>
                  </a:lnTo>
                  <a:lnTo>
                    <a:pt x="5793" y="15979"/>
                  </a:lnTo>
                  <a:lnTo>
                    <a:pt x="5793" y="17035"/>
                  </a:lnTo>
                  <a:lnTo>
                    <a:pt x="4965" y="17336"/>
                  </a:lnTo>
                  <a:lnTo>
                    <a:pt x="4965" y="17788"/>
                  </a:lnTo>
                  <a:lnTo>
                    <a:pt x="4137" y="17788"/>
                  </a:lnTo>
                  <a:lnTo>
                    <a:pt x="4137" y="18090"/>
                  </a:lnTo>
                  <a:lnTo>
                    <a:pt x="4137" y="18391"/>
                  </a:lnTo>
                  <a:lnTo>
                    <a:pt x="4137" y="18844"/>
                  </a:lnTo>
                  <a:lnTo>
                    <a:pt x="4965" y="19145"/>
                  </a:lnTo>
                  <a:lnTo>
                    <a:pt x="5793" y="19145"/>
                  </a:lnTo>
                  <a:lnTo>
                    <a:pt x="5793" y="19145"/>
                  </a:lnTo>
                  <a:lnTo>
                    <a:pt x="5793" y="19597"/>
                  </a:lnTo>
                  <a:lnTo>
                    <a:pt x="5793" y="19899"/>
                  </a:lnTo>
                  <a:lnTo>
                    <a:pt x="5793" y="20201"/>
                  </a:lnTo>
                  <a:lnTo>
                    <a:pt x="5793" y="20653"/>
                  </a:lnTo>
                  <a:lnTo>
                    <a:pt x="5793" y="20954"/>
                  </a:lnTo>
                  <a:lnTo>
                    <a:pt x="5793" y="21708"/>
                  </a:lnTo>
                  <a:lnTo>
                    <a:pt x="5793" y="22763"/>
                  </a:lnTo>
                  <a:lnTo>
                    <a:pt x="5793" y="23065"/>
                  </a:lnTo>
                  <a:lnTo>
                    <a:pt x="7862" y="24572"/>
                  </a:lnTo>
                  <a:lnTo>
                    <a:pt x="7862" y="24572"/>
                  </a:lnTo>
                  <a:lnTo>
                    <a:pt x="7862" y="25175"/>
                  </a:lnTo>
                  <a:lnTo>
                    <a:pt x="7034" y="25628"/>
                  </a:lnTo>
                  <a:lnTo>
                    <a:pt x="7034" y="25628"/>
                  </a:lnTo>
                  <a:lnTo>
                    <a:pt x="7034" y="26381"/>
                  </a:lnTo>
                  <a:lnTo>
                    <a:pt x="7034" y="26683"/>
                  </a:lnTo>
                  <a:lnTo>
                    <a:pt x="7862" y="26984"/>
                  </a:lnTo>
                  <a:lnTo>
                    <a:pt x="7862" y="27738"/>
                  </a:lnTo>
                  <a:lnTo>
                    <a:pt x="7862" y="28040"/>
                  </a:lnTo>
                  <a:lnTo>
                    <a:pt x="7862" y="28492"/>
                  </a:lnTo>
                  <a:lnTo>
                    <a:pt x="7862" y="29095"/>
                  </a:lnTo>
                  <a:lnTo>
                    <a:pt x="7862" y="29849"/>
                  </a:lnTo>
                  <a:lnTo>
                    <a:pt x="7862" y="30301"/>
                  </a:lnTo>
                  <a:lnTo>
                    <a:pt x="7034" y="30904"/>
                  </a:lnTo>
                  <a:lnTo>
                    <a:pt x="7034" y="31356"/>
                  </a:lnTo>
                  <a:lnTo>
                    <a:pt x="7862" y="31959"/>
                  </a:lnTo>
                  <a:lnTo>
                    <a:pt x="7862" y="31959"/>
                  </a:lnTo>
                  <a:lnTo>
                    <a:pt x="7862" y="32412"/>
                  </a:lnTo>
                  <a:lnTo>
                    <a:pt x="7034" y="32713"/>
                  </a:lnTo>
                  <a:lnTo>
                    <a:pt x="7034" y="32713"/>
                  </a:lnTo>
                  <a:lnTo>
                    <a:pt x="7034" y="33768"/>
                  </a:lnTo>
                  <a:lnTo>
                    <a:pt x="7034" y="34522"/>
                  </a:lnTo>
                  <a:lnTo>
                    <a:pt x="7034" y="35276"/>
                  </a:lnTo>
                  <a:lnTo>
                    <a:pt x="7034" y="35577"/>
                  </a:lnTo>
                  <a:lnTo>
                    <a:pt x="5793" y="35879"/>
                  </a:lnTo>
                  <a:lnTo>
                    <a:pt x="5793" y="36331"/>
                  </a:lnTo>
                  <a:lnTo>
                    <a:pt x="5793" y="36331"/>
                  </a:lnTo>
                  <a:lnTo>
                    <a:pt x="5793" y="37386"/>
                  </a:lnTo>
                  <a:lnTo>
                    <a:pt x="7862" y="37688"/>
                  </a:lnTo>
                  <a:lnTo>
                    <a:pt x="7862" y="38140"/>
                  </a:lnTo>
                  <a:lnTo>
                    <a:pt x="8689" y="38743"/>
                  </a:lnTo>
                  <a:lnTo>
                    <a:pt x="8689" y="39497"/>
                  </a:lnTo>
                  <a:lnTo>
                    <a:pt x="8689" y="40251"/>
                  </a:lnTo>
                  <a:lnTo>
                    <a:pt x="7034" y="40854"/>
                  </a:lnTo>
                  <a:lnTo>
                    <a:pt x="7862" y="41608"/>
                  </a:lnTo>
                  <a:lnTo>
                    <a:pt x="7862" y="42361"/>
                  </a:lnTo>
                  <a:lnTo>
                    <a:pt x="8689" y="43115"/>
                  </a:lnTo>
                  <a:lnTo>
                    <a:pt x="8689" y="43417"/>
                  </a:lnTo>
                  <a:lnTo>
                    <a:pt x="9931" y="44472"/>
                  </a:lnTo>
                  <a:lnTo>
                    <a:pt x="10758" y="45527"/>
                  </a:lnTo>
                  <a:lnTo>
                    <a:pt x="11586" y="47035"/>
                  </a:lnTo>
                  <a:lnTo>
                    <a:pt x="13655" y="47336"/>
                  </a:lnTo>
                  <a:lnTo>
                    <a:pt x="13655" y="47638"/>
                  </a:lnTo>
                  <a:lnTo>
                    <a:pt x="13655" y="48391"/>
                  </a:lnTo>
                  <a:lnTo>
                    <a:pt x="13655" y="49145"/>
                  </a:lnTo>
                  <a:lnTo>
                    <a:pt x="12827" y="49447"/>
                  </a:lnTo>
                  <a:lnTo>
                    <a:pt x="12827" y="49447"/>
                  </a:lnTo>
                  <a:lnTo>
                    <a:pt x="13655" y="50201"/>
                  </a:lnTo>
                  <a:lnTo>
                    <a:pt x="13655" y="50502"/>
                  </a:lnTo>
                  <a:lnTo>
                    <a:pt x="14482" y="50954"/>
                  </a:lnTo>
                  <a:lnTo>
                    <a:pt x="14482" y="51256"/>
                  </a:lnTo>
                  <a:lnTo>
                    <a:pt x="13655" y="52010"/>
                  </a:lnTo>
                  <a:lnTo>
                    <a:pt x="13655" y="52311"/>
                  </a:lnTo>
                  <a:lnTo>
                    <a:pt x="13655" y="52613"/>
                  </a:lnTo>
                  <a:lnTo>
                    <a:pt x="12827" y="53065"/>
                  </a:lnTo>
                  <a:lnTo>
                    <a:pt x="13655" y="53366"/>
                  </a:lnTo>
                  <a:lnTo>
                    <a:pt x="13655" y="53819"/>
                  </a:lnTo>
                  <a:lnTo>
                    <a:pt x="13655" y="54422"/>
                  </a:lnTo>
                  <a:lnTo>
                    <a:pt x="13655" y="55477"/>
                  </a:lnTo>
                  <a:lnTo>
                    <a:pt x="13655" y="55929"/>
                  </a:lnTo>
                  <a:lnTo>
                    <a:pt x="12827" y="56532"/>
                  </a:lnTo>
                  <a:lnTo>
                    <a:pt x="12827" y="56984"/>
                  </a:lnTo>
                  <a:lnTo>
                    <a:pt x="12827" y="57286"/>
                  </a:lnTo>
                  <a:lnTo>
                    <a:pt x="12827" y="57286"/>
                  </a:lnTo>
                  <a:lnTo>
                    <a:pt x="11586" y="57738"/>
                  </a:lnTo>
                  <a:lnTo>
                    <a:pt x="12827" y="58040"/>
                  </a:lnTo>
                  <a:lnTo>
                    <a:pt x="12827" y="58341"/>
                  </a:lnTo>
                  <a:lnTo>
                    <a:pt x="11586" y="58793"/>
                  </a:lnTo>
                  <a:lnTo>
                    <a:pt x="12827" y="60150"/>
                  </a:lnTo>
                  <a:lnTo>
                    <a:pt x="11586" y="60452"/>
                  </a:lnTo>
                  <a:lnTo>
                    <a:pt x="11586" y="60904"/>
                  </a:lnTo>
                  <a:lnTo>
                    <a:pt x="11586" y="61206"/>
                  </a:lnTo>
                  <a:lnTo>
                    <a:pt x="11586" y="61658"/>
                  </a:lnTo>
                  <a:lnTo>
                    <a:pt x="11586" y="61959"/>
                  </a:lnTo>
                  <a:lnTo>
                    <a:pt x="11586" y="62261"/>
                  </a:lnTo>
                  <a:lnTo>
                    <a:pt x="11586" y="62713"/>
                  </a:lnTo>
                  <a:lnTo>
                    <a:pt x="11586" y="63015"/>
                  </a:lnTo>
                  <a:lnTo>
                    <a:pt x="10758" y="63015"/>
                  </a:lnTo>
                  <a:lnTo>
                    <a:pt x="8689" y="62713"/>
                  </a:lnTo>
                  <a:lnTo>
                    <a:pt x="8689" y="63015"/>
                  </a:lnTo>
                  <a:lnTo>
                    <a:pt x="8689" y="63316"/>
                  </a:lnTo>
                  <a:lnTo>
                    <a:pt x="9931" y="63768"/>
                  </a:lnTo>
                  <a:lnTo>
                    <a:pt x="9931" y="64070"/>
                  </a:lnTo>
                  <a:lnTo>
                    <a:pt x="9931" y="64522"/>
                  </a:lnTo>
                  <a:lnTo>
                    <a:pt x="11586" y="65125"/>
                  </a:lnTo>
                  <a:lnTo>
                    <a:pt x="12827" y="65577"/>
                  </a:lnTo>
                  <a:lnTo>
                    <a:pt x="12827" y="65879"/>
                  </a:lnTo>
                  <a:lnTo>
                    <a:pt x="12827" y="66633"/>
                  </a:lnTo>
                  <a:lnTo>
                    <a:pt x="13655" y="66934"/>
                  </a:lnTo>
                  <a:lnTo>
                    <a:pt x="13655" y="67236"/>
                  </a:lnTo>
                  <a:lnTo>
                    <a:pt x="17793" y="69497"/>
                  </a:lnTo>
                  <a:lnTo>
                    <a:pt x="17793" y="70100"/>
                  </a:lnTo>
                  <a:lnTo>
                    <a:pt x="17793" y="71155"/>
                  </a:lnTo>
                  <a:lnTo>
                    <a:pt x="17793" y="71155"/>
                  </a:lnTo>
                  <a:lnTo>
                    <a:pt x="16551" y="71608"/>
                  </a:lnTo>
                  <a:lnTo>
                    <a:pt x="16551" y="71909"/>
                  </a:lnTo>
                  <a:lnTo>
                    <a:pt x="16551" y="72361"/>
                  </a:lnTo>
                  <a:lnTo>
                    <a:pt x="17793" y="72964"/>
                  </a:lnTo>
                  <a:lnTo>
                    <a:pt x="17793" y="74472"/>
                  </a:lnTo>
                  <a:lnTo>
                    <a:pt x="17793" y="74773"/>
                  </a:lnTo>
                  <a:lnTo>
                    <a:pt x="18620" y="75075"/>
                  </a:lnTo>
                  <a:lnTo>
                    <a:pt x="19448" y="75829"/>
                  </a:lnTo>
                  <a:lnTo>
                    <a:pt x="19448" y="76281"/>
                  </a:lnTo>
                  <a:lnTo>
                    <a:pt x="20689" y="76281"/>
                  </a:lnTo>
                  <a:lnTo>
                    <a:pt x="21517" y="76582"/>
                  </a:lnTo>
                  <a:lnTo>
                    <a:pt x="22344" y="76582"/>
                  </a:lnTo>
                  <a:lnTo>
                    <a:pt x="22344" y="76582"/>
                  </a:lnTo>
                  <a:lnTo>
                    <a:pt x="21517" y="76582"/>
                  </a:lnTo>
                  <a:lnTo>
                    <a:pt x="21517" y="76884"/>
                  </a:lnTo>
                  <a:lnTo>
                    <a:pt x="21517" y="76884"/>
                  </a:lnTo>
                  <a:lnTo>
                    <a:pt x="22344" y="77336"/>
                  </a:lnTo>
                  <a:lnTo>
                    <a:pt x="23586" y="77336"/>
                  </a:lnTo>
                  <a:lnTo>
                    <a:pt x="25241" y="77336"/>
                  </a:lnTo>
                  <a:lnTo>
                    <a:pt x="25241" y="76884"/>
                  </a:lnTo>
                  <a:lnTo>
                    <a:pt x="26482" y="76582"/>
                  </a:lnTo>
                  <a:lnTo>
                    <a:pt x="26482" y="76281"/>
                  </a:lnTo>
                  <a:lnTo>
                    <a:pt x="27310" y="76281"/>
                  </a:lnTo>
                  <a:lnTo>
                    <a:pt x="27310" y="76582"/>
                  </a:lnTo>
                  <a:lnTo>
                    <a:pt x="29379" y="76884"/>
                  </a:lnTo>
                  <a:lnTo>
                    <a:pt x="29379" y="76884"/>
                  </a:lnTo>
                  <a:lnTo>
                    <a:pt x="30206" y="76884"/>
                  </a:lnTo>
                  <a:lnTo>
                    <a:pt x="30206" y="76582"/>
                  </a:lnTo>
                  <a:lnTo>
                    <a:pt x="30206" y="76281"/>
                  </a:lnTo>
                  <a:lnTo>
                    <a:pt x="31448" y="76281"/>
                  </a:lnTo>
                  <a:lnTo>
                    <a:pt x="31448" y="76582"/>
                  </a:lnTo>
                  <a:lnTo>
                    <a:pt x="30206" y="76884"/>
                  </a:lnTo>
                  <a:lnTo>
                    <a:pt x="29379" y="76884"/>
                  </a:lnTo>
                  <a:lnTo>
                    <a:pt x="29379" y="77336"/>
                  </a:lnTo>
                  <a:lnTo>
                    <a:pt x="28137" y="77336"/>
                  </a:lnTo>
                  <a:lnTo>
                    <a:pt x="28137" y="77638"/>
                  </a:lnTo>
                  <a:lnTo>
                    <a:pt x="29379" y="77638"/>
                  </a:lnTo>
                  <a:lnTo>
                    <a:pt x="29379" y="77638"/>
                  </a:lnTo>
                  <a:lnTo>
                    <a:pt x="30206" y="77939"/>
                  </a:lnTo>
                  <a:lnTo>
                    <a:pt x="31448" y="77638"/>
                  </a:lnTo>
                  <a:lnTo>
                    <a:pt x="32275" y="78391"/>
                  </a:lnTo>
                  <a:lnTo>
                    <a:pt x="33103" y="78994"/>
                  </a:lnTo>
                  <a:lnTo>
                    <a:pt x="33103" y="78994"/>
                  </a:lnTo>
                  <a:lnTo>
                    <a:pt x="32275" y="78693"/>
                  </a:lnTo>
                  <a:lnTo>
                    <a:pt x="31448" y="78391"/>
                  </a:lnTo>
                  <a:lnTo>
                    <a:pt x="30206" y="78391"/>
                  </a:lnTo>
                  <a:lnTo>
                    <a:pt x="30206" y="78693"/>
                  </a:lnTo>
                  <a:lnTo>
                    <a:pt x="30206" y="78693"/>
                  </a:lnTo>
                  <a:lnTo>
                    <a:pt x="31448" y="78994"/>
                  </a:lnTo>
                  <a:lnTo>
                    <a:pt x="32275" y="79447"/>
                  </a:lnTo>
                  <a:lnTo>
                    <a:pt x="32275" y="79447"/>
                  </a:lnTo>
                  <a:lnTo>
                    <a:pt x="31448" y="79447"/>
                  </a:lnTo>
                  <a:lnTo>
                    <a:pt x="31448" y="79748"/>
                  </a:lnTo>
                  <a:lnTo>
                    <a:pt x="31448" y="80502"/>
                  </a:lnTo>
                  <a:lnTo>
                    <a:pt x="32275" y="80502"/>
                  </a:lnTo>
                  <a:lnTo>
                    <a:pt x="33103" y="80804"/>
                  </a:lnTo>
                  <a:lnTo>
                    <a:pt x="33103" y="81256"/>
                  </a:lnTo>
                  <a:lnTo>
                    <a:pt x="32275" y="81256"/>
                  </a:lnTo>
                  <a:lnTo>
                    <a:pt x="32275" y="81256"/>
                  </a:lnTo>
                  <a:lnTo>
                    <a:pt x="32275" y="81557"/>
                  </a:lnTo>
                  <a:lnTo>
                    <a:pt x="31448" y="81859"/>
                  </a:lnTo>
                  <a:lnTo>
                    <a:pt x="32275" y="82311"/>
                  </a:lnTo>
                  <a:lnTo>
                    <a:pt x="33103" y="82914"/>
                  </a:lnTo>
                  <a:lnTo>
                    <a:pt x="33103" y="83668"/>
                  </a:lnTo>
                  <a:lnTo>
                    <a:pt x="32275" y="83668"/>
                  </a:lnTo>
                  <a:lnTo>
                    <a:pt x="33103" y="84120"/>
                  </a:lnTo>
                  <a:lnTo>
                    <a:pt x="33103" y="84422"/>
                  </a:lnTo>
                  <a:lnTo>
                    <a:pt x="34344" y="84723"/>
                  </a:lnTo>
                  <a:lnTo>
                    <a:pt x="35172" y="84723"/>
                  </a:lnTo>
                  <a:lnTo>
                    <a:pt x="37241" y="85175"/>
                  </a:lnTo>
                  <a:lnTo>
                    <a:pt x="38068" y="85477"/>
                  </a:lnTo>
                  <a:lnTo>
                    <a:pt x="38896" y="85778"/>
                  </a:lnTo>
                  <a:lnTo>
                    <a:pt x="38896" y="86231"/>
                  </a:lnTo>
                  <a:lnTo>
                    <a:pt x="37241" y="86834"/>
                  </a:lnTo>
                  <a:lnTo>
                    <a:pt x="36000" y="86834"/>
                  </a:lnTo>
                  <a:lnTo>
                    <a:pt x="35172" y="86834"/>
                  </a:lnTo>
                  <a:lnTo>
                    <a:pt x="35172" y="87587"/>
                  </a:lnTo>
                  <a:lnTo>
                    <a:pt x="36000" y="88040"/>
                  </a:lnTo>
                  <a:lnTo>
                    <a:pt x="37241" y="88040"/>
                  </a:lnTo>
                  <a:lnTo>
                    <a:pt x="38896" y="88341"/>
                  </a:lnTo>
                  <a:lnTo>
                    <a:pt x="38896" y="88643"/>
                  </a:lnTo>
                  <a:lnTo>
                    <a:pt x="40137" y="88643"/>
                  </a:lnTo>
                  <a:lnTo>
                    <a:pt x="40137" y="88643"/>
                  </a:lnTo>
                  <a:lnTo>
                    <a:pt x="40137" y="88643"/>
                  </a:lnTo>
                  <a:lnTo>
                    <a:pt x="38068" y="88341"/>
                  </a:lnTo>
                  <a:lnTo>
                    <a:pt x="37241" y="88341"/>
                  </a:lnTo>
                  <a:lnTo>
                    <a:pt x="37241" y="88341"/>
                  </a:lnTo>
                  <a:lnTo>
                    <a:pt x="36000" y="88643"/>
                  </a:lnTo>
                  <a:lnTo>
                    <a:pt x="34344" y="88643"/>
                  </a:lnTo>
                  <a:lnTo>
                    <a:pt x="35172" y="89396"/>
                  </a:lnTo>
                  <a:lnTo>
                    <a:pt x="35172" y="89396"/>
                  </a:lnTo>
                  <a:lnTo>
                    <a:pt x="36000" y="89698"/>
                  </a:lnTo>
                  <a:lnTo>
                    <a:pt x="36000" y="89698"/>
                  </a:lnTo>
                  <a:lnTo>
                    <a:pt x="37241" y="90150"/>
                  </a:lnTo>
                  <a:lnTo>
                    <a:pt x="37241" y="90452"/>
                  </a:lnTo>
                  <a:lnTo>
                    <a:pt x="37241" y="90753"/>
                  </a:lnTo>
                  <a:lnTo>
                    <a:pt x="37241" y="91206"/>
                  </a:lnTo>
                  <a:lnTo>
                    <a:pt x="38068" y="91206"/>
                  </a:lnTo>
                  <a:lnTo>
                    <a:pt x="38068" y="91507"/>
                  </a:lnTo>
                  <a:lnTo>
                    <a:pt x="38068" y="91959"/>
                  </a:lnTo>
                  <a:lnTo>
                    <a:pt x="38068" y="92261"/>
                  </a:lnTo>
                  <a:lnTo>
                    <a:pt x="37241" y="92261"/>
                  </a:lnTo>
                  <a:lnTo>
                    <a:pt x="37241" y="91959"/>
                  </a:lnTo>
                  <a:lnTo>
                    <a:pt x="37241" y="91959"/>
                  </a:lnTo>
                  <a:lnTo>
                    <a:pt x="37241" y="91507"/>
                  </a:lnTo>
                  <a:lnTo>
                    <a:pt x="37241" y="90452"/>
                  </a:lnTo>
                  <a:lnTo>
                    <a:pt x="36000" y="90452"/>
                  </a:lnTo>
                  <a:lnTo>
                    <a:pt x="36000" y="90150"/>
                  </a:lnTo>
                  <a:lnTo>
                    <a:pt x="36000" y="89698"/>
                  </a:lnTo>
                  <a:lnTo>
                    <a:pt x="35172" y="89698"/>
                  </a:lnTo>
                  <a:lnTo>
                    <a:pt x="35172" y="90150"/>
                  </a:lnTo>
                  <a:lnTo>
                    <a:pt x="35172" y="90452"/>
                  </a:lnTo>
                  <a:lnTo>
                    <a:pt x="35172" y="90753"/>
                  </a:lnTo>
                  <a:lnTo>
                    <a:pt x="35172" y="91206"/>
                  </a:lnTo>
                  <a:lnTo>
                    <a:pt x="34344" y="91206"/>
                  </a:lnTo>
                  <a:lnTo>
                    <a:pt x="33103" y="91206"/>
                  </a:lnTo>
                  <a:lnTo>
                    <a:pt x="32275" y="91206"/>
                  </a:lnTo>
                  <a:lnTo>
                    <a:pt x="33103" y="91206"/>
                  </a:lnTo>
                  <a:lnTo>
                    <a:pt x="34344" y="90753"/>
                  </a:lnTo>
                  <a:lnTo>
                    <a:pt x="34344" y="90452"/>
                  </a:lnTo>
                  <a:lnTo>
                    <a:pt x="34344" y="90150"/>
                  </a:lnTo>
                  <a:lnTo>
                    <a:pt x="34344" y="90150"/>
                  </a:lnTo>
                  <a:lnTo>
                    <a:pt x="34344" y="89698"/>
                  </a:lnTo>
                  <a:lnTo>
                    <a:pt x="34344" y="89095"/>
                  </a:lnTo>
                  <a:lnTo>
                    <a:pt x="34344" y="89095"/>
                  </a:lnTo>
                  <a:lnTo>
                    <a:pt x="34344" y="88643"/>
                  </a:lnTo>
                  <a:lnTo>
                    <a:pt x="33103" y="88643"/>
                  </a:lnTo>
                  <a:lnTo>
                    <a:pt x="33103" y="88643"/>
                  </a:lnTo>
                  <a:lnTo>
                    <a:pt x="32275" y="88643"/>
                  </a:lnTo>
                  <a:lnTo>
                    <a:pt x="32275" y="88643"/>
                  </a:lnTo>
                  <a:lnTo>
                    <a:pt x="32275" y="88643"/>
                  </a:lnTo>
                  <a:lnTo>
                    <a:pt x="32275" y="89095"/>
                  </a:lnTo>
                  <a:lnTo>
                    <a:pt x="33103" y="89396"/>
                  </a:lnTo>
                  <a:lnTo>
                    <a:pt x="33103" y="89396"/>
                  </a:lnTo>
                  <a:lnTo>
                    <a:pt x="33103" y="89396"/>
                  </a:lnTo>
                  <a:lnTo>
                    <a:pt x="32275" y="89698"/>
                  </a:lnTo>
                  <a:lnTo>
                    <a:pt x="32275" y="89698"/>
                  </a:lnTo>
                  <a:lnTo>
                    <a:pt x="31448" y="89698"/>
                  </a:lnTo>
                  <a:lnTo>
                    <a:pt x="31448" y="89698"/>
                  </a:lnTo>
                  <a:lnTo>
                    <a:pt x="29379" y="89698"/>
                  </a:lnTo>
                  <a:lnTo>
                    <a:pt x="28137" y="89698"/>
                  </a:lnTo>
                  <a:lnTo>
                    <a:pt x="26482" y="90150"/>
                  </a:lnTo>
                  <a:lnTo>
                    <a:pt x="27310" y="90452"/>
                  </a:lnTo>
                  <a:lnTo>
                    <a:pt x="28137" y="90753"/>
                  </a:lnTo>
                  <a:lnTo>
                    <a:pt x="28137" y="90753"/>
                  </a:lnTo>
                  <a:lnTo>
                    <a:pt x="28137" y="91206"/>
                  </a:lnTo>
                  <a:lnTo>
                    <a:pt x="27310" y="91507"/>
                  </a:lnTo>
                  <a:lnTo>
                    <a:pt x="26482" y="91959"/>
                  </a:lnTo>
                  <a:lnTo>
                    <a:pt x="26482" y="91959"/>
                  </a:lnTo>
                  <a:lnTo>
                    <a:pt x="25241" y="92261"/>
                  </a:lnTo>
                  <a:lnTo>
                    <a:pt x="25241" y="92562"/>
                  </a:lnTo>
                  <a:lnTo>
                    <a:pt x="25241" y="93015"/>
                  </a:lnTo>
                  <a:lnTo>
                    <a:pt x="26482" y="93015"/>
                  </a:lnTo>
                  <a:lnTo>
                    <a:pt x="27310" y="93316"/>
                  </a:lnTo>
                  <a:lnTo>
                    <a:pt x="28137" y="93316"/>
                  </a:lnTo>
                  <a:lnTo>
                    <a:pt x="28137" y="93316"/>
                  </a:lnTo>
                  <a:lnTo>
                    <a:pt x="28137" y="93015"/>
                  </a:lnTo>
                  <a:lnTo>
                    <a:pt x="27310" y="92562"/>
                  </a:lnTo>
                  <a:lnTo>
                    <a:pt x="26482" y="92562"/>
                  </a:lnTo>
                  <a:lnTo>
                    <a:pt x="26482" y="92562"/>
                  </a:lnTo>
                  <a:lnTo>
                    <a:pt x="26482" y="92562"/>
                  </a:lnTo>
                  <a:lnTo>
                    <a:pt x="26482" y="92562"/>
                  </a:lnTo>
                  <a:lnTo>
                    <a:pt x="27310" y="92261"/>
                  </a:lnTo>
                  <a:lnTo>
                    <a:pt x="29379" y="92261"/>
                  </a:lnTo>
                  <a:lnTo>
                    <a:pt x="29379" y="91959"/>
                  </a:lnTo>
                  <a:lnTo>
                    <a:pt x="29379" y="91959"/>
                  </a:lnTo>
                  <a:lnTo>
                    <a:pt x="29379" y="92261"/>
                  </a:lnTo>
                  <a:lnTo>
                    <a:pt x="30206" y="92562"/>
                  </a:lnTo>
                  <a:lnTo>
                    <a:pt x="30206" y="92562"/>
                  </a:lnTo>
                  <a:lnTo>
                    <a:pt x="32275" y="93015"/>
                  </a:lnTo>
                  <a:lnTo>
                    <a:pt x="33103" y="93015"/>
                  </a:lnTo>
                  <a:lnTo>
                    <a:pt x="34344" y="93316"/>
                  </a:lnTo>
                  <a:lnTo>
                    <a:pt x="34344" y="93316"/>
                  </a:lnTo>
                  <a:lnTo>
                    <a:pt x="34344" y="93015"/>
                  </a:lnTo>
                  <a:lnTo>
                    <a:pt x="34344" y="93015"/>
                  </a:lnTo>
                  <a:lnTo>
                    <a:pt x="34344" y="93015"/>
                  </a:lnTo>
                  <a:lnTo>
                    <a:pt x="34344" y="93015"/>
                  </a:lnTo>
                  <a:lnTo>
                    <a:pt x="35172" y="93015"/>
                  </a:lnTo>
                  <a:lnTo>
                    <a:pt x="36000" y="93316"/>
                  </a:lnTo>
                  <a:lnTo>
                    <a:pt x="37241" y="93316"/>
                  </a:lnTo>
                  <a:lnTo>
                    <a:pt x="37241" y="93618"/>
                  </a:lnTo>
                  <a:lnTo>
                    <a:pt x="38068" y="94070"/>
                  </a:lnTo>
                  <a:lnTo>
                    <a:pt x="37241" y="94070"/>
                  </a:lnTo>
                  <a:lnTo>
                    <a:pt x="36000" y="94371"/>
                  </a:lnTo>
                  <a:lnTo>
                    <a:pt x="36000" y="94673"/>
                  </a:lnTo>
                  <a:lnTo>
                    <a:pt x="38068" y="95125"/>
                  </a:lnTo>
                  <a:lnTo>
                    <a:pt x="38068" y="95125"/>
                  </a:lnTo>
                  <a:lnTo>
                    <a:pt x="38896" y="95427"/>
                  </a:lnTo>
                  <a:lnTo>
                    <a:pt x="38896" y="95427"/>
                  </a:lnTo>
                  <a:lnTo>
                    <a:pt x="38896" y="95427"/>
                  </a:lnTo>
                  <a:lnTo>
                    <a:pt x="38896" y="95879"/>
                  </a:lnTo>
                  <a:lnTo>
                    <a:pt x="38068" y="95427"/>
                  </a:lnTo>
                  <a:lnTo>
                    <a:pt x="38068" y="95427"/>
                  </a:lnTo>
                  <a:lnTo>
                    <a:pt x="37241" y="95427"/>
                  </a:lnTo>
                  <a:lnTo>
                    <a:pt x="36000" y="95427"/>
                  </a:lnTo>
                  <a:lnTo>
                    <a:pt x="36000" y="95427"/>
                  </a:lnTo>
                  <a:lnTo>
                    <a:pt x="36000" y="95879"/>
                  </a:lnTo>
                  <a:lnTo>
                    <a:pt x="37241" y="95879"/>
                  </a:lnTo>
                  <a:lnTo>
                    <a:pt x="37241" y="95879"/>
                  </a:lnTo>
                  <a:lnTo>
                    <a:pt x="38068" y="96180"/>
                  </a:lnTo>
                  <a:lnTo>
                    <a:pt x="38896" y="96180"/>
                  </a:lnTo>
                  <a:lnTo>
                    <a:pt x="38896" y="96180"/>
                  </a:lnTo>
                  <a:lnTo>
                    <a:pt x="38896" y="96482"/>
                  </a:lnTo>
                  <a:lnTo>
                    <a:pt x="40137" y="96482"/>
                  </a:lnTo>
                  <a:lnTo>
                    <a:pt x="40965" y="96482"/>
                  </a:lnTo>
                  <a:lnTo>
                    <a:pt x="41793" y="96482"/>
                  </a:lnTo>
                  <a:lnTo>
                    <a:pt x="41793" y="96180"/>
                  </a:lnTo>
                  <a:lnTo>
                    <a:pt x="41793" y="95879"/>
                  </a:lnTo>
                  <a:lnTo>
                    <a:pt x="41793" y="95427"/>
                  </a:lnTo>
                  <a:lnTo>
                    <a:pt x="43034" y="95427"/>
                  </a:lnTo>
                  <a:lnTo>
                    <a:pt x="43862" y="96180"/>
                  </a:lnTo>
                  <a:lnTo>
                    <a:pt x="43862" y="96482"/>
                  </a:lnTo>
                  <a:lnTo>
                    <a:pt x="45103" y="96482"/>
                  </a:lnTo>
                  <a:lnTo>
                    <a:pt x="45103" y="96482"/>
                  </a:lnTo>
                  <a:lnTo>
                    <a:pt x="45931" y="96934"/>
                  </a:lnTo>
                  <a:lnTo>
                    <a:pt x="46758" y="97236"/>
                  </a:lnTo>
                  <a:lnTo>
                    <a:pt x="46758" y="97236"/>
                  </a:lnTo>
                  <a:lnTo>
                    <a:pt x="45931" y="97236"/>
                  </a:lnTo>
                  <a:lnTo>
                    <a:pt x="43034" y="96934"/>
                  </a:lnTo>
                  <a:lnTo>
                    <a:pt x="40137" y="96934"/>
                  </a:lnTo>
                  <a:lnTo>
                    <a:pt x="38896" y="96482"/>
                  </a:lnTo>
                  <a:lnTo>
                    <a:pt x="38068" y="96482"/>
                  </a:lnTo>
                  <a:lnTo>
                    <a:pt x="38068" y="97236"/>
                  </a:lnTo>
                  <a:lnTo>
                    <a:pt x="38896" y="97537"/>
                  </a:lnTo>
                  <a:lnTo>
                    <a:pt x="40137" y="97537"/>
                  </a:lnTo>
                  <a:lnTo>
                    <a:pt x="40137" y="97989"/>
                  </a:lnTo>
                  <a:lnTo>
                    <a:pt x="40965" y="98291"/>
                  </a:lnTo>
                  <a:lnTo>
                    <a:pt x="41793" y="97989"/>
                  </a:lnTo>
                  <a:lnTo>
                    <a:pt x="41793" y="97989"/>
                  </a:lnTo>
                  <a:lnTo>
                    <a:pt x="43862" y="97989"/>
                  </a:lnTo>
                  <a:lnTo>
                    <a:pt x="43034" y="98291"/>
                  </a:lnTo>
                  <a:lnTo>
                    <a:pt x="43034" y="98291"/>
                  </a:lnTo>
                  <a:lnTo>
                    <a:pt x="43034" y="98291"/>
                  </a:lnTo>
                  <a:lnTo>
                    <a:pt x="41793" y="98291"/>
                  </a:lnTo>
                  <a:lnTo>
                    <a:pt x="41793" y="98592"/>
                  </a:lnTo>
                  <a:lnTo>
                    <a:pt x="41793" y="99045"/>
                  </a:lnTo>
                  <a:lnTo>
                    <a:pt x="43034" y="99798"/>
                  </a:lnTo>
                  <a:lnTo>
                    <a:pt x="45103" y="100854"/>
                  </a:lnTo>
                  <a:lnTo>
                    <a:pt x="45103" y="101155"/>
                  </a:lnTo>
                  <a:lnTo>
                    <a:pt x="45103" y="101155"/>
                  </a:lnTo>
                  <a:lnTo>
                    <a:pt x="45103" y="101155"/>
                  </a:lnTo>
                  <a:lnTo>
                    <a:pt x="45931" y="101155"/>
                  </a:lnTo>
                  <a:lnTo>
                    <a:pt x="45931" y="101155"/>
                  </a:lnTo>
                  <a:lnTo>
                    <a:pt x="45931" y="100854"/>
                  </a:lnTo>
                  <a:lnTo>
                    <a:pt x="45931" y="100402"/>
                  </a:lnTo>
                  <a:lnTo>
                    <a:pt x="45931" y="100402"/>
                  </a:lnTo>
                  <a:lnTo>
                    <a:pt x="45931" y="100100"/>
                  </a:lnTo>
                  <a:lnTo>
                    <a:pt x="45931" y="99798"/>
                  </a:lnTo>
                  <a:lnTo>
                    <a:pt x="45931" y="99798"/>
                  </a:lnTo>
                  <a:lnTo>
                    <a:pt x="45931" y="99798"/>
                  </a:lnTo>
                  <a:lnTo>
                    <a:pt x="45931" y="100100"/>
                  </a:lnTo>
                  <a:lnTo>
                    <a:pt x="45931" y="100100"/>
                  </a:lnTo>
                  <a:lnTo>
                    <a:pt x="45931" y="100100"/>
                  </a:lnTo>
                  <a:lnTo>
                    <a:pt x="46758" y="100402"/>
                  </a:lnTo>
                  <a:lnTo>
                    <a:pt x="46758" y="100854"/>
                  </a:lnTo>
                  <a:lnTo>
                    <a:pt x="46758" y="100854"/>
                  </a:lnTo>
                  <a:lnTo>
                    <a:pt x="46758" y="101155"/>
                  </a:lnTo>
                  <a:lnTo>
                    <a:pt x="48000" y="101155"/>
                  </a:lnTo>
                  <a:lnTo>
                    <a:pt x="48827" y="101457"/>
                  </a:lnTo>
                  <a:lnTo>
                    <a:pt x="48827" y="101457"/>
                  </a:lnTo>
                  <a:lnTo>
                    <a:pt x="48827" y="101457"/>
                  </a:lnTo>
                  <a:lnTo>
                    <a:pt x="48000" y="101457"/>
                  </a:lnTo>
                  <a:lnTo>
                    <a:pt x="46758" y="101457"/>
                  </a:lnTo>
                  <a:lnTo>
                    <a:pt x="45931" y="101457"/>
                  </a:lnTo>
                  <a:lnTo>
                    <a:pt x="45931" y="101457"/>
                  </a:lnTo>
                  <a:lnTo>
                    <a:pt x="45931" y="101909"/>
                  </a:lnTo>
                  <a:lnTo>
                    <a:pt x="46758" y="102211"/>
                  </a:lnTo>
                  <a:lnTo>
                    <a:pt x="48000" y="102663"/>
                  </a:lnTo>
                  <a:lnTo>
                    <a:pt x="48827" y="102663"/>
                  </a:lnTo>
                  <a:lnTo>
                    <a:pt x="48827" y="102663"/>
                  </a:lnTo>
                  <a:lnTo>
                    <a:pt x="49655" y="102964"/>
                  </a:lnTo>
                  <a:lnTo>
                    <a:pt x="49655" y="102964"/>
                  </a:lnTo>
                  <a:lnTo>
                    <a:pt x="46758" y="102663"/>
                  </a:lnTo>
                  <a:lnTo>
                    <a:pt x="46758" y="102964"/>
                  </a:lnTo>
                  <a:lnTo>
                    <a:pt x="45931" y="103266"/>
                  </a:lnTo>
                  <a:lnTo>
                    <a:pt x="46758" y="103718"/>
                  </a:lnTo>
                  <a:lnTo>
                    <a:pt x="48000" y="104020"/>
                  </a:lnTo>
                  <a:lnTo>
                    <a:pt x="48827" y="104020"/>
                  </a:lnTo>
                  <a:lnTo>
                    <a:pt x="48827" y="104020"/>
                  </a:lnTo>
                  <a:lnTo>
                    <a:pt x="50896" y="104321"/>
                  </a:lnTo>
                  <a:lnTo>
                    <a:pt x="51724" y="104321"/>
                  </a:lnTo>
                  <a:lnTo>
                    <a:pt x="49655" y="104321"/>
                  </a:lnTo>
                  <a:lnTo>
                    <a:pt x="50896" y="104773"/>
                  </a:lnTo>
                  <a:lnTo>
                    <a:pt x="50896" y="104773"/>
                  </a:lnTo>
                  <a:lnTo>
                    <a:pt x="51724" y="105075"/>
                  </a:lnTo>
                  <a:lnTo>
                    <a:pt x="52551" y="105376"/>
                  </a:lnTo>
                  <a:lnTo>
                    <a:pt x="53793" y="105075"/>
                  </a:lnTo>
                  <a:lnTo>
                    <a:pt x="53793" y="104321"/>
                  </a:lnTo>
                  <a:lnTo>
                    <a:pt x="53793" y="104321"/>
                  </a:lnTo>
                  <a:lnTo>
                    <a:pt x="53793" y="104321"/>
                  </a:lnTo>
                  <a:lnTo>
                    <a:pt x="53793" y="104773"/>
                  </a:lnTo>
                  <a:lnTo>
                    <a:pt x="54620" y="104773"/>
                  </a:lnTo>
                  <a:lnTo>
                    <a:pt x="54620" y="104773"/>
                  </a:lnTo>
                  <a:lnTo>
                    <a:pt x="54620" y="104773"/>
                  </a:lnTo>
                  <a:lnTo>
                    <a:pt x="53793" y="105075"/>
                  </a:lnTo>
                  <a:lnTo>
                    <a:pt x="53793" y="105376"/>
                  </a:lnTo>
                  <a:lnTo>
                    <a:pt x="54620" y="105829"/>
                  </a:lnTo>
                  <a:lnTo>
                    <a:pt x="54620" y="105829"/>
                  </a:lnTo>
                  <a:lnTo>
                    <a:pt x="51724" y="105376"/>
                  </a:lnTo>
                  <a:lnTo>
                    <a:pt x="51724" y="105376"/>
                  </a:lnTo>
                  <a:lnTo>
                    <a:pt x="51724" y="105075"/>
                  </a:lnTo>
                  <a:lnTo>
                    <a:pt x="49655" y="104773"/>
                  </a:lnTo>
                  <a:lnTo>
                    <a:pt x="48827" y="104321"/>
                  </a:lnTo>
                  <a:lnTo>
                    <a:pt x="46758" y="104020"/>
                  </a:lnTo>
                  <a:lnTo>
                    <a:pt x="46758" y="104020"/>
                  </a:lnTo>
                  <a:lnTo>
                    <a:pt x="45931" y="104020"/>
                  </a:lnTo>
                  <a:lnTo>
                    <a:pt x="45931" y="104321"/>
                  </a:lnTo>
                  <a:lnTo>
                    <a:pt x="46758" y="104321"/>
                  </a:lnTo>
                  <a:lnTo>
                    <a:pt x="48000" y="104773"/>
                  </a:lnTo>
                  <a:lnTo>
                    <a:pt x="48000" y="104773"/>
                  </a:lnTo>
                  <a:lnTo>
                    <a:pt x="46758" y="105075"/>
                  </a:lnTo>
                  <a:lnTo>
                    <a:pt x="45103" y="105075"/>
                  </a:lnTo>
                  <a:lnTo>
                    <a:pt x="45931" y="105376"/>
                  </a:lnTo>
                  <a:lnTo>
                    <a:pt x="46758" y="105376"/>
                  </a:lnTo>
                  <a:lnTo>
                    <a:pt x="48827" y="106130"/>
                  </a:lnTo>
                  <a:lnTo>
                    <a:pt x="49655" y="106130"/>
                  </a:lnTo>
                  <a:lnTo>
                    <a:pt x="49655" y="106130"/>
                  </a:lnTo>
                  <a:lnTo>
                    <a:pt x="50896" y="106582"/>
                  </a:lnTo>
                  <a:lnTo>
                    <a:pt x="51724" y="106582"/>
                  </a:lnTo>
                  <a:lnTo>
                    <a:pt x="51724" y="106582"/>
                  </a:lnTo>
                  <a:lnTo>
                    <a:pt x="52551" y="106582"/>
                  </a:lnTo>
                  <a:lnTo>
                    <a:pt x="53793" y="106582"/>
                  </a:lnTo>
                  <a:lnTo>
                    <a:pt x="54620" y="106884"/>
                  </a:lnTo>
                  <a:lnTo>
                    <a:pt x="55448" y="106884"/>
                  </a:lnTo>
                  <a:lnTo>
                    <a:pt x="56689" y="107939"/>
                  </a:lnTo>
                  <a:lnTo>
                    <a:pt x="55448" y="107638"/>
                  </a:lnTo>
                  <a:lnTo>
                    <a:pt x="54620" y="107939"/>
                  </a:lnTo>
                  <a:lnTo>
                    <a:pt x="55448" y="107939"/>
                  </a:lnTo>
                  <a:lnTo>
                    <a:pt x="56689" y="108241"/>
                  </a:lnTo>
                  <a:lnTo>
                    <a:pt x="57517" y="108241"/>
                  </a:lnTo>
                  <a:lnTo>
                    <a:pt x="57517" y="108241"/>
                  </a:lnTo>
                  <a:lnTo>
                    <a:pt x="58758" y="108241"/>
                  </a:lnTo>
                  <a:lnTo>
                    <a:pt x="58758" y="108241"/>
                  </a:lnTo>
                  <a:lnTo>
                    <a:pt x="59586" y="108693"/>
                  </a:lnTo>
                  <a:lnTo>
                    <a:pt x="60413" y="108994"/>
                  </a:lnTo>
                  <a:lnTo>
                    <a:pt x="61655" y="108994"/>
                  </a:lnTo>
                  <a:lnTo>
                    <a:pt x="62482" y="109296"/>
                  </a:lnTo>
                  <a:lnTo>
                    <a:pt x="63310" y="108994"/>
                  </a:lnTo>
                  <a:lnTo>
                    <a:pt x="64551" y="108693"/>
                  </a:lnTo>
                  <a:lnTo>
                    <a:pt x="66206" y="108241"/>
                  </a:lnTo>
                  <a:lnTo>
                    <a:pt x="66206" y="108241"/>
                  </a:lnTo>
                  <a:lnTo>
                    <a:pt x="65379" y="107939"/>
                  </a:lnTo>
                  <a:lnTo>
                    <a:pt x="65379" y="107939"/>
                  </a:lnTo>
                  <a:lnTo>
                    <a:pt x="64551" y="107939"/>
                  </a:lnTo>
                  <a:lnTo>
                    <a:pt x="61655" y="107638"/>
                  </a:lnTo>
                  <a:lnTo>
                    <a:pt x="61655" y="107638"/>
                  </a:lnTo>
                  <a:lnTo>
                    <a:pt x="60413" y="107185"/>
                  </a:lnTo>
                  <a:lnTo>
                    <a:pt x="60413" y="107185"/>
                  </a:lnTo>
                  <a:lnTo>
                    <a:pt x="61655" y="107185"/>
                  </a:lnTo>
                  <a:lnTo>
                    <a:pt x="64551" y="107638"/>
                  </a:lnTo>
                  <a:lnTo>
                    <a:pt x="66206" y="107939"/>
                  </a:lnTo>
                  <a:lnTo>
                    <a:pt x="66206" y="108241"/>
                  </a:lnTo>
                  <a:lnTo>
                    <a:pt x="67448" y="108693"/>
                  </a:lnTo>
                  <a:lnTo>
                    <a:pt x="67448" y="108693"/>
                  </a:lnTo>
                  <a:lnTo>
                    <a:pt x="66206" y="108693"/>
                  </a:lnTo>
                  <a:lnTo>
                    <a:pt x="67448" y="108994"/>
                  </a:lnTo>
                  <a:lnTo>
                    <a:pt x="67448" y="108994"/>
                  </a:lnTo>
                  <a:lnTo>
                    <a:pt x="68275" y="109296"/>
                  </a:lnTo>
                  <a:lnTo>
                    <a:pt x="68275" y="109748"/>
                  </a:lnTo>
                  <a:lnTo>
                    <a:pt x="68275" y="109748"/>
                  </a:lnTo>
                  <a:lnTo>
                    <a:pt x="68275" y="109748"/>
                  </a:lnTo>
                  <a:lnTo>
                    <a:pt x="68275" y="110050"/>
                  </a:lnTo>
                  <a:lnTo>
                    <a:pt x="68275" y="110050"/>
                  </a:lnTo>
                  <a:lnTo>
                    <a:pt x="68275" y="110050"/>
                  </a:lnTo>
                  <a:lnTo>
                    <a:pt x="67448" y="110050"/>
                  </a:lnTo>
                  <a:lnTo>
                    <a:pt x="67448" y="110050"/>
                  </a:lnTo>
                  <a:lnTo>
                    <a:pt x="68275" y="109748"/>
                  </a:lnTo>
                  <a:lnTo>
                    <a:pt x="68275" y="109748"/>
                  </a:lnTo>
                  <a:lnTo>
                    <a:pt x="67448" y="109296"/>
                  </a:lnTo>
                  <a:lnTo>
                    <a:pt x="67448" y="109296"/>
                  </a:lnTo>
                  <a:lnTo>
                    <a:pt x="66206" y="108994"/>
                  </a:lnTo>
                  <a:lnTo>
                    <a:pt x="66206" y="108994"/>
                  </a:lnTo>
                  <a:lnTo>
                    <a:pt x="66206" y="108994"/>
                  </a:lnTo>
                  <a:lnTo>
                    <a:pt x="65379" y="108994"/>
                  </a:lnTo>
                  <a:lnTo>
                    <a:pt x="65379" y="108994"/>
                  </a:lnTo>
                  <a:lnTo>
                    <a:pt x="65379" y="108994"/>
                  </a:lnTo>
                  <a:lnTo>
                    <a:pt x="64551" y="109296"/>
                  </a:lnTo>
                  <a:lnTo>
                    <a:pt x="63310" y="109296"/>
                  </a:lnTo>
                  <a:lnTo>
                    <a:pt x="62482" y="109296"/>
                  </a:lnTo>
                  <a:lnTo>
                    <a:pt x="61655" y="109296"/>
                  </a:lnTo>
                  <a:lnTo>
                    <a:pt x="61655" y="109296"/>
                  </a:lnTo>
                  <a:lnTo>
                    <a:pt x="60413" y="109296"/>
                  </a:lnTo>
                  <a:lnTo>
                    <a:pt x="60413" y="109296"/>
                  </a:lnTo>
                  <a:lnTo>
                    <a:pt x="60413" y="109296"/>
                  </a:lnTo>
                  <a:lnTo>
                    <a:pt x="60413" y="109748"/>
                  </a:lnTo>
                  <a:lnTo>
                    <a:pt x="60413" y="109748"/>
                  </a:lnTo>
                  <a:lnTo>
                    <a:pt x="59586" y="109748"/>
                  </a:lnTo>
                  <a:lnTo>
                    <a:pt x="58758" y="109296"/>
                  </a:lnTo>
                  <a:lnTo>
                    <a:pt x="57517" y="109296"/>
                  </a:lnTo>
                  <a:lnTo>
                    <a:pt x="56689" y="109296"/>
                  </a:lnTo>
                  <a:lnTo>
                    <a:pt x="56689" y="109296"/>
                  </a:lnTo>
                  <a:lnTo>
                    <a:pt x="56689" y="109296"/>
                  </a:lnTo>
                  <a:lnTo>
                    <a:pt x="56689" y="109296"/>
                  </a:lnTo>
                  <a:lnTo>
                    <a:pt x="56689" y="109748"/>
                  </a:lnTo>
                  <a:lnTo>
                    <a:pt x="57517" y="110050"/>
                  </a:lnTo>
                  <a:lnTo>
                    <a:pt x="58758" y="110050"/>
                  </a:lnTo>
                  <a:lnTo>
                    <a:pt x="58758" y="110050"/>
                  </a:lnTo>
                  <a:lnTo>
                    <a:pt x="59586" y="110050"/>
                  </a:lnTo>
                  <a:lnTo>
                    <a:pt x="59586" y="110502"/>
                  </a:lnTo>
                  <a:lnTo>
                    <a:pt x="59586" y="110804"/>
                  </a:lnTo>
                  <a:lnTo>
                    <a:pt x="60413" y="110804"/>
                  </a:lnTo>
                  <a:lnTo>
                    <a:pt x="61655" y="111105"/>
                  </a:lnTo>
                  <a:lnTo>
                    <a:pt x="62482" y="111105"/>
                  </a:lnTo>
                  <a:lnTo>
                    <a:pt x="63310" y="111105"/>
                  </a:lnTo>
                  <a:lnTo>
                    <a:pt x="64551" y="110804"/>
                  </a:lnTo>
                  <a:lnTo>
                    <a:pt x="65379" y="110804"/>
                  </a:lnTo>
                  <a:lnTo>
                    <a:pt x="65379" y="110804"/>
                  </a:lnTo>
                  <a:lnTo>
                    <a:pt x="65379" y="110502"/>
                  </a:lnTo>
                  <a:lnTo>
                    <a:pt x="65379" y="110502"/>
                  </a:lnTo>
                  <a:lnTo>
                    <a:pt x="66206" y="110804"/>
                  </a:lnTo>
                  <a:lnTo>
                    <a:pt x="66206" y="110804"/>
                  </a:lnTo>
                  <a:lnTo>
                    <a:pt x="65379" y="111105"/>
                  </a:lnTo>
                  <a:lnTo>
                    <a:pt x="65379" y="111105"/>
                  </a:lnTo>
                  <a:lnTo>
                    <a:pt x="63310" y="111557"/>
                  </a:lnTo>
                  <a:lnTo>
                    <a:pt x="64551" y="111859"/>
                  </a:lnTo>
                  <a:lnTo>
                    <a:pt x="65379" y="111859"/>
                  </a:lnTo>
                  <a:lnTo>
                    <a:pt x="66206" y="112160"/>
                  </a:lnTo>
                  <a:lnTo>
                    <a:pt x="68275" y="112160"/>
                  </a:lnTo>
                  <a:lnTo>
                    <a:pt x="68275" y="112160"/>
                  </a:lnTo>
                  <a:lnTo>
                    <a:pt x="68275" y="112160"/>
                  </a:lnTo>
                  <a:lnTo>
                    <a:pt x="68275" y="111859"/>
                  </a:lnTo>
                  <a:lnTo>
                    <a:pt x="68275" y="111859"/>
                  </a:lnTo>
                  <a:lnTo>
                    <a:pt x="68275" y="111557"/>
                  </a:lnTo>
                  <a:lnTo>
                    <a:pt x="68275" y="111105"/>
                  </a:lnTo>
                  <a:lnTo>
                    <a:pt x="68275" y="110804"/>
                  </a:lnTo>
                  <a:lnTo>
                    <a:pt x="68275" y="110804"/>
                  </a:lnTo>
                  <a:lnTo>
                    <a:pt x="68275" y="110804"/>
                  </a:lnTo>
                  <a:lnTo>
                    <a:pt x="69103" y="110502"/>
                  </a:lnTo>
                  <a:lnTo>
                    <a:pt x="70344" y="110804"/>
                  </a:lnTo>
                  <a:lnTo>
                    <a:pt x="70344" y="110804"/>
                  </a:lnTo>
                  <a:lnTo>
                    <a:pt x="70344" y="110804"/>
                  </a:lnTo>
                  <a:lnTo>
                    <a:pt x="71172" y="110804"/>
                  </a:lnTo>
                  <a:lnTo>
                    <a:pt x="71172" y="110502"/>
                  </a:lnTo>
                  <a:lnTo>
                    <a:pt x="74068" y="110804"/>
                  </a:lnTo>
                  <a:lnTo>
                    <a:pt x="75310" y="110804"/>
                  </a:lnTo>
                  <a:lnTo>
                    <a:pt x="76965" y="110804"/>
                  </a:lnTo>
                  <a:lnTo>
                    <a:pt x="76137" y="110804"/>
                  </a:lnTo>
                  <a:lnTo>
                    <a:pt x="76137" y="111105"/>
                  </a:lnTo>
                  <a:lnTo>
                    <a:pt x="75310" y="111105"/>
                  </a:lnTo>
                  <a:lnTo>
                    <a:pt x="74068" y="110804"/>
                  </a:lnTo>
                  <a:lnTo>
                    <a:pt x="73241" y="110804"/>
                  </a:lnTo>
                  <a:lnTo>
                    <a:pt x="71172" y="111557"/>
                  </a:lnTo>
                  <a:lnTo>
                    <a:pt x="70344" y="111557"/>
                  </a:lnTo>
                  <a:lnTo>
                    <a:pt x="70344" y="111557"/>
                  </a:lnTo>
                  <a:lnTo>
                    <a:pt x="69103" y="111105"/>
                  </a:lnTo>
                  <a:lnTo>
                    <a:pt x="69103" y="111105"/>
                  </a:lnTo>
                  <a:lnTo>
                    <a:pt x="69103" y="111557"/>
                  </a:lnTo>
                  <a:lnTo>
                    <a:pt x="68275" y="111557"/>
                  </a:lnTo>
                  <a:lnTo>
                    <a:pt x="69103" y="111859"/>
                  </a:lnTo>
                  <a:lnTo>
                    <a:pt x="69103" y="112613"/>
                  </a:lnTo>
                  <a:lnTo>
                    <a:pt x="69103" y="112613"/>
                  </a:lnTo>
                  <a:lnTo>
                    <a:pt x="69103" y="112914"/>
                  </a:lnTo>
                  <a:lnTo>
                    <a:pt x="70344" y="112914"/>
                  </a:lnTo>
                  <a:lnTo>
                    <a:pt x="72413" y="113216"/>
                  </a:lnTo>
                  <a:lnTo>
                    <a:pt x="73241" y="113216"/>
                  </a:lnTo>
                  <a:lnTo>
                    <a:pt x="73241" y="113216"/>
                  </a:lnTo>
                  <a:lnTo>
                    <a:pt x="73241" y="112914"/>
                  </a:lnTo>
                  <a:lnTo>
                    <a:pt x="73241" y="112914"/>
                  </a:lnTo>
                  <a:lnTo>
                    <a:pt x="74068" y="112613"/>
                  </a:lnTo>
                  <a:lnTo>
                    <a:pt x="74068" y="112160"/>
                  </a:lnTo>
                  <a:lnTo>
                    <a:pt x="76137" y="111859"/>
                  </a:lnTo>
                  <a:lnTo>
                    <a:pt x="78206" y="111105"/>
                  </a:lnTo>
                  <a:lnTo>
                    <a:pt x="79034" y="111557"/>
                  </a:lnTo>
                  <a:lnTo>
                    <a:pt x="79862" y="111557"/>
                  </a:lnTo>
                  <a:lnTo>
                    <a:pt x="79862" y="111859"/>
                  </a:lnTo>
                  <a:lnTo>
                    <a:pt x="79862" y="111859"/>
                  </a:lnTo>
                  <a:lnTo>
                    <a:pt x="79862" y="112160"/>
                  </a:lnTo>
                  <a:lnTo>
                    <a:pt x="79034" y="112160"/>
                  </a:lnTo>
                  <a:lnTo>
                    <a:pt x="78206" y="112613"/>
                  </a:lnTo>
                  <a:lnTo>
                    <a:pt x="79034" y="113668"/>
                  </a:lnTo>
                  <a:lnTo>
                    <a:pt x="78206" y="113668"/>
                  </a:lnTo>
                  <a:lnTo>
                    <a:pt x="78206" y="113668"/>
                  </a:lnTo>
                  <a:lnTo>
                    <a:pt x="78206" y="113216"/>
                  </a:lnTo>
                  <a:lnTo>
                    <a:pt x="78206" y="113216"/>
                  </a:lnTo>
                  <a:lnTo>
                    <a:pt x="76965" y="112914"/>
                  </a:lnTo>
                  <a:lnTo>
                    <a:pt x="76137" y="112613"/>
                  </a:lnTo>
                  <a:lnTo>
                    <a:pt x="76137" y="112914"/>
                  </a:lnTo>
                  <a:lnTo>
                    <a:pt x="74068" y="112914"/>
                  </a:lnTo>
                  <a:lnTo>
                    <a:pt x="74068" y="112914"/>
                  </a:lnTo>
                  <a:lnTo>
                    <a:pt x="74068" y="112914"/>
                  </a:lnTo>
                  <a:lnTo>
                    <a:pt x="74068" y="113216"/>
                  </a:lnTo>
                  <a:lnTo>
                    <a:pt x="75310" y="113216"/>
                  </a:lnTo>
                  <a:lnTo>
                    <a:pt x="76965" y="113969"/>
                  </a:lnTo>
                  <a:lnTo>
                    <a:pt x="76965" y="113969"/>
                  </a:lnTo>
                  <a:lnTo>
                    <a:pt x="79034" y="114422"/>
                  </a:lnTo>
                  <a:lnTo>
                    <a:pt x="81103" y="114422"/>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14" name="Shape 514"/>
            <p:cNvSpPr/>
            <p:nvPr/>
          </p:nvSpPr>
          <p:spPr>
            <a:xfrm>
              <a:off x="3903" y="2313"/>
              <a:ext cx="300" cy="300"/>
            </a:xfrm>
            <a:custGeom>
              <a:avLst/>
              <a:gdLst/>
              <a:ahLst/>
              <a:cxnLst/>
              <a:rect l="0" t="0" r="0" b="0"/>
              <a:pathLst>
                <a:path w="120000" h="120000" extrusionOk="0">
                  <a:moveTo>
                    <a:pt x="120000" y="56785"/>
                  </a:moveTo>
                  <a:lnTo>
                    <a:pt x="120000" y="53214"/>
                  </a:lnTo>
                  <a:lnTo>
                    <a:pt x="120000" y="50000"/>
                  </a:lnTo>
                  <a:lnTo>
                    <a:pt x="120000" y="46785"/>
                  </a:lnTo>
                  <a:lnTo>
                    <a:pt x="120000" y="43214"/>
                  </a:lnTo>
                  <a:lnTo>
                    <a:pt x="120000" y="40000"/>
                  </a:lnTo>
                  <a:lnTo>
                    <a:pt x="120000" y="36428"/>
                  </a:lnTo>
                  <a:lnTo>
                    <a:pt x="118756" y="33214"/>
                  </a:lnTo>
                  <a:lnTo>
                    <a:pt x="118756" y="29642"/>
                  </a:lnTo>
                  <a:lnTo>
                    <a:pt x="114404" y="28214"/>
                  </a:lnTo>
                  <a:lnTo>
                    <a:pt x="108186" y="26428"/>
                  </a:lnTo>
                  <a:lnTo>
                    <a:pt x="102590" y="24642"/>
                  </a:lnTo>
                  <a:lnTo>
                    <a:pt x="96373" y="22857"/>
                  </a:lnTo>
                  <a:lnTo>
                    <a:pt x="92020" y="20357"/>
                  </a:lnTo>
                  <a:lnTo>
                    <a:pt x="86424" y="18928"/>
                  </a:lnTo>
                  <a:lnTo>
                    <a:pt x="80207" y="17142"/>
                  </a:lnTo>
                  <a:lnTo>
                    <a:pt x="74611" y="15357"/>
                  </a:lnTo>
                  <a:lnTo>
                    <a:pt x="70259" y="13571"/>
                  </a:lnTo>
                  <a:lnTo>
                    <a:pt x="64041" y="12142"/>
                  </a:lnTo>
                  <a:lnTo>
                    <a:pt x="58445" y="10357"/>
                  </a:lnTo>
                  <a:lnTo>
                    <a:pt x="54093" y="8571"/>
                  </a:lnTo>
                  <a:lnTo>
                    <a:pt x="48497" y="6785"/>
                  </a:lnTo>
                  <a:lnTo>
                    <a:pt x="42279" y="4285"/>
                  </a:lnTo>
                  <a:lnTo>
                    <a:pt x="36683" y="2857"/>
                  </a:lnTo>
                  <a:lnTo>
                    <a:pt x="32331" y="1071"/>
                  </a:lnTo>
                  <a:lnTo>
                    <a:pt x="27979" y="0"/>
                  </a:lnTo>
                  <a:lnTo>
                    <a:pt x="23005" y="1071"/>
                  </a:lnTo>
                  <a:lnTo>
                    <a:pt x="20518" y="1785"/>
                  </a:lnTo>
                  <a:lnTo>
                    <a:pt x="16165" y="3571"/>
                  </a:lnTo>
                  <a:lnTo>
                    <a:pt x="17409" y="7857"/>
                  </a:lnTo>
                  <a:lnTo>
                    <a:pt x="18652" y="11071"/>
                  </a:lnTo>
                  <a:lnTo>
                    <a:pt x="18652" y="13571"/>
                  </a:lnTo>
                  <a:lnTo>
                    <a:pt x="18652" y="14642"/>
                  </a:lnTo>
                  <a:lnTo>
                    <a:pt x="18652" y="14642"/>
                  </a:lnTo>
                  <a:lnTo>
                    <a:pt x="20518" y="15357"/>
                  </a:lnTo>
                  <a:lnTo>
                    <a:pt x="23005" y="18928"/>
                  </a:lnTo>
                  <a:lnTo>
                    <a:pt x="23005" y="19642"/>
                  </a:lnTo>
                  <a:lnTo>
                    <a:pt x="23005" y="20357"/>
                  </a:lnTo>
                  <a:lnTo>
                    <a:pt x="24870" y="20357"/>
                  </a:lnTo>
                  <a:lnTo>
                    <a:pt x="27979" y="22857"/>
                  </a:lnTo>
                  <a:lnTo>
                    <a:pt x="27979" y="22857"/>
                  </a:lnTo>
                  <a:lnTo>
                    <a:pt x="27979" y="23928"/>
                  </a:lnTo>
                  <a:lnTo>
                    <a:pt x="26113" y="26428"/>
                  </a:lnTo>
                  <a:lnTo>
                    <a:pt x="24870" y="26428"/>
                  </a:lnTo>
                  <a:lnTo>
                    <a:pt x="24870" y="29642"/>
                  </a:lnTo>
                  <a:lnTo>
                    <a:pt x="24870" y="32142"/>
                  </a:lnTo>
                  <a:lnTo>
                    <a:pt x="24870" y="34642"/>
                  </a:lnTo>
                  <a:lnTo>
                    <a:pt x="23005" y="38214"/>
                  </a:lnTo>
                  <a:lnTo>
                    <a:pt x="23005" y="41428"/>
                  </a:lnTo>
                  <a:lnTo>
                    <a:pt x="23005" y="45714"/>
                  </a:lnTo>
                  <a:lnTo>
                    <a:pt x="23005" y="49285"/>
                  </a:lnTo>
                  <a:lnTo>
                    <a:pt x="20518" y="51785"/>
                  </a:lnTo>
                  <a:lnTo>
                    <a:pt x="14300" y="55000"/>
                  </a:lnTo>
                  <a:lnTo>
                    <a:pt x="9948" y="57500"/>
                  </a:lnTo>
                  <a:lnTo>
                    <a:pt x="8704" y="60000"/>
                  </a:lnTo>
                  <a:lnTo>
                    <a:pt x="4352" y="63571"/>
                  </a:lnTo>
                  <a:lnTo>
                    <a:pt x="1243" y="66071"/>
                  </a:lnTo>
                  <a:lnTo>
                    <a:pt x="0" y="67857"/>
                  </a:lnTo>
                  <a:lnTo>
                    <a:pt x="0" y="68571"/>
                  </a:lnTo>
                  <a:lnTo>
                    <a:pt x="0" y="70357"/>
                  </a:lnTo>
                  <a:lnTo>
                    <a:pt x="1243" y="73571"/>
                  </a:lnTo>
                  <a:lnTo>
                    <a:pt x="2487" y="75357"/>
                  </a:lnTo>
                  <a:lnTo>
                    <a:pt x="5595" y="77142"/>
                  </a:lnTo>
                  <a:lnTo>
                    <a:pt x="7461" y="77857"/>
                  </a:lnTo>
                  <a:lnTo>
                    <a:pt x="8704" y="77857"/>
                  </a:lnTo>
                  <a:lnTo>
                    <a:pt x="11813" y="78571"/>
                  </a:lnTo>
                  <a:lnTo>
                    <a:pt x="11813" y="78571"/>
                  </a:lnTo>
                  <a:lnTo>
                    <a:pt x="11813" y="80357"/>
                  </a:lnTo>
                  <a:lnTo>
                    <a:pt x="13056" y="80357"/>
                  </a:lnTo>
                  <a:lnTo>
                    <a:pt x="14300" y="81071"/>
                  </a:lnTo>
                  <a:lnTo>
                    <a:pt x="16165" y="82142"/>
                  </a:lnTo>
                  <a:lnTo>
                    <a:pt x="16165" y="83928"/>
                  </a:lnTo>
                  <a:lnTo>
                    <a:pt x="17409" y="85357"/>
                  </a:lnTo>
                  <a:lnTo>
                    <a:pt x="17409" y="85357"/>
                  </a:lnTo>
                  <a:lnTo>
                    <a:pt x="18652" y="87142"/>
                  </a:lnTo>
                  <a:lnTo>
                    <a:pt x="18652" y="87142"/>
                  </a:lnTo>
                  <a:lnTo>
                    <a:pt x="18652" y="87857"/>
                  </a:lnTo>
                  <a:lnTo>
                    <a:pt x="18652" y="88928"/>
                  </a:lnTo>
                  <a:lnTo>
                    <a:pt x="18652" y="89642"/>
                  </a:lnTo>
                  <a:lnTo>
                    <a:pt x="18652" y="91428"/>
                  </a:lnTo>
                  <a:lnTo>
                    <a:pt x="17409" y="91428"/>
                  </a:lnTo>
                  <a:lnTo>
                    <a:pt x="17409" y="93214"/>
                  </a:lnTo>
                  <a:lnTo>
                    <a:pt x="18652" y="94642"/>
                  </a:lnTo>
                  <a:lnTo>
                    <a:pt x="18652" y="96428"/>
                  </a:lnTo>
                  <a:lnTo>
                    <a:pt x="20518" y="97142"/>
                  </a:lnTo>
                  <a:lnTo>
                    <a:pt x="20518" y="98928"/>
                  </a:lnTo>
                  <a:lnTo>
                    <a:pt x="21761" y="100000"/>
                  </a:lnTo>
                  <a:lnTo>
                    <a:pt x="23005" y="100714"/>
                  </a:lnTo>
                  <a:lnTo>
                    <a:pt x="24870" y="101428"/>
                  </a:lnTo>
                  <a:lnTo>
                    <a:pt x="23005" y="101428"/>
                  </a:lnTo>
                  <a:lnTo>
                    <a:pt x="21761" y="101428"/>
                  </a:lnTo>
                  <a:lnTo>
                    <a:pt x="20518" y="101428"/>
                  </a:lnTo>
                  <a:lnTo>
                    <a:pt x="18652" y="101428"/>
                  </a:lnTo>
                  <a:lnTo>
                    <a:pt x="18652" y="101428"/>
                  </a:lnTo>
                  <a:lnTo>
                    <a:pt x="16165" y="101428"/>
                  </a:lnTo>
                  <a:lnTo>
                    <a:pt x="13056" y="101428"/>
                  </a:lnTo>
                  <a:lnTo>
                    <a:pt x="9948" y="101428"/>
                  </a:lnTo>
                  <a:lnTo>
                    <a:pt x="8704" y="101428"/>
                  </a:lnTo>
                  <a:lnTo>
                    <a:pt x="7461" y="102500"/>
                  </a:lnTo>
                  <a:lnTo>
                    <a:pt x="7461" y="103214"/>
                  </a:lnTo>
                  <a:lnTo>
                    <a:pt x="5595" y="103928"/>
                  </a:lnTo>
                  <a:lnTo>
                    <a:pt x="5595" y="103928"/>
                  </a:lnTo>
                  <a:lnTo>
                    <a:pt x="7461" y="105000"/>
                  </a:lnTo>
                  <a:lnTo>
                    <a:pt x="8704" y="105714"/>
                  </a:lnTo>
                  <a:lnTo>
                    <a:pt x="8704" y="106428"/>
                  </a:lnTo>
                  <a:lnTo>
                    <a:pt x="9948" y="107500"/>
                  </a:lnTo>
                  <a:lnTo>
                    <a:pt x="13056" y="108214"/>
                  </a:lnTo>
                  <a:lnTo>
                    <a:pt x="14300" y="110000"/>
                  </a:lnTo>
                  <a:lnTo>
                    <a:pt x="14300" y="110000"/>
                  </a:lnTo>
                  <a:lnTo>
                    <a:pt x="16165" y="110000"/>
                  </a:lnTo>
                  <a:lnTo>
                    <a:pt x="16165" y="110000"/>
                  </a:lnTo>
                  <a:lnTo>
                    <a:pt x="17409" y="110714"/>
                  </a:lnTo>
                  <a:lnTo>
                    <a:pt x="18652" y="112500"/>
                  </a:lnTo>
                  <a:lnTo>
                    <a:pt x="20518" y="114285"/>
                  </a:lnTo>
                  <a:lnTo>
                    <a:pt x="21761" y="115714"/>
                  </a:lnTo>
                  <a:lnTo>
                    <a:pt x="23005" y="117500"/>
                  </a:lnTo>
                  <a:lnTo>
                    <a:pt x="23005" y="117500"/>
                  </a:lnTo>
                  <a:lnTo>
                    <a:pt x="24870" y="117500"/>
                  </a:lnTo>
                  <a:lnTo>
                    <a:pt x="24870" y="118571"/>
                  </a:lnTo>
                  <a:lnTo>
                    <a:pt x="24870" y="119285"/>
                  </a:lnTo>
                  <a:lnTo>
                    <a:pt x="23005" y="119285"/>
                  </a:lnTo>
                  <a:lnTo>
                    <a:pt x="23005" y="120000"/>
                  </a:lnTo>
                  <a:lnTo>
                    <a:pt x="24870" y="120000"/>
                  </a:lnTo>
                  <a:lnTo>
                    <a:pt x="26113" y="120000"/>
                  </a:lnTo>
                  <a:lnTo>
                    <a:pt x="27979" y="120000"/>
                  </a:lnTo>
                  <a:lnTo>
                    <a:pt x="29222" y="120000"/>
                  </a:lnTo>
                  <a:lnTo>
                    <a:pt x="29222" y="119285"/>
                  </a:lnTo>
                  <a:lnTo>
                    <a:pt x="32331" y="119285"/>
                  </a:lnTo>
                  <a:lnTo>
                    <a:pt x="33575" y="118571"/>
                  </a:lnTo>
                  <a:lnTo>
                    <a:pt x="33575" y="118571"/>
                  </a:lnTo>
                  <a:lnTo>
                    <a:pt x="34818" y="117500"/>
                  </a:lnTo>
                  <a:lnTo>
                    <a:pt x="34818" y="117500"/>
                  </a:lnTo>
                  <a:lnTo>
                    <a:pt x="34818" y="117500"/>
                  </a:lnTo>
                  <a:lnTo>
                    <a:pt x="34818" y="117500"/>
                  </a:lnTo>
                  <a:lnTo>
                    <a:pt x="36683" y="118571"/>
                  </a:lnTo>
                  <a:lnTo>
                    <a:pt x="36683" y="119285"/>
                  </a:lnTo>
                  <a:lnTo>
                    <a:pt x="37927" y="120000"/>
                  </a:lnTo>
                  <a:lnTo>
                    <a:pt x="37927" y="120000"/>
                  </a:lnTo>
                  <a:lnTo>
                    <a:pt x="39170" y="119285"/>
                  </a:lnTo>
                  <a:lnTo>
                    <a:pt x="41036" y="118571"/>
                  </a:lnTo>
                  <a:lnTo>
                    <a:pt x="42279" y="118571"/>
                  </a:lnTo>
                  <a:lnTo>
                    <a:pt x="43523" y="117500"/>
                  </a:lnTo>
                  <a:lnTo>
                    <a:pt x="45388" y="117500"/>
                  </a:lnTo>
                  <a:lnTo>
                    <a:pt x="45388" y="117500"/>
                  </a:lnTo>
                  <a:lnTo>
                    <a:pt x="46632" y="116785"/>
                  </a:lnTo>
                  <a:lnTo>
                    <a:pt x="48497" y="116785"/>
                  </a:lnTo>
                  <a:lnTo>
                    <a:pt x="49740" y="116785"/>
                  </a:lnTo>
                  <a:lnTo>
                    <a:pt x="50984" y="116785"/>
                  </a:lnTo>
                  <a:lnTo>
                    <a:pt x="55336" y="115714"/>
                  </a:lnTo>
                  <a:lnTo>
                    <a:pt x="57202" y="115714"/>
                  </a:lnTo>
                  <a:lnTo>
                    <a:pt x="58445" y="115714"/>
                  </a:lnTo>
                  <a:lnTo>
                    <a:pt x="58445" y="115714"/>
                  </a:lnTo>
                  <a:lnTo>
                    <a:pt x="59689" y="115000"/>
                  </a:lnTo>
                  <a:lnTo>
                    <a:pt x="59689" y="115000"/>
                  </a:lnTo>
                  <a:lnTo>
                    <a:pt x="61554" y="114285"/>
                  </a:lnTo>
                  <a:lnTo>
                    <a:pt x="62797" y="113214"/>
                  </a:lnTo>
                  <a:lnTo>
                    <a:pt x="64041" y="112500"/>
                  </a:lnTo>
                  <a:lnTo>
                    <a:pt x="64041" y="111785"/>
                  </a:lnTo>
                  <a:lnTo>
                    <a:pt x="64041" y="111785"/>
                  </a:lnTo>
                  <a:lnTo>
                    <a:pt x="64041" y="111785"/>
                  </a:lnTo>
                  <a:lnTo>
                    <a:pt x="64041" y="111785"/>
                  </a:lnTo>
                  <a:lnTo>
                    <a:pt x="64041" y="110714"/>
                  </a:lnTo>
                  <a:lnTo>
                    <a:pt x="62797" y="110000"/>
                  </a:lnTo>
                  <a:lnTo>
                    <a:pt x="62797" y="110000"/>
                  </a:lnTo>
                  <a:lnTo>
                    <a:pt x="62797" y="110000"/>
                  </a:lnTo>
                  <a:lnTo>
                    <a:pt x="62797" y="110000"/>
                  </a:lnTo>
                  <a:lnTo>
                    <a:pt x="62797" y="109285"/>
                  </a:lnTo>
                  <a:lnTo>
                    <a:pt x="64041" y="109285"/>
                  </a:lnTo>
                  <a:lnTo>
                    <a:pt x="65906" y="109285"/>
                  </a:lnTo>
                  <a:lnTo>
                    <a:pt x="69015" y="109285"/>
                  </a:lnTo>
                  <a:lnTo>
                    <a:pt x="70259" y="108214"/>
                  </a:lnTo>
                  <a:lnTo>
                    <a:pt x="71502" y="108214"/>
                  </a:lnTo>
                  <a:lnTo>
                    <a:pt x="73367" y="108214"/>
                  </a:lnTo>
                  <a:lnTo>
                    <a:pt x="74611" y="108214"/>
                  </a:lnTo>
                  <a:lnTo>
                    <a:pt x="75854" y="107500"/>
                  </a:lnTo>
                  <a:lnTo>
                    <a:pt x="78963" y="108214"/>
                  </a:lnTo>
                  <a:lnTo>
                    <a:pt x="82072" y="106428"/>
                  </a:lnTo>
                  <a:lnTo>
                    <a:pt x="82072" y="106428"/>
                  </a:lnTo>
                  <a:lnTo>
                    <a:pt x="83316" y="106428"/>
                  </a:lnTo>
                  <a:lnTo>
                    <a:pt x="83316" y="106428"/>
                  </a:lnTo>
                  <a:lnTo>
                    <a:pt x="84559" y="105714"/>
                  </a:lnTo>
                  <a:lnTo>
                    <a:pt x="84559" y="105000"/>
                  </a:lnTo>
                  <a:lnTo>
                    <a:pt x="86424" y="103928"/>
                  </a:lnTo>
                  <a:lnTo>
                    <a:pt x="86424" y="103214"/>
                  </a:lnTo>
                  <a:lnTo>
                    <a:pt x="89533" y="101428"/>
                  </a:lnTo>
                  <a:lnTo>
                    <a:pt x="90777" y="101428"/>
                  </a:lnTo>
                  <a:lnTo>
                    <a:pt x="90777" y="101428"/>
                  </a:lnTo>
                  <a:lnTo>
                    <a:pt x="92020" y="100000"/>
                  </a:lnTo>
                  <a:lnTo>
                    <a:pt x="92020" y="100000"/>
                  </a:lnTo>
                  <a:lnTo>
                    <a:pt x="93886" y="100000"/>
                  </a:lnTo>
                  <a:lnTo>
                    <a:pt x="93886" y="100000"/>
                  </a:lnTo>
                  <a:lnTo>
                    <a:pt x="95129" y="98928"/>
                  </a:lnTo>
                  <a:lnTo>
                    <a:pt x="95129" y="98214"/>
                  </a:lnTo>
                  <a:lnTo>
                    <a:pt x="95129" y="98214"/>
                  </a:lnTo>
                  <a:lnTo>
                    <a:pt x="95129" y="97142"/>
                  </a:lnTo>
                  <a:lnTo>
                    <a:pt x="95129" y="97142"/>
                  </a:lnTo>
                  <a:lnTo>
                    <a:pt x="95129" y="96428"/>
                  </a:lnTo>
                  <a:lnTo>
                    <a:pt x="95129" y="96428"/>
                  </a:lnTo>
                  <a:lnTo>
                    <a:pt x="98238" y="95714"/>
                  </a:lnTo>
                  <a:lnTo>
                    <a:pt x="98238" y="95714"/>
                  </a:lnTo>
                  <a:lnTo>
                    <a:pt x="98238" y="94642"/>
                  </a:lnTo>
                  <a:lnTo>
                    <a:pt x="99481" y="94642"/>
                  </a:lnTo>
                  <a:lnTo>
                    <a:pt x="99481" y="94642"/>
                  </a:lnTo>
                  <a:lnTo>
                    <a:pt x="100725" y="94642"/>
                  </a:lnTo>
                  <a:lnTo>
                    <a:pt x="100725" y="94642"/>
                  </a:lnTo>
                  <a:lnTo>
                    <a:pt x="102590" y="93928"/>
                  </a:lnTo>
                  <a:lnTo>
                    <a:pt x="103834" y="93928"/>
                  </a:lnTo>
                  <a:lnTo>
                    <a:pt x="105077" y="93928"/>
                  </a:lnTo>
                  <a:lnTo>
                    <a:pt x="106943" y="93928"/>
                  </a:lnTo>
                  <a:lnTo>
                    <a:pt x="106943" y="93928"/>
                  </a:lnTo>
                  <a:lnTo>
                    <a:pt x="108186" y="94642"/>
                  </a:lnTo>
                  <a:lnTo>
                    <a:pt x="108186" y="93928"/>
                  </a:lnTo>
                  <a:lnTo>
                    <a:pt x="108186" y="92142"/>
                  </a:lnTo>
                  <a:lnTo>
                    <a:pt x="108186" y="91428"/>
                  </a:lnTo>
                  <a:lnTo>
                    <a:pt x="108186" y="91428"/>
                  </a:lnTo>
                  <a:lnTo>
                    <a:pt x="108186" y="90357"/>
                  </a:lnTo>
                  <a:lnTo>
                    <a:pt x="106943" y="90357"/>
                  </a:lnTo>
                  <a:lnTo>
                    <a:pt x="106943" y="90357"/>
                  </a:lnTo>
                  <a:lnTo>
                    <a:pt x="105077" y="90357"/>
                  </a:lnTo>
                  <a:lnTo>
                    <a:pt x="105077" y="89642"/>
                  </a:lnTo>
                  <a:lnTo>
                    <a:pt x="105077" y="89642"/>
                  </a:lnTo>
                  <a:lnTo>
                    <a:pt x="103834" y="88928"/>
                  </a:lnTo>
                  <a:lnTo>
                    <a:pt x="103834" y="86428"/>
                  </a:lnTo>
                  <a:lnTo>
                    <a:pt x="103834" y="86428"/>
                  </a:lnTo>
                  <a:lnTo>
                    <a:pt x="103834" y="85357"/>
                  </a:lnTo>
                  <a:lnTo>
                    <a:pt x="103834" y="85357"/>
                  </a:lnTo>
                  <a:lnTo>
                    <a:pt x="103834" y="85357"/>
                  </a:lnTo>
                  <a:lnTo>
                    <a:pt x="102590" y="83928"/>
                  </a:lnTo>
                  <a:lnTo>
                    <a:pt x="102590" y="82857"/>
                  </a:lnTo>
                  <a:lnTo>
                    <a:pt x="102590" y="82142"/>
                  </a:lnTo>
                  <a:lnTo>
                    <a:pt x="102590" y="81071"/>
                  </a:lnTo>
                  <a:lnTo>
                    <a:pt x="100725" y="81071"/>
                  </a:lnTo>
                  <a:lnTo>
                    <a:pt x="99481" y="81071"/>
                  </a:lnTo>
                  <a:lnTo>
                    <a:pt x="98238" y="81071"/>
                  </a:lnTo>
                  <a:lnTo>
                    <a:pt x="96373" y="81071"/>
                  </a:lnTo>
                  <a:lnTo>
                    <a:pt x="96373" y="81071"/>
                  </a:lnTo>
                  <a:lnTo>
                    <a:pt x="96373" y="80357"/>
                  </a:lnTo>
                  <a:lnTo>
                    <a:pt x="95129" y="80357"/>
                  </a:lnTo>
                  <a:lnTo>
                    <a:pt x="96373" y="79642"/>
                  </a:lnTo>
                  <a:lnTo>
                    <a:pt x="96373" y="78571"/>
                  </a:lnTo>
                  <a:lnTo>
                    <a:pt x="98238" y="77857"/>
                  </a:lnTo>
                  <a:lnTo>
                    <a:pt x="99481" y="77142"/>
                  </a:lnTo>
                  <a:lnTo>
                    <a:pt x="99481" y="77142"/>
                  </a:lnTo>
                  <a:lnTo>
                    <a:pt x="100725" y="76071"/>
                  </a:lnTo>
                  <a:lnTo>
                    <a:pt x="100725" y="75357"/>
                  </a:lnTo>
                  <a:lnTo>
                    <a:pt x="100725" y="75357"/>
                  </a:lnTo>
                  <a:lnTo>
                    <a:pt x="99481" y="74642"/>
                  </a:lnTo>
                  <a:lnTo>
                    <a:pt x="99481" y="73571"/>
                  </a:lnTo>
                  <a:lnTo>
                    <a:pt x="99481" y="72857"/>
                  </a:lnTo>
                  <a:lnTo>
                    <a:pt x="99481" y="72857"/>
                  </a:lnTo>
                  <a:lnTo>
                    <a:pt x="99481" y="71785"/>
                  </a:lnTo>
                  <a:lnTo>
                    <a:pt x="99481" y="71785"/>
                  </a:lnTo>
                  <a:lnTo>
                    <a:pt x="100725" y="71071"/>
                  </a:lnTo>
                  <a:lnTo>
                    <a:pt x="100725" y="71071"/>
                  </a:lnTo>
                  <a:lnTo>
                    <a:pt x="100725" y="71071"/>
                  </a:lnTo>
                  <a:lnTo>
                    <a:pt x="102590" y="71071"/>
                  </a:lnTo>
                  <a:lnTo>
                    <a:pt x="103834" y="70357"/>
                  </a:lnTo>
                  <a:lnTo>
                    <a:pt x="103834" y="70357"/>
                  </a:lnTo>
                  <a:lnTo>
                    <a:pt x="103834" y="69285"/>
                  </a:lnTo>
                  <a:lnTo>
                    <a:pt x="103834" y="69285"/>
                  </a:lnTo>
                  <a:lnTo>
                    <a:pt x="102590" y="68571"/>
                  </a:lnTo>
                  <a:lnTo>
                    <a:pt x="102590" y="68571"/>
                  </a:lnTo>
                  <a:lnTo>
                    <a:pt x="102590" y="67857"/>
                  </a:lnTo>
                  <a:lnTo>
                    <a:pt x="102590" y="67857"/>
                  </a:lnTo>
                  <a:lnTo>
                    <a:pt x="102590" y="66785"/>
                  </a:lnTo>
                  <a:lnTo>
                    <a:pt x="102590" y="66785"/>
                  </a:lnTo>
                  <a:lnTo>
                    <a:pt x="102590" y="66071"/>
                  </a:lnTo>
                  <a:lnTo>
                    <a:pt x="103834" y="66071"/>
                  </a:lnTo>
                  <a:lnTo>
                    <a:pt x="105077" y="66071"/>
                  </a:lnTo>
                  <a:lnTo>
                    <a:pt x="105077" y="66071"/>
                  </a:lnTo>
                  <a:lnTo>
                    <a:pt x="105077" y="65357"/>
                  </a:lnTo>
                  <a:lnTo>
                    <a:pt x="105077" y="64285"/>
                  </a:lnTo>
                  <a:lnTo>
                    <a:pt x="105077" y="64285"/>
                  </a:lnTo>
                  <a:lnTo>
                    <a:pt x="106943" y="63571"/>
                  </a:lnTo>
                  <a:lnTo>
                    <a:pt x="106943" y="63571"/>
                  </a:lnTo>
                  <a:lnTo>
                    <a:pt x="106943" y="62500"/>
                  </a:lnTo>
                  <a:lnTo>
                    <a:pt x="108186" y="62500"/>
                  </a:lnTo>
                  <a:lnTo>
                    <a:pt x="108186" y="61785"/>
                  </a:lnTo>
                  <a:lnTo>
                    <a:pt x="108186" y="61071"/>
                  </a:lnTo>
                  <a:lnTo>
                    <a:pt x="108186" y="59285"/>
                  </a:lnTo>
                  <a:lnTo>
                    <a:pt x="108186" y="59285"/>
                  </a:lnTo>
                  <a:lnTo>
                    <a:pt x="110051" y="58571"/>
                  </a:lnTo>
                  <a:lnTo>
                    <a:pt x="111295" y="58571"/>
                  </a:lnTo>
                  <a:lnTo>
                    <a:pt x="114404" y="58571"/>
                  </a:lnTo>
                  <a:lnTo>
                    <a:pt x="115647" y="57500"/>
                  </a:lnTo>
                  <a:lnTo>
                    <a:pt x="116891" y="57500"/>
                  </a:lnTo>
                  <a:lnTo>
                    <a:pt x="120000" y="58571"/>
                  </a:lnTo>
                  <a:lnTo>
                    <a:pt x="120000" y="58571"/>
                  </a:lnTo>
                  <a:lnTo>
                    <a:pt x="120000" y="58571"/>
                  </a:lnTo>
                  <a:lnTo>
                    <a:pt x="120000" y="57500"/>
                  </a:lnTo>
                  <a:lnTo>
                    <a:pt x="120000" y="56785"/>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15" name="Shape 515"/>
            <p:cNvSpPr/>
            <p:nvPr/>
          </p:nvSpPr>
          <p:spPr>
            <a:xfrm>
              <a:off x="3922" y="2576"/>
              <a:ext cx="300" cy="300"/>
            </a:xfrm>
            <a:custGeom>
              <a:avLst/>
              <a:gdLst/>
              <a:ahLst/>
              <a:cxnLst/>
              <a:rect l="0" t="0" r="0" b="0"/>
              <a:pathLst>
                <a:path w="120000" h="120000" extrusionOk="0">
                  <a:moveTo>
                    <a:pt x="119000" y="80217"/>
                  </a:moveTo>
                  <a:lnTo>
                    <a:pt x="119000" y="78913"/>
                  </a:lnTo>
                  <a:lnTo>
                    <a:pt x="119000" y="75652"/>
                  </a:lnTo>
                  <a:lnTo>
                    <a:pt x="119000" y="73695"/>
                  </a:lnTo>
                  <a:lnTo>
                    <a:pt x="117500" y="73695"/>
                  </a:lnTo>
                  <a:lnTo>
                    <a:pt x="117500" y="72391"/>
                  </a:lnTo>
                  <a:lnTo>
                    <a:pt x="117500" y="72391"/>
                  </a:lnTo>
                  <a:lnTo>
                    <a:pt x="116500" y="71086"/>
                  </a:lnTo>
                  <a:lnTo>
                    <a:pt x="115500" y="71086"/>
                  </a:lnTo>
                  <a:lnTo>
                    <a:pt x="114000" y="69130"/>
                  </a:lnTo>
                  <a:lnTo>
                    <a:pt x="114000" y="67826"/>
                  </a:lnTo>
                  <a:lnTo>
                    <a:pt x="111500" y="67826"/>
                  </a:lnTo>
                  <a:lnTo>
                    <a:pt x="111500" y="67826"/>
                  </a:lnTo>
                  <a:lnTo>
                    <a:pt x="110500" y="66521"/>
                  </a:lnTo>
                  <a:lnTo>
                    <a:pt x="110500" y="64565"/>
                  </a:lnTo>
                  <a:lnTo>
                    <a:pt x="110500" y="63260"/>
                  </a:lnTo>
                  <a:lnTo>
                    <a:pt x="109500" y="63260"/>
                  </a:lnTo>
                  <a:lnTo>
                    <a:pt x="109500" y="61956"/>
                  </a:lnTo>
                  <a:lnTo>
                    <a:pt x="110500" y="60000"/>
                  </a:lnTo>
                  <a:lnTo>
                    <a:pt x="109500" y="58695"/>
                  </a:lnTo>
                  <a:lnTo>
                    <a:pt x="108000" y="56739"/>
                  </a:lnTo>
                  <a:lnTo>
                    <a:pt x="107000" y="56739"/>
                  </a:lnTo>
                  <a:lnTo>
                    <a:pt x="107000" y="55434"/>
                  </a:lnTo>
                  <a:lnTo>
                    <a:pt x="106000" y="54130"/>
                  </a:lnTo>
                  <a:lnTo>
                    <a:pt x="102500" y="50869"/>
                  </a:lnTo>
                  <a:lnTo>
                    <a:pt x="101000" y="50869"/>
                  </a:lnTo>
                  <a:lnTo>
                    <a:pt x="100000" y="49565"/>
                  </a:lnTo>
                  <a:lnTo>
                    <a:pt x="99000" y="47608"/>
                  </a:lnTo>
                  <a:lnTo>
                    <a:pt x="99000" y="47608"/>
                  </a:lnTo>
                  <a:lnTo>
                    <a:pt x="100000" y="46304"/>
                  </a:lnTo>
                  <a:lnTo>
                    <a:pt x="100000" y="45000"/>
                  </a:lnTo>
                  <a:lnTo>
                    <a:pt x="99000" y="43043"/>
                  </a:lnTo>
                  <a:lnTo>
                    <a:pt x="97500" y="41739"/>
                  </a:lnTo>
                  <a:lnTo>
                    <a:pt x="96500" y="38478"/>
                  </a:lnTo>
                  <a:lnTo>
                    <a:pt x="95500" y="38478"/>
                  </a:lnTo>
                  <a:lnTo>
                    <a:pt x="93000" y="37173"/>
                  </a:lnTo>
                  <a:lnTo>
                    <a:pt x="91500" y="37173"/>
                  </a:lnTo>
                  <a:lnTo>
                    <a:pt x="90500" y="37173"/>
                  </a:lnTo>
                  <a:lnTo>
                    <a:pt x="90500" y="35217"/>
                  </a:lnTo>
                  <a:lnTo>
                    <a:pt x="89500" y="33913"/>
                  </a:lnTo>
                  <a:lnTo>
                    <a:pt x="90500" y="32608"/>
                  </a:lnTo>
                  <a:lnTo>
                    <a:pt x="89500" y="32608"/>
                  </a:lnTo>
                  <a:lnTo>
                    <a:pt x="89500" y="32608"/>
                  </a:lnTo>
                  <a:lnTo>
                    <a:pt x="88000" y="30652"/>
                  </a:lnTo>
                  <a:lnTo>
                    <a:pt x="87000" y="30652"/>
                  </a:lnTo>
                  <a:lnTo>
                    <a:pt x="84500" y="30652"/>
                  </a:lnTo>
                  <a:lnTo>
                    <a:pt x="84500" y="30652"/>
                  </a:lnTo>
                  <a:lnTo>
                    <a:pt x="83500" y="29347"/>
                  </a:lnTo>
                  <a:lnTo>
                    <a:pt x="83500" y="28043"/>
                  </a:lnTo>
                  <a:lnTo>
                    <a:pt x="83500" y="28043"/>
                  </a:lnTo>
                  <a:lnTo>
                    <a:pt x="83500" y="28043"/>
                  </a:lnTo>
                  <a:lnTo>
                    <a:pt x="83500" y="26086"/>
                  </a:lnTo>
                  <a:lnTo>
                    <a:pt x="83500" y="26086"/>
                  </a:lnTo>
                  <a:lnTo>
                    <a:pt x="84500" y="22826"/>
                  </a:lnTo>
                  <a:lnTo>
                    <a:pt x="84500" y="22826"/>
                  </a:lnTo>
                  <a:lnTo>
                    <a:pt x="84500" y="18260"/>
                  </a:lnTo>
                  <a:lnTo>
                    <a:pt x="84500" y="16956"/>
                  </a:lnTo>
                  <a:lnTo>
                    <a:pt x="84500" y="15652"/>
                  </a:lnTo>
                  <a:lnTo>
                    <a:pt x="83500" y="12391"/>
                  </a:lnTo>
                  <a:lnTo>
                    <a:pt x="83500" y="11086"/>
                  </a:lnTo>
                  <a:lnTo>
                    <a:pt x="81000" y="7826"/>
                  </a:lnTo>
                  <a:lnTo>
                    <a:pt x="81000" y="7826"/>
                  </a:lnTo>
                  <a:lnTo>
                    <a:pt x="79000" y="3260"/>
                  </a:lnTo>
                  <a:lnTo>
                    <a:pt x="77500" y="3260"/>
                  </a:lnTo>
                  <a:lnTo>
                    <a:pt x="77500" y="1304"/>
                  </a:lnTo>
                  <a:lnTo>
                    <a:pt x="76500" y="0"/>
                  </a:lnTo>
                  <a:lnTo>
                    <a:pt x="76500" y="0"/>
                  </a:lnTo>
                  <a:lnTo>
                    <a:pt x="75000" y="0"/>
                  </a:lnTo>
                  <a:lnTo>
                    <a:pt x="74000" y="0"/>
                  </a:lnTo>
                  <a:lnTo>
                    <a:pt x="73000" y="0"/>
                  </a:lnTo>
                  <a:lnTo>
                    <a:pt x="71500" y="1304"/>
                  </a:lnTo>
                  <a:lnTo>
                    <a:pt x="71500" y="1304"/>
                  </a:lnTo>
                  <a:lnTo>
                    <a:pt x="70500" y="1304"/>
                  </a:lnTo>
                  <a:lnTo>
                    <a:pt x="70500" y="1304"/>
                  </a:lnTo>
                  <a:lnTo>
                    <a:pt x="69500" y="1304"/>
                  </a:lnTo>
                  <a:lnTo>
                    <a:pt x="69500" y="3260"/>
                  </a:lnTo>
                  <a:lnTo>
                    <a:pt x="69500" y="3260"/>
                  </a:lnTo>
                  <a:lnTo>
                    <a:pt x="67000" y="4565"/>
                  </a:lnTo>
                  <a:lnTo>
                    <a:pt x="67000" y="4565"/>
                  </a:lnTo>
                  <a:lnTo>
                    <a:pt x="67000" y="5869"/>
                  </a:lnTo>
                  <a:lnTo>
                    <a:pt x="67000" y="5869"/>
                  </a:lnTo>
                  <a:lnTo>
                    <a:pt x="67000" y="7826"/>
                  </a:lnTo>
                  <a:lnTo>
                    <a:pt x="67000" y="7826"/>
                  </a:lnTo>
                  <a:lnTo>
                    <a:pt x="67000" y="9130"/>
                  </a:lnTo>
                  <a:lnTo>
                    <a:pt x="66000" y="11086"/>
                  </a:lnTo>
                  <a:lnTo>
                    <a:pt x="66000" y="11086"/>
                  </a:lnTo>
                  <a:lnTo>
                    <a:pt x="64500" y="11086"/>
                  </a:lnTo>
                  <a:lnTo>
                    <a:pt x="64500" y="11086"/>
                  </a:lnTo>
                  <a:lnTo>
                    <a:pt x="63500" y="13695"/>
                  </a:lnTo>
                  <a:lnTo>
                    <a:pt x="63500" y="13695"/>
                  </a:lnTo>
                  <a:lnTo>
                    <a:pt x="62500" y="13695"/>
                  </a:lnTo>
                  <a:lnTo>
                    <a:pt x="60000" y="16956"/>
                  </a:lnTo>
                  <a:lnTo>
                    <a:pt x="60000" y="18260"/>
                  </a:lnTo>
                  <a:lnTo>
                    <a:pt x="58500" y="20217"/>
                  </a:lnTo>
                  <a:lnTo>
                    <a:pt x="58500" y="21521"/>
                  </a:lnTo>
                  <a:lnTo>
                    <a:pt x="57500" y="22826"/>
                  </a:lnTo>
                  <a:lnTo>
                    <a:pt x="57500" y="22826"/>
                  </a:lnTo>
                  <a:lnTo>
                    <a:pt x="56500" y="22826"/>
                  </a:lnTo>
                  <a:lnTo>
                    <a:pt x="56500" y="22826"/>
                  </a:lnTo>
                  <a:lnTo>
                    <a:pt x="54000" y="26086"/>
                  </a:lnTo>
                  <a:lnTo>
                    <a:pt x="51500" y="24782"/>
                  </a:lnTo>
                  <a:lnTo>
                    <a:pt x="50500" y="26086"/>
                  </a:lnTo>
                  <a:lnTo>
                    <a:pt x="49500" y="26086"/>
                  </a:lnTo>
                  <a:lnTo>
                    <a:pt x="48000" y="26086"/>
                  </a:lnTo>
                  <a:lnTo>
                    <a:pt x="47000" y="26086"/>
                  </a:lnTo>
                  <a:lnTo>
                    <a:pt x="46000" y="28043"/>
                  </a:lnTo>
                  <a:lnTo>
                    <a:pt x="43500" y="28043"/>
                  </a:lnTo>
                  <a:lnTo>
                    <a:pt x="42000" y="28043"/>
                  </a:lnTo>
                  <a:lnTo>
                    <a:pt x="41000" y="28043"/>
                  </a:lnTo>
                  <a:lnTo>
                    <a:pt x="41000" y="29347"/>
                  </a:lnTo>
                  <a:lnTo>
                    <a:pt x="41000" y="29347"/>
                  </a:lnTo>
                  <a:lnTo>
                    <a:pt x="41000" y="29347"/>
                  </a:lnTo>
                  <a:lnTo>
                    <a:pt x="41000" y="29347"/>
                  </a:lnTo>
                  <a:lnTo>
                    <a:pt x="42000" y="30652"/>
                  </a:lnTo>
                  <a:lnTo>
                    <a:pt x="42000" y="32608"/>
                  </a:lnTo>
                  <a:lnTo>
                    <a:pt x="42000" y="32608"/>
                  </a:lnTo>
                  <a:lnTo>
                    <a:pt x="42000" y="32608"/>
                  </a:lnTo>
                  <a:lnTo>
                    <a:pt x="42000" y="32608"/>
                  </a:lnTo>
                  <a:lnTo>
                    <a:pt x="42000" y="33913"/>
                  </a:lnTo>
                  <a:lnTo>
                    <a:pt x="41000" y="35217"/>
                  </a:lnTo>
                  <a:lnTo>
                    <a:pt x="40000" y="37173"/>
                  </a:lnTo>
                  <a:lnTo>
                    <a:pt x="38500" y="38478"/>
                  </a:lnTo>
                  <a:lnTo>
                    <a:pt x="38500" y="38478"/>
                  </a:lnTo>
                  <a:lnTo>
                    <a:pt x="37500" y="39782"/>
                  </a:lnTo>
                  <a:lnTo>
                    <a:pt x="37500" y="39782"/>
                  </a:lnTo>
                  <a:lnTo>
                    <a:pt x="36500" y="39782"/>
                  </a:lnTo>
                  <a:lnTo>
                    <a:pt x="35000" y="39782"/>
                  </a:lnTo>
                  <a:lnTo>
                    <a:pt x="31500" y="41739"/>
                  </a:lnTo>
                  <a:lnTo>
                    <a:pt x="30500" y="41739"/>
                  </a:lnTo>
                  <a:lnTo>
                    <a:pt x="29500" y="41739"/>
                  </a:lnTo>
                  <a:lnTo>
                    <a:pt x="28000" y="41739"/>
                  </a:lnTo>
                  <a:lnTo>
                    <a:pt x="27000" y="43043"/>
                  </a:lnTo>
                  <a:lnTo>
                    <a:pt x="27000" y="43043"/>
                  </a:lnTo>
                  <a:lnTo>
                    <a:pt x="25500" y="43043"/>
                  </a:lnTo>
                  <a:lnTo>
                    <a:pt x="24500" y="45000"/>
                  </a:lnTo>
                  <a:lnTo>
                    <a:pt x="23500" y="45000"/>
                  </a:lnTo>
                  <a:lnTo>
                    <a:pt x="22000" y="46304"/>
                  </a:lnTo>
                  <a:lnTo>
                    <a:pt x="21000" y="47608"/>
                  </a:lnTo>
                  <a:lnTo>
                    <a:pt x="21000" y="47608"/>
                  </a:lnTo>
                  <a:lnTo>
                    <a:pt x="20000" y="46304"/>
                  </a:lnTo>
                  <a:lnTo>
                    <a:pt x="20000" y="45000"/>
                  </a:lnTo>
                  <a:lnTo>
                    <a:pt x="18500" y="43043"/>
                  </a:lnTo>
                  <a:lnTo>
                    <a:pt x="18500" y="43043"/>
                  </a:lnTo>
                  <a:lnTo>
                    <a:pt x="18500" y="43043"/>
                  </a:lnTo>
                  <a:lnTo>
                    <a:pt x="18500" y="43043"/>
                  </a:lnTo>
                  <a:lnTo>
                    <a:pt x="17500" y="45000"/>
                  </a:lnTo>
                  <a:lnTo>
                    <a:pt x="17500" y="45000"/>
                  </a:lnTo>
                  <a:lnTo>
                    <a:pt x="16500" y="46304"/>
                  </a:lnTo>
                  <a:lnTo>
                    <a:pt x="14000" y="46304"/>
                  </a:lnTo>
                  <a:lnTo>
                    <a:pt x="14000" y="47608"/>
                  </a:lnTo>
                  <a:lnTo>
                    <a:pt x="13000" y="47608"/>
                  </a:lnTo>
                  <a:lnTo>
                    <a:pt x="11500" y="47608"/>
                  </a:lnTo>
                  <a:lnTo>
                    <a:pt x="10500" y="47608"/>
                  </a:lnTo>
                  <a:lnTo>
                    <a:pt x="9000" y="47608"/>
                  </a:lnTo>
                  <a:lnTo>
                    <a:pt x="8000" y="49565"/>
                  </a:lnTo>
                  <a:lnTo>
                    <a:pt x="7000" y="50869"/>
                  </a:lnTo>
                  <a:lnTo>
                    <a:pt x="7000" y="52173"/>
                  </a:lnTo>
                  <a:lnTo>
                    <a:pt x="7000" y="52173"/>
                  </a:lnTo>
                  <a:lnTo>
                    <a:pt x="5500" y="54130"/>
                  </a:lnTo>
                  <a:lnTo>
                    <a:pt x="5500" y="55434"/>
                  </a:lnTo>
                  <a:lnTo>
                    <a:pt x="4500" y="56739"/>
                  </a:lnTo>
                  <a:lnTo>
                    <a:pt x="4500" y="58695"/>
                  </a:lnTo>
                  <a:lnTo>
                    <a:pt x="3500" y="60000"/>
                  </a:lnTo>
                  <a:lnTo>
                    <a:pt x="2000" y="63260"/>
                  </a:lnTo>
                  <a:lnTo>
                    <a:pt x="2000" y="64565"/>
                  </a:lnTo>
                  <a:lnTo>
                    <a:pt x="2000" y="64565"/>
                  </a:lnTo>
                  <a:lnTo>
                    <a:pt x="2000" y="64565"/>
                  </a:lnTo>
                  <a:lnTo>
                    <a:pt x="1000" y="66521"/>
                  </a:lnTo>
                  <a:lnTo>
                    <a:pt x="0" y="66521"/>
                  </a:lnTo>
                  <a:lnTo>
                    <a:pt x="0" y="66521"/>
                  </a:lnTo>
                  <a:lnTo>
                    <a:pt x="0" y="67826"/>
                  </a:lnTo>
                  <a:lnTo>
                    <a:pt x="0" y="67826"/>
                  </a:lnTo>
                  <a:lnTo>
                    <a:pt x="0" y="69130"/>
                  </a:lnTo>
                  <a:lnTo>
                    <a:pt x="0" y="69130"/>
                  </a:lnTo>
                  <a:lnTo>
                    <a:pt x="1000" y="69130"/>
                  </a:lnTo>
                  <a:lnTo>
                    <a:pt x="1000" y="69130"/>
                  </a:lnTo>
                  <a:lnTo>
                    <a:pt x="1000" y="69130"/>
                  </a:lnTo>
                  <a:lnTo>
                    <a:pt x="1000" y="71086"/>
                  </a:lnTo>
                  <a:lnTo>
                    <a:pt x="1000" y="75652"/>
                  </a:lnTo>
                  <a:lnTo>
                    <a:pt x="1000" y="75652"/>
                  </a:lnTo>
                  <a:lnTo>
                    <a:pt x="1000" y="76956"/>
                  </a:lnTo>
                  <a:lnTo>
                    <a:pt x="1000" y="76956"/>
                  </a:lnTo>
                  <a:lnTo>
                    <a:pt x="1000" y="78913"/>
                  </a:lnTo>
                  <a:lnTo>
                    <a:pt x="1000" y="78913"/>
                  </a:lnTo>
                  <a:lnTo>
                    <a:pt x="1000" y="78913"/>
                  </a:lnTo>
                  <a:lnTo>
                    <a:pt x="1000" y="80217"/>
                  </a:lnTo>
                  <a:lnTo>
                    <a:pt x="2000" y="81521"/>
                  </a:lnTo>
                  <a:lnTo>
                    <a:pt x="2000" y="86086"/>
                  </a:lnTo>
                  <a:lnTo>
                    <a:pt x="2000" y="88043"/>
                  </a:lnTo>
                  <a:lnTo>
                    <a:pt x="2000" y="88043"/>
                  </a:lnTo>
                  <a:lnTo>
                    <a:pt x="3500" y="89347"/>
                  </a:lnTo>
                  <a:lnTo>
                    <a:pt x="4500" y="90652"/>
                  </a:lnTo>
                  <a:lnTo>
                    <a:pt x="5500" y="92608"/>
                  </a:lnTo>
                  <a:lnTo>
                    <a:pt x="5500" y="93913"/>
                  </a:lnTo>
                  <a:lnTo>
                    <a:pt x="5500" y="95869"/>
                  </a:lnTo>
                  <a:lnTo>
                    <a:pt x="5500" y="95869"/>
                  </a:lnTo>
                  <a:lnTo>
                    <a:pt x="5500" y="95869"/>
                  </a:lnTo>
                  <a:lnTo>
                    <a:pt x="5500" y="95869"/>
                  </a:lnTo>
                  <a:lnTo>
                    <a:pt x="5500" y="95869"/>
                  </a:lnTo>
                  <a:lnTo>
                    <a:pt x="5500" y="97173"/>
                  </a:lnTo>
                  <a:lnTo>
                    <a:pt x="5500" y="98478"/>
                  </a:lnTo>
                  <a:lnTo>
                    <a:pt x="7000" y="100434"/>
                  </a:lnTo>
                  <a:lnTo>
                    <a:pt x="8000" y="101739"/>
                  </a:lnTo>
                  <a:lnTo>
                    <a:pt x="9000" y="103043"/>
                  </a:lnTo>
                  <a:lnTo>
                    <a:pt x="10500" y="105000"/>
                  </a:lnTo>
                  <a:lnTo>
                    <a:pt x="11500" y="106304"/>
                  </a:lnTo>
                  <a:lnTo>
                    <a:pt x="11500" y="107608"/>
                  </a:lnTo>
                  <a:lnTo>
                    <a:pt x="13000" y="107608"/>
                  </a:lnTo>
                  <a:lnTo>
                    <a:pt x="13000" y="107608"/>
                  </a:lnTo>
                  <a:lnTo>
                    <a:pt x="14000" y="109565"/>
                  </a:lnTo>
                  <a:lnTo>
                    <a:pt x="14000" y="109565"/>
                  </a:lnTo>
                  <a:lnTo>
                    <a:pt x="14000" y="109565"/>
                  </a:lnTo>
                  <a:lnTo>
                    <a:pt x="15000" y="110869"/>
                  </a:lnTo>
                  <a:lnTo>
                    <a:pt x="15000" y="112826"/>
                  </a:lnTo>
                  <a:lnTo>
                    <a:pt x="15000" y="112826"/>
                  </a:lnTo>
                  <a:lnTo>
                    <a:pt x="15000" y="114130"/>
                  </a:lnTo>
                  <a:lnTo>
                    <a:pt x="15000" y="114130"/>
                  </a:lnTo>
                  <a:lnTo>
                    <a:pt x="15000" y="115434"/>
                  </a:lnTo>
                  <a:lnTo>
                    <a:pt x="15000" y="115434"/>
                  </a:lnTo>
                  <a:lnTo>
                    <a:pt x="15000" y="117391"/>
                  </a:lnTo>
                  <a:lnTo>
                    <a:pt x="15000" y="118695"/>
                  </a:lnTo>
                  <a:lnTo>
                    <a:pt x="16500" y="120000"/>
                  </a:lnTo>
                  <a:lnTo>
                    <a:pt x="16500" y="118695"/>
                  </a:lnTo>
                  <a:lnTo>
                    <a:pt x="17500" y="115434"/>
                  </a:lnTo>
                  <a:lnTo>
                    <a:pt x="17500" y="114130"/>
                  </a:lnTo>
                  <a:lnTo>
                    <a:pt x="18500" y="112826"/>
                  </a:lnTo>
                  <a:lnTo>
                    <a:pt x="18500" y="110869"/>
                  </a:lnTo>
                  <a:lnTo>
                    <a:pt x="18500" y="109565"/>
                  </a:lnTo>
                  <a:lnTo>
                    <a:pt x="18500" y="107608"/>
                  </a:lnTo>
                  <a:lnTo>
                    <a:pt x="18500" y="107608"/>
                  </a:lnTo>
                  <a:lnTo>
                    <a:pt x="18500" y="106304"/>
                  </a:lnTo>
                  <a:lnTo>
                    <a:pt x="18500" y="105000"/>
                  </a:lnTo>
                  <a:lnTo>
                    <a:pt x="20000" y="103043"/>
                  </a:lnTo>
                  <a:lnTo>
                    <a:pt x="20000" y="103043"/>
                  </a:lnTo>
                  <a:lnTo>
                    <a:pt x="20000" y="101739"/>
                  </a:lnTo>
                  <a:lnTo>
                    <a:pt x="21000" y="101739"/>
                  </a:lnTo>
                  <a:lnTo>
                    <a:pt x="23500" y="101739"/>
                  </a:lnTo>
                  <a:lnTo>
                    <a:pt x="25500" y="101739"/>
                  </a:lnTo>
                  <a:lnTo>
                    <a:pt x="25500" y="101739"/>
                  </a:lnTo>
                  <a:lnTo>
                    <a:pt x="27000" y="100434"/>
                  </a:lnTo>
                  <a:lnTo>
                    <a:pt x="28000" y="100434"/>
                  </a:lnTo>
                  <a:lnTo>
                    <a:pt x="28000" y="100434"/>
                  </a:lnTo>
                  <a:lnTo>
                    <a:pt x="30500" y="101739"/>
                  </a:lnTo>
                  <a:lnTo>
                    <a:pt x="31500" y="101739"/>
                  </a:lnTo>
                  <a:lnTo>
                    <a:pt x="31500" y="101739"/>
                  </a:lnTo>
                  <a:lnTo>
                    <a:pt x="31500" y="101739"/>
                  </a:lnTo>
                  <a:lnTo>
                    <a:pt x="33000" y="101739"/>
                  </a:lnTo>
                  <a:lnTo>
                    <a:pt x="33000" y="101739"/>
                  </a:lnTo>
                  <a:lnTo>
                    <a:pt x="34000" y="101739"/>
                  </a:lnTo>
                  <a:lnTo>
                    <a:pt x="34000" y="103043"/>
                  </a:lnTo>
                  <a:lnTo>
                    <a:pt x="34000" y="103043"/>
                  </a:lnTo>
                  <a:lnTo>
                    <a:pt x="35000" y="101739"/>
                  </a:lnTo>
                  <a:lnTo>
                    <a:pt x="35000" y="101739"/>
                  </a:lnTo>
                  <a:lnTo>
                    <a:pt x="37500" y="101739"/>
                  </a:lnTo>
                  <a:lnTo>
                    <a:pt x="37500" y="101739"/>
                  </a:lnTo>
                  <a:lnTo>
                    <a:pt x="37500" y="103043"/>
                  </a:lnTo>
                  <a:lnTo>
                    <a:pt x="38500" y="103043"/>
                  </a:lnTo>
                  <a:lnTo>
                    <a:pt x="38500" y="100434"/>
                  </a:lnTo>
                  <a:lnTo>
                    <a:pt x="38500" y="97173"/>
                  </a:lnTo>
                  <a:lnTo>
                    <a:pt x="38500" y="93913"/>
                  </a:lnTo>
                  <a:lnTo>
                    <a:pt x="37500" y="92608"/>
                  </a:lnTo>
                  <a:lnTo>
                    <a:pt x="38500" y="90652"/>
                  </a:lnTo>
                  <a:lnTo>
                    <a:pt x="38500" y="90652"/>
                  </a:lnTo>
                  <a:lnTo>
                    <a:pt x="40000" y="89347"/>
                  </a:lnTo>
                  <a:lnTo>
                    <a:pt x="42000" y="83478"/>
                  </a:lnTo>
                  <a:lnTo>
                    <a:pt x="44500" y="81521"/>
                  </a:lnTo>
                  <a:lnTo>
                    <a:pt x="47000" y="80217"/>
                  </a:lnTo>
                  <a:lnTo>
                    <a:pt x="48000" y="80217"/>
                  </a:lnTo>
                  <a:lnTo>
                    <a:pt x="49500" y="81521"/>
                  </a:lnTo>
                  <a:lnTo>
                    <a:pt x="50500" y="81521"/>
                  </a:lnTo>
                  <a:lnTo>
                    <a:pt x="51500" y="83478"/>
                  </a:lnTo>
                  <a:lnTo>
                    <a:pt x="53000" y="84782"/>
                  </a:lnTo>
                  <a:lnTo>
                    <a:pt x="55000" y="86086"/>
                  </a:lnTo>
                  <a:lnTo>
                    <a:pt x="55000" y="88043"/>
                  </a:lnTo>
                  <a:lnTo>
                    <a:pt x="56500" y="89347"/>
                  </a:lnTo>
                  <a:lnTo>
                    <a:pt x="57500" y="89347"/>
                  </a:lnTo>
                  <a:lnTo>
                    <a:pt x="58500" y="89347"/>
                  </a:lnTo>
                  <a:lnTo>
                    <a:pt x="60000" y="90652"/>
                  </a:lnTo>
                  <a:lnTo>
                    <a:pt x="62500" y="90652"/>
                  </a:lnTo>
                  <a:lnTo>
                    <a:pt x="62500" y="92608"/>
                  </a:lnTo>
                  <a:lnTo>
                    <a:pt x="63500" y="90652"/>
                  </a:lnTo>
                  <a:lnTo>
                    <a:pt x="63500" y="92608"/>
                  </a:lnTo>
                  <a:lnTo>
                    <a:pt x="66000" y="92608"/>
                  </a:lnTo>
                  <a:lnTo>
                    <a:pt x="67000" y="92608"/>
                  </a:lnTo>
                  <a:lnTo>
                    <a:pt x="69500" y="92608"/>
                  </a:lnTo>
                  <a:lnTo>
                    <a:pt x="74000" y="93913"/>
                  </a:lnTo>
                  <a:lnTo>
                    <a:pt x="74000" y="93913"/>
                  </a:lnTo>
                  <a:lnTo>
                    <a:pt x="74000" y="93913"/>
                  </a:lnTo>
                  <a:lnTo>
                    <a:pt x="74000" y="92608"/>
                  </a:lnTo>
                  <a:lnTo>
                    <a:pt x="75000" y="89347"/>
                  </a:lnTo>
                  <a:lnTo>
                    <a:pt x="76500" y="88043"/>
                  </a:lnTo>
                  <a:lnTo>
                    <a:pt x="76500" y="88043"/>
                  </a:lnTo>
                  <a:lnTo>
                    <a:pt x="77500" y="86086"/>
                  </a:lnTo>
                  <a:lnTo>
                    <a:pt x="79000" y="86086"/>
                  </a:lnTo>
                  <a:lnTo>
                    <a:pt x="80000" y="86086"/>
                  </a:lnTo>
                  <a:lnTo>
                    <a:pt x="81000" y="86086"/>
                  </a:lnTo>
                  <a:lnTo>
                    <a:pt x="82500" y="86086"/>
                  </a:lnTo>
                  <a:lnTo>
                    <a:pt x="83500" y="86086"/>
                  </a:lnTo>
                  <a:lnTo>
                    <a:pt x="83500" y="86086"/>
                  </a:lnTo>
                  <a:lnTo>
                    <a:pt x="86000" y="84782"/>
                  </a:lnTo>
                  <a:lnTo>
                    <a:pt x="87000" y="84782"/>
                  </a:lnTo>
                  <a:lnTo>
                    <a:pt x="88000" y="84782"/>
                  </a:lnTo>
                  <a:lnTo>
                    <a:pt x="90500" y="83478"/>
                  </a:lnTo>
                  <a:lnTo>
                    <a:pt x="91500" y="81521"/>
                  </a:lnTo>
                  <a:lnTo>
                    <a:pt x="93000" y="81521"/>
                  </a:lnTo>
                  <a:lnTo>
                    <a:pt x="95500" y="83478"/>
                  </a:lnTo>
                  <a:lnTo>
                    <a:pt x="97500" y="83478"/>
                  </a:lnTo>
                  <a:lnTo>
                    <a:pt x="99000" y="83478"/>
                  </a:lnTo>
                  <a:lnTo>
                    <a:pt x="100000" y="81521"/>
                  </a:lnTo>
                  <a:lnTo>
                    <a:pt x="100000" y="81521"/>
                  </a:lnTo>
                  <a:lnTo>
                    <a:pt x="101000" y="78913"/>
                  </a:lnTo>
                  <a:lnTo>
                    <a:pt x="102500" y="78913"/>
                  </a:lnTo>
                  <a:lnTo>
                    <a:pt x="104500" y="78913"/>
                  </a:lnTo>
                  <a:lnTo>
                    <a:pt x="104500" y="78913"/>
                  </a:lnTo>
                  <a:lnTo>
                    <a:pt x="108000" y="80217"/>
                  </a:lnTo>
                  <a:lnTo>
                    <a:pt x="113000" y="81521"/>
                  </a:lnTo>
                  <a:lnTo>
                    <a:pt x="114000" y="81521"/>
                  </a:lnTo>
                  <a:lnTo>
                    <a:pt x="114000" y="81521"/>
                  </a:lnTo>
                  <a:lnTo>
                    <a:pt x="115500" y="81521"/>
                  </a:lnTo>
                  <a:lnTo>
                    <a:pt x="116500" y="80217"/>
                  </a:lnTo>
                  <a:lnTo>
                    <a:pt x="116500" y="80217"/>
                  </a:lnTo>
                  <a:lnTo>
                    <a:pt x="117500" y="80217"/>
                  </a:lnTo>
                  <a:lnTo>
                    <a:pt x="120000" y="80217"/>
                  </a:lnTo>
                  <a:lnTo>
                    <a:pt x="119000" y="80217"/>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16" name="Shape 516"/>
            <p:cNvSpPr/>
            <p:nvPr/>
          </p:nvSpPr>
          <p:spPr>
            <a:xfrm>
              <a:off x="1595" y="1167"/>
              <a:ext cx="1500" cy="900"/>
            </a:xfrm>
            <a:custGeom>
              <a:avLst/>
              <a:gdLst/>
              <a:ahLst/>
              <a:cxnLst/>
              <a:rect l="0" t="0" r="0" b="0"/>
              <a:pathLst>
                <a:path w="120000" h="120000" extrusionOk="0">
                  <a:moveTo>
                    <a:pt x="60123" y="14285"/>
                  </a:moveTo>
                  <a:lnTo>
                    <a:pt x="59958" y="14285"/>
                  </a:lnTo>
                  <a:lnTo>
                    <a:pt x="60123" y="14603"/>
                  </a:lnTo>
                  <a:lnTo>
                    <a:pt x="60863" y="14603"/>
                  </a:lnTo>
                  <a:lnTo>
                    <a:pt x="61274" y="14603"/>
                  </a:lnTo>
                  <a:lnTo>
                    <a:pt x="61274" y="14285"/>
                  </a:lnTo>
                  <a:lnTo>
                    <a:pt x="61521" y="14285"/>
                  </a:lnTo>
                  <a:lnTo>
                    <a:pt x="61521" y="14285"/>
                  </a:lnTo>
                  <a:lnTo>
                    <a:pt x="61274" y="14285"/>
                  </a:lnTo>
                  <a:lnTo>
                    <a:pt x="61110" y="14285"/>
                  </a:lnTo>
                  <a:lnTo>
                    <a:pt x="60699" y="14285"/>
                  </a:lnTo>
                  <a:lnTo>
                    <a:pt x="60287" y="14285"/>
                  </a:lnTo>
                  <a:lnTo>
                    <a:pt x="60123" y="14285"/>
                  </a:lnTo>
                  <a:close/>
                  <a:moveTo>
                    <a:pt x="51569" y="39365"/>
                  </a:moveTo>
                  <a:lnTo>
                    <a:pt x="51569" y="39047"/>
                  </a:lnTo>
                  <a:lnTo>
                    <a:pt x="51569" y="39365"/>
                  </a:lnTo>
                  <a:lnTo>
                    <a:pt x="51405" y="39365"/>
                  </a:lnTo>
                  <a:lnTo>
                    <a:pt x="51405" y="39365"/>
                  </a:lnTo>
                  <a:lnTo>
                    <a:pt x="51240" y="39682"/>
                  </a:lnTo>
                  <a:lnTo>
                    <a:pt x="51240" y="39682"/>
                  </a:lnTo>
                  <a:lnTo>
                    <a:pt x="51240" y="40158"/>
                  </a:lnTo>
                  <a:lnTo>
                    <a:pt x="51240" y="40158"/>
                  </a:lnTo>
                  <a:lnTo>
                    <a:pt x="51240" y="40158"/>
                  </a:lnTo>
                  <a:lnTo>
                    <a:pt x="51405" y="39682"/>
                  </a:lnTo>
                  <a:lnTo>
                    <a:pt x="51569" y="39682"/>
                  </a:lnTo>
                  <a:lnTo>
                    <a:pt x="51569" y="39682"/>
                  </a:lnTo>
                  <a:lnTo>
                    <a:pt x="51569" y="39682"/>
                  </a:lnTo>
                  <a:lnTo>
                    <a:pt x="51569" y="39365"/>
                  </a:lnTo>
                  <a:lnTo>
                    <a:pt x="51569" y="39365"/>
                  </a:lnTo>
                  <a:lnTo>
                    <a:pt x="51569" y="39365"/>
                  </a:lnTo>
                  <a:close/>
                  <a:moveTo>
                    <a:pt x="50664" y="16031"/>
                  </a:moveTo>
                  <a:lnTo>
                    <a:pt x="50664" y="16031"/>
                  </a:lnTo>
                  <a:lnTo>
                    <a:pt x="50664" y="16507"/>
                  </a:lnTo>
                  <a:lnTo>
                    <a:pt x="50664" y="16507"/>
                  </a:lnTo>
                  <a:lnTo>
                    <a:pt x="50664" y="16507"/>
                  </a:lnTo>
                  <a:lnTo>
                    <a:pt x="50664" y="16507"/>
                  </a:lnTo>
                  <a:lnTo>
                    <a:pt x="50829" y="16507"/>
                  </a:lnTo>
                  <a:lnTo>
                    <a:pt x="51240" y="16507"/>
                  </a:lnTo>
                  <a:lnTo>
                    <a:pt x="51405" y="16031"/>
                  </a:lnTo>
                  <a:lnTo>
                    <a:pt x="51569" y="16507"/>
                  </a:lnTo>
                  <a:lnTo>
                    <a:pt x="51816" y="16507"/>
                  </a:lnTo>
                  <a:lnTo>
                    <a:pt x="51816" y="16507"/>
                  </a:lnTo>
                  <a:lnTo>
                    <a:pt x="51980" y="16507"/>
                  </a:lnTo>
                  <a:lnTo>
                    <a:pt x="52145" y="16507"/>
                  </a:lnTo>
                  <a:lnTo>
                    <a:pt x="52556" y="16031"/>
                  </a:lnTo>
                  <a:lnTo>
                    <a:pt x="52721" y="15714"/>
                  </a:lnTo>
                  <a:lnTo>
                    <a:pt x="52721" y="15714"/>
                  </a:lnTo>
                  <a:lnTo>
                    <a:pt x="52721" y="16031"/>
                  </a:lnTo>
                  <a:lnTo>
                    <a:pt x="52721" y="16031"/>
                  </a:lnTo>
                  <a:lnTo>
                    <a:pt x="52556" y="16031"/>
                  </a:lnTo>
                  <a:lnTo>
                    <a:pt x="52721" y="16507"/>
                  </a:lnTo>
                  <a:lnTo>
                    <a:pt x="52556" y="16507"/>
                  </a:lnTo>
                  <a:lnTo>
                    <a:pt x="52556" y="16825"/>
                  </a:lnTo>
                  <a:lnTo>
                    <a:pt x="52392" y="16825"/>
                  </a:lnTo>
                  <a:lnTo>
                    <a:pt x="52556" y="16825"/>
                  </a:lnTo>
                  <a:lnTo>
                    <a:pt x="52721" y="16825"/>
                  </a:lnTo>
                  <a:lnTo>
                    <a:pt x="52967" y="16825"/>
                  </a:lnTo>
                  <a:lnTo>
                    <a:pt x="53379" y="16507"/>
                  </a:lnTo>
                  <a:lnTo>
                    <a:pt x="53543" y="16507"/>
                  </a:lnTo>
                  <a:lnTo>
                    <a:pt x="53543" y="16507"/>
                  </a:lnTo>
                  <a:lnTo>
                    <a:pt x="53708" y="16507"/>
                  </a:lnTo>
                  <a:lnTo>
                    <a:pt x="53708" y="16507"/>
                  </a:lnTo>
                  <a:lnTo>
                    <a:pt x="53708" y="16031"/>
                  </a:lnTo>
                  <a:lnTo>
                    <a:pt x="53708" y="16031"/>
                  </a:lnTo>
                  <a:lnTo>
                    <a:pt x="53708" y="16031"/>
                  </a:lnTo>
                  <a:lnTo>
                    <a:pt x="53708" y="16031"/>
                  </a:lnTo>
                  <a:lnTo>
                    <a:pt x="53954" y="16031"/>
                  </a:lnTo>
                  <a:lnTo>
                    <a:pt x="53954" y="15714"/>
                  </a:lnTo>
                  <a:lnTo>
                    <a:pt x="54119" y="15714"/>
                  </a:lnTo>
                  <a:lnTo>
                    <a:pt x="54119" y="15714"/>
                  </a:lnTo>
                  <a:lnTo>
                    <a:pt x="54283" y="15396"/>
                  </a:lnTo>
                  <a:lnTo>
                    <a:pt x="54283" y="15396"/>
                  </a:lnTo>
                  <a:lnTo>
                    <a:pt x="54283" y="15396"/>
                  </a:lnTo>
                  <a:lnTo>
                    <a:pt x="54283" y="15714"/>
                  </a:lnTo>
                  <a:lnTo>
                    <a:pt x="54283" y="15714"/>
                  </a:lnTo>
                  <a:lnTo>
                    <a:pt x="54283" y="16031"/>
                  </a:lnTo>
                  <a:lnTo>
                    <a:pt x="54283" y="16031"/>
                  </a:lnTo>
                  <a:lnTo>
                    <a:pt x="54283" y="16031"/>
                  </a:lnTo>
                  <a:lnTo>
                    <a:pt x="54530" y="16031"/>
                  </a:lnTo>
                  <a:lnTo>
                    <a:pt x="54694" y="16031"/>
                  </a:lnTo>
                  <a:lnTo>
                    <a:pt x="54859" y="15714"/>
                  </a:lnTo>
                  <a:lnTo>
                    <a:pt x="54859" y="15714"/>
                  </a:lnTo>
                  <a:lnTo>
                    <a:pt x="55270" y="15396"/>
                  </a:lnTo>
                  <a:lnTo>
                    <a:pt x="55270" y="15396"/>
                  </a:lnTo>
                  <a:lnTo>
                    <a:pt x="55435" y="15396"/>
                  </a:lnTo>
                  <a:lnTo>
                    <a:pt x="55435" y="15396"/>
                  </a:lnTo>
                  <a:lnTo>
                    <a:pt x="55435" y="14920"/>
                  </a:lnTo>
                  <a:lnTo>
                    <a:pt x="55435" y="14920"/>
                  </a:lnTo>
                  <a:lnTo>
                    <a:pt x="55681" y="14920"/>
                  </a:lnTo>
                  <a:lnTo>
                    <a:pt x="55681" y="14920"/>
                  </a:lnTo>
                  <a:lnTo>
                    <a:pt x="55846" y="14920"/>
                  </a:lnTo>
                  <a:lnTo>
                    <a:pt x="56093" y="14920"/>
                  </a:lnTo>
                  <a:lnTo>
                    <a:pt x="56257" y="14603"/>
                  </a:lnTo>
                  <a:lnTo>
                    <a:pt x="56257" y="14603"/>
                  </a:lnTo>
                  <a:lnTo>
                    <a:pt x="56422" y="14603"/>
                  </a:lnTo>
                  <a:lnTo>
                    <a:pt x="56668" y="14603"/>
                  </a:lnTo>
                  <a:lnTo>
                    <a:pt x="56833" y="14285"/>
                  </a:lnTo>
                  <a:lnTo>
                    <a:pt x="56997" y="14285"/>
                  </a:lnTo>
                  <a:lnTo>
                    <a:pt x="56997" y="14285"/>
                  </a:lnTo>
                  <a:lnTo>
                    <a:pt x="56997" y="14285"/>
                  </a:lnTo>
                  <a:lnTo>
                    <a:pt x="56997" y="14603"/>
                  </a:lnTo>
                  <a:lnTo>
                    <a:pt x="56668" y="14603"/>
                  </a:lnTo>
                  <a:lnTo>
                    <a:pt x="56422" y="14920"/>
                  </a:lnTo>
                  <a:lnTo>
                    <a:pt x="56257" y="14920"/>
                  </a:lnTo>
                  <a:lnTo>
                    <a:pt x="56093" y="15396"/>
                  </a:lnTo>
                  <a:lnTo>
                    <a:pt x="56093" y="15396"/>
                  </a:lnTo>
                  <a:lnTo>
                    <a:pt x="56093" y="15396"/>
                  </a:lnTo>
                  <a:lnTo>
                    <a:pt x="56257" y="15714"/>
                  </a:lnTo>
                  <a:lnTo>
                    <a:pt x="56257" y="15714"/>
                  </a:lnTo>
                  <a:lnTo>
                    <a:pt x="56422" y="15714"/>
                  </a:lnTo>
                  <a:lnTo>
                    <a:pt x="56668" y="15714"/>
                  </a:lnTo>
                  <a:lnTo>
                    <a:pt x="56668" y="15714"/>
                  </a:lnTo>
                  <a:lnTo>
                    <a:pt x="56833" y="15396"/>
                  </a:lnTo>
                  <a:lnTo>
                    <a:pt x="56997" y="15396"/>
                  </a:lnTo>
                  <a:lnTo>
                    <a:pt x="56997" y="15396"/>
                  </a:lnTo>
                  <a:lnTo>
                    <a:pt x="57244" y="14920"/>
                  </a:lnTo>
                  <a:lnTo>
                    <a:pt x="57244" y="14920"/>
                  </a:lnTo>
                  <a:lnTo>
                    <a:pt x="57409" y="14920"/>
                  </a:lnTo>
                  <a:lnTo>
                    <a:pt x="57984" y="14920"/>
                  </a:lnTo>
                  <a:lnTo>
                    <a:pt x="58149" y="14920"/>
                  </a:lnTo>
                  <a:lnTo>
                    <a:pt x="58560" y="14603"/>
                  </a:lnTo>
                  <a:lnTo>
                    <a:pt x="58560" y="14603"/>
                  </a:lnTo>
                  <a:lnTo>
                    <a:pt x="58807" y="14603"/>
                  </a:lnTo>
                  <a:lnTo>
                    <a:pt x="58807" y="14603"/>
                  </a:lnTo>
                  <a:lnTo>
                    <a:pt x="58807" y="14285"/>
                  </a:lnTo>
                  <a:lnTo>
                    <a:pt x="58807" y="14285"/>
                  </a:lnTo>
                  <a:lnTo>
                    <a:pt x="58807" y="14285"/>
                  </a:lnTo>
                  <a:lnTo>
                    <a:pt x="58971" y="13809"/>
                  </a:lnTo>
                  <a:lnTo>
                    <a:pt x="58971" y="13809"/>
                  </a:lnTo>
                  <a:lnTo>
                    <a:pt x="59136" y="14285"/>
                  </a:lnTo>
                  <a:lnTo>
                    <a:pt x="59383" y="13809"/>
                  </a:lnTo>
                  <a:lnTo>
                    <a:pt x="59383" y="13809"/>
                  </a:lnTo>
                  <a:lnTo>
                    <a:pt x="59383" y="13809"/>
                  </a:lnTo>
                  <a:lnTo>
                    <a:pt x="59136" y="13492"/>
                  </a:lnTo>
                  <a:lnTo>
                    <a:pt x="59136" y="13492"/>
                  </a:lnTo>
                  <a:lnTo>
                    <a:pt x="59383" y="13492"/>
                  </a:lnTo>
                  <a:lnTo>
                    <a:pt x="60123" y="13015"/>
                  </a:lnTo>
                  <a:lnTo>
                    <a:pt x="60287" y="13015"/>
                  </a:lnTo>
                  <a:lnTo>
                    <a:pt x="60534" y="13015"/>
                  </a:lnTo>
                  <a:lnTo>
                    <a:pt x="60534" y="13015"/>
                  </a:lnTo>
                  <a:lnTo>
                    <a:pt x="60534" y="12698"/>
                  </a:lnTo>
                  <a:lnTo>
                    <a:pt x="60123" y="12698"/>
                  </a:lnTo>
                  <a:lnTo>
                    <a:pt x="60123" y="12380"/>
                  </a:lnTo>
                  <a:lnTo>
                    <a:pt x="59958" y="12380"/>
                  </a:lnTo>
                  <a:lnTo>
                    <a:pt x="59958" y="12380"/>
                  </a:lnTo>
                  <a:lnTo>
                    <a:pt x="59547" y="12380"/>
                  </a:lnTo>
                  <a:lnTo>
                    <a:pt x="59383" y="12698"/>
                  </a:lnTo>
                  <a:lnTo>
                    <a:pt x="59136" y="12698"/>
                  </a:lnTo>
                  <a:lnTo>
                    <a:pt x="59136" y="12698"/>
                  </a:lnTo>
                  <a:lnTo>
                    <a:pt x="59136" y="12698"/>
                  </a:lnTo>
                  <a:lnTo>
                    <a:pt x="59383" y="12698"/>
                  </a:lnTo>
                  <a:lnTo>
                    <a:pt x="59383" y="12698"/>
                  </a:lnTo>
                  <a:lnTo>
                    <a:pt x="59136" y="13015"/>
                  </a:lnTo>
                  <a:lnTo>
                    <a:pt x="59136" y="13015"/>
                  </a:lnTo>
                  <a:lnTo>
                    <a:pt x="58971" y="13015"/>
                  </a:lnTo>
                  <a:lnTo>
                    <a:pt x="58971" y="12698"/>
                  </a:lnTo>
                  <a:lnTo>
                    <a:pt x="58807" y="13015"/>
                  </a:lnTo>
                  <a:lnTo>
                    <a:pt x="58560" y="13015"/>
                  </a:lnTo>
                  <a:lnTo>
                    <a:pt x="58560" y="13015"/>
                  </a:lnTo>
                  <a:lnTo>
                    <a:pt x="57984" y="12698"/>
                  </a:lnTo>
                  <a:lnTo>
                    <a:pt x="57244" y="13015"/>
                  </a:lnTo>
                  <a:lnTo>
                    <a:pt x="56833" y="13015"/>
                  </a:lnTo>
                  <a:lnTo>
                    <a:pt x="56422" y="13015"/>
                  </a:lnTo>
                  <a:lnTo>
                    <a:pt x="56257" y="13492"/>
                  </a:lnTo>
                  <a:lnTo>
                    <a:pt x="55681" y="13492"/>
                  </a:lnTo>
                  <a:lnTo>
                    <a:pt x="54859" y="13809"/>
                  </a:lnTo>
                  <a:lnTo>
                    <a:pt x="54694" y="14285"/>
                  </a:lnTo>
                  <a:lnTo>
                    <a:pt x="54694" y="14285"/>
                  </a:lnTo>
                  <a:lnTo>
                    <a:pt x="54530" y="14285"/>
                  </a:lnTo>
                  <a:lnTo>
                    <a:pt x="54283" y="14285"/>
                  </a:lnTo>
                  <a:lnTo>
                    <a:pt x="53708" y="14603"/>
                  </a:lnTo>
                  <a:lnTo>
                    <a:pt x="53543" y="14603"/>
                  </a:lnTo>
                  <a:lnTo>
                    <a:pt x="53379" y="14603"/>
                  </a:lnTo>
                  <a:lnTo>
                    <a:pt x="52556" y="15396"/>
                  </a:lnTo>
                  <a:lnTo>
                    <a:pt x="52556" y="15396"/>
                  </a:lnTo>
                  <a:lnTo>
                    <a:pt x="51569" y="15396"/>
                  </a:lnTo>
                  <a:lnTo>
                    <a:pt x="51569" y="15396"/>
                  </a:lnTo>
                  <a:lnTo>
                    <a:pt x="51405" y="15396"/>
                  </a:lnTo>
                  <a:lnTo>
                    <a:pt x="50829" y="15714"/>
                  </a:lnTo>
                  <a:lnTo>
                    <a:pt x="50664" y="16031"/>
                  </a:lnTo>
                  <a:lnTo>
                    <a:pt x="50664" y="16031"/>
                  </a:lnTo>
                  <a:lnTo>
                    <a:pt x="50829" y="16031"/>
                  </a:lnTo>
                  <a:lnTo>
                    <a:pt x="50829" y="16031"/>
                  </a:lnTo>
                  <a:lnTo>
                    <a:pt x="50993" y="16031"/>
                  </a:lnTo>
                  <a:lnTo>
                    <a:pt x="50829" y="16031"/>
                  </a:lnTo>
                  <a:lnTo>
                    <a:pt x="50829" y="16031"/>
                  </a:lnTo>
                  <a:lnTo>
                    <a:pt x="50829" y="16031"/>
                  </a:lnTo>
                  <a:lnTo>
                    <a:pt x="50829" y="16031"/>
                  </a:lnTo>
                  <a:lnTo>
                    <a:pt x="50829" y="16031"/>
                  </a:lnTo>
                  <a:lnTo>
                    <a:pt x="50664" y="16031"/>
                  </a:lnTo>
                  <a:close/>
                  <a:moveTo>
                    <a:pt x="61110" y="16825"/>
                  </a:moveTo>
                  <a:lnTo>
                    <a:pt x="60863" y="16825"/>
                  </a:lnTo>
                  <a:lnTo>
                    <a:pt x="60863" y="16825"/>
                  </a:lnTo>
                  <a:lnTo>
                    <a:pt x="61110" y="16825"/>
                  </a:lnTo>
                  <a:lnTo>
                    <a:pt x="61274" y="16507"/>
                  </a:lnTo>
                  <a:lnTo>
                    <a:pt x="61274" y="16507"/>
                  </a:lnTo>
                  <a:lnTo>
                    <a:pt x="61110" y="16031"/>
                  </a:lnTo>
                  <a:lnTo>
                    <a:pt x="61110" y="15714"/>
                  </a:lnTo>
                  <a:lnTo>
                    <a:pt x="60863" y="15714"/>
                  </a:lnTo>
                  <a:lnTo>
                    <a:pt x="60699" y="15714"/>
                  </a:lnTo>
                  <a:lnTo>
                    <a:pt x="60534" y="15714"/>
                  </a:lnTo>
                  <a:lnTo>
                    <a:pt x="59958" y="15714"/>
                  </a:lnTo>
                  <a:lnTo>
                    <a:pt x="59712" y="15714"/>
                  </a:lnTo>
                  <a:lnTo>
                    <a:pt x="59712" y="15714"/>
                  </a:lnTo>
                  <a:lnTo>
                    <a:pt x="59958" y="15396"/>
                  </a:lnTo>
                  <a:lnTo>
                    <a:pt x="59958" y="15396"/>
                  </a:lnTo>
                  <a:lnTo>
                    <a:pt x="59958" y="15396"/>
                  </a:lnTo>
                  <a:lnTo>
                    <a:pt x="59958" y="15396"/>
                  </a:lnTo>
                  <a:lnTo>
                    <a:pt x="59958" y="15396"/>
                  </a:lnTo>
                  <a:lnTo>
                    <a:pt x="59958" y="14920"/>
                  </a:lnTo>
                  <a:lnTo>
                    <a:pt x="59712" y="14920"/>
                  </a:lnTo>
                  <a:lnTo>
                    <a:pt x="59547" y="14920"/>
                  </a:lnTo>
                  <a:lnTo>
                    <a:pt x="59383" y="14920"/>
                  </a:lnTo>
                  <a:lnTo>
                    <a:pt x="58560" y="15396"/>
                  </a:lnTo>
                  <a:lnTo>
                    <a:pt x="58149" y="15396"/>
                  </a:lnTo>
                  <a:lnTo>
                    <a:pt x="58149" y="15396"/>
                  </a:lnTo>
                  <a:lnTo>
                    <a:pt x="57984" y="15714"/>
                  </a:lnTo>
                  <a:lnTo>
                    <a:pt x="57984" y="15714"/>
                  </a:lnTo>
                  <a:lnTo>
                    <a:pt x="57984" y="15714"/>
                  </a:lnTo>
                  <a:lnTo>
                    <a:pt x="58149" y="15714"/>
                  </a:lnTo>
                  <a:lnTo>
                    <a:pt x="58807" y="15714"/>
                  </a:lnTo>
                  <a:lnTo>
                    <a:pt x="58807" y="15714"/>
                  </a:lnTo>
                  <a:lnTo>
                    <a:pt x="58807" y="16031"/>
                  </a:lnTo>
                  <a:lnTo>
                    <a:pt x="58807" y="16031"/>
                  </a:lnTo>
                  <a:lnTo>
                    <a:pt x="57820" y="15714"/>
                  </a:lnTo>
                  <a:lnTo>
                    <a:pt x="57573" y="15714"/>
                  </a:lnTo>
                  <a:lnTo>
                    <a:pt x="57409" y="15714"/>
                  </a:lnTo>
                  <a:lnTo>
                    <a:pt x="56997" y="16031"/>
                  </a:lnTo>
                  <a:lnTo>
                    <a:pt x="56833" y="16031"/>
                  </a:lnTo>
                  <a:lnTo>
                    <a:pt x="56833" y="16031"/>
                  </a:lnTo>
                  <a:lnTo>
                    <a:pt x="56833" y="16507"/>
                  </a:lnTo>
                  <a:lnTo>
                    <a:pt x="56668" y="16507"/>
                  </a:lnTo>
                  <a:lnTo>
                    <a:pt x="56422" y="16507"/>
                  </a:lnTo>
                  <a:lnTo>
                    <a:pt x="56422" y="16507"/>
                  </a:lnTo>
                  <a:lnTo>
                    <a:pt x="56668" y="16507"/>
                  </a:lnTo>
                  <a:lnTo>
                    <a:pt x="56668" y="16825"/>
                  </a:lnTo>
                  <a:lnTo>
                    <a:pt x="57409" y="16507"/>
                  </a:lnTo>
                  <a:lnTo>
                    <a:pt x="58149" y="16507"/>
                  </a:lnTo>
                  <a:lnTo>
                    <a:pt x="57820" y="16825"/>
                  </a:lnTo>
                  <a:lnTo>
                    <a:pt x="57409" y="16825"/>
                  </a:lnTo>
                  <a:lnTo>
                    <a:pt x="57244" y="16825"/>
                  </a:lnTo>
                  <a:lnTo>
                    <a:pt x="56422" y="16825"/>
                  </a:lnTo>
                  <a:lnTo>
                    <a:pt x="56093" y="16825"/>
                  </a:lnTo>
                  <a:lnTo>
                    <a:pt x="55846" y="16825"/>
                  </a:lnTo>
                  <a:lnTo>
                    <a:pt x="55681" y="17142"/>
                  </a:lnTo>
                  <a:lnTo>
                    <a:pt x="55435" y="17142"/>
                  </a:lnTo>
                  <a:lnTo>
                    <a:pt x="55270" y="17142"/>
                  </a:lnTo>
                  <a:lnTo>
                    <a:pt x="55435" y="17142"/>
                  </a:lnTo>
                  <a:lnTo>
                    <a:pt x="56093" y="17619"/>
                  </a:lnTo>
                  <a:lnTo>
                    <a:pt x="56422" y="17142"/>
                  </a:lnTo>
                  <a:lnTo>
                    <a:pt x="57573" y="17142"/>
                  </a:lnTo>
                  <a:lnTo>
                    <a:pt x="57573" y="17142"/>
                  </a:lnTo>
                  <a:lnTo>
                    <a:pt x="57573" y="17142"/>
                  </a:lnTo>
                  <a:lnTo>
                    <a:pt x="57409" y="17142"/>
                  </a:lnTo>
                  <a:lnTo>
                    <a:pt x="57244" y="17142"/>
                  </a:lnTo>
                  <a:lnTo>
                    <a:pt x="56257" y="17619"/>
                  </a:lnTo>
                  <a:lnTo>
                    <a:pt x="56093" y="17619"/>
                  </a:lnTo>
                  <a:lnTo>
                    <a:pt x="55270" y="17619"/>
                  </a:lnTo>
                  <a:lnTo>
                    <a:pt x="55106" y="17619"/>
                  </a:lnTo>
                  <a:lnTo>
                    <a:pt x="54859" y="17619"/>
                  </a:lnTo>
                  <a:lnTo>
                    <a:pt x="54859" y="17936"/>
                  </a:lnTo>
                  <a:lnTo>
                    <a:pt x="54694" y="17936"/>
                  </a:lnTo>
                  <a:lnTo>
                    <a:pt x="54530" y="17936"/>
                  </a:lnTo>
                  <a:lnTo>
                    <a:pt x="54283" y="17936"/>
                  </a:lnTo>
                  <a:lnTo>
                    <a:pt x="54283" y="18412"/>
                  </a:lnTo>
                  <a:lnTo>
                    <a:pt x="54119" y="18412"/>
                  </a:lnTo>
                  <a:lnTo>
                    <a:pt x="54119" y="18412"/>
                  </a:lnTo>
                  <a:lnTo>
                    <a:pt x="54119" y="18412"/>
                  </a:lnTo>
                  <a:lnTo>
                    <a:pt x="54530" y="18730"/>
                  </a:lnTo>
                  <a:lnTo>
                    <a:pt x="54694" y="18730"/>
                  </a:lnTo>
                  <a:lnTo>
                    <a:pt x="55106" y="18412"/>
                  </a:lnTo>
                  <a:lnTo>
                    <a:pt x="55270" y="18730"/>
                  </a:lnTo>
                  <a:lnTo>
                    <a:pt x="55435" y="19047"/>
                  </a:lnTo>
                  <a:lnTo>
                    <a:pt x="55681" y="19047"/>
                  </a:lnTo>
                  <a:lnTo>
                    <a:pt x="55681" y="19047"/>
                  </a:lnTo>
                  <a:lnTo>
                    <a:pt x="55846" y="18730"/>
                  </a:lnTo>
                  <a:lnTo>
                    <a:pt x="55846" y="18730"/>
                  </a:lnTo>
                  <a:lnTo>
                    <a:pt x="56093" y="18730"/>
                  </a:lnTo>
                  <a:lnTo>
                    <a:pt x="56093" y="18730"/>
                  </a:lnTo>
                  <a:lnTo>
                    <a:pt x="56257" y="18730"/>
                  </a:lnTo>
                  <a:lnTo>
                    <a:pt x="56257" y="18730"/>
                  </a:lnTo>
                  <a:lnTo>
                    <a:pt x="56257" y="18730"/>
                  </a:lnTo>
                  <a:lnTo>
                    <a:pt x="56257" y="19047"/>
                  </a:lnTo>
                  <a:lnTo>
                    <a:pt x="56257" y="19047"/>
                  </a:lnTo>
                  <a:lnTo>
                    <a:pt x="56257" y="19047"/>
                  </a:lnTo>
                  <a:lnTo>
                    <a:pt x="56422" y="19047"/>
                  </a:lnTo>
                  <a:lnTo>
                    <a:pt x="56997" y="18730"/>
                  </a:lnTo>
                  <a:lnTo>
                    <a:pt x="57244" y="18730"/>
                  </a:lnTo>
                  <a:lnTo>
                    <a:pt x="57409" y="18412"/>
                  </a:lnTo>
                  <a:lnTo>
                    <a:pt x="57409" y="18412"/>
                  </a:lnTo>
                  <a:lnTo>
                    <a:pt x="57409" y="18412"/>
                  </a:lnTo>
                  <a:lnTo>
                    <a:pt x="57409" y="18412"/>
                  </a:lnTo>
                  <a:lnTo>
                    <a:pt x="57409" y="18412"/>
                  </a:lnTo>
                  <a:lnTo>
                    <a:pt x="57573" y="18412"/>
                  </a:lnTo>
                  <a:lnTo>
                    <a:pt x="57573" y="18412"/>
                  </a:lnTo>
                  <a:lnTo>
                    <a:pt x="57820" y="18412"/>
                  </a:lnTo>
                  <a:lnTo>
                    <a:pt x="57984" y="17936"/>
                  </a:lnTo>
                  <a:lnTo>
                    <a:pt x="58149" y="17936"/>
                  </a:lnTo>
                  <a:lnTo>
                    <a:pt x="58149" y="17936"/>
                  </a:lnTo>
                  <a:lnTo>
                    <a:pt x="58149" y="17936"/>
                  </a:lnTo>
                  <a:lnTo>
                    <a:pt x="58149" y="17936"/>
                  </a:lnTo>
                  <a:lnTo>
                    <a:pt x="58149" y="17936"/>
                  </a:lnTo>
                  <a:lnTo>
                    <a:pt x="58560" y="17936"/>
                  </a:lnTo>
                  <a:lnTo>
                    <a:pt x="58807" y="17936"/>
                  </a:lnTo>
                  <a:lnTo>
                    <a:pt x="58560" y="17936"/>
                  </a:lnTo>
                  <a:lnTo>
                    <a:pt x="58149" y="17936"/>
                  </a:lnTo>
                  <a:lnTo>
                    <a:pt x="58149" y="18412"/>
                  </a:lnTo>
                  <a:lnTo>
                    <a:pt x="57984" y="18412"/>
                  </a:lnTo>
                  <a:lnTo>
                    <a:pt x="57984" y="18412"/>
                  </a:lnTo>
                  <a:lnTo>
                    <a:pt x="57820" y="18412"/>
                  </a:lnTo>
                  <a:lnTo>
                    <a:pt x="57820" y="18730"/>
                  </a:lnTo>
                  <a:lnTo>
                    <a:pt x="57820" y="18730"/>
                  </a:lnTo>
                  <a:lnTo>
                    <a:pt x="57820" y="18730"/>
                  </a:lnTo>
                  <a:lnTo>
                    <a:pt x="57820" y="18730"/>
                  </a:lnTo>
                  <a:lnTo>
                    <a:pt x="58149" y="18730"/>
                  </a:lnTo>
                  <a:lnTo>
                    <a:pt x="58560" y="18730"/>
                  </a:lnTo>
                  <a:lnTo>
                    <a:pt x="58807" y="18730"/>
                  </a:lnTo>
                  <a:lnTo>
                    <a:pt x="58971" y="18730"/>
                  </a:lnTo>
                  <a:lnTo>
                    <a:pt x="59136" y="18412"/>
                  </a:lnTo>
                  <a:lnTo>
                    <a:pt x="59136" y="18412"/>
                  </a:lnTo>
                  <a:lnTo>
                    <a:pt x="59136" y="18412"/>
                  </a:lnTo>
                  <a:lnTo>
                    <a:pt x="59383" y="18412"/>
                  </a:lnTo>
                  <a:lnTo>
                    <a:pt x="59383" y="18730"/>
                  </a:lnTo>
                  <a:lnTo>
                    <a:pt x="59547" y="18730"/>
                  </a:lnTo>
                  <a:lnTo>
                    <a:pt x="59712" y="18730"/>
                  </a:lnTo>
                  <a:lnTo>
                    <a:pt x="59958" y="18412"/>
                  </a:lnTo>
                  <a:lnTo>
                    <a:pt x="60123" y="18412"/>
                  </a:lnTo>
                  <a:lnTo>
                    <a:pt x="60287" y="18412"/>
                  </a:lnTo>
                  <a:lnTo>
                    <a:pt x="60699" y="18412"/>
                  </a:lnTo>
                  <a:lnTo>
                    <a:pt x="60863" y="18412"/>
                  </a:lnTo>
                  <a:lnTo>
                    <a:pt x="60863" y="18412"/>
                  </a:lnTo>
                  <a:lnTo>
                    <a:pt x="60699" y="18412"/>
                  </a:lnTo>
                  <a:lnTo>
                    <a:pt x="60534" y="18730"/>
                  </a:lnTo>
                  <a:lnTo>
                    <a:pt x="60123" y="18730"/>
                  </a:lnTo>
                  <a:lnTo>
                    <a:pt x="59712" y="18730"/>
                  </a:lnTo>
                  <a:lnTo>
                    <a:pt x="59712" y="19047"/>
                  </a:lnTo>
                  <a:lnTo>
                    <a:pt x="59547" y="19047"/>
                  </a:lnTo>
                  <a:lnTo>
                    <a:pt x="59383" y="19047"/>
                  </a:lnTo>
                  <a:lnTo>
                    <a:pt x="58807" y="19047"/>
                  </a:lnTo>
                  <a:lnTo>
                    <a:pt x="58560" y="19047"/>
                  </a:lnTo>
                  <a:lnTo>
                    <a:pt x="57820" y="19047"/>
                  </a:lnTo>
                  <a:lnTo>
                    <a:pt x="57244" y="19523"/>
                  </a:lnTo>
                  <a:lnTo>
                    <a:pt x="56833" y="19523"/>
                  </a:lnTo>
                  <a:lnTo>
                    <a:pt x="56422" y="19841"/>
                  </a:lnTo>
                  <a:lnTo>
                    <a:pt x="56422" y="19841"/>
                  </a:lnTo>
                  <a:lnTo>
                    <a:pt x="56422" y="19841"/>
                  </a:lnTo>
                  <a:lnTo>
                    <a:pt x="56422" y="20158"/>
                  </a:lnTo>
                  <a:lnTo>
                    <a:pt x="56668" y="20158"/>
                  </a:lnTo>
                  <a:lnTo>
                    <a:pt x="56668" y="20158"/>
                  </a:lnTo>
                  <a:lnTo>
                    <a:pt x="56833" y="20634"/>
                  </a:lnTo>
                  <a:lnTo>
                    <a:pt x="57244" y="20634"/>
                  </a:lnTo>
                  <a:lnTo>
                    <a:pt x="57820" y="20634"/>
                  </a:lnTo>
                  <a:lnTo>
                    <a:pt x="58807" y="20158"/>
                  </a:lnTo>
                  <a:lnTo>
                    <a:pt x="59383" y="20158"/>
                  </a:lnTo>
                  <a:lnTo>
                    <a:pt x="59958" y="19841"/>
                  </a:lnTo>
                  <a:lnTo>
                    <a:pt x="60123" y="19841"/>
                  </a:lnTo>
                  <a:lnTo>
                    <a:pt x="60287" y="19523"/>
                  </a:lnTo>
                  <a:lnTo>
                    <a:pt x="60534" y="19523"/>
                  </a:lnTo>
                  <a:lnTo>
                    <a:pt x="60699" y="19523"/>
                  </a:lnTo>
                  <a:lnTo>
                    <a:pt x="61110" y="19523"/>
                  </a:lnTo>
                  <a:lnTo>
                    <a:pt x="61850" y="19047"/>
                  </a:lnTo>
                  <a:lnTo>
                    <a:pt x="62426" y="19047"/>
                  </a:lnTo>
                  <a:lnTo>
                    <a:pt x="62837" y="18730"/>
                  </a:lnTo>
                  <a:lnTo>
                    <a:pt x="63002" y="18730"/>
                  </a:lnTo>
                  <a:lnTo>
                    <a:pt x="63002" y="18730"/>
                  </a:lnTo>
                  <a:lnTo>
                    <a:pt x="62837" y="19047"/>
                  </a:lnTo>
                  <a:lnTo>
                    <a:pt x="62837" y="19047"/>
                  </a:lnTo>
                  <a:lnTo>
                    <a:pt x="62837" y="19047"/>
                  </a:lnTo>
                  <a:lnTo>
                    <a:pt x="63002" y="19047"/>
                  </a:lnTo>
                  <a:lnTo>
                    <a:pt x="63002" y="19047"/>
                  </a:lnTo>
                  <a:lnTo>
                    <a:pt x="63248" y="19047"/>
                  </a:lnTo>
                  <a:lnTo>
                    <a:pt x="63413" y="19047"/>
                  </a:lnTo>
                  <a:lnTo>
                    <a:pt x="63824" y="19047"/>
                  </a:lnTo>
                  <a:lnTo>
                    <a:pt x="63989" y="19047"/>
                  </a:lnTo>
                  <a:lnTo>
                    <a:pt x="64400" y="19047"/>
                  </a:lnTo>
                  <a:lnTo>
                    <a:pt x="64400" y="19047"/>
                  </a:lnTo>
                  <a:lnTo>
                    <a:pt x="64564" y="19047"/>
                  </a:lnTo>
                  <a:lnTo>
                    <a:pt x="64976" y="19047"/>
                  </a:lnTo>
                  <a:lnTo>
                    <a:pt x="65716" y="18730"/>
                  </a:lnTo>
                  <a:lnTo>
                    <a:pt x="65962" y="18730"/>
                  </a:lnTo>
                  <a:lnTo>
                    <a:pt x="66127" y="18412"/>
                  </a:lnTo>
                  <a:lnTo>
                    <a:pt x="66703" y="17936"/>
                  </a:lnTo>
                  <a:lnTo>
                    <a:pt x="66949" y="17619"/>
                  </a:lnTo>
                  <a:lnTo>
                    <a:pt x="67278" y="17142"/>
                  </a:lnTo>
                  <a:lnTo>
                    <a:pt x="67525" y="17142"/>
                  </a:lnTo>
                  <a:lnTo>
                    <a:pt x="67525" y="16825"/>
                  </a:lnTo>
                  <a:lnTo>
                    <a:pt x="67690" y="16825"/>
                  </a:lnTo>
                  <a:lnTo>
                    <a:pt x="67690" y="16507"/>
                  </a:lnTo>
                  <a:lnTo>
                    <a:pt x="67690" y="16507"/>
                  </a:lnTo>
                  <a:lnTo>
                    <a:pt x="67690" y="16507"/>
                  </a:lnTo>
                  <a:lnTo>
                    <a:pt x="67525" y="16507"/>
                  </a:lnTo>
                  <a:lnTo>
                    <a:pt x="67114" y="16031"/>
                  </a:lnTo>
                  <a:lnTo>
                    <a:pt x="66949" y="16031"/>
                  </a:lnTo>
                  <a:lnTo>
                    <a:pt x="66703" y="16507"/>
                  </a:lnTo>
                  <a:lnTo>
                    <a:pt x="66538" y="16507"/>
                  </a:lnTo>
                  <a:lnTo>
                    <a:pt x="66538" y="16507"/>
                  </a:lnTo>
                  <a:lnTo>
                    <a:pt x="66291" y="16507"/>
                  </a:lnTo>
                  <a:lnTo>
                    <a:pt x="66291" y="16825"/>
                  </a:lnTo>
                  <a:lnTo>
                    <a:pt x="66291" y="16825"/>
                  </a:lnTo>
                  <a:lnTo>
                    <a:pt x="66291" y="16825"/>
                  </a:lnTo>
                  <a:lnTo>
                    <a:pt x="66291" y="16825"/>
                  </a:lnTo>
                  <a:lnTo>
                    <a:pt x="66127" y="16825"/>
                  </a:lnTo>
                  <a:lnTo>
                    <a:pt x="65962" y="16825"/>
                  </a:lnTo>
                  <a:lnTo>
                    <a:pt x="65962" y="17142"/>
                  </a:lnTo>
                  <a:lnTo>
                    <a:pt x="65962" y="17142"/>
                  </a:lnTo>
                  <a:lnTo>
                    <a:pt x="65962" y="16825"/>
                  </a:lnTo>
                  <a:lnTo>
                    <a:pt x="66127" y="16825"/>
                  </a:lnTo>
                  <a:lnTo>
                    <a:pt x="66127" y="16825"/>
                  </a:lnTo>
                  <a:lnTo>
                    <a:pt x="66127" y="16825"/>
                  </a:lnTo>
                  <a:lnTo>
                    <a:pt x="65962" y="16507"/>
                  </a:lnTo>
                  <a:lnTo>
                    <a:pt x="65716" y="16507"/>
                  </a:lnTo>
                  <a:lnTo>
                    <a:pt x="65716" y="16507"/>
                  </a:lnTo>
                  <a:lnTo>
                    <a:pt x="65551" y="16825"/>
                  </a:lnTo>
                  <a:lnTo>
                    <a:pt x="65140" y="16825"/>
                  </a:lnTo>
                  <a:lnTo>
                    <a:pt x="64976" y="16825"/>
                  </a:lnTo>
                  <a:lnTo>
                    <a:pt x="64976" y="16825"/>
                  </a:lnTo>
                  <a:lnTo>
                    <a:pt x="65140" y="16825"/>
                  </a:lnTo>
                  <a:lnTo>
                    <a:pt x="65551" y="16507"/>
                  </a:lnTo>
                  <a:lnTo>
                    <a:pt x="65551" y="16507"/>
                  </a:lnTo>
                  <a:lnTo>
                    <a:pt x="65551" y="16507"/>
                  </a:lnTo>
                  <a:lnTo>
                    <a:pt x="65716" y="16507"/>
                  </a:lnTo>
                  <a:lnTo>
                    <a:pt x="65716" y="16031"/>
                  </a:lnTo>
                  <a:lnTo>
                    <a:pt x="65551" y="16031"/>
                  </a:lnTo>
                  <a:lnTo>
                    <a:pt x="65551" y="16031"/>
                  </a:lnTo>
                  <a:lnTo>
                    <a:pt x="65387" y="16031"/>
                  </a:lnTo>
                  <a:lnTo>
                    <a:pt x="65140" y="16031"/>
                  </a:lnTo>
                  <a:lnTo>
                    <a:pt x="65140" y="16031"/>
                  </a:lnTo>
                  <a:lnTo>
                    <a:pt x="65140" y="16031"/>
                  </a:lnTo>
                  <a:lnTo>
                    <a:pt x="65140" y="16031"/>
                  </a:lnTo>
                  <a:lnTo>
                    <a:pt x="65387" y="16031"/>
                  </a:lnTo>
                  <a:lnTo>
                    <a:pt x="65551" y="15714"/>
                  </a:lnTo>
                  <a:lnTo>
                    <a:pt x="65716" y="15714"/>
                  </a:lnTo>
                  <a:lnTo>
                    <a:pt x="65716" y="15396"/>
                  </a:lnTo>
                  <a:lnTo>
                    <a:pt x="65716" y="15396"/>
                  </a:lnTo>
                  <a:lnTo>
                    <a:pt x="65716" y="15396"/>
                  </a:lnTo>
                  <a:lnTo>
                    <a:pt x="65716" y="15396"/>
                  </a:lnTo>
                  <a:lnTo>
                    <a:pt x="65716" y="14920"/>
                  </a:lnTo>
                  <a:lnTo>
                    <a:pt x="65716" y="14920"/>
                  </a:lnTo>
                  <a:lnTo>
                    <a:pt x="65962" y="14920"/>
                  </a:lnTo>
                  <a:lnTo>
                    <a:pt x="65962" y="14920"/>
                  </a:lnTo>
                  <a:lnTo>
                    <a:pt x="65962" y="14603"/>
                  </a:lnTo>
                  <a:lnTo>
                    <a:pt x="66127" y="14603"/>
                  </a:lnTo>
                  <a:lnTo>
                    <a:pt x="66291" y="14603"/>
                  </a:lnTo>
                  <a:lnTo>
                    <a:pt x="66291" y="14603"/>
                  </a:lnTo>
                  <a:lnTo>
                    <a:pt x="66291" y="14603"/>
                  </a:lnTo>
                  <a:lnTo>
                    <a:pt x="66291" y="14603"/>
                  </a:lnTo>
                  <a:lnTo>
                    <a:pt x="66127" y="14285"/>
                  </a:lnTo>
                  <a:lnTo>
                    <a:pt x="65716" y="14285"/>
                  </a:lnTo>
                  <a:lnTo>
                    <a:pt x="65716" y="14285"/>
                  </a:lnTo>
                  <a:lnTo>
                    <a:pt x="65551" y="14603"/>
                  </a:lnTo>
                  <a:lnTo>
                    <a:pt x="65140" y="14603"/>
                  </a:lnTo>
                  <a:lnTo>
                    <a:pt x="64564" y="14920"/>
                  </a:lnTo>
                  <a:lnTo>
                    <a:pt x="64400" y="14920"/>
                  </a:lnTo>
                  <a:lnTo>
                    <a:pt x="63824" y="15396"/>
                  </a:lnTo>
                  <a:lnTo>
                    <a:pt x="63824" y="15396"/>
                  </a:lnTo>
                  <a:lnTo>
                    <a:pt x="63824" y="15396"/>
                  </a:lnTo>
                  <a:lnTo>
                    <a:pt x="63577" y="15396"/>
                  </a:lnTo>
                  <a:lnTo>
                    <a:pt x="63577" y="15714"/>
                  </a:lnTo>
                  <a:lnTo>
                    <a:pt x="63577" y="15714"/>
                  </a:lnTo>
                  <a:lnTo>
                    <a:pt x="63824" y="15714"/>
                  </a:lnTo>
                  <a:lnTo>
                    <a:pt x="63989" y="15714"/>
                  </a:lnTo>
                  <a:lnTo>
                    <a:pt x="64235" y="16031"/>
                  </a:lnTo>
                  <a:lnTo>
                    <a:pt x="64235" y="16031"/>
                  </a:lnTo>
                  <a:lnTo>
                    <a:pt x="63989" y="16031"/>
                  </a:lnTo>
                  <a:lnTo>
                    <a:pt x="63989" y="16031"/>
                  </a:lnTo>
                  <a:lnTo>
                    <a:pt x="63989" y="16507"/>
                  </a:lnTo>
                  <a:lnTo>
                    <a:pt x="63413" y="16507"/>
                  </a:lnTo>
                  <a:lnTo>
                    <a:pt x="63248" y="16825"/>
                  </a:lnTo>
                  <a:lnTo>
                    <a:pt x="63824" y="17142"/>
                  </a:lnTo>
                  <a:lnTo>
                    <a:pt x="63824" y="17142"/>
                  </a:lnTo>
                  <a:lnTo>
                    <a:pt x="63824" y="17142"/>
                  </a:lnTo>
                  <a:lnTo>
                    <a:pt x="63577" y="17619"/>
                  </a:lnTo>
                  <a:lnTo>
                    <a:pt x="63577" y="17619"/>
                  </a:lnTo>
                  <a:lnTo>
                    <a:pt x="63413" y="17619"/>
                  </a:lnTo>
                  <a:lnTo>
                    <a:pt x="63413" y="17619"/>
                  </a:lnTo>
                  <a:lnTo>
                    <a:pt x="62097" y="17619"/>
                  </a:lnTo>
                  <a:lnTo>
                    <a:pt x="61850" y="17619"/>
                  </a:lnTo>
                  <a:lnTo>
                    <a:pt x="61686" y="17619"/>
                  </a:lnTo>
                  <a:lnTo>
                    <a:pt x="61521" y="17619"/>
                  </a:lnTo>
                  <a:lnTo>
                    <a:pt x="61274" y="17619"/>
                  </a:lnTo>
                  <a:lnTo>
                    <a:pt x="61274" y="17142"/>
                  </a:lnTo>
                  <a:lnTo>
                    <a:pt x="61274" y="17142"/>
                  </a:lnTo>
                  <a:lnTo>
                    <a:pt x="61521" y="16825"/>
                  </a:lnTo>
                  <a:lnTo>
                    <a:pt x="61521" y="16825"/>
                  </a:lnTo>
                  <a:lnTo>
                    <a:pt x="61521" y="16825"/>
                  </a:lnTo>
                  <a:lnTo>
                    <a:pt x="61274" y="16825"/>
                  </a:lnTo>
                  <a:lnTo>
                    <a:pt x="61110" y="16825"/>
                  </a:lnTo>
                  <a:close/>
                  <a:moveTo>
                    <a:pt x="51980" y="16507"/>
                  </a:moveTo>
                  <a:lnTo>
                    <a:pt x="51980" y="16507"/>
                  </a:lnTo>
                  <a:lnTo>
                    <a:pt x="51980" y="16825"/>
                  </a:lnTo>
                  <a:lnTo>
                    <a:pt x="51816" y="16825"/>
                  </a:lnTo>
                  <a:lnTo>
                    <a:pt x="51569" y="16825"/>
                  </a:lnTo>
                  <a:lnTo>
                    <a:pt x="51405" y="16825"/>
                  </a:lnTo>
                  <a:lnTo>
                    <a:pt x="51569" y="16825"/>
                  </a:lnTo>
                  <a:lnTo>
                    <a:pt x="51569" y="16825"/>
                  </a:lnTo>
                  <a:lnTo>
                    <a:pt x="51816" y="16825"/>
                  </a:lnTo>
                  <a:lnTo>
                    <a:pt x="51816" y="16825"/>
                  </a:lnTo>
                  <a:lnTo>
                    <a:pt x="51980" y="16825"/>
                  </a:lnTo>
                  <a:lnTo>
                    <a:pt x="51980" y="16825"/>
                  </a:lnTo>
                  <a:lnTo>
                    <a:pt x="52145" y="16507"/>
                  </a:lnTo>
                  <a:lnTo>
                    <a:pt x="52145" y="16507"/>
                  </a:lnTo>
                  <a:lnTo>
                    <a:pt x="52145" y="16507"/>
                  </a:lnTo>
                  <a:lnTo>
                    <a:pt x="51980" y="16507"/>
                  </a:lnTo>
                  <a:lnTo>
                    <a:pt x="51980" y="16507"/>
                  </a:lnTo>
                  <a:close/>
                  <a:moveTo>
                    <a:pt x="20233" y="33809"/>
                  </a:moveTo>
                  <a:lnTo>
                    <a:pt x="20397" y="33809"/>
                  </a:lnTo>
                  <a:lnTo>
                    <a:pt x="20562" y="33809"/>
                  </a:lnTo>
                  <a:lnTo>
                    <a:pt x="20562" y="33809"/>
                  </a:lnTo>
                  <a:lnTo>
                    <a:pt x="20397" y="33333"/>
                  </a:lnTo>
                  <a:lnTo>
                    <a:pt x="20397" y="33333"/>
                  </a:lnTo>
                  <a:lnTo>
                    <a:pt x="20233" y="33809"/>
                  </a:lnTo>
                  <a:lnTo>
                    <a:pt x="20233" y="33809"/>
                  </a:lnTo>
                  <a:lnTo>
                    <a:pt x="20233" y="33809"/>
                  </a:lnTo>
                  <a:close/>
                  <a:moveTo>
                    <a:pt x="39808" y="26984"/>
                  </a:moveTo>
                  <a:lnTo>
                    <a:pt x="39972" y="26984"/>
                  </a:lnTo>
                  <a:lnTo>
                    <a:pt x="39972" y="27301"/>
                  </a:lnTo>
                  <a:lnTo>
                    <a:pt x="40137" y="27301"/>
                  </a:lnTo>
                  <a:lnTo>
                    <a:pt x="40712" y="27777"/>
                  </a:lnTo>
                  <a:lnTo>
                    <a:pt x="40712" y="28095"/>
                  </a:lnTo>
                  <a:lnTo>
                    <a:pt x="40712" y="28095"/>
                  </a:lnTo>
                  <a:lnTo>
                    <a:pt x="40712" y="28412"/>
                  </a:lnTo>
                  <a:lnTo>
                    <a:pt x="40712" y="28412"/>
                  </a:lnTo>
                  <a:lnTo>
                    <a:pt x="40548" y="29206"/>
                  </a:lnTo>
                  <a:lnTo>
                    <a:pt x="40548" y="29206"/>
                  </a:lnTo>
                  <a:lnTo>
                    <a:pt x="40548" y="29206"/>
                  </a:lnTo>
                  <a:lnTo>
                    <a:pt x="40548" y="29682"/>
                  </a:lnTo>
                  <a:lnTo>
                    <a:pt x="40712" y="29682"/>
                  </a:lnTo>
                  <a:lnTo>
                    <a:pt x="40959" y="29682"/>
                  </a:lnTo>
                  <a:lnTo>
                    <a:pt x="41124" y="29206"/>
                  </a:lnTo>
                  <a:lnTo>
                    <a:pt x="41288" y="29206"/>
                  </a:lnTo>
                  <a:lnTo>
                    <a:pt x="41946" y="28888"/>
                  </a:lnTo>
                  <a:lnTo>
                    <a:pt x="42686" y="28412"/>
                  </a:lnTo>
                  <a:lnTo>
                    <a:pt x="42851" y="28412"/>
                  </a:lnTo>
                  <a:lnTo>
                    <a:pt x="42851" y="28412"/>
                  </a:lnTo>
                  <a:lnTo>
                    <a:pt x="42851" y="28412"/>
                  </a:lnTo>
                  <a:lnTo>
                    <a:pt x="42851" y="28412"/>
                  </a:lnTo>
                  <a:lnTo>
                    <a:pt x="43262" y="28412"/>
                  </a:lnTo>
                  <a:lnTo>
                    <a:pt x="43673" y="28412"/>
                  </a:lnTo>
                  <a:lnTo>
                    <a:pt x="44002" y="28412"/>
                  </a:lnTo>
                  <a:lnTo>
                    <a:pt x="44249" y="28095"/>
                  </a:lnTo>
                  <a:lnTo>
                    <a:pt x="44413" y="28095"/>
                  </a:lnTo>
                  <a:lnTo>
                    <a:pt x="44413" y="28095"/>
                  </a:lnTo>
                  <a:lnTo>
                    <a:pt x="44989" y="27301"/>
                  </a:lnTo>
                  <a:lnTo>
                    <a:pt x="45236" y="26984"/>
                  </a:lnTo>
                  <a:lnTo>
                    <a:pt x="45565" y="26666"/>
                  </a:lnTo>
                  <a:lnTo>
                    <a:pt x="45812" y="26190"/>
                  </a:lnTo>
                  <a:lnTo>
                    <a:pt x="45976" y="26190"/>
                  </a:lnTo>
                  <a:lnTo>
                    <a:pt x="46387" y="26190"/>
                  </a:lnTo>
                  <a:lnTo>
                    <a:pt x="46716" y="26190"/>
                  </a:lnTo>
                  <a:lnTo>
                    <a:pt x="46963" y="25873"/>
                  </a:lnTo>
                  <a:lnTo>
                    <a:pt x="47539" y="25555"/>
                  </a:lnTo>
                  <a:lnTo>
                    <a:pt x="47703" y="25079"/>
                  </a:lnTo>
                  <a:lnTo>
                    <a:pt x="47950" y="25079"/>
                  </a:lnTo>
                  <a:lnTo>
                    <a:pt x="49266" y="24285"/>
                  </a:lnTo>
                  <a:lnTo>
                    <a:pt x="50253" y="23968"/>
                  </a:lnTo>
                  <a:lnTo>
                    <a:pt x="50664" y="23968"/>
                  </a:lnTo>
                  <a:lnTo>
                    <a:pt x="51569" y="23650"/>
                  </a:lnTo>
                  <a:lnTo>
                    <a:pt x="51980" y="23650"/>
                  </a:lnTo>
                  <a:lnTo>
                    <a:pt x="52145" y="23174"/>
                  </a:lnTo>
                  <a:lnTo>
                    <a:pt x="52967" y="23174"/>
                  </a:lnTo>
                  <a:lnTo>
                    <a:pt x="52967" y="23174"/>
                  </a:lnTo>
                  <a:lnTo>
                    <a:pt x="53132" y="22857"/>
                  </a:lnTo>
                  <a:lnTo>
                    <a:pt x="53132" y="22857"/>
                  </a:lnTo>
                  <a:lnTo>
                    <a:pt x="53132" y="22857"/>
                  </a:lnTo>
                  <a:lnTo>
                    <a:pt x="53379" y="22857"/>
                  </a:lnTo>
                  <a:lnTo>
                    <a:pt x="53379" y="22539"/>
                  </a:lnTo>
                  <a:lnTo>
                    <a:pt x="53132" y="22539"/>
                  </a:lnTo>
                  <a:lnTo>
                    <a:pt x="52967" y="22063"/>
                  </a:lnTo>
                  <a:lnTo>
                    <a:pt x="52721" y="21428"/>
                  </a:lnTo>
                  <a:lnTo>
                    <a:pt x="52556" y="21428"/>
                  </a:lnTo>
                  <a:lnTo>
                    <a:pt x="52556" y="20952"/>
                  </a:lnTo>
                  <a:lnTo>
                    <a:pt x="52392" y="20952"/>
                  </a:lnTo>
                  <a:lnTo>
                    <a:pt x="52145" y="20952"/>
                  </a:lnTo>
                  <a:lnTo>
                    <a:pt x="51980" y="20952"/>
                  </a:lnTo>
                  <a:lnTo>
                    <a:pt x="51569" y="20952"/>
                  </a:lnTo>
                  <a:lnTo>
                    <a:pt x="51240" y="20952"/>
                  </a:lnTo>
                  <a:lnTo>
                    <a:pt x="51240" y="20952"/>
                  </a:lnTo>
                  <a:lnTo>
                    <a:pt x="50993" y="20952"/>
                  </a:lnTo>
                  <a:lnTo>
                    <a:pt x="50418" y="21428"/>
                  </a:lnTo>
                  <a:lnTo>
                    <a:pt x="50253" y="21428"/>
                  </a:lnTo>
                  <a:lnTo>
                    <a:pt x="50253" y="21746"/>
                  </a:lnTo>
                  <a:lnTo>
                    <a:pt x="50253" y="21428"/>
                  </a:lnTo>
                  <a:lnTo>
                    <a:pt x="50418" y="21428"/>
                  </a:lnTo>
                  <a:lnTo>
                    <a:pt x="50418" y="20952"/>
                  </a:lnTo>
                  <a:lnTo>
                    <a:pt x="50418" y="20952"/>
                  </a:lnTo>
                  <a:lnTo>
                    <a:pt x="50418" y="20952"/>
                  </a:lnTo>
                  <a:lnTo>
                    <a:pt x="50418" y="20952"/>
                  </a:lnTo>
                  <a:lnTo>
                    <a:pt x="50253" y="20952"/>
                  </a:lnTo>
                  <a:lnTo>
                    <a:pt x="49842" y="21428"/>
                  </a:lnTo>
                  <a:lnTo>
                    <a:pt x="49842" y="21428"/>
                  </a:lnTo>
                  <a:lnTo>
                    <a:pt x="49842" y="21428"/>
                  </a:lnTo>
                  <a:lnTo>
                    <a:pt x="49842" y="21428"/>
                  </a:lnTo>
                  <a:lnTo>
                    <a:pt x="50253" y="20952"/>
                  </a:lnTo>
                  <a:lnTo>
                    <a:pt x="49842" y="20952"/>
                  </a:lnTo>
                  <a:lnTo>
                    <a:pt x="49431" y="20634"/>
                  </a:lnTo>
                  <a:lnTo>
                    <a:pt x="49102" y="20634"/>
                  </a:lnTo>
                  <a:lnTo>
                    <a:pt x="49102" y="20158"/>
                  </a:lnTo>
                  <a:lnTo>
                    <a:pt x="48855" y="20158"/>
                  </a:lnTo>
                  <a:lnTo>
                    <a:pt x="48690" y="20158"/>
                  </a:lnTo>
                  <a:lnTo>
                    <a:pt x="48526" y="20158"/>
                  </a:lnTo>
                  <a:lnTo>
                    <a:pt x="47539" y="20158"/>
                  </a:lnTo>
                  <a:lnTo>
                    <a:pt x="46552" y="20634"/>
                  </a:lnTo>
                  <a:lnTo>
                    <a:pt x="44989" y="20634"/>
                  </a:lnTo>
                  <a:lnTo>
                    <a:pt x="44989" y="20634"/>
                  </a:lnTo>
                  <a:lnTo>
                    <a:pt x="44989" y="20634"/>
                  </a:lnTo>
                  <a:lnTo>
                    <a:pt x="44989" y="20952"/>
                  </a:lnTo>
                  <a:lnTo>
                    <a:pt x="44989" y="20952"/>
                  </a:lnTo>
                  <a:lnTo>
                    <a:pt x="44825" y="21746"/>
                  </a:lnTo>
                  <a:lnTo>
                    <a:pt x="44578" y="21746"/>
                  </a:lnTo>
                  <a:lnTo>
                    <a:pt x="44825" y="22063"/>
                  </a:lnTo>
                  <a:lnTo>
                    <a:pt x="44825" y="22063"/>
                  </a:lnTo>
                  <a:lnTo>
                    <a:pt x="44825" y="22063"/>
                  </a:lnTo>
                  <a:lnTo>
                    <a:pt x="44825" y="22063"/>
                  </a:lnTo>
                  <a:lnTo>
                    <a:pt x="44413" y="22539"/>
                  </a:lnTo>
                  <a:lnTo>
                    <a:pt x="44002" y="22857"/>
                  </a:lnTo>
                  <a:lnTo>
                    <a:pt x="43427" y="23174"/>
                  </a:lnTo>
                  <a:lnTo>
                    <a:pt x="43098" y="23650"/>
                  </a:lnTo>
                  <a:lnTo>
                    <a:pt x="42851" y="23650"/>
                  </a:lnTo>
                  <a:lnTo>
                    <a:pt x="42522" y="23968"/>
                  </a:lnTo>
                  <a:lnTo>
                    <a:pt x="42522" y="23968"/>
                  </a:lnTo>
                  <a:lnTo>
                    <a:pt x="42522" y="23968"/>
                  </a:lnTo>
                  <a:lnTo>
                    <a:pt x="42522" y="24285"/>
                  </a:lnTo>
                  <a:lnTo>
                    <a:pt x="42522" y="24285"/>
                  </a:lnTo>
                  <a:lnTo>
                    <a:pt x="42522" y="24285"/>
                  </a:lnTo>
                  <a:lnTo>
                    <a:pt x="42522" y="24285"/>
                  </a:lnTo>
                  <a:lnTo>
                    <a:pt x="42522" y="24285"/>
                  </a:lnTo>
                  <a:lnTo>
                    <a:pt x="42522" y="24285"/>
                  </a:lnTo>
                  <a:lnTo>
                    <a:pt x="42522" y="24285"/>
                  </a:lnTo>
                  <a:lnTo>
                    <a:pt x="41946" y="24761"/>
                  </a:lnTo>
                  <a:lnTo>
                    <a:pt x="41946" y="24761"/>
                  </a:lnTo>
                  <a:lnTo>
                    <a:pt x="41699" y="24761"/>
                  </a:lnTo>
                  <a:lnTo>
                    <a:pt x="41699" y="24761"/>
                  </a:lnTo>
                  <a:lnTo>
                    <a:pt x="41535" y="25079"/>
                  </a:lnTo>
                  <a:lnTo>
                    <a:pt x="41288" y="25079"/>
                  </a:lnTo>
                  <a:lnTo>
                    <a:pt x="41288" y="25555"/>
                  </a:lnTo>
                  <a:lnTo>
                    <a:pt x="41288" y="25555"/>
                  </a:lnTo>
                  <a:lnTo>
                    <a:pt x="41288" y="25555"/>
                  </a:lnTo>
                  <a:lnTo>
                    <a:pt x="41124" y="25555"/>
                  </a:lnTo>
                  <a:lnTo>
                    <a:pt x="40959" y="25555"/>
                  </a:lnTo>
                  <a:lnTo>
                    <a:pt x="40712" y="25873"/>
                  </a:lnTo>
                  <a:lnTo>
                    <a:pt x="40548" y="25873"/>
                  </a:lnTo>
                  <a:lnTo>
                    <a:pt x="40548" y="25873"/>
                  </a:lnTo>
                  <a:lnTo>
                    <a:pt x="40383" y="26190"/>
                  </a:lnTo>
                  <a:lnTo>
                    <a:pt x="40137" y="26190"/>
                  </a:lnTo>
                  <a:lnTo>
                    <a:pt x="39972" y="26190"/>
                  </a:lnTo>
                  <a:lnTo>
                    <a:pt x="39972" y="26190"/>
                  </a:lnTo>
                  <a:lnTo>
                    <a:pt x="39972" y="26190"/>
                  </a:lnTo>
                  <a:lnTo>
                    <a:pt x="39972" y="26666"/>
                  </a:lnTo>
                  <a:lnTo>
                    <a:pt x="39972" y="26666"/>
                  </a:lnTo>
                  <a:lnTo>
                    <a:pt x="39561" y="26666"/>
                  </a:lnTo>
                  <a:lnTo>
                    <a:pt x="39561" y="26666"/>
                  </a:lnTo>
                  <a:lnTo>
                    <a:pt x="39561" y="26666"/>
                  </a:lnTo>
                  <a:lnTo>
                    <a:pt x="39561" y="26984"/>
                  </a:lnTo>
                  <a:lnTo>
                    <a:pt x="39396" y="26984"/>
                  </a:lnTo>
                  <a:lnTo>
                    <a:pt x="39232" y="26984"/>
                  </a:lnTo>
                  <a:lnTo>
                    <a:pt x="39232" y="26984"/>
                  </a:lnTo>
                  <a:lnTo>
                    <a:pt x="39396" y="26984"/>
                  </a:lnTo>
                  <a:lnTo>
                    <a:pt x="39808" y="26984"/>
                  </a:lnTo>
                  <a:close/>
                  <a:moveTo>
                    <a:pt x="63248" y="12380"/>
                  </a:moveTo>
                  <a:lnTo>
                    <a:pt x="63248" y="12380"/>
                  </a:lnTo>
                  <a:lnTo>
                    <a:pt x="63248" y="12380"/>
                  </a:lnTo>
                  <a:lnTo>
                    <a:pt x="63248" y="12380"/>
                  </a:lnTo>
                  <a:lnTo>
                    <a:pt x="63248" y="12698"/>
                  </a:lnTo>
                  <a:lnTo>
                    <a:pt x="63413" y="12698"/>
                  </a:lnTo>
                  <a:lnTo>
                    <a:pt x="63577" y="12698"/>
                  </a:lnTo>
                  <a:lnTo>
                    <a:pt x="63824" y="13015"/>
                  </a:lnTo>
                  <a:lnTo>
                    <a:pt x="63989" y="13015"/>
                  </a:lnTo>
                  <a:lnTo>
                    <a:pt x="64976" y="12698"/>
                  </a:lnTo>
                  <a:lnTo>
                    <a:pt x="64976" y="12698"/>
                  </a:lnTo>
                  <a:lnTo>
                    <a:pt x="65140" y="12698"/>
                  </a:lnTo>
                  <a:lnTo>
                    <a:pt x="65551" y="12698"/>
                  </a:lnTo>
                  <a:lnTo>
                    <a:pt x="65962" y="12698"/>
                  </a:lnTo>
                  <a:lnTo>
                    <a:pt x="66127" y="12380"/>
                  </a:lnTo>
                  <a:lnTo>
                    <a:pt x="66291" y="12380"/>
                  </a:lnTo>
                  <a:lnTo>
                    <a:pt x="66291" y="12380"/>
                  </a:lnTo>
                  <a:lnTo>
                    <a:pt x="66538" y="11904"/>
                  </a:lnTo>
                  <a:lnTo>
                    <a:pt x="66538" y="11904"/>
                  </a:lnTo>
                  <a:lnTo>
                    <a:pt x="66538" y="11904"/>
                  </a:lnTo>
                  <a:lnTo>
                    <a:pt x="66538" y="11904"/>
                  </a:lnTo>
                  <a:lnTo>
                    <a:pt x="66538" y="11904"/>
                  </a:lnTo>
                  <a:lnTo>
                    <a:pt x="66127" y="11904"/>
                  </a:lnTo>
                  <a:lnTo>
                    <a:pt x="65962" y="11904"/>
                  </a:lnTo>
                  <a:lnTo>
                    <a:pt x="65962" y="11587"/>
                  </a:lnTo>
                  <a:lnTo>
                    <a:pt x="66127" y="11587"/>
                  </a:lnTo>
                  <a:lnTo>
                    <a:pt x="66127" y="11587"/>
                  </a:lnTo>
                  <a:lnTo>
                    <a:pt x="66949" y="11587"/>
                  </a:lnTo>
                  <a:lnTo>
                    <a:pt x="67278" y="11587"/>
                  </a:lnTo>
                  <a:lnTo>
                    <a:pt x="67525" y="11269"/>
                  </a:lnTo>
                  <a:lnTo>
                    <a:pt x="67690" y="11269"/>
                  </a:lnTo>
                  <a:lnTo>
                    <a:pt x="67690" y="11269"/>
                  </a:lnTo>
                  <a:lnTo>
                    <a:pt x="67690" y="11269"/>
                  </a:lnTo>
                  <a:lnTo>
                    <a:pt x="66949" y="11269"/>
                  </a:lnTo>
                  <a:lnTo>
                    <a:pt x="66703" y="11269"/>
                  </a:lnTo>
                  <a:lnTo>
                    <a:pt x="66538" y="11269"/>
                  </a:lnTo>
                  <a:lnTo>
                    <a:pt x="66127" y="11269"/>
                  </a:lnTo>
                  <a:lnTo>
                    <a:pt x="64976" y="11269"/>
                  </a:lnTo>
                  <a:lnTo>
                    <a:pt x="64400" y="11587"/>
                  </a:lnTo>
                  <a:lnTo>
                    <a:pt x="63989" y="11587"/>
                  </a:lnTo>
                  <a:lnTo>
                    <a:pt x="63989" y="11587"/>
                  </a:lnTo>
                  <a:lnTo>
                    <a:pt x="63824" y="11587"/>
                  </a:lnTo>
                  <a:lnTo>
                    <a:pt x="63824" y="11587"/>
                  </a:lnTo>
                  <a:lnTo>
                    <a:pt x="63577" y="11587"/>
                  </a:lnTo>
                  <a:lnTo>
                    <a:pt x="63577" y="11587"/>
                  </a:lnTo>
                  <a:lnTo>
                    <a:pt x="63577" y="11904"/>
                  </a:lnTo>
                  <a:lnTo>
                    <a:pt x="63413" y="11904"/>
                  </a:lnTo>
                  <a:lnTo>
                    <a:pt x="63413" y="11904"/>
                  </a:lnTo>
                  <a:lnTo>
                    <a:pt x="63413" y="12380"/>
                  </a:lnTo>
                  <a:lnTo>
                    <a:pt x="63413" y="12380"/>
                  </a:lnTo>
                  <a:lnTo>
                    <a:pt x="63248" y="12380"/>
                  </a:lnTo>
                  <a:lnTo>
                    <a:pt x="63248" y="12380"/>
                  </a:lnTo>
                  <a:close/>
                  <a:moveTo>
                    <a:pt x="54119" y="17619"/>
                  </a:moveTo>
                  <a:lnTo>
                    <a:pt x="54283" y="17142"/>
                  </a:lnTo>
                  <a:lnTo>
                    <a:pt x="54859" y="16825"/>
                  </a:lnTo>
                  <a:lnTo>
                    <a:pt x="55435" y="16507"/>
                  </a:lnTo>
                  <a:lnTo>
                    <a:pt x="55435" y="16507"/>
                  </a:lnTo>
                  <a:lnTo>
                    <a:pt x="55846" y="16031"/>
                  </a:lnTo>
                  <a:lnTo>
                    <a:pt x="55846" y="16031"/>
                  </a:lnTo>
                  <a:lnTo>
                    <a:pt x="55846" y="16031"/>
                  </a:lnTo>
                  <a:lnTo>
                    <a:pt x="55681" y="16031"/>
                  </a:lnTo>
                  <a:lnTo>
                    <a:pt x="55435" y="16031"/>
                  </a:lnTo>
                  <a:lnTo>
                    <a:pt x="55106" y="16507"/>
                  </a:lnTo>
                  <a:lnTo>
                    <a:pt x="54694" y="16507"/>
                  </a:lnTo>
                  <a:lnTo>
                    <a:pt x="54530" y="16507"/>
                  </a:lnTo>
                  <a:lnTo>
                    <a:pt x="53708" y="16825"/>
                  </a:lnTo>
                  <a:lnTo>
                    <a:pt x="53379" y="17142"/>
                  </a:lnTo>
                  <a:lnTo>
                    <a:pt x="53132" y="17142"/>
                  </a:lnTo>
                  <a:lnTo>
                    <a:pt x="53132" y="17142"/>
                  </a:lnTo>
                  <a:lnTo>
                    <a:pt x="52967" y="17142"/>
                  </a:lnTo>
                  <a:lnTo>
                    <a:pt x="53132" y="17619"/>
                  </a:lnTo>
                  <a:lnTo>
                    <a:pt x="53379" y="17619"/>
                  </a:lnTo>
                  <a:lnTo>
                    <a:pt x="53543" y="17619"/>
                  </a:lnTo>
                  <a:lnTo>
                    <a:pt x="53708" y="17619"/>
                  </a:lnTo>
                  <a:lnTo>
                    <a:pt x="54119" y="17619"/>
                  </a:lnTo>
                  <a:close/>
                  <a:moveTo>
                    <a:pt x="63413" y="23968"/>
                  </a:moveTo>
                  <a:lnTo>
                    <a:pt x="63413" y="23968"/>
                  </a:lnTo>
                  <a:lnTo>
                    <a:pt x="63824" y="23968"/>
                  </a:lnTo>
                  <a:lnTo>
                    <a:pt x="64235" y="23650"/>
                  </a:lnTo>
                  <a:lnTo>
                    <a:pt x="64400" y="23174"/>
                  </a:lnTo>
                  <a:lnTo>
                    <a:pt x="64564" y="22857"/>
                  </a:lnTo>
                  <a:lnTo>
                    <a:pt x="64564" y="22857"/>
                  </a:lnTo>
                  <a:lnTo>
                    <a:pt x="64564" y="22857"/>
                  </a:lnTo>
                  <a:lnTo>
                    <a:pt x="64564" y="22539"/>
                  </a:lnTo>
                  <a:lnTo>
                    <a:pt x="64564" y="22539"/>
                  </a:lnTo>
                  <a:lnTo>
                    <a:pt x="64564" y="22539"/>
                  </a:lnTo>
                  <a:lnTo>
                    <a:pt x="64400" y="22063"/>
                  </a:lnTo>
                  <a:lnTo>
                    <a:pt x="64235" y="22063"/>
                  </a:lnTo>
                  <a:lnTo>
                    <a:pt x="63989" y="22063"/>
                  </a:lnTo>
                  <a:lnTo>
                    <a:pt x="63002" y="22539"/>
                  </a:lnTo>
                  <a:lnTo>
                    <a:pt x="62673" y="22539"/>
                  </a:lnTo>
                  <a:lnTo>
                    <a:pt x="62673" y="22539"/>
                  </a:lnTo>
                  <a:lnTo>
                    <a:pt x="62261" y="22539"/>
                  </a:lnTo>
                  <a:lnTo>
                    <a:pt x="62097" y="22857"/>
                  </a:lnTo>
                  <a:lnTo>
                    <a:pt x="62097" y="22857"/>
                  </a:lnTo>
                  <a:lnTo>
                    <a:pt x="62261" y="22857"/>
                  </a:lnTo>
                  <a:lnTo>
                    <a:pt x="62261" y="23174"/>
                  </a:lnTo>
                  <a:lnTo>
                    <a:pt x="62426" y="23650"/>
                  </a:lnTo>
                  <a:lnTo>
                    <a:pt x="62426" y="23650"/>
                  </a:lnTo>
                  <a:lnTo>
                    <a:pt x="62426" y="23650"/>
                  </a:lnTo>
                  <a:lnTo>
                    <a:pt x="62673" y="23968"/>
                  </a:lnTo>
                  <a:lnTo>
                    <a:pt x="62673" y="24285"/>
                  </a:lnTo>
                  <a:lnTo>
                    <a:pt x="62673" y="24285"/>
                  </a:lnTo>
                  <a:lnTo>
                    <a:pt x="62837" y="24285"/>
                  </a:lnTo>
                  <a:lnTo>
                    <a:pt x="62837" y="24285"/>
                  </a:lnTo>
                  <a:lnTo>
                    <a:pt x="63002" y="24285"/>
                  </a:lnTo>
                  <a:lnTo>
                    <a:pt x="63248" y="24285"/>
                  </a:lnTo>
                  <a:lnTo>
                    <a:pt x="63413" y="23968"/>
                  </a:lnTo>
                  <a:close/>
                  <a:moveTo>
                    <a:pt x="50664" y="38253"/>
                  </a:moveTo>
                  <a:lnTo>
                    <a:pt x="50829" y="38253"/>
                  </a:lnTo>
                  <a:lnTo>
                    <a:pt x="50829" y="38253"/>
                  </a:lnTo>
                  <a:lnTo>
                    <a:pt x="50829" y="37936"/>
                  </a:lnTo>
                  <a:lnTo>
                    <a:pt x="50829" y="37936"/>
                  </a:lnTo>
                  <a:lnTo>
                    <a:pt x="50664" y="37936"/>
                  </a:lnTo>
                  <a:lnTo>
                    <a:pt x="50664" y="38253"/>
                  </a:lnTo>
                  <a:close/>
                  <a:moveTo>
                    <a:pt x="50829" y="38253"/>
                  </a:moveTo>
                  <a:lnTo>
                    <a:pt x="50829" y="38253"/>
                  </a:lnTo>
                  <a:lnTo>
                    <a:pt x="50829" y="38253"/>
                  </a:lnTo>
                  <a:lnTo>
                    <a:pt x="50829" y="38253"/>
                  </a:lnTo>
                  <a:lnTo>
                    <a:pt x="50993" y="38571"/>
                  </a:lnTo>
                  <a:lnTo>
                    <a:pt x="50993" y="38571"/>
                  </a:lnTo>
                  <a:lnTo>
                    <a:pt x="50993" y="38571"/>
                  </a:lnTo>
                  <a:lnTo>
                    <a:pt x="51240" y="38253"/>
                  </a:lnTo>
                  <a:lnTo>
                    <a:pt x="51240" y="38253"/>
                  </a:lnTo>
                  <a:lnTo>
                    <a:pt x="50993" y="38253"/>
                  </a:lnTo>
                  <a:lnTo>
                    <a:pt x="50829" y="38253"/>
                  </a:lnTo>
                  <a:close/>
                  <a:moveTo>
                    <a:pt x="64811" y="10476"/>
                  </a:moveTo>
                  <a:lnTo>
                    <a:pt x="65387" y="10476"/>
                  </a:lnTo>
                  <a:lnTo>
                    <a:pt x="65962" y="10476"/>
                  </a:lnTo>
                  <a:lnTo>
                    <a:pt x="66127" y="10476"/>
                  </a:lnTo>
                  <a:lnTo>
                    <a:pt x="66291" y="10476"/>
                  </a:lnTo>
                  <a:lnTo>
                    <a:pt x="66291" y="10476"/>
                  </a:lnTo>
                  <a:lnTo>
                    <a:pt x="66538" y="10476"/>
                  </a:lnTo>
                  <a:lnTo>
                    <a:pt x="66703" y="10476"/>
                  </a:lnTo>
                  <a:lnTo>
                    <a:pt x="66949" y="10476"/>
                  </a:lnTo>
                  <a:lnTo>
                    <a:pt x="66949" y="10476"/>
                  </a:lnTo>
                  <a:lnTo>
                    <a:pt x="67114" y="10476"/>
                  </a:lnTo>
                  <a:lnTo>
                    <a:pt x="67114" y="10476"/>
                  </a:lnTo>
                  <a:lnTo>
                    <a:pt x="67278" y="10476"/>
                  </a:lnTo>
                  <a:lnTo>
                    <a:pt x="67525" y="10476"/>
                  </a:lnTo>
                  <a:lnTo>
                    <a:pt x="67854" y="10476"/>
                  </a:lnTo>
                  <a:lnTo>
                    <a:pt x="68101" y="10476"/>
                  </a:lnTo>
                  <a:lnTo>
                    <a:pt x="68265" y="10476"/>
                  </a:lnTo>
                  <a:lnTo>
                    <a:pt x="68430" y="10476"/>
                  </a:lnTo>
                  <a:lnTo>
                    <a:pt x="68677" y="10476"/>
                  </a:lnTo>
                  <a:lnTo>
                    <a:pt x="68677" y="10476"/>
                  </a:lnTo>
                  <a:lnTo>
                    <a:pt x="68677" y="10158"/>
                  </a:lnTo>
                  <a:lnTo>
                    <a:pt x="68841" y="10158"/>
                  </a:lnTo>
                  <a:lnTo>
                    <a:pt x="68841" y="10158"/>
                  </a:lnTo>
                  <a:lnTo>
                    <a:pt x="68841" y="9682"/>
                  </a:lnTo>
                  <a:lnTo>
                    <a:pt x="68841" y="9682"/>
                  </a:lnTo>
                  <a:lnTo>
                    <a:pt x="68677" y="9682"/>
                  </a:lnTo>
                  <a:lnTo>
                    <a:pt x="68677" y="9682"/>
                  </a:lnTo>
                  <a:lnTo>
                    <a:pt x="68677" y="9682"/>
                  </a:lnTo>
                  <a:lnTo>
                    <a:pt x="68430" y="9682"/>
                  </a:lnTo>
                  <a:lnTo>
                    <a:pt x="68265" y="9365"/>
                  </a:lnTo>
                  <a:lnTo>
                    <a:pt x="68101" y="9365"/>
                  </a:lnTo>
                  <a:lnTo>
                    <a:pt x="67854" y="9682"/>
                  </a:lnTo>
                  <a:lnTo>
                    <a:pt x="67525" y="9682"/>
                  </a:lnTo>
                  <a:lnTo>
                    <a:pt x="67114" y="9682"/>
                  </a:lnTo>
                  <a:lnTo>
                    <a:pt x="66949" y="9682"/>
                  </a:lnTo>
                  <a:lnTo>
                    <a:pt x="66703" y="10158"/>
                  </a:lnTo>
                  <a:lnTo>
                    <a:pt x="66127" y="10158"/>
                  </a:lnTo>
                  <a:lnTo>
                    <a:pt x="65551" y="10158"/>
                  </a:lnTo>
                  <a:lnTo>
                    <a:pt x="65387" y="10158"/>
                  </a:lnTo>
                  <a:lnTo>
                    <a:pt x="64976" y="10476"/>
                  </a:lnTo>
                  <a:lnTo>
                    <a:pt x="64811" y="10476"/>
                  </a:lnTo>
                  <a:lnTo>
                    <a:pt x="64564" y="10476"/>
                  </a:lnTo>
                  <a:lnTo>
                    <a:pt x="64564" y="10476"/>
                  </a:lnTo>
                  <a:lnTo>
                    <a:pt x="64564" y="10476"/>
                  </a:lnTo>
                  <a:lnTo>
                    <a:pt x="64811" y="10476"/>
                  </a:lnTo>
                  <a:close/>
                  <a:moveTo>
                    <a:pt x="411" y="86666"/>
                  </a:moveTo>
                  <a:lnTo>
                    <a:pt x="411" y="86666"/>
                  </a:lnTo>
                  <a:lnTo>
                    <a:pt x="246" y="86984"/>
                  </a:lnTo>
                  <a:lnTo>
                    <a:pt x="246" y="86984"/>
                  </a:lnTo>
                  <a:lnTo>
                    <a:pt x="246" y="86984"/>
                  </a:lnTo>
                  <a:lnTo>
                    <a:pt x="246" y="86984"/>
                  </a:lnTo>
                  <a:lnTo>
                    <a:pt x="411" y="86666"/>
                  </a:lnTo>
                  <a:lnTo>
                    <a:pt x="411" y="86666"/>
                  </a:lnTo>
                  <a:lnTo>
                    <a:pt x="411" y="86666"/>
                  </a:lnTo>
                  <a:close/>
                  <a:moveTo>
                    <a:pt x="64400" y="30793"/>
                  </a:moveTo>
                  <a:lnTo>
                    <a:pt x="64400" y="30793"/>
                  </a:lnTo>
                  <a:lnTo>
                    <a:pt x="64235" y="30793"/>
                  </a:lnTo>
                  <a:lnTo>
                    <a:pt x="64235" y="30793"/>
                  </a:lnTo>
                  <a:lnTo>
                    <a:pt x="64235" y="31111"/>
                  </a:lnTo>
                  <a:lnTo>
                    <a:pt x="64235" y="31111"/>
                  </a:lnTo>
                  <a:lnTo>
                    <a:pt x="64235" y="31111"/>
                  </a:lnTo>
                  <a:lnTo>
                    <a:pt x="64400" y="31111"/>
                  </a:lnTo>
                  <a:lnTo>
                    <a:pt x="64400" y="31111"/>
                  </a:lnTo>
                  <a:lnTo>
                    <a:pt x="64564" y="31111"/>
                  </a:lnTo>
                  <a:lnTo>
                    <a:pt x="64564" y="31111"/>
                  </a:lnTo>
                  <a:lnTo>
                    <a:pt x="64564" y="30793"/>
                  </a:lnTo>
                  <a:lnTo>
                    <a:pt x="64564" y="30793"/>
                  </a:lnTo>
                  <a:lnTo>
                    <a:pt x="64564" y="30793"/>
                  </a:lnTo>
                  <a:lnTo>
                    <a:pt x="64400" y="30793"/>
                  </a:lnTo>
                  <a:close/>
                  <a:moveTo>
                    <a:pt x="68430" y="17936"/>
                  </a:moveTo>
                  <a:lnTo>
                    <a:pt x="68430" y="17936"/>
                  </a:lnTo>
                  <a:lnTo>
                    <a:pt x="68430" y="17936"/>
                  </a:lnTo>
                  <a:lnTo>
                    <a:pt x="68265" y="17936"/>
                  </a:lnTo>
                  <a:lnTo>
                    <a:pt x="68101" y="17936"/>
                  </a:lnTo>
                  <a:lnTo>
                    <a:pt x="67854" y="17936"/>
                  </a:lnTo>
                  <a:lnTo>
                    <a:pt x="67690" y="17936"/>
                  </a:lnTo>
                  <a:lnTo>
                    <a:pt x="67525" y="17936"/>
                  </a:lnTo>
                  <a:lnTo>
                    <a:pt x="67278" y="18412"/>
                  </a:lnTo>
                  <a:lnTo>
                    <a:pt x="67114" y="18412"/>
                  </a:lnTo>
                  <a:lnTo>
                    <a:pt x="67114" y="18412"/>
                  </a:lnTo>
                  <a:lnTo>
                    <a:pt x="67114" y="18730"/>
                  </a:lnTo>
                  <a:lnTo>
                    <a:pt x="67114" y="18730"/>
                  </a:lnTo>
                  <a:lnTo>
                    <a:pt x="67114" y="18730"/>
                  </a:lnTo>
                  <a:lnTo>
                    <a:pt x="67525" y="18730"/>
                  </a:lnTo>
                  <a:lnTo>
                    <a:pt x="67690" y="18730"/>
                  </a:lnTo>
                  <a:lnTo>
                    <a:pt x="68101" y="18730"/>
                  </a:lnTo>
                  <a:lnTo>
                    <a:pt x="68265" y="18730"/>
                  </a:lnTo>
                  <a:lnTo>
                    <a:pt x="68265" y="18730"/>
                  </a:lnTo>
                  <a:lnTo>
                    <a:pt x="68265" y="18412"/>
                  </a:lnTo>
                  <a:lnTo>
                    <a:pt x="68430" y="18412"/>
                  </a:lnTo>
                  <a:lnTo>
                    <a:pt x="68430" y="18412"/>
                  </a:lnTo>
                  <a:lnTo>
                    <a:pt x="68430" y="18412"/>
                  </a:lnTo>
                  <a:lnTo>
                    <a:pt x="68430" y="18412"/>
                  </a:lnTo>
                  <a:lnTo>
                    <a:pt x="68430" y="17936"/>
                  </a:lnTo>
                  <a:close/>
                  <a:moveTo>
                    <a:pt x="62426" y="11904"/>
                  </a:moveTo>
                  <a:lnTo>
                    <a:pt x="62673" y="11904"/>
                  </a:lnTo>
                  <a:lnTo>
                    <a:pt x="63002" y="11904"/>
                  </a:lnTo>
                  <a:lnTo>
                    <a:pt x="63002" y="11904"/>
                  </a:lnTo>
                  <a:lnTo>
                    <a:pt x="63248" y="11587"/>
                  </a:lnTo>
                  <a:lnTo>
                    <a:pt x="63248" y="11587"/>
                  </a:lnTo>
                  <a:lnTo>
                    <a:pt x="63248" y="11587"/>
                  </a:lnTo>
                  <a:lnTo>
                    <a:pt x="63413" y="11587"/>
                  </a:lnTo>
                  <a:lnTo>
                    <a:pt x="63248" y="11587"/>
                  </a:lnTo>
                  <a:lnTo>
                    <a:pt x="63248" y="11587"/>
                  </a:lnTo>
                  <a:lnTo>
                    <a:pt x="63248" y="11269"/>
                  </a:lnTo>
                  <a:lnTo>
                    <a:pt x="63002" y="11269"/>
                  </a:lnTo>
                  <a:lnTo>
                    <a:pt x="63002" y="11269"/>
                  </a:lnTo>
                  <a:lnTo>
                    <a:pt x="63002" y="11269"/>
                  </a:lnTo>
                  <a:lnTo>
                    <a:pt x="63002" y="11269"/>
                  </a:lnTo>
                  <a:lnTo>
                    <a:pt x="63002" y="11269"/>
                  </a:lnTo>
                  <a:lnTo>
                    <a:pt x="62837" y="11269"/>
                  </a:lnTo>
                  <a:lnTo>
                    <a:pt x="62673" y="11269"/>
                  </a:lnTo>
                  <a:lnTo>
                    <a:pt x="62426" y="11269"/>
                  </a:lnTo>
                  <a:lnTo>
                    <a:pt x="62426" y="11269"/>
                  </a:lnTo>
                  <a:lnTo>
                    <a:pt x="62261" y="11269"/>
                  </a:lnTo>
                  <a:lnTo>
                    <a:pt x="62097" y="11587"/>
                  </a:lnTo>
                  <a:lnTo>
                    <a:pt x="62261" y="11904"/>
                  </a:lnTo>
                  <a:lnTo>
                    <a:pt x="62426" y="11904"/>
                  </a:lnTo>
                  <a:close/>
                  <a:moveTo>
                    <a:pt x="4276" y="83650"/>
                  </a:moveTo>
                  <a:lnTo>
                    <a:pt x="4276" y="83650"/>
                  </a:lnTo>
                  <a:lnTo>
                    <a:pt x="4523" y="82857"/>
                  </a:lnTo>
                  <a:lnTo>
                    <a:pt x="4523" y="82857"/>
                  </a:lnTo>
                  <a:lnTo>
                    <a:pt x="4523" y="82857"/>
                  </a:lnTo>
                  <a:lnTo>
                    <a:pt x="4523" y="82857"/>
                  </a:lnTo>
                  <a:lnTo>
                    <a:pt x="4523" y="82857"/>
                  </a:lnTo>
                  <a:lnTo>
                    <a:pt x="4276" y="83333"/>
                  </a:lnTo>
                  <a:lnTo>
                    <a:pt x="4112" y="83333"/>
                  </a:lnTo>
                  <a:lnTo>
                    <a:pt x="4112" y="83333"/>
                  </a:lnTo>
                  <a:lnTo>
                    <a:pt x="4112" y="83650"/>
                  </a:lnTo>
                  <a:lnTo>
                    <a:pt x="4112" y="83650"/>
                  </a:lnTo>
                  <a:lnTo>
                    <a:pt x="4276" y="83650"/>
                  </a:lnTo>
                  <a:close/>
                  <a:moveTo>
                    <a:pt x="986" y="83333"/>
                  </a:moveTo>
                  <a:lnTo>
                    <a:pt x="822" y="83333"/>
                  </a:lnTo>
                  <a:lnTo>
                    <a:pt x="657" y="83333"/>
                  </a:lnTo>
                  <a:lnTo>
                    <a:pt x="411" y="83333"/>
                  </a:lnTo>
                  <a:lnTo>
                    <a:pt x="246" y="83333"/>
                  </a:lnTo>
                  <a:lnTo>
                    <a:pt x="0" y="83333"/>
                  </a:lnTo>
                  <a:lnTo>
                    <a:pt x="0" y="83333"/>
                  </a:lnTo>
                  <a:lnTo>
                    <a:pt x="0" y="83650"/>
                  </a:lnTo>
                  <a:lnTo>
                    <a:pt x="0" y="83650"/>
                  </a:lnTo>
                  <a:lnTo>
                    <a:pt x="246" y="83968"/>
                  </a:lnTo>
                  <a:lnTo>
                    <a:pt x="246" y="83968"/>
                  </a:lnTo>
                  <a:lnTo>
                    <a:pt x="0" y="83968"/>
                  </a:lnTo>
                  <a:lnTo>
                    <a:pt x="0" y="83968"/>
                  </a:lnTo>
                  <a:lnTo>
                    <a:pt x="0" y="83968"/>
                  </a:lnTo>
                  <a:lnTo>
                    <a:pt x="0" y="84444"/>
                  </a:lnTo>
                  <a:lnTo>
                    <a:pt x="0" y="84444"/>
                  </a:lnTo>
                  <a:lnTo>
                    <a:pt x="0" y="84761"/>
                  </a:lnTo>
                  <a:lnTo>
                    <a:pt x="0" y="85079"/>
                  </a:lnTo>
                  <a:lnTo>
                    <a:pt x="246" y="85555"/>
                  </a:lnTo>
                  <a:lnTo>
                    <a:pt x="246" y="85873"/>
                  </a:lnTo>
                  <a:lnTo>
                    <a:pt x="246" y="85873"/>
                  </a:lnTo>
                  <a:lnTo>
                    <a:pt x="246" y="86349"/>
                  </a:lnTo>
                  <a:lnTo>
                    <a:pt x="246" y="86666"/>
                  </a:lnTo>
                  <a:lnTo>
                    <a:pt x="411" y="86349"/>
                  </a:lnTo>
                  <a:lnTo>
                    <a:pt x="657" y="86349"/>
                  </a:lnTo>
                  <a:lnTo>
                    <a:pt x="411" y="86349"/>
                  </a:lnTo>
                  <a:lnTo>
                    <a:pt x="411" y="86349"/>
                  </a:lnTo>
                  <a:lnTo>
                    <a:pt x="411" y="85873"/>
                  </a:lnTo>
                  <a:lnTo>
                    <a:pt x="657" y="85873"/>
                  </a:lnTo>
                  <a:lnTo>
                    <a:pt x="657" y="85873"/>
                  </a:lnTo>
                  <a:lnTo>
                    <a:pt x="657" y="85555"/>
                  </a:lnTo>
                  <a:lnTo>
                    <a:pt x="411" y="85873"/>
                  </a:lnTo>
                  <a:lnTo>
                    <a:pt x="411" y="85873"/>
                  </a:lnTo>
                  <a:lnTo>
                    <a:pt x="411" y="85555"/>
                  </a:lnTo>
                  <a:lnTo>
                    <a:pt x="411" y="85079"/>
                  </a:lnTo>
                  <a:lnTo>
                    <a:pt x="411" y="85079"/>
                  </a:lnTo>
                  <a:lnTo>
                    <a:pt x="822" y="84761"/>
                  </a:lnTo>
                  <a:lnTo>
                    <a:pt x="657" y="84761"/>
                  </a:lnTo>
                  <a:lnTo>
                    <a:pt x="411" y="84761"/>
                  </a:lnTo>
                  <a:lnTo>
                    <a:pt x="411" y="84444"/>
                  </a:lnTo>
                  <a:lnTo>
                    <a:pt x="411" y="84444"/>
                  </a:lnTo>
                  <a:lnTo>
                    <a:pt x="411" y="84444"/>
                  </a:lnTo>
                  <a:lnTo>
                    <a:pt x="411" y="83968"/>
                  </a:lnTo>
                  <a:lnTo>
                    <a:pt x="411" y="83968"/>
                  </a:lnTo>
                  <a:lnTo>
                    <a:pt x="657" y="84444"/>
                  </a:lnTo>
                  <a:lnTo>
                    <a:pt x="822" y="83968"/>
                  </a:lnTo>
                  <a:lnTo>
                    <a:pt x="986" y="83650"/>
                  </a:lnTo>
                  <a:lnTo>
                    <a:pt x="986" y="83650"/>
                  </a:lnTo>
                  <a:lnTo>
                    <a:pt x="986" y="83333"/>
                  </a:lnTo>
                  <a:lnTo>
                    <a:pt x="986" y="83333"/>
                  </a:lnTo>
                  <a:lnTo>
                    <a:pt x="986" y="83333"/>
                  </a:lnTo>
                  <a:close/>
                  <a:moveTo>
                    <a:pt x="3701" y="84444"/>
                  </a:moveTo>
                  <a:lnTo>
                    <a:pt x="3701" y="84444"/>
                  </a:lnTo>
                  <a:lnTo>
                    <a:pt x="3701" y="84444"/>
                  </a:lnTo>
                  <a:lnTo>
                    <a:pt x="3701" y="84761"/>
                  </a:lnTo>
                  <a:lnTo>
                    <a:pt x="3701" y="84761"/>
                  </a:lnTo>
                  <a:lnTo>
                    <a:pt x="3536" y="85079"/>
                  </a:lnTo>
                  <a:lnTo>
                    <a:pt x="3701" y="85079"/>
                  </a:lnTo>
                  <a:lnTo>
                    <a:pt x="3701" y="85555"/>
                  </a:lnTo>
                  <a:lnTo>
                    <a:pt x="3701" y="85555"/>
                  </a:lnTo>
                  <a:lnTo>
                    <a:pt x="3947" y="85079"/>
                  </a:lnTo>
                  <a:lnTo>
                    <a:pt x="3947" y="84761"/>
                  </a:lnTo>
                  <a:lnTo>
                    <a:pt x="3947" y="84444"/>
                  </a:lnTo>
                  <a:lnTo>
                    <a:pt x="3701" y="84444"/>
                  </a:lnTo>
                  <a:close/>
                  <a:moveTo>
                    <a:pt x="4523" y="85079"/>
                  </a:moveTo>
                  <a:lnTo>
                    <a:pt x="4523" y="85555"/>
                  </a:lnTo>
                  <a:lnTo>
                    <a:pt x="4276" y="85555"/>
                  </a:lnTo>
                  <a:lnTo>
                    <a:pt x="4276" y="85555"/>
                  </a:lnTo>
                  <a:lnTo>
                    <a:pt x="4276" y="85873"/>
                  </a:lnTo>
                  <a:lnTo>
                    <a:pt x="4276" y="85873"/>
                  </a:lnTo>
                  <a:lnTo>
                    <a:pt x="4523" y="85555"/>
                  </a:lnTo>
                  <a:lnTo>
                    <a:pt x="4523" y="85555"/>
                  </a:lnTo>
                  <a:lnTo>
                    <a:pt x="4688" y="85079"/>
                  </a:lnTo>
                  <a:lnTo>
                    <a:pt x="5099" y="84761"/>
                  </a:lnTo>
                  <a:lnTo>
                    <a:pt x="5099" y="84444"/>
                  </a:lnTo>
                  <a:lnTo>
                    <a:pt x="4852" y="84444"/>
                  </a:lnTo>
                  <a:lnTo>
                    <a:pt x="4688" y="84761"/>
                  </a:lnTo>
                  <a:lnTo>
                    <a:pt x="4523" y="85079"/>
                  </a:lnTo>
                  <a:close/>
                  <a:moveTo>
                    <a:pt x="3947" y="83333"/>
                  </a:moveTo>
                  <a:lnTo>
                    <a:pt x="3947" y="83333"/>
                  </a:lnTo>
                  <a:lnTo>
                    <a:pt x="3947" y="83333"/>
                  </a:lnTo>
                  <a:lnTo>
                    <a:pt x="3947" y="83650"/>
                  </a:lnTo>
                  <a:lnTo>
                    <a:pt x="3947" y="83650"/>
                  </a:lnTo>
                  <a:lnTo>
                    <a:pt x="3947" y="83968"/>
                  </a:lnTo>
                  <a:lnTo>
                    <a:pt x="3947" y="83968"/>
                  </a:lnTo>
                  <a:lnTo>
                    <a:pt x="3947" y="83968"/>
                  </a:lnTo>
                  <a:lnTo>
                    <a:pt x="3947" y="83650"/>
                  </a:lnTo>
                  <a:lnTo>
                    <a:pt x="4112" y="83333"/>
                  </a:lnTo>
                  <a:lnTo>
                    <a:pt x="4112" y="83333"/>
                  </a:lnTo>
                  <a:lnTo>
                    <a:pt x="3947" y="83333"/>
                  </a:lnTo>
                  <a:close/>
                  <a:moveTo>
                    <a:pt x="5839" y="92222"/>
                  </a:moveTo>
                  <a:lnTo>
                    <a:pt x="5675" y="92222"/>
                  </a:lnTo>
                  <a:lnTo>
                    <a:pt x="5675" y="92222"/>
                  </a:lnTo>
                  <a:lnTo>
                    <a:pt x="5428" y="92698"/>
                  </a:lnTo>
                  <a:lnTo>
                    <a:pt x="5428" y="93015"/>
                  </a:lnTo>
                  <a:lnTo>
                    <a:pt x="5428" y="93333"/>
                  </a:lnTo>
                  <a:lnTo>
                    <a:pt x="5428" y="93333"/>
                  </a:lnTo>
                  <a:lnTo>
                    <a:pt x="5675" y="93015"/>
                  </a:lnTo>
                  <a:lnTo>
                    <a:pt x="5675" y="92698"/>
                  </a:lnTo>
                  <a:lnTo>
                    <a:pt x="5839" y="92698"/>
                  </a:lnTo>
                  <a:lnTo>
                    <a:pt x="5839" y="92698"/>
                  </a:lnTo>
                  <a:lnTo>
                    <a:pt x="5839" y="92222"/>
                  </a:lnTo>
                  <a:lnTo>
                    <a:pt x="5839" y="92222"/>
                  </a:lnTo>
                  <a:lnTo>
                    <a:pt x="5839" y="92222"/>
                  </a:lnTo>
                  <a:close/>
                  <a:moveTo>
                    <a:pt x="5839" y="93015"/>
                  </a:moveTo>
                  <a:lnTo>
                    <a:pt x="5839" y="93015"/>
                  </a:lnTo>
                  <a:lnTo>
                    <a:pt x="5675" y="93015"/>
                  </a:lnTo>
                  <a:lnTo>
                    <a:pt x="5675" y="93333"/>
                  </a:lnTo>
                  <a:lnTo>
                    <a:pt x="5675" y="93333"/>
                  </a:lnTo>
                  <a:lnTo>
                    <a:pt x="5839" y="93333"/>
                  </a:lnTo>
                  <a:lnTo>
                    <a:pt x="5839" y="93333"/>
                  </a:lnTo>
                  <a:lnTo>
                    <a:pt x="5839" y="93015"/>
                  </a:lnTo>
                  <a:lnTo>
                    <a:pt x="5839" y="93015"/>
                  </a:lnTo>
                  <a:lnTo>
                    <a:pt x="5839" y="92698"/>
                  </a:lnTo>
                  <a:lnTo>
                    <a:pt x="5839" y="93015"/>
                  </a:lnTo>
                  <a:close/>
                  <a:moveTo>
                    <a:pt x="5675" y="94126"/>
                  </a:moveTo>
                  <a:lnTo>
                    <a:pt x="5675" y="94603"/>
                  </a:lnTo>
                  <a:lnTo>
                    <a:pt x="5839" y="94603"/>
                  </a:lnTo>
                  <a:lnTo>
                    <a:pt x="5839" y="94603"/>
                  </a:lnTo>
                  <a:lnTo>
                    <a:pt x="5839" y="94920"/>
                  </a:lnTo>
                  <a:lnTo>
                    <a:pt x="5839" y="94920"/>
                  </a:lnTo>
                  <a:lnTo>
                    <a:pt x="6004" y="95238"/>
                  </a:lnTo>
                  <a:lnTo>
                    <a:pt x="6004" y="94920"/>
                  </a:lnTo>
                  <a:lnTo>
                    <a:pt x="6004" y="94603"/>
                  </a:lnTo>
                  <a:lnTo>
                    <a:pt x="6004" y="94603"/>
                  </a:lnTo>
                  <a:lnTo>
                    <a:pt x="5839" y="94126"/>
                  </a:lnTo>
                  <a:lnTo>
                    <a:pt x="5839" y="94126"/>
                  </a:lnTo>
                  <a:lnTo>
                    <a:pt x="5675" y="94126"/>
                  </a:lnTo>
                  <a:close/>
                  <a:moveTo>
                    <a:pt x="3536" y="88095"/>
                  </a:moveTo>
                  <a:lnTo>
                    <a:pt x="3536" y="88095"/>
                  </a:lnTo>
                  <a:lnTo>
                    <a:pt x="3536" y="88571"/>
                  </a:lnTo>
                  <a:lnTo>
                    <a:pt x="3536" y="88888"/>
                  </a:lnTo>
                  <a:lnTo>
                    <a:pt x="3536" y="88888"/>
                  </a:lnTo>
                  <a:lnTo>
                    <a:pt x="3536" y="88888"/>
                  </a:lnTo>
                  <a:lnTo>
                    <a:pt x="3701" y="88888"/>
                  </a:lnTo>
                  <a:lnTo>
                    <a:pt x="3701" y="88571"/>
                  </a:lnTo>
                  <a:lnTo>
                    <a:pt x="3701" y="88571"/>
                  </a:lnTo>
                  <a:lnTo>
                    <a:pt x="3947" y="88095"/>
                  </a:lnTo>
                  <a:lnTo>
                    <a:pt x="3947" y="88095"/>
                  </a:lnTo>
                  <a:lnTo>
                    <a:pt x="3947" y="88095"/>
                  </a:lnTo>
                  <a:lnTo>
                    <a:pt x="3947" y="88095"/>
                  </a:lnTo>
                  <a:lnTo>
                    <a:pt x="3701" y="88095"/>
                  </a:lnTo>
                  <a:lnTo>
                    <a:pt x="3536" y="88095"/>
                  </a:lnTo>
                  <a:close/>
                  <a:moveTo>
                    <a:pt x="2960" y="94920"/>
                  </a:moveTo>
                  <a:lnTo>
                    <a:pt x="2960" y="94920"/>
                  </a:lnTo>
                  <a:lnTo>
                    <a:pt x="2960" y="94603"/>
                  </a:lnTo>
                  <a:lnTo>
                    <a:pt x="3125" y="94603"/>
                  </a:lnTo>
                  <a:lnTo>
                    <a:pt x="3125" y="94126"/>
                  </a:lnTo>
                  <a:lnTo>
                    <a:pt x="3125" y="94126"/>
                  </a:lnTo>
                  <a:lnTo>
                    <a:pt x="2960" y="93809"/>
                  </a:lnTo>
                  <a:lnTo>
                    <a:pt x="2714" y="94126"/>
                  </a:lnTo>
                  <a:lnTo>
                    <a:pt x="2714" y="94126"/>
                  </a:lnTo>
                  <a:lnTo>
                    <a:pt x="2714" y="94126"/>
                  </a:lnTo>
                  <a:lnTo>
                    <a:pt x="2714" y="94603"/>
                  </a:lnTo>
                  <a:lnTo>
                    <a:pt x="2549" y="94603"/>
                  </a:lnTo>
                  <a:lnTo>
                    <a:pt x="2549" y="94603"/>
                  </a:lnTo>
                  <a:lnTo>
                    <a:pt x="2714" y="94603"/>
                  </a:lnTo>
                  <a:lnTo>
                    <a:pt x="2714" y="94920"/>
                  </a:lnTo>
                  <a:lnTo>
                    <a:pt x="2714" y="94920"/>
                  </a:lnTo>
                  <a:lnTo>
                    <a:pt x="2960" y="94920"/>
                  </a:lnTo>
                  <a:close/>
                  <a:moveTo>
                    <a:pt x="6004" y="97936"/>
                  </a:moveTo>
                  <a:lnTo>
                    <a:pt x="6004" y="97936"/>
                  </a:lnTo>
                  <a:lnTo>
                    <a:pt x="5839" y="98253"/>
                  </a:lnTo>
                  <a:lnTo>
                    <a:pt x="5839" y="98253"/>
                  </a:lnTo>
                  <a:lnTo>
                    <a:pt x="6004" y="97460"/>
                  </a:lnTo>
                  <a:lnTo>
                    <a:pt x="5839" y="96825"/>
                  </a:lnTo>
                  <a:lnTo>
                    <a:pt x="6004" y="96349"/>
                  </a:lnTo>
                  <a:lnTo>
                    <a:pt x="6004" y="96349"/>
                  </a:lnTo>
                  <a:lnTo>
                    <a:pt x="6004" y="96349"/>
                  </a:lnTo>
                  <a:lnTo>
                    <a:pt x="5839" y="96031"/>
                  </a:lnTo>
                  <a:lnTo>
                    <a:pt x="5839" y="95714"/>
                  </a:lnTo>
                  <a:lnTo>
                    <a:pt x="5428" y="95714"/>
                  </a:lnTo>
                  <a:lnTo>
                    <a:pt x="5263" y="95238"/>
                  </a:lnTo>
                  <a:lnTo>
                    <a:pt x="5263" y="94920"/>
                  </a:lnTo>
                  <a:lnTo>
                    <a:pt x="5263" y="94603"/>
                  </a:lnTo>
                  <a:lnTo>
                    <a:pt x="5263" y="94603"/>
                  </a:lnTo>
                  <a:lnTo>
                    <a:pt x="5263" y="94603"/>
                  </a:lnTo>
                  <a:lnTo>
                    <a:pt x="5263" y="94603"/>
                  </a:lnTo>
                  <a:lnTo>
                    <a:pt x="5263" y="94126"/>
                  </a:lnTo>
                  <a:lnTo>
                    <a:pt x="5263" y="93333"/>
                  </a:lnTo>
                  <a:lnTo>
                    <a:pt x="5263" y="93015"/>
                  </a:lnTo>
                  <a:lnTo>
                    <a:pt x="5263" y="92698"/>
                  </a:lnTo>
                  <a:lnTo>
                    <a:pt x="5263" y="92698"/>
                  </a:lnTo>
                  <a:lnTo>
                    <a:pt x="5263" y="92222"/>
                  </a:lnTo>
                  <a:lnTo>
                    <a:pt x="5263" y="92222"/>
                  </a:lnTo>
                  <a:lnTo>
                    <a:pt x="4852" y="92222"/>
                  </a:lnTo>
                  <a:lnTo>
                    <a:pt x="4523" y="91904"/>
                  </a:lnTo>
                  <a:lnTo>
                    <a:pt x="3947" y="91904"/>
                  </a:lnTo>
                  <a:lnTo>
                    <a:pt x="3536" y="91587"/>
                  </a:lnTo>
                  <a:lnTo>
                    <a:pt x="3125" y="90793"/>
                  </a:lnTo>
                  <a:lnTo>
                    <a:pt x="2714" y="90793"/>
                  </a:lnTo>
                  <a:lnTo>
                    <a:pt x="2549" y="90793"/>
                  </a:lnTo>
                  <a:lnTo>
                    <a:pt x="2385" y="90793"/>
                  </a:lnTo>
                  <a:lnTo>
                    <a:pt x="2138" y="90793"/>
                  </a:lnTo>
                  <a:lnTo>
                    <a:pt x="2138" y="91111"/>
                  </a:lnTo>
                  <a:lnTo>
                    <a:pt x="1973" y="91111"/>
                  </a:lnTo>
                  <a:lnTo>
                    <a:pt x="1973" y="91587"/>
                  </a:lnTo>
                  <a:lnTo>
                    <a:pt x="2138" y="91904"/>
                  </a:lnTo>
                  <a:lnTo>
                    <a:pt x="2138" y="91904"/>
                  </a:lnTo>
                  <a:lnTo>
                    <a:pt x="2385" y="91904"/>
                  </a:lnTo>
                  <a:lnTo>
                    <a:pt x="2385" y="91904"/>
                  </a:lnTo>
                  <a:lnTo>
                    <a:pt x="2549" y="91904"/>
                  </a:lnTo>
                  <a:lnTo>
                    <a:pt x="2714" y="91587"/>
                  </a:lnTo>
                  <a:lnTo>
                    <a:pt x="2714" y="91587"/>
                  </a:lnTo>
                  <a:lnTo>
                    <a:pt x="2960" y="91587"/>
                  </a:lnTo>
                  <a:lnTo>
                    <a:pt x="3125" y="91587"/>
                  </a:lnTo>
                  <a:lnTo>
                    <a:pt x="2960" y="91904"/>
                  </a:lnTo>
                  <a:lnTo>
                    <a:pt x="2960" y="91904"/>
                  </a:lnTo>
                  <a:lnTo>
                    <a:pt x="2714" y="92222"/>
                  </a:lnTo>
                  <a:lnTo>
                    <a:pt x="2714" y="92222"/>
                  </a:lnTo>
                  <a:lnTo>
                    <a:pt x="2714" y="91904"/>
                  </a:lnTo>
                  <a:lnTo>
                    <a:pt x="2714" y="91904"/>
                  </a:lnTo>
                  <a:lnTo>
                    <a:pt x="2385" y="91904"/>
                  </a:lnTo>
                  <a:lnTo>
                    <a:pt x="2385" y="91904"/>
                  </a:lnTo>
                  <a:lnTo>
                    <a:pt x="2385" y="91904"/>
                  </a:lnTo>
                  <a:lnTo>
                    <a:pt x="2138" y="92222"/>
                  </a:lnTo>
                  <a:lnTo>
                    <a:pt x="2138" y="92698"/>
                  </a:lnTo>
                  <a:lnTo>
                    <a:pt x="2138" y="92698"/>
                  </a:lnTo>
                  <a:lnTo>
                    <a:pt x="2138" y="92698"/>
                  </a:lnTo>
                  <a:lnTo>
                    <a:pt x="2138" y="93015"/>
                  </a:lnTo>
                  <a:lnTo>
                    <a:pt x="1973" y="93015"/>
                  </a:lnTo>
                  <a:lnTo>
                    <a:pt x="1973" y="93015"/>
                  </a:lnTo>
                  <a:lnTo>
                    <a:pt x="1973" y="93015"/>
                  </a:lnTo>
                  <a:lnTo>
                    <a:pt x="1973" y="93015"/>
                  </a:lnTo>
                  <a:lnTo>
                    <a:pt x="2138" y="93015"/>
                  </a:lnTo>
                  <a:lnTo>
                    <a:pt x="2549" y="93015"/>
                  </a:lnTo>
                  <a:lnTo>
                    <a:pt x="2549" y="93015"/>
                  </a:lnTo>
                  <a:lnTo>
                    <a:pt x="2549" y="93333"/>
                  </a:lnTo>
                  <a:lnTo>
                    <a:pt x="2549" y="93333"/>
                  </a:lnTo>
                  <a:lnTo>
                    <a:pt x="2549" y="93333"/>
                  </a:lnTo>
                  <a:lnTo>
                    <a:pt x="2714" y="93333"/>
                  </a:lnTo>
                  <a:lnTo>
                    <a:pt x="2714" y="93015"/>
                  </a:lnTo>
                  <a:lnTo>
                    <a:pt x="2714" y="93015"/>
                  </a:lnTo>
                  <a:lnTo>
                    <a:pt x="2714" y="93015"/>
                  </a:lnTo>
                  <a:lnTo>
                    <a:pt x="2714" y="93015"/>
                  </a:lnTo>
                  <a:lnTo>
                    <a:pt x="2714" y="93333"/>
                  </a:lnTo>
                  <a:lnTo>
                    <a:pt x="2714" y="93333"/>
                  </a:lnTo>
                  <a:lnTo>
                    <a:pt x="2549" y="93333"/>
                  </a:lnTo>
                  <a:lnTo>
                    <a:pt x="2549" y="93809"/>
                  </a:lnTo>
                  <a:lnTo>
                    <a:pt x="2549" y="93809"/>
                  </a:lnTo>
                  <a:lnTo>
                    <a:pt x="2549" y="93809"/>
                  </a:lnTo>
                  <a:lnTo>
                    <a:pt x="2714" y="93809"/>
                  </a:lnTo>
                  <a:lnTo>
                    <a:pt x="2714" y="93809"/>
                  </a:lnTo>
                  <a:lnTo>
                    <a:pt x="2960" y="93809"/>
                  </a:lnTo>
                  <a:lnTo>
                    <a:pt x="2960" y="93809"/>
                  </a:lnTo>
                  <a:lnTo>
                    <a:pt x="2960" y="93809"/>
                  </a:lnTo>
                  <a:lnTo>
                    <a:pt x="2960" y="93809"/>
                  </a:lnTo>
                  <a:lnTo>
                    <a:pt x="3125" y="93809"/>
                  </a:lnTo>
                  <a:lnTo>
                    <a:pt x="3125" y="93809"/>
                  </a:lnTo>
                  <a:lnTo>
                    <a:pt x="3125" y="94126"/>
                  </a:lnTo>
                  <a:lnTo>
                    <a:pt x="3125" y="94603"/>
                  </a:lnTo>
                  <a:lnTo>
                    <a:pt x="3125" y="94603"/>
                  </a:lnTo>
                  <a:lnTo>
                    <a:pt x="3289" y="94603"/>
                  </a:lnTo>
                  <a:lnTo>
                    <a:pt x="3289" y="94603"/>
                  </a:lnTo>
                  <a:lnTo>
                    <a:pt x="3289" y="94603"/>
                  </a:lnTo>
                  <a:lnTo>
                    <a:pt x="3701" y="94603"/>
                  </a:lnTo>
                  <a:lnTo>
                    <a:pt x="3536" y="94603"/>
                  </a:lnTo>
                  <a:lnTo>
                    <a:pt x="3125" y="94920"/>
                  </a:lnTo>
                  <a:lnTo>
                    <a:pt x="2960" y="94920"/>
                  </a:lnTo>
                  <a:lnTo>
                    <a:pt x="2960" y="94920"/>
                  </a:lnTo>
                  <a:lnTo>
                    <a:pt x="2960" y="94920"/>
                  </a:lnTo>
                  <a:lnTo>
                    <a:pt x="2714" y="95238"/>
                  </a:lnTo>
                  <a:lnTo>
                    <a:pt x="2714" y="95714"/>
                  </a:lnTo>
                  <a:lnTo>
                    <a:pt x="2714" y="95714"/>
                  </a:lnTo>
                  <a:lnTo>
                    <a:pt x="2960" y="95238"/>
                  </a:lnTo>
                  <a:lnTo>
                    <a:pt x="2960" y="95238"/>
                  </a:lnTo>
                  <a:lnTo>
                    <a:pt x="3125" y="95714"/>
                  </a:lnTo>
                  <a:lnTo>
                    <a:pt x="3125" y="95714"/>
                  </a:lnTo>
                  <a:lnTo>
                    <a:pt x="3125" y="95238"/>
                  </a:lnTo>
                  <a:lnTo>
                    <a:pt x="3125" y="95238"/>
                  </a:lnTo>
                  <a:lnTo>
                    <a:pt x="3289" y="95238"/>
                  </a:lnTo>
                  <a:lnTo>
                    <a:pt x="3289" y="95238"/>
                  </a:lnTo>
                  <a:lnTo>
                    <a:pt x="3289" y="95238"/>
                  </a:lnTo>
                  <a:lnTo>
                    <a:pt x="3289" y="95714"/>
                  </a:lnTo>
                  <a:lnTo>
                    <a:pt x="3289" y="95714"/>
                  </a:lnTo>
                  <a:lnTo>
                    <a:pt x="3536" y="95714"/>
                  </a:lnTo>
                  <a:lnTo>
                    <a:pt x="3536" y="95714"/>
                  </a:lnTo>
                  <a:lnTo>
                    <a:pt x="3289" y="96031"/>
                  </a:lnTo>
                  <a:lnTo>
                    <a:pt x="3289" y="96031"/>
                  </a:lnTo>
                  <a:lnTo>
                    <a:pt x="3289" y="96031"/>
                  </a:lnTo>
                  <a:lnTo>
                    <a:pt x="3536" y="96031"/>
                  </a:lnTo>
                  <a:lnTo>
                    <a:pt x="3536" y="96031"/>
                  </a:lnTo>
                  <a:lnTo>
                    <a:pt x="3536" y="96031"/>
                  </a:lnTo>
                  <a:lnTo>
                    <a:pt x="3701" y="96031"/>
                  </a:lnTo>
                  <a:lnTo>
                    <a:pt x="3701" y="96031"/>
                  </a:lnTo>
                  <a:lnTo>
                    <a:pt x="3701" y="96031"/>
                  </a:lnTo>
                  <a:lnTo>
                    <a:pt x="3536" y="96349"/>
                  </a:lnTo>
                  <a:lnTo>
                    <a:pt x="3289" y="96349"/>
                  </a:lnTo>
                  <a:lnTo>
                    <a:pt x="3289" y="96349"/>
                  </a:lnTo>
                  <a:lnTo>
                    <a:pt x="3536" y="96825"/>
                  </a:lnTo>
                  <a:lnTo>
                    <a:pt x="3536" y="96825"/>
                  </a:lnTo>
                  <a:lnTo>
                    <a:pt x="3536" y="97142"/>
                  </a:lnTo>
                  <a:lnTo>
                    <a:pt x="3701" y="97142"/>
                  </a:lnTo>
                  <a:lnTo>
                    <a:pt x="3947" y="96825"/>
                  </a:lnTo>
                  <a:lnTo>
                    <a:pt x="4112" y="96825"/>
                  </a:lnTo>
                  <a:lnTo>
                    <a:pt x="4523" y="96825"/>
                  </a:lnTo>
                  <a:lnTo>
                    <a:pt x="4523" y="96825"/>
                  </a:lnTo>
                  <a:lnTo>
                    <a:pt x="4688" y="96349"/>
                  </a:lnTo>
                  <a:lnTo>
                    <a:pt x="4688" y="96349"/>
                  </a:lnTo>
                  <a:lnTo>
                    <a:pt x="4852" y="96031"/>
                  </a:lnTo>
                  <a:lnTo>
                    <a:pt x="4852" y="96031"/>
                  </a:lnTo>
                  <a:lnTo>
                    <a:pt x="4688" y="96349"/>
                  </a:lnTo>
                  <a:lnTo>
                    <a:pt x="4688" y="96349"/>
                  </a:lnTo>
                  <a:lnTo>
                    <a:pt x="4523" y="96825"/>
                  </a:lnTo>
                  <a:lnTo>
                    <a:pt x="4276" y="96825"/>
                  </a:lnTo>
                  <a:lnTo>
                    <a:pt x="3947" y="97460"/>
                  </a:lnTo>
                  <a:lnTo>
                    <a:pt x="3947" y="97460"/>
                  </a:lnTo>
                  <a:lnTo>
                    <a:pt x="3947" y="97460"/>
                  </a:lnTo>
                  <a:lnTo>
                    <a:pt x="3947" y="97936"/>
                  </a:lnTo>
                  <a:lnTo>
                    <a:pt x="4112" y="97936"/>
                  </a:lnTo>
                  <a:lnTo>
                    <a:pt x="4276" y="98253"/>
                  </a:lnTo>
                  <a:lnTo>
                    <a:pt x="4523" y="98253"/>
                  </a:lnTo>
                  <a:lnTo>
                    <a:pt x="4852" y="98730"/>
                  </a:lnTo>
                  <a:lnTo>
                    <a:pt x="5099" y="98730"/>
                  </a:lnTo>
                  <a:lnTo>
                    <a:pt x="5428" y="99047"/>
                  </a:lnTo>
                  <a:lnTo>
                    <a:pt x="5428" y="99047"/>
                  </a:lnTo>
                  <a:lnTo>
                    <a:pt x="5428" y="99047"/>
                  </a:lnTo>
                  <a:lnTo>
                    <a:pt x="5675" y="98730"/>
                  </a:lnTo>
                  <a:lnTo>
                    <a:pt x="5675" y="98730"/>
                  </a:lnTo>
                  <a:lnTo>
                    <a:pt x="5839" y="98730"/>
                  </a:lnTo>
                  <a:lnTo>
                    <a:pt x="5839" y="98730"/>
                  </a:lnTo>
                  <a:lnTo>
                    <a:pt x="6004" y="98730"/>
                  </a:lnTo>
                  <a:lnTo>
                    <a:pt x="6004" y="97936"/>
                  </a:lnTo>
                  <a:lnTo>
                    <a:pt x="6004" y="97936"/>
                  </a:lnTo>
                  <a:lnTo>
                    <a:pt x="6004" y="97936"/>
                  </a:lnTo>
                  <a:lnTo>
                    <a:pt x="6004" y="97936"/>
                  </a:lnTo>
                  <a:close/>
                  <a:moveTo>
                    <a:pt x="3125" y="95714"/>
                  </a:moveTo>
                  <a:lnTo>
                    <a:pt x="3125" y="95714"/>
                  </a:lnTo>
                  <a:lnTo>
                    <a:pt x="3125" y="95714"/>
                  </a:lnTo>
                  <a:lnTo>
                    <a:pt x="3125" y="96031"/>
                  </a:lnTo>
                  <a:lnTo>
                    <a:pt x="3125" y="96031"/>
                  </a:lnTo>
                  <a:lnTo>
                    <a:pt x="3289" y="95714"/>
                  </a:lnTo>
                  <a:lnTo>
                    <a:pt x="3289" y="95714"/>
                  </a:lnTo>
                  <a:lnTo>
                    <a:pt x="3125" y="95714"/>
                  </a:lnTo>
                  <a:close/>
                  <a:moveTo>
                    <a:pt x="3947" y="84761"/>
                  </a:moveTo>
                  <a:lnTo>
                    <a:pt x="4112" y="84761"/>
                  </a:lnTo>
                  <a:lnTo>
                    <a:pt x="4112" y="84761"/>
                  </a:lnTo>
                  <a:lnTo>
                    <a:pt x="4276" y="84761"/>
                  </a:lnTo>
                  <a:lnTo>
                    <a:pt x="4276" y="84761"/>
                  </a:lnTo>
                  <a:lnTo>
                    <a:pt x="4112" y="85079"/>
                  </a:lnTo>
                  <a:lnTo>
                    <a:pt x="4112" y="85079"/>
                  </a:lnTo>
                  <a:lnTo>
                    <a:pt x="3947" y="85555"/>
                  </a:lnTo>
                  <a:lnTo>
                    <a:pt x="3701" y="85873"/>
                  </a:lnTo>
                  <a:lnTo>
                    <a:pt x="3701" y="86349"/>
                  </a:lnTo>
                  <a:lnTo>
                    <a:pt x="3947" y="85873"/>
                  </a:lnTo>
                  <a:lnTo>
                    <a:pt x="4112" y="85555"/>
                  </a:lnTo>
                  <a:lnTo>
                    <a:pt x="4276" y="85555"/>
                  </a:lnTo>
                  <a:lnTo>
                    <a:pt x="4523" y="85079"/>
                  </a:lnTo>
                  <a:lnTo>
                    <a:pt x="4852" y="83968"/>
                  </a:lnTo>
                  <a:lnTo>
                    <a:pt x="5099" y="83650"/>
                  </a:lnTo>
                  <a:lnTo>
                    <a:pt x="4852" y="83333"/>
                  </a:lnTo>
                  <a:lnTo>
                    <a:pt x="4852" y="83333"/>
                  </a:lnTo>
                  <a:lnTo>
                    <a:pt x="4852" y="82857"/>
                  </a:lnTo>
                  <a:lnTo>
                    <a:pt x="4688" y="82857"/>
                  </a:lnTo>
                  <a:lnTo>
                    <a:pt x="4688" y="83333"/>
                  </a:lnTo>
                  <a:lnTo>
                    <a:pt x="4523" y="83333"/>
                  </a:lnTo>
                  <a:lnTo>
                    <a:pt x="4276" y="83650"/>
                  </a:lnTo>
                  <a:lnTo>
                    <a:pt x="4112" y="83650"/>
                  </a:lnTo>
                  <a:lnTo>
                    <a:pt x="4112" y="83968"/>
                  </a:lnTo>
                  <a:lnTo>
                    <a:pt x="4112" y="83968"/>
                  </a:lnTo>
                  <a:lnTo>
                    <a:pt x="4112" y="84444"/>
                  </a:lnTo>
                  <a:lnTo>
                    <a:pt x="4112" y="84444"/>
                  </a:lnTo>
                  <a:lnTo>
                    <a:pt x="3947" y="84761"/>
                  </a:lnTo>
                  <a:close/>
                  <a:moveTo>
                    <a:pt x="2385" y="80634"/>
                  </a:moveTo>
                  <a:lnTo>
                    <a:pt x="2385" y="80634"/>
                  </a:lnTo>
                  <a:lnTo>
                    <a:pt x="2549" y="80317"/>
                  </a:lnTo>
                  <a:lnTo>
                    <a:pt x="2549" y="80317"/>
                  </a:lnTo>
                  <a:lnTo>
                    <a:pt x="2385" y="80317"/>
                  </a:lnTo>
                  <a:lnTo>
                    <a:pt x="2138" y="80634"/>
                  </a:lnTo>
                  <a:lnTo>
                    <a:pt x="1809" y="80634"/>
                  </a:lnTo>
                  <a:lnTo>
                    <a:pt x="1809" y="80634"/>
                  </a:lnTo>
                  <a:lnTo>
                    <a:pt x="1562" y="80952"/>
                  </a:lnTo>
                  <a:lnTo>
                    <a:pt x="1562" y="80952"/>
                  </a:lnTo>
                  <a:lnTo>
                    <a:pt x="1398" y="81428"/>
                  </a:lnTo>
                  <a:lnTo>
                    <a:pt x="1398" y="81746"/>
                  </a:lnTo>
                  <a:lnTo>
                    <a:pt x="1233" y="81746"/>
                  </a:lnTo>
                  <a:lnTo>
                    <a:pt x="822" y="81746"/>
                  </a:lnTo>
                  <a:lnTo>
                    <a:pt x="822" y="81746"/>
                  </a:lnTo>
                  <a:lnTo>
                    <a:pt x="822" y="81746"/>
                  </a:lnTo>
                  <a:lnTo>
                    <a:pt x="822" y="81746"/>
                  </a:lnTo>
                  <a:lnTo>
                    <a:pt x="822" y="81746"/>
                  </a:lnTo>
                  <a:lnTo>
                    <a:pt x="1398" y="81428"/>
                  </a:lnTo>
                  <a:lnTo>
                    <a:pt x="1562" y="80952"/>
                  </a:lnTo>
                  <a:lnTo>
                    <a:pt x="1562" y="80952"/>
                  </a:lnTo>
                  <a:lnTo>
                    <a:pt x="1562" y="80634"/>
                  </a:lnTo>
                  <a:lnTo>
                    <a:pt x="1809" y="80634"/>
                  </a:lnTo>
                  <a:lnTo>
                    <a:pt x="1809" y="80317"/>
                  </a:lnTo>
                  <a:lnTo>
                    <a:pt x="1809" y="80317"/>
                  </a:lnTo>
                  <a:lnTo>
                    <a:pt x="1562" y="80317"/>
                  </a:lnTo>
                  <a:lnTo>
                    <a:pt x="1398" y="80634"/>
                  </a:lnTo>
                  <a:lnTo>
                    <a:pt x="1398" y="80317"/>
                  </a:lnTo>
                  <a:lnTo>
                    <a:pt x="986" y="80317"/>
                  </a:lnTo>
                  <a:lnTo>
                    <a:pt x="986" y="80317"/>
                  </a:lnTo>
                  <a:lnTo>
                    <a:pt x="822" y="80317"/>
                  </a:lnTo>
                  <a:lnTo>
                    <a:pt x="822" y="80317"/>
                  </a:lnTo>
                  <a:lnTo>
                    <a:pt x="657" y="80634"/>
                  </a:lnTo>
                  <a:lnTo>
                    <a:pt x="411" y="80952"/>
                  </a:lnTo>
                  <a:lnTo>
                    <a:pt x="246" y="80952"/>
                  </a:lnTo>
                  <a:lnTo>
                    <a:pt x="246" y="81428"/>
                  </a:lnTo>
                  <a:lnTo>
                    <a:pt x="246" y="81746"/>
                  </a:lnTo>
                  <a:lnTo>
                    <a:pt x="246" y="81746"/>
                  </a:lnTo>
                  <a:lnTo>
                    <a:pt x="246" y="82222"/>
                  </a:lnTo>
                  <a:lnTo>
                    <a:pt x="246" y="82222"/>
                  </a:lnTo>
                  <a:lnTo>
                    <a:pt x="246" y="82539"/>
                  </a:lnTo>
                  <a:lnTo>
                    <a:pt x="411" y="82857"/>
                  </a:lnTo>
                  <a:lnTo>
                    <a:pt x="411" y="82857"/>
                  </a:lnTo>
                  <a:lnTo>
                    <a:pt x="411" y="82857"/>
                  </a:lnTo>
                  <a:lnTo>
                    <a:pt x="246" y="82857"/>
                  </a:lnTo>
                  <a:lnTo>
                    <a:pt x="246" y="82539"/>
                  </a:lnTo>
                  <a:lnTo>
                    <a:pt x="0" y="82539"/>
                  </a:lnTo>
                  <a:lnTo>
                    <a:pt x="0" y="82857"/>
                  </a:lnTo>
                  <a:lnTo>
                    <a:pt x="0" y="82857"/>
                  </a:lnTo>
                  <a:lnTo>
                    <a:pt x="0" y="83333"/>
                  </a:lnTo>
                  <a:lnTo>
                    <a:pt x="246" y="83333"/>
                  </a:lnTo>
                  <a:lnTo>
                    <a:pt x="822" y="82857"/>
                  </a:lnTo>
                  <a:lnTo>
                    <a:pt x="986" y="82857"/>
                  </a:lnTo>
                  <a:lnTo>
                    <a:pt x="1233" y="82539"/>
                  </a:lnTo>
                  <a:lnTo>
                    <a:pt x="1398" y="82222"/>
                  </a:lnTo>
                  <a:lnTo>
                    <a:pt x="1562" y="81746"/>
                  </a:lnTo>
                  <a:lnTo>
                    <a:pt x="1973" y="80952"/>
                  </a:lnTo>
                  <a:lnTo>
                    <a:pt x="2385" y="80634"/>
                  </a:lnTo>
                  <a:close/>
                  <a:moveTo>
                    <a:pt x="3125" y="82222"/>
                  </a:moveTo>
                  <a:lnTo>
                    <a:pt x="3289" y="82222"/>
                  </a:lnTo>
                  <a:lnTo>
                    <a:pt x="3289" y="82539"/>
                  </a:lnTo>
                  <a:lnTo>
                    <a:pt x="3289" y="82857"/>
                  </a:lnTo>
                  <a:lnTo>
                    <a:pt x="3289" y="83333"/>
                  </a:lnTo>
                  <a:lnTo>
                    <a:pt x="3536" y="83333"/>
                  </a:lnTo>
                  <a:lnTo>
                    <a:pt x="3536" y="83333"/>
                  </a:lnTo>
                  <a:lnTo>
                    <a:pt x="3701" y="83333"/>
                  </a:lnTo>
                  <a:lnTo>
                    <a:pt x="3701" y="82857"/>
                  </a:lnTo>
                  <a:lnTo>
                    <a:pt x="3701" y="82539"/>
                  </a:lnTo>
                  <a:lnTo>
                    <a:pt x="3701" y="82222"/>
                  </a:lnTo>
                  <a:lnTo>
                    <a:pt x="3701" y="82222"/>
                  </a:lnTo>
                  <a:lnTo>
                    <a:pt x="3536" y="81746"/>
                  </a:lnTo>
                  <a:lnTo>
                    <a:pt x="3289" y="81746"/>
                  </a:lnTo>
                  <a:lnTo>
                    <a:pt x="3125" y="82222"/>
                  </a:lnTo>
                  <a:close/>
                  <a:moveTo>
                    <a:pt x="3701" y="80634"/>
                  </a:moveTo>
                  <a:lnTo>
                    <a:pt x="3536" y="80952"/>
                  </a:lnTo>
                  <a:lnTo>
                    <a:pt x="3536" y="80952"/>
                  </a:lnTo>
                  <a:lnTo>
                    <a:pt x="3536" y="80952"/>
                  </a:lnTo>
                  <a:lnTo>
                    <a:pt x="3536" y="80952"/>
                  </a:lnTo>
                  <a:lnTo>
                    <a:pt x="3536" y="80952"/>
                  </a:lnTo>
                  <a:lnTo>
                    <a:pt x="3536" y="80952"/>
                  </a:lnTo>
                  <a:lnTo>
                    <a:pt x="3536" y="80952"/>
                  </a:lnTo>
                  <a:lnTo>
                    <a:pt x="3536" y="80952"/>
                  </a:lnTo>
                  <a:lnTo>
                    <a:pt x="3536" y="80952"/>
                  </a:lnTo>
                  <a:lnTo>
                    <a:pt x="3701" y="80952"/>
                  </a:lnTo>
                  <a:lnTo>
                    <a:pt x="3701" y="80952"/>
                  </a:lnTo>
                  <a:lnTo>
                    <a:pt x="3701" y="80952"/>
                  </a:lnTo>
                  <a:lnTo>
                    <a:pt x="3701" y="80952"/>
                  </a:lnTo>
                  <a:lnTo>
                    <a:pt x="3701" y="80952"/>
                  </a:lnTo>
                  <a:lnTo>
                    <a:pt x="3701" y="80952"/>
                  </a:lnTo>
                  <a:lnTo>
                    <a:pt x="3947" y="80952"/>
                  </a:lnTo>
                  <a:lnTo>
                    <a:pt x="4112" y="80952"/>
                  </a:lnTo>
                  <a:lnTo>
                    <a:pt x="4112" y="80634"/>
                  </a:lnTo>
                  <a:lnTo>
                    <a:pt x="4276" y="80634"/>
                  </a:lnTo>
                  <a:lnTo>
                    <a:pt x="4112" y="80634"/>
                  </a:lnTo>
                  <a:lnTo>
                    <a:pt x="4112" y="80317"/>
                  </a:lnTo>
                  <a:lnTo>
                    <a:pt x="4112" y="80317"/>
                  </a:lnTo>
                  <a:lnTo>
                    <a:pt x="4112" y="80317"/>
                  </a:lnTo>
                  <a:lnTo>
                    <a:pt x="3701" y="80634"/>
                  </a:lnTo>
                  <a:close/>
                  <a:moveTo>
                    <a:pt x="78382" y="13809"/>
                  </a:moveTo>
                  <a:lnTo>
                    <a:pt x="78382" y="13809"/>
                  </a:lnTo>
                  <a:lnTo>
                    <a:pt x="78382" y="14285"/>
                  </a:lnTo>
                  <a:lnTo>
                    <a:pt x="78382" y="14285"/>
                  </a:lnTo>
                  <a:lnTo>
                    <a:pt x="78546" y="14285"/>
                  </a:lnTo>
                  <a:lnTo>
                    <a:pt x="78546" y="14285"/>
                  </a:lnTo>
                  <a:lnTo>
                    <a:pt x="78382" y="14285"/>
                  </a:lnTo>
                  <a:lnTo>
                    <a:pt x="78382" y="14285"/>
                  </a:lnTo>
                  <a:lnTo>
                    <a:pt x="78135" y="14285"/>
                  </a:lnTo>
                  <a:lnTo>
                    <a:pt x="77971" y="14285"/>
                  </a:lnTo>
                  <a:lnTo>
                    <a:pt x="77971" y="14285"/>
                  </a:lnTo>
                  <a:lnTo>
                    <a:pt x="77971" y="14603"/>
                  </a:lnTo>
                  <a:lnTo>
                    <a:pt x="77971" y="14603"/>
                  </a:lnTo>
                  <a:lnTo>
                    <a:pt x="77971" y="14603"/>
                  </a:lnTo>
                  <a:lnTo>
                    <a:pt x="78135" y="14603"/>
                  </a:lnTo>
                  <a:lnTo>
                    <a:pt x="78546" y="14920"/>
                  </a:lnTo>
                  <a:lnTo>
                    <a:pt x="78711" y="14920"/>
                  </a:lnTo>
                  <a:lnTo>
                    <a:pt x="78958" y="14920"/>
                  </a:lnTo>
                  <a:lnTo>
                    <a:pt x="78711" y="14920"/>
                  </a:lnTo>
                  <a:lnTo>
                    <a:pt x="78711" y="14920"/>
                  </a:lnTo>
                  <a:lnTo>
                    <a:pt x="78382" y="14920"/>
                  </a:lnTo>
                  <a:lnTo>
                    <a:pt x="78382" y="14920"/>
                  </a:lnTo>
                  <a:lnTo>
                    <a:pt x="78382" y="15396"/>
                  </a:lnTo>
                  <a:lnTo>
                    <a:pt x="78382" y="15396"/>
                  </a:lnTo>
                  <a:lnTo>
                    <a:pt x="78711" y="15396"/>
                  </a:lnTo>
                  <a:lnTo>
                    <a:pt x="78711" y="15714"/>
                  </a:lnTo>
                  <a:lnTo>
                    <a:pt x="78958" y="15714"/>
                  </a:lnTo>
                  <a:lnTo>
                    <a:pt x="79287" y="15714"/>
                  </a:lnTo>
                  <a:lnTo>
                    <a:pt x="79533" y="15714"/>
                  </a:lnTo>
                  <a:lnTo>
                    <a:pt x="79698" y="15714"/>
                  </a:lnTo>
                  <a:lnTo>
                    <a:pt x="80109" y="15714"/>
                  </a:lnTo>
                  <a:lnTo>
                    <a:pt x="80274" y="15714"/>
                  </a:lnTo>
                  <a:lnTo>
                    <a:pt x="80520" y="15714"/>
                  </a:lnTo>
                  <a:lnTo>
                    <a:pt x="80520" y="15714"/>
                  </a:lnTo>
                  <a:lnTo>
                    <a:pt x="80849" y="15396"/>
                  </a:lnTo>
                  <a:lnTo>
                    <a:pt x="81096" y="15396"/>
                  </a:lnTo>
                  <a:lnTo>
                    <a:pt x="81096" y="15396"/>
                  </a:lnTo>
                  <a:lnTo>
                    <a:pt x="81096" y="15714"/>
                  </a:lnTo>
                  <a:lnTo>
                    <a:pt x="81096" y="16031"/>
                  </a:lnTo>
                  <a:lnTo>
                    <a:pt x="81096" y="16507"/>
                  </a:lnTo>
                  <a:lnTo>
                    <a:pt x="81261" y="16507"/>
                  </a:lnTo>
                  <a:lnTo>
                    <a:pt x="81261" y="16825"/>
                  </a:lnTo>
                  <a:lnTo>
                    <a:pt x="81096" y="16825"/>
                  </a:lnTo>
                  <a:lnTo>
                    <a:pt x="81096" y="17142"/>
                  </a:lnTo>
                  <a:lnTo>
                    <a:pt x="81096" y="17142"/>
                  </a:lnTo>
                  <a:lnTo>
                    <a:pt x="80849" y="17142"/>
                  </a:lnTo>
                  <a:lnTo>
                    <a:pt x="80849" y="17142"/>
                  </a:lnTo>
                  <a:lnTo>
                    <a:pt x="80520" y="17619"/>
                  </a:lnTo>
                  <a:lnTo>
                    <a:pt x="80274" y="17936"/>
                  </a:lnTo>
                  <a:lnTo>
                    <a:pt x="80274" y="17936"/>
                  </a:lnTo>
                  <a:lnTo>
                    <a:pt x="80109" y="17936"/>
                  </a:lnTo>
                  <a:lnTo>
                    <a:pt x="80109" y="18412"/>
                  </a:lnTo>
                  <a:lnTo>
                    <a:pt x="80109" y="18412"/>
                  </a:lnTo>
                  <a:lnTo>
                    <a:pt x="80109" y="18412"/>
                  </a:lnTo>
                  <a:lnTo>
                    <a:pt x="80109" y="18412"/>
                  </a:lnTo>
                  <a:lnTo>
                    <a:pt x="80109" y="18730"/>
                  </a:lnTo>
                  <a:lnTo>
                    <a:pt x="80109" y="18730"/>
                  </a:lnTo>
                  <a:lnTo>
                    <a:pt x="79862" y="18730"/>
                  </a:lnTo>
                  <a:lnTo>
                    <a:pt x="79862" y="18730"/>
                  </a:lnTo>
                  <a:lnTo>
                    <a:pt x="79862" y="19047"/>
                  </a:lnTo>
                  <a:lnTo>
                    <a:pt x="79698" y="19523"/>
                  </a:lnTo>
                  <a:lnTo>
                    <a:pt x="79698" y="19523"/>
                  </a:lnTo>
                  <a:lnTo>
                    <a:pt x="79862" y="19841"/>
                  </a:lnTo>
                  <a:lnTo>
                    <a:pt x="79862" y="19841"/>
                  </a:lnTo>
                  <a:lnTo>
                    <a:pt x="80109" y="19841"/>
                  </a:lnTo>
                  <a:lnTo>
                    <a:pt x="80274" y="19841"/>
                  </a:lnTo>
                  <a:lnTo>
                    <a:pt x="80274" y="19841"/>
                  </a:lnTo>
                  <a:lnTo>
                    <a:pt x="80520" y="19841"/>
                  </a:lnTo>
                  <a:lnTo>
                    <a:pt x="80520" y="19841"/>
                  </a:lnTo>
                  <a:lnTo>
                    <a:pt x="80520" y="19523"/>
                  </a:lnTo>
                  <a:lnTo>
                    <a:pt x="80849" y="19523"/>
                  </a:lnTo>
                  <a:lnTo>
                    <a:pt x="80849" y="19523"/>
                  </a:lnTo>
                  <a:lnTo>
                    <a:pt x="80685" y="19523"/>
                  </a:lnTo>
                  <a:lnTo>
                    <a:pt x="80685" y="19841"/>
                  </a:lnTo>
                  <a:lnTo>
                    <a:pt x="80849" y="19841"/>
                  </a:lnTo>
                  <a:lnTo>
                    <a:pt x="80849" y="19841"/>
                  </a:lnTo>
                  <a:lnTo>
                    <a:pt x="81096" y="19841"/>
                  </a:lnTo>
                  <a:lnTo>
                    <a:pt x="81425" y="20158"/>
                  </a:lnTo>
                  <a:lnTo>
                    <a:pt x="81672" y="20158"/>
                  </a:lnTo>
                  <a:lnTo>
                    <a:pt x="81836" y="20158"/>
                  </a:lnTo>
                  <a:lnTo>
                    <a:pt x="82001" y="20158"/>
                  </a:lnTo>
                  <a:lnTo>
                    <a:pt x="82248" y="19841"/>
                  </a:lnTo>
                  <a:lnTo>
                    <a:pt x="82412" y="19841"/>
                  </a:lnTo>
                  <a:lnTo>
                    <a:pt x="82412" y="19841"/>
                  </a:lnTo>
                  <a:lnTo>
                    <a:pt x="82412" y="19841"/>
                  </a:lnTo>
                  <a:lnTo>
                    <a:pt x="82412" y="19523"/>
                  </a:lnTo>
                  <a:lnTo>
                    <a:pt x="82577" y="19523"/>
                  </a:lnTo>
                  <a:lnTo>
                    <a:pt x="82577" y="19523"/>
                  </a:lnTo>
                  <a:lnTo>
                    <a:pt x="82577" y="19523"/>
                  </a:lnTo>
                  <a:lnTo>
                    <a:pt x="82823" y="19523"/>
                  </a:lnTo>
                  <a:lnTo>
                    <a:pt x="82823" y="19523"/>
                  </a:lnTo>
                  <a:lnTo>
                    <a:pt x="82823" y="19523"/>
                  </a:lnTo>
                  <a:lnTo>
                    <a:pt x="82823" y="19523"/>
                  </a:lnTo>
                  <a:lnTo>
                    <a:pt x="82823" y="19841"/>
                  </a:lnTo>
                  <a:lnTo>
                    <a:pt x="82823" y="19841"/>
                  </a:lnTo>
                  <a:lnTo>
                    <a:pt x="82988" y="19841"/>
                  </a:lnTo>
                  <a:lnTo>
                    <a:pt x="83235" y="19523"/>
                  </a:lnTo>
                  <a:lnTo>
                    <a:pt x="83399" y="19523"/>
                  </a:lnTo>
                  <a:lnTo>
                    <a:pt x="83399" y="19523"/>
                  </a:lnTo>
                  <a:lnTo>
                    <a:pt x="83399" y="19523"/>
                  </a:lnTo>
                  <a:lnTo>
                    <a:pt x="83399" y="19523"/>
                  </a:lnTo>
                  <a:lnTo>
                    <a:pt x="83399" y="19523"/>
                  </a:lnTo>
                  <a:lnTo>
                    <a:pt x="83235" y="19841"/>
                  </a:lnTo>
                  <a:lnTo>
                    <a:pt x="82988" y="19841"/>
                  </a:lnTo>
                  <a:lnTo>
                    <a:pt x="82988" y="20158"/>
                  </a:lnTo>
                  <a:lnTo>
                    <a:pt x="82823" y="20158"/>
                  </a:lnTo>
                  <a:lnTo>
                    <a:pt x="82988" y="20158"/>
                  </a:lnTo>
                  <a:lnTo>
                    <a:pt x="82988" y="20158"/>
                  </a:lnTo>
                  <a:lnTo>
                    <a:pt x="83399" y="20158"/>
                  </a:lnTo>
                  <a:lnTo>
                    <a:pt x="83810" y="20158"/>
                  </a:lnTo>
                  <a:lnTo>
                    <a:pt x="84139" y="20158"/>
                  </a:lnTo>
                  <a:lnTo>
                    <a:pt x="84386" y="20158"/>
                  </a:lnTo>
                  <a:lnTo>
                    <a:pt x="84715" y="20158"/>
                  </a:lnTo>
                  <a:lnTo>
                    <a:pt x="84715" y="20158"/>
                  </a:lnTo>
                  <a:lnTo>
                    <a:pt x="84715" y="20158"/>
                  </a:lnTo>
                  <a:lnTo>
                    <a:pt x="84962" y="20158"/>
                  </a:lnTo>
                  <a:lnTo>
                    <a:pt x="85126" y="20158"/>
                  </a:lnTo>
                  <a:lnTo>
                    <a:pt x="85291" y="20158"/>
                  </a:lnTo>
                  <a:lnTo>
                    <a:pt x="85538" y="20158"/>
                  </a:lnTo>
                  <a:lnTo>
                    <a:pt x="85538" y="20158"/>
                  </a:lnTo>
                  <a:lnTo>
                    <a:pt x="85702" y="20158"/>
                  </a:lnTo>
                  <a:lnTo>
                    <a:pt x="86113" y="20158"/>
                  </a:lnTo>
                  <a:lnTo>
                    <a:pt x="86113" y="20158"/>
                  </a:lnTo>
                  <a:lnTo>
                    <a:pt x="86113" y="20158"/>
                  </a:lnTo>
                  <a:lnTo>
                    <a:pt x="86113" y="19841"/>
                  </a:lnTo>
                  <a:lnTo>
                    <a:pt x="86278" y="19841"/>
                  </a:lnTo>
                  <a:lnTo>
                    <a:pt x="86278" y="20158"/>
                  </a:lnTo>
                  <a:lnTo>
                    <a:pt x="86278" y="20158"/>
                  </a:lnTo>
                  <a:lnTo>
                    <a:pt x="86525" y="20158"/>
                  </a:lnTo>
                  <a:lnTo>
                    <a:pt x="86525" y="20158"/>
                  </a:lnTo>
                  <a:lnTo>
                    <a:pt x="86689" y="19841"/>
                  </a:lnTo>
                  <a:lnTo>
                    <a:pt x="86689" y="19841"/>
                  </a:lnTo>
                  <a:lnTo>
                    <a:pt x="86689" y="20158"/>
                  </a:lnTo>
                  <a:lnTo>
                    <a:pt x="86689" y="20158"/>
                  </a:lnTo>
                  <a:lnTo>
                    <a:pt x="86854" y="20158"/>
                  </a:lnTo>
                  <a:lnTo>
                    <a:pt x="87100" y="20158"/>
                  </a:lnTo>
                  <a:lnTo>
                    <a:pt x="87265" y="20158"/>
                  </a:lnTo>
                  <a:lnTo>
                    <a:pt x="87840" y="20158"/>
                  </a:lnTo>
                  <a:lnTo>
                    <a:pt x="88005" y="20158"/>
                  </a:lnTo>
                  <a:lnTo>
                    <a:pt x="88252" y="20158"/>
                  </a:lnTo>
                  <a:lnTo>
                    <a:pt x="88416" y="19841"/>
                  </a:lnTo>
                  <a:lnTo>
                    <a:pt x="88416" y="19841"/>
                  </a:lnTo>
                  <a:lnTo>
                    <a:pt x="88581" y="19523"/>
                  </a:lnTo>
                  <a:lnTo>
                    <a:pt x="88581" y="19523"/>
                  </a:lnTo>
                  <a:lnTo>
                    <a:pt x="88581" y="19523"/>
                  </a:lnTo>
                  <a:lnTo>
                    <a:pt x="88581" y="19523"/>
                  </a:lnTo>
                  <a:lnTo>
                    <a:pt x="88581" y="19047"/>
                  </a:lnTo>
                  <a:lnTo>
                    <a:pt x="88581" y="19047"/>
                  </a:lnTo>
                  <a:lnTo>
                    <a:pt x="88581" y="19047"/>
                  </a:lnTo>
                  <a:lnTo>
                    <a:pt x="88827" y="19523"/>
                  </a:lnTo>
                  <a:lnTo>
                    <a:pt x="88827" y="19523"/>
                  </a:lnTo>
                  <a:lnTo>
                    <a:pt x="88992" y="19523"/>
                  </a:lnTo>
                  <a:lnTo>
                    <a:pt x="88827" y="19523"/>
                  </a:lnTo>
                  <a:lnTo>
                    <a:pt x="88827" y="19523"/>
                  </a:lnTo>
                  <a:lnTo>
                    <a:pt x="88827" y="19841"/>
                  </a:lnTo>
                  <a:lnTo>
                    <a:pt x="88827" y="19841"/>
                  </a:lnTo>
                  <a:lnTo>
                    <a:pt x="88827" y="20158"/>
                  </a:lnTo>
                  <a:lnTo>
                    <a:pt x="88827" y="20158"/>
                  </a:lnTo>
                  <a:lnTo>
                    <a:pt x="88992" y="20158"/>
                  </a:lnTo>
                  <a:lnTo>
                    <a:pt x="88992" y="20158"/>
                  </a:lnTo>
                  <a:lnTo>
                    <a:pt x="89239" y="20158"/>
                  </a:lnTo>
                  <a:lnTo>
                    <a:pt x="89568" y="20158"/>
                  </a:lnTo>
                  <a:lnTo>
                    <a:pt x="89568" y="20158"/>
                  </a:lnTo>
                  <a:lnTo>
                    <a:pt x="89814" y="20158"/>
                  </a:lnTo>
                  <a:lnTo>
                    <a:pt x="89979" y="20158"/>
                  </a:lnTo>
                  <a:lnTo>
                    <a:pt x="90390" y="20158"/>
                  </a:lnTo>
                  <a:lnTo>
                    <a:pt x="90555" y="20158"/>
                  </a:lnTo>
                  <a:lnTo>
                    <a:pt x="91542" y="20158"/>
                  </a:lnTo>
                  <a:lnTo>
                    <a:pt x="91542" y="20158"/>
                  </a:lnTo>
                  <a:lnTo>
                    <a:pt x="91706" y="19841"/>
                  </a:lnTo>
                  <a:lnTo>
                    <a:pt x="91706" y="19841"/>
                  </a:lnTo>
                  <a:lnTo>
                    <a:pt x="91953" y="19523"/>
                  </a:lnTo>
                  <a:lnTo>
                    <a:pt x="91953" y="19523"/>
                  </a:lnTo>
                  <a:lnTo>
                    <a:pt x="91953" y="19523"/>
                  </a:lnTo>
                  <a:lnTo>
                    <a:pt x="91953" y="19523"/>
                  </a:lnTo>
                  <a:lnTo>
                    <a:pt x="91953" y="19047"/>
                  </a:lnTo>
                  <a:lnTo>
                    <a:pt x="91953" y="19047"/>
                  </a:lnTo>
                  <a:lnTo>
                    <a:pt x="91953" y="19047"/>
                  </a:lnTo>
                  <a:lnTo>
                    <a:pt x="92117" y="19047"/>
                  </a:lnTo>
                  <a:lnTo>
                    <a:pt x="92282" y="19523"/>
                  </a:lnTo>
                  <a:lnTo>
                    <a:pt x="92693" y="19047"/>
                  </a:lnTo>
                  <a:lnTo>
                    <a:pt x="92858" y="19047"/>
                  </a:lnTo>
                  <a:lnTo>
                    <a:pt x="92858" y="19047"/>
                  </a:lnTo>
                  <a:lnTo>
                    <a:pt x="92858" y="19047"/>
                  </a:lnTo>
                  <a:lnTo>
                    <a:pt x="92693" y="18730"/>
                  </a:lnTo>
                  <a:lnTo>
                    <a:pt x="92693" y="18730"/>
                  </a:lnTo>
                  <a:lnTo>
                    <a:pt x="92282" y="19047"/>
                  </a:lnTo>
                  <a:lnTo>
                    <a:pt x="92282" y="19047"/>
                  </a:lnTo>
                  <a:lnTo>
                    <a:pt x="92117" y="19047"/>
                  </a:lnTo>
                  <a:lnTo>
                    <a:pt x="92117" y="18730"/>
                  </a:lnTo>
                  <a:lnTo>
                    <a:pt x="92117" y="18730"/>
                  </a:lnTo>
                  <a:lnTo>
                    <a:pt x="92529" y="18730"/>
                  </a:lnTo>
                  <a:lnTo>
                    <a:pt x="93104" y="18412"/>
                  </a:lnTo>
                  <a:lnTo>
                    <a:pt x="93269" y="18412"/>
                  </a:lnTo>
                  <a:lnTo>
                    <a:pt x="93269" y="18412"/>
                  </a:lnTo>
                  <a:lnTo>
                    <a:pt x="93269" y="17936"/>
                  </a:lnTo>
                  <a:lnTo>
                    <a:pt x="93269" y="17619"/>
                  </a:lnTo>
                  <a:lnTo>
                    <a:pt x="93269" y="17619"/>
                  </a:lnTo>
                  <a:lnTo>
                    <a:pt x="92858" y="17619"/>
                  </a:lnTo>
                  <a:lnTo>
                    <a:pt x="92693" y="17619"/>
                  </a:lnTo>
                  <a:lnTo>
                    <a:pt x="92693" y="17619"/>
                  </a:lnTo>
                  <a:lnTo>
                    <a:pt x="93104" y="17619"/>
                  </a:lnTo>
                  <a:lnTo>
                    <a:pt x="93104" y="17619"/>
                  </a:lnTo>
                  <a:lnTo>
                    <a:pt x="93104" y="17619"/>
                  </a:lnTo>
                  <a:lnTo>
                    <a:pt x="92858" y="17142"/>
                  </a:lnTo>
                  <a:lnTo>
                    <a:pt x="92693" y="17142"/>
                  </a:lnTo>
                  <a:lnTo>
                    <a:pt x="92282" y="17142"/>
                  </a:lnTo>
                  <a:lnTo>
                    <a:pt x="92117" y="17142"/>
                  </a:lnTo>
                  <a:lnTo>
                    <a:pt x="92117" y="17142"/>
                  </a:lnTo>
                  <a:lnTo>
                    <a:pt x="92117" y="17142"/>
                  </a:lnTo>
                  <a:lnTo>
                    <a:pt x="92282" y="17142"/>
                  </a:lnTo>
                  <a:lnTo>
                    <a:pt x="92117" y="16825"/>
                  </a:lnTo>
                  <a:lnTo>
                    <a:pt x="91706" y="16825"/>
                  </a:lnTo>
                  <a:lnTo>
                    <a:pt x="91295" y="16825"/>
                  </a:lnTo>
                  <a:lnTo>
                    <a:pt x="91130" y="16825"/>
                  </a:lnTo>
                  <a:lnTo>
                    <a:pt x="90966" y="16825"/>
                  </a:lnTo>
                  <a:lnTo>
                    <a:pt x="90390" y="16825"/>
                  </a:lnTo>
                  <a:lnTo>
                    <a:pt x="90143" y="16825"/>
                  </a:lnTo>
                  <a:lnTo>
                    <a:pt x="89814" y="16825"/>
                  </a:lnTo>
                  <a:lnTo>
                    <a:pt x="89568" y="16825"/>
                  </a:lnTo>
                  <a:lnTo>
                    <a:pt x="89403" y="16825"/>
                  </a:lnTo>
                  <a:lnTo>
                    <a:pt x="89239" y="16825"/>
                  </a:lnTo>
                  <a:lnTo>
                    <a:pt x="88581" y="17142"/>
                  </a:lnTo>
                  <a:lnTo>
                    <a:pt x="88416" y="17142"/>
                  </a:lnTo>
                  <a:lnTo>
                    <a:pt x="88252" y="17142"/>
                  </a:lnTo>
                  <a:lnTo>
                    <a:pt x="87676" y="17619"/>
                  </a:lnTo>
                  <a:lnTo>
                    <a:pt x="87429" y="17619"/>
                  </a:lnTo>
                  <a:lnTo>
                    <a:pt x="87100" y="17619"/>
                  </a:lnTo>
                  <a:lnTo>
                    <a:pt x="86854" y="17619"/>
                  </a:lnTo>
                  <a:lnTo>
                    <a:pt x="86854" y="17936"/>
                  </a:lnTo>
                  <a:lnTo>
                    <a:pt x="86854" y="17936"/>
                  </a:lnTo>
                  <a:lnTo>
                    <a:pt x="86525" y="17936"/>
                  </a:lnTo>
                  <a:lnTo>
                    <a:pt x="86525" y="17936"/>
                  </a:lnTo>
                  <a:lnTo>
                    <a:pt x="86278" y="17619"/>
                  </a:lnTo>
                  <a:lnTo>
                    <a:pt x="86113" y="17619"/>
                  </a:lnTo>
                  <a:lnTo>
                    <a:pt x="85867" y="17142"/>
                  </a:lnTo>
                  <a:lnTo>
                    <a:pt x="85702" y="17619"/>
                  </a:lnTo>
                  <a:lnTo>
                    <a:pt x="85291" y="17619"/>
                  </a:lnTo>
                  <a:lnTo>
                    <a:pt x="85291" y="17619"/>
                  </a:lnTo>
                  <a:lnTo>
                    <a:pt x="85291" y="17619"/>
                  </a:lnTo>
                  <a:lnTo>
                    <a:pt x="85291" y="17619"/>
                  </a:lnTo>
                  <a:lnTo>
                    <a:pt x="84715" y="17619"/>
                  </a:lnTo>
                  <a:lnTo>
                    <a:pt x="84551" y="17142"/>
                  </a:lnTo>
                  <a:lnTo>
                    <a:pt x="84551" y="17142"/>
                  </a:lnTo>
                  <a:lnTo>
                    <a:pt x="84386" y="17142"/>
                  </a:lnTo>
                  <a:lnTo>
                    <a:pt x="84386" y="17142"/>
                  </a:lnTo>
                  <a:lnTo>
                    <a:pt x="84139" y="17142"/>
                  </a:lnTo>
                  <a:lnTo>
                    <a:pt x="84139" y="17619"/>
                  </a:lnTo>
                  <a:lnTo>
                    <a:pt x="84139" y="17619"/>
                  </a:lnTo>
                  <a:lnTo>
                    <a:pt x="84139" y="17619"/>
                  </a:lnTo>
                  <a:lnTo>
                    <a:pt x="83975" y="17619"/>
                  </a:lnTo>
                  <a:lnTo>
                    <a:pt x="83975" y="17619"/>
                  </a:lnTo>
                  <a:lnTo>
                    <a:pt x="83975" y="17619"/>
                  </a:lnTo>
                  <a:lnTo>
                    <a:pt x="83810" y="17619"/>
                  </a:lnTo>
                  <a:lnTo>
                    <a:pt x="83564" y="17619"/>
                  </a:lnTo>
                  <a:lnTo>
                    <a:pt x="83399" y="17619"/>
                  </a:lnTo>
                  <a:lnTo>
                    <a:pt x="83399" y="17619"/>
                  </a:lnTo>
                  <a:lnTo>
                    <a:pt x="83810" y="17142"/>
                  </a:lnTo>
                  <a:lnTo>
                    <a:pt x="83975" y="17142"/>
                  </a:lnTo>
                  <a:lnTo>
                    <a:pt x="83975" y="16825"/>
                  </a:lnTo>
                  <a:lnTo>
                    <a:pt x="84139" y="16825"/>
                  </a:lnTo>
                  <a:lnTo>
                    <a:pt x="83975" y="16825"/>
                  </a:lnTo>
                  <a:lnTo>
                    <a:pt x="83975" y="16825"/>
                  </a:lnTo>
                  <a:lnTo>
                    <a:pt x="83810" y="16825"/>
                  </a:lnTo>
                  <a:lnTo>
                    <a:pt x="83810" y="16825"/>
                  </a:lnTo>
                  <a:lnTo>
                    <a:pt x="83810" y="16507"/>
                  </a:lnTo>
                  <a:lnTo>
                    <a:pt x="83810" y="16507"/>
                  </a:lnTo>
                  <a:lnTo>
                    <a:pt x="83564" y="16507"/>
                  </a:lnTo>
                  <a:lnTo>
                    <a:pt x="83564" y="16031"/>
                  </a:lnTo>
                  <a:lnTo>
                    <a:pt x="83399" y="16031"/>
                  </a:lnTo>
                  <a:lnTo>
                    <a:pt x="82988" y="16031"/>
                  </a:lnTo>
                  <a:lnTo>
                    <a:pt x="82988" y="16031"/>
                  </a:lnTo>
                  <a:lnTo>
                    <a:pt x="82823" y="16031"/>
                  </a:lnTo>
                  <a:lnTo>
                    <a:pt x="82577" y="16031"/>
                  </a:lnTo>
                  <a:lnTo>
                    <a:pt x="82577" y="15714"/>
                  </a:lnTo>
                  <a:lnTo>
                    <a:pt x="82823" y="15714"/>
                  </a:lnTo>
                  <a:lnTo>
                    <a:pt x="83235" y="15714"/>
                  </a:lnTo>
                  <a:lnTo>
                    <a:pt x="83564" y="16031"/>
                  </a:lnTo>
                  <a:lnTo>
                    <a:pt x="84551" y="15714"/>
                  </a:lnTo>
                  <a:lnTo>
                    <a:pt x="84715" y="15714"/>
                  </a:lnTo>
                  <a:lnTo>
                    <a:pt x="84715" y="15714"/>
                  </a:lnTo>
                  <a:lnTo>
                    <a:pt x="84715" y="15714"/>
                  </a:lnTo>
                  <a:lnTo>
                    <a:pt x="84962" y="15714"/>
                  </a:lnTo>
                  <a:lnTo>
                    <a:pt x="83399" y="15396"/>
                  </a:lnTo>
                  <a:lnTo>
                    <a:pt x="82988" y="15396"/>
                  </a:lnTo>
                  <a:lnTo>
                    <a:pt x="82988" y="15396"/>
                  </a:lnTo>
                  <a:lnTo>
                    <a:pt x="82988" y="14920"/>
                  </a:lnTo>
                  <a:lnTo>
                    <a:pt x="82988" y="14920"/>
                  </a:lnTo>
                  <a:lnTo>
                    <a:pt x="83235" y="14920"/>
                  </a:lnTo>
                  <a:lnTo>
                    <a:pt x="83235" y="14920"/>
                  </a:lnTo>
                  <a:lnTo>
                    <a:pt x="83564" y="14920"/>
                  </a:lnTo>
                  <a:lnTo>
                    <a:pt x="83810" y="15396"/>
                  </a:lnTo>
                  <a:lnTo>
                    <a:pt x="83975" y="14920"/>
                  </a:lnTo>
                  <a:lnTo>
                    <a:pt x="83975" y="14920"/>
                  </a:lnTo>
                  <a:lnTo>
                    <a:pt x="83975" y="14920"/>
                  </a:lnTo>
                  <a:lnTo>
                    <a:pt x="83810" y="14920"/>
                  </a:lnTo>
                  <a:lnTo>
                    <a:pt x="83564" y="14603"/>
                  </a:lnTo>
                  <a:lnTo>
                    <a:pt x="83399" y="14603"/>
                  </a:lnTo>
                  <a:lnTo>
                    <a:pt x="83235" y="14603"/>
                  </a:lnTo>
                  <a:lnTo>
                    <a:pt x="82988" y="14603"/>
                  </a:lnTo>
                  <a:lnTo>
                    <a:pt x="82248" y="14603"/>
                  </a:lnTo>
                  <a:lnTo>
                    <a:pt x="81836" y="14920"/>
                  </a:lnTo>
                  <a:lnTo>
                    <a:pt x="81672" y="14603"/>
                  </a:lnTo>
                  <a:lnTo>
                    <a:pt x="80849" y="14920"/>
                  </a:lnTo>
                  <a:lnTo>
                    <a:pt x="80849" y="15396"/>
                  </a:lnTo>
                  <a:lnTo>
                    <a:pt x="80849" y="14920"/>
                  </a:lnTo>
                  <a:lnTo>
                    <a:pt x="81096" y="14920"/>
                  </a:lnTo>
                  <a:lnTo>
                    <a:pt x="81261" y="14920"/>
                  </a:lnTo>
                  <a:lnTo>
                    <a:pt x="81425" y="14603"/>
                  </a:lnTo>
                  <a:lnTo>
                    <a:pt x="81425" y="14603"/>
                  </a:lnTo>
                  <a:lnTo>
                    <a:pt x="81425" y="14603"/>
                  </a:lnTo>
                  <a:lnTo>
                    <a:pt x="81672" y="14603"/>
                  </a:lnTo>
                  <a:lnTo>
                    <a:pt x="81672" y="14603"/>
                  </a:lnTo>
                  <a:lnTo>
                    <a:pt x="81672" y="14285"/>
                  </a:lnTo>
                  <a:lnTo>
                    <a:pt x="81672" y="14285"/>
                  </a:lnTo>
                  <a:lnTo>
                    <a:pt x="81425" y="14285"/>
                  </a:lnTo>
                  <a:lnTo>
                    <a:pt x="81425" y="14285"/>
                  </a:lnTo>
                  <a:lnTo>
                    <a:pt x="81261" y="13809"/>
                  </a:lnTo>
                  <a:lnTo>
                    <a:pt x="81261" y="13809"/>
                  </a:lnTo>
                  <a:lnTo>
                    <a:pt x="81096" y="14285"/>
                  </a:lnTo>
                  <a:lnTo>
                    <a:pt x="80849" y="13809"/>
                  </a:lnTo>
                  <a:lnTo>
                    <a:pt x="80520" y="13809"/>
                  </a:lnTo>
                  <a:lnTo>
                    <a:pt x="80109" y="13809"/>
                  </a:lnTo>
                  <a:lnTo>
                    <a:pt x="79698" y="13492"/>
                  </a:lnTo>
                  <a:lnTo>
                    <a:pt x="79533" y="13492"/>
                  </a:lnTo>
                  <a:lnTo>
                    <a:pt x="79287" y="13809"/>
                  </a:lnTo>
                  <a:lnTo>
                    <a:pt x="78958" y="13809"/>
                  </a:lnTo>
                  <a:lnTo>
                    <a:pt x="78711" y="13809"/>
                  </a:lnTo>
                  <a:lnTo>
                    <a:pt x="78546" y="13809"/>
                  </a:lnTo>
                  <a:lnTo>
                    <a:pt x="78382" y="13809"/>
                  </a:lnTo>
                  <a:lnTo>
                    <a:pt x="78382" y="13809"/>
                  </a:lnTo>
                  <a:close/>
                  <a:moveTo>
                    <a:pt x="78382" y="23650"/>
                  </a:moveTo>
                  <a:lnTo>
                    <a:pt x="78546" y="23174"/>
                  </a:lnTo>
                  <a:lnTo>
                    <a:pt x="78711" y="22857"/>
                  </a:lnTo>
                  <a:lnTo>
                    <a:pt x="78958" y="22857"/>
                  </a:lnTo>
                  <a:lnTo>
                    <a:pt x="78958" y="22857"/>
                  </a:lnTo>
                  <a:lnTo>
                    <a:pt x="79122" y="22857"/>
                  </a:lnTo>
                  <a:lnTo>
                    <a:pt x="79533" y="22539"/>
                  </a:lnTo>
                  <a:lnTo>
                    <a:pt x="79698" y="22063"/>
                  </a:lnTo>
                  <a:lnTo>
                    <a:pt x="79862" y="22063"/>
                  </a:lnTo>
                  <a:lnTo>
                    <a:pt x="80109" y="22063"/>
                  </a:lnTo>
                  <a:lnTo>
                    <a:pt x="79862" y="21746"/>
                  </a:lnTo>
                  <a:lnTo>
                    <a:pt x="79862" y="21746"/>
                  </a:lnTo>
                  <a:lnTo>
                    <a:pt x="79533" y="21746"/>
                  </a:lnTo>
                  <a:lnTo>
                    <a:pt x="78958" y="21428"/>
                  </a:lnTo>
                  <a:lnTo>
                    <a:pt x="78711" y="21746"/>
                  </a:lnTo>
                  <a:lnTo>
                    <a:pt x="78135" y="21746"/>
                  </a:lnTo>
                  <a:lnTo>
                    <a:pt x="78135" y="21746"/>
                  </a:lnTo>
                  <a:lnTo>
                    <a:pt x="78135" y="21428"/>
                  </a:lnTo>
                  <a:lnTo>
                    <a:pt x="77971" y="21428"/>
                  </a:lnTo>
                  <a:lnTo>
                    <a:pt x="77971" y="21428"/>
                  </a:lnTo>
                  <a:lnTo>
                    <a:pt x="77559" y="21428"/>
                  </a:lnTo>
                  <a:lnTo>
                    <a:pt x="77395" y="20952"/>
                  </a:lnTo>
                  <a:lnTo>
                    <a:pt x="77148" y="20952"/>
                  </a:lnTo>
                  <a:lnTo>
                    <a:pt x="76819" y="21428"/>
                  </a:lnTo>
                  <a:lnTo>
                    <a:pt x="76572" y="21428"/>
                  </a:lnTo>
                  <a:lnTo>
                    <a:pt x="75997" y="21428"/>
                  </a:lnTo>
                  <a:lnTo>
                    <a:pt x="75832" y="21428"/>
                  </a:lnTo>
                  <a:lnTo>
                    <a:pt x="75421" y="21428"/>
                  </a:lnTo>
                  <a:lnTo>
                    <a:pt x="75421" y="21428"/>
                  </a:lnTo>
                  <a:lnTo>
                    <a:pt x="75257" y="21746"/>
                  </a:lnTo>
                  <a:lnTo>
                    <a:pt x="75257" y="21746"/>
                  </a:lnTo>
                  <a:lnTo>
                    <a:pt x="75092" y="21746"/>
                  </a:lnTo>
                  <a:lnTo>
                    <a:pt x="75092" y="21746"/>
                  </a:lnTo>
                  <a:lnTo>
                    <a:pt x="75092" y="21746"/>
                  </a:lnTo>
                  <a:lnTo>
                    <a:pt x="75092" y="22063"/>
                  </a:lnTo>
                  <a:lnTo>
                    <a:pt x="75092" y="22539"/>
                  </a:lnTo>
                  <a:lnTo>
                    <a:pt x="75092" y="22539"/>
                  </a:lnTo>
                  <a:lnTo>
                    <a:pt x="75257" y="22539"/>
                  </a:lnTo>
                  <a:lnTo>
                    <a:pt x="75257" y="22539"/>
                  </a:lnTo>
                  <a:lnTo>
                    <a:pt x="75092" y="22539"/>
                  </a:lnTo>
                  <a:lnTo>
                    <a:pt x="74845" y="22539"/>
                  </a:lnTo>
                  <a:lnTo>
                    <a:pt x="74681" y="22063"/>
                  </a:lnTo>
                  <a:lnTo>
                    <a:pt x="74434" y="22063"/>
                  </a:lnTo>
                  <a:lnTo>
                    <a:pt x="74270" y="22539"/>
                  </a:lnTo>
                  <a:lnTo>
                    <a:pt x="74270" y="22539"/>
                  </a:lnTo>
                  <a:lnTo>
                    <a:pt x="74270" y="22539"/>
                  </a:lnTo>
                  <a:lnTo>
                    <a:pt x="74105" y="22539"/>
                  </a:lnTo>
                  <a:lnTo>
                    <a:pt x="74105" y="22857"/>
                  </a:lnTo>
                  <a:lnTo>
                    <a:pt x="73694" y="23174"/>
                  </a:lnTo>
                  <a:lnTo>
                    <a:pt x="73529" y="23968"/>
                  </a:lnTo>
                  <a:lnTo>
                    <a:pt x="73529" y="23968"/>
                  </a:lnTo>
                  <a:lnTo>
                    <a:pt x="73283" y="24285"/>
                  </a:lnTo>
                  <a:lnTo>
                    <a:pt x="73118" y="24285"/>
                  </a:lnTo>
                  <a:lnTo>
                    <a:pt x="73118" y="24761"/>
                  </a:lnTo>
                  <a:lnTo>
                    <a:pt x="72954" y="24761"/>
                  </a:lnTo>
                  <a:lnTo>
                    <a:pt x="72954" y="24761"/>
                  </a:lnTo>
                  <a:lnTo>
                    <a:pt x="72954" y="25555"/>
                  </a:lnTo>
                  <a:lnTo>
                    <a:pt x="72707" y="25873"/>
                  </a:lnTo>
                  <a:lnTo>
                    <a:pt x="72542" y="26666"/>
                  </a:lnTo>
                  <a:lnTo>
                    <a:pt x="72131" y="26984"/>
                  </a:lnTo>
                  <a:lnTo>
                    <a:pt x="72378" y="26984"/>
                  </a:lnTo>
                  <a:lnTo>
                    <a:pt x="72954" y="26984"/>
                  </a:lnTo>
                  <a:lnTo>
                    <a:pt x="72954" y="26984"/>
                  </a:lnTo>
                  <a:lnTo>
                    <a:pt x="73283" y="26984"/>
                  </a:lnTo>
                  <a:lnTo>
                    <a:pt x="73529" y="26984"/>
                  </a:lnTo>
                  <a:lnTo>
                    <a:pt x="73694" y="26666"/>
                  </a:lnTo>
                  <a:lnTo>
                    <a:pt x="73858" y="26190"/>
                  </a:lnTo>
                  <a:lnTo>
                    <a:pt x="74434" y="25873"/>
                  </a:lnTo>
                  <a:lnTo>
                    <a:pt x="74681" y="25873"/>
                  </a:lnTo>
                  <a:lnTo>
                    <a:pt x="74681" y="25555"/>
                  </a:lnTo>
                  <a:lnTo>
                    <a:pt x="74681" y="25555"/>
                  </a:lnTo>
                  <a:lnTo>
                    <a:pt x="74681" y="25555"/>
                  </a:lnTo>
                  <a:lnTo>
                    <a:pt x="74681" y="25079"/>
                  </a:lnTo>
                  <a:lnTo>
                    <a:pt x="74681" y="25079"/>
                  </a:lnTo>
                  <a:lnTo>
                    <a:pt x="74434" y="25079"/>
                  </a:lnTo>
                  <a:lnTo>
                    <a:pt x="74270" y="25079"/>
                  </a:lnTo>
                  <a:lnTo>
                    <a:pt x="75092" y="24761"/>
                  </a:lnTo>
                  <a:lnTo>
                    <a:pt x="75257" y="24761"/>
                  </a:lnTo>
                  <a:lnTo>
                    <a:pt x="76244" y="25079"/>
                  </a:lnTo>
                  <a:lnTo>
                    <a:pt x="76408" y="25079"/>
                  </a:lnTo>
                  <a:lnTo>
                    <a:pt x="76572" y="25079"/>
                  </a:lnTo>
                  <a:lnTo>
                    <a:pt x="76984" y="24761"/>
                  </a:lnTo>
                  <a:lnTo>
                    <a:pt x="77148" y="24285"/>
                  </a:lnTo>
                  <a:lnTo>
                    <a:pt x="77559" y="24285"/>
                  </a:lnTo>
                  <a:lnTo>
                    <a:pt x="77806" y="23968"/>
                  </a:lnTo>
                  <a:lnTo>
                    <a:pt x="77971" y="23650"/>
                  </a:lnTo>
                  <a:lnTo>
                    <a:pt x="77971" y="23650"/>
                  </a:lnTo>
                  <a:lnTo>
                    <a:pt x="77806" y="23650"/>
                  </a:lnTo>
                  <a:lnTo>
                    <a:pt x="78135" y="23650"/>
                  </a:lnTo>
                  <a:lnTo>
                    <a:pt x="78382" y="23650"/>
                  </a:lnTo>
                  <a:close/>
                  <a:moveTo>
                    <a:pt x="73858" y="34126"/>
                  </a:moveTo>
                  <a:lnTo>
                    <a:pt x="73858" y="34126"/>
                  </a:lnTo>
                  <a:lnTo>
                    <a:pt x="73694" y="34126"/>
                  </a:lnTo>
                  <a:lnTo>
                    <a:pt x="73694" y="34126"/>
                  </a:lnTo>
                  <a:lnTo>
                    <a:pt x="73694" y="34444"/>
                  </a:lnTo>
                  <a:lnTo>
                    <a:pt x="73694" y="34444"/>
                  </a:lnTo>
                  <a:lnTo>
                    <a:pt x="73694" y="34444"/>
                  </a:lnTo>
                  <a:lnTo>
                    <a:pt x="73694" y="34444"/>
                  </a:lnTo>
                  <a:lnTo>
                    <a:pt x="73858" y="34444"/>
                  </a:lnTo>
                  <a:lnTo>
                    <a:pt x="74105" y="34126"/>
                  </a:lnTo>
                  <a:lnTo>
                    <a:pt x="74105" y="34126"/>
                  </a:lnTo>
                  <a:lnTo>
                    <a:pt x="74105" y="34126"/>
                  </a:lnTo>
                  <a:lnTo>
                    <a:pt x="74105" y="34126"/>
                  </a:lnTo>
                  <a:lnTo>
                    <a:pt x="73858" y="34126"/>
                  </a:lnTo>
                  <a:close/>
                  <a:moveTo>
                    <a:pt x="75832" y="38571"/>
                  </a:moveTo>
                  <a:lnTo>
                    <a:pt x="75832" y="38571"/>
                  </a:lnTo>
                  <a:lnTo>
                    <a:pt x="75832" y="38571"/>
                  </a:lnTo>
                  <a:lnTo>
                    <a:pt x="75832" y="38571"/>
                  </a:lnTo>
                  <a:lnTo>
                    <a:pt x="75832" y="39047"/>
                  </a:lnTo>
                  <a:lnTo>
                    <a:pt x="75997" y="39047"/>
                  </a:lnTo>
                  <a:lnTo>
                    <a:pt x="75997" y="39047"/>
                  </a:lnTo>
                  <a:lnTo>
                    <a:pt x="75997" y="39047"/>
                  </a:lnTo>
                  <a:lnTo>
                    <a:pt x="76244" y="38571"/>
                  </a:lnTo>
                  <a:lnTo>
                    <a:pt x="76244" y="38571"/>
                  </a:lnTo>
                  <a:lnTo>
                    <a:pt x="76408" y="38571"/>
                  </a:lnTo>
                  <a:lnTo>
                    <a:pt x="76408" y="38253"/>
                  </a:lnTo>
                  <a:lnTo>
                    <a:pt x="76572" y="38253"/>
                  </a:lnTo>
                  <a:lnTo>
                    <a:pt x="76572" y="37936"/>
                  </a:lnTo>
                  <a:lnTo>
                    <a:pt x="76572" y="37936"/>
                  </a:lnTo>
                  <a:lnTo>
                    <a:pt x="76819" y="37460"/>
                  </a:lnTo>
                  <a:lnTo>
                    <a:pt x="76819" y="37460"/>
                  </a:lnTo>
                  <a:lnTo>
                    <a:pt x="76819" y="37460"/>
                  </a:lnTo>
                  <a:lnTo>
                    <a:pt x="76572" y="37142"/>
                  </a:lnTo>
                  <a:lnTo>
                    <a:pt x="76408" y="37460"/>
                  </a:lnTo>
                  <a:lnTo>
                    <a:pt x="76244" y="37460"/>
                  </a:lnTo>
                  <a:lnTo>
                    <a:pt x="76244" y="37936"/>
                  </a:lnTo>
                  <a:lnTo>
                    <a:pt x="75997" y="37936"/>
                  </a:lnTo>
                  <a:lnTo>
                    <a:pt x="75997" y="37936"/>
                  </a:lnTo>
                  <a:lnTo>
                    <a:pt x="75997" y="37936"/>
                  </a:lnTo>
                  <a:lnTo>
                    <a:pt x="75997" y="38253"/>
                  </a:lnTo>
                  <a:lnTo>
                    <a:pt x="75832" y="38253"/>
                  </a:lnTo>
                  <a:lnTo>
                    <a:pt x="75832" y="38571"/>
                  </a:lnTo>
                  <a:close/>
                  <a:moveTo>
                    <a:pt x="72131" y="23650"/>
                  </a:moveTo>
                  <a:lnTo>
                    <a:pt x="71967" y="23968"/>
                  </a:lnTo>
                  <a:lnTo>
                    <a:pt x="71967" y="23968"/>
                  </a:lnTo>
                  <a:lnTo>
                    <a:pt x="71720" y="23968"/>
                  </a:lnTo>
                  <a:lnTo>
                    <a:pt x="71720" y="23968"/>
                  </a:lnTo>
                  <a:lnTo>
                    <a:pt x="71555" y="24285"/>
                  </a:lnTo>
                  <a:lnTo>
                    <a:pt x="71720" y="24285"/>
                  </a:lnTo>
                  <a:lnTo>
                    <a:pt x="71967" y="24285"/>
                  </a:lnTo>
                  <a:lnTo>
                    <a:pt x="71967" y="24285"/>
                  </a:lnTo>
                  <a:lnTo>
                    <a:pt x="71967" y="24285"/>
                  </a:lnTo>
                  <a:lnTo>
                    <a:pt x="72131" y="24285"/>
                  </a:lnTo>
                  <a:lnTo>
                    <a:pt x="72131" y="23968"/>
                  </a:lnTo>
                  <a:lnTo>
                    <a:pt x="72378" y="23968"/>
                  </a:lnTo>
                  <a:lnTo>
                    <a:pt x="72378" y="23968"/>
                  </a:lnTo>
                  <a:lnTo>
                    <a:pt x="72131" y="23968"/>
                  </a:lnTo>
                  <a:lnTo>
                    <a:pt x="72131" y="23968"/>
                  </a:lnTo>
                  <a:lnTo>
                    <a:pt x="72131" y="23968"/>
                  </a:lnTo>
                  <a:lnTo>
                    <a:pt x="72131" y="23650"/>
                  </a:lnTo>
                  <a:close/>
                  <a:moveTo>
                    <a:pt x="78711" y="16825"/>
                  </a:moveTo>
                  <a:lnTo>
                    <a:pt x="78958" y="16825"/>
                  </a:lnTo>
                  <a:lnTo>
                    <a:pt x="78958" y="16825"/>
                  </a:lnTo>
                  <a:lnTo>
                    <a:pt x="78958" y="16825"/>
                  </a:lnTo>
                  <a:lnTo>
                    <a:pt x="78958" y="16825"/>
                  </a:lnTo>
                  <a:lnTo>
                    <a:pt x="78958" y="16507"/>
                  </a:lnTo>
                  <a:lnTo>
                    <a:pt x="78958" y="16507"/>
                  </a:lnTo>
                  <a:lnTo>
                    <a:pt x="79122" y="16507"/>
                  </a:lnTo>
                  <a:lnTo>
                    <a:pt x="79122" y="16507"/>
                  </a:lnTo>
                  <a:lnTo>
                    <a:pt x="79122" y="16507"/>
                  </a:lnTo>
                  <a:lnTo>
                    <a:pt x="78711" y="16507"/>
                  </a:lnTo>
                  <a:lnTo>
                    <a:pt x="78711" y="16507"/>
                  </a:lnTo>
                  <a:lnTo>
                    <a:pt x="78546" y="16507"/>
                  </a:lnTo>
                  <a:lnTo>
                    <a:pt x="78546" y="16507"/>
                  </a:lnTo>
                  <a:lnTo>
                    <a:pt x="78546" y="16507"/>
                  </a:lnTo>
                  <a:lnTo>
                    <a:pt x="78546" y="16507"/>
                  </a:lnTo>
                  <a:lnTo>
                    <a:pt x="78546" y="16825"/>
                  </a:lnTo>
                  <a:lnTo>
                    <a:pt x="78546" y="16825"/>
                  </a:lnTo>
                  <a:lnTo>
                    <a:pt x="78546" y="16825"/>
                  </a:lnTo>
                  <a:lnTo>
                    <a:pt x="78546" y="16825"/>
                  </a:lnTo>
                  <a:lnTo>
                    <a:pt x="78546" y="16825"/>
                  </a:lnTo>
                  <a:lnTo>
                    <a:pt x="78711" y="16825"/>
                  </a:lnTo>
                  <a:close/>
                  <a:moveTo>
                    <a:pt x="75668" y="19841"/>
                  </a:moveTo>
                  <a:lnTo>
                    <a:pt x="75668" y="19841"/>
                  </a:lnTo>
                  <a:lnTo>
                    <a:pt x="75421" y="19841"/>
                  </a:lnTo>
                  <a:lnTo>
                    <a:pt x="75421" y="20158"/>
                  </a:lnTo>
                  <a:lnTo>
                    <a:pt x="75421" y="20158"/>
                  </a:lnTo>
                  <a:lnTo>
                    <a:pt x="75421" y="20158"/>
                  </a:lnTo>
                  <a:lnTo>
                    <a:pt x="75668" y="20158"/>
                  </a:lnTo>
                  <a:lnTo>
                    <a:pt x="75832" y="20158"/>
                  </a:lnTo>
                  <a:lnTo>
                    <a:pt x="75832" y="20158"/>
                  </a:lnTo>
                  <a:lnTo>
                    <a:pt x="75832" y="20158"/>
                  </a:lnTo>
                  <a:lnTo>
                    <a:pt x="75997" y="20158"/>
                  </a:lnTo>
                  <a:lnTo>
                    <a:pt x="75832" y="20158"/>
                  </a:lnTo>
                  <a:lnTo>
                    <a:pt x="75832" y="19841"/>
                  </a:lnTo>
                  <a:lnTo>
                    <a:pt x="75668" y="19841"/>
                  </a:lnTo>
                  <a:close/>
                  <a:moveTo>
                    <a:pt x="75421" y="18730"/>
                  </a:moveTo>
                  <a:lnTo>
                    <a:pt x="75421" y="18730"/>
                  </a:lnTo>
                  <a:lnTo>
                    <a:pt x="75257" y="19047"/>
                  </a:lnTo>
                  <a:lnTo>
                    <a:pt x="75257" y="19047"/>
                  </a:lnTo>
                  <a:lnTo>
                    <a:pt x="75421" y="19047"/>
                  </a:lnTo>
                  <a:lnTo>
                    <a:pt x="75421" y="19047"/>
                  </a:lnTo>
                  <a:lnTo>
                    <a:pt x="75421" y="19047"/>
                  </a:lnTo>
                  <a:lnTo>
                    <a:pt x="75421" y="19047"/>
                  </a:lnTo>
                  <a:lnTo>
                    <a:pt x="75421" y="19047"/>
                  </a:lnTo>
                  <a:lnTo>
                    <a:pt x="75668" y="19047"/>
                  </a:lnTo>
                  <a:lnTo>
                    <a:pt x="75668" y="19047"/>
                  </a:lnTo>
                  <a:lnTo>
                    <a:pt x="75832" y="19523"/>
                  </a:lnTo>
                  <a:lnTo>
                    <a:pt x="76244" y="19523"/>
                  </a:lnTo>
                  <a:lnTo>
                    <a:pt x="76408" y="19523"/>
                  </a:lnTo>
                  <a:lnTo>
                    <a:pt x="76572" y="19841"/>
                  </a:lnTo>
                  <a:lnTo>
                    <a:pt x="76572" y="19841"/>
                  </a:lnTo>
                  <a:lnTo>
                    <a:pt x="76572" y="19841"/>
                  </a:lnTo>
                  <a:lnTo>
                    <a:pt x="76819" y="19841"/>
                  </a:lnTo>
                  <a:lnTo>
                    <a:pt x="77148" y="19841"/>
                  </a:lnTo>
                  <a:lnTo>
                    <a:pt x="77395" y="19841"/>
                  </a:lnTo>
                  <a:lnTo>
                    <a:pt x="77806" y="19841"/>
                  </a:lnTo>
                  <a:lnTo>
                    <a:pt x="77971" y="19841"/>
                  </a:lnTo>
                  <a:lnTo>
                    <a:pt x="77971" y="19841"/>
                  </a:lnTo>
                  <a:lnTo>
                    <a:pt x="77971" y="19841"/>
                  </a:lnTo>
                  <a:lnTo>
                    <a:pt x="78135" y="19523"/>
                  </a:lnTo>
                  <a:lnTo>
                    <a:pt x="78135" y="19523"/>
                  </a:lnTo>
                  <a:lnTo>
                    <a:pt x="78135" y="19523"/>
                  </a:lnTo>
                  <a:lnTo>
                    <a:pt x="78382" y="19523"/>
                  </a:lnTo>
                  <a:lnTo>
                    <a:pt x="78382" y="19047"/>
                  </a:lnTo>
                  <a:lnTo>
                    <a:pt x="78382" y="19047"/>
                  </a:lnTo>
                  <a:lnTo>
                    <a:pt x="78546" y="18730"/>
                  </a:lnTo>
                  <a:lnTo>
                    <a:pt x="78546" y="18730"/>
                  </a:lnTo>
                  <a:lnTo>
                    <a:pt x="78546" y="18730"/>
                  </a:lnTo>
                  <a:lnTo>
                    <a:pt x="78711" y="18730"/>
                  </a:lnTo>
                  <a:lnTo>
                    <a:pt x="78711" y="18412"/>
                  </a:lnTo>
                  <a:lnTo>
                    <a:pt x="78711" y="18412"/>
                  </a:lnTo>
                  <a:lnTo>
                    <a:pt x="78711" y="17936"/>
                  </a:lnTo>
                  <a:lnTo>
                    <a:pt x="78711" y="17936"/>
                  </a:lnTo>
                  <a:lnTo>
                    <a:pt x="78546" y="17619"/>
                  </a:lnTo>
                  <a:lnTo>
                    <a:pt x="78546" y="17142"/>
                  </a:lnTo>
                  <a:lnTo>
                    <a:pt x="78382" y="17142"/>
                  </a:lnTo>
                  <a:lnTo>
                    <a:pt x="78135" y="17142"/>
                  </a:lnTo>
                  <a:lnTo>
                    <a:pt x="77971" y="17142"/>
                  </a:lnTo>
                  <a:lnTo>
                    <a:pt x="77148" y="17619"/>
                  </a:lnTo>
                  <a:lnTo>
                    <a:pt x="76819" y="17619"/>
                  </a:lnTo>
                  <a:lnTo>
                    <a:pt x="76572" y="17936"/>
                  </a:lnTo>
                  <a:lnTo>
                    <a:pt x="76408" y="17936"/>
                  </a:lnTo>
                  <a:lnTo>
                    <a:pt x="76244" y="18412"/>
                  </a:lnTo>
                  <a:lnTo>
                    <a:pt x="76244" y="18412"/>
                  </a:lnTo>
                  <a:lnTo>
                    <a:pt x="75997" y="18412"/>
                  </a:lnTo>
                  <a:lnTo>
                    <a:pt x="75832" y="18412"/>
                  </a:lnTo>
                  <a:lnTo>
                    <a:pt x="75421" y="18730"/>
                  </a:lnTo>
                  <a:lnTo>
                    <a:pt x="75421" y="18730"/>
                  </a:lnTo>
                  <a:close/>
                  <a:moveTo>
                    <a:pt x="75832" y="17936"/>
                  </a:moveTo>
                  <a:lnTo>
                    <a:pt x="75832" y="17936"/>
                  </a:lnTo>
                  <a:lnTo>
                    <a:pt x="75997" y="17936"/>
                  </a:lnTo>
                  <a:lnTo>
                    <a:pt x="76244" y="17619"/>
                  </a:lnTo>
                  <a:lnTo>
                    <a:pt x="76408" y="17619"/>
                  </a:lnTo>
                  <a:lnTo>
                    <a:pt x="76408" y="17619"/>
                  </a:lnTo>
                  <a:lnTo>
                    <a:pt x="76572" y="17619"/>
                  </a:lnTo>
                  <a:lnTo>
                    <a:pt x="76572" y="17619"/>
                  </a:lnTo>
                  <a:lnTo>
                    <a:pt x="76819" y="17619"/>
                  </a:lnTo>
                  <a:lnTo>
                    <a:pt x="76819" y="17619"/>
                  </a:lnTo>
                  <a:lnTo>
                    <a:pt x="76819" y="17619"/>
                  </a:lnTo>
                  <a:lnTo>
                    <a:pt x="76819" y="17142"/>
                  </a:lnTo>
                  <a:lnTo>
                    <a:pt x="76572" y="17142"/>
                  </a:lnTo>
                  <a:lnTo>
                    <a:pt x="76572" y="17142"/>
                  </a:lnTo>
                  <a:lnTo>
                    <a:pt x="76572" y="17142"/>
                  </a:lnTo>
                  <a:lnTo>
                    <a:pt x="76408" y="17142"/>
                  </a:lnTo>
                  <a:lnTo>
                    <a:pt x="76408" y="17619"/>
                  </a:lnTo>
                  <a:lnTo>
                    <a:pt x="75832" y="17619"/>
                  </a:lnTo>
                  <a:lnTo>
                    <a:pt x="75832" y="17619"/>
                  </a:lnTo>
                  <a:lnTo>
                    <a:pt x="75668" y="17619"/>
                  </a:lnTo>
                  <a:lnTo>
                    <a:pt x="75668" y="17936"/>
                  </a:lnTo>
                  <a:lnTo>
                    <a:pt x="75668" y="17936"/>
                  </a:lnTo>
                  <a:lnTo>
                    <a:pt x="75668" y="17936"/>
                  </a:lnTo>
                  <a:lnTo>
                    <a:pt x="75832" y="17936"/>
                  </a:lnTo>
                  <a:close/>
                  <a:moveTo>
                    <a:pt x="81836" y="11904"/>
                  </a:moveTo>
                  <a:lnTo>
                    <a:pt x="81672" y="11904"/>
                  </a:lnTo>
                  <a:lnTo>
                    <a:pt x="81261" y="11904"/>
                  </a:lnTo>
                  <a:lnTo>
                    <a:pt x="81096" y="11904"/>
                  </a:lnTo>
                  <a:lnTo>
                    <a:pt x="80849" y="11904"/>
                  </a:lnTo>
                  <a:lnTo>
                    <a:pt x="80274" y="11904"/>
                  </a:lnTo>
                  <a:lnTo>
                    <a:pt x="80274" y="11904"/>
                  </a:lnTo>
                  <a:lnTo>
                    <a:pt x="80109" y="11904"/>
                  </a:lnTo>
                  <a:lnTo>
                    <a:pt x="80109" y="12380"/>
                  </a:lnTo>
                  <a:lnTo>
                    <a:pt x="80109" y="12380"/>
                  </a:lnTo>
                  <a:lnTo>
                    <a:pt x="80109" y="12698"/>
                  </a:lnTo>
                  <a:lnTo>
                    <a:pt x="80109" y="12698"/>
                  </a:lnTo>
                  <a:lnTo>
                    <a:pt x="81672" y="12698"/>
                  </a:lnTo>
                  <a:lnTo>
                    <a:pt x="82248" y="12698"/>
                  </a:lnTo>
                  <a:lnTo>
                    <a:pt x="82248" y="12698"/>
                  </a:lnTo>
                  <a:lnTo>
                    <a:pt x="82412" y="12698"/>
                  </a:lnTo>
                  <a:lnTo>
                    <a:pt x="82577" y="12698"/>
                  </a:lnTo>
                  <a:lnTo>
                    <a:pt x="82988" y="12380"/>
                  </a:lnTo>
                  <a:lnTo>
                    <a:pt x="83235" y="11904"/>
                  </a:lnTo>
                  <a:lnTo>
                    <a:pt x="83235" y="11904"/>
                  </a:lnTo>
                  <a:lnTo>
                    <a:pt x="83235" y="11904"/>
                  </a:lnTo>
                  <a:lnTo>
                    <a:pt x="82988" y="11904"/>
                  </a:lnTo>
                  <a:lnTo>
                    <a:pt x="82988" y="11904"/>
                  </a:lnTo>
                  <a:lnTo>
                    <a:pt x="82412" y="11904"/>
                  </a:lnTo>
                  <a:lnTo>
                    <a:pt x="81836" y="11904"/>
                  </a:lnTo>
                  <a:close/>
                  <a:moveTo>
                    <a:pt x="93680" y="23650"/>
                  </a:moveTo>
                  <a:lnTo>
                    <a:pt x="93433" y="23650"/>
                  </a:lnTo>
                  <a:lnTo>
                    <a:pt x="93269" y="23174"/>
                  </a:lnTo>
                  <a:lnTo>
                    <a:pt x="93269" y="23174"/>
                  </a:lnTo>
                  <a:lnTo>
                    <a:pt x="93269" y="23174"/>
                  </a:lnTo>
                  <a:lnTo>
                    <a:pt x="93269" y="22857"/>
                  </a:lnTo>
                  <a:lnTo>
                    <a:pt x="93269" y="22857"/>
                  </a:lnTo>
                  <a:lnTo>
                    <a:pt x="92693" y="22539"/>
                  </a:lnTo>
                  <a:lnTo>
                    <a:pt x="92282" y="22539"/>
                  </a:lnTo>
                  <a:lnTo>
                    <a:pt x="91130" y="22539"/>
                  </a:lnTo>
                  <a:lnTo>
                    <a:pt x="91130" y="22539"/>
                  </a:lnTo>
                  <a:lnTo>
                    <a:pt x="90719" y="22539"/>
                  </a:lnTo>
                  <a:lnTo>
                    <a:pt x="90555" y="22539"/>
                  </a:lnTo>
                  <a:lnTo>
                    <a:pt x="90390" y="22063"/>
                  </a:lnTo>
                  <a:lnTo>
                    <a:pt x="90143" y="22063"/>
                  </a:lnTo>
                  <a:lnTo>
                    <a:pt x="89979" y="22063"/>
                  </a:lnTo>
                  <a:lnTo>
                    <a:pt x="89814" y="22063"/>
                  </a:lnTo>
                  <a:lnTo>
                    <a:pt x="89814" y="22539"/>
                  </a:lnTo>
                  <a:lnTo>
                    <a:pt x="89814" y="22539"/>
                  </a:lnTo>
                  <a:lnTo>
                    <a:pt x="89568" y="22857"/>
                  </a:lnTo>
                  <a:lnTo>
                    <a:pt x="89568" y="22857"/>
                  </a:lnTo>
                  <a:lnTo>
                    <a:pt x="89568" y="22857"/>
                  </a:lnTo>
                  <a:lnTo>
                    <a:pt x="89568" y="22857"/>
                  </a:lnTo>
                  <a:lnTo>
                    <a:pt x="89568" y="22857"/>
                  </a:lnTo>
                  <a:lnTo>
                    <a:pt x="89403" y="23174"/>
                  </a:lnTo>
                  <a:lnTo>
                    <a:pt x="89403" y="23174"/>
                  </a:lnTo>
                  <a:lnTo>
                    <a:pt x="89403" y="23174"/>
                  </a:lnTo>
                  <a:lnTo>
                    <a:pt x="89403" y="23650"/>
                  </a:lnTo>
                  <a:lnTo>
                    <a:pt x="89403" y="23650"/>
                  </a:lnTo>
                  <a:lnTo>
                    <a:pt x="89814" y="23650"/>
                  </a:lnTo>
                  <a:lnTo>
                    <a:pt x="89814" y="23650"/>
                  </a:lnTo>
                  <a:lnTo>
                    <a:pt x="89814" y="23968"/>
                  </a:lnTo>
                  <a:lnTo>
                    <a:pt x="89814" y="23968"/>
                  </a:lnTo>
                  <a:lnTo>
                    <a:pt x="89568" y="24285"/>
                  </a:lnTo>
                  <a:lnTo>
                    <a:pt x="89568" y="24761"/>
                  </a:lnTo>
                  <a:lnTo>
                    <a:pt x="89568" y="24761"/>
                  </a:lnTo>
                  <a:lnTo>
                    <a:pt x="89814" y="24761"/>
                  </a:lnTo>
                  <a:lnTo>
                    <a:pt x="89979" y="25079"/>
                  </a:lnTo>
                  <a:lnTo>
                    <a:pt x="90143" y="25079"/>
                  </a:lnTo>
                  <a:lnTo>
                    <a:pt x="90390" y="24761"/>
                  </a:lnTo>
                  <a:lnTo>
                    <a:pt x="91130" y="24761"/>
                  </a:lnTo>
                  <a:lnTo>
                    <a:pt x="91295" y="24761"/>
                  </a:lnTo>
                  <a:lnTo>
                    <a:pt x="91953" y="24761"/>
                  </a:lnTo>
                  <a:lnTo>
                    <a:pt x="92693" y="24761"/>
                  </a:lnTo>
                  <a:lnTo>
                    <a:pt x="93269" y="24761"/>
                  </a:lnTo>
                  <a:lnTo>
                    <a:pt x="93680" y="24761"/>
                  </a:lnTo>
                  <a:lnTo>
                    <a:pt x="93680" y="24761"/>
                  </a:lnTo>
                  <a:lnTo>
                    <a:pt x="93680" y="24285"/>
                  </a:lnTo>
                  <a:lnTo>
                    <a:pt x="93680" y="24285"/>
                  </a:lnTo>
                  <a:lnTo>
                    <a:pt x="93680" y="24285"/>
                  </a:lnTo>
                  <a:lnTo>
                    <a:pt x="93845" y="23968"/>
                  </a:lnTo>
                  <a:lnTo>
                    <a:pt x="93680" y="23968"/>
                  </a:lnTo>
                  <a:lnTo>
                    <a:pt x="93680" y="23968"/>
                  </a:lnTo>
                  <a:lnTo>
                    <a:pt x="93680" y="23968"/>
                  </a:lnTo>
                  <a:lnTo>
                    <a:pt x="93680" y="23650"/>
                  </a:lnTo>
                  <a:lnTo>
                    <a:pt x="93680" y="23650"/>
                  </a:lnTo>
                  <a:close/>
                  <a:moveTo>
                    <a:pt x="85538" y="13015"/>
                  </a:moveTo>
                  <a:lnTo>
                    <a:pt x="85867" y="13015"/>
                  </a:lnTo>
                  <a:lnTo>
                    <a:pt x="85867" y="13015"/>
                  </a:lnTo>
                  <a:lnTo>
                    <a:pt x="86113" y="13015"/>
                  </a:lnTo>
                  <a:lnTo>
                    <a:pt x="86113" y="13015"/>
                  </a:lnTo>
                  <a:lnTo>
                    <a:pt x="86113" y="12698"/>
                  </a:lnTo>
                  <a:lnTo>
                    <a:pt x="86278" y="12698"/>
                  </a:lnTo>
                  <a:lnTo>
                    <a:pt x="86113" y="12698"/>
                  </a:lnTo>
                  <a:lnTo>
                    <a:pt x="86113" y="12380"/>
                  </a:lnTo>
                  <a:lnTo>
                    <a:pt x="85867" y="12380"/>
                  </a:lnTo>
                  <a:lnTo>
                    <a:pt x="85702" y="12380"/>
                  </a:lnTo>
                  <a:lnTo>
                    <a:pt x="85538" y="12380"/>
                  </a:lnTo>
                  <a:lnTo>
                    <a:pt x="85291" y="12380"/>
                  </a:lnTo>
                  <a:lnTo>
                    <a:pt x="85126" y="12380"/>
                  </a:lnTo>
                  <a:lnTo>
                    <a:pt x="85126" y="12380"/>
                  </a:lnTo>
                  <a:lnTo>
                    <a:pt x="84962" y="12380"/>
                  </a:lnTo>
                  <a:lnTo>
                    <a:pt x="84962" y="12698"/>
                  </a:lnTo>
                  <a:lnTo>
                    <a:pt x="84715" y="12698"/>
                  </a:lnTo>
                  <a:lnTo>
                    <a:pt x="84715" y="12698"/>
                  </a:lnTo>
                  <a:lnTo>
                    <a:pt x="84715" y="13015"/>
                  </a:lnTo>
                  <a:lnTo>
                    <a:pt x="85291" y="13015"/>
                  </a:lnTo>
                  <a:lnTo>
                    <a:pt x="85538" y="13015"/>
                  </a:lnTo>
                  <a:close/>
                  <a:moveTo>
                    <a:pt x="85291" y="7460"/>
                  </a:moveTo>
                  <a:lnTo>
                    <a:pt x="84386" y="7460"/>
                  </a:lnTo>
                  <a:lnTo>
                    <a:pt x="83975" y="7460"/>
                  </a:lnTo>
                  <a:lnTo>
                    <a:pt x="83975" y="7777"/>
                  </a:lnTo>
                  <a:lnTo>
                    <a:pt x="83564" y="7777"/>
                  </a:lnTo>
                  <a:lnTo>
                    <a:pt x="83810" y="7777"/>
                  </a:lnTo>
                  <a:lnTo>
                    <a:pt x="83975" y="8253"/>
                  </a:lnTo>
                  <a:lnTo>
                    <a:pt x="83975" y="8253"/>
                  </a:lnTo>
                  <a:lnTo>
                    <a:pt x="84139" y="8253"/>
                  </a:lnTo>
                  <a:lnTo>
                    <a:pt x="84386" y="8253"/>
                  </a:lnTo>
                  <a:lnTo>
                    <a:pt x="84962" y="7777"/>
                  </a:lnTo>
                  <a:lnTo>
                    <a:pt x="84962" y="7777"/>
                  </a:lnTo>
                  <a:lnTo>
                    <a:pt x="85126" y="7777"/>
                  </a:lnTo>
                  <a:lnTo>
                    <a:pt x="85291" y="7777"/>
                  </a:lnTo>
                  <a:lnTo>
                    <a:pt x="85291" y="7777"/>
                  </a:lnTo>
                  <a:lnTo>
                    <a:pt x="85126" y="8253"/>
                  </a:lnTo>
                  <a:lnTo>
                    <a:pt x="85126" y="8253"/>
                  </a:lnTo>
                  <a:lnTo>
                    <a:pt x="85126" y="8253"/>
                  </a:lnTo>
                  <a:lnTo>
                    <a:pt x="85126" y="8253"/>
                  </a:lnTo>
                  <a:lnTo>
                    <a:pt x="85126" y="8253"/>
                  </a:lnTo>
                  <a:lnTo>
                    <a:pt x="85702" y="8253"/>
                  </a:lnTo>
                  <a:lnTo>
                    <a:pt x="85867" y="8253"/>
                  </a:lnTo>
                  <a:lnTo>
                    <a:pt x="86278" y="7777"/>
                  </a:lnTo>
                  <a:lnTo>
                    <a:pt x="86525" y="7777"/>
                  </a:lnTo>
                  <a:lnTo>
                    <a:pt x="86689" y="7777"/>
                  </a:lnTo>
                  <a:lnTo>
                    <a:pt x="86854" y="7777"/>
                  </a:lnTo>
                  <a:lnTo>
                    <a:pt x="86854" y="7777"/>
                  </a:lnTo>
                  <a:lnTo>
                    <a:pt x="87429" y="8253"/>
                  </a:lnTo>
                  <a:lnTo>
                    <a:pt x="87840" y="7777"/>
                  </a:lnTo>
                  <a:lnTo>
                    <a:pt x="87840" y="8253"/>
                  </a:lnTo>
                  <a:lnTo>
                    <a:pt x="87265" y="8253"/>
                  </a:lnTo>
                  <a:lnTo>
                    <a:pt x="86525" y="8253"/>
                  </a:lnTo>
                  <a:lnTo>
                    <a:pt x="86278" y="8571"/>
                  </a:lnTo>
                  <a:lnTo>
                    <a:pt x="86113" y="8571"/>
                  </a:lnTo>
                  <a:lnTo>
                    <a:pt x="85702" y="8571"/>
                  </a:lnTo>
                  <a:lnTo>
                    <a:pt x="85538" y="8571"/>
                  </a:lnTo>
                  <a:lnTo>
                    <a:pt x="84715" y="8888"/>
                  </a:lnTo>
                  <a:lnTo>
                    <a:pt x="84551" y="8888"/>
                  </a:lnTo>
                  <a:lnTo>
                    <a:pt x="84386" y="8888"/>
                  </a:lnTo>
                  <a:lnTo>
                    <a:pt x="84386" y="8888"/>
                  </a:lnTo>
                  <a:lnTo>
                    <a:pt x="84386" y="8888"/>
                  </a:lnTo>
                  <a:lnTo>
                    <a:pt x="84551" y="9365"/>
                  </a:lnTo>
                  <a:lnTo>
                    <a:pt x="84962" y="9365"/>
                  </a:lnTo>
                  <a:lnTo>
                    <a:pt x="85126" y="9365"/>
                  </a:lnTo>
                  <a:lnTo>
                    <a:pt x="84962" y="9365"/>
                  </a:lnTo>
                  <a:lnTo>
                    <a:pt x="84715" y="9365"/>
                  </a:lnTo>
                  <a:lnTo>
                    <a:pt x="84551" y="9365"/>
                  </a:lnTo>
                  <a:lnTo>
                    <a:pt x="84551" y="9365"/>
                  </a:lnTo>
                  <a:lnTo>
                    <a:pt x="84551" y="9682"/>
                  </a:lnTo>
                  <a:lnTo>
                    <a:pt x="84551" y="9682"/>
                  </a:lnTo>
                  <a:lnTo>
                    <a:pt x="84715" y="9682"/>
                  </a:lnTo>
                  <a:lnTo>
                    <a:pt x="84715" y="9682"/>
                  </a:lnTo>
                  <a:lnTo>
                    <a:pt x="84962" y="9682"/>
                  </a:lnTo>
                  <a:lnTo>
                    <a:pt x="85126" y="9682"/>
                  </a:lnTo>
                  <a:lnTo>
                    <a:pt x="85867" y="10158"/>
                  </a:lnTo>
                  <a:lnTo>
                    <a:pt x="85867" y="10158"/>
                  </a:lnTo>
                  <a:lnTo>
                    <a:pt x="85538" y="10158"/>
                  </a:lnTo>
                  <a:lnTo>
                    <a:pt x="84962" y="10158"/>
                  </a:lnTo>
                  <a:lnTo>
                    <a:pt x="84715" y="10158"/>
                  </a:lnTo>
                  <a:lnTo>
                    <a:pt x="84715" y="10158"/>
                  </a:lnTo>
                  <a:lnTo>
                    <a:pt x="84962" y="10476"/>
                  </a:lnTo>
                  <a:lnTo>
                    <a:pt x="85126" y="10476"/>
                  </a:lnTo>
                  <a:lnTo>
                    <a:pt x="85291" y="10793"/>
                  </a:lnTo>
                  <a:lnTo>
                    <a:pt x="85702" y="10793"/>
                  </a:lnTo>
                  <a:lnTo>
                    <a:pt x="86278" y="10793"/>
                  </a:lnTo>
                  <a:lnTo>
                    <a:pt x="86525" y="10793"/>
                  </a:lnTo>
                  <a:lnTo>
                    <a:pt x="86689" y="10793"/>
                  </a:lnTo>
                  <a:lnTo>
                    <a:pt x="86854" y="10793"/>
                  </a:lnTo>
                  <a:lnTo>
                    <a:pt x="86854" y="10793"/>
                  </a:lnTo>
                  <a:lnTo>
                    <a:pt x="86854" y="10793"/>
                  </a:lnTo>
                  <a:lnTo>
                    <a:pt x="86854" y="10793"/>
                  </a:lnTo>
                  <a:lnTo>
                    <a:pt x="86689" y="10476"/>
                  </a:lnTo>
                  <a:lnTo>
                    <a:pt x="86689" y="10476"/>
                  </a:lnTo>
                  <a:lnTo>
                    <a:pt x="86854" y="10476"/>
                  </a:lnTo>
                  <a:lnTo>
                    <a:pt x="87100" y="10476"/>
                  </a:lnTo>
                  <a:lnTo>
                    <a:pt x="87265" y="10476"/>
                  </a:lnTo>
                  <a:lnTo>
                    <a:pt x="87265" y="10476"/>
                  </a:lnTo>
                  <a:lnTo>
                    <a:pt x="87265" y="10793"/>
                  </a:lnTo>
                  <a:lnTo>
                    <a:pt x="87429" y="10793"/>
                  </a:lnTo>
                  <a:lnTo>
                    <a:pt x="87429" y="10793"/>
                  </a:lnTo>
                  <a:lnTo>
                    <a:pt x="87429" y="10793"/>
                  </a:lnTo>
                  <a:lnTo>
                    <a:pt x="87676" y="10793"/>
                  </a:lnTo>
                  <a:lnTo>
                    <a:pt x="87676" y="10793"/>
                  </a:lnTo>
                  <a:lnTo>
                    <a:pt x="87676" y="10793"/>
                  </a:lnTo>
                  <a:lnTo>
                    <a:pt x="87676" y="10476"/>
                  </a:lnTo>
                  <a:lnTo>
                    <a:pt x="87676" y="10476"/>
                  </a:lnTo>
                  <a:lnTo>
                    <a:pt x="87676" y="10158"/>
                  </a:lnTo>
                  <a:lnTo>
                    <a:pt x="87676" y="10158"/>
                  </a:lnTo>
                  <a:lnTo>
                    <a:pt x="87840" y="9682"/>
                  </a:lnTo>
                  <a:lnTo>
                    <a:pt x="87840" y="9682"/>
                  </a:lnTo>
                  <a:lnTo>
                    <a:pt x="87840" y="10158"/>
                  </a:lnTo>
                  <a:lnTo>
                    <a:pt x="87840" y="10158"/>
                  </a:lnTo>
                  <a:lnTo>
                    <a:pt x="88005" y="10476"/>
                  </a:lnTo>
                  <a:lnTo>
                    <a:pt x="88005" y="10793"/>
                  </a:lnTo>
                  <a:lnTo>
                    <a:pt x="88252" y="10793"/>
                  </a:lnTo>
                  <a:lnTo>
                    <a:pt x="88252" y="10793"/>
                  </a:lnTo>
                  <a:lnTo>
                    <a:pt x="88416" y="10793"/>
                  </a:lnTo>
                  <a:lnTo>
                    <a:pt x="88416" y="10793"/>
                  </a:lnTo>
                  <a:lnTo>
                    <a:pt x="88827" y="10476"/>
                  </a:lnTo>
                  <a:lnTo>
                    <a:pt x="88827" y="10476"/>
                  </a:lnTo>
                  <a:lnTo>
                    <a:pt x="88992" y="10158"/>
                  </a:lnTo>
                  <a:lnTo>
                    <a:pt x="88992" y="10158"/>
                  </a:lnTo>
                  <a:lnTo>
                    <a:pt x="88992" y="9682"/>
                  </a:lnTo>
                  <a:lnTo>
                    <a:pt x="88992" y="9682"/>
                  </a:lnTo>
                  <a:lnTo>
                    <a:pt x="89239" y="9682"/>
                  </a:lnTo>
                  <a:lnTo>
                    <a:pt x="89403" y="10158"/>
                  </a:lnTo>
                  <a:lnTo>
                    <a:pt x="89403" y="10158"/>
                  </a:lnTo>
                  <a:lnTo>
                    <a:pt x="89568" y="10158"/>
                  </a:lnTo>
                  <a:lnTo>
                    <a:pt x="89814" y="10158"/>
                  </a:lnTo>
                  <a:lnTo>
                    <a:pt x="89814" y="10158"/>
                  </a:lnTo>
                  <a:lnTo>
                    <a:pt x="89814" y="9682"/>
                  </a:lnTo>
                  <a:lnTo>
                    <a:pt x="89814" y="9682"/>
                  </a:lnTo>
                  <a:lnTo>
                    <a:pt x="89814" y="9682"/>
                  </a:lnTo>
                  <a:lnTo>
                    <a:pt x="89568" y="9682"/>
                  </a:lnTo>
                  <a:lnTo>
                    <a:pt x="89568" y="9682"/>
                  </a:lnTo>
                  <a:lnTo>
                    <a:pt x="89814" y="9682"/>
                  </a:lnTo>
                  <a:lnTo>
                    <a:pt x="89814" y="9365"/>
                  </a:lnTo>
                  <a:lnTo>
                    <a:pt x="89979" y="9365"/>
                  </a:lnTo>
                  <a:lnTo>
                    <a:pt x="90143" y="8888"/>
                  </a:lnTo>
                  <a:lnTo>
                    <a:pt x="90390" y="8888"/>
                  </a:lnTo>
                  <a:lnTo>
                    <a:pt x="90390" y="8888"/>
                  </a:lnTo>
                  <a:lnTo>
                    <a:pt x="90555" y="8888"/>
                  </a:lnTo>
                  <a:lnTo>
                    <a:pt x="90719" y="8888"/>
                  </a:lnTo>
                  <a:lnTo>
                    <a:pt x="90555" y="8888"/>
                  </a:lnTo>
                  <a:lnTo>
                    <a:pt x="90390" y="8888"/>
                  </a:lnTo>
                  <a:lnTo>
                    <a:pt x="90390" y="8888"/>
                  </a:lnTo>
                  <a:lnTo>
                    <a:pt x="90390" y="9365"/>
                  </a:lnTo>
                  <a:lnTo>
                    <a:pt x="90143" y="9365"/>
                  </a:lnTo>
                  <a:lnTo>
                    <a:pt x="90143" y="9365"/>
                  </a:lnTo>
                  <a:lnTo>
                    <a:pt x="90143" y="9682"/>
                  </a:lnTo>
                  <a:lnTo>
                    <a:pt x="90390" y="9682"/>
                  </a:lnTo>
                  <a:lnTo>
                    <a:pt x="90555" y="9682"/>
                  </a:lnTo>
                  <a:lnTo>
                    <a:pt x="90966" y="9365"/>
                  </a:lnTo>
                  <a:lnTo>
                    <a:pt x="91130" y="9365"/>
                  </a:lnTo>
                  <a:lnTo>
                    <a:pt x="91130" y="8888"/>
                  </a:lnTo>
                  <a:lnTo>
                    <a:pt x="91295" y="8888"/>
                  </a:lnTo>
                  <a:lnTo>
                    <a:pt x="91542" y="8888"/>
                  </a:lnTo>
                  <a:lnTo>
                    <a:pt x="91542" y="8888"/>
                  </a:lnTo>
                  <a:lnTo>
                    <a:pt x="91706" y="8888"/>
                  </a:lnTo>
                  <a:lnTo>
                    <a:pt x="91953" y="8888"/>
                  </a:lnTo>
                  <a:lnTo>
                    <a:pt x="92529" y="8571"/>
                  </a:lnTo>
                  <a:lnTo>
                    <a:pt x="93269" y="8571"/>
                  </a:lnTo>
                  <a:lnTo>
                    <a:pt x="93433" y="8253"/>
                  </a:lnTo>
                  <a:lnTo>
                    <a:pt x="93680" y="8253"/>
                  </a:lnTo>
                  <a:lnTo>
                    <a:pt x="93845" y="8253"/>
                  </a:lnTo>
                  <a:lnTo>
                    <a:pt x="93680" y="7777"/>
                  </a:lnTo>
                  <a:lnTo>
                    <a:pt x="93680" y="7777"/>
                  </a:lnTo>
                  <a:lnTo>
                    <a:pt x="93680" y="7460"/>
                  </a:lnTo>
                  <a:lnTo>
                    <a:pt x="93680" y="7460"/>
                  </a:lnTo>
                  <a:lnTo>
                    <a:pt x="93433" y="7460"/>
                  </a:lnTo>
                  <a:lnTo>
                    <a:pt x="93433" y="7460"/>
                  </a:lnTo>
                  <a:lnTo>
                    <a:pt x="93104" y="7777"/>
                  </a:lnTo>
                  <a:lnTo>
                    <a:pt x="93104" y="7777"/>
                  </a:lnTo>
                  <a:lnTo>
                    <a:pt x="93104" y="7460"/>
                  </a:lnTo>
                  <a:lnTo>
                    <a:pt x="93104" y="7460"/>
                  </a:lnTo>
                  <a:lnTo>
                    <a:pt x="93104" y="7460"/>
                  </a:lnTo>
                  <a:lnTo>
                    <a:pt x="93104" y="7460"/>
                  </a:lnTo>
                  <a:lnTo>
                    <a:pt x="92693" y="7460"/>
                  </a:lnTo>
                  <a:lnTo>
                    <a:pt x="92529" y="7460"/>
                  </a:lnTo>
                  <a:lnTo>
                    <a:pt x="92282" y="7460"/>
                  </a:lnTo>
                  <a:lnTo>
                    <a:pt x="92117" y="7460"/>
                  </a:lnTo>
                  <a:lnTo>
                    <a:pt x="92117" y="7460"/>
                  </a:lnTo>
                  <a:lnTo>
                    <a:pt x="92117" y="7460"/>
                  </a:lnTo>
                  <a:lnTo>
                    <a:pt x="92282" y="7460"/>
                  </a:lnTo>
                  <a:lnTo>
                    <a:pt x="92693" y="7142"/>
                  </a:lnTo>
                  <a:lnTo>
                    <a:pt x="92858" y="6666"/>
                  </a:lnTo>
                  <a:lnTo>
                    <a:pt x="92858" y="6666"/>
                  </a:lnTo>
                  <a:lnTo>
                    <a:pt x="92858" y="6349"/>
                  </a:lnTo>
                  <a:lnTo>
                    <a:pt x="92693" y="6349"/>
                  </a:lnTo>
                  <a:lnTo>
                    <a:pt x="92529" y="6349"/>
                  </a:lnTo>
                  <a:lnTo>
                    <a:pt x="92282" y="6349"/>
                  </a:lnTo>
                  <a:lnTo>
                    <a:pt x="92282" y="6349"/>
                  </a:lnTo>
                  <a:lnTo>
                    <a:pt x="92282" y="6349"/>
                  </a:lnTo>
                  <a:lnTo>
                    <a:pt x="92693" y="6349"/>
                  </a:lnTo>
                  <a:lnTo>
                    <a:pt x="92693" y="6031"/>
                  </a:lnTo>
                  <a:lnTo>
                    <a:pt x="92858" y="6031"/>
                  </a:lnTo>
                  <a:lnTo>
                    <a:pt x="92858" y="6031"/>
                  </a:lnTo>
                  <a:lnTo>
                    <a:pt x="92858" y="5555"/>
                  </a:lnTo>
                  <a:lnTo>
                    <a:pt x="92693" y="5555"/>
                  </a:lnTo>
                  <a:lnTo>
                    <a:pt x="92529" y="5555"/>
                  </a:lnTo>
                  <a:lnTo>
                    <a:pt x="92282" y="5555"/>
                  </a:lnTo>
                  <a:lnTo>
                    <a:pt x="92117" y="5555"/>
                  </a:lnTo>
                  <a:lnTo>
                    <a:pt x="91953" y="5555"/>
                  </a:lnTo>
                  <a:lnTo>
                    <a:pt x="91953" y="6031"/>
                  </a:lnTo>
                  <a:lnTo>
                    <a:pt x="91953" y="6031"/>
                  </a:lnTo>
                  <a:lnTo>
                    <a:pt x="91953" y="6031"/>
                  </a:lnTo>
                  <a:lnTo>
                    <a:pt x="91953" y="6031"/>
                  </a:lnTo>
                  <a:lnTo>
                    <a:pt x="92117" y="6349"/>
                  </a:lnTo>
                  <a:lnTo>
                    <a:pt x="92117" y="6349"/>
                  </a:lnTo>
                  <a:lnTo>
                    <a:pt x="91953" y="6349"/>
                  </a:lnTo>
                  <a:lnTo>
                    <a:pt x="91953" y="6349"/>
                  </a:lnTo>
                  <a:lnTo>
                    <a:pt x="91706" y="6349"/>
                  </a:lnTo>
                  <a:lnTo>
                    <a:pt x="91542" y="6349"/>
                  </a:lnTo>
                  <a:lnTo>
                    <a:pt x="91295" y="6031"/>
                  </a:lnTo>
                  <a:lnTo>
                    <a:pt x="91295" y="6031"/>
                  </a:lnTo>
                  <a:lnTo>
                    <a:pt x="91295" y="6031"/>
                  </a:lnTo>
                  <a:lnTo>
                    <a:pt x="91542" y="5555"/>
                  </a:lnTo>
                  <a:lnTo>
                    <a:pt x="91542" y="5555"/>
                  </a:lnTo>
                  <a:lnTo>
                    <a:pt x="91542" y="5555"/>
                  </a:lnTo>
                  <a:lnTo>
                    <a:pt x="91542" y="5555"/>
                  </a:lnTo>
                  <a:lnTo>
                    <a:pt x="91706" y="5555"/>
                  </a:lnTo>
                  <a:lnTo>
                    <a:pt x="91706" y="5555"/>
                  </a:lnTo>
                  <a:lnTo>
                    <a:pt x="91706" y="5555"/>
                  </a:lnTo>
                  <a:lnTo>
                    <a:pt x="91706" y="5555"/>
                  </a:lnTo>
                  <a:lnTo>
                    <a:pt x="91542" y="5238"/>
                  </a:lnTo>
                  <a:lnTo>
                    <a:pt x="91295" y="5238"/>
                  </a:lnTo>
                  <a:lnTo>
                    <a:pt x="91295" y="5238"/>
                  </a:lnTo>
                  <a:lnTo>
                    <a:pt x="91130" y="5555"/>
                  </a:lnTo>
                  <a:lnTo>
                    <a:pt x="90966" y="5555"/>
                  </a:lnTo>
                  <a:lnTo>
                    <a:pt x="90719" y="5238"/>
                  </a:lnTo>
                  <a:lnTo>
                    <a:pt x="90555" y="5238"/>
                  </a:lnTo>
                  <a:lnTo>
                    <a:pt x="90390" y="5238"/>
                  </a:lnTo>
                  <a:lnTo>
                    <a:pt x="90555" y="5238"/>
                  </a:lnTo>
                  <a:lnTo>
                    <a:pt x="90555" y="5238"/>
                  </a:lnTo>
                  <a:lnTo>
                    <a:pt x="90555" y="5238"/>
                  </a:lnTo>
                  <a:lnTo>
                    <a:pt x="90390" y="4761"/>
                  </a:lnTo>
                  <a:lnTo>
                    <a:pt x="90390" y="4761"/>
                  </a:lnTo>
                  <a:lnTo>
                    <a:pt x="90143" y="4126"/>
                  </a:lnTo>
                  <a:lnTo>
                    <a:pt x="90143" y="4126"/>
                  </a:lnTo>
                  <a:lnTo>
                    <a:pt x="90143" y="4126"/>
                  </a:lnTo>
                  <a:lnTo>
                    <a:pt x="89979" y="3650"/>
                  </a:lnTo>
                  <a:lnTo>
                    <a:pt x="89979" y="3650"/>
                  </a:lnTo>
                  <a:lnTo>
                    <a:pt x="89403" y="3650"/>
                  </a:lnTo>
                  <a:lnTo>
                    <a:pt x="89239" y="3650"/>
                  </a:lnTo>
                  <a:lnTo>
                    <a:pt x="88827" y="3650"/>
                  </a:lnTo>
                  <a:lnTo>
                    <a:pt x="88416" y="3650"/>
                  </a:lnTo>
                  <a:lnTo>
                    <a:pt x="88416" y="3650"/>
                  </a:lnTo>
                  <a:lnTo>
                    <a:pt x="88252" y="3650"/>
                  </a:lnTo>
                  <a:lnTo>
                    <a:pt x="88252" y="3650"/>
                  </a:lnTo>
                  <a:lnTo>
                    <a:pt x="88252" y="3650"/>
                  </a:lnTo>
                  <a:lnTo>
                    <a:pt x="88252" y="3650"/>
                  </a:lnTo>
                  <a:lnTo>
                    <a:pt x="88252" y="3650"/>
                  </a:lnTo>
                  <a:lnTo>
                    <a:pt x="88252" y="3650"/>
                  </a:lnTo>
                  <a:lnTo>
                    <a:pt x="88416" y="4126"/>
                  </a:lnTo>
                  <a:lnTo>
                    <a:pt x="88827" y="4126"/>
                  </a:lnTo>
                  <a:lnTo>
                    <a:pt x="88992" y="4126"/>
                  </a:lnTo>
                  <a:lnTo>
                    <a:pt x="88992" y="4126"/>
                  </a:lnTo>
                  <a:lnTo>
                    <a:pt x="88827" y="4126"/>
                  </a:lnTo>
                  <a:lnTo>
                    <a:pt x="88827" y="4126"/>
                  </a:lnTo>
                  <a:lnTo>
                    <a:pt x="88581" y="4126"/>
                  </a:lnTo>
                  <a:lnTo>
                    <a:pt x="88581" y="4126"/>
                  </a:lnTo>
                  <a:lnTo>
                    <a:pt x="88252" y="4126"/>
                  </a:lnTo>
                  <a:lnTo>
                    <a:pt x="87840" y="4126"/>
                  </a:lnTo>
                  <a:lnTo>
                    <a:pt x="87429" y="4444"/>
                  </a:lnTo>
                  <a:lnTo>
                    <a:pt x="87100" y="4126"/>
                  </a:lnTo>
                  <a:lnTo>
                    <a:pt x="86854" y="4444"/>
                  </a:lnTo>
                  <a:lnTo>
                    <a:pt x="86278" y="4761"/>
                  </a:lnTo>
                  <a:lnTo>
                    <a:pt x="86278" y="4761"/>
                  </a:lnTo>
                  <a:lnTo>
                    <a:pt x="86525" y="4761"/>
                  </a:lnTo>
                  <a:lnTo>
                    <a:pt x="86854" y="4761"/>
                  </a:lnTo>
                  <a:lnTo>
                    <a:pt x="86854" y="5238"/>
                  </a:lnTo>
                  <a:lnTo>
                    <a:pt x="87100" y="5238"/>
                  </a:lnTo>
                  <a:lnTo>
                    <a:pt x="87265" y="5238"/>
                  </a:lnTo>
                  <a:lnTo>
                    <a:pt x="87265" y="5238"/>
                  </a:lnTo>
                  <a:lnTo>
                    <a:pt x="86854" y="5238"/>
                  </a:lnTo>
                  <a:lnTo>
                    <a:pt x="86525" y="5238"/>
                  </a:lnTo>
                  <a:lnTo>
                    <a:pt x="86525" y="5238"/>
                  </a:lnTo>
                  <a:lnTo>
                    <a:pt x="86525" y="5238"/>
                  </a:lnTo>
                  <a:lnTo>
                    <a:pt x="86278" y="5238"/>
                  </a:lnTo>
                  <a:lnTo>
                    <a:pt x="86113" y="5238"/>
                  </a:lnTo>
                  <a:lnTo>
                    <a:pt x="85867" y="4761"/>
                  </a:lnTo>
                  <a:lnTo>
                    <a:pt x="85702" y="4761"/>
                  </a:lnTo>
                  <a:lnTo>
                    <a:pt x="85538" y="5238"/>
                  </a:lnTo>
                  <a:lnTo>
                    <a:pt x="85126" y="5238"/>
                  </a:lnTo>
                  <a:lnTo>
                    <a:pt x="85291" y="5555"/>
                  </a:lnTo>
                  <a:lnTo>
                    <a:pt x="85538" y="5555"/>
                  </a:lnTo>
                  <a:lnTo>
                    <a:pt x="85538" y="5555"/>
                  </a:lnTo>
                  <a:lnTo>
                    <a:pt x="85291" y="5555"/>
                  </a:lnTo>
                  <a:lnTo>
                    <a:pt x="85126" y="5555"/>
                  </a:lnTo>
                  <a:lnTo>
                    <a:pt x="84962" y="5555"/>
                  </a:lnTo>
                  <a:lnTo>
                    <a:pt x="84715" y="6031"/>
                  </a:lnTo>
                  <a:lnTo>
                    <a:pt x="84551" y="6031"/>
                  </a:lnTo>
                  <a:lnTo>
                    <a:pt x="84551" y="6031"/>
                  </a:lnTo>
                  <a:lnTo>
                    <a:pt x="84551" y="6031"/>
                  </a:lnTo>
                  <a:lnTo>
                    <a:pt x="84551" y="6031"/>
                  </a:lnTo>
                  <a:lnTo>
                    <a:pt x="84551" y="6031"/>
                  </a:lnTo>
                  <a:lnTo>
                    <a:pt x="84715" y="6031"/>
                  </a:lnTo>
                  <a:lnTo>
                    <a:pt x="84962" y="6031"/>
                  </a:lnTo>
                  <a:lnTo>
                    <a:pt x="85126" y="6031"/>
                  </a:lnTo>
                  <a:lnTo>
                    <a:pt x="85126" y="6349"/>
                  </a:lnTo>
                  <a:lnTo>
                    <a:pt x="85291" y="6349"/>
                  </a:lnTo>
                  <a:lnTo>
                    <a:pt x="86113" y="6031"/>
                  </a:lnTo>
                  <a:lnTo>
                    <a:pt x="86278" y="6031"/>
                  </a:lnTo>
                  <a:lnTo>
                    <a:pt x="86278" y="6349"/>
                  </a:lnTo>
                  <a:lnTo>
                    <a:pt x="85867" y="6349"/>
                  </a:lnTo>
                  <a:lnTo>
                    <a:pt x="85867" y="6349"/>
                  </a:lnTo>
                  <a:lnTo>
                    <a:pt x="85867" y="6349"/>
                  </a:lnTo>
                  <a:lnTo>
                    <a:pt x="85867" y="6349"/>
                  </a:lnTo>
                  <a:lnTo>
                    <a:pt x="85867" y="6349"/>
                  </a:lnTo>
                  <a:lnTo>
                    <a:pt x="85702" y="6349"/>
                  </a:lnTo>
                  <a:lnTo>
                    <a:pt x="85126" y="6349"/>
                  </a:lnTo>
                  <a:lnTo>
                    <a:pt x="84715" y="6349"/>
                  </a:lnTo>
                  <a:lnTo>
                    <a:pt x="83975" y="6349"/>
                  </a:lnTo>
                  <a:lnTo>
                    <a:pt x="83810" y="6349"/>
                  </a:lnTo>
                  <a:lnTo>
                    <a:pt x="83810" y="6666"/>
                  </a:lnTo>
                  <a:lnTo>
                    <a:pt x="83810" y="6666"/>
                  </a:lnTo>
                  <a:lnTo>
                    <a:pt x="83810" y="7142"/>
                  </a:lnTo>
                  <a:lnTo>
                    <a:pt x="83975" y="7142"/>
                  </a:lnTo>
                  <a:lnTo>
                    <a:pt x="83975" y="7460"/>
                  </a:lnTo>
                  <a:lnTo>
                    <a:pt x="84139" y="7460"/>
                  </a:lnTo>
                  <a:lnTo>
                    <a:pt x="84139" y="7460"/>
                  </a:lnTo>
                  <a:lnTo>
                    <a:pt x="84551" y="7460"/>
                  </a:lnTo>
                  <a:lnTo>
                    <a:pt x="84715" y="7460"/>
                  </a:lnTo>
                  <a:lnTo>
                    <a:pt x="85291" y="7142"/>
                  </a:lnTo>
                  <a:lnTo>
                    <a:pt x="85538" y="7142"/>
                  </a:lnTo>
                  <a:lnTo>
                    <a:pt x="85291" y="7460"/>
                  </a:lnTo>
                  <a:lnTo>
                    <a:pt x="85291" y="7460"/>
                  </a:lnTo>
                  <a:close/>
                  <a:moveTo>
                    <a:pt x="84715" y="14920"/>
                  </a:moveTo>
                  <a:lnTo>
                    <a:pt x="84715" y="14603"/>
                  </a:lnTo>
                  <a:lnTo>
                    <a:pt x="84962" y="14603"/>
                  </a:lnTo>
                  <a:lnTo>
                    <a:pt x="85126" y="14603"/>
                  </a:lnTo>
                  <a:lnTo>
                    <a:pt x="85126" y="14603"/>
                  </a:lnTo>
                  <a:lnTo>
                    <a:pt x="85126" y="14603"/>
                  </a:lnTo>
                  <a:lnTo>
                    <a:pt x="85126" y="14285"/>
                  </a:lnTo>
                  <a:lnTo>
                    <a:pt x="85126" y="14285"/>
                  </a:lnTo>
                  <a:lnTo>
                    <a:pt x="84962" y="14285"/>
                  </a:lnTo>
                  <a:lnTo>
                    <a:pt x="84715" y="14285"/>
                  </a:lnTo>
                  <a:lnTo>
                    <a:pt x="84551" y="14285"/>
                  </a:lnTo>
                  <a:lnTo>
                    <a:pt x="84386" y="14285"/>
                  </a:lnTo>
                  <a:lnTo>
                    <a:pt x="84386" y="14603"/>
                  </a:lnTo>
                  <a:lnTo>
                    <a:pt x="84139" y="14603"/>
                  </a:lnTo>
                  <a:lnTo>
                    <a:pt x="84139" y="14603"/>
                  </a:lnTo>
                  <a:lnTo>
                    <a:pt x="84386" y="14920"/>
                  </a:lnTo>
                  <a:lnTo>
                    <a:pt x="84386" y="14920"/>
                  </a:lnTo>
                  <a:lnTo>
                    <a:pt x="84386" y="14920"/>
                  </a:lnTo>
                  <a:lnTo>
                    <a:pt x="84386" y="14920"/>
                  </a:lnTo>
                  <a:lnTo>
                    <a:pt x="84551" y="14920"/>
                  </a:lnTo>
                  <a:lnTo>
                    <a:pt x="84715" y="14920"/>
                  </a:lnTo>
                  <a:lnTo>
                    <a:pt x="84715" y="14920"/>
                  </a:lnTo>
                  <a:lnTo>
                    <a:pt x="84715" y="14920"/>
                  </a:lnTo>
                  <a:lnTo>
                    <a:pt x="84715" y="14920"/>
                  </a:lnTo>
                  <a:lnTo>
                    <a:pt x="84715" y="14920"/>
                  </a:lnTo>
                  <a:lnTo>
                    <a:pt x="84715" y="14920"/>
                  </a:lnTo>
                  <a:close/>
                  <a:moveTo>
                    <a:pt x="79698" y="11587"/>
                  </a:moveTo>
                  <a:lnTo>
                    <a:pt x="79862" y="11587"/>
                  </a:lnTo>
                  <a:lnTo>
                    <a:pt x="79698" y="11587"/>
                  </a:lnTo>
                  <a:lnTo>
                    <a:pt x="79698" y="11587"/>
                  </a:lnTo>
                  <a:lnTo>
                    <a:pt x="79698" y="11587"/>
                  </a:lnTo>
                  <a:lnTo>
                    <a:pt x="79698" y="11904"/>
                  </a:lnTo>
                  <a:lnTo>
                    <a:pt x="79862" y="11587"/>
                  </a:lnTo>
                  <a:lnTo>
                    <a:pt x="80109" y="11587"/>
                  </a:lnTo>
                  <a:lnTo>
                    <a:pt x="80274" y="11587"/>
                  </a:lnTo>
                  <a:lnTo>
                    <a:pt x="80685" y="11587"/>
                  </a:lnTo>
                  <a:lnTo>
                    <a:pt x="81261" y="11587"/>
                  </a:lnTo>
                  <a:lnTo>
                    <a:pt x="81425" y="11269"/>
                  </a:lnTo>
                  <a:lnTo>
                    <a:pt x="81425" y="11269"/>
                  </a:lnTo>
                  <a:lnTo>
                    <a:pt x="81672" y="11269"/>
                  </a:lnTo>
                  <a:lnTo>
                    <a:pt x="81836" y="11269"/>
                  </a:lnTo>
                  <a:lnTo>
                    <a:pt x="82248" y="11269"/>
                  </a:lnTo>
                  <a:lnTo>
                    <a:pt x="82248" y="11269"/>
                  </a:lnTo>
                  <a:lnTo>
                    <a:pt x="82248" y="10793"/>
                  </a:lnTo>
                  <a:lnTo>
                    <a:pt x="82248" y="10793"/>
                  </a:lnTo>
                  <a:lnTo>
                    <a:pt x="82001" y="10793"/>
                  </a:lnTo>
                  <a:lnTo>
                    <a:pt x="82248" y="10793"/>
                  </a:lnTo>
                  <a:lnTo>
                    <a:pt x="82412" y="10476"/>
                  </a:lnTo>
                  <a:lnTo>
                    <a:pt x="82577" y="10476"/>
                  </a:lnTo>
                  <a:lnTo>
                    <a:pt x="82577" y="10476"/>
                  </a:lnTo>
                  <a:lnTo>
                    <a:pt x="82577" y="10476"/>
                  </a:lnTo>
                  <a:lnTo>
                    <a:pt x="82577" y="10158"/>
                  </a:lnTo>
                  <a:lnTo>
                    <a:pt x="82412" y="10158"/>
                  </a:lnTo>
                  <a:lnTo>
                    <a:pt x="82248" y="10158"/>
                  </a:lnTo>
                  <a:lnTo>
                    <a:pt x="81836" y="10158"/>
                  </a:lnTo>
                  <a:lnTo>
                    <a:pt x="81672" y="10158"/>
                  </a:lnTo>
                  <a:lnTo>
                    <a:pt x="81672" y="10158"/>
                  </a:lnTo>
                  <a:lnTo>
                    <a:pt x="81672" y="10158"/>
                  </a:lnTo>
                  <a:lnTo>
                    <a:pt x="81672" y="9682"/>
                  </a:lnTo>
                  <a:lnTo>
                    <a:pt x="81672" y="9682"/>
                  </a:lnTo>
                  <a:lnTo>
                    <a:pt x="81672" y="9682"/>
                  </a:lnTo>
                  <a:lnTo>
                    <a:pt x="81261" y="9682"/>
                  </a:lnTo>
                  <a:lnTo>
                    <a:pt x="81096" y="9365"/>
                  </a:lnTo>
                  <a:lnTo>
                    <a:pt x="81096" y="9365"/>
                  </a:lnTo>
                  <a:lnTo>
                    <a:pt x="80849" y="9365"/>
                  </a:lnTo>
                  <a:lnTo>
                    <a:pt x="80274" y="9365"/>
                  </a:lnTo>
                  <a:lnTo>
                    <a:pt x="80274" y="9365"/>
                  </a:lnTo>
                  <a:lnTo>
                    <a:pt x="80109" y="9365"/>
                  </a:lnTo>
                  <a:lnTo>
                    <a:pt x="79862" y="9365"/>
                  </a:lnTo>
                  <a:lnTo>
                    <a:pt x="79862" y="9682"/>
                  </a:lnTo>
                  <a:lnTo>
                    <a:pt x="79862" y="9682"/>
                  </a:lnTo>
                  <a:lnTo>
                    <a:pt x="79862" y="10158"/>
                  </a:lnTo>
                  <a:lnTo>
                    <a:pt x="79533" y="10158"/>
                  </a:lnTo>
                  <a:lnTo>
                    <a:pt x="79533" y="10158"/>
                  </a:lnTo>
                  <a:lnTo>
                    <a:pt x="79533" y="10158"/>
                  </a:lnTo>
                  <a:lnTo>
                    <a:pt x="79533" y="10158"/>
                  </a:lnTo>
                  <a:lnTo>
                    <a:pt x="79533" y="10158"/>
                  </a:lnTo>
                  <a:lnTo>
                    <a:pt x="79533" y="10476"/>
                  </a:lnTo>
                  <a:lnTo>
                    <a:pt x="79698" y="10476"/>
                  </a:lnTo>
                  <a:lnTo>
                    <a:pt x="79533" y="10476"/>
                  </a:lnTo>
                  <a:lnTo>
                    <a:pt x="79698" y="10793"/>
                  </a:lnTo>
                  <a:lnTo>
                    <a:pt x="79533" y="10793"/>
                  </a:lnTo>
                  <a:lnTo>
                    <a:pt x="80109" y="10793"/>
                  </a:lnTo>
                  <a:lnTo>
                    <a:pt x="80274" y="10793"/>
                  </a:lnTo>
                  <a:lnTo>
                    <a:pt x="80274" y="10793"/>
                  </a:lnTo>
                  <a:lnTo>
                    <a:pt x="80274" y="10793"/>
                  </a:lnTo>
                  <a:lnTo>
                    <a:pt x="80109" y="10793"/>
                  </a:lnTo>
                  <a:lnTo>
                    <a:pt x="79862" y="11269"/>
                  </a:lnTo>
                  <a:lnTo>
                    <a:pt x="79533" y="11269"/>
                  </a:lnTo>
                  <a:lnTo>
                    <a:pt x="79533" y="11269"/>
                  </a:lnTo>
                  <a:lnTo>
                    <a:pt x="79533" y="11269"/>
                  </a:lnTo>
                  <a:lnTo>
                    <a:pt x="79533" y="11269"/>
                  </a:lnTo>
                  <a:lnTo>
                    <a:pt x="79698" y="11587"/>
                  </a:lnTo>
                  <a:close/>
                  <a:moveTo>
                    <a:pt x="80520" y="6666"/>
                  </a:moveTo>
                  <a:lnTo>
                    <a:pt x="80849" y="6666"/>
                  </a:lnTo>
                  <a:lnTo>
                    <a:pt x="80849" y="7142"/>
                  </a:lnTo>
                  <a:lnTo>
                    <a:pt x="80849" y="7142"/>
                  </a:lnTo>
                  <a:lnTo>
                    <a:pt x="80849" y="7142"/>
                  </a:lnTo>
                  <a:lnTo>
                    <a:pt x="80849" y="7142"/>
                  </a:lnTo>
                  <a:lnTo>
                    <a:pt x="81096" y="7142"/>
                  </a:lnTo>
                  <a:lnTo>
                    <a:pt x="81261" y="7142"/>
                  </a:lnTo>
                  <a:lnTo>
                    <a:pt x="81261" y="7142"/>
                  </a:lnTo>
                  <a:lnTo>
                    <a:pt x="81425" y="7142"/>
                  </a:lnTo>
                  <a:lnTo>
                    <a:pt x="81425" y="7142"/>
                  </a:lnTo>
                  <a:lnTo>
                    <a:pt x="81672" y="6666"/>
                  </a:lnTo>
                  <a:lnTo>
                    <a:pt x="81836" y="6349"/>
                  </a:lnTo>
                  <a:lnTo>
                    <a:pt x="81836" y="6349"/>
                  </a:lnTo>
                  <a:lnTo>
                    <a:pt x="81672" y="6349"/>
                  </a:lnTo>
                  <a:lnTo>
                    <a:pt x="81672" y="6349"/>
                  </a:lnTo>
                  <a:lnTo>
                    <a:pt x="81425" y="6349"/>
                  </a:lnTo>
                  <a:lnTo>
                    <a:pt x="81096" y="6349"/>
                  </a:lnTo>
                  <a:lnTo>
                    <a:pt x="81096" y="6349"/>
                  </a:lnTo>
                  <a:lnTo>
                    <a:pt x="80685" y="6349"/>
                  </a:lnTo>
                  <a:lnTo>
                    <a:pt x="80685" y="6349"/>
                  </a:lnTo>
                  <a:lnTo>
                    <a:pt x="80520" y="6349"/>
                  </a:lnTo>
                  <a:lnTo>
                    <a:pt x="80520" y="6666"/>
                  </a:lnTo>
                  <a:lnTo>
                    <a:pt x="80274" y="6666"/>
                  </a:lnTo>
                  <a:lnTo>
                    <a:pt x="80274" y="6666"/>
                  </a:lnTo>
                  <a:lnTo>
                    <a:pt x="80520" y="6666"/>
                  </a:lnTo>
                  <a:lnTo>
                    <a:pt x="80520" y="6666"/>
                  </a:lnTo>
                  <a:close/>
                  <a:moveTo>
                    <a:pt x="74434" y="11904"/>
                  </a:moveTo>
                  <a:lnTo>
                    <a:pt x="74681" y="11904"/>
                  </a:lnTo>
                  <a:lnTo>
                    <a:pt x="74845" y="11904"/>
                  </a:lnTo>
                  <a:lnTo>
                    <a:pt x="75092" y="11904"/>
                  </a:lnTo>
                  <a:lnTo>
                    <a:pt x="75257" y="11904"/>
                  </a:lnTo>
                  <a:lnTo>
                    <a:pt x="75668" y="11904"/>
                  </a:lnTo>
                  <a:lnTo>
                    <a:pt x="75668" y="11904"/>
                  </a:lnTo>
                  <a:lnTo>
                    <a:pt x="75668" y="11904"/>
                  </a:lnTo>
                  <a:lnTo>
                    <a:pt x="75668" y="11587"/>
                  </a:lnTo>
                  <a:lnTo>
                    <a:pt x="75668" y="11587"/>
                  </a:lnTo>
                  <a:lnTo>
                    <a:pt x="75421" y="11587"/>
                  </a:lnTo>
                  <a:lnTo>
                    <a:pt x="75257" y="11587"/>
                  </a:lnTo>
                  <a:lnTo>
                    <a:pt x="75092" y="11587"/>
                  </a:lnTo>
                  <a:lnTo>
                    <a:pt x="74681" y="11587"/>
                  </a:lnTo>
                  <a:lnTo>
                    <a:pt x="74434" y="11587"/>
                  </a:lnTo>
                  <a:lnTo>
                    <a:pt x="74434" y="11587"/>
                  </a:lnTo>
                  <a:lnTo>
                    <a:pt x="74270" y="11587"/>
                  </a:lnTo>
                  <a:lnTo>
                    <a:pt x="74270" y="11904"/>
                  </a:lnTo>
                  <a:lnTo>
                    <a:pt x="74270" y="11904"/>
                  </a:lnTo>
                  <a:lnTo>
                    <a:pt x="74434" y="11904"/>
                  </a:lnTo>
                  <a:close/>
                  <a:moveTo>
                    <a:pt x="64235" y="36031"/>
                  </a:moveTo>
                  <a:lnTo>
                    <a:pt x="64235" y="36031"/>
                  </a:lnTo>
                  <a:lnTo>
                    <a:pt x="64235" y="36031"/>
                  </a:lnTo>
                  <a:lnTo>
                    <a:pt x="64564" y="36349"/>
                  </a:lnTo>
                  <a:lnTo>
                    <a:pt x="64811" y="36349"/>
                  </a:lnTo>
                  <a:lnTo>
                    <a:pt x="64811" y="36666"/>
                  </a:lnTo>
                  <a:lnTo>
                    <a:pt x="64976" y="36666"/>
                  </a:lnTo>
                  <a:lnTo>
                    <a:pt x="65387" y="36666"/>
                  </a:lnTo>
                  <a:lnTo>
                    <a:pt x="65716" y="36666"/>
                  </a:lnTo>
                  <a:lnTo>
                    <a:pt x="65962" y="36666"/>
                  </a:lnTo>
                  <a:lnTo>
                    <a:pt x="66127" y="36666"/>
                  </a:lnTo>
                  <a:lnTo>
                    <a:pt x="66538" y="36349"/>
                  </a:lnTo>
                  <a:lnTo>
                    <a:pt x="66703" y="36349"/>
                  </a:lnTo>
                  <a:lnTo>
                    <a:pt x="66949" y="36349"/>
                  </a:lnTo>
                  <a:lnTo>
                    <a:pt x="67114" y="36031"/>
                  </a:lnTo>
                  <a:lnTo>
                    <a:pt x="67114" y="36031"/>
                  </a:lnTo>
                  <a:lnTo>
                    <a:pt x="67278" y="36031"/>
                  </a:lnTo>
                  <a:lnTo>
                    <a:pt x="67525" y="36031"/>
                  </a:lnTo>
                  <a:lnTo>
                    <a:pt x="67690" y="36031"/>
                  </a:lnTo>
                  <a:lnTo>
                    <a:pt x="67690" y="35555"/>
                  </a:lnTo>
                  <a:lnTo>
                    <a:pt x="67690" y="35555"/>
                  </a:lnTo>
                  <a:lnTo>
                    <a:pt x="67690" y="35555"/>
                  </a:lnTo>
                  <a:lnTo>
                    <a:pt x="67525" y="35555"/>
                  </a:lnTo>
                  <a:lnTo>
                    <a:pt x="67278" y="35555"/>
                  </a:lnTo>
                  <a:lnTo>
                    <a:pt x="67278" y="35555"/>
                  </a:lnTo>
                  <a:lnTo>
                    <a:pt x="67278" y="35555"/>
                  </a:lnTo>
                  <a:lnTo>
                    <a:pt x="67114" y="35238"/>
                  </a:lnTo>
                  <a:lnTo>
                    <a:pt x="67278" y="34920"/>
                  </a:lnTo>
                  <a:lnTo>
                    <a:pt x="67278" y="34444"/>
                  </a:lnTo>
                  <a:lnTo>
                    <a:pt x="67278" y="34444"/>
                  </a:lnTo>
                  <a:lnTo>
                    <a:pt x="66949" y="34126"/>
                  </a:lnTo>
                  <a:lnTo>
                    <a:pt x="66949" y="33809"/>
                  </a:lnTo>
                  <a:lnTo>
                    <a:pt x="66703" y="33809"/>
                  </a:lnTo>
                  <a:lnTo>
                    <a:pt x="66703" y="33809"/>
                  </a:lnTo>
                  <a:lnTo>
                    <a:pt x="66703" y="33333"/>
                  </a:lnTo>
                  <a:lnTo>
                    <a:pt x="66703" y="33333"/>
                  </a:lnTo>
                  <a:lnTo>
                    <a:pt x="66538" y="33333"/>
                  </a:lnTo>
                  <a:lnTo>
                    <a:pt x="66538" y="33333"/>
                  </a:lnTo>
                  <a:lnTo>
                    <a:pt x="66291" y="33333"/>
                  </a:lnTo>
                  <a:lnTo>
                    <a:pt x="66291" y="33333"/>
                  </a:lnTo>
                  <a:lnTo>
                    <a:pt x="66291" y="33333"/>
                  </a:lnTo>
                  <a:lnTo>
                    <a:pt x="66538" y="33333"/>
                  </a:lnTo>
                  <a:lnTo>
                    <a:pt x="66538" y="33333"/>
                  </a:lnTo>
                  <a:lnTo>
                    <a:pt x="66538" y="33333"/>
                  </a:lnTo>
                  <a:lnTo>
                    <a:pt x="66538" y="33333"/>
                  </a:lnTo>
                  <a:lnTo>
                    <a:pt x="66538" y="33015"/>
                  </a:lnTo>
                  <a:lnTo>
                    <a:pt x="66291" y="33015"/>
                  </a:lnTo>
                  <a:lnTo>
                    <a:pt x="66291" y="33015"/>
                  </a:lnTo>
                  <a:lnTo>
                    <a:pt x="66127" y="33015"/>
                  </a:lnTo>
                  <a:lnTo>
                    <a:pt x="65962" y="33015"/>
                  </a:lnTo>
                  <a:lnTo>
                    <a:pt x="65716" y="33015"/>
                  </a:lnTo>
                  <a:lnTo>
                    <a:pt x="65716" y="33015"/>
                  </a:lnTo>
                  <a:lnTo>
                    <a:pt x="65551" y="33333"/>
                  </a:lnTo>
                  <a:lnTo>
                    <a:pt x="65551" y="33333"/>
                  </a:lnTo>
                  <a:lnTo>
                    <a:pt x="65551" y="33333"/>
                  </a:lnTo>
                  <a:lnTo>
                    <a:pt x="65387" y="33333"/>
                  </a:lnTo>
                  <a:lnTo>
                    <a:pt x="65387" y="33809"/>
                  </a:lnTo>
                  <a:lnTo>
                    <a:pt x="65551" y="34126"/>
                  </a:lnTo>
                  <a:lnTo>
                    <a:pt x="65387" y="34126"/>
                  </a:lnTo>
                  <a:lnTo>
                    <a:pt x="65387" y="34126"/>
                  </a:lnTo>
                  <a:lnTo>
                    <a:pt x="65140" y="33809"/>
                  </a:lnTo>
                  <a:lnTo>
                    <a:pt x="65140" y="33809"/>
                  </a:lnTo>
                  <a:lnTo>
                    <a:pt x="65140" y="33809"/>
                  </a:lnTo>
                  <a:lnTo>
                    <a:pt x="64976" y="33809"/>
                  </a:lnTo>
                  <a:lnTo>
                    <a:pt x="64976" y="33809"/>
                  </a:lnTo>
                  <a:lnTo>
                    <a:pt x="64976" y="33809"/>
                  </a:lnTo>
                  <a:lnTo>
                    <a:pt x="64976" y="34126"/>
                  </a:lnTo>
                  <a:lnTo>
                    <a:pt x="64976" y="34126"/>
                  </a:lnTo>
                  <a:lnTo>
                    <a:pt x="64976" y="34126"/>
                  </a:lnTo>
                  <a:lnTo>
                    <a:pt x="64976" y="34126"/>
                  </a:lnTo>
                  <a:lnTo>
                    <a:pt x="64976" y="34126"/>
                  </a:lnTo>
                  <a:lnTo>
                    <a:pt x="64976" y="34444"/>
                  </a:lnTo>
                  <a:lnTo>
                    <a:pt x="64811" y="34444"/>
                  </a:lnTo>
                  <a:lnTo>
                    <a:pt x="64811" y="34444"/>
                  </a:lnTo>
                  <a:lnTo>
                    <a:pt x="64400" y="34920"/>
                  </a:lnTo>
                  <a:lnTo>
                    <a:pt x="64235" y="34920"/>
                  </a:lnTo>
                  <a:lnTo>
                    <a:pt x="63824" y="34920"/>
                  </a:lnTo>
                  <a:lnTo>
                    <a:pt x="63413" y="34920"/>
                  </a:lnTo>
                  <a:lnTo>
                    <a:pt x="63413" y="34920"/>
                  </a:lnTo>
                  <a:lnTo>
                    <a:pt x="63248" y="35238"/>
                  </a:lnTo>
                  <a:lnTo>
                    <a:pt x="63248" y="35238"/>
                  </a:lnTo>
                  <a:lnTo>
                    <a:pt x="63248" y="35238"/>
                  </a:lnTo>
                  <a:lnTo>
                    <a:pt x="63248" y="35555"/>
                  </a:lnTo>
                  <a:lnTo>
                    <a:pt x="63248" y="35555"/>
                  </a:lnTo>
                  <a:lnTo>
                    <a:pt x="63248" y="35555"/>
                  </a:lnTo>
                  <a:lnTo>
                    <a:pt x="63413" y="35555"/>
                  </a:lnTo>
                  <a:lnTo>
                    <a:pt x="63413" y="35555"/>
                  </a:lnTo>
                  <a:lnTo>
                    <a:pt x="63577" y="35555"/>
                  </a:lnTo>
                  <a:lnTo>
                    <a:pt x="63577" y="35555"/>
                  </a:lnTo>
                  <a:lnTo>
                    <a:pt x="63824" y="35555"/>
                  </a:lnTo>
                  <a:lnTo>
                    <a:pt x="63824" y="35555"/>
                  </a:lnTo>
                  <a:lnTo>
                    <a:pt x="63824" y="35555"/>
                  </a:lnTo>
                  <a:lnTo>
                    <a:pt x="63824" y="35555"/>
                  </a:lnTo>
                  <a:lnTo>
                    <a:pt x="63824" y="35555"/>
                  </a:lnTo>
                  <a:lnTo>
                    <a:pt x="63824" y="35555"/>
                  </a:lnTo>
                  <a:lnTo>
                    <a:pt x="63824" y="36031"/>
                  </a:lnTo>
                  <a:lnTo>
                    <a:pt x="63824" y="36031"/>
                  </a:lnTo>
                  <a:lnTo>
                    <a:pt x="63989" y="36031"/>
                  </a:lnTo>
                  <a:lnTo>
                    <a:pt x="64235" y="36031"/>
                  </a:lnTo>
                  <a:lnTo>
                    <a:pt x="64235" y="35555"/>
                  </a:lnTo>
                  <a:lnTo>
                    <a:pt x="64400" y="35555"/>
                  </a:lnTo>
                  <a:lnTo>
                    <a:pt x="64400" y="35555"/>
                  </a:lnTo>
                  <a:lnTo>
                    <a:pt x="64400" y="36031"/>
                  </a:lnTo>
                  <a:lnTo>
                    <a:pt x="64235" y="36031"/>
                  </a:lnTo>
                  <a:close/>
                  <a:moveTo>
                    <a:pt x="68677" y="22063"/>
                  </a:moveTo>
                  <a:lnTo>
                    <a:pt x="68677" y="22539"/>
                  </a:lnTo>
                  <a:lnTo>
                    <a:pt x="68677" y="22539"/>
                  </a:lnTo>
                  <a:lnTo>
                    <a:pt x="68677" y="22539"/>
                  </a:lnTo>
                  <a:lnTo>
                    <a:pt x="68677" y="22539"/>
                  </a:lnTo>
                  <a:lnTo>
                    <a:pt x="68841" y="22857"/>
                  </a:lnTo>
                  <a:lnTo>
                    <a:pt x="68841" y="22857"/>
                  </a:lnTo>
                  <a:lnTo>
                    <a:pt x="68841" y="22857"/>
                  </a:lnTo>
                  <a:lnTo>
                    <a:pt x="68841" y="22857"/>
                  </a:lnTo>
                  <a:lnTo>
                    <a:pt x="68677" y="23174"/>
                  </a:lnTo>
                  <a:lnTo>
                    <a:pt x="68677" y="22857"/>
                  </a:lnTo>
                  <a:lnTo>
                    <a:pt x="68677" y="22857"/>
                  </a:lnTo>
                  <a:lnTo>
                    <a:pt x="68430" y="22539"/>
                  </a:lnTo>
                  <a:lnTo>
                    <a:pt x="68265" y="22857"/>
                  </a:lnTo>
                  <a:lnTo>
                    <a:pt x="68101" y="22857"/>
                  </a:lnTo>
                  <a:lnTo>
                    <a:pt x="67854" y="22857"/>
                  </a:lnTo>
                  <a:lnTo>
                    <a:pt x="67690" y="22857"/>
                  </a:lnTo>
                  <a:lnTo>
                    <a:pt x="67690" y="22857"/>
                  </a:lnTo>
                  <a:lnTo>
                    <a:pt x="67690" y="23174"/>
                  </a:lnTo>
                  <a:lnTo>
                    <a:pt x="67690" y="23174"/>
                  </a:lnTo>
                  <a:lnTo>
                    <a:pt x="68101" y="23650"/>
                  </a:lnTo>
                  <a:lnTo>
                    <a:pt x="68265" y="23650"/>
                  </a:lnTo>
                  <a:lnTo>
                    <a:pt x="68430" y="23650"/>
                  </a:lnTo>
                  <a:lnTo>
                    <a:pt x="68430" y="23650"/>
                  </a:lnTo>
                  <a:lnTo>
                    <a:pt x="68677" y="23174"/>
                  </a:lnTo>
                  <a:lnTo>
                    <a:pt x="68841" y="23174"/>
                  </a:lnTo>
                  <a:lnTo>
                    <a:pt x="68841" y="23650"/>
                  </a:lnTo>
                  <a:lnTo>
                    <a:pt x="69006" y="23650"/>
                  </a:lnTo>
                  <a:lnTo>
                    <a:pt x="68841" y="23650"/>
                  </a:lnTo>
                  <a:lnTo>
                    <a:pt x="68841" y="23650"/>
                  </a:lnTo>
                  <a:lnTo>
                    <a:pt x="68677" y="23650"/>
                  </a:lnTo>
                  <a:lnTo>
                    <a:pt x="68677" y="23650"/>
                  </a:lnTo>
                  <a:lnTo>
                    <a:pt x="68430" y="23650"/>
                  </a:lnTo>
                  <a:lnTo>
                    <a:pt x="68430" y="23650"/>
                  </a:lnTo>
                  <a:lnTo>
                    <a:pt x="68265" y="23650"/>
                  </a:lnTo>
                  <a:lnTo>
                    <a:pt x="68265" y="23968"/>
                  </a:lnTo>
                  <a:lnTo>
                    <a:pt x="68265" y="23968"/>
                  </a:lnTo>
                  <a:lnTo>
                    <a:pt x="68265" y="23968"/>
                  </a:lnTo>
                  <a:lnTo>
                    <a:pt x="68430" y="23968"/>
                  </a:lnTo>
                  <a:lnTo>
                    <a:pt x="68430" y="23968"/>
                  </a:lnTo>
                  <a:lnTo>
                    <a:pt x="68430" y="23968"/>
                  </a:lnTo>
                  <a:lnTo>
                    <a:pt x="68430" y="23968"/>
                  </a:lnTo>
                  <a:lnTo>
                    <a:pt x="68430" y="24285"/>
                  </a:lnTo>
                  <a:lnTo>
                    <a:pt x="68430" y="24285"/>
                  </a:lnTo>
                  <a:lnTo>
                    <a:pt x="68265" y="24285"/>
                  </a:lnTo>
                  <a:lnTo>
                    <a:pt x="68265" y="24761"/>
                  </a:lnTo>
                  <a:lnTo>
                    <a:pt x="68265" y="24285"/>
                  </a:lnTo>
                  <a:lnTo>
                    <a:pt x="68101" y="24285"/>
                  </a:lnTo>
                  <a:lnTo>
                    <a:pt x="68101" y="24285"/>
                  </a:lnTo>
                  <a:lnTo>
                    <a:pt x="67854" y="24761"/>
                  </a:lnTo>
                  <a:lnTo>
                    <a:pt x="67690" y="24761"/>
                  </a:lnTo>
                  <a:lnTo>
                    <a:pt x="67690" y="24761"/>
                  </a:lnTo>
                  <a:lnTo>
                    <a:pt x="67114" y="25079"/>
                  </a:lnTo>
                  <a:lnTo>
                    <a:pt x="66949" y="25079"/>
                  </a:lnTo>
                  <a:lnTo>
                    <a:pt x="66703" y="25079"/>
                  </a:lnTo>
                  <a:lnTo>
                    <a:pt x="66703" y="25079"/>
                  </a:lnTo>
                  <a:lnTo>
                    <a:pt x="66703" y="24761"/>
                  </a:lnTo>
                  <a:lnTo>
                    <a:pt x="66703" y="24761"/>
                  </a:lnTo>
                  <a:lnTo>
                    <a:pt x="66703" y="24285"/>
                  </a:lnTo>
                  <a:lnTo>
                    <a:pt x="66703" y="24285"/>
                  </a:lnTo>
                  <a:lnTo>
                    <a:pt x="66703" y="24285"/>
                  </a:lnTo>
                  <a:lnTo>
                    <a:pt x="66703" y="24285"/>
                  </a:lnTo>
                  <a:lnTo>
                    <a:pt x="66703" y="23968"/>
                  </a:lnTo>
                  <a:lnTo>
                    <a:pt x="66538" y="23968"/>
                  </a:lnTo>
                  <a:lnTo>
                    <a:pt x="66291" y="23968"/>
                  </a:lnTo>
                  <a:lnTo>
                    <a:pt x="66127" y="23968"/>
                  </a:lnTo>
                  <a:lnTo>
                    <a:pt x="65962" y="24285"/>
                  </a:lnTo>
                  <a:lnTo>
                    <a:pt x="65716" y="24285"/>
                  </a:lnTo>
                  <a:lnTo>
                    <a:pt x="65551" y="24285"/>
                  </a:lnTo>
                  <a:lnTo>
                    <a:pt x="65551" y="24761"/>
                  </a:lnTo>
                  <a:lnTo>
                    <a:pt x="65387" y="24761"/>
                  </a:lnTo>
                  <a:lnTo>
                    <a:pt x="65387" y="24761"/>
                  </a:lnTo>
                  <a:lnTo>
                    <a:pt x="65387" y="25079"/>
                  </a:lnTo>
                  <a:lnTo>
                    <a:pt x="65387" y="25555"/>
                  </a:lnTo>
                  <a:lnTo>
                    <a:pt x="65716" y="25555"/>
                  </a:lnTo>
                  <a:lnTo>
                    <a:pt x="65716" y="25873"/>
                  </a:lnTo>
                  <a:lnTo>
                    <a:pt x="65716" y="25873"/>
                  </a:lnTo>
                  <a:lnTo>
                    <a:pt x="65716" y="25873"/>
                  </a:lnTo>
                  <a:lnTo>
                    <a:pt x="65716" y="26190"/>
                  </a:lnTo>
                  <a:lnTo>
                    <a:pt x="65716" y="26190"/>
                  </a:lnTo>
                  <a:lnTo>
                    <a:pt x="65962" y="26190"/>
                  </a:lnTo>
                  <a:lnTo>
                    <a:pt x="66127" y="26190"/>
                  </a:lnTo>
                  <a:lnTo>
                    <a:pt x="66127" y="26190"/>
                  </a:lnTo>
                  <a:lnTo>
                    <a:pt x="66127" y="26190"/>
                  </a:lnTo>
                  <a:lnTo>
                    <a:pt x="66291" y="26190"/>
                  </a:lnTo>
                  <a:lnTo>
                    <a:pt x="66291" y="26190"/>
                  </a:lnTo>
                  <a:lnTo>
                    <a:pt x="66291" y="26190"/>
                  </a:lnTo>
                  <a:lnTo>
                    <a:pt x="66538" y="26666"/>
                  </a:lnTo>
                  <a:lnTo>
                    <a:pt x="66538" y="26666"/>
                  </a:lnTo>
                  <a:lnTo>
                    <a:pt x="66703" y="26666"/>
                  </a:lnTo>
                  <a:lnTo>
                    <a:pt x="66703" y="26984"/>
                  </a:lnTo>
                  <a:lnTo>
                    <a:pt x="66703" y="27301"/>
                  </a:lnTo>
                  <a:lnTo>
                    <a:pt x="66949" y="27777"/>
                  </a:lnTo>
                  <a:lnTo>
                    <a:pt x="66949" y="28095"/>
                  </a:lnTo>
                  <a:lnTo>
                    <a:pt x="67114" y="28095"/>
                  </a:lnTo>
                  <a:lnTo>
                    <a:pt x="66949" y="28412"/>
                  </a:lnTo>
                  <a:lnTo>
                    <a:pt x="66949" y="28412"/>
                  </a:lnTo>
                  <a:lnTo>
                    <a:pt x="66949" y="28888"/>
                  </a:lnTo>
                  <a:lnTo>
                    <a:pt x="67114" y="28888"/>
                  </a:lnTo>
                  <a:lnTo>
                    <a:pt x="67278" y="28888"/>
                  </a:lnTo>
                  <a:lnTo>
                    <a:pt x="67278" y="28888"/>
                  </a:lnTo>
                  <a:lnTo>
                    <a:pt x="67525" y="28888"/>
                  </a:lnTo>
                  <a:lnTo>
                    <a:pt x="67690" y="28888"/>
                  </a:lnTo>
                  <a:lnTo>
                    <a:pt x="67690" y="28888"/>
                  </a:lnTo>
                  <a:lnTo>
                    <a:pt x="68101" y="28412"/>
                  </a:lnTo>
                  <a:lnTo>
                    <a:pt x="68265" y="28412"/>
                  </a:lnTo>
                  <a:lnTo>
                    <a:pt x="68265" y="28412"/>
                  </a:lnTo>
                  <a:lnTo>
                    <a:pt x="68265" y="28095"/>
                  </a:lnTo>
                  <a:lnTo>
                    <a:pt x="68265" y="27777"/>
                  </a:lnTo>
                  <a:lnTo>
                    <a:pt x="68265" y="27777"/>
                  </a:lnTo>
                  <a:lnTo>
                    <a:pt x="68430" y="27301"/>
                  </a:lnTo>
                  <a:lnTo>
                    <a:pt x="68677" y="27301"/>
                  </a:lnTo>
                  <a:lnTo>
                    <a:pt x="68677" y="27301"/>
                  </a:lnTo>
                  <a:lnTo>
                    <a:pt x="68677" y="27301"/>
                  </a:lnTo>
                  <a:lnTo>
                    <a:pt x="68430" y="27301"/>
                  </a:lnTo>
                  <a:lnTo>
                    <a:pt x="68430" y="27777"/>
                  </a:lnTo>
                  <a:lnTo>
                    <a:pt x="68430" y="27777"/>
                  </a:lnTo>
                  <a:lnTo>
                    <a:pt x="68430" y="27777"/>
                  </a:lnTo>
                  <a:lnTo>
                    <a:pt x="68430" y="27777"/>
                  </a:lnTo>
                  <a:lnTo>
                    <a:pt x="69006" y="28095"/>
                  </a:lnTo>
                  <a:lnTo>
                    <a:pt x="69252" y="28095"/>
                  </a:lnTo>
                  <a:lnTo>
                    <a:pt x="69664" y="27777"/>
                  </a:lnTo>
                  <a:lnTo>
                    <a:pt x="69664" y="27777"/>
                  </a:lnTo>
                  <a:lnTo>
                    <a:pt x="69828" y="27777"/>
                  </a:lnTo>
                  <a:lnTo>
                    <a:pt x="69993" y="27301"/>
                  </a:lnTo>
                  <a:lnTo>
                    <a:pt x="70404" y="27301"/>
                  </a:lnTo>
                  <a:lnTo>
                    <a:pt x="70568" y="26984"/>
                  </a:lnTo>
                  <a:lnTo>
                    <a:pt x="70568" y="26984"/>
                  </a:lnTo>
                  <a:lnTo>
                    <a:pt x="70568" y="26984"/>
                  </a:lnTo>
                  <a:lnTo>
                    <a:pt x="70568" y="26984"/>
                  </a:lnTo>
                  <a:lnTo>
                    <a:pt x="70815" y="26666"/>
                  </a:lnTo>
                  <a:lnTo>
                    <a:pt x="70980" y="26666"/>
                  </a:lnTo>
                  <a:lnTo>
                    <a:pt x="70980" y="26190"/>
                  </a:lnTo>
                  <a:lnTo>
                    <a:pt x="70980" y="26190"/>
                  </a:lnTo>
                  <a:lnTo>
                    <a:pt x="70980" y="26190"/>
                  </a:lnTo>
                  <a:lnTo>
                    <a:pt x="70980" y="26190"/>
                  </a:lnTo>
                  <a:lnTo>
                    <a:pt x="70980" y="26190"/>
                  </a:lnTo>
                  <a:lnTo>
                    <a:pt x="70980" y="26190"/>
                  </a:lnTo>
                  <a:lnTo>
                    <a:pt x="71144" y="26190"/>
                  </a:lnTo>
                  <a:lnTo>
                    <a:pt x="71391" y="25873"/>
                  </a:lnTo>
                  <a:lnTo>
                    <a:pt x="71391" y="25873"/>
                  </a:lnTo>
                  <a:lnTo>
                    <a:pt x="71555" y="25555"/>
                  </a:lnTo>
                  <a:lnTo>
                    <a:pt x="71720" y="25555"/>
                  </a:lnTo>
                  <a:lnTo>
                    <a:pt x="71720" y="25079"/>
                  </a:lnTo>
                  <a:lnTo>
                    <a:pt x="71720" y="25079"/>
                  </a:lnTo>
                  <a:lnTo>
                    <a:pt x="71720" y="25079"/>
                  </a:lnTo>
                  <a:lnTo>
                    <a:pt x="71720" y="25079"/>
                  </a:lnTo>
                  <a:lnTo>
                    <a:pt x="71391" y="25079"/>
                  </a:lnTo>
                  <a:lnTo>
                    <a:pt x="71144" y="25079"/>
                  </a:lnTo>
                  <a:lnTo>
                    <a:pt x="70980" y="25079"/>
                  </a:lnTo>
                  <a:lnTo>
                    <a:pt x="70980" y="25079"/>
                  </a:lnTo>
                  <a:lnTo>
                    <a:pt x="71144" y="25079"/>
                  </a:lnTo>
                  <a:lnTo>
                    <a:pt x="71144" y="25079"/>
                  </a:lnTo>
                  <a:lnTo>
                    <a:pt x="71391" y="24761"/>
                  </a:lnTo>
                  <a:lnTo>
                    <a:pt x="71144" y="24761"/>
                  </a:lnTo>
                  <a:lnTo>
                    <a:pt x="71144" y="24761"/>
                  </a:lnTo>
                  <a:lnTo>
                    <a:pt x="71144" y="24761"/>
                  </a:lnTo>
                  <a:lnTo>
                    <a:pt x="71144" y="24285"/>
                  </a:lnTo>
                  <a:lnTo>
                    <a:pt x="71391" y="24285"/>
                  </a:lnTo>
                  <a:lnTo>
                    <a:pt x="71391" y="24285"/>
                  </a:lnTo>
                  <a:lnTo>
                    <a:pt x="71144" y="24285"/>
                  </a:lnTo>
                  <a:lnTo>
                    <a:pt x="71144" y="24285"/>
                  </a:lnTo>
                  <a:lnTo>
                    <a:pt x="70980" y="24285"/>
                  </a:lnTo>
                  <a:lnTo>
                    <a:pt x="70815" y="24285"/>
                  </a:lnTo>
                  <a:lnTo>
                    <a:pt x="70568" y="24285"/>
                  </a:lnTo>
                  <a:lnTo>
                    <a:pt x="70404" y="24285"/>
                  </a:lnTo>
                  <a:lnTo>
                    <a:pt x="70239" y="24285"/>
                  </a:lnTo>
                  <a:lnTo>
                    <a:pt x="70239" y="24285"/>
                  </a:lnTo>
                  <a:lnTo>
                    <a:pt x="70239" y="24285"/>
                  </a:lnTo>
                  <a:lnTo>
                    <a:pt x="70239" y="24285"/>
                  </a:lnTo>
                  <a:lnTo>
                    <a:pt x="70239" y="24285"/>
                  </a:lnTo>
                  <a:lnTo>
                    <a:pt x="70404" y="23968"/>
                  </a:lnTo>
                  <a:lnTo>
                    <a:pt x="70568" y="23968"/>
                  </a:lnTo>
                  <a:lnTo>
                    <a:pt x="71391" y="23650"/>
                  </a:lnTo>
                  <a:lnTo>
                    <a:pt x="71720" y="23174"/>
                  </a:lnTo>
                  <a:lnTo>
                    <a:pt x="72131" y="23174"/>
                  </a:lnTo>
                  <a:lnTo>
                    <a:pt x="72131" y="23174"/>
                  </a:lnTo>
                  <a:lnTo>
                    <a:pt x="72131" y="22857"/>
                  </a:lnTo>
                  <a:lnTo>
                    <a:pt x="72131" y="22857"/>
                  </a:lnTo>
                  <a:lnTo>
                    <a:pt x="71967" y="22857"/>
                  </a:lnTo>
                  <a:lnTo>
                    <a:pt x="71967" y="22857"/>
                  </a:lnTo>
                  <a:lnTo>
                    <a:pt x="71720" y="22857"/>
                  </a:lnTo>
                  <a:lnTo>
                    <a:pt x="71720" y="22857"/>
                  </a:lnTo>
                  <a:lnTo>
                    <a:pt x="71967" y="22857"/>
                  </a:lnTo>
                  <a:lnTo>
                    <a:pt x="71967" y="22857"/>
                  </a:lnTo>
                  <a:lnTo>
                    <a:pt x="71967" y="22857"/>
                  </a:lnTo>
                  <a:lnTo>
                    <a:pt x="72131" y="22857"/>
                  </a:lnTo>
                  <a:lnTo>
                    <a:pt x="72378" y="22857"/>
                  </a:lnTo>
                  <a:lnTo>
                    <a:pt x="72542" y="22857"/>
                  </a:lnTo>
                  <a:lnTo>
                    <a:pt x="72542" y="22539"/>
                  </a:lnTo>
                  <a:lnTo>
                    <a:pt x="72707" y="22539"/>
                  </a:lnTo>
                  <a:lnTo>
                    <a:pt x="72707" y="22539"/>
                  </a:lnTo>
                  <a:lnTo>
                    <a:pt x="72707" y="22539"/>
                  </a:lnTo>
                  <a:lnTo>
                    <a:pt x="72954" y="22063"/>
                  </a:lnTo>
                  <a:lnTo>
                    <a:pt x="72954" y="22063"/>
                  </a:lnTo>
                  <a:lnTo>
                    <a:pt x="72707" y="22063"/>
                  </a:lnTo>
                  <a:lnTo>
                    <a:pt x="72707" y="22063"/>
                  </a:lnTo>
                  <a:lnTo>
                    <a:pt x="72542" y="21746"/>
                  </a:lnTo>
                  <a:lnTo>
                    <a:pt x="72378" y="21746"/>
                  </a:lnTo>
                  <a:lnTo>
                    <a:pt x="72131" y="21746"/>
                  </a:lnTo>
                  <a:lnTo>
                    <a:pt x="72131" y="22063"/>
                  </a:lnTo>
                  <a:lnTo>
                    <a:pt x="71720" y="22063"/>
                  </a:lnTo>
                  <a:lnTo>
                    <a:pt x="71391" y="22063"/>
                  </a:lnTo>
                  <a:lnTo>
                    <a:pt x="70980" y="22063"/>
                  </a:lnTo>
                  <a:lnTo>
                    <a:pt x="70815" y="22063"/>
                  </a:lnTo>
                  <a:lnTo>
                    <a:pt x="70568" y="22539"/>
                  </a:lnTo>
                  <a:lnTo>
                    <a:pt x="69993" y="21746"/>
                  </a:lnTo>
                  <a:lnTo>
                    <a:pt x="69828" y="21746"/>
                  </a:lnTo>
                  <a:lnTo>
                    <a:pt x="69828" y="21746"/>
                  </a:lnTo>
                  <a:lnTo>
                    <a:pt x="69664" y="22063"/>
                  </a:lnTo>
                  <a:lnTo>
                    <a:pt x="69828" y="22063"/>
                  </a:lnTo>
                  <a:lnTo>
                    <a:pt x="69828" y="22063"/>
                  </a:lnTo>
                  <a:lnTo>
                    <a:pt x="69993" y="22063"/>
                  </a:lnTo>
                  <a:lnTo>
                    <a:pt x="69993" y="22063"/>
                  </a:lnTo>
                  <a:lnTo>
                    <a:pt x="69828" y="22063"/>
                  </a:lnTo>
                  <a:lnTo>
                    <a:pt x="69664" y="22063"/>
                  </a:lnTo>
                  <a:lnTo>
                    <a:pt x="69417" y="22063"/>
                  </a:lnTo>
                  <a:lnTo>
                    <a:pt x="68841" y="22063"/>
                  </a:lnTo>
                  <a:lnTo>
                    <a:pt x="68841" y="22063"/>
                  </a:lnTo>
                  <a:lnTo>
                    <a:pt x="68677" y="22063"/>
                  </a:lnTo>
                  <a:close/>
                  <a:moveTo>
                    <a:pt x="62837" y="33015"/>
                  </a:moveTo>
                  <a:lnTo>
                    <a:pt x="63002" y="32222"/>
                  </a:lnTo>
                  <a:lnTo>
                    <a:pt x="63002" y="32222"/>
                  </a:lnTo>
                  <a:lnTo>
                    <a:pt x="63002" y="32222"/>
                  </a:lnTo>
                  <a:lnTo>
                    <a:pt x="63002" y="32222"/>
                  </a:lnTo>
                  <a:lnTo>
                    <a:pt x="63002" y="32222"/>
                  </a:lnTo>
                  <a:lnTo>
                    <a:pt x="62673" y="32222"/>
                  </a:lnTo>
                  <a:lnTo>
                    <a:pt x="62673" y="31904"/>
                  </a:lnTo>
                  <a:lnTo>
                    <a:pt x="62673" y="31904"/>
                  </a:lnTo>
                  <a:lnTo>
                    <a:pt x="62673" y="31904"/>
                  </a:lnTo>
                  <a:lnTo>
                    <a:pt x="62673" y="31904"/>
                  </a:lnTo>
                  <a:lnTo>
                    <a:pt x="62673" y="31904"/>
                  </a:lnTo>
                  <a:lnTo>
                    <a:pt x="62426" y="31904"/>
                  </a:lnTo>
                  <a:lnTo>
                    <a:pt x="62261" y="31904"/>
                  </a:lnTo>
                  <a:lnTo>
                    <a:pt x="62097" y="31428"/>
                  </a:lnTo>
                  <a:lnTo>
                    <a:pt x="61850" y="31111"/>
                  </a:lnTo>
                  <a:lnTo>
                    <a:pt x="61850" y="31111"/>
                  </a:lnTo>
                  <a:lnTo>
                    <a:pt x="61686" y="30793"/>
                  </a:lnTo>
                  <a:lnTo>
                    <a:pt x="61686" y="30793"/>
                  </a:lnTo>
                  <a:lnTo>
                    <a:pt x="61686" y="30793"/>
                  </a:lnTo>
                  <a:lnTo>
                    <a:pt x="61686" y="31111"/>
                  </a:lnTo>
                  <a:lnTo>
                    <a:pt x="61521" y="31111"/>
                  </a:lnTo>
                  <a:lnTo>
                    <a:pt x="61521" y="31111"/>
                  </a:lnTo>
                  <a:lnTo>
                    <a:pt x="61521" y="31111"/>
                  </a:lnTo>
                  <a:lnTo>
                    <a:pt x="61521" y="31111"/>
                  </a:lnTo>
                  <a:lnTo>
                    <a:pt x="61521" y="31111"/>
                  </a:lnTo>
                  <a:lnTo>
                    <a:pt x="61274" y="30793"/>
                  </a:lnTo>
                  <a:lnTo>
                    <a:pt x="61110" y="30793"/>
                  </a:lnTo>
                  <a:lnTo>
                    <a:pt x="60863" y="30317"/>
                  </a:lnTo>
                  <a:lnTo>
                    <a:pt x="60863" y="30317"/>
                  </a:lnTo>
                  <a:lnTo>
                    <a:pt x="60863" y="30000"/>
                  </a:lnTo>
                  <a:lnTo>
                    <a:pt x="60699" y="29682"/>
                  </a:lnTo>
                  <a:lnTo>
                    <a:pt x="60699" y="29682"/>
                  </a:lnTo>
                  <a:lnTo>
                    <a:pt x="60699" y="29206"/>
                  </a:lnTo>
                  <a:lnTo>
                    <a:pt x="61110" y="28888"/>
                  </a:lnTo>
                  <a:lnTo>
                    <a:pt x="61274" y="28888"/>
                  </a:lnTo>
                  <a:lnTo>
                    <a:pt x="61274" y="28888"/>
                  </a:lnTo>
                  <a:lnTo>
                    <a:pt x="61521" y="28412"/>
                  </a:lnTo>
                  <a:lnTo>
                    <a:pt x="61521" y="28412"/>
                  </a:lnTo>
                  <a:lnTo>
                    <a:pt x="61521" y="28412"/>
                  </a:lnTo>
                  <a:lnTo>
                    <a:pt x="61521" y="28412"/>
                  </a:lnTo>
                  <a:lnTo>
                    <a:pt x="61686" y="28095"/>
                  </a:lnTo>
                  <a:lnTo>
                    <a:pt x="61686" y="27777"/>
                  </a:lnTo>
                  <a:lnTo>
                    <a:pt x="61686" y="27301"/>
                  </a:lnTo>
                  <a:lnTo>
                    <a:pt x="61686" y="27301"/>
                  </a:lnTo>
                  <a:lnTo>
                    <a:pt x="61850" y="26984"/>
                  </a:lnTo>
                  <a:lnTo>
                    <a:pt x="62097" y="25873"/>
                  </a:lnTo>
                  <a:lnTo>
                    <a:pt x="62097" y="25873"/>
                  </a:lnTo>
                  <a:lnTo>
                    <a:pt x="62261" y="25555"/>
                  </a:lnTo>
                  <a:lnTo>
                    <a:pt x="62261" y="25079"/>
                  </a:lnTo>
                  <a:lnTo>
                    <a:pt x="62426" y="25079"/>
                  </a:lnTo>
                  <a:lnTo>
                    <a:pt x="62426" y="25079"/>
                  </a:lnTo>
                  <a:lnTo>
                    <a:pt x="62426" y="25079"/>
                  </a:lnTo>
                  <a:lnTo>
                    <a:pt x="62426" y="24761"/>
                  </a:lnTo>
                  <a:lnTo>
                    <a:pt x="62426" y="24761"/>
                  </a:lnTo>
                  <a:lnTo>
                    <a:pt x="62426" y="24761"/>
                  </a:lnTo>
                  <a:lnTo>
                    <a:pt x="62426" y="24285"/>
                  </a:lnTo>
                  <a:lnTo>
                    <a:pt x="62426" y="24285"/>
                  </a:lnTo>
                  <a:lnTo>
                    <a:pt x="62261" y="23968"/>
                  </a:lnTo>
                  <a:lnTo>
                    <a:pt x="62097" y="23650"/>
                  </a:lnTo>
                  <a:lnTo>
                    <a:pt x="61850" y="23650"/>
                  </a:lnTo>
                  <a:lnTo>
                    <a:pt x="61686" y="23650"/>
                  </a:lnTo>
                  <a:lnTo>
                    <a:pt x="61521" y="23650"/>
                  </a:lnTo>
                  <a:lnTo>
                    <a:pt x="61521" y="23650"/>
                  </a:lnTo>
                  <a:lnTo>
                    <a:pt x="61274" y="23650"/>
                  </a:lnTo>
                  <a:lnTo>
                    <a:pt x="61110" y="23650"/>
                  </a:lnTo>
                  <a:lnTo>
                    <a:pt x="60863" y="23174"/>
                  </a:lnTo>
                  <a:lnTo>
                    <a:pt x="60699" y="23174"/>
                  </a:lnTo>
                  <a:lnTo>
                    <a:pt x="60534" y="23650"/>
                  </a:lnTo>
                  <a:lnTo>
                    <a:pt x="60534" y="23650"/>
                  </a:lnTo>
                  <a:lnTo>
                    <a:pt x="60534" y="23650"/>
                  </a:lnTo>
                  <a:lnTo>
                    <a:pt x="60534" y="23650"/>
                  </a:lnTo>
                  <a:lnTo>
                    <a:pt x="60534" y="23650"/>
                  </a:lnTo>
                  <a:lnTo>
                    <a:pt x="60287" y="23650"/>
                  </a:lnTo>
                  <a:lnTo>
                    <a:pt x="60123" y="23650"/>
                  </a:lnTo>
                  <a:lnTo>
                    <a:pt x="60123" y="23968"/>
                  </a:lnTo>
                  <a:lnTo>
                    <a:pt x="60123" y="23968"/>
                  </a:lnTo>
                  <a:lnTo>
                    <a:pt x="59547" y="25079"/>
                  </a:lnTo>
                  <a:lnTo>
                    <a:pt x="59547" y="25555"/>
                  </a:lnTo>
                  <a:lnTo>
                    <a:pt x="59547" y="25555"/>
                  </a:lnTo>
                  <a:lnTo>
                    <a:pt x="59383" y="25555"/>
                  </a:lnTo>
                  <a:lnTo>
                    <a:pt x="59383" y="25555"/>
                  </a:lnTo>
                  <a:lnTo>
                    <a:pt x="59383" y="25873"/>
                  </a:lnTo>
                  <a:lnTo>
                    <a:pt x="59383" y="25873"/>
                  </a:lnTo>
                  <a:lnTo>
                    <a:pt x="59136" y="25873"/>
                  </a:lnTo>
                  <a:lnTo>
                    <a:pt x="59136" y="26190"/>
                  </a:lnTo>
                  <a:lnTo>
                    <a:pt x="58971" y="26666"/>
                  </a:lnTo>
                  <a:lnTo>
                    <a:pt x="58971" y="26984"/>
                  </a:lnTo>
                  <a:lnTo>
                    <a:pt x="58971" y="27301"/>
                  </a:lnTo>
                  <a:lnTo>
                    <a:pt x="58971" y="27301"/>
                  </a:lnTo>
                  <a:lnTo>
                    <a:pt x="58971" y="27301"/>
                  </a:lnTo>
                  <a:lnTo>
                    <a:pt x="58971" y="27301"/>
                  </a:lnTo>
                  <a:lnTo>
                    <a:pt x="58971" y="27301"/>
                  </a:lnTo>
                  <a:lnTo>
                    <a:pt x="58971" y="27301"/>
                  </a:lnTo>
                  <a:lnTo>
                    <a:pt x="58396" y="27777"/>
                  </a:lnTo>
                  <a:lnTo>
                    <a:pt x="58149" y="27777"/>
                  </a:lnTo>
                  <a:lnTo>
                    <a:pt x="58149" y="28095"/>
                  </a:lnTo>
                  <a:lnTo>
                    <a:pt x="57984" y="28095"/>
                  </a:lnTo>
                  <a:lnTo>
                    <a:pt x="57984" y="28095"/>
                  </a:lnTo>
                  <a:lnTo>
                    <a:pt x="57984" y="27777"/>
                  </a:lnTo>
                  <a:lnTo>
                    <a:pt x="57820" y="27777"/>
                  </a:lnTo>
                  <a:lnTo>
                    <a:pt x="57820" y="27777"/>
                  </a:lnTo>
                  <a:lnTo>
                    <a:pt x="57820" y="27777"/>
                  </a:lnTo>
                  <a:lnTo>
                    <a:pt x="57984" y="27301"/>
                  </a:lnTo>
                  <a:lnTo>
                    <a:pt x="58149" y="26666"/>
                  </a:lnTo>
                  <a:lnTo>
                    <a:pt x="58396" y="26190"/>
                  </a:lnTo>
                  <a:lnTo>
                    <a:pt x="58396" y="25873"/>
                  </a:lnTo>
                  <a:lnTo>
                    <a:pt x="58560" y="25555"/>
                  </a:lnTo>
                  <a:lnTo>
                    <a:pt x="58560" y="25555"/>
                  </a:lnTo>
                  <a:lnTo>
                    <a:pt x="58560" y="25555"/>
                  </a:lnTo>
                  <a:lnTo>
                    <a:pt x="58396" y="25555"/>
                  </a:lnTo>
                  <a:lnTo>
                    <a:pt x="58396" y="25555"/>
                  </a:lnTo>
                  <a:lnTo>
                    <a:pt x="58396" y="25079"/>
                  </a:lnTo>
                  <a:lnTo>
                    <a:pt x="58560" y="25079"/>
                  </a:lnTo>
                  <a:lnTo>
                    <a:pt x="58560" y="25079"/>
                  </a:lnTo>
                  <a:lnTo>
                    <a:pt x="58396" y="25079"/>
                  </a:lnTo>
                  <a:lnTo>
                    <a:pt x="58396" y="25079"/>
                  </a:lnTo>
                  <a:lnTo>
                    <a:pt x="58396" y="24761"/>
                  </a:lnTo>
                  <a:lnTo>
                    <a:pt x="58149" y="24761"/>
                  </a:lnTo>
                  <a:lnTo>
                    <a:pt x="58149" y="24761"/>
                  </a:lnTo>
                  <a:lnTo>
                    <a:pt x="57984" y="24285"/>
                  </a:lnTo>
                  <a:lnTo>
                    <a:pt x="57820" y="24285"/>
                  </a:lnTo>
                  <a:lnTo>
                    <a:pt x="57409" y="24285"/>
                  </a:lnTo>
                  <a:lnTo>
                    <a:pt x="57244" y="24285"/>
                  </a:lnTo>
                  <a:lnTo>
                    <a:pt x="57244" y="24285"/>
                  </a:lnTo>
                  <a:lnTo>
                    <a:pt x="57244" y="24761"/>
                  </a:lnTo>
                  <a:lnTo>
                    <a:pt x="57409" y="24761"/>
                  </a:lnTo>
                  <a:lnTo>
                    <a:pt x="57409" y="24761"/>
                  </a:lnTo>
                  <a:lnTo>
                    <a:pt x="57244" y="25079"/>
                  </a:lnTo>
                  <a:lnTo>
                    <a:pt x="57244" y="25079"/>
                  </a:lnTo>
                  <a:lnTo>
                    <a:pt x="56833" y="25079"/>
                  </a:lnTo>
                  <a:lnTo>
                    <a:pt x="56833" y="25555"/>
                  </a:lnTo>
                  <a:lnTo>
                    <a:pt x="56422" y="25555"/>
                  </a:lnTo>
                  <a:lnTo>
                    <a:pt x="56093" y="25873"/>
                  </a:lnTo>
                  <a:lnTo>
                    <a:pt x="55681" y="25873"/>
                  </a:lnTo>
                  <a:lnTo>
                    <a:pt x="55681" y="25873"/>
                  </a:lnTo>
                  <a:lnTo>
                    <a:pt x="55435" y="25873"/>
                  </a:lnTo>
                  <a:lnTo>
                    <a:pt x="55681" y="25873"/>
                  </a:lnTo>
                  <a:lnTo>
                    <a:pt x="55681" y="25873"/>
                  </a:lnTo>
                  <a:lnTo>
                    <a:pt x="55681" y="25873"/>
                  </a:lnTo>
                  <a:lnTo>
                    <a:pt x="55681" y="25873"/>
                  </a:lnTo>
                  <a:lnTo>
                    <a:pt x="55681" y="25873"/>
                  </a:lnTo>
                  <a:lnTo>
                    <a:pt x="55681" y="25873"/>
                  </a:lnTo>
                  <a:lnTo>
                    <a:pt x="55435" y="25873"/>
                  </a:lnTo>
                  <a:lnTo>
                    <a:pt x="55270" y="25873"/>
                  </a:lnTo>
                  <a:lnTo>
                    <a:pt x="55106" y="26190"/>
                  </a:lnTo>
                  <a:lnTo>
                    <a:pt x="55106" y="26190"/>
                  </a:lnTo>
                  <a:lnTo>
                    <a:pt x="54859" y="25873"/>
                  </a:lnTo>
                  <a:lnTo>
                    <a:pt x="55106" y="25873"/>
                  </a:lnTo>
                  <a:lnTo>
                    <a:pt x="55270" y="25873"/>
                  </a:lnTo>
                  <a:lnTo>
                    <a:pt x="55846" y="25555"/>
                  </a:lnTo>
                  <a:lnTo>
                    <a:pt x="56093" y="25079"/>
                  </a:lnTo>
                  <a:lnTo>
                    <a:pt x="56257" y="25079"/>
                  </a:lnTo>
                  <a:lnTo>
                    <a:pt x="56093" y="24761"/>
                  </a:lnTo>
                  <a:lnTo>
                    <a:pt x="55681" y="24761"/>
                  </a:lnTo>
                  <a:lnTo>
                    <a:pt x="55270" y="24285"/>
                  </a:lnTo>
                  <a:lnTo>
                    <a:pt x="55106" y="24285"/>
                  </a:lnTo>
                  <a:lnTo>
                    <a:pt x="54694" y="24285"/>
                  </a:lnTo>
                  <a:lnTo>
                    <a:pt x="54530" y="24285"/>
                  </a:lnTo>
                  <a:lnTo>
                    <a:pt x="54530" y="24285"/>
                  </a:lnTo>
                  <a:lnTo>
                    <a:pt x="54119" y="24761"/>
                  </a:lnTo>
                  <a:lnTo>
                    <a:pt x="53954" y="24761"/>
                  </a:lnTo>
                  <a:lnTo>
                    <a:pt x="53954" y="25079"/>
                  </a:lnTo>
                  <a:lnTo>
                    <a:pt x="53708" y="25079"/>
                  </a:lnTo>
                  <a:lnTo>
                    <a:pt x="53708" y="25079"/>
                  </a:lnTo>
                  <a:lnTo>
                    <a:pt x="53543" y="25079"/>
                  </a:lnTo>
                  <a:lnTo>
                    <a:pt x="53543" y="25079"/>
                  </a:lnTo>
                  <a:lnTo>
                    <a:pt x="53543" y="25079"/>
                  </a:lnTo>
                  <a:lnTo>
                    <a:pt x="53132" y="25079"/>
                  </a:lnTo>
                  <a:lnTo>
                    <a:pt x="52967" y="25079"/>
                  </a:lnTo>
                  <a:lnTo>
                    <a:pt x="52721" y="25555"/>
                  </a:lnTo>
                  <a:lnTo>
                    <a:pt x="52556" y="25555"/>
                  </a:lnTo>
                  <a:lnTo>
                    <a:pt x="52556" y="25555"/>
                  </a:lnTo>
                  <a:lnTo>
                    <a:pt x="52556" y="25079"/>
                  </a:lnTo>
                  <a:lnTo>
                    <a:pt x="52967" y="25079"/>
                  </a:lnTo>
                  <a:lnTo>
                    <a:pt x="53132" y="24761"/>
                  </a:lnTo>
                  <a:lnTo>
                    <a:pt x="53379" y="24761"/>
                  </a:lnTo>
                  <a:lnTo>
                    <a:pt x="53543" y="24285"/>
                  </a:lnTo>
                  <a:lnTo>
                    <a:pt x="53543" y="24285"/>
                  </a:lnTo>
                  <a:lnTo>
                    <a:pt x="53708" y="24285"/>
                  </a:lnTo>
                  <a:lnTo>
                    <a:pt x="53708" y="23968"/>
                  </a:lnTo>
                  <a:lnTo>
                    <a:pt x="53954" y="23650"/>
                  </a:lnTo>
                  <a:lnTo>
                    <a:pt x="54119" y="23650"/>
                  </a:lnTo>
                  <a:lnTo>
                    <a:pt x="54119" y="23650"/>
                  </a:lnTo>
                  <a:lnTo>
                    <a:pt x="54119" y="23650"/>
                  </a:lnTo>
                  <a:lnTo>
                    <a:pt x="53954" y="23174"/>
                  </a:lnTo>
                  <a:lnTo>
                    <a:pt x="53708" y="23174"/>
                  </a:lnTo>
                  <a:lnTo>
                    <a:pt x="52556" y="23650"/>
                  </a:lnTo>
                  <a:lnTo>
                    <a:pt x="51240" y="23968"/>
                  </a:lnTo>
                  <a:lnTo>
                    <a:pt x="50664" y="24285"/>
                  </a:lnTo>
                  <a:lnTo>
                    <a:pt x="50253" y="24285"/>
                  </a:lnTo>
                  <a:lnTo>
                    <a:pt x="49677" y="24761"/>
                  </a:lnTo>
                  <a:lnTo>
                    <a:pt x="48690" y="25079"/>
                  </a:lnTo>
                  <a:lnTo>
                    <a:pt x="48279" y="25555"/>
                  </a:lnTo>
                  <a:lnTo>
                    <a:pt x="48115" y="25873"/>
                  </a:lnTo>
                  <a:lnTo>
                    <a:pt x="47950" y="25873"/>
                  </a:lnTo>
                  <a:lnTo>
                    <a:pt x="47950" y="25873"/>
                  </a:lnTo>
                  <a:lnTo>
                    <a:pt x="47950" y="25873"/>
                  </a:lnTo>
                  <a:lnTo>
                    <a:pt x="48115" y="26190"/>
                  </a:lnTo>
                  <a:lnTo>
                    <a:pt x="48115" y="26190"/>
                  </a:lnTo>
                  <a:lnTo>
                    <a:pt x="47950" y="26190"/>
                  </a:lnTo>
                  <a:lnTo>
                    <a:pt x="47703" y="26190"/>
                  </a:lnTo>
                  <a:lnTo>
                    <a:pt x="47292" y="26666"/>
                  </a:lnTo>
                  <a:lnTo>
                    <a:pt x="46716" y="26984"/>
                  </a:lnTo>
                  <a:lnTo>
                    <a:pt x="46716" y="26984"/>
                  </a:lnTo>
                  <a:lnTo>
                    <a:pt x="46552" y="27301"/>
                  </a:lnTo>
                  <a:lnTo>
                    <a:pt x="46387" y="27301"/>
                  </a:lnTo>
                  <a:lnTo>
                    <a:pt x="46141" y="27777"/>
                  </a:lnTo>
                  <a:lnTo>
                    <a:pt x="46141" y="27777"/>
                  </a:lnTo>
                  <a:lnTo>
                    <a:pt x="46141" y="27777"/>
                  </a:lnTo>
                  <a:lnTo>
                    <a:pt x="46552" y="28095"/>
                  </a:lnTo>
                  <a:lnTo>
                    <a:pt x="46716" y="28095"/>
                  </a:lnTo>
                  <a:lnTo>
                    <a:pt x="47292" y="27777"/>
                  </a:lnTo>
                  <a:lnTo>
                    <a:pt x="47292" y="27777"/>
                  </a:lnTo>
                  <a:lnTo>
                    <a:pt x="47128" y="28095"/>
                  </a:lnTo>
                  <a:lnTo>
                    <a:pt x="46716" y="28095"/>
                  </a:lnTo>
                  <a:lnTo>
                    <a:pt x="46552" y="28412"/>
                  </a:lnTo>
                  <a:lnTo>
                    <a:pt x="46552" y="28412"/>
                  </a:lnTo>
                  <a:lnTo>
                    <a:pt x="46552" y="28412"/>
                  </a:lnTo>
                  <a:lnTo>
                    <a:pt x="46716" y="28412"/>
                  </a:lnTo>
                  <a:lnTo>
                    <a:pt x="46963" y="28412"/>
                  </a:lnTo>
                  <a:lnTo>
                    <a:pt x="47539" y="28412"/>
                  </a:lnTo>
                  <a:lnTo>
                    <a:pt x="48115" y="28412"/>
                  </a:lnTo>
                  <a:lnTo>
                    <a:pt x="49431" y="28095"/>
                  </a:lnTo>
                  <a:lnTo>
                    <a:pt x="49842" y="28412"/>
                  </a:lnTo>
                  <a:lnTo>
                    <a:pt x="49842" y="28412"/>
                  </a:lnTo>
                  <a:lnTo>
                    <a:pt x="49677" y="28412"/>
                  </a:lnTo>
                  <a:lnTo>
                    <a:pt x="49431" y="28412"/>
                  </a:lnTo>
                  <a:lnTo>
                    <a:pt x="49266" y="28412"/>
                  </a:lnTo>
                  <a:lnTo>
                    <a:pt x="49102" y="28412"/>
                  </a:lnTo>
                  <a:lnTo>
                    <a:pt x="48855" y="28412"/>
                  </a:lnTo>
                  <a:lnTo>
                    <a:pt x="48855" y="28412"/>
                  </a:lnTo>
                  <a:lnTo>
                    <a:pt x="48855" y="28412"/>
                  </a:lnTo>
                  <a:lnTo>
                    <a:pt x="48855" y="28412"/>
                  </a:lnTo>
                  <a:lnTo>
                    <a:pt x="48690" y="28888"/>
                  </a:lnTo>
                  <a:lnTo>
                    <a:pt x="48526" y="28888"/>
                  </a:lnTo>
                  <a:lnTo>
                    <a:pt x="48279" y="28888"/>
                  </a:lnTo>
                  <a:lnTo>
                    <a:pt x="47703" y="28888"/>
                  </a:lnTo>
                  <a:lnTo>
                    <a:pt x="47128" y="29206"/>
                  </a:lnTo>
                  <a:lnTo>
                    <a:pt x="46552" y="29206"/>
                  </a:lnTo>
                  <a:lnTo>
                    <a:pt x="46387" y="29206"/>
                  </a:lnTo>
                  <a:lnTo>
                    <a:pt x="45812" y="29682"/>
                  </a:lnTo>
                  <a:lnTo>
                    <a:pt x="45565" y="29682"/>
                  </a:lnTo>
                  <a:lnTo>
                    <a:pt x="45565" y="30000"/>
                  </a:lnTo>
                  <a:lnTo>
                    <a:pt x="45565" y="30000"/>
                  </a:lnTo>
                  <a:lnTo>
                    <a:pt x="45812" y="30793"/>
                  </a:lnTo>
                  <a:lnTo>
                    <a:pt x="46387" y="30793"/>
                  </a:lnTo>
                  <a:lnTo>
                    <a:pt x="47128" y="30793"/>
                  </a:lnTo>
                  <a:lnTo>
                    <a:pt x="47292" y="30793"/>
                  </a:lnTo>
                  <a:lnTo>
                    <a:pt x="47292" y="30793"/>
                  </a:lnTo>
                  <a:lnTo>
                    <a:pt x="47539" y="30793"/>
                  </a:lnTo>
                  <a:lnTo>
                    <a:pt x="48279" y="30793"/>
                  </a:lnTo>
                  <a:lnTo>
                    <a:pt x="48855" y="30793"/>
                  </a:lnTo>
                  <a:lnTo>
                    <a:pt x="49102" y="30793"/>
                  </a:lnTo>
                  <a:lnTo>
                    <a:pt x="49431" y="30793"/>
                  </a:lnTo>
                  <a:lnTo>
                    <a:pt x="49431" y="30793"/>
                  </a:lnTo>
                  <a:lnTo>
                    <a:pt x="49842" y="30793"/>
                  </a:lnTo>
                  <a:lnTo>
                    <a:pt x="50006" y="30793"/>
                  </a:lnTo>
                  <a:lnTo>
                    <a:pt x="50418" y="30793"/>
                  </a:lnTo>
                  <a:lnTo>
                    <a:pt x="50664" y="30793"/>
                  </a:lnTo>
                  <a:lnTo>
                    <a:pt x="51405" y="31111"/>
                  </a:lnTo>
                  <a:lnTo>
                    <a:pt x="51816" y="31428"/>
                  </a:lnTo>
                  <a:lnTo>
                    <a:pt x="51816" y="31428"/>
                  </a:lnTo>
                  <a:lnTo>
                    <a:pt x="51569" y="31904"/>
                  </a:lnTo>
                  <a:lnTo>
                    <a:pt x="51569" y="31904"/>
                  </a:lnTo>
                  <a:lnTo>
                    <a:pt x="51240" y="31904"/>
                  </a:lnTo>
                  <a:lnTo>
                    <a:pt x="50993" y="31904"/>
                  </a:lnTo>
                  <a:lnTo>
                    <a:pt x="50664" y="31904"/>
                  </a:lnTo>
                  <a:lnTo>
                    <a:pt x="50664" y="31904"/>
                  </a:lnTo>
                  <a:lnTo>
                    <a:pt x="50006" y="31904"/>
                  </a:lnTo>
                  <a:lnTo>
                    <a:pt x="49431" y="31904"/>
                  </a:lnTo>
                  <a:lnTo>
                    <a:pt x="49266" y="31904"/>
                  </a:lnTo>
                  <a:lnTo>
                    <a:pt x="49102" y="31428"/>
                  </a:lnTo>
                  <a:lnTo>
                    <a:pt x="48526" y="31428"/>
                  </a:lnTo>
                  <a:lnTo>
                    <a:pt x="47539" y="31904"/>
                  </a:lnTo>
                  <a:lnTo>
                    <a:pt x="46141" y="31904"/>
                  </a:lnTo>
                  <a:lnTo>
                    <a:pt x="45400" y="32222"/>
                  </a:lnTo>
                  <a:lnTo>
                    <a:pt x="45400" y="32222"/>
                  </a:lnTo>
                  <a:lnTo>
                    <a:pt x="45236" y="32222"/>
                  </a:lnTo>
                  <a:lnTo>
                    <a:pt x="45236" y="32539"/>
                  </a:lnTo>
                  <a:lnTo>
                    <a:pt x="44989" y="33015"/>
                  </a:lnTo>
                  <a:lnTo>
                    <a:pt x="44989" y="33015"/>
                  </a:lnTo>
                  <a:lnTo>
                    <a:pt x="44989" y="33015"/>
                  </a:lnTo>
                  <a:lnTo>
                    <a:pt x="44989" y="33333"/>
                  </a:lnTo>
                  <a:lnTo>
                    <a:pt x="44989" y="33809"/>
                  </a:lnTo>
                  <a:lnTo>
                    <a:pt x="44989" y="33809"/>
                  </a:lnTo>
                  <a:lnTo>
                    <a:pt x="44989" y="34126"/>
                  </a:lnTo>
                  <a:lnTo>
                    <a:pt x="44989" y="34126"/>
                  </a:lnTo>
                  <a:lnTo>
                    <a:pt x="44989" y="34126"/>
                  </a:lnTo>
                  <a:lnTo>
                    <a:pt x="45400" y="34444"/>
                  </a:lnTo>
                  <a:lnTo>
                    <a:pt x="45565" y="34444"/>
                  </a:lnTo>
                  <a:lnTo>
                    <a:pt x="45812" y="34444"/>
                  </a:lnTo>
                  <a:lnTo>
                    <a:pt x="46141" y="34444"/>
                  </a:lnTo>
                  <a:lnTo>
                    <a:pt x="46716" y="34444"/>
                  </a:lnTo>
                  <a:lnTo>
                    <a:pt x="47128" y="34444"/>
                  </a:lnTo>
                  <a:lnTo>
                    <a:pt x="47292" y="34444"/>
                  </a:lnTo>
                  <a:lnTo>
                    <a:pt x="47703" y="34920"/>
                  </a:lnTo>
                  <a:lnTo>
                    <a:pt x="47703" y="34920"/>
                  </a:lnTo>
                  <a:lnTo>
                    <a:pt x="47539" y="35238"/>
                  </a:lnTo>
                  <a:lnTo>
                    <a:pt x="47539" y="35238"/>
                  </a:lnTo>
                  <a:lnTo>
                    <a:pt x="47292" y="35555"/>
                  </a:lnTo>
                  <a:lnTo>
                    <a:pt x="47128" y="36031"/>
                  </a:lnTo>
                  <a:lnTo>
                    <a:pt x="47128" y="36349"/>
                  </a:lnTo>
                  <a:lnTo>
                    <a:pt x="47128" y="36666"/>
                  </a:lnTo>
                  <a:lnTo>
                    <a:pt x="47292" y="36666"/>
                  </a:lnTo>
                  <a:lnTo>
                    <a:pt x="47292" y="36666"/>
                  </a:lnTo>
                  <a:lnTo>
                    <a:pt x="47539" y="36666"/>
                  </a:lnTo>
                  <a:lnTo>
                    <a:pt x="47703" y="36666"/>
                  </a:lnTo>
                  <a:lnTo>
                    <a:pt x="48279" y="36666"/>
                  </a:lnTo>
                  <a:lnTo>
                    <a:pt x="49102" y="36666"/>
                  </a:lnTo>
                  <a:lnTo>
                    <a:pt x="49266" y="36666"/>
                  </a:lnTo>
                  <a:lnTo>
                    <a:pt x="49677" y="36349"/>
                  </a:lnTo>
                  <a:lnTo>
                    <a:pt x="49842" y="36349"/>
                  </a:lnTo>
                  <a:lnTo>
                    <a:pt x="49842" y="36349"/>
                  </a:lnTo>
                  <a:lnTo>
                    <a:pt x="50418" y="36349"/>
                  </a:lnTo>
                  <a:lnTo>
                    <a:pt x="50993" y="36349"/>
                  </a:lnTo>
                  <a:lnTo>
                    <a:pt x="51569" y="36349"/>
                  </a:lnTo>
                  <a:lnTo>
                    <a:pt x="52392" y="36031"/>
                  </a:lnTo>
                  <a:lnTo>
                    <a:pt x="52721" y="35555"/>
                  </a:lnTo>
                  <a:lnTo>
                    <a:pt x="52967" y="35555"/>
                  </a:lnTo>
                  <a:lnTo>
                    <a:pt x="53379" y="35555"/>
                  </a:lnTo>
                  <a:lnTo>
                    <a:pt x="53954" y="35555"/>
                  </a:lnTo>
                  <a:lnTo>
                    <a:pt x="54283" y="35238"/>
                  </a:lnTo>
                  <a:lnTo>
                    <a:pt x="54530" y="35238"/>
                  </a:lnTo>
                  <a:lnTo>
                    <a:pt x="54859" y="34920"/>
                  </a:lnTo>
                  <a:lnTo>
                    <a:pt x="55106" y="34920"/>
                  </a:lnTo>
                  <a:lnTo>
                    <a:pt x="55435" y="34444"/>
                  </a:lnTo>
                  <a:lnTo>
                    <a:pt x="55681" y="34126"/>
                  </a:lnTo>
                  <a:lnTo>
                    <a:pt x="55846" y="34126"/>
                  </a:lnTo>
                  <a:lnTo>
                    <a:pt x="56093" y="34126"/>
                  </a:lnTo>
                  <a:lnTo>
                    <a:pt x="56093" y="34126"/>
                  </a:lnTo>
                  <a:lnTo>
                    <a:pt x="56257" y="34126"/>
                  </a:lnTo>
                  <a:lnTo>
                    <a:pt x="56093" y="34444"/>
                  </a:lnTo>
                  <a:lnTo>
                    <a:pt x="56093" y="34444"/>
                  </a:lnTo>
                  <a:lnTo>
                    <a:pt x="56093" y="34444"/>
                  </a:lnTo>
                  <a:lnTo>
                    <a:pt x="55846" y="34444"/>
                  </a:lnTo>
                  <a:lnTo>
                    <a:pt x="56093" y="34920"/>
                  </a:lnTo>
                  <a:lnTo>
                    <a:pt x="56093" y="34920"/>
                  </a:lnTo>
                  <a:lnTo>
                    <a:pt x="56257" y="34920"/>
                  </a:lnTo>
                  <a:lnTo>
                    <a:pt x="56422" y="34920"/>
                  </a:lnTo>
                  <a:lnTo>
                    <a:pt x="56668" y="34920"/>
                  </a:lnTo>
                  <a:lnTo>
                    <a:pt x="56997" y="34920"/>
                  </a:lnTo>
                  <a:lnTo>
                    <a:pt x="57244" y="35238"/>
                  </a:lnTo>
                  <a:lnTo>
                    <a:pt x="57244" y="35238"/>
                  </a:lnTo>
                  <a:lnTo>
                    <a:pt x="57244" y="35238"/>
                  </a:lnTo>
                  <a:lnTo>
                    <a:pt x="56833" y="35238"/>
                  </a:lnTo>
                  <a:lnTo>
                    <a:pt x="56833" y="35555"/>
                  </a:lnTo>
                  <a:lnTo>
                    <a:pt x="56833" y="35555"/>
                  </a:lnTo>
                  <a:lnTo>
                    <a:pt x="57409" y="35555"/>
                  </a:lnTo>
                  <a:lnTo>
                    <a:pt x="57573" y="35555"/>
                  </a:lnTo>
                  <a:lnTo>
                    <a:pt x="57820" y="35555"/>
                  </a:lnTo>
                  <a:lnTo>
                    <a:pt x="57984" y="35555"/>
                  </a:lnTo>
                  <a:lnTo>
                    <a:pt x="58149" y="35555"/>
                  </a:lnTo>
                  <a:lnTo>
                    <a:pt x="58560" y="36031"/>
                  </a:lnTo>
                  <a:lnTo>
                    <a:pt x="58971" y="35555"/>
                  </a:lnTo>
                  <a:lnTo>
                    <a:pt x="59136" y="36031"/>
                  </a:lnTo>
                  <a:lnTo>
                    <a:pt x="59383" y="35555"/>
                  </a:lnTo>
                  <a:lnTo>
                    <a:pt x="59383" y="35555"/>
                  </a:lnTo>
                  <a:lnTo>
                    <a:pt x="59712" y="35555"/>
                  </a:lnTo>
                  <a:lnTo>
                    <a:pt x="59958" y="35555"/>
                  </a:lnTo>
                  <a:lnTo>
                    <a:pt x="60534" y="35238"/>
                  </a:lnTo>
                  <a:lnTo>
                    <a:pt x="60699" y="35238"/>
                  </a:lnTo>
                  <a:lnTo>
                    <a:pt x="60863" y="34920"/>
                  </a:lnTo>
                  <a:lnTo>
                    <a:pt x="60863" y="34920"/>
                  </a:lnTo>
                  <a:lnTo>
                    <a:pt x="60863" y="34920"/>
                  </a:lnTo>
                  <a:lnTo>
                    <a:pt x="60863" y="34444"/>
                  </a:lnTo>
                  <a:lnTo>
                    <a:pt x="60863" y="34444"/>
                  </a:lnTo>
                  <a:lnTo>
                    <a:pt x="60699" y="34444"/>
                  </a:lnTo>
                  <a:lnTo>
                    <a:pt x="60699" y="34444"/>
                  </a:lnTo>
                  <a:lnTo>
                    <a:pt x="60699" y="34444"/>
                  </a:lnTo>
                  <a:lnTo>
                    <a:pt x="60699" y="34444"/>
                  </a:lnTo>
                  <a:lnTo>
                    <a:pt x="60863" y="34444"/>
                  </a:lnTo>
                  <a:lnTo>
                    <a:pt x="60863" y="34126"/>
                  </a:lnTo>
                  <a:lnTo>
                    <a:pt x="61110" y="34126"/>
                  </a:lnTo>
                  <a:lnTo>
                    <a:pt x="61110" y="34126"/>
                  </a:lnTo>
                  <a:lnTo>
                    <a:pt x="61110" y="34126"/>
                  </a:lnTo>
                  <a:lnTo>
                    <a:pt x="60863" y="34126"/>
                  </a:lnTo>
                  <a:lnTo>
                    <a:pt x="60699" y="34126"/>
                  </a:lnTo>
                  <a:lnTo>
                    <a:pt x="60534" y="34126"/>
                  </a:lnTo>
                  <a:lnTo>
                    <a:pt x="60123" y="34126"/>
                  </a:lnTo>
                  <a:lnTo>
                    <a:pt x="59958" y="34444"/>
                  </a:lnTo>
                  <a:lnTo>
                    <a:pt x="59547" y="34920"/>
                  </a:lnTo>
                  <a:lnTo>
                    <a:pt x="59547" y="34920"/>
                  </a:lnTo>
                  <a:lnTo>
                    <a:pt x="59547" y="34444"/>
                  </a:lnTo>
                  <a:lnTo>
                    <a:pt x="59712" y="34126"/>
                  </a:lnTo>
                  <a:lnTo>
                    <a:pt x="59958" y="34126"/>
                  </a:lnTo>
                  <a:lnTo>
                    <a:pt x="59958" y="34126"/>
                  </a:lnTo>
                  <a:lnTo>
                    <a:pt x="59958" y="34126"/>
                  </a:lnTo>
                  <a:lnTo>
                    <a:pt x="59958" y="34126"/>
                  </a:lnTo>
                  <a:lnTo>
                    <a:pt x="59958" y="33809"/>
                  </a:lnTo>
                  <a:lnTo>
                    <a:pt x="59712" y="33809"/>
                  </a:lnTo>
                  <a:lnTo>
                    <a:pt x="59712" y="33809"/>
                  </a:lnTo>
                  <a:lnTo>
                    <a:pt x="59712" y="33333"/>
                  </a:lnTo>
                  <a:lnTo>
                    <a:pt x="59712" y="33333"/>
                  </a:lnTo>
                  <a:lnTo>
                    <a:pt x="59958" y="33333"/>
                  </a:lnTo>
                  <a:lnTo>
                    <a:pt x="59958" y="33333"/>
                  </a:lnTo>
                  <a:lnTo>
                    <a:pt x="60123" y="33809"/>
                  </a:lnTo>
                  <a:lnTo>
                    <a:pt x="60287" y="33809"/>
                  </a:lnTo>
                  <a:lnTo>
                    <a:pt x="60287" y="33809"/>
                  </a:lnTo>
                  <a:lnTo>
                    <a:pt x="60534" y="33809"/>
                  </a:lnTo>
                  <a:lnTo>
                    <a:pt x="60699" y="33809"/>
                  </a:lnTo>
                  <a:lnTo>
                    <a:pt x="60699" y="33809"/>
                  </a:lnTo>
                  <a:lnTo>
                    <a:pt x="60699" y="33809"/>
                  </a:lnTo>
                  <a:lnTo>
                    <a:pt x="60699" y="33333"/>
                  </a:lnTo>
                  <a:lnTo>
                    <a:pt x="60863" y="33333"/>
                  </a:lnTo>
                  <a:lnTo>
                    <a:pt x="60863" y="33333"/>
                  </a:lnTo>
                  <a:lnTo>
                    <a:pt x="60863" y="33015"/>
                  </a:lnTo>
                  <a:lnTo>
                    <a:pt x="61274" y="33015"/>
                  </a:lnTo>
                  <a:lnTo>
                    <a:pt x="61521" y="33015"/>
                  </a:lnTo>
                  <a:lnTo>
                    <a:pt x="61521" y="33015"/>
                  </a:lnTo>
                  <a:lnTo>
                    <a:pt x="61521" y="33015"/>
                  </a:lnTo>
                  <a:lnTo>
                    <a:pt x="61686" y="33333"/>
                  </a:lnTo>
                  <a:lnTo>
                    <a:pt x="61686" y="33333"/>
                  </a:lnTo>
                  <a:lnTo>
                    <a:pt x="61850" y="33333"/>
                  </a:lnTo>
                  <a:lnTo>
                    <a:pt x="61850" y="33333"/>
                  </a:lnTo>
                  <a:lnTo>
                    <a:pt x="62097" y="33333"/>
                  </a:lnTo>
                  <a:lnTo>
                    <a:pt x="62261" y="33015"/>
                  </a:lnTo>
                  <a:lnTo>
                    <a:pt x="62261" y="33015"/>
                  </a:lnTo>
                  <a:lnTo>
                    <a:pt x="62261" y="33015"/>
                  </a:lnTo>
                  <a:lnTo>
                    <a:pt x="62261" y="33333"/>
                  </a:lnTo>
                  <a:lnTo>
                    <a:pt x="62261" y="33333"/>
                  </a:lnTo>
                  <a:lnTo>
                    <a:pt x="62261" y="33333"/>
                  </a:lnTo>
                  <a:lnTo>
                    <a:pt x="62426" y="33333"/>
                  </a:lnTo>
                  <a:lnTo>
                    <a:pt x="62426" y="33333"/>
                  </a:lnTo>
                  <a:lnTo>
                    <a:pt x="62673" y="33333"/>
                  </a:lnTo>
                  <a:lnTo>
                    <a:pt x="62837" y="33015"/>
                  </a:lnTo>
                  <a:lnTo>
                    <a:pt x="62837" y="33015"/>
                  </a:lnTo>
                  <a:close/>
                  <a:moveTo>
                    <a:pt x="68101" y="34126"/>
                  </a:moveTo>
                  <a:lnTo>
                    <a:pt x="68101" y="34126"/>
                  </a:lnTo>
                  <a:lnTo>
                    <a:pt x="68101" y="34126"/>
                  </a:lnTo>
                  <a:lnTo>
                    <a:pt x="67854" y="34444"/>
                  </a:lnTo>
                  <a:lnTo>
                    <a:pt x="67854" y="34444"/>
                  </a:lnTo>
                  <a:lnTo>
                    <a:pt x="68101" y="34444"/>
                  </a:lnTo>
                  <a:lnTo>
                    <a:pt x="68101" y="34444"/>
                  </a:lnTo>
                  <a:lnTo>
                    <a:pt x="68265" y="34126"/>
                  </a:lnTo>
                  <a:lnTo>
                    <a:pt x="68265" y="34126"/>
                  </a:lnTo>
                  <a:lnTo>
                    <a:pt x="68430" y="34126"/>
                  </a:lnTo>
                  <a:lnTo>
                    <a:pt x="68430" y="33809"/>
                  </a:lnTo>
                  <a:lnTo>
                    <a:pt x="68430" y="33809"/>
                  </a:lnTo>
                  <a:lnTo>
                    <a:pt x="68430" y="33809"/>
                  </a:lnTo>
                  <a:lnTo>
                    <a:pt x="68265" y="33333"/>
                  </a:lnTo>
                  <a:lnTo>
                    <a:pt x="68265" y="33333"/>
                  </a:lnTo>
                  <a:lnTo>
                    <a:pt x="68101" y="33809"/>
                  </a:lnTo>
                  <a:lnTo>
                    <a:pt x="67854" y="33809"/>
                  </a:lnTo>
                  <a:lnTo>
                    <a:pt x="67854" y="33809"/>
                  </a:lnTo>
                  <a:lnTo>
                    <a:pt x="67690" y="34126"/>
                  </a:lnTo>
                  <a:lnTo>
                    <a:pt x="67690" y="34126"/>
                  </a:lnTo>
                  <a:lnTo>
                    <a:pt x="67690" y="34126"/>
                  </a:lnTo>
                  <a:lnTo>
                    <a:pt x="67690" y="34126"/>
                  </a:lnTo>
                  <a:lnTo>
                    <a:pt x="67690" y="34444"/>
                  </a:lnTo>
                  <a:lnTo>
                    <a:pt x="67854" y="34126"/>
                  </a:lnTo>
                  <a:lnTo>
                    <a:pt x="67854" y="34126"/>
                  </a:lnTo>
                  <a:lnTo>
                    <a:pt x="68101" y="33809"/>
                  </a:lnTo>
                  <a:lnTo>
                    <a:pt x="68101" y="33809"/>
                  </a:lnTo>
                  <a:lnTo>
                    <a:pt x="68101" y="33809"/>
                  </a:lnTo>
                  <a:lnTo>
                    <a:pt x="68101" y="33809"/>
                  </a:lnTo>
                  <a:lnTo>
                    <a:pt x="68265" y="33809"/>
                  </a:lnTo>
                  <a:lnTo>
                    <a:pt x="68101" y="33809"/>
                  </a:lnTo>
                  <a:lnTo>
                    <a:pt x="68101" y="34126"/>
                  </a:lnTo>
                  <a:close/>
                  <a:moveTo>
                    <a:pt x="62673" y="34920"/>
                  </a:moveTo>
                  <a:lnTo>
                    <a:pt x="62426" y="35238"/>
                  </a:lnTo>
                  <a:lnTo>
                    <a:pt x="62426" y="35238"/>
                  </a:lnTo>
                  <a:lnTo>
                    <a:pt x="62426" y="35238"/>
                  </a:lnTo>
                  <a:lnTo>
                    <a:pt x="62426" y="35238"/>
                  </a:lnTo>
                  <a:lnTo>
                    <a:pt x="62426" y="35238"/>
                  </a:lnTo>
                  <a:lnTo>
                    <a:pt x="62673" y="35555"/>
                  </a:lnTo>
                  <a:lnTo>
                    <a:pt x="62673" y="35238"/>
                  </a:lnTo>
                  <a:lnTo>
                    <a:pt x="62673" y="35238"/>
                  </a:lnTo>
                  <a:lnTo>
                    <a:pt x="62673" y="35238"/>
                  </a:lnTo>
                  <a:lnTo>
                    <a:pt x="62673" y="34920"/>
                  </a:lnTo>
                  <a:lnTo>
                    <a:pt x="62673" y="34920"/>
                  </a:lnTo>
                  <a:lnTo>
                    <a:pt x="62673" y="34920"/>
                  </a:lnTo>
                  <a:close/>
                  <a:moveTo>
                    <a:pt x="61850" y="36031"/>
                  </a:moveTo>
                  <a:lnTo>
                    <a:pt x="61850" y="36031"/>
                  </a:lnTo>
                  <a:lnTo>
                    <a:pt x="62097" y="36031"/>
                  </a:lnTo>
                  <a:lnTo>
                    <a:pt x="62097" y="36031"/>
                  </a:lnTo>
                  <a:lnTo>
                    <a:pt x="62097" y="36031"/>
                  </a:lnTo>
                  <a:lnTo>
                    <a:pt x="62261" y="35555"/>
                  </a:lnTo>
                  <a:lnTo>
                    <a:pt x="62261" y="35555"/>
                  </a:lnTo>
                  <a:lnTo>
                    <a:pt x="62261" y="35555"/>
                  </a:lnTo>
                  <a:lnTo>
                    <a:pt x="62261" y="35238"/>
                  </a:lnTo>
                  <a:lnTo>
                    <a:pt x="62261" y="35238"/>
                  </a:lnTo>
                  <a:lnTo>
                    <a:pt x="62097" y="35238"/>
                  </a:lnTo>
                  <a:lnTo>
                    <a:pt x="62097" y="35238"/>
                  </a:lnTo>
                  <a:lnTo>
                    <a:pt x="62097" y="35238"/>
                  </a:lnTo>
                  <a:lnTo>
                    <a:pt x="61850" y="35238"/>
                  </a:lnTo>
                  <a:lnTo>
                    <a:pt x="61850" y="35238"/>
                  </a:lnTo>
                  <a:lnTo>
                    <a:pt x="61850" y="35555"/>
                  </a:lnTo>
                  <a:lnTo>
                    <a:pt x="61686" y="35555"/>
                  </a:lnTo>
                  <a:lnTo>
                    <a:pt x="61686" y="36031"/>
                  </a:lnTo>
                  <a:lnTo>
                    <a:pt x="61686" y="36031"/>
                  </a:lnTo>
                  <a:lnTo>
                    <a:pt x="61686" y="36031"/>
                  </a:lnTo>
                  <a:lnTo>
                    <a:pt x="61686" y="36031"/>
                  </a:lnTo>
                  <a:lnTo>
                    <a:pt x="61850" y="36031"/>
                  </a:lnTo>
                  <a:lnTo>
                    <a:pt x="61850" y="36031"/>
                  </a:lnTo>
                  <a:lnTo>
                    <a:pt x="61850" y="36031"/>
                  </a:lnTo>
                  <a:lnTo>
                    <a:pt x="61850" y="36031"/>
                  </a:lnTo>
                  <a:lnTo>
                    <a:pt x="61850" y="36031"/>
                  </a:lnTo>
                  <a:close/>
                  <a:moveTo>
                    <a:pt x="59958" y="36031"/>
                  </a:moveTo>
                  <a:lnTo>
                    <a:pt x="59958" y="36031"/>
                  </a:lnTo>
                  <a:lnTo>
                    <a:pt x="59712" y="36031"/>
                  </a:lnTo>
                  <a:lnTo>
                    <a:pt x="59547" y="36349"/>
                  </a:lnTo>
                  <a:lnTo>
                    <a:pt x="59712" y="36349"/>
                  </a:lnTo>
                  <a:lnTo>
                    <a:pt x="59958" y="36349"/>
                  </a:lnTo>
                  <a:lnTo>
                    <a:pt x="59958" y="36349"/>
                  </a:lnTo>
                  <a:lnTo>
                    <a:pt x="59958" y="36349"/>
                  </a:lnTo>
                  <a:lnTo>
                    <a:pt x="60123" y="36349"/>
                  </a:lnTo>
                  <a:lnTo>
                    <a:pt x="60287" y="36349"/>
                  </a:lnTo>
                  <a:lnTo>
                    <a:pt x="60287" y="36031"/>
                  </a:lnTo>
                  <a:lnTo>
                    <a:pt x="60287" y="36031"/>
                  </a:lnTo>
                  <a:lnTo>
                    <a:pt x="60287" y="36031"/>
                  </a:lnTo>
                  <a:lnTo>
                    <a:pt x="60287" y="36031"/>
                  </a:lnTo>
                  <a:lnTo>
                    <a:pt x="60123" y="35555"/>
                  </a:lnTo>
                  <a:lnTo>
                    <a:pt x="59958" y="36031"/>
                  </a:lnTo>
                  <a:close/>
                  <a:moveTo>
                    <a:pt x="61850" y="34126"/>
                  </a:moveTo>
                  <a:lnTo>
                    <a:pt x="61850" y="34126"/>
                  </a:lnTo>
                  <a:lnTo>
                    <a:pt x="61850" y="34126"/>
                  </a:lnTo>
                  <a:lnTo>
                    <a:pt x="62097" y="34126"/>
                  </a:lnTo>
                  <a:lnTo>
                    <a:pt x="62097" y="34126"/>
                  </a:lnTo>
                  <a:lnTo>
                    <a:pt x="62097" y="34126"/>
                  </a:lnTo>
                  <a:lnTo>
                    <a:pt x="62261" y="34126"/>
                  </a:lnTo>
                  <a:lnTo>
                    <a:pt x="62261" y="33809"/>
                  </a:lnTo>
                  <a:lnTo>
                    <a:pt x="62261" y="33809"/>
                  </a:lnTo>
                  <a:lnTo>
                    <a:pt x="62097" y="33809"/>
                  </a:lnTo>
                  <a:lnTo>
                    <a:pt x="62097" y="33809"/>
                  </a:lnTo>
                  <a:lnTo>
                    <a:pt x="61850" y="33809"/>
                  </a:lnTo>
                  <a:lnTo>
                    <a:pt x="61850" y="33809"/>
                  </a:lnTo>
                  <a:lnTo>
                    <a:pt x="61850" y="33809"/>
                  </a:lnTo>
                  <a:lnTo>
                    <a:pt x="62097" y="33809"/>
                  </a:lnTo>
                  <a:lnTo>
                    <a:pt x="62097" y="34126"/>
                  </a:lnTo>
                  <a:lnTo>
                    <a:pt x="62097" y="34126"/>
                  </a:lnTo>
                  <a:lnTo>
                    <a:pt x="61850" y="34126"/>
                  </a:lnTo>
                  <a:lnTo>
                    <a:pt x="61850" y="34126"/>
                  </a:lnTo>
                  <a:lnTo>
                    <a:pt x="61850" y="34126"/>
                  </a:lnTo>
                  <a:lnTo>
                    <a:pt x="61850" y="34126"/>
                  </a:lnTo>
                  <a:close/>
                  <a:moveTo>
                    <a:pt x="56668" y="36349"/>
                  </a:moveTo>
                  <a:lnTo>
                    <a:pt x="56422" y="36349"/>
                  </a:lnTo>
                  <a:lnTo>
                    <a:pt x="56422" y="36666"/>
                  </a:lnTo>
                  <a:lnTo>
                    <a:pt x="56422" y="36666"/>
                  </a:lnTo>
                  <a:lnTo>
                    <a:pt x="56422" y="36666"/>
                  </a:lnTo>
                  <a:lnTo>
                    <a:pt x="56422" y="36666"/>
                  </a:lnTo>
                  <a:lnTo>
                    <a:pt x="56668" y="37142"/>
                  </a:lnTo>
                  <a:lnTo>
                    <a:pt x="56668" y="37142"/>
                  </a:lnTo>
                  <a:lnTo>
                    <a:pt x="56833" y="37142"/>
                  </a:lnTo>
                  <a:lnTo>
                    <a:pt x="56833" y="36666"/>
                  </a:lnTo>
                  <a:lnTo>
                    <a:pt x="56833" y="36666"/>
                  </a:lnTo>
                  <a:lnTo>
                    <a:pt x="56997" y="36666"/>
                  </a:lnTo>
                  <a:lnTo>
                    <a:pt x="56997" y="36666"/>
                  </a:lnTo>
                  <a:lnTo>
                    <a:pt x="56833" y="36349"/>
                  </a:lnTo>
                  <a:lnTo>
                    <a:pt x="56833" y="36349"/>
                  </a:lnTo>
                  <a:lnTo>
                    <a:pt x="56668" y="36349"/>
                  </a:lnTo>
                  <a:close/>
                  <a:moveTo>
                    <a:pt x="71144" y="16825"/>
                  </a:moveTo>
                  <a:lnTo>
                    <a:pt x="70815" y="16825"/>
                  </a:lnTo>
                  <a:lnTo>
                    <a:pt x="70815" y="16825"/>
                  </a:lnTo>
                  <a:lnTo>
                    <a:pt x="70568" y="17142"/>
                  </a:lnTo>
                  <a:lnTo>
                    <a:pt x="69993" y="17142"/>
                  </a:lnTo>
                  <a:lnTo>
                    <a:pt x="69993" y="17142"/>
                  </a:lnTo>
                  <a:lnTo>
                    <a:pt x="69993" y="17619"/>
                  </a:lnTo>
                  <a:lnTo>
                    <a:pt x="69993" y="17619"/>
                  </a:lnTo>
                  <a:lnTo>
                    <a:pt x="69993" y="17619"/>
                  </a:lnTo>
                  <a:lnTo>
                    <a:pt x="71391" y="17142"/>
                  </a:lnTo>
                  <a:lnTo>
                    <a:pt x="71555" y="17619"/>
                  </a:lnTo>
                  <a:lnTo>
                    <a:pt x="71967" y="17142"/>
                  </a:lnTo>
                  <a:lnTo>
                    <a:pt x="73118" y="17142"/>
                  </a:lnTo>
                  <a:lnTo>
                    <a:pt x="73858" y="17142"/>
                  </a:lnTo>
                  <a:lnTo>
                    <a:pt x="73694" y="17142"/>
                  </a:lnTo>
                  <a:lnTo>
                    <a:pt x="73283" y="17142"/>
                  </a:lnTo>
                  <a:lnTo>
                    <a:pt x="73118" y="17142"/>
                  </a:lnTo>
                  <a:lnTo>
                    <a:pt x="73118" y="17142"/>
                  </a:lnTo>
                  <a:lnTo>
                    <a:pt x="72707" y="17619"/>
                  </a:lnTo>
                  <a:lnTo>
                    <a:pt x="72378" y="17619"/>
                  </a:lnTo>
                  <a:lnTo>
                    <a:pt x="71720" y="17936"/>
                  </a:lnTo>
                  <a:lnTo>
                    <a:pt x="71720" y="17936"/>
                  </a:lnTo>
                  <a:lnTo>
                    <a:pt x="71555" y="17936"/>
                  </a:lnTo>
                  <a:lnTo>
                    <a:pt x="71720" y="17936"/>
                  </a:lnTo>
                  <a:lnTo>
                    <a:pt x="71967" y="18412"/>
                  </a:lnTo>
                  <a:lnTo>
                    <a:pt x="72131" y="18412"/>
                  </a:lnTo>
                  <a:lnTo>
                    <a:pt x="71967" y="18412"/>
                  </a:lnTo>
                  <a:lnTo>
                    <a:pt x="71720" y="18412"/>
                  </a:lnTo>
                  <a:lnTo>
                    <a:pt x="71555" y="18412"/>
                  </a:lnTo>
                  <a:lnTo>
                    <a:pt x="71555" y="18730"/>
                  </a:lnTo>
                  <a:lnTo>
                    <a:pt x="71555" y="18730"/>
                  </a:lnTo>
                  <a:lnTo>
                    <a:pt x="71555" y="19047"/>
                  </a:lnTo>
                  <a:lnTo>
                    <a:pt x="71967" y="19047"/>
                  </a:lnTo>
                  <a:lnTo>
                    <a:pt x="72131" y="19047"/>
                  </a:lnTo>
                  <a:lnTo>
                    <a:pt x="72542" y="18730"/>
                  </a:lnTo>
                  <a:lnTo>
                    <a:pt x="72542" y="18730"/>
                  </a:lnTo>
                  <a:lnTo>
                    <a:pt x="72542" y="18730"/>
                  </a:lnTo>
                  <a:lnTo>
                    <a:pt x="72707" y="19047"/>
                  </a:lnTo>
                  <a:lnTo>
                    <a:pt x="72954" y="18730"/>
                  </a:lnTo>
                  <a:lnTo>
                    <a:pt x="73118" y="18730"/>
                  </a:lnTo>
                  <a:lnTo>
                    <a:pt x="73118" y="19047"/>
                  </a:lnTo>
                  <a:lnTo>
                    <a:pt x="73283" y="19047"/>
                  </a:lnTo>
                  <a:lnTo>
                    <a:pt x="73694" y="18730"/>
                  </a:lnTo>
                  <a:lnTo>
                    <a:pt x="73694" y="18730"/>
                  </a:lnTo>
                  <a:lnTo>
                    <a:pt x="73858" y="18730"/>
                  </a:lnTo>
                  <a:lnTo>
                    <a:pt x="74105" y="18730"/>
                  </a:lnTo>
                  <a:lnTo>
                    <a:pt x="74105" y="18730"/>
                  </a:lnTo>
                  <a:lnTo>
                    <a:pt x="74105" y="18730"/>
                  </a:lnTo>
                  <a:lnTo>
                    <a:pt x="74105" y="18412"/>
                  </a:lnTo>
                  <a:lnTo>
                    <a:pt x="74105" y="18412"/>
                  </a:lnTo>
                  <a:lnTo>
                    <a:pt x="74105" y="18412"/>
                  </a:lnTo>
                  <a:lnTo>
                    <a:pt x="74105" y="18730"/>
                  </a:lnTo>
                  <a:lnTo>
                    <a:pt x="74270" y="18730"/>
                  </a:lnTo>
                  <a:lnTo>
                    <a:pt x="74270" y="18730"/>
                  </a:lnTo>
                  <a:lnTo>
                    <a:pt x="74434" y="18730"/>
                  </a:lnTo>
                  <a:lnTo>
                    <a:pt x="74434" y="18730"/>
                  </a:lnTo>
                  <a:lnTo>
                    <a:pt x="74434" y="18412"/>
                  </a:lnTo>
                  <a:lnTo>
                    <a:pt x="74434" y="18412"/>
                  </a:lnTo>
                  <a:lnTo>
                    <a:pt x="74681" y="17936"/>
                  </a:lnTo>
                  <a:lnTo>
                    <a:pt x="75092" y="17619"/>
                  </a:lnTo>
                  <a:lnTo>
                    <a:pt x="75257" y="17619"/>
                  </a:lnTo>
                  <a:lnTo>
                    <a:pt x="75257" y="17936"/>
                  </a:lnTo>
                  <a:lnTo>
                    <a:pt x="75257" y="17936"/>
                  </a:lnTo>
                  <a:lnTo>
                    <a:pt x="75421" y="17619"/>
                  </a:lnTo>
                  <a:lnTo>
                    <a:pt x="75668" y="17142"/>
                  </a:lnTo>
                  <a:lnTo>
                    <a:pt x="75668" y="17142"/>
                  </a:lnTo>
                  <a:lnTo>
                    <a:pt x="75257" y="16825"/>
                  </a:lnTo>
                  <a:lnTo>
                    <a:pt x="75257" y="16825"/>
                  </a:lnTo>
                  <a:lnTo>
                    <a:pt x="75421" y="16825"/>
                  </a:lnTo>
                  <a:lnTo>
                    <a:pt x="75668" y="16825"/>
                  </a:lnTo>
                  <a:lnTo>
                    <a:pt x="75668" y="16825"/>
                  </a:lnTo>
                  <a:lnTo>
                    <a:pt x="75832" y="16507"/>
                  </a:lnTo>
                  <a:lnTo>
                    <a:pt x="75832" y="16507"/>
                  </a:lnTo>
                  <a:lnTo>
                    <a:pt x="75997" y="16031"/>
                  </a:lnTo>
                  <a:lnTo>
                    <a:pt x="76244" y="16031"/>
                  </a:lnTo>
                  <a:lnTo>
                    <a:pt x="76244" y="16031"/>
                  </a:lnTo>
                  <a:lnTo>
                    <a:pt x="76408" y="15714"/>
                  </a:lnTo>
                  <a:lnTo>
                    <a:pt x="76408" y="15714"/>
                  </a:lnTo>
                  <a:lnTo>
                    <a:pt x="76408" y="15714"/>
                  </a:lnTo>
                  <a:lnTo>
                    <a:pt x="76408" y="15396"/>
                  </a:lnTo>
                  <a:lnTo>
                    <a:pt x="76408" y="15396"/>
                  </a:lnTo>
                  <a:lnTo>
                    <a:pt x="76408" y="15396"/>
                  </a:lnTo>
                  <a:lnTo>
                    <a:pt x="76572" y="15396"/>
                  </a:lnTo>
                  <a:lnTo>
                    <a:pt x="76572" y="14920"/>
                  </a:lnTo>
                  <a:lnTo>
                    <a:pt x="76572" y="14920"/>
                  </a:lnTo>
                  <a:lnTo>
                    <a:pt x="76572" y="14920"/>
                  </a:lnTo>
                  <a:lnTo>
                    <a:pt x="76408" y="14920"/>
                  </a:lnTo>
                  <a:lnTo>
                    <a:pt x="76244" y="14920"/>
                  </a:lnTo>
                  <a:lnTo>
                    <a:pt x="76244" y="14920"/>
                  </a:lnTo>
                  <a:lnTo>
                    <a:pt x="76244" y="14603"/>
                  </a:lnTo>
                  <a:lnTo>
                    <a:pt x="75997" y="14603"/>
                  </a:lnTo>
                  <a:lnTo>
                    <a:pt x="75668" y="14603"/>
                  </a:lnTo>
                  <a:lnTo>
                    <a:pt x="75668" y="14603"/>
                  </a:lnTo>
                  <a:lnTo>
                    <a:pt x="75421" y="14920"/>
                  </a:lnTo>
                  <a:lnTo>
                    <a:pt x="75421" y="15396"/>
                  </a:lnTo>
                  <a:lnTo>
                    <a:pt x="75092" y="15396"/>
                  </a:lnTo>
                  <a:lnTo>
                    <a:pt x="75092" y="14920"/>
                  </a:lnTo>
                  <a:lnTo>
                    <a:pt x="74845" y="14603"/>
                  </a:lnTo>
                  <a:lnTo>
                    <a:pt x="74845" y="14603"/>
                  </a:lnTo>
                  <a:lnTo>
                    <a:pt x="74434" y="14603"/>
                  </a:lnTo>
                  <a:lnTo>
                    <a:pt x="74270" y="14603"/>
                  </a:lnTo>
                  <a:lnTo>
                    <a:pt x="73858" y="14920"/>
                  </a:lnTo>
                  <a:lnTo>
                    <a:pt x="73529" y="14920"/>
                  </a:lnTo>
                  <a:lnTo>
                    <a:pt x="73529" y="14920"/>
                  </a:lnTo>
                  <a:lnTo>
                    <a:pt x="73529" y="15396"/>
                  </a:lnTo>
                  <a:lnTo>
                    <a:pt x="73529" y="15396"/>
                  </a:lnTo>
                  <a:lnTo>
                    <a:pt x="73529" y="15396"/>
                  </a:lnTo>
                  <a:lnTo>
                    <a:pt x="73858" y="15396"/>
                  </a:lnTo>
                  <a:lnTo>
                    <a:pt x="74105" y="15396"/>
                  </a:lnTo>
                  <a:lnTo>
                    <a:pt x="74105" y="15714"/>
                  </a:lnTo>
                  <a:lnTo>
                    <a:pt x="74105" y="15714"/>
                  </a:lnTo>
                  <a:lnTo>
                    <a:pt x="73858" y="15714"/>
                  </a:lnTo>
                  <a:lnTo>
                    <a:pt x="73694" y="15714"/>
                  </a:lnTo>
                  <a:lnTo>
                    <a:pt x="73529" y="15714"/>
                  </a:lnTo>
                  <a:lnTo>
                    <a:pt x="73529" y="15714"/>
                  </a:lnTo>
                  <a:lnTo>
                    <a:pt x="73694" y="15714"/>
                  </a:lnTo>
                  <a:lnTo>
                    <a:pt x="73858" y="15714"/>
                  </a:lnTo>
                  <a:lnTo>
                    <a:pt x="73858" y="16031"/>
                  </a:lnTo>
                  <a:lnTo>
                    <a:pt x="74270" y="16031"/>
                  </a:lnTo>
                  <a:lnTo>
                    <a:pt x="73858" y="16031"/>
                  </a:lnTo>
                  <a:lnTo>
                    <a:pt x="73694" y="16031"/>
                  </a:lnTo>
                  <a:lnTo>
                    <a:pt x="73694" y="16031"/>
                  </a:lnTo>
                  <a:lnTo>
                    <a:pt x="73529" y="16031"/>
                  </a:lnTo>
                  <a:lnTo>
                    <a:pt x="73529" y="16031"/>
                  </a:lnTo>
                  <a:lnTo>
                    <a:pt x="73529" y="16031"/>
                  </a:lnTo>
                  <a:lnTo>
                    <a:pt x="73694" y="16507"/>
                  </a:lnTo>
                  <a:lnTo>
                    <a:pt x="73694" y="16507"/>
                  </a:lnTo>
                  <a:lnTo>
                    <a:pt x="73694" y="16507"/>
                  </a:lnTo>
                  <a:lnTo>
                    <a:pt x="73529" y="16507"/>
                  </a:lnTo>
                  <a:lnTo>
                    <a:pt x="73283" y="16507"/>
                  </a:lnTo>
                  <a:lnTo>
                    <a:pt x="73283" y="16507"/>
                  </a:lnTo>
                  <a:lnTo>
                    <a:pt x="73283" y="16507"/>
                  </a:lnTo>
                  <a:lnTo>
                    <a:pt x="72954" y="15714"/>
                  </a:lnTo>
                  <a:lnTo>
                    <a:pt x="72954" y="15714"/>
                  </a:lnTo>
                  <a:lnTo>
                    <a:pt x="72954" y="15714"/>
                  </a:lnTo>
                  <a:lnTo>
                    <a:pt x="72954" y="15714"/>
                  </a:lnTo>
                  <a:lnTo>
                    <a:pt x="72954" y="15396"/>
                  </a:lnTo>
                  <a:lnTo>
                    <a:pt x="72954" y="15396"/>
                  </a:lnTo>
                  <a:lnTo>
                    <a:pt x="72707" y="15396"/>
                  </a:lnTo>
                  <a:lnTo>
                    <a:pt x="72542" y="15396"/>
                  </a:lnTo>
                  <a:lnTo>
                    <a:pt x="72542" y="15396"/>
                  </a:lnTo>
                  <a:lnTo>
                    <a:pt x="72378" y="15396"/>
                  </a:lnTo>
                  <a:lnTo>
                    <a:pt x="72131" y="15396"/>
                  </a:lnTo>
                  <a:lnTo>
                    <a:pt x="71967" y="15396"/>
                  </a:lnTo>
                  <a:lnTo>
                    <a:pt x="71720" y="15714"/>
                  </a:lnTo>
                  <a:lnTo>
                    <a:pt x="71967" y="15714"/>
                  </a:lnTo>
                  <a:lnTo>
                    <a:pt x="71967" y="15714"/>
                  </a:lnTo>
                  <a:lnTo>
                    <a:pt x="72378" y="15714"/>
                  </a:lnTo>
                  <a:lnTo>
                    <a:pt x="72378" y="15714"/>
                  </a:lnTo>
                  <a:lnTo>
                    <a:pt x="71967" y="16031"/>
                  </a:lnTo>
                  <a:lnTo>
                    <a:pt x="71720" y="16031"/>
                  </a:lnTo>
                  <a:lnTo>
                    <a:pt x="71720" y="16031"/>
                  </a:lnTo>
                  <a:lnTo>
                    <a:pt x="71720" y="16031"/>
                  </a:lnTo>
                  <a:lnTo>
                    <a:pt x="71720" y="16507"/>
                  </a:lnTo>
                  <a:lnTo>
                    <a:pt x="71967" y="16507"/>
                  </a:lnTo>
                  <a:lnTo>
                    <a:pt x="71967" y="16507"/>
                  </a:lnTo>
                  <a:lnTo>
                    <a:pt x="71720" y="16507"/>
                  </a:lnTo>
                  <a:lnTo>
                    <a:pt x="71720" y="16507"/>
                  </a:lnTo>
                  <a:lnTo>
                    <a:pt x="71720" y="16825"/>
                  </a:lnTo>
                  <a:lnTo>
                    <a:pt x="71720" y="16825"/>
                  </a:lnTo>
                  <a:lnTo>
                    <a:pt x="71720" y="16825"/>
                  </a:lnTo>
                  <a:lnTo>
                    <a:pt x="72131" y="16825"/>
                  </a:lnTo>
                  <a:lnTo>
                    <a:pt x="72131" y="16825"/>
                  </a:lnTo>
                  <a:lnTo>
                    <a:pt x="71967" y="16825"/>
                  </a:lnTo>
                  <a:lnTo>
                    <a:pt x="71720" y="16825"/>
                  </a:lnTo>
                  <a:lnTo>
                    <a:pt x="71720" y="16825"/>
                  </a:lnTo>
                  <a:lnTo>
                    <a:pt x="71555" y="16825"/>
                  </a:lnTo>
                  <a:lnTo>
                    <a:pt x="71391" y="16507"/>
                  </a:lnTo>
                  <a:lnTo>
                    <a:pt x="71144" y="16825"/>
                  </a:lnTo>
                  <a:close/>
                  <a:moveTo>
                    <a:pt x="73283" y="14920"/>
                  </a:moveTo>
                  <a:lnTo>
                    <a:pt x="73858" y="14603"/>
                  </a:lnTo>
                  <a:lnTo>
                    <a:pt x="74434" y="14603"/>
                  </a:lnTo>
                  <a:lnTo>
                    <a:pt x="74270" y="14603"/>
                  </a:lnTo>
                  <a:lnTo>
                    <a:pt x="74270" y="14603"/>
                  </a:lnTo>
                  <a:lnTo>
                    <a:pt x="73858" y="14603"/>
                  </a:lnTo>
                  <a:lnTo>
                    <a:pt x="73858" y="14603"/>
                  </a:lnTo>
                  <a:lnTo>
                    <a:pt x="73529" y="14603"/>
                  </a:lnTo>
                  <a:lnTo>
                    <a:pt x="73118" y="14603"/>
                  </a:lnTo>
                  <a:lnTo>
                    <a:pt x="72954" y="14920"/>
                  </a:lnTo>
                  <a:lnTo>
                    <a:pt x="72954" y="14920"/>
                  </a:lnTo>
                  <a:lnTo>
                    <a:pt x="72954" y="14920"/>
                  </a:lnTo>
                  <a:lnTo>
                    <a:pt x="73283" y="14920"/>
                  </a:lnTo>
                  <a:close/>
                  <a:moveTo>
                    <a:pt x="69664" y="16031"/>
                  </a:moveTo>
                  <a:lnTo>
                    <a:pt x="69664" y="16031"/>
                  </a:lnTo>
                  <a:lnTo>
                    <a:pt x="69417" y="16507"/>
                  </a:lnTo>
                  <a:lnTo>
                    <a:pt x="69417" y="16507"/>
                  </a:lnTo>
                  <a:lnTo>
                    <a:pt x="70239" y="16507"/>
                  </a:lnTo>
                  <a:lnTo>
                    <a:pt x="70239" y="16507"/>
                  </a:lnTo>
                  <a:lnTo>
                    <a:pt x="69828" y="16825"/>
                  </a:lnTo>
                  <a:lnTo>
                    <a:pt x="69828" y="16825"/>
                  </a:lnTo>
                  <a:lnTo>
                    <a:pt x="69993" y="16825"/>
                  </a:lnTo>
                  <a:lnTo>
                    <a:pt x="70568" y="16825"/>
                  </a:lnTo>
                  <a:lnTo>
                    <a:pt x="70568" y="16825"/>
                  </a:lnTo>
                  <a:lnTo>
                    <a:pt x="70815" y="16825"/>
                  </a:lnTo>
                  <a:lnTo>
                    <a:pt x="70980" y="16507"/>
                  </a:lnTo>
                  <a:lnTo>
                    <a:pt x="71391" y="16507"/>
                  </a:lnTo>
                  <a:lnTo>
                    <a:pt x="71391" y="16507"/>
                  </a:lnTo>
                  <a:lnTo>
                    <a:pt x="71391" y="16507"/>
                  </a:lnTo>
                  <a:lnTo>
                    <a:pt x="71144" y="16507"/>
                  </a:lnTo>
                  <a:lnTo>
                    <a:pt x="71144" y="16031"/>
                  </a:lnTo>
                  <a:lnTo>
                    <a:pt x="71144" y="16031"/>
                  </a:lnTo>
                  <a:lnTo>
                    <a:pt x="71391" y="15714"/>
                  </a:lnTo>
                  <a:lnTo>
                    <a:pt x="71391" y="15714"/>
                  </a:lnTo>
                  <a:lnTo>
                    <a:pt x="71391" y="15714"/>
                  </a:lnTo>
                  <a:lnTo>
                    <a:pt x="70980" y="15714"/>
                  </a:lnTo>
                  <a:lnTo>
                    <a:pt x="70404" y="15714"/>
                  </a:lnTo>
                  <a:lnTo>
                    <a:pt x="69828" y="15714"/>
                  </a:lnTo>
                  <a:lnTo>
                    <a:pt x="69417" y="15714"/>
                  </a:lnTo>
                  <a:lnTo>
                    <a:pt x="69252" y="16031"/>
                  </a:lnTo>
                  <a:lnTo>
                    <a:pt x="69252" y="16031"/>
                  </a:lnTo>
                  <a:lnTo>
                    <a:pt x="69664" y="16031"/>
                  </a:lnTo>
                  <a:close/>
                  <a:moveTo>
                    <a:pt x="73118" y="10476"/>
                  </a:moveTo>
                  <a:lnTo>
                    <a:pt x="73283" y="10793"/>
                  </a:lnTo>
                  <a:lnTo>
                    <a:pt x="73694" y="10793"/>
                  </a:lnTo>
                  <a:lnTo>
                    <a:pt x="74105" y="10476"/>
                  </a:lnTo>
                  <a:lnTo>
                    <a:pt x="75092" y="10476"/>
                  </a:lnTo>
                  <a:lnTo>
                    <a:pt x="74845" y="10476"/>
                  </a:lnTo>
                  <a:lnTo>
                    <a:pt x="74845" y="10476"/>
                  </a:lnTo>
                  <a:lnTo>
                    <a:pt x="74845" y="10476"/>
                  </a:lnTo>
                  <a:lnTo>
                    <a:pt x="74845" y="10793"/>
                  </a:lnTo>
                  <a:lnTo>
                    <a:pt x="74845" y="10793"/>
                  </a:lnTo>
                  <a:lnTo>
                    <a:pt x="75257" y="10476"/>
                  </a:lnTo>
                  <a:lnTo>
                    <a:pt x="75421" y="10476"/>
                  </a:lnTo>
                  <a:lnTo>
                    <a:pt x="75668" y="10793"/>
                  </a:lnTo>
                  <a:lnTo>
                    <a:pt x="76244" y="10793"/>
                  </a:lnTo>
                  <a:lnTo>
                    <a:pt x="76408" y="10793"/>
                  </a:lnTo>
                  <a:lnTo>
                    <a:pt x="76408" y="10793"/>
                  </a:lnTo>
                  <a:lnTo>
                    <a:pt x="76408" y="11269"/>
                  </a:lnTo>
                  <a:lnTo>
                    <a:pt x="76408" y="11269"/>
                  </a:lnTo>
                  <a:lnTo>
                    <a:pt x="76244" y="11269"/>
                  </a:lnTo>
                  <a:lnTo>
                    <a:pt x="76244" y="11269"/>
                  </a:lnTo>
                  <a:lnTo>
                    <a:pt x="76244" y="11587"/>
                  </a:lnTo>
                  <a:lnTo>
                    <a:pt x="76244" y="11587"/>
                  </a:lnTo>
                  <a:lnTo>
                    <a:pt x="76408" y="11587"/>
                  </a:lnTo>
                  <a:lnTo>
                    <a:pt x="76819" y="11904"/>
                  </a:lnTo>
                  <a:lnTo>
                    <a:pt x="76984" y="11587"/>
                  </a:lnTo>
                  <a:lnTo>
                    <a:pt x="77395" y="11587"/>
                  </a:lnTo>
                  <a:lnTo>
                    <a:pt x="77559" y="11587"/>
                  </a:lnTo>
                  <a:lnTo>
                    <a:pt x="77806" y="11587"/>
                  </a:lnTo>
                  <a:lnTo>
                    <a:pt x="77971" y="11269"/>
                  </a:lnTo>
                  <a:lnTo>
                    <a:pt x="77971" y="11269"/>
                  </a:lnTo>
                  <a:lnTo>
                    <a:pt x="77971" y="11269"/>
                  </a:lnTo>
                  <a:lnTo>
                    <a:pt x="78135" y="11269"/>
                  </a:lnTo>
                  <a:lnTo>
                    <a:pt x="78135" y="10793"/>
                  </a:lnTo>
                  <a:lnTo>
                    <a:pt x="77971" y="10476"/>
                  </a:lnTo>
                  <a:lnTo>
                    <a:pt x="77806" y="10476"/>
                  </a:lnTo>
                  <a:lnTo>
                    <a:pt x="77806" y="10476"/>
                  </a:lnTo>
                  <a:lnTo>
                    <a:pt x="77971" y="10476"/>
                  </a:lnTo>
                  <a:lnTo>
                    <a:pt x="77971" y="10476"/>
                  </a:lnTo>
                  <a:lnTo>
                    <a:pt x="77971" y="10158"/>
                  </a:lnTo>
                  <a:lnTo>
                    <a:pt x="77971" y="10158"/>
                  </a:lnTo>
                  <a:lnTo>
                    <a:pt x="78135" y="10158"/>
                  </a:lnTo>
                  <a:lnTo>
                    <a:pt x="78382" y="10158"/>
                  </a:lnTo>
                  <a:lnTo>
                    <a:pt x="78546" y="10158"/>
                  </a:lnTo>
                  <a:lnTo>
                    <a:pt x="78546" y="9682"/>
                  </a:lnTo>
                  <a:lnTo>
                    <a:pt x="78382" y="9682"/>
                  </a:lnTo>
                  <a:lnTo>
                    <a:pt x="78382" y="9682"/>
                  </a:lnTo>
                  <a:lnTo>
                    <a:pt x="78135" y="9365"/>
                  </a:lnTo>
                  <a:lnTo>
                    <a:pt x="77559" y="9365"/>
                  </a:lnTo>
                  <a:lnTo>
                    <a:pt x="77395" y="9365"/>
                  </a:lnTo>
                  <a:lnTo>
                    <a:pt x="77395" y="9365"/>
                  </a:lnTo>
                  <a:lnTo>
                    <a:pt x="77559" y="9365"/>
                  </a:lnTo>
                  <a:lnTo>
                    <a:pt x="77806" y="8888"/>
                  </a:lnTo>
                  <a:lnTo>
                    <a:pt x="77806" y="8888"/>
                  </a:lnTo>
                  <a:lnTo>
                    <a:pt x="77806" y="8888"/>
                  </a:lnTo>
                  <a:lnTo>
                    <a:pt x="77806" y="8888"/>
                  </a:lnTo>
                  <a:lnTo>
                    <a:pt x="77559" y="8888"/>
                  </a:lnTo>
                  <a:lnTo>
                    <a:pt x="77395" y="8571"/>
                  </a:lnTo>
                  <a:lnTo>
                    <a:pt x="77148" y="8571"/>
                  </a:lnTo>
                  <a:lnTo>
                    <a:pt x="76984" y="8571"/>
                  </a:lnTo>
                  <a:lnTo>
                    <a:pt x="76819" y="8888"/>
                  </a:lnTo>
                  <a:lnTo>
                    <a:pt x="76572" y="8888"/>
                  </a:lnTo>
                  <a:lnTo>
                    <a:pt x="76408" y="8888"/>
                  </a:lnTo>
                  <a:lnTo>
                    <a:pt x="76408" y="8888"/>
                  </a:lnTo>
                  <a:lnTo>
                    <a:pt x="76244" y="8888"/>
                  </a:lnTo>
                  <a:lnTo>
                    <a:pt x="75997" y="9365"/>
                  </a:lnTo>
                  <a:lnTo>
                    <a:pt x="76244" y="8888"/>
                  </a:lnTo>
                  <a:lnTo>
                    <a:pt x="76244" y="8888"/>
                  </a:lnTo>
                  <a:lnTo>
                    <a:pt x="76244" y="8888"/>
                  </a:lnTo>
                  <a:lnTo>
                    <a:pt x="76244" y="8888"/>
                  </a:lnTo>
                  <a:lnTo>
                    <a:pt x="76244" y="8888"/>
                  </a:lnTo>
                  <a:lnTo>
                    <a:pt x="76408" y="8888"/>
                  </a:lnTo>
                  <a:lnTo>
                    <a:pt x="76408" y="8571"/>
                  </a:lnTo>
                  <a:lnTo>
                    <a:pt x="76408" y="8571"/>
                  </a:lnTo>
                  <a:lnTo>
                    <a:pt x="76408" y="8571"/>
                  </a:lnTo>
                  <a:lnTo>
                    <a:pt x="76408" y="8253"/>
                  </a:lnTo>
                  <a:lnTo>
                    <a:pt x="76244" y="8253"/>
                  </a:lnTo>
                  <a:lnTo>
                    <a:pt x="75997" y="8253"/>
                  </a:lnTo>
                  <a:lnTo>
                    <a:pt x="75832" y="8253"/>
                  </a:lnTo>
                  <a:lnTo>
                    <a:pt x="75668" y="8253"/>
                  </a:lnTo>
                  <a:lnTo>
                    <a:pt x="74681" y="8253"/>
                  </a:lnTo>
                  <a:lnTo>
                    <a:pt x="74270" y="8253"/>
                  </a:lnTo>
                  <a:lnTo>
                    <a:pt x="74105" y="8253"/>
                  </a:lnTo>
                  <a:lnTo>
                    <a:pt x="73858" y="8253"/>
                  </a:lnTo>
                  <a:lnTo>
                    <a:pt x="73694" y="8571"/>
                  </a:lnTo>
                  <a:lnTo>
                    <a:pt x="73694" y="8571"/>
                  </a:lnTo>
                  <a:lnTo>
                    <a:pt x="73529" y="8571"/>
                  </a:lnTo>
                  <a:lnTo>
                    <a:pt x="73529" y="8888"/>
                  </a:lnTo>
                  <a:lnTo>
                    <a:pt x="73694" y="8888"/>
                  </a:lnTo>
                  <a:lnTo>
                    <a:pt x="74270" y="8888"/>
                  </a:lnTo>
                  <a:lnTo>
                    <a:pt x="74270" y="8888"/>
                  </a:lnTo>
                  <a:lnTo>
                    <a:pt x="74270" y="8888"/>
                  </a:lnTo>
                  <a:lnTo>
                    <a:pt x="73858" y="9365"/>
                  </a:lnTo>
                  <a:lnTo>
                    <a:pt x="73694" y="9365"/>
                  </a:lnTo>
                  <a:lnTo>
                    <a:pt x="73694" y="9365"/>
                  </a:lnTo>
                  <a:lnTo>
                    <a:pt x="73694" y="9365"/>
                  </a:lnTo>
                  <a:lnTo>
                    <a:pt x="73858" y="9365"/>
                  </a:lnTo>
                  <a:lnTo>
                    <a:pt x="73858" y="9365"/>
                  </a:lnTo>
                  <a:lnTo>
                    <a:pt x="74434" y="8888"/>
                  </a:lnTo>
                  <a:lnTo>
                    <a:pt x="74845" y="8888"/>
                  </a:lnTo>
                  <a:lnTo>
                    <a:pt x="74845" y="8888"/>
                  </a:lnTo>
                  <a:lnTo>
                    <a:pt x="74845" y="8888"/>
                  </a:lnTo>
                  <a:lnTo>
                    <a:pt x="74845" y="8888"/>
                  </a:lnTo>
                  <a:lnTo>
                    <a:pt x="74845" y="8888"/>
                  </a:lnTo>
                  <a:lnTo>
                    <a:pt x="74434" y="9365"/>
                  </a:lnTo>
                  <a:lnTo>
                    <a:pt x="74434" y="9365"/>
                  </a:lnTo>
                  <a:lnTo>
                    <a:pt x="74434" y="9365"/>
                  </a:lnTo>
                  <a:lnTo>
                    <a:pt x="74434" y="9365"/>
                  </a:lnTo>
                  <a:lnTo>
                    <a:pt x="75092" y="9365"/>
                  </a:lnTo>
                  <a:lnTo>
                    <a:pt x="75092" y="9365"/>
                  </a:lnTo>
                  <a:lnTo>
                    <a:pt x="75092" y="9365"/>
                  </a:lnTo>
                  <a:lnTo>
                    <a:pt x="74845" y="9682"/>
                  </a:lnTo>
                  <a:lnTo>
                    <a:pt x="74434" y="9682"/>
                  </a:lnTo>
                  <a:lnTo>
                    <a:pt x="74270" y="9682"/>
                  </a:lnTo>
                  <a:lnTo>
                    <a:pt x="74681" y="9682"/>
                  </a:lnTo>
                  <a:lnTo>
                    <a:pt x="74681" y="9682"/>
                  </a:lnTo>
                  <a:lnTo>
                    <a:pt x="74434" y="10158"/>
                  </a:lnTo>
                  <a:lnTo>
                    <a:pt x="74270" y="10158"/>
                  </a:lnTo>
                  <a:lnTo>
                    <a:pt x="73858" y="10158"/>
                  </a:lnTo>
                  <a:lnTo>
                    <a:pt x="73529" y="10158"/>
                  </a:lnTo>
                  <a:lnTo>
                    <a:pt x="73283" y="10158"/>
                  </a:lnTo>
                  <a:lnTo>
                    <a:pt x="73283" y="10158"/>
                  </a:lnTo>
                  <a:lnTo>
                    <a:pt x="73118" y="10158"/>
                  </a:lnTo>
                  <a:lnTo>
                    <a:pt x="72954" y="10158"/>
                  </a:lnTo>
                  <a:lnTo>
                    <a:pt x="72954" y="10476"/>
                  </a:lnTo>
                  <a:lnTo>
                    <a:pt x="72954" y="10476"/>
                  </a:lnTo>
                  <a:lnTo>
                    <a:pt x="73118" y="10476"/>
                  </a:lnTo>
                  <a:close/>
                  <a:moveTo>
                    <a:pt x="74681" y="10793"/>
                  </a:moveTo>
                  <a:lnTo>
                    <a:pt x="74681" y="10793"/>
                  </a:lnTo>
                  <a:lnTo>
                    <a:pt x="74681" y="10476"/>
                  </a:lnTo>
                  <a:lnTo>
                    <a:pt x="74681" y="10793"/>
                  </a:lnTo>
                  <a:lnTo>
                    <a:pt x="74434" y="10793"/>
                  </a:lnTo>
                  <a:lnTo>
                    <a:pt x="74105" y="10793"/>
                  </a:lnTo>
                  <a:lnTo>
                    <a:pt x="74105" y="10793"/>
                  </a:lnTo>
                  <a:lnTo>
                    <a:pt x="74105" y="10793"/>
                  </a:lnTo>
                  <a:lnTo>
                    <a:pt x="74105" y="10793"/>
                  </a:lnTo>
                  <a:lnTo>
                    <a:pt x="74270" y="10793"/>
                  </a:lnTo>
                  <a:lnTo>
                    <a:pt x="74270" y="10793"/>
                  </a:lnTo>
                  <a:lnTo>
                    <a:pt x="74681" y="10793"/>
                  </a:lnTo>
                  <a:close/>
                  <a:moveTo>
                    <a:pt x="72378" y="21428"/>
                  </a:moveTo>
                  <a:lnTo>
                    <a:pt x="71720" y="21428"/>
                  </a:lnTo>
                  <a:lnTo>
                    <a:pt x="71391" y="21428"/>
                  </a:lnTo>
                  <a:lnTo>
                    <a:pt x="71391" y="21746"/>
                  </a:lnTo>
                  <a:lnTo>
                    <a:pt x="71144" y="21746"/>
                  </a:lnTo>
                  <a:lnTo>
                    <a:pt x="71144" y="21746"/>
                  </a:lnTo>
                  <a:lnTo>
                    <a:pt x="70980" y="21746"/>
                  </a:lnTo>
                  <a:lnTo>
                    <a:pt x="70815" y="21746"/>
                  </a:lnTo>
                  <a:lnTo>
                    <a:pt x="70568" y="21746"/>
                  </a:lnTo>
                  <a:lnTo>
                    <a:pt x="70568" y="21746"/>
                  </a:lnTo>
                  <a:lnTo>
                    <a:pt x="70568" y="21746"/>
                  </a:lnTo>
                  <a:lnTo>
                    <a:pt x="70568" y="22063"/>
                  </a:lnTo>
                  <a:lnTo>
                    <a:pt x="70980" y="22063"/>
                  </a:lnTo>
                  <a:lnTo>
                    <a:pt x="71144" y="22063"/>
                  </a:lnTo>
                  <a:lnTo>
                    <a:pt x="71144" y="22063"/>
                  </a:lnTo>
                  <a:lnTo>
                    <a:pt x="71391" y="22063"/>
                  </a:lnTo>
                  <a:lnTo>
                    <a:pt x="71391" y="22063"/>
                  </a:lnTo>
                  <a:lnTo>
                    <a:pt x="71720" y="22063"/>
                  </a:lnTo>
                  <a:lnTo>
                    <a:pt x="71967" y="21746"/>
                  </a:lnTo>
                  <a:lnTo>
                    <a:pt x="72378" y="21746"/>
                  </a:lnTo>
                  <a:lnTo>
                    <a:pt x="72542" y="21746"/>
                  </a:lnTo>
                  <a:lnTo>
                    <a:pt x="72707" y="21428"/>
                  </a:lnTo>
                  <a:lnTo>
                    <a:pt x="72707" y="21428"/>
                  </a:lnTo>
                  <a:lnTo>
                    <a:pt x="72707" y="21428"/>
                  </a:lnTo>
                  <a:lnTo>
                    <a:pt x="72707" y="21428"/>
                  </a:lnTo>
                  <a:lnTo>
                    <a:pt x="72707" y="21428"/>
                  </a:lnTo>
                  <a:lnTo>
                    <a:pt x="72378" y="21428"/>
                  </a:lnTo>
                  <a:close/>
                  <a:moveTo>
                    <a:pt x="70568" y="15396"/>
                  </a:moveTo>
                  <a:lnTo>
                    <a:pt x="70815" y="15396"/>
                  </a:lnTo>
                  <a:lnTo>
                    <a:pt x="70980" y="15396"/>
                  </a:lnTo>
                  <a:lnTo>
                    <a:pt x="71144" y="15396"/>
                  </a:lnTo>
                  <a:lnTo>
                    <a:pt x="71144" y="15396"/>
                  </a:lnTo>
                  <a:lnTo>
                    <a:pt x="71144" y="15396"/>
                  </a:lnTo>
                  <a:lnTo>
                    <a:pt x="71144" y="14920"/>
                  </a:lnTo>
                  <a:lnTo>
                    <a:pt x="70815" y="14920"/>
                  </a:lnTo>
                  <a:lnTo>
                    <a:pt x="70815" y="14920"/>
                  </a:lnTo>
                  <a:lnTo>
                    <a:pt x="70815" y="14920"/>
                  </a:lnTo>
                  <a:lnTo>
                    <a:pt x="70815" y="14920"/>
                  </a:lnTo>
                  <a:lnTo>
                    <a:pt x="70568" y="14920"/>
                  </a:lnTo>
                  <a:lnTo>
                    <a:pt x="70404" y="14920"/>
                  </a:lnTo>
                  <a:lnTo>
                    <a:pt x="70568" y="14603"/>
                  </a:lnTo>
                  <a:lnTo>
                    <a:pt x="70568" y="14603"/>
                  </a:lnTo>
                  <a:lnTo>
                    <a:pt x="70568" y="14603"/>
                  </a:lnTo>
                  <a:lnTo>
                    <a:pt x="70568" y="14603"/>
                  </a:lnTo>
                  <a:lnTo>
                    <a:pt x="70404" y="14603"/>
                  </a:lnTo>
                  <a:lnTo>
                    <a:pt x="69993" y="14603"/>
                  </a:lnTo>
                  <a:lnTo>
                    <a:pt x="69993" y="14920"/>
                  </a:lnTo>
                  <a:lnTo>
                    <a:pt x="69828" y="14920"/>
                  </a:lnTo>
                  <a:lnTo>
                    <a:pt x="69828" y="14920"/>
                  </a:lnTo>
                  <a:lnTo>
                    <a:pt x="69828" y="14920"/>
                  </a:lnTo>
                  <a:lnTo>
                    <a:pt x="69664" y="15396"/>
                  </a:lnTo>
                  <a:lnTo>
                    <a:pt x="69664" y="15396"/>
                  </a:lnTo>
                  <a:lnTo>
                    <a:pt x="69828" y="15396"/>
                  </a:lnTo>
                  <a:lnTo>
                    <a:pt x="70568" y="15396"/>
                  </a:lnTo>
                  <a:close/>
                  <a:moveTo>
                    <a:pt x="70568" y="13492"/>
                  </a:moveTo>
                  <a:lnTo>
                    <a:pt x="70815" y="13492"/>
                  </a:lnTo>
                  <a:lnTo>
                    <a:pt x="70980" y="13492"/>
                  </a:lnTo>
                  <a:lnTo>
                    <a:pt x="70980" y="13492"/>
                  </a:lnTo>
                  <a:lnTo>
                    <a:pt x="71144" y="13015"/>
                  </a:lnTo>
                  <a:lnTo>
                    <a:pt x="71144" y="13015"/>
                  </a:lnTo>
                  <a:lnTo>
                    <a:pt x="71391" y="13015"/>
                  </a:lnTo>
                  <a:lnTo>
                    <a:pt x="71391" y="13015"/>
                  </a:lnTo>
                  <a:lnTo>
                    <a:pt x="71144" y="12698"/>
                  </a:lnTo>
                  <a:lnTo>
                    <a:pt x="71144" y="12698"/>
                  </a:lnTo>
                  <a:lnTo>
                    <a:pt x="71144" y="12698"/>
                  </a:lnTo>
                  <a:lnTo>
                    <a:pt x="71144" y="12698"/>
                  </a:lnTo>
                  <a:lnTo>
                    <a:pt x="71144" y="12380"/>
                  </a:lnTo>
                  <a:lnTo>
                    <a:pt x="71144" y="12380"/>
                  </a:lnTo>
                  <a:lnTo>
                    <a:pt x="71144" y="11904"/>
                  </a:lnTo>
                  <a:lnTo>
                    <a:pt x="70980" y="11904"/>
                  </a:lnTo>
                  <a:lnTo>
                    <a:pt x="70815" y="11904"/>
                  </a:lnTo>
                  <a:lnTo>
                    <a:pt x="70568" y="11904"/>
                  </a:lnTo>
                  <a:lnTo>
                    <a:pt x="70568" y="11904"/>
                  </a:lnTo>
                  <a:lnTo>
                    <a:pt x="70568" y="12380"/>
                  </a:lnTo>
                  <a:lnTo>
                    <a:pt x="70404" y="12380"/>
                  </a:lnTo>
                  <a:lnTo>
                    <a:pt x="70568" y="12380"/>
                  </a:lnTo>
                  <a:lnTo>
                    <a:pt x="70404" y="12698"/>
                  </a:lnTo>
                  <a:lnTo>
                    <a:pt x="70404" y="13015"/>
                  </a:lnTo>
                  <a:lnTo>
                    <a:pt x="70404" y="13015"/>
                  </a:lnTo>
                  <a:lnTo>
                    <a:pt x="70404" y="13492"/>
                  </a:lnTo>
                  <a:lnTo>
                    <a:pt x="70568" y="13492"/>
                  </a:lnTo>
                  <a:close/>
                  <a:moveTo>
                    <a:pt x="75421" y="53650"/>
                  </a:moveTo>
                  <a:lnTo>
                    <a:pt x="75668" y="53650"/>
                  </a:lnTo>
                  <a:lnTo>
                    <a:pt x="75668" y="53174"/>
                  </a:lnTo>
                  <a:lnTo>
                    <a:pt x="75668" y="53174"/>
                  </a:lnTo>
                  <a:lnTo>
                    <a:pt x="75832" y="52857"/>
                  </a:lnTo>
                  <a:lnTo>
                    <a:pt x="75668" y="52857"/>
                  </a:lnTo>
                  <a:lnTo>
                    <a:pt x="75668" y="52857"/>
                  </a:lnTo>
                  <a:lnTo>
                    <a:pt x="75668" y="52857"/>
                  </a:lnTo>
                  <a:lnTo>
                    <a:pt x="75421" y="52857"/>
                  </a:lnTo>
                  <a:lnTo>
                    <a:pt x="75257" y="52857"/>
                  </a:lnTo>
                  <a:lnTo>
                    <a:pt x="74845" y="52857"/>
                  </a:lnTo>
                  <a:lnTo>
                    <a:pt x="74434" y="53174"/>
                  </a:lnTo>
                  <a:lnTo>
                    <a:pt x="74434" y="53174"/>
                  </a:lnTo>
                  <a:lnTo>
                    <a:pt x="74270" y="53174"/>
                  </a:lnTo>
                  <a:lnTo>
                    <a:pt x="74105" y="52857"/>
                  </a:lnTo>
                  <a:lnTo>
                    <a:pt x="74105" y="53174"/>
                  </a:lnTo>
                  <a:lnTo>
                    <a:pt x="73283" y="53968"/>
                  </a:lnTo>
                  <a:lnTo>
                    <a:pt x="72954" y="54444"/>
                  </a:lnTo>
                  <a:lnTo>
                    <a:pt x="72954" y="54444"/>
                  </a:lnTo>
                  <a:lnTo>
                    <a:pt x="72954" y="54444"/>
                  </a:lnTo>
                  <a:lnTo>
                    <a:pt x="72954" y="54761"/>
                  </a:lnTo>
                  <a:lnTo>
                    <a:pt x="72954" y="54761"/>
                  </a:lnTo>
                  <a:lnTo>
                    <a:pt x="72954" y="55079"/>
                  </a:lnTo>
                  <a:lnTo>
                    <a:pt x="72707" y="55079"/>
                  </a:lnTo>
                  <a:lnTo>
                    <a:pt x="72707" y="55555"/>
                  </a:lnTo>
                  <a:lnTo>
                    <a:pt x="73283" y="55079"/>
                  </a:lnTo>
                  <a:lnTo>
                    <a:pt x="73529" y="55079"/>
                  </a:lnTo>
                  <a:lnTo>
                    <a:pt x="73529" y="55079"/>
                  </a:lnTo>
                  <a:lnTo>
                    <a:pt x="73694" y="55079"/>
                  </a:lnTo>
                  <a:lnTo>
                    <a:pt x="73694" y="55079"/>
                  </a:lnTo>
                  <a:lnTo>
                    <a:pt x="74434" y="54761"/>
                  </a:lnTo>
                  <a:lnTo>
                    <a:pt x="74681" y="54444"/>
                  </a:lnTo>
                  <a:lnTo>
                    <a:pt x="74845" y="54444"/>
                  </a:lnTo>
                  <a:lnTo>
                    <a:pt x="75257" y="53968"/>
                  </a:lnTo>
                  <a:lnTo>
                    <a:pt x="75421" y="53650"/>
                  </a:lnTo>
                  <a:close/>
                  <a:moveTo>
                    <a:pt x="94009" y="60317"/>
                  </a:moveTo>
                  <a:lnTo>
                    <a:pt x="93845" y="60317"/>
                  </a:lnTo>
                  <a:lnTo>
                    <a:pt x="93845" y="60317"/>
                  </a:lnTo>
                  <a:lnTo>
                    <a:pt x="93845" y="60793"/>
                  </a:lnTo>
                  <a:lnTo>
                    <a:pt x="93845" y="60793"/>
                  </a:lnTo>
                  <a:lnTo>
                    <a:pt x="94009" y="60793"/>
                  </a:lnTo>
                  <a:lnTo>
                    <a:pt x="94256" y="61111"/>
                  </a:lnTo>
                  <a:lnTo>
                    <a:pt x="94256" y="60793"/>
                  </a:lnTo>
                  <a:lnTo>
                    <a:pt x="94256" y="60793"/>
                  </a:lnTo>
                  <a:lnTo>
                    <a:pt x="94256" y="60317"/>
                  </a:lnTo>
                  <a:lnTo>
                    <a:pt x="94009" y="60317"/>
                  </a:lnTo>
                  <a:lnTo>
                    <a:pt x="94009" y="60317"/>
                  </a:lnTo>
                  <a:close/>
                  <a:moveTo>
                    <a:pt x="94996" y="69365"/>
                  </a:moveTo>
                  <a:lnTo>
                    <a:pt x="94996" y="69365"/>
                  </a:lnTo>
                  <a:lnTo>
                    <a:pt x="94996" y="69365"/>
                  </a:lnTo>
                  <a:lnTo>
                    <a:pt x="94996" y="69365"/>
                  </a:lnTo>
                  <a:lnTo>
                    <a:pt x="94832" y="69365"/>
                  </a:lnTo>
                  <a:lnTo>
                    <a:pt x="94832" y="69365"/>
                  </a:lnTo>
                  <a:lnTo>
                    <a:pt x="94832" y="69841"/>
                  </a:lnTo>
                  <a:lnTo>
                    <a:pt x="94996" y="69841"/>
                  </a:lnTo>
                  <a:lnTo>
                    <a:pt x="95243" y="69841"/>
                  </a:lnTo>
                  <a:lnTo>
                    <a:pt x="95243" y="69841"/>
                  </a:lnTo>
                  <a:lnTo>
                    <a:pt x="95243" y="69365"/>
                  </a:lnTo>
                  <a:lnTo>
                    <a:pt x="94996" y="69365"/>
                  </a:lnTo>
                  <a:close/>
                  <a:moveTo>
                    <a:pt x="94256" y="56984"/>
                  </a:moveTo>
                  <a:lnTo>
                    <a:pt x="94256" y="56984"/>
                  </a:lnTo>
                  <a:lnTo>
                    <a:pt x="94256" y="56984"/>
                  </a:lnTo>
                  <a:lnTo>
                    <a:pt x="94256" y="56984"/>
                  </a:lnTo>
                  <a:lnTo>
                    <a:pt x="94420" y="57301"/>
                  </a:lnTo>
                  <a:lnTo>
                    <a:pt x="94420" y="57301"/>
                  </a:lnTo>
                  <a:lnTo>
                    <a:pt x="94667" y="57777"/>
                  </a:lnTo>
                  <a:lnTo>
                    <a:pt x="94667" y="57777"/>
                  </a:lnTo>
                  <a:lnTo>
                    <a:pt x="94667" y="57777"/>
                  </a:lnTo>
                  <a:lnTo>
                    <a:pt x="94667" y="57777"/>
                  </a:lnTo>
                  <a:lnTo>
                    <a:pt x="94832" y="57777"/>
                  </a:lnTo>
                  <a:lnTo>
                    <a:pt x="94832" y="57301"/>
                  </a:lnTo>
                  <a:lnTo>
                    <a:pt x="94996" y="57301"/>
                  </a:lnTo>
                  <a:lnTo>
                    <a:pt x="94996" y="57301"/>
                  </a:lnTo>
                  <a:lnTo>
                    <a:pt x="94996" y="56984"/>
                  </a:lnTo>
                  <a:lnTo>
                    <a:pt x="94996" y="56984"/>
                  </a:lnTo>
                  <a:lnTo>
                    <a:pt x="94996" y="56984"/>
                  </a:lnTo>
                  <a:lnTo>
                    <a:pt x="94832" y="56666"/>
                  </a:lnTo>
                  <a:lnTo>
                    <a:pt x="94667" y="56666"/>
                  </a:lnTo>
                  <a:lnTo>
                    <a:pt x="94256" y="56984"/>
                  </a:lnTo>
                  <a:close/>
                  <a:moveTo>
                    <a:pt x="77148" y="44285"/>
                  </a:moveTo>
                  <a:lnTo>
                    <a:pt x="77148" y="44285"/>
                  </a:lnTo>
                  <a:lnTo>
                    <a:pt x="76984" y="43809"/>
                  </a:lnTo>
                  <a:lnTo>
                    <a:pt x="76984" y="43809"/>
                  </a:lnTo>
                  <a:lnTo>
                    <a:pt x="76819" y="43809"/>
                  </a:lnTo>
                  <a:lnTo>
                    <a:pt x="76572" y="43492"/>
                  </a:lnTo>
                  <a:lnTo>
                    <a:pt x="76408" y="43492"/>
                  </a:lnTo>
                  <a:lnTo>
                    <a:pt x="76408" y="43492"/>
                  </a:lnTo>
                  <a:lnTo>
                    <a:pt x="76408" y="43809"/>
                  </a:lnTo>
                  <a:lnTo>
                    <a:pt x="76408" y="43809"/>
                  </a:lnTo>
                  <a:lnTo>
                    <a:pt x="76572" y="43809"/>
                  </a:lnTo>
                  <a:lnTo>
                    <a:pt x="76572" y="43809"/>
                  </a:lnTo>
                  <a:lnTo>
                    <a:pt x="76572" y="44285"/>
                  </a:lnTo>
                  <a:lnTo>
                    <a:pt x="76572" y="44285"/>
                  </a:lnTo>
                  <a:lnTo>
                    <a:pt x="76572" y="44285"/>
                  </a:lnTo>
                  <a:lnTo>
                    <a:pt x="76408" y="44603"/>
                  </a:lnTo>
                  <a:lnTo>
                    <a:pt x="76572" y="44603"/>
                  </a:lnTo>
                  <a:lnTo>
                    <a:pt x="76572" y="44603"/>
                  </a:lnTo>
                  <a:lnTo>
                    <a:pt x="76819" y="44603"/>
                  </a:lnTo>
                  <a:lnTo>
                    <a:pt x="76819" y="44603"/>
                  </a:lnTo>
                  <a:lnTo>
                    <a:pt x="76984" y="44603"/>
                  </a:lnTo>
                  <a:lnTo>
                    <a:pt x="76819" y="44603"/>
                  </a:lnTo>
                  <a:lnTo>
                    <a:pt x="76819" y="44920"/>
                  </a:lnTo>
                  <a:lnTo>
                    <a:pt x="76819" y="44920"/>
                  </a:lnTo>
                  <a:lnTo>
                    <a:pt x="76819" y="44920"/>
                  </a:lnTo>
                  <a:lnTo>
                    <a:pt x="76984" y="44920"/>
                  </a:lnTo>
                  <a:lnTo>
                    <a:pt x="76984" y="44920"/>
                  </a:lnTo>
                  <a:lnTo>
                    <a:pt x="76984" y="44920"/>
                  </a:lnTo>
                  <a:lnTo>
                    <a:pt x="76984" y="44920"/>
                  </a:lnTo>
                  <a:lnTo>
                    <a:pt x="76984" y="44920"/>
                  </a:lnTo>
                  <a:lnTo>
                    <a:pt x="76984" y="44920"/>
                  </a:lnTo>
                  <a:lnTo>
                    <a:pt x="76984" y="44920"/>
                  </a:lnTo>
                  <a:lnTo>
                    <a:pt x="77148" y="44920"/>
                  </a:lnTo>
                  <a:lnTo>
                    <a:pt x="77148" y="44920"/>
                  </a:lnTo>
                  <a:lnTo>
                    <a:pt x="77395" y="44920"/>
                  </a:lnTo>
                  <a:lnTo>
                    <a:pt x="77395" y="44920"/>
                  </a:lnTo>
                  <a:lnTo>
                    <a:pt x="77395" y="44603"/>
                  </a:lnTo>
                  <a:lnTo>
                    <a:pt x="77395" y="44603"/>
                  </a:lnTo>
                  <a:lnTo>
                    <a:pt x="77148" y="44603"/>
                  </a:lnTo>
                  <a:lnTo>
                    <a:pt x="76984" y="44603"/>
                  </a:lnTo>
                  <a:lnTo>
                    <a:pt x="76984" y="44603"/>
                  </a:lnTo>
                  <a:lnTo>
                    <a:pt x="76984" y="44285"/>
                  </a:lnTo>
                  <a:lnTo>
                    <a:pt x="76984" y="44285"/>
                  </a:lnTo>
                  <a:lnTo>
                    <a:pt x="77148" y="44285"/>
                  </a:lnTo>
                  <a:close/>
                  <a:moveTo>
                    <a:pt x="95572" y="54444"/>
                  </a:moveTo>
                  <a:lnTo>
                    <a:pt x="95407" y="54444"/>
                  </a:lnTo>
                  <a:lnTo>
                    <a:pt x="95572" y="54444"/>
                  </a:lnTo>
                  <a:lnTo>
                    <a:pt x="95572" y="54761"/>
                  </a:lnTo>
                  <a:lnTo>
                    <a:pt x="95819" y="54761"/>
                  </a:lnTo>
                  <a:lnTo>
                    <a:pt x="95983" y="54761"/>
                  </a:lnTo>
                  <a:lnTo>
                    <a:pt x="95983" y="54761"/>
                  </a:lnTo>
                  <a:lnTo>
                    <a:pt x="96148" y="54444"/>
                  </a:lnTo>
                  <a:lnTo>
                    <a:pt x="96148" y="54444"/>
                  </a:lnTo>
                  <a:lnTo>
                    <a:pt x="96148" y="53968"/>
                  </a:lnTo>
                  <a:lnTo>
                    <a:pt x="95983" y="53968"/>
                  </a:lnTo>
                  <a:lnTo>
                    <a:pt x="95819" y="53968"/>
                  </a:lnTo>
                  <a:lnTo>
                    <a:pt x="95819" y="53968"/>
                  </a:lnTo>
                  <a:lnTo>
                    <a:pt x="95572" y="54444"/>
                  </a:lnTo>
                  <a:lnTo>
                    <a:pt x="95572" y="54444"/>
                  </a:lnTo>
                  <a:lnTo>
                    <a:pt x="95572" y="54444"/>
                  </a:lnTo>
                  <a:lnTo>
                    <a:pt x="95572" y="54444"/>
                  </a:lnTo>
                  <a:close/>
                  <a:moveTo>
                    <a:pt x="94832" y="73968"/>
                  </a:moveTo>
                  <a:lnTo>
                    <a:pt x="94832" y="73968"/>
                  </a:lnTo>
                  <a:lnTo>
                    <a:pt x="94832" y="73968"/>
                  </a:lnTo>
                  <a:lnTo>
                    <a:pt x="94667" y="74285"/>
                  </a:lnTo>
                  <a:lnTo>
                    <a:pt x="94667" y="74285"/>
                  </a:lnTo>
                  <a:lnTo>
                    <a:pt x="94832" y="74285"/>
                  </a:lnTo>
                  <a:lnTo>
                    <a:pt x="94996" y="74285"/>
                  </a:lnTo>
                  <a:lnTo>
                    <a:pt x="94996" y="74285"/>
                  </a:lnTo>
                  <a:lnTo>
                    <a:pt x="94996" y="74285"/>
                  </a:lnTo>
                  <a:lnTo>
                    <a:pt x="94996" y="73968"/>
                  </a:lnTo>
                  <a:lnTo>
                    <a:pt x="94996" y="73968"/>
                  </a:lnTo>
                  <a:lnTo>
                    <a:pt x="94832" y="73968"/>
                  </a:lnTo>
                  <a:close/>
                  <a:moveTo>
                    <a:pt x="89568" y="61111"/>
                  </a:moveTo>
                  <a:lnTo>
                    <a:pt x="89814" y="61111"/>
                  </a:lnTo>
                  <a:lnTo>
                    <a:pt x="89979" y="60793"/>
                  </a:lnTo>
                  <a:lnTo>
                    <a:pt x="90143" y="60793"/>
                  </a:lnTo>
                  <a:lnTo>
                    <a:pt x="90143" y="60317"/>
                  </a:lnTo>
                  <a:lnTo>
                    <a:pt x="90143" y="60317"/>
                  </a:lnTo>
                  <a:lnTo>
                    <a:pt x="90143" y="60317"/>
                  </a:lnTo>
                  <a:lnTo>
                    <a:pt x="90143" y="60000"/>
                  </a:lnTo>
                  <a:lnTo>
                    <a:pt x="89979" y="60000"/>
                  </a:lnTo>
                  <a:lnTo>
                    <a:pt x="89979" y="60317"/>
                  </a:lnTo>
                  <a:lnTo>
                    <a:pt x="89814" y="60317"/>
                  </a:lnTo>
                  <a:lnTo>
                    <a:pt x="89568" y="60793"/>
                  </a:lnTo>
                  <a:lnTo>
                    <a:pt x="89403" y="61111"/>
                  </a:lnTo>
                  <a:lnTo>
                    <a:pt x="89403" y="61111"/>
                  </a:lnTo>
                  <a:lnTo>
                    <a:pt x="89403" y="61111"/>
                  </a:lnTo>
                  <a:lnTo>
                    <a:pt x="89568" y="61111"/>
                  </a:lnTo>
                  <a:close/>
                  <a:moveTo>
                    <a:pt x="67525" y="86984"/>
                  </a:moveTo>
                  <a:lnTo>
                    <a:pt x="67525" y="86984"/>
                  </a:lnTo>
                  <a:lnTo>
                    <a:pt x="67690" y="87460"/>
                  </a:lnTo>
                  <a:lnTo>
                    <a:pt x="67690" y="87460"/>
                  </a:lnTo>
                  <a:lnTo>
                    <a:pt x="67854" y="87460"/>
                  </a:lnTo>
                  <a:lnTo>
                    <a:pt x="67854" y="86984"/>
                  </a:lnTo>
                  <a:lnTo>
                    <a:pt x="67854" y="86984"/>
                  </a:lnTo>
                  <a:lnTo>
                    <a:pt x="67854" y="86984"/>
                  </a:lnTo>
                  <a:lnTo>
                    <a:pt x="68101" y="86984"/>
                  </a:lnTo>
                  <a:lnTo>
                    <a:pt x="68101" y="86666"/>
                  </a:lnTo>
                  <a:lnTo>
                    <a:pt x="68101" y="86666"/>
                  </a:lnTo>
                  <a:lnTo>
                    <a:pt x="67525" y="86984"/>
                  </a:lnTo>
                  <a:close/>
                  <a:moveTo>
                    <a:pt x="68265" y="82857"/>
                  </a:moveTo>
                  <a:lnTo>
                    <a:pt x="68265" y="82857"/>
                  </a:lnTo>
                  <a:lnTo>
                    <a:pt x="68265" y="82857"/>
                  </a:lnTo>
                  <a:lnTo>
                    <a:pt x="68265" y="82857"/>
                  </a:lnTo>
                  <a:lnTo>
                    <a:pt x="68265" y="82857"/>
                  </a:lnTo>
                  <a:lnTo>
                    <a:pt x="68265" y="82857"/>
                  </a:lnTo>
                  <a:lnTo>
                    <a:pt x="68265" y="82857"/>
                  </a:lnTo>
                  <a:lnTo>
                    <a:pt x="68265" y="82539"/>
                  </a:lnTo>
                  <a:lnTo>
                    <a:pt x="68265" y="82857"/>
                  </a:lnTo>
                  <a:close/>
                  <a:moveTo>
                    <a:pt x="61110" y="56190"/>
                  </a:moveTo>
                  <a:lnTo>
                    <a:pt x="61110" y="56190"/>
                  </a:lnTo>
                  <a:lnTo>
                    <a:pt x="61274" y="56190"/>
                  </a:lnTo>
                  <a:lnTo>
                    <a:pt x="61274" y="56190"/>
                  </a:lnTo>
                  <a:lnTo>
                    <a:pt x="61274" y="56190"/>
                  </a:lnTo>
                  <a:lnTo>
                    <a:pt x="61274" y="56190"/>
                  </a:lnTo>
                  <a:lnTo>
                    <a:pt x="61274" y="55873"/>
                  </a:lnTo>
                  <a:lnTo>
                    <a:pt x="61110" y="56190"/>
                  </a:lnTo>
                  <a:close/>
                  <a:moveTo>
                    <a:pt x="87265" y="64444"/>
                  </a:moveTo>
                  <a:lnTo>
                    <a:pt x="87265" y="64444"/>
                  </a:lnTo>
                  <a:lnTo>
                    <a:pt x="87100" y="64444"/>
                  </a:lnTo>
                  <a:lnTo>
                    <a:pt x="87100" y="64920"/>
                  </a:lnTo>
                  <a:lnTo>
                    <a:pt x="87100" y="64920"/>
                  </a:lnTo>
                  <a:lnTo>
                    <a:pt x="87100" y="65238"/>
                  </a:lnTo>
                  <a:lnTo>
                    <a:pt x="87100" y="65238"/>
                  </a:lnTo>
                  <a:lnTo>
                    <a:pt x="87100" y="64920"/>
                  </a:lnTo>
                  <a:lnTo>
                    <a:pt x="87100" y="65238"/>
                  </a:lnTo>
                  <a:lnTo>
                    <a:pt x="87265" y="64920"/>
                  </a:lnTo>
                  <a:lnTo>
                    <a:pt x="87265" y="64920"/>
                  </a:lnTo>
                  <a:lnTo>
                    <a:pt x="87265" y="64920"/>
                  </a:lnTo>
                  <a:lnTo>
                    <a:pt x="87265" y="64920"/>
                  </a:lnTo>
                  <a:lnTo>
                    <a:pt x="87265" y="64444"/>
                  </a:lnTo>
                  <a:close/>
                  <a:moveTo>
                    <a:pt x="66703" y="83333"/>
                  </a:moveTo>
                  <a:lnTo>
                    <a:pt x="66538" y="83333"/>
                  </a:lnTo>
                  <a:lnTo>
                    <a:pt x="65716" y="83333"/>
                  </a:lnTo>
                  <a:lnTo>
                    <a:pt x="65716" y="83333"/>
                  </a:lnTo>
                  <a:lnTo>
                    <a:pt x="65551" y="83333"/>
                  </a:lnTo>
                  <a:lnTo>
                    <a:pt x="65387" y="83650"/>
                  </a:lnTo>
                  <a:lnTo>
                    <a:pt x="65387" y="83650"/>
                  </a:lnTo>
                  <a:lnTo>
                    <a:pt x="65551" y="83968"/>
                  </a:lnTo>
                  <a:lnTo>
                    <a:pt x="66127" y="84444"/>
                  </a:lnTo>
                  <a:lnTo>
                    <a:pt x="66291" y="84444"/>
                  </a:lnTo>
                  <a:lnTo>
                    <a:pt x="66538" y="84761"/>
                  </a:lnTo>
                  <a:lnTo>
                    <a:pt x="66703" y="84761"/>
                  </a:lnTo>
                  <a:lnTo>
                    <a:pt x="66703" y="84761"/>
                  </a:lnTo>
                  <a:lnTo>
                    <a:pt x="66949" y="84444"/>
                  </a:lnTo>
                  <a:lnTo>
                    <a:pt x="66949" y="84444"/>
                  </a:lnTo>
                  <a:lnTo>
                    <a:pt x="66949" y="83968"/>
                  </a:lnTo>
                  <a:lnTo>
                    <a:pt x="66949" y="83650"/>
                  </a:lnTo>
                  <a:lnTo>
                    <a:pt x="66703" y="83333"/>
                  </a:lnTo>
                  <a:close/>
                  <a:moveTo>
                    <a:pt x="88581" y="53968"/>
                  </a:moveTo>
                  <a:lnTo>
                    <a:pt x="88827" y="53968"/>
                  </a:lnTo>
                  <a:lnTo>
                    <a:pt x="88992" y="53968"/>
                  </a:lnTo>
                  <a:lnTo>
                    <a:pt x="88992" y="53968"/>
                  </a:lnTo>
                  <a:lnTo>
                    <a:pt x="89239" y="53968"/>
                  </a:lnTo>
                  <a:lnTo>
                    <a:pt x="89239" y="53968"/>
                  </a:lnTo>
                  <a:lnTo>
                    <a:pt x="89239" y="53968"/>
                  </a:lnTo>
                  <a:lnTo>
                    <a:pt x="89239" y="53968"/>
                  </a:lnTo>
                  <a:lnTo>
                    <a:pt x="89239" y="53968"/>
                  </a:lnTo>
                  <a:lnTo>
                    <a:pt x="89239" y="53650"/>
                  </a:lnTo>
                  <a:lnTo>
                    <a:pt x="88992" y="53174"/>
                  </a:lnTo>
                  <a:lnTo>
                    <a:pt x="88827" y="53174"/>
                  </a:lnTo>
                  <a:lnTo>
                    <a:pt x="88581" y="53174"/>
                  </a:lnTo>
                  <a:lnTo>
                    <a:pt x="88581" y="53174"/>
                  </a:lnTo>
                  <a:lnTo>
                    <a:pt x="88416" y="53174"/>
                  </a:lnTo>
                  <a:lnTo>
                    <a:pt x="88416" y="53174"/>
                  </a:lnTo>
                  <a:lnTo>
                    <a:pt x="88581" y="53650"/>
                  </a:lnTo>
                  <a:lnTo>
                    <a:pt x="88581" y="53650"/>
                  </a:lnTo>
                  <a:lnTo>
                    <a:pt x="88581" y="53968"/>
                  </a:lnTo>
                  <a:lnTo>
                    <a:pt x="88581" y="53968"/>
                  </a:lnTo>
                  <a:close/>
                  <a:moveTo>
                    <a:pt x="94996" y="56190"/>
                  </a:moveTo>
                  <a:lnTo>
                    <a:pt x="94832" y="56190"/>
                  </a:lnTo>
                  <a:lnTo>
                    <a:pt x="94832" y="56190"/>
                  </a:lnTo>
                  <a:lnTo>
                    <a:pt x="94832" y="55873"/>
                  </a:lnTo>
                  <a:lnTo>
                    <a:pt x="94832" y="55873"/>
                  </a:lnTo>
                  <a:lnTo>
                    <a:pt x="94832" y="55873"/>
                  </a:lnTo>
                  <a:lnTo>
                    <a:pt x="94667" y="55873"/>
                  </a:lnTo>
                  <a:lnTo>
                    <a:pt x="94667" y="56190"/>
                  </a:lnTo>
                  <a:lnTo>
                    <a:pt x="94667" y="56190"/>
                  </a:lnTo>
                  <a:lnTo>
                    <a:pt x="94667" y="56190"/>
                  </a:lnTo>
                  <a:lnTo>
                    <a:pt x="94832" y="56666"/>
                  </a:lnTo>
                  <a:lnTo>
                    <a:pt x="94832" y="56666"/>
                  </a:lnTo>
                  <a:lnTo>
                    <a:pt x="94996" y="56666"/>
                  </a:lnTo>
                  <a:lnTo>
                    <a:pt x="94996" y="56666"/>
                  </a:lnTo>
                  <a:lnTo>
                    <a:pt x="94996" y="56190"/>
                  </a:lnTo>
                  <a:lnTo>
                    <a:pt x="94996" y="56190"/>
                  </a:lnTo>
                  <a:lnTo>
                    <a:pt x="94996" y="56190"/>
                  </a:lnTo>
                  <a:lnTo>
                    <a:pt x="94996" y="56190"/>
                  </a:lnTo>
                  <a:lnTo>
                    <a:pt x="94996" y="56190"/>
                  </a:lnTo>
                  <a:close/>
                  <a:moveTo>
                    <a:pt x="100260" y="97936"/>
                  </a:moveTo>
                  <a:lnTo>
                    <a:pt x="100260" y="97936"/>
                  </a:lnTo>
                  <a:lnTo>
                    <a:pt x="100095" y="98253"/>
                  </a:lnTo>
                  <a:lnTo>
                    <a:pt x="99849" y="98253"/>
                  </a:lnTo>
                  <a:lnTo>
                    <a:pt x="99849" y="98253"/>
                  </a:lnTo>
                  <a:lnTo>
                    <a:pt x="99684" y="98253"/>
                  </a:lnTo>
                  <a:lnTo>
                    <a:pt x="99437" y="98730"/>
                  </a:lnTo>
                  <a:lnTo>
                    <a:pt x="99437" y="98253"/>
                  </a:lnTo>
                  <a:lnTo>
                    <a:pt x="99273" y="98253"/>
                  </a:lnTo>
                  <a:lnTo>
                    <a:pt x="99108" y="98730"/>
                  </a:lnTo>
                  <a:lnTo>
                    <a:pt x="99108" y="98730"/>
                  </a:lnTo>
                  <a:lnTo>
                    <a:pt x="98862" y="98730"/>
                  </a:lnTo>
                  <a:lnTo>
                    <a:pt x="98697" y="98730"/>
                  </a:lnTo>
                  <a:lnTo>
                    <a:pt x="98697" y="98730"/>
                  </a:lnTo>
                  <a:lnTo>
                    <a:pt x="98697" y="98730"/>
                  </a:lnTo>
                  <a:lnTo>
                    <a:pt x="99108" y="98730"/>
                  </a:lnTo>
                  <a:lnTo>
                    <a:pt x="99273" y="98253"/>
                  </a:lnTo>
                  <a:lnTo>
                    <a:pt x="99273" y="98253"/>
                  </a:lnTo>
                  <a:lnTo>
                    <a:pt x="99437" y="97936"/>
                  </a:lnTo>
                  <a:lnTo>
                    <a:pt x="99437" y="97936"/>
                  </a:lnTo>
                  <a:lnTo>
                    <a:pt x="99273" y="97936"/>
                  </a:lnTo>
                  <a:lnTo>
                    <a:pt x="99108" y="97936"/>
                  </a:lnTo>
                  <a:lnTo>
                    <a:pt x="99108" y="97936"/>
                  </a:lnTo>
                  <a:lnTo>
                    <a:pt x="99108" y="97460"/>
                  </a:lnTo>
                  <a:lnTo>
                    <a:pt x="99108" y="97460"/>
                  </a:lnTo>
                  <a:lnTo>
                    <a:pt x="99273" y="97460"/>
                  </a:lnTo>
                  <a:lnTo>
                    <a:pt x="99273" y="97460"/>
                  </a:lnTo>
                  <a:lnTo>
                    <a:pt x="99273" y="97460"/>
                  </a:lnTo>
                  <a:lnTo>
                    <a:pt x="99108" y="97460"/>
                  </a:lnTo>
                  <a:lnTo>
                    <a:pt x="98862" y="97460"/>
                  </a:lnTo>
                  <a:lnTo>
                    <a:pt x="98862" y="97460"/>
                  </a:lnTo>
                  <a:lnTo>
                    <a:pt x="99273" y="97142"/>
                  </a:lnTo>
                  <a:lnTo>
                    <a:pt x="99273" y="97142"/>
                  </a:lnTo>
                  <a:lnTo>
                    <a:pt x="99437" y="96825"/>
                  </a:lnTo>
                  <a:lnTo>
                    <a:pt x="99437" y="96825"/>
                  </a:lnTo>
                  <a:lnTo>
                    <a:pt x="99437" y="96825"/>
                  </a:lnTo>
                  <a:lnTo>
                    <a:pt x="99684" y="96349"/>
                  </a:lnTo>
                  <a:lnTo>
                    <a:pt x="99849" y="96349"/>
                  </a:lnTo>
                  <a:lnTo>
                    <a:pt x="99849" y="96031"/>
                  </a:lnTo>
                  <a:lnTo>
                    <a:pt x="99849" y="96031"/>
                  </a:lnTo>
                  <a:lnTo>
                    <a:pt x="99849" y="95714"/>
                  </a:lnTo>
                  <a:lnTo>
                    <a:pt x="99684" y="95714"/>
                  </a:lnTo>
                  <a:lnTo>
                    <a:pt x="99684" y="95238"/>
                  </a:lnTo>
                  <a:lnTo>
                    <a:pt x="99437" y="95238"/>
                  </a:lnTo>
                  <a:lnTo>
                    <a:pt x="99108" y="95238"/>
                  </a:lnTo>
                  <a:lnTo>
                    <a:pt x="99108" y="95238"/>
                  </a:lnTo>
                  <a:lnTo>
                    <a:pt x="98862" y="95238"/>
                  </a:lnTo>
                  <a:lnTo>
                    <a:pt x="98862" y="95714"/>
                  </a:lnTo>
                  <a:lnTo>
                    <a:pt x="98862" y="95714"/>
                  </a:lnTo>
                  <a:lnTo>
                    <a:pt x="98697" y="95714"/>
                  </a:lnTo>
                  <a:lnTo>
                    <a:pt x="98862" y="95714"/>
                  </a:lnTo>
                  <a:lnTo>
                    <a:pt x="98862" y="95238"/>
                  </a:lnTo>
                  <a:lnTo>
                    <a:pt x="98862" y="94920"/>
                  </a:lnTo>
                  <a:lnTo>
                    <a:pt x="98862" y="94920"/>
                  </a:lnTo>
                  <a:lnTo>
                    <a:pt x="98697" y="95238"/>
                  </a:lnTo>
                  <a:lnTo>
                    <a:pt x="98533" y="95238"/>
                  </a:lnTo>
                  <a:lnTo>
                    <a:pt x="98533" y="95714"/>
                  </a:lnTo>
                  <a:lnTo>
                    <a:pt x="98286" y="95714"/>
                  </a:lnTo>
                  <a:lnTo>
                    <a:pt x="98286" y="95714"/>
                  </a:lnTo>
                  <a:lnTo>
                    <a:pt x="98122" y="95714"/>
                  </a:lnTo>
                  <a:lnTo>
                    <a:pt x="98122" y="96031"/>
                  </a:lnTo>
                  <a:lnTo>
                    <a:pt x="97957" y="96031"/>
                  </a:lnTo>
                  <a:lnTo>
                    <a:pt x="98122" y="95714"/>
                  </a:lnTo>
                  <a:lnTo>
                    <a:pt x="97957" y="95714"/>
                  </a:lnTo>
                  <a:lnTo>
                    <a:pt x="97957" y="95714"/>
                  </a:lnTo>
                  <a:lnTo>
                    <a:pt x="97710" y="96031"/>
                  </a:lnTo>
                  <a:lnTo>
                    <a:pt x="97710" y="96031"/>
                  </a:lnTo>
                  <a:lnTo>
                    <a:pt x="97710" y="96031"/>
                  </a:lnTo>
                  <a:lnTo>
                    <a:pt x="97546" y="96349"/>
                  </a:lnTo>
                  <a:lnTo>
                    <a:pt x="97546" y="96349"/>
                  </a:lnTo>
                  <a:lnTo>
                    <a:pt x="97546" y="96349"/>
                  </a:lnTo>
                  <a:lnTo>
                    <a:pt x="97546" y="96349"/>
                  </a:lnTo>
                  <a:lnTo>
                    <a:pt x="97546" y="96349"/>
                  </a:lnTo>
                  <a:lnTo>
                    <a:pt x="97546" y="96349"/>
                  </a:lnTo>
                  <a:lnTo>
                    <a:pt x="97710" y="96031"/>
                  </a:lnTo>
                  <a:lnTo>
                    <a:pt x="97710" y="95714"/>
                  </a:lnTo>
                  <a:lnTo>
                    <a:pt x="97957" y="95238"/>
                  </a:lnTo>
                  <a:lnTo>
                    <a:pt x="97957" y="95238"/>
                  </a:lnTo>
                  <a:lnTo>
                    <a:pt x="97957" y="95238"/>
                  </a:lnTo>
                  <a:lnTo>
                    <a:pt x="97957" y="94920"/>
                  </a:lnTo>
                  <a:lnTo>
                    <a:pt x="97710" y="95238"/>
                  </a:lnTo>
                  <a:lnTo>
                    <a:pt x="97710" y="95238"/>
                  </a:lnTo>
                  <a:lnTo>
                    <a:pt x="97710" y="95714"/>
                  </a:lnTo>
                  <a:lnTo>
                    <a:pt x="97546" y="95714"/>
                  </a:lnTo>
                  <a:lnTo>
                    <a:pt x="97546" y="95714"/>
                  </a:lnTo>
                  <a:lnTo>
                    <a:pt x="97710" y="95238"/>
                  </a:lnTo>
                  <a:lnTo>
                    <a:pt x="97710" y="95238"/>
                  </a:lnTo>
                  <a:lnTo>
                    <a:pt x="97710" y="95238"/>
                  </a:lnTo>
                  <a:lnTo>
                    <a:pt x="97546" y="95238"/>
                  </a:lnTo>
                  <a:lnTo>
                    <a:pt x="97135" y="95238"/>
                  </a:lnTo>
                  <a:lnTo>
                    <a:pt x="97135" y="95238"/>
                  </a:lnTo>
                  <a:lnTo>
                    <a:pt x="96723" y="95238"/>
                  </a:lnTo>
                  <a:lnTo>
                    <a:pt x="96723" y="95238"/>
                  </a:lnTo>
                  <a:lnTo>
                    <a:pt x="96970" y="94920"/>
                  </a:lnTo>
                  <a:lnTo>
                    <a:pt x="97135" y="94603"/>
                  </a:lnTo>
                  <a:lnTo>
                    <a:pt x="97135" y="94603"/>
                  </a:lnTo>
                  <a:lnTo>
                    <a:pt x="97135" y="94603"/>
                  </a:lnTo>
                  <a:lnTo>
                    <a:pt x="96970" y="94603"/>
                  </a:lnTo>
                  <a:lnTo>
                    <a:pt x="96970" y="94603"/>
                  </a:lnTo>
                  <a:lnTo>
                    <a:pt x="96723" y="94920"/>
                  </a:lnTo>
                  <a:lnTo>
                    <a:pt x="96723" y="94920"/>
                  </a:lnTo>
                  <a:lnTo>
                    <a:pt x="96970" y="94603"/>
                  </a:lnTo>
                  <a:lnTo>
                    <a:pt x="97381" y="94126"/>
                  </a:lnTo>
                  <a:lnTo>
                    <a:pt x="97546" y="93809"/>
                  </a:lnTo>
                  <a:lnTo>
                    <a:pt x="97710" y="93809"/>
                  </a:lnTo>
                  <a:lnTo>
                    <a:pt x="97710" y="93333"/>
                  </a:lnTo>
                  <a:lnTo>
                    <a:pt x="97710" y="93333"/>
                  </a:lnTo>
                  <a:lnTo>
                    <a:pt x="97546" y="93809"/>
                  </a:lnTo>
                  <a:lnTo>
                    <a:pt x="97381" y="93809"/>
                  </a:lnTo>
                  <a:lnTo>
                    <a:pt x="97381" y="93333"/>
                  </a:lnTo>
                  <a:lnTo>
                    <a:pt x="97381" y="93333"/>
                  </a:lnTo>
                  <a:lnTo>
                    <a:pt x="96970" y="93333"/>
                  </a:lnTo>
                  <a:lnTo>
                    <a:pt x="96970" y="93809"/>
                  </a:lnTo>
                  <a:lnTo>
                    <a:pt x="96970" y="93809"/>
                  </a:lnTo>
                  <a:lnTo>
                    <a:pt x="96970" y="93333"/>
                  </a:lnTo>
                  <a:lnTo>
                    <a:pt x="96970" y="93333"/>
                  </a:lnTo>
                  <a:lnTo>
                    <a:pt x="96970" y="93015"/>
                  </a:lnTo>
                  <a:lnTo>
                    <a:pt x="96970" y="93015"/>
                  </a:lnTo>
                  <a:lnTo>
                    <a:pt x="96970" y="93333"/>
                  </a:lnTo>
                  <a:lnTo>
                    <a:pt x="96723" y="93333"/>
                  </a:lnTo>
                  <a:lnTo>
                    <a:pt x="96559" y="93809"/>
                  </a:lnTo>
                  <a:lnTo>
                    <a:pt x="96559" y="93809"/>
                  </a:lnTo>
                  <a:lnTo>
                    <a:pt x="96394" y="93809"/>
                  </a:lnTo>
                  <a:lnTo>
                    <a:pt x="96148" y="94126"/>
                  </a:lnTo>
                  <a:lnTo>
                    <a:pt x="95983" y="94603"/>
                  </a:lnTo>
                  <a:lnTo>
                    <a:pt x="95819" y="94920"/>
                  </a:lnTo>
                  <a:lnTo>
                    <a:pt x="95819" y="94603"/>
                  </a:lnTo>
                  <a:lnTo>
                    <a:pt x="95983" y="94603"/>
                  </a:lnTo>
                  <a:lnTo>
                    <a:pt x="95819" y="94603"/>
                  </a:lnTo>
                  <a:lnTo>
                    <a:pt x="95819" y="94126"/>
                  </a:lnTo>
                  <a:lnTo>
                    <a:pt x="95983" y="94126"/>
                  </a:lnTo>
                  <a:lnTo>
                    <a:pt x="95983" y="94126"/>
                  </a:lnTo>
                  <a:lnTo>
                    <a:pt x="95983" y="93809"/>
                  </a:lnTo>
                  <a:lnTo>
                    <a:pt x="96148" y="93809"/>
                  </a:lnTo>
                  <a:lnTo>
                    <a:pt x="96148" y="93809"/>
                  </a:lnTo>
                  <a:lnTo>
                    <a:pt x="96148" y="93333"/>
                  </a:lnTo>
                  <a:lnTo>
                    <a:pt x="96148" y="93333"/>
                  </a:lnTo>
                  <a:lnTo>
                    <a:pt x="96559" y="93015"/>
                  </a:lnTo>
                  <a:lnTo>
                    <a:pt x="96723" y="92698"/>
                  </a:lnTo>
                  <a:lnTo>
                    <a:pt x="96723" y="92222"/>
                  </a:lnTo>
                  <a:lnTo>
                    <a:pt x="96723" y="92222"/>
                  </a:lnTo>
                  <a:lnTo>
                    <a:pt x="96970" y="92222"/>
                  </a:lnTo>
                  <a:lnTo>
                    <a:pt x="97381" y="91587"/>
                  </a:lnTo>
                  <a:lnTo>
                    <a:pt x="97381" y="91587"/>
                  </a:lnTo>
                  <a:lnTo>
                    <a:pt x="97546" y="91111"/>
                  </a:lnTo>
                  <a:lnTo>
                    <a:pt x="97546" y="91111"/>
                  </a:lnTo>
                  <a:lnTo>
                    <a:pt x="97546" y="91111"/>
                  </a:lnTo>
                  <a:lnTo>
                    <a:pt x="97710" y="90793"/>
                  </a:lnTo>
                  <a:lnTo>
                    <a:pt x="97957" y="90793"/>
                  </a:lnTo>
                  <a:lnTo>
                    <a:pt x="98122" y="90000"/>
                  </a:lnTo>
                  <a:lnTo>
                    <a:pt x="98122" y="90000"/>
                  </a:lnTo>
                  <a:lnTo>
                    <a:pt x="98122" y="90000"/>
                  </a:lnTo>
                  <a:lnTo>
                    <a:pt x="98122" y="89682"/>
                  </a:lnTo>
                  <a:lnTo>
                    <a:pt x="98122" y="89682"/>
                  </a:lnTo>
                  <a:lnTo>
                    <a:pt x="98122" y="89682"/>
                  </a:lnTo>
                  <a:lnTo>
                    <a:pt x="98122" y="89682"/>
                  </a:lnTo>
                  <a:lnTo>
                    <a:pt x="97957" y="89682"/>
                  </a:lnTo>
                  <a:lnTo>
                    <a:pt x="97957" y="89682"/>
                  </a:lnTo>
                  <a:lnTo>
                    <a:pt x="97957" y="89682"/>
                  </a:lnTo>
                  <a:lnTo>
                    <a:pt x="97957" y="89206"/>
                  </a:lnTo>
                  <a:lnTo>
                    <a:pt x="97957" y="89206"/>
                  </a:lnTo>
                  <a:lnTo>
                    <a:pt x="98122" y="89206"/>
                  </a:lnTo>
                  <a:lnTo>
                    <a:pt x="98286" y="89206"/>
                  </a:lnTo>
                  <a:lnTo>
                    <a:pt x="98533" y="88888"/>
                  </a:lnTo>
                  <a:lnTo>
                    <a:pt x="98533" y="88888"/>
                  </a:lnTo>
                  <a:lnTo>
                    <a:pt x="98697" y="88888"/>
                  </a:lnTo>
                  <a:lnTo>
                    <a:pt x="98862" y="88571"/>
                  </a:lnTo>
                  <a:lnTo>
                    <a:pt x="98862" y="88571"/>
                  </a:lnTo>
                  <a:lnTo>
                    <a:pt x="98862" y="88571"/>
                  </a:lnTo>
                  <a:lnTo>
                    <a:pt x="98862" y="88571"/>
                  </a:lnTo>
                  <a:lnTo>
                    <a:pt x="98533" y="88571"/>
                  </a:lnTo>
                  <a:lnTo>
                    <a:pt x="98533" y="88571"/>
                  </a:lnTo>
                  <a:lnTo>
                    <a:pt x="98533" y="88571"/>
                  </a:lnTo>
                  <a:lnTo>
                    <a:pt x="98533" y="88888"/>
                  </a:lnTo>
                  <a:lnTo>
                    <a:pt x="98286" y="88571"/>
                  </a:lnTo>
                  <a:lnTo>
                    <a:pt x="98286" y="88571"/>
                  </a:lnTo>
                  <a:lnTo>
                    <a:pt x="98122" y="88571"/>
                  </a:lnTo>
                  <a:lnTo>
                    <a:pt x="97710" y="88888"/>
                  </a:lnTo>
                  <a:lnTo>
                    <a:pt x="97381" y="88888"/>
                  </a:lnTo>
                  <a:lnTo>
                    <a:pt x="97135" y="89206"/>
                  </a:lnTo>
                  <a:lnTo>
                    <a:pt x="97135" y="89206"/>
                  </a:lnTo>
                  <a:lnTo>
                    <a:pt x="96970" y="89206"/>
                  </a:lnTo>
                  <a:lnTo>
                    <a:pt x="96723" y="89682"/>
                  </a:lnTo>
                  <a:lnTo>
                    <a:pt x="96723" y="90000"/>
                  </a:lnTo>
                  <a:lnTo>
                    <a:pt x="96559" y="90000"/>
                  </a:lnTo>
                  <a:lnTo>
                    <a:pt x="96394" y="90476"/>
                  </a:lnTo>
                  <a:lnTo>
                    <a:pt x="96394" y="90476"/>
                  </a:lnTo>
                  <a:lnTo>
                    <a:pt x="96394" y="90476"/>
                  </a:lnTo>
                  <a:lnTo>
                    <a:pt x="96394" y="90476"/>
                  </a:lnTo>
                  <a:lnTo>
                    <a:pt x="96394" y="90793"/>
                  </a:lnTo>
                  <a:lnTo>
                    <a:pt x="96148" y="91111"/>
                  </a:lnTo>
                  <a:lnTo>
                    <a:pt x="95983" y="91111"/>
                  </a:lnTo>
                  <a:lnTo>
                    <a:pt x="95983" y="91111"/>
                  </a:lnTo>
                  <a:lnTo>
                    <a:pt x="95819" y="91111"/>
                  </a:lnTo>
                  <a:lnTo>
                    <a:pt x="95819" y="91587"/>
                  </a:lnTo>
                  <a:lnTo>
                    <a:pt x="95819" y="91587"/>
                  </a:lnTo>
                  <a:lnTo>
                    <a:pt x="95983" y="91587"/>
                  </a:lnTo>
                  <a:lnTo>
                    <a:pt x="95983" y="91587"/>
                  </a:lnTo>
                  <a:lnTo>
                    <a:pt x="95819" y="91587"/>
                  </a:lnTo>
                  <a:lnTo>
                    <a:pt x="95819" y="91587"/>
                  </a:lnTo>
                  <a:lnTo>
                    <a:pt x="95572" y="91904"/>
                  </a:lnTo>
                  <a:lnTo>
                    <a:pt x="95407" y="91904"/>
                  </a:lnTo>
                  <a:lnTo>
                    <a:pt x="95243" y="93015"/>
                  </a:lnTo>
                  <a:lnTo>
                    <a:pt x="94832" y="93333"/>
                  </a:lnTo>
                  <a:lnTo>
                    <a:pt x="94420" y="94603"/>
                  </a:lnTo>
                  <a:lnTo>
                    <a:pt x="94420" y="94603"/>
                  </a:lnTo>
                  <a:lnTo>
                    <a:pt x="94420" y="94920"/>
                  </a:lnTo>
                  <a:lnTo>
                    <a:pt x="94420" y="95238"/>
                  </a:lnTo>
                  <a:lnTo>
                    <a:pt x="94420" y="95238"/>
                  </a:lnTo>
                  <a:lnTo>
                    <a:pt x="94420" y="95238"/>
                  </a:lnTo>
                  <a:lnTo>
                    <a:pt x="94256" y="94920"/>
                  </a:lnTo>
                  <a:lnTo>
                    <a:pt x="94256" y="94920"/>
                  </a:lnTo>
                  <a:lnTo>
                    <a:pt x="94009" y="95238"/>
                  </a:lnTo>
                  <a:lnTo>
                    <a:pt x="93845" y="95238"/>
                  </a:lnTo>
                  <a:lnTo>
                    <a:pt x="93845" y="95714"/>
                  </a:lnTo>
                  <a:lnTo>
                    <a:pt x="93845" y="95714"/>
                  </a:lnTo>
                  <a:lnTo>
                    <a:pt x="93845" y="96031"/>
                  </a:lnTo>
                  <a:lnTo>
                    <a:pt x="93845" y="96031"/>
                  </a:lnTo>
                  <a:lnTo>
                    <a:pt x="94009" y="96031"/>
                  </a:lnTo>
                  <a:lnTo>
                    <a:pt x="94009" y="96031"/>
                  </a:lnTo>
                  <a:lnTo>
                    <a:pt x="93845" y="96031"/>
                  </a:lnTo>
                  <a:lnTo>
                    <a:pt x="93845" y="96349"/>
                  </a:lnTo>
                  <a:lnTo>
                    <a:pt x="93845" y="96825"/>
                  </a:lnTo>
                  <a:lnTo>
                    <a:pt x="93845" y="96825"/>
                  </a:lnTo>
                  <a:lnTo>
                    <a:pt x="93845" y="96825"/>
                  </a:lnTo>
                  <a:lnTo>
                    <a:pt x="93845" y="96825"/>
                  </a:lnTo>
                  <a:lnTo>
                    <a:pt x="93845" y="96825"/>
                  </a:lnTo>
                  <a:lnTo>
                    <a:pt x="93680" y="96349"/>
                  </a:lnTo>
                  <a:lnTo>
                    <a:pt x="93433" y="96349"/>
                  </a:lnTo>
                  <a:lnTo>
                    <a:pt x="93433" y="96349"/>
                  </a:lnTo>
                  <a:lnTo>
                    <a:pt x="93433" y="96349"/>
                  </a:lnTo>
                  <a:lnTo>
                    <a:pt x="93269" y="96825"/>
                  </a:lnTo>
                  <a:lnTo>
                    <a:pt x="93104" y="97142"/>
                  </a:lnTo>
                  <a:lnTo>
                    <a:pt x="92858" y="97460"/>
                  </a:lnTo>
                  <a:lnTo>
                    <a:pt x="92693" y="97936"/>
                  </a:lnTo>
                  <a:lnTo>
                    <a:pt x="92693" y="98253"/>
                  </a:lnTo>
                  <a:lnTo>
                    <a:pt x="92529" y="97936"/>
                  </a:lnTo>
                  <a:lnTo>
                    <a:pt x="92529" y="97936"/>
                  </a:lnTo>
                  <a:lnTo>
                    <a:pt x="92529" y="97936"/>
                  </a:lnTo>
                  <a:lnTo>
                    <a:pt x="92529" y="97936"/>
                  </a:lnTo>
                  <a:lnTo>
                    <a:pt x="92693" y="97460"/>
                  </a:lnTo>
                  <a:lnTo>
                    <a:pt x="92529" y="97460"/>
                  </a:lnTo>
                  <a:lnTo>
                    <a:pt x="92117" y="97936"/>
                  </a:lnTo>
                  <a:lnTo>
                    <a:pt x="92117" y="98253"/>
                  </a:lnTo>
                  <a:lnTo>
                    <a:pt x="91953" y="98253"/>
                  </a:lnTo>
                  <a:lnTo>
                    <a:pt x="92282" y="98253"/>
                  </a:lnTo>
                  <a:lnTo>
                    <a:pt x="92693" y="98253"/>
                  </a:lnTo>
                  <a:lnTo>
                    <a:pt x="92693" y="98253"/>
                  </a:lnTo>
                  <a:lnTo>
                    <a:pt x="92858" y="98253"/>
                  </a:lnTo>
                  <a:lnTo>
                    <a:pt x="93104" y="98253"/>
                  </a:lnTo>
                  <a:lnTo>
                    <a:pt x="93104" y="98253"/>
                  </a:lnTo>
                  <a:lnTo>
                    <a:pt x="92858" y="98730"/>
                  </a:lnTo>
                  <a:lnTo>
                    <a:pt x="92693" y="98730"/>
                  </a:lnTo>
                  <a:lnTo>
                    <a:pt x="92529" y="99047"/>
                  </a:lnTo>
                  <a:lnTo>
                    <a:pt x="92117" y="99365"/>
                  </a:lnTo>
                  <a:lnTo>
                    <a:pt x="91542" y="100158"/>
                  </a:lnTo>
                  <a:lnTo>
                    <a:pt x="91295" y="100158"/>
                  </a:lnTo>
                  <a:lnTo>
                    <a:pt x="91295" y="100476"/>
                  </a:lnTo>
                  <a:lnTo>
                    <a:pt x="91295" y="100476"/>
                  </a:lnTo>
                  <a:lnTo>
                    <a:pt x="91295" y="100952"/>
                  </a:lnTo>
                  <a:lnTo>
                    <a:pt x="91295" y="101269"/>
                  </a:lnTo>
                  <a:lnTo>
                    <a:pt x="91295" y="101269"/>
                  </a:lnTo>
                  <a:lnTo>
                    <a:pt x="91542" y="101746"/>
                  </a:lnTo>
                  <a:lnTo>
                    <a:pt x="91706" y="101269"/>
                  </a:lnTo>
                  <a:lnTo>
                    <a:pt x="92117" y="101269"/>
                  </a:lnTo>
                  <a:lnTo>
                    <a:pt x="92282" y="101269"/>
                  </a:lnTo>
                  <a:lnTo>
                    <a:pt x="92529" y="101269"/>
                  </a:lnTo>
                  <a:lnTo>
                    <a:pt x="92693" y="100952"/>
                  </a:lnTo>
                  <a:lnTo>
                    <a:pt x="92693" y="100952"/>
                  </a:lnTo>
                  <a:lnTo>
                    <a:pt x="92693" y="101269"/>
                  </a:lnTo>
                  <a:lnTo>
                    <a:pt x="92693" y="101269"/>
                  </a:lnTo>
                  <a:lnTo>
                    <a:pt x="93104" y="101269"/>
                  </a:lnTo>
                  <a:lnTo>
                    <a:pt x="93269" y="101269"/>
                  </a:lnTo>
                  <a:lnTo>
                    <a:pt x="93433" y="101269"/>
                  </a:lnTo>
                  <a:lnTo>
                    <a:pt x="93680" y="101269"/>
                  </a:lnTo>
                  <a:lnTo>
                    <a:pt x="94420" y="101269"/>
                  </a:lnTo>
                  <a:lnTo>
                    <a:pt x="94667" y="101746"/>
                  </a:lnTo>
                  <a:lnTo>
                    <a:pt x="94832" y="101269"/>
                  </a:lnTo>
                  <a:lnTo>
                    <a:pt x="94996" y="101269"/>
                  </a:lnTo>
                  <a:lnTo>
                    <a:pt x="95243" y="101269"/>
                  </a:lnTo>
                  <a:lnTo>
                    <a:pt x="95407" y="101269"/>
                  </a:lnTo>
                  <a:lnTo>
                    <a:pt x="95407" y="101269"/>
                  </a:lnTo>
                  <a:lnTo>
                    <a:pt x="95572" y="100952"/>
                  </a:lnTo>
                  <a:lnTo>
                    <a:pt x="95572" y="100952"/>
                  </a:lnTo>
                  <a:lnTo>
                    <a:pt x="95572" y="100952"/>
                  </a:lnTo>
                  <a:lnTo>
                    <a:pt x="95819" y="100952"/>
                  </a:lnTo>
                  <a:lnTo>
                    <a:pt x="95983" y="100952"/>
                  </a:lnTo>
                  <a:lnTo>
                    <a:pt x="95983" y="100476"/>
                  </a:lnTo>
                  <a:lnTo>
                    <a:pt x="95983" y="100952"/>
                  </a:lnTo>
                  <a:lnTo>
                    <a:pt x="95819" y="101269"/>
                  </a:lnTo>
                  <a:lnTo>
                    <a:pt x="95572" y="101746"/>
                  </a:lnTo>
                  <a:lnTo>
                    <a:pt x="95407" y="101746"/>
                  </a:lnTo>
                  <a:lnTo>
                    <a:pt x="95572" y="101746"/>
                  </a:lnTo>
                  <a:lnTo>
                    <a:pt x="95819" y="101746"/>
                  </a:lnTo>
                  <a:lnTo>
                    <a:pt x="95983" y="101746"/>
                  </a:lnTo>
                  <a:lnTo>
                    <a:pt x="95983" y="101746"/>
                  </a:lnTo>
                  <a:lnTo>
                    <a:pt x="96148" y="101746"/>
                  </a:lnTo>
                  <a:lnTo>
                    <a:pt x="96394" y="101746"/>
                  </a:lnTo>
                  <a:lnTo>
                    <a:pt x="96394" y="101746"/>
                  </a:lnTo>
                  <a:lnTo>
                    <a:pt x="96394" y="101746"/>
                  </a:lnTo>
                  <a:lnTo>
                    <a:pt x="96394" y="101746"/>
                  </a:lnTo>
                  <a:lnTo>
                    <a:pt x="96559" y="101269"/>
                  </a:lnTo>
                  <a:lnTo>
                    <a:pt x="96559" y="101269"/>
                  </a:lnTo>
                  <a:lnTo>
                    <a:pt x="96723" y="101269"/>
                  </a:lnTo>
                  <a:lnTo>
                    <a:pt x="96970" y="101269"/>
                  </a:lnTo>
                  <a:lnTo>
                    <a:pt x="96970" y="101269"/>
                  </a:lnTo>
                  <a:lnTo>
                    <a:pt x="97135" y="101269"/>
                  </a:lnTo>
                  <a:lnTo>
                    <a:pt x="97135" y="101269"/>
                  </a:lnTo>
                  <a:lnTo>
                    <a:pt x="97381" y="101269"/>
                  </a:lnTo>
                  <a:lnTo>
                    <a:pt x="97381" y="101269"/>
                  </a:lnTo>
                  <a:lnTo>
                    <a:pt x="97135" y="101746"/>
                  </a:lnTo>
                  <a:lnTo>
                    <a:pt x="96970" y="101746"/>
                  </a:lnTo>
                  <a:lnTo>
                    <a:pt x="96723" y="102063"/>
                  </a:lnTo>
                  <a:lnTo>
                    <a:pt x="96394" y="102380"/>
                  </a:lnTo>
                  <a:lnTo>
                    <a:pt x="96394" y="102857"/>
                  </a:lnTo>
                  <a:lnTo>
                    <a:pt x="96148" y="102857"/>
                  </a:lnTo>
                  <a:lnTo>
                    <a:pt x="95983" y="102857"/>
                  </a:lnTo>
                  <a:lnTo>
                    <a:pt x="95819" y="103174"/>
                  </a:lnTo>
                  <a:lnTo>
                    <a:pt x="95572" y="103174"/>
                  </a:lnTo>
                  <a:lnTo>
                    <a:pt x="95407" y="103174"/>
                  </a:lnTo>
                  <a:lnTo>
                    <a:pt x="95407" y="103492"/>
                  </a:lnTo>
                  <a:lnTo>
                    <a:pt x="95407" y="103492"/>
                  </a:lnTo>
                  <a:lnTo>
                    <a:pt x="95407" y="103492"/>
                  </a:lnTo>
                  <a:lnTo>
                    <a:pt x="95407" y="103492"/>
                  </a:lnTo>
                  <a:lnTo>
                    <a:pt x="95407" y="103968"/>
                  </a:lnTo>
                  <a:lnTo>
                    <a:pt x="95572" y="103968"/>
                  </a:lnTo>
                  <a:lnTo>
                    <a:pt x="95819" y="103968"/>
                  </a:lnTo>
                  <a:lnTo>
                    <a:pt x="95983" y="103492"/>
                  </a:lnTo>
                  <a:lnTo>
                    <a:pt x="95983" y="103492"/>
                  </a:lnTo>
                  <a:lnTo>
                    <a:pt x="96148" y="103492"/>
                  </a:lnTo>
                  <a:lnTo>
                    <a:pt x="96148" y="103492"/>
                  </a:lnTo>
                  <a:lnTo>
                    <a:pt x="96394" y="103492"/>
                  </a:lnTo>
                  <a:lnTo>
                    <a:pt x="96559" y="103174"/>
                  </a:lnTo>
                  <a:lnTo>
                    <a:pt x="96559" y="103174"/>
                  </a:lnTo>
                  <a:lnTo>
                    <a:pt x="96723" y="102857"/>
                  </a:lnTo>
                  <a:lnTo>
                    <a:pt x="97135" y="102063"/>
                  </a:lnTo>
                  <a:lnTo>
                    <a:pt x="97135" y="102063"/>
                  </a:lnTo>
                  <a:lnTo>
                    <a:pt x="97381" y="102063"/>
                  </a:lnTo>
                  <a:lnTo>
                    <a:pt x="97381" y="102063"/>
                  </a:lnTo>
                  <a:lnTo>
                    <a:pt x="97546" y="101746"/>
                  </a:lnTo>
                  <a:lnTo>
                    <a:pt x="97710" y="101746"/>
                  </a:lnTo>
                  <a:lnTo>
                    <a:pt x="97710" y="101746"/>
                  </a:lnTo>
                  <a:lnTo>
                    <a:pt x="97546" y="102063"/>
                  </a:lnTo>
                  <a:lnTo>
                    <a:pt x="97546" y="102063"/>
                  </a:lnTo>
                  <a:lnTo>
                    <a:pt x="97710" y="102063"/>
                  </a:lnTo>
                  <a:lnTo>
                    <a:pt x="97710" y="102063"/>
                  </a:lnTo>
                  <a:lnTo>
                    <a:pt x="97710" y="101746"/>
                  </a:lnTo>
                  <a:lnTo>
                    <a:pt x="97957" y="101746"/>
                  </a:lnTo>
                  <a:lnTo>
                    <a:pt x="98122" y="100952"/>
                  </a:lnTo>
                  <a:lnTo>
                    <a:pt x="98286" y="100476"/>
                  </a:lnTo>
                  <a:lnTo>
                    <a:pt x="98286" y="100476"/>
                  </a:lnTo>
                  <a:lnTo>
                    <a:pt x="98533" y="100476"/>
                  </a:lnTo>
                  <a:lnTo>
                    <a:pt x="98533" y="100952"/>
                  </a:lnTo>
                  <a:lnTo>
                    <a:pt x="98533" y="101269"/>
                  </a:lnTo>
                  <a:lnTo>
                    <a:pt x="98533" y="101746"/>
                  </a:lnTo>
                  <a:lnTo>
                    <a:pt x="98533" y="101746"/>
                  </a:lnTo>
                  <a:lnTo>
                    <a:pt x="98533" y="102063"/>
                  </a:lnTo>
                  <a:lnTo>
                    <a:pt x="98533" y="102063"/>
                  </a:lnTo>
                  <a:lnTo>
                    <a:pt x="98286" y="102380"/>
                  </a:lnTo>
                  <a:lnTo>
                    <a:pt x="97957" y="103174"/>
                  </a:lnTo>
                  <a:lnTo>
                    <a:pt x="97957" y="103492"/>
                  </a:lnTo>
                  <a:lnTo>
                    <a:pt x="97710" y="103492"/>
                  </a:lnTo>
                  <a:lnTo>
                    <a:pt x="97710" y="103968"/>
                  </a:lnTo>
                  <a:lnTo>
                    <a:pt x="97710" y="103968"/>
                  </a:lnTo>
                  <a:lnTo>
                    <a:pt x="97957" y="103968"/>
                  </a:lnTo>
                  <a:lnTo>
                    <a:pt x="97957" y="103968"/>
                  </a:lnTo>
                  <a:lnTo>
                    <a:pt x="97957" y="103968"/>
                  </a:lnTo>
                  <a:lnTo>
                    <a:pt x="98286" y="103492"/>
                  </a:lnTo>
                  <a:lnTo>
                    <a:pt x="98286" y="103174"/>
                  </a:lnTo>
                  <a:lnTo>
                    <a:pt x="98533" y="103174"/>
                  </a:lnTo>
                  <a:lnTo>
                    <a:pt x="98697" y="102857"/>
                  </a:lnTo>
                  <a:lnTo>
                    <a:pt x="98697" y="102857"/>
                  </a:lnTo>
                  <a:lnTo>
                    <a:pt x="98697" y="102857"/>
                  </a:lnTo>
                  <a:lnTo>
                    <a:pt x="98697" y="103174"/>
                  </a:lnTo>
                  <a:lnTo>
                    <a:pt x="98533" y="103174"/>
                  </a:lnTo>
                  <a:lnTo>
                    <a:pt x="98697" y="103492"/>
                  </a:lnTo>
                  <a:lnTo>
                    <a:pt x="98533" y="103492"/>
                  </a:lnTo>
                  <a:lnTo>
                    <a:pt x="98533" y="104285"/>
                  </a:lnTo>
                  <a:lnTo>
                    <a:pt x="98533" y="104603"/>
                  </a:lnTo>
                  <a:lnTo>
                    <a:pt x="98533" y="104603"/>
                  </a:lnTo>
                  <a:lnTo>
                    <a:pt x="98533" y="104603"/>
                  </a:lnTo>
                  <a:lnTo>
                    <a:pt x="98697" y="104285"/>
                  </a:lnTo>
                  <a:lnTo>
                    <a:pt x="98862" y="104285"/>
                  </a:lnTo>
                  <a:lnTo>
                    <a:pt x="98862" y="104285"/>
                  </a:lnTo>
                  <a:lnTo>
                    <a:pt x="98862" y="104285"/>
                  </a:lnTo>
                  <a:lnTo>
                    <a:pt x="98862" y="104285"/>
                  </a:lnTo>
                  <a:lnTo>
                    <a:pt x="99108" y="104603"/>
                  </a:lnTo>
                  <a:lnTo>
                    <a:pt x="99108" y="104285"/>
                  </a:lnTo>
                  <a:lnTo>
                    <a:pt x="99108" y="104285"/>
                  </a:lnTo>
                  <a:lnTo>
                    <a:pt x="99273" y="104285"/>
                  </a:lnTo>
                  <a:lnTo>
                    <a:pt x="99273" y="103968"/>
                  </a:lnTo>
                  <a:lnTo>
                    <a:pt x="99437" y="103492"/>
                  </a:lnTo>
                  <a:lnTo>
                    <a:pt x="99684" y="103174"/>
                  </a:lnTo>
                  <a:lnTo>
                    <a:pt x="99684" y="103174"/>
                  </a:lnTo>
                  <a:lnTo>
                    <a:pt x="99684" y="103174"/>
                  </a:lnTo>
                  <a:lnTo>
                    <a:pt x="100095" y="102063"/>
                  </a:lnTo>
                  <a:lnTo>
                    <a:pt x="100095" y="101746"/>
                  </a:lnTo>
                  <a:lnTo>
                    <a:pt x="100260" y="101746"/>
                  </a:lnTo>
                  <a:lnTo>
                    <a:pt x="100260" y="101269"/>
                  </a:lnTo>
                  <a:lnTo>
                    <a:pt x="100260" y="100952"/>
                  </a:lnTo>
                  <a:lnTo>
                    <a:pt x="100260" y="100952"/>
                  </a:lnTo>
                  <a:lnTo>
                    <a:pt x="100260" y="100952"/>
                  </a:lnTo>
                  <a:lnTo>
                    <a:pt x="100095" y="100952"/>
                  </a:lnTo>
                  <a:lnTo>
                    <a:pt x="100095" y="100952"/>
                  </a:lnTo>
                  <a:lnTo>
                    <a:pt x="99849" y="101269"/>
                  </a:lnTo>
                  <a:lnTo>
                    <a:pt x="99849" y="101746"/>
                  </a:lnTo>
                  <a:lnTo>
                    <a:pt x="99684" y="101746"/>
                  </a:lnTo>
                  <a:lnTo>
                    <a:pt x="99437" y="102063"/>
                  </a:lnTo>
                  <a:lnTo>
                    <a:pt x="99437" y="101746"/>
                  </a:lnTo>
                  <a:lnTo>
                    <a:pt x="99437" y="101746"/>
                  </a:lnTo>
                  <a:lnTo>
                    <a:pt x="99437" y="101269"/>
                  </a:lnTo>
                  <a:lnTo>
                    <a:pt x="99684" y="100952"/>
                  </a:lnTo>
                  <a:lnTo>
                    <a:pt x="99684" y="100476"/>
                  </a:lnTo>
                  <a:lnTo>
                    <a:pt x="100095" y="100158"/>
                  </a:lnTo>
                  <a:lnTo>
                    <a:pt x="100095" y="100158"/>
                  </a:lnTo>
                  <a:lnTo>
                    <a:pt x="100260" y="99841"/>
                  </a:lnTo>
                  <a:lnTo>
                    <a:pt x="100260" y="99841"/>
                  </a:lnTo>
                  <a:lnTo>
                    <a:pt x="100260" y="99841"/>
                  </a:lnTo>
                  <a:lnTo>
                    <a:pt x="100260" y="99365"/>
                  </a:lnTo>
                  <a:lnTo>
                    <a:pt x="99849" y="99841"/>
                  </a:lnTo>
                  <a:lnTo>
                    <a:pt x="99684" y="100158"/>
                  </a:lnTo>
                  <a:lnTo>
                    <a:pt x="99108" y="100952"/>
                  </a:lnTo>
                  <a:lnTo>
                    <a:pt x="98862" y="101269"/>
                  </a:lnTo>
                  <a:lnTo>
                    <a:pt x="98862" y="101269"/>
                  </a:lnTo>
                  <a:lnTo>
                    <a:pt x="98697" y="101269"/>
                  </a:lnTo>
                  <a:lnTo>
                    <a:pt x="98697" y="101269"/>
                  </a:lnTo>
                  <a:lnTo>
                    <a:pt x="98697" y="100952"/>
                  </a:lnTo>
                  <a:lnTo>
                    <a:pt x="98697" y="100952"/>
                  </a:lnTo>
                  <a:lnTo>
                    <a:pt x="98697" y="100952"/>
                  </a:lnTo>
                  <a:lnTo>
                    <a:pt x="99108" y="100158"/>
                  </a:lnTo>
                  <a:lnTo>
                    <a:pt x="99108" y="100158"/>
                  </a:lnTo>
                  <a:lnTo>
                    <a:pt x="99108" y="100158"/>
                  </a:lnTo>
                  <a:lnTo>
                    <a:pt x="99108" y="100158"/>
                  </a:lnTo>
                  <a:lnTo>
                    <a:pt x="98862" y="100158"/>
                  </a:lnTo>
                  <a:lnTo>
                    <a:pt x="98862" y="100158"/>
                  </a:lnTo>
                  <a:lnTo>
                    <a:pt x="98862" y="99841"/>
                  </a:lnTo>
                  <a:lnTo>
                    <a:pt x="99108" y="99841"/>
                  </a:lnTo>
                  <a:lnTo>
                    <a:pt x="99108" y="99841"/>
                  </a:lnTo>
                  <a:lnTo>
                    <a:pt x="99273" y="99841"/>
                  </a:lnTo>
                  <a:lnTo>
                    <a:pt x="99273" y="99841"/>
                  </a:lnTo>
                  <a:lnTo>
                    <a:pt x="99273" y="99365"/>
                  </a:lnTo>
                  <a:lnTo>
                    <a:pt x="99273" y="99365"/>
                  </a:lnTo>
                  <a:lnTo>
                    <a:pt x="99437" y="99365"/>
                  </a:lnTo>
                  <a:lnTo>
                    <a:pt x="99684" y="99047"/>
                  </a:lnTo>
                  <a:lnTo>
                    <a:pt x="99684" y="99047"/>
                  </a:lnTo>
                  <a:lnTo>
                    <a:pt x="99849" y="99047"/>
                  </a:lnTo>
                  <a:lnTo>
                    <a:pt x="99849" y="99047"/>
                  </a:lnTo>
                  <a:lnTo>
                    <a:pt x="99849" y="98730"/>
                  </a:lnTo>
                  <a:lnTo>
                    <a:pt x="100095" y="98730"/>
                  </a:lnTo>
                  <a:lnTo>
                    <a:pt x="100260" y="98730"/>
                  </a:lnTo>
                  <a:lnTo>
                    <a:pt x="100260" y="98253"/>
                  </a:lnTo>
                  <a:lnTo>
                    <a:pt x="100260" y="98253"/>
                  </a:lnTo>
                  <a:lnTo>
                    <a:pt x="100260" y="97936"/>
                  </a:lnTo>
                  <a:lnTo>
                    <a:pt x="100260" y="97936"/>
                  </a:lnTo>
                  <a:lnTo>
                    <a:pt x="100260" y="97936"/>
                  </a:lnTo>
                  <a:close/>
                  <a:moveTo>
                    <a:pt x="89979" y="36349"/>
                  </a:moveTo>
                  <a:lnTo>
                    <a:pt x="89979" y="36031"/>
                  </a:lnTo>
                  <a:lnTo>
                    <a:pt x="89814" y="36349"/>
                  </a:lnTo>
                  <a:lnTo>
                    <a:pt x="89568" y="36349"/>
                  </a:lnTo>
                  <a:lnTo>
                    <a:pt x="89568" y="36349"/>
                  </a:lnTo>
                  <a:lnTo>
                    <a:pt x="89568" y="36666"/>
                  </a:lnTo>
                  <a:lnTo>
                    <a:pt x="89403" y="36666"/>
                  </a:lnTo>
                  <a:lnTo>
                    <a:pt x="89568" y="36666"/>
                  </a:lnTo>
                  <a:lnTo>
                    <a:pt x="89814" y="37142"/>
                  </a:lnTo>
                  <a:lnTo>
                    <a:pt x="89814" y="37142"/>
                  </a:lnTo>
                  <a:lnTo>
                    <a:pt x="89814" y="37142"/>
                  </a:lnTo>
                  <a:lnTo>
                    <a:pt x="89979" y="37142"/>
                  </a:lnTo>
                  <a:lnTo>
                    <a:pt x="89979" y="37142"/>
                  </a:lnTo>
                  <a:lnTo>
                    <a:pt x="89979" y="37142"/>
                  </a:lnTo>
                  <a:lnTo>
                    <a:pt x="89979" y="37142"/>
                  </a:lnTo>
                  <a:lnTo>
                    <a:pt x="89979" y="36666"/>
                  </a:lnTo>
                  <a:lnTo>
                    <a:pt x="90143" y="36666"/>
                  </a:lnTo>
                  <a:lnTo>
                    <a:pt x="90143" y="36666"/>
                  </a:lnTo>
                  <a:lnTo>
                    <a:pt x="90143" y="36666"/>
                  </a:lnTo>
                  <a:lnTo>
                    <a:pt x="90143" y="36349"/>
                  </a:lnTo>
                  <a:lnTo>
                    <a:pt x="89979" y="36349"/>
                  </a:lnTo>
                  <a:close/>
                  <a:moveTo>
                    <a:pt x="89814" y="37936"/>
                  </a:moveTo>
                  <a:lnTo>
                    <a:pt x="89568" y="38253"/>
                  </a:lnTo>
                  <a:lnTo>
                    <a:pt x="89568" y="38253"/>
                  </a:lnTo>
                  <a:lnTo>
                    <a:pt x="89568" y="38253"/>
                  </a:lnTo>
                  <a:lnTo>
                    <a:pt x="89568" y="38571"/>
                  </a:lnTo>
                  <a:lnTo>
                    <a:pt x="89814" y="38571"/>
                  </a:lnTo>
                  <a:lnTo>
                    <a:pt x="89814" y="38571"/>
                  </a:lnTo>
                  <a:lnTo>
                    <a:pt x="90143" y="38571"/>
                  </a:lnTo>
                  <a:lnTo>
                    <a:pt x="90719" y="38571"/>
                  </a:lnTo>
                  <a:lnTo>
                    <a:pt x="90966" y="38571"/>
                  </a:lnTo>
                  <a:lnTo>
                    <a:pt x="90966" y="38571"/>
                  </a:lnTo>
                  <a:lnTo>
                    <a:pt x="90966" y="38571"/>
                  </a:lnTo>
                  <a:lnTo>
                    <a:pt x="91130" y="38253"/>
                  </a:lnTo>
                  <a:lnTo>
                    <a:pt x="91130" y="38253"/>
                  </a:lnTo>
                  <a:lnTo>
                    <a:pt x="91130" y="38253"/>
                  </a:lnTo>
                  <a:lnTo>
                    <a:pt x="90966" y="38253"/>
                  </a:lnTo>
                  <a:lnTo>
                    <a:pt x="90555" y="38253"/>
                  </a:lnTo>
                  <a:lnTo>
                    <a:pt x="90390" y="37936"/>
                  </a:lnTo>
                  <a:lnTo>
                    <a:pt x="90143" y="37936"/>
                  </a:lnTo>
                  <a:lnTo>
                    <a:pt x="89814" y="37936"/>
                  </a:lnTo>
                  <a:lnTo>
                    <a:pt x="89814" y="37936"/>
                  </a:lnTo>
                  <a:close/>
                  <a:moveTo>
                    <a:pt x="87676" y="33333"/>
                  </a:moveTo>
                  <a:lnTo>
                    <a:pt x="87676" y="33333"/>
                  </a:lnTo>
                  <a:lnTo>
                    <a:pt x="87676" y="33333"/>
                  </a:lnTo>
                  <a:lnTo>
                    <a:pt x="87676" y="33333"/>
                  </a:lnTo>
                  <a:lnTo>
                    <a:pt x="87429" y="33333"/>
                  </a:lnTo>
                  <a:lnTo>
                    <a:pt x="87429" y="33333"/>
                  </a:lnTo>
                  <a:lnTo>
                    <a:pt x="87265" y="33333"/>
                  </a:lnTo>
                  <a:lnTo>
                    <a:pt x="86854" y="33809"/>
                  </a:lnTo>
                  <a:lnTo>
                    <a:pt x="86689" y="34126"/>
                  </a:lnTo>
                  <a:lnTo>
                    <a:pt x="86854" y="34126"/>
                  </a:lnTo>
                  <a:lnTo>
                    <a:pt x="86854" y="33809"/>
                  </a:lnTo>
                  <a:lnTo>
                    <a:pt x="87100" y="33809"/>
                  </a:lnTo>
                  <a:lnTo>
                    <a:pt x="87265" y="33809"/>
                  </a:lnTo>
                  <a:lnTo>
                    <a:pt x="87429" y="33809"/>
                  </a:lnTo>
                  <a:lnTo>
                    <a:pt x="87840" y="33809"/>
                  </a:lnTo>
                  <a:lnTo>
                    <a:pt x="87840" y="33333"/>
                  </a:lnTo>
                  <a:lnTo>
                    <a:pt x="87840" y="33333"/>
                  </a:lnTo>
                  <a:lnTo>
                    <a:pt x="87840" y="33333"/>
                  </a:lnTo>
                  <a:lnTo>
                    <a:pt x="87840" y="33333"/>
                  </a:lnTo>
                  <a:lnTo>
                    <a:pt x="87676" y="33333"/>
                  </a:lnTo>
                  <a:close/>
                  <a:moveTo>
                    <a:pt x="120000" y="1428"/>
                  </a:moveTo>
                  <a:lnTo>
                    <a:pt x="120000" y="1428"/>
                  </a:lnTo>
                  <a:lnTo>
                    <a:pt x="120000" y="1428"/>
                  </a:lnTo>
                  <a:lnTo>
                    <a:pt x="119835" y="1111"/>
                  </a:lnTo>
                  <a:lnTo>
                    <a:pt x="119095" y="1111"/>
                  </a:lnTo>
                  <a:lnTo>
                    <a:pt x="118272" y="1428"/>
                  </a:lnTo>
                  <a:lnTo>
                    <a:pt x="118272" y="1428"/>
                  </a:lnTo>
                  <a:lnTo>
                    <a:pt x="118684" y="1111"/>
                  </a:lnTo>
                  <a:lnTo>
                    <a:pt x="118684" y="1111"/>
                  </a:lnTo>
                  <a:lnTo>
                    <a:pt x="118437" y="1111"/>
                  </a:lnTo>
                  <a:lnTo>
                    <a:pt x="118272" y="634"/>
                  </a:lnTo>
                  <a:lnTo>
                    <a:pt x="118272" y="634"/>
                  </a:lnTo>
                  <a:lnTo>
                    <a:pt x="118272" y="634"/>
                  </a:lnTo>
                  <a:lnTo>
                    <a:pt x="118437" y="634"/>
                  </a:lnTo>
                  <a:lnTo>
                    <a:pt x="118437" y="634"/>
                  </a:lnTo>
                  <a:lnTo>
                    <a:pt x="118437" y="634"/>
                  </a:lnTo>
                  <a:lnTo>
                    <a:pt x="118437" y="634"/>
                  </a:lnTo>
                  <a:lnTo>
                    <a:pt x="118108" y="634"/>
                  </a:lnTo>
                  <a:lnTo>
                    <a:pt x="117861" y="634"/>
                  </a:lnTo>
                  <a:lnTo>
                    <a:pt x="117697" y="634"/>
                  </a:lnTo>
                  <a:lnTo>
                    <a:pt x="117532" y="634"/>
                  </a:lnTo>
                  <a:lnTo>
                    <a:pt x="117532" y="634"/>
                  </a:lnTo>
                  <a:lnTo>
                    <a:pt x="117532" y="317"/>
                  </a:lnTo>
                  <a:lnTo>
                    <a:pt x="117285" y="317"/>
                  </a:lnTo>
                  <a:lnTo>
                    <a:pt x="117285" y="317"/>
                  </a:lnTo>
                  <a:lnTo>
                    <a:pt x="117121" y="317"/>
                  </a:lnTo>
                  <a:lnTo>
                    <a:pt x="117121" y="317"/>
                  </a:lnTo>
                  <a:lnTo>
                    <a:pt x="116956" y="634"/>
                  </a:lnTo>
                  <a:lnTo>
                    <a:pt x="116956" y="634"/>
                  </a:lnTo>
                  <a:lnTo>
                    <a:pt x="116710" y="634"/>
                  </a:lnTo>
                  <a:lnTo>
                    <a:pt x="116710" y="634"/>
                  </a:lnTo>
                  <a:lnTo>
                    <a:pt x="116545" y="634"/>
                  </a:lnTo>
                  <a:lnTo>
                    <a:pt x="116134" y="634"/>
                  </a:lnTo>
                  <a:lnTo>
                    <a:pt x="115558" y="634"/>
                  </a:lnTo>
                  <a:lnTo>
                    <a:pt x="115394" y="634"/>
                  </a:lnTo>
                  <a:lnTo>
                    <a:pt x="115147" y="634"/>
                  </a:lnTo>
                  <a:lnTo>
                    <a:pt x="114818" y="1111"/>
                  </a:lnTo>
                  <a:lnTo>
                    <a:pt x="114571" y="1111"/>
                  </a:lnTo>
                  <a:lnTo>
                    <a:pt x="113995" y="1111"/>
                  </a:lnTo>
                  <a:lnTo>
                    <a:pt x="113831" y="1111"/>
                  </a:lnTo>
                  <a:lnTo>
                    <a:pt x="113995" y="634"/>
                  </a:lnTo>
                  <a:lnTo>
                    <a:pt x="115558" y="634"/>
                  </a:lnTo>
                  <a:lnTo>
                    <a:pt x="115723" y="634"/>
                  </a:lnTo>
                  <a:lnTo>
                    <a:pt x="115969" y="317"/>
                  </a:lnTo>
                  <a:lnTo>
                    <a:pt x="115969" y="317"/>
                  </a:lnTo>
                  <a:lnTo>
                    <a:pt x="115969" y="317"/>
                  </a:lnTo>
                  <a:lnTo>
                    <a:pt x="115147" y="317"/>
                  </a:lnTo>
                  <a:lnTo>
                    <a:pt x="114982" y="317"/>
                  </a:lnTo>
                  <a:lnTo>
                    <a:pt x="114571" y="317"/>
                  </a:lnTo>
                  <a:lnTo>
                    <a:pt x="114571" y="317"/>
                  </a:lnTo>
                  <a:lnTo>
                    <a:pt x="114407" y="317"/>
                  </a:lnTo>
                  <a:lnTo>
                    <a:pt x="113995" y="317"/>
                  </a:lnTo>
                  <a:lnTo>
                    <a:pt x="113420" y="317"/>
                  </a:lnTo>
                  <a:lnTo>
                    <a:pt x="113255" y="317"/>
                  </a:lnTo>
                  <a:lnTo>
                    <a:pt x="113255" y="0"/>
                  </a:lnTo>
                  <a:lnTo>
                    <a:pt x="113008" y="0"/>
                  </a:lnTo>
                  <a:lnTo>
                    <a:pt x="113008" y="0"/>
                  </a:lnTo>
                  <a:lnTo>
                    <a:pt x="112268" y="0"/>
                  </a:lnTo>
                  <a:lnTo>
                    <a:pt x="112104" y="0"/>
                  </a:lnTo>
                  <a:lnTo>
                    <a:pt x="111692" y="317"/>
                  </a:lnTo>
                  <a:lnTo>
                    <a:pt x="111692" y="317"/>
                  </a:lnTo>
                  <a:lnTo>
                    <a:pt x="111692" y="317"/>
                  </a:lnTo>
                  <a:lnTo>
                    <a:pt x="111857" y="317"/>
                  </a:lnTo>
                  <a:lnTo>
                    <a:pt x="111857" y="317"/>
                  </a:lnTo>
                  <a:lnTo>
                    <a:pt x="111692" y="317"/>
                  </a:lnTo>
                  <a:lnTo>
                    <a:pt x="111528" y="317"/>
                  </a:lnTo>
                  <a:lnTo>
                    <a:pt x="111117" y="0"/>
                  </a:lnTo>
                  <a:lnTo>
                    <a:pt x="111117" y="0"/>
                  </a:lnTo>
                  <a:lnTo>
                    <a:pt x="110294" y="0"/>
                  </a:lnTo>
                  <a:lnTo>
                    <a:pt x="109965" y="317"/>
                  </a:lnTo>
                  <a:lnTo>
                    <a:pt x="109718" y="317"/>
                  </a:lnTo>
                  <a:lnTo>
                    <a:pt x="109718" y="317"/>
                  </a:lnTo>
                  <a:lnTo>
                    <a:pt x="109554" y="317"/>
                  </a:lnTo>
                  <a:lnTo>
                    <a:pt x="109718" y="634"/>
                  </a:lnTo>
                  <a:lnTo>
                    <a:pt x="110130" y="634"/>
                  </a:lnTo>
                  <a:lnTo>
                    <a:pt x="110130" y="634"/>
                  </a:lnTo>
                  <a:lnTo>
                    <a:pt x="109554" y="634"/>
                  </a:lnTo>
                  <a:lnTo>
                    <a:pt x="109389" y="634"/>
                  </a:lnTo>
                  <a:lnTo>
                    <a:pt x="109143" y="317"/>
                  </a:lnTo>
                  <a:lnTo>
                    <a:pt x="109143" y="317"/>
                  </a:lnTo>
                  <a:lnTo>
                    <a:pt x="108978" y="317"/>
                  </a:lnTo>
                  <a:lnTo>
                    <a:pt x="108978" y="317"/>
                  </a:lnTo>
                  <a:lnTo>
                    <a:pt x="107827" y="317"/>
                  </a:lnTo>
                  <a:lnTo>
                    <a:pt x="106429" y="317"/>
                  </a:lnTo>
                  <a:lnTo>
                    <a:pt x="106429" y="317"/>
                  </a:lnTo>
                  <a:lnTo>
                    <a:pt x="106429" y="317"/>
                  </a:lnTo>
                  <a:lnTo>
                    <a:pt x="106840" y="634"/>
                  </a:lnTo>
                  <a:lnTo>
                    <a:pt x="107004" y="634"/>
                  </a:lnTo>
                  <a:lnTo>
                    <a:pt x="107004" y="634"/>
                  </a:lnTo>
                  <a:lnTo>
                    <a:pt x="107251" y="1111"/>
                  </a:lnTo>
                  <a:lnTo>
                    <a:pt x="107251" y="1111"/>
                  </a:lnTo>
                  <a:lnTo>
                    <a:pt x="107004" y="1111"/>
                  </a:lnTo>
                  <a:lnTo>
                    <a:pt x="106840" y="1111"/>
                  </a:lnTo>
                  <a:lnTo>
                    <a:pt x="106675" y="1111"/>
                  </a:lnTo>
                  <a:lnTo>
                    <a:pt x="106675" y="1111"/>
                  </a:lnTo>
                  <a:lnTo>
                    <a:pt x="106675" y="1111"/>
                  </a:lnTo>
                  <a:lnTo>
                    <a:pt x="106675" y="1111"/>
                  </a:lnTo>
                  <a:lnTo>
                    <a:pt x="106100" y="634"/>
                  </a:lnTo>
                  <a:lnTo>
                    <a:pt x="105853" y="317"/>
                  </a:lnTo>
                  <a:lnTo>
                    <a:pt x="105853" y="317"/>
                  </a:lnTo>
                  <a:lnTo>
                    <a:pt x="105524" y="317"/>
                  </a:lnTo>
                  <a:lnTo>
                    <a:pt x="105113" y="317"/>
                  </a:lnTo>
                  <a:lnTo>
                    <a:pt x="104537" y="317"/>
                  </a:lnTo>
                  <a:lnTo>
                    <a:pt x="103961" y="317"/>
                  </a:lnTo>
                  <a:lnTo>
                    <a:pt x="103550" y="317"/>
                  </a:lnTo>
                  <a:lnTo>
                    <a:pt x="103550" y="317"/>
                  </a:lnTo>
                  <a:lnTo>
                    <a:pt x="103714" y="634"/>
                  </a:lnTo>
                  <a:lnTo>
                    <a:pt x="103714" y="634"/>
                  </a:lnTo>
                  <a:lnTo>
                    <a:pt x="103961" y="634"/>
                  </a:lnTo>
                  <a:lnTo>
                    <a:pt x="104126" y="634"/>
                  </a:lnTo>
                  <a:lnTo>
                    <a:pt x="104537" y="634"/>
                  </a:lnTo>
                  <a:lnTo>
                    <a:pt x="104537" y="634"/>
                  </a:lnTo>
                  <a:lnTo>
                    <a:pt x="104290" y="634"/>
                  </a:lnTo>
                  <a:lnTo>
                    <a:pt x="103385" y="634"/>
                  </a:lnTo>
                  <a:lnTo>
                    <a:pt x="102974" y="634"/>
                  </a:lnTo>
                  <a:lnTo>
                    <a:pt x="102563" y="634"/>
                  </a:lnTo>
                  <a:lnTo>
                    <a:pt x="102398" y="634"/>
                  </a:lnTo>
                  <a:lnTo>
                    <a:pt x="102398" y="634"/>
                  </a:lnTo>
                  <a:lnTo>
                    <a:pt x="102398" y="634"/>
                  </a:lnTo>
                  <a:lnTo>
                    <a:pt x="102563" y="1111"/>
                  </a:lnTo>
                  <a:lnTo>
                    <a:pt x="102398" y="1111"/>
                  </a:lnTo>
                  <a:lnTo>
                    <a:pt x="102152" y="1111"/>
                  </a:lnTo>
                  <a:lnTo>
                    <a:pt x="101987" y="1111"/>
                  </a:lnTo>
                  <a:lnTo>
                    <a:pt x="101823" y="1111"/>
                  </a:lnTo>
                  <a:lnTo>
                    <a:pt x="101411" y="1111"/>
                  </a:lnTo>
                  <a:lnTo>
                    <a:pt x="101411" y="1111"/>
                  </a:lnTo>
                  <a:lnTo>
                    <a:pt x="101411" y="1111"/>
                  </a:lnTo>
                  <a:lnTo>
                    <a:pt x="101576" y="1111"/>
                  </a:lnTo>
                  <a:lnTo>
                    <a:pt x="101576" y="1111"/>
                  </a:lnTo>
                  <a:lnTo>
                    <a:pt x="101247" y="1111"/>
                  </a:lnTo>
                  <a:lnTo>
                    <a:pt x="101000" y="1428"/>
                  </a:lnTo>
                  <a:lnTo>
                    <a:pt x="100836" y="1428"/>
                  </a:lnTo>
                  <a:lnTo>
                    <a:pt x="100836" y="1428"/>
                  </a:lnTo>
                  <a:lnTo>
                    <a:pt x="100836" y="1428"/>
                  </a:lnTo>
                  <a:lnTo>
                    <a:pt x="101000" y="1904"/>
                  </a:lnTo>
                  <a:lnTo>
                    <a:pt x="101411" y="1904"/>
                  </a:lnTo>
                  <a:lnTo>
                    <a:pt x="102398" y="2222"/>
                  </a:lnTo>
                  <a:lnTo>
                    <a:pt x="102810" y="2222"/>
                  </a:lnTo>
                  <a:lnTo>
                    <a:pt x="102810" y="2539"/>
                  </a:lnTo>
                  <a:lnTo>
                    <a:pt x="102810" y="2539"/>
                  </a:lnTo>
                  <a:lnTo>
                    <a:pt x="102563" y="2539"/>
                  </a:lnTo>
                  <a:lnTo>
                    <a:pt x="102398" y="2222"/>
                  </a:lnTo>
                  <a:lnTo>
                    <a:pt x="102152" y="2222"/>
                  </a:lnTo>
                  <a:lnTo>
                    <a:pt x="101987" y="2222"/>
                  </a:lnTo>
                  <a:lnTo>
                    <a:pt x="101247" y="1904"/>
                  </a:lnTo>
                  <a:lnTo>
                    <a:pt x="100671" y="1904"/>
                  </a:lnTo>
                  <a:lnTo>
                    <a:pt x="100424" y="1904"/>
                  </a:lnTo>
                  <a:lnTo>
                    <a:pt x="100424" y="1904"/>
                  </a:lnTo>
                  <a:lnTo>
                    <a:pt x="100260" y="1904"/>
                  </a:lnTo>
                  <a:lnTo>
                    <a:pt x="100260" y="1904"/>
                  </a:lnTo>
                  <a:lnTo>
                    <a:pt x="100260" y="1904"/>
                  </a:lnTo>
                  <a:lnTo>
                    <a:pt x="100424" y="2222"/>
                  </a:lnTo>
                  <a:lnTo>
                    <a:pt x="100424" y="2222"/>
                  </a:lnTo>
                  <a:lnTo>
                    <a:pt x="100095" y="2222"/>
                  </a:lnTo>
                  <a:lnTo>
                    <a:pt x="100095" y="2222"/>
                  </a:lnTo>
                  <a:lnTo>
                    <a:pt x="99849" y="1904"/>
                  </a:lnTo>
                  <a:lnTo>
                    <a:pt x="99849" y="1904"/>
                  </a:lnTo>
                  <a:lnTo>
                    <a:pt x="99684" y="1428"/>
                  </a:lnTo>
                  <a:lnTo>
                    <a:pt x="99437" y="1428"/>
                  </a:lnTo>
                  <a:lnTo>
                    <a:pt x="98862" y="1428"/>
                  </a:lnTo>
                  <a:lnTo>
                    <a:pt x="98862" y="1428"/>
                  </a:lnTo>
                  <a:lnTo>
                    <a:pt x="98697" y="1428"/>
                  </a:lnTo>
                  <a:lnTo>
                    <a:pt x="98697" y="1428"/>
                  </a:lnTo>
                  <a:lnTo>
                    <a:pt x="98122" y="1428"/>
                  </a:lnTo>
                  <a:lnTo>
                    <a:pt x="97957" y="1428"/>
                  </a:lnTo>
                  <a:lnTo>
                    <a:pt x="97546" y="1904"/>
                  </a:lnTo>
                  <a:lnTo>
                    <a:pt x="97381" y="1904"/>
                  </a:lnTo>
                  <a:lnTo>
                    <a:pt x="97135" y="1904"/>
                  </a:lnTo>
                  <a:lnTo>
                    <a:pt x="96723" y="1904"/>
                  </a:lnTo>
                  <a:lnTo>
                    <a:pt x="96723" y="1904"/>
                  </a:lnTo>
                  <a:lnTo>
                    <a:pt x="97710" y="2222"/>
                  </a:lnTo>
                  <a:lnTo>
                    <a:pt x="97710" y="2222"/>
                  </a:lnTo>
                  <a:lnTo>
                    <a:pt x="97710" y="2222"/>
                  </a:lnTo>
                  <a:lnTo>
                    <a:pt x="97710" y="2222"/>
                  </a:lnTo>
                  <a:lnTo>
                    <a:pt x="97546" y="2222"/>
                  </a:lnTo>
                  <a:lnTo>
                    <a:pt x="97381" y="2222"/>
                  </a:lnTo>
                  <a:lnTo>
                    <a:pt x="97135" y="2222"/>
                  </a:lnTo>
                  <a:lnTo>
                    <a:pt x="96970" y="2222"/>
                  </a:lnTo>
                  <a:lnTo>
                    <a:pt x="96723" y="2222"/>
                  </a:lnTo>
                  <a:lnTo>
                    <a:pt x="96559" y="2222"/>
                  </a:lnTo>
                  <a:lnTo>
                    <a:pt x="96394" y="2222"/>
                  </a:lnTo>
                  <a:lnTo>
                    <a:pt x="96148" y="2222"/>
                  </a:lnTo>
                  <a:lnTo>
                    <a:pt x="95983" y="2222"/>
                  </a:lnTo>
                  <a:lnTo>
                    <a:pt x="95983" y="2222"/>
                  </a:lnTo>
                  <a:lnTo>
                    <a:pt x="95819" y="2222"/>
                  </a:lnTo>
                  <a:lnTo>
                    <a:pt x="95819" y="2222"/>
                  </a:lnTo>
                  <a:lnTo>
                    <a:pt x="95572" y="2222"/>
                  </a:lnTo>
                  <a:lnTo>
                    <a:pt x="95243" y="2222"/>
                  </a:lnTo>
                  <a:lnTo>
                    <a:pt x="94667" y="2222"/>
                  </a:lnTo>
                  <a:lnTo>
                    <a:pt x="94256" y="2222"/>
                  </a:lnTo>
                  <a:lnTo>
                    <a:pt x="94009" y="2222"/>
                  </a:lnTo>
                  <a:lnTo>
                    <a:pt x="93680" y="2539"/>
                  </a:lnTo>
                  <a:lnTo>
                    <a:pt x="93433" y="2539"/>
                  </a:lnTo>
                  <a:lnTo>
                    <a:pt x="92858" y="2539"/>
                  </a:lnTo>
                  <a:lnTo>
                    <a:pt x="92693" y="2539"/>
                  </a:lnTo>
                  <a:lnTo>
                    <a:pt x="92117" y="2539"/>
                  </a:lnTo>
                  <a:lnTo>
                    <a:pt x="91706" y="2539"/>
                  </a:lnTo>
                  <a:lnTo>
                    <a:pt x="91542" y="3015"/>
                  </a:lnTo>
                  <a:lnTo>
                    <a:pt x="91295" y="3015"/>
                  </a:lnTo>
                  <a:lnTo>
                    <a:pt x="91130" y="3015"/>
                  </a:lnTo>
                  <a:lnTo>
                    <a:pt x="91295" y="3015"/>
                  </a:lnTo>
                  <a:lnTo>
                    <a:pt x="91295" y="3015"/>
                  </a:lnTo>
                  <a:lnTo>
                    <a:pt x="91542" y="3015"/>
                  </a:lnTo>
                  <a:lnTo>
                    <a:pt x="91953" y="3015"/>
                  </a:lnTo>
                  <a:lnTo>
                    <a:pt x="92117" y="3015"/>
                  </a:lnTo>
                  <a:lnTo>
                    <a:pt x="92282" y="3015"/>
                  </a:lnTo>
                  <a:lnTo>
                    <a:pt x="92282" y="3015"/>
                  </a:lnTo>
                  <a:lnTo>
                    <a:pt x="92858" y="3015"/>
                  </a:lnTo>
                  <a:lnTo>
                    <a:pt x="92858" y="3015"/>
                  </a:lnTo>
                  <a:lnTo>
                    <a:pt x="91953" y="3333"/>
                  </a:lnTo>
                  <a:lnTo>
                    <a:pt x="91706" y="3333"/>
                  </a:lnTo>
                  <a:lnTo>
                    <a:pt x="91953" y="3333"/>
                  </a:lnTo>
                  <a:lnTo>
                    <a:pt x="92117" y="3333"/>
                  </a:lnTo>
                  <a:lnTo>
                    <a:pt x="93433" y="3333"/>
                  </a:lnTo>
                  <a:lnTo>
                    <a:pt x="94009" y="3333"/>
                  </a:lnTo>
                  <a:lnTo>
                    <a:pt x="94256" y="3333"/>
                  </a:lnTo>
                  <a:lnTo>
                    <a:pt x="94832" y="3333"/>
                  </a:lnTo>
                  <a:lnTo>
                    <a:pt x="94667" y="3333"/>
                  </a:lnTo>
                  <a:lnTo>
                    <a:pt x="94256" y="3333"/>
                  </a:lnTo>
                  <a:lnTo>
                    <a:pt x="93845" y="3333"/>
                  </a:lnTo>
                  <a:lnTo>
                    <a:pt x="93433" y="3333"/>
                  </a:lnTo>
                  <a:lnTo>
                    <a:pt x="92858" y="3650"/>
                  </a:lnTo>
                  <a:lnTo>
                    <a:pt x="92529" y="3650"/>
                  </a:lnTo>
                  <a:lnTo>
                    <a:pt x="92529" y="3650"/>
                  </a:lnTo>
                  <a:lnTo>
                    <a:pt x="92858" y="3650"/>
                  </a:lnTo>
                  <a:lnTo>
                    <a:pt x="92693" y="3650"/>
                  </a:lnTo>
                  <a:lnTo>
                    <a:pt x="92529" y="3650"/>
                  </a:lnTo>
                  <a:lnTo>
                    <a:pt x="92117" y="4126"/>
                  </a:lnTo>
                  <a:lnTo>
                    <a:pt x="91953" y="4126"/>
                  </a:lnTo>
                  <a:lnTo>
                    <a:pt x="91953" y="4126"/>
                  </a:lnTo>
                  <a:lnTo>
                    <a:pt x="92117" y="4444"/>
                  </a:lnTo>
                  <a:lnTo>
                    <a:pt x="92282" y="4444"/>
                  </a:lnTo>
                  <a:lnTo>
                    <a:pt x="92858" y="4126"/>
                  </a:lnTo>
                  <a:lnTo>
                    <a:pt x="94420" y="4126"/>
                  </a:lnTo>
                  <a:lnTo>
                    <a:pt x="94996" y="4126"/>
                  </a:lnTo>
                  <a:lnTo>
                    <a:pt x="95983" y="3650"/>
                  </a:lnTo>
                  <a:lnTo>
                    <a:pt x="96394" y="3650"/>
                  </a:lnTo>
                  <a:lnTo>
                    <a:pt x="96559" y="3650"/>
                  </a:lnTo>
                  <a:lnTo>
                    <a:pt x="96723" y="3650"/>
                  </a:lnTo>
                  <a:lnTo>
                    <a:pt x="96723" y="3650"/>
                  </a:lnTo>
                  <a:lnTo>
                    <a:pt x="95819" y="4126"/>
                  </a:lnTo>
                  <a:lnTo>
                    <a:pt x="94996" y="4444"/>
                  </a:lnTo>
                  <a:lnTo>
                    <a:pt x="94667" y="4444"/>
                  </a:lnTo>
                  <a:lnTo>
                    <a:pt x="94009" y="4444"/>
                  </a:lnTo>
                  <a:lnTo>
                    <a:pt x="93269" y="4444"/>
                  </a:lnTo>
                  <a:lnTo>
                    <a:pt x="92282" y="4444"/>
                  </a:lnTo>
                  <a:lnTo>
                    <a:pt x="92282" y="4444"/>
                  </a:lnTo>
                  <a:lnTo>
                    <a:pt x="92282" y="4444"/>
                  </a:lnTo>
                  <a:lnTo>
                    <a:pt x="92282" y="4761"/>
                  </a:lnTo>
                  <a:lnTo>
                    <a:pt x="92282" y="4761"/>
                  </a:lnTo>
                  <a:lnTo>
                    <a:pt x="92529" y="4761"/>
                  </a:lnTo>
                  <a:lnTo>
                    <a:pt x="92693" y="4761"/>
                  </a:lnTo>
                  <a:lnTo>
                    <a:pt x="92858" y="4761"/>
                  </a:lnTo>
                  <a:lnTo>
                    <a:pt x="93104" y="5238"/>
                  </a:lnTo>
                  <a:lnTo>
                    <a:pt x="93269" y="5238"/>
                  </a:lnTo>
                  <a:lnTo>
                    <a:pt x="93680" y="5238"/>
                  </a:lnTo>
                  <a:lnTo>
                    <a:pt x="94009" y="4761"/>
                  </a:lnTo>
                  <a:lnTo>
                    <a:pt x="95243" y="4444"/>
                  </a:lnTo>
                  <a:lnTo>
                    <a:pt x="95407" y="4444"/>
                  </a:lnTo>
                  <a:lnTo>
                    <a:pt x="95819" y="4444"/>
                  </a:lnTo>
                  <a:lnTo>
                    <a:pt x="96970" y="4126"/>
                  </a:lnTo>
                  <a:lnTo>
                    <a:pt x="98122" y="4126"/>
                  </a:lnTo>
                  <a:lnTo>
                    <a:pt x="98122" y="4126"/>
                  </a:lnTo>
                  <a:lnTo>
                    <a:pt x="96723" y="4126"/>
                  </a:lnTo>
                  <a:lnTo>
                    <a:pt x="96148" y="4444"/>
                  </a:lnTo>
                  <a:lnTo>
                    <a:pt x="95572" y="4444"/>
                  </a:lnTo>
                  <a:lnTo>
                    <a:pt x="94832" y="4761"/>
                  </a:lnTo>
                  <a:lnTo>
                    <a:pt x="94667" y="4761"/>
                  </a:lnTo>
                  <a:lnTo>
                    <a:pt x="94420" y="5238"/>
                  </a:lnTo>
                  <a:lnTo>
                    <a:pt x="94256" y="5238"/>
                  </a:lnTo>
                  <a:lnTo>
                    <a:pt x="94256" y="5238"/>
                  </a:lnTo>
                  <a:lnTo>
                    <a:pt x="94667" y="5238"/>
                  </a:lnTo>
                  <a:lnTo>
                    <a:pt x="94667" y="5238"/>
                  </a:lnTo>
                  <a:lnTo>
                    <a:pt x="94996" y="5238"/>
                  </a:lnTo>
                  <a:lnTo>
                    <a:pt x="95407" y="5238"/>
                  </a:lnTo>
                  <a:lnTo>
                    <a:pt x="95572" y="5555"/>
                  </a:lnTo>
                  <a:lnTo>
                    <a:pt x="96148" y="5238"/>
                  </a:lnTo>
                  <a:lnTo>
                    <a:pt x="96394" y="5238"/>
                  </a:lnTo>
                  <a:lnTo>
                    <a:pt x="96559" y="5238"/>
                  </a:lnTo>
                  <a:lnTo>
                    <a:pt x="96723" y="5238"/>
                  </a:lnTo>
                  <a:lnTo>
                    <a:pt x="97135" y="5238"/>
                  </a:lnTo>
                  <a:lnTo>
                    <a:pt x="97546" y="4761"/>
                  </a:lnTo>
                  <a:lnTo>
                    <a:pt x="98122" y="4761"/>
                  </a:lnTo>
                  <a:lnTo>
                    <a:pt x="98286" y="4761"/>
                  </a:lnTo>
                  <a:lnTo>
                    <a:pt x="98697" y="4761"/>
                  </a:lnTo>
                  <a:lnTo>
                    <a:pt x="98533" y="4761"/>
                  </a:lnTo>
                  <a:lnTo>
                    <a:pt x="97957" y="5238"/>
                  </a:lnTo>
                  <a:lnTo>
                    <a:pt x="97710" y="5238"/>
                  </a:lnTo>
                  <a:lnTo>
                    <a:pt x="97957" y="5238"/>
                  </a:lnTo>
                  <a:lnTo>
                    <a:pt x="98122" y="5238"/>
                  </a:lnTo>
                  <a:lnTo>
                    <a:pt x="99108" y="5238"/>
                  </a:lnTo>
                  <a:lnTo>
                    <a:pt x="99273" y="5238"/>
                  </a:lnTo>
                  <a:lnTo>
                    <a:pt x="99684" y="5238"/>
                  </a:lnTo>
                  <a:lnTo>
                    <a:pt x="100671" y="4761"/>
                  </a:lnTo>
                  <a:lnTo>
                    <a:pt x="101000" y="4761"/>
                  </a:lnTo>
                  <a:lnTo>
                    <a:pt x="101247" y="4444"/>
                  </a:lnTo>
                  <a:lnTo>
                    <a:pt x="101411" y="4444"/>
                  </a:lnTo>
                  <a:lnTo>
                    <a:pt x="101411" y="4444"/>
                  </a:lnTo>
                  <a:lnTo>
                    <a:pt x="101576" y="4444"/>
                  </a:lnTo>
                  <a:lnTo>
                    <a:pt x="101823" y="4126"/>
                  </a:lnTo>
                  <a:lnTo>
                    <a:pt x="101987" y="4126"/>
                  </a:lnTo>
                  <a:lnTo>
                    <a:pt x="101987" y="4126"/>
                  </a:lnTo>
                  <a:lnTo>
                    <a:pt x="102152" y="4126"/>
                  </a:lnTo>
                  <a:lnTo>
                    <a:pt x="102398" y="4126"/>
                  </a:lnTo>
                  <a:lnTo>
                    <a:pt x="102974" y="3650"/>
                  </a:lnTo>
                  <a:lnTo>
                    <a:pt x="103385" y="3650"/>
                  </a:lnTo>
                  <a:lnTo>
                    <a:pt x="104537" y="3333"/>
                  </a:lnTo>
                  <a:lnTo>
                    <a:pt x="104290" y="3650"/>
                  </a:lnTo>
                  <a:lnTo>
                    <a:pt x="103714" y="3650"/>
                  </a:lnTo>
                  <a:lnTo>
                    <a:pt x="102974" y="4126"/>
                  </a:lnTo>
                  <a:lnTo>
                    <a:pt x="102563" y="4126"/>
                  </a:lnTo>
                  <a:lnTo>
                    <a:pt x="102398" y="4126"/>
                  </a:lnTo>
                  <a:lnTo>
                    <a:pt x="102152" y="4444"/>
                  </a:lnTo>
                  <a:lnTo>
                    <a:pt x="102152" y="4444"/>
                  </a:lnTo>
                  <a:lnTo>
                    <a:pt x="102398" y="4444"/>
                  </a:lnTo>
                  <a:lnTo>
                    <a:pt x="102810" y="4444"/>
                  </a:lnTo>
                  <a:lnTo>
                    <a:pt x="103385" y="4444"/>
                  </a:lnTo>
                  <a:lnTo>
                    <a:pt x="103550" y="4444"/>
                  </a:lnTo>
                  <a:lnTo>
                    <a:pt x="103714" y="4444"/>
                  </a:lnTo>
                  <a:lnTo>
                    <a:pt x="103714" y="4761"/>
                  </a:lnTo>
                  <a:lnTo>
                    <a:pt x="103550" y="4761"/>
                  </a:lnTo>
                  <a:lnTo>
                    <a:pt x="103139" y="4761"/>
                  </a:lnTo>
                  <a:lnTo>
                    <a:pt x="102152" y="4761"/>
                  </a:lnTo>
                  <a:lnTo>
                    <a:pt x="100836" y="5238"/>
                  </a:lnTo>
                  <a:lnTo>
                    <a:pt x="100836" y="5238"/>
                  </a:lnTo>
                  <a:lnTo>
                    <a:pt x="100260" y="5238"/>
                  </a:lnTo>
                  <a:lnTo>
                    <a:pt x="99273" y="5555"/>
                  </a:lnTo>
                  <a:lnTo>
                    <a:pt x="97710" y="5555"/>
                  </a:lnTo>
                  <a:lnTo>
                    <a:pt x="97546" y="6031"/>
                  </a:lnTo>
                  <a:lnTo>
                    <a:pt x="97381" y="6031"/>
                  </a:lnTo>
                  <a:lnTo>
                    <a:pt x="97135" y="6031"/>
                  </a:lnTo>
                  <a:lnTo>
                    <a:pt x="97381" y="6349"/>
                  </a:lnTo>
                  <a:lnTo>
                    <a:pt x="97546" y="6349"/>
                  </a:lnTo>
                  <a:lnTo>
                    <a:pt x="97710" y="6666"/>
                  </a:lnTo>
                  <a:lnTo>
                    <a:pt x="97957" y="6666"/>
                  </a:lnTo>
                  <a:lnTo>
                    <a:pt x="97957" y="7142"/>
                  </a:lnTo>
                  <a:lnTo>
                    <a:pt x="98122" y="7142"/>
                  </a:lnTo>
                  <a:lnTo>
                    <a:pt x="98122" y="7460"/>
                  </a:lnTo>
                  <a:lnTo>
                    <a:pt x="98533" y="7460"/>
                  </a:lnTo>
                  <a:lnTo>
                    <a:pt x="98862" y="7460"/>
                  </a:lnTo>
                  <a:lnTo>
                    <a:pt x="99108" y="7460"/>
                  </a:lnTo>
                  <a:lnTo>
                    <a:pt x="98862" y="7460"/>
                  </a:lnTo>
                  <a:lnTo>
                    <a:pt x="98533" y="7460"/>
                  </a:lnTo>
                  <a:lnTo>
                    <a:pt x="98286" y="7460"/>
                  </a:lnTo>
                  <a:lnTo>
                    <a:pt x="98122" y="7460"/>
                  </a:lnTo>
                  <a:lnTo>
                    <a:pt x="97710" y="7460"/>
                  </a:lnTo>
                  <a:lnTo>
                    <a:pt x="97546" y="7460"/>
                  </a:lnTo>
                  <a:lnTo>
                    <a:pt x="97381" y="7142"/>
                  </a:lnTo>
                  <a:lnTo>
                    <a:pt x="97381" y="7142"/>
                  </a:lnTo>
                  <a:lnTo>
                    <a:pt x="97135" y="6666"/>
                  </a:lnTo>
                  <a:lnTo>
                    <a:pt x="97135" y="6666"/>
                  </a:lnTo>
                  <a:lnTo>
                    <a:pt x="96723" y="6349"/>
                  </a:lnTo>
                  <a:lnTo>
                    <a:pt x="96559" y="6349"/>
                  </a:lnTo>
                  <a:lnTo>
                    <a:pt x="96394" y="6031"/>
                  </a:lnTo>
                  <a:lnTo>
                    <a:pt x="96148" y="6031"/>
                  </a:lnTo>
                  <a:lnTo>
                    <a:pt x="95572" y="6031"/>
                  </a:lnTo>
                  <a:lnTo>
                    <a:pt x="95243" y="6031"/>
                  </a:lnTo>
                  <a:lnTo>
                    <a:pt x="94009" y="6031"/>
                  </a:lnTo>
                  <a:lnTo>
                    <a:pt x="93845" y="6031"/>
                  </a:lnTo>
                  <a:lnTo>
                    <a:pt x="93433" y="6349"/>
                  </a:lnTo>
                  <a:lnTo>
                    <a:pt x="93433" y="6666"/>
                  </a:lnTo>
                  <a:lnTo>
                    <a:pt x="93269" y="7142"/>
                  </a:lnTo>
                  <a:lnTo>
                    <a:pt x="93433" y="7142"/>
                  </a:lnTo>
                  <a:lnTo>
                    <a:pt x="93433" y="7142"/>
                  </a:lnTo>
                  <a:lnTo>
                    <a:pt x="93845" y="7460"/>
                  </a:lnTo>
                  <a:lnTo>
                    <a:pt x="94009" y="7460"/>
                  </a:lnTo>
                  <a:lnTo>
                    <a:pt x="94256" y="7460"/>
                  </a:lnTo>
                  <a:lnTo>
                    <a:pt x="94256" y="7777"/>
                  </a:lnTo>
                  <a:lnTo>
                    <a:pt x="94420" y="7777"/>
                  </a:lnTo>
                  <a:lnTo>
                    <a:pt x="94420" y="8253"/>
                  </a:lnTo>
                  <a:lnTo>
                    <a:pt x="94420" y="8253"/>
                  </a:lnTo>
                  <a:lnTo>
                    <a:pt x="94667" y="8571"/>
                  </a:lnTo>
                  <a:lnTo>
                    <a:pt x="94832" y="8571"/>
                  </a:lnTo>
                  <a:lnTo>
                    <a:pt x="94832" y="8571"/>
                  </a:lnTo>
                  <a:lnTo>
                    <a:pt x="94667" y="8571"/>
                  </a:lnTo>
                  <a:lnTo>
                    <a:pt x="94420" y="8571"/>
                  </a:lnTo>
                  <a:lnTo>
                    <a:pt x="94256" y="8571"/>
                  </a:lnTo>
                  <a:lnTo>
                    <a:pt x="94009" y="8571"/>
                  </a:lnTo>
                  <a:lnTo>
                    <a:pt x="93845" y="8571"/>
                  </a:lnTo>
                  <a:lnTo>
                    <a:pt x="93845" y="8571"/>
                  </a:lnTo>
                  <a:lnTo>
                    <a:pt x="93845" y="8888"/>
                  </a:lnTo>
                  <a:lnTo>
                    <a:pt x="93845" y="8888"/>
                  </a:lnTo>
                  <a:lnTo>
                    <a:pt x="93845" y="8888"/>
                  </a:lnTo>
                  <a:lnTo>
                    <a:pt x="94009" y="8888"/>
                  </a:lnTo>
                  <a:lnTo>
                    <a:pt x="94420" y="8888"/>
                  </a:lnTo>
                  <a:lnTo>
                    <a:pt x="94996" y="8888"/>
                  </a:lnTo>
                  <a:lnTo>
                    <a:pt x="95407" y="8888"/>
                  </a:lnTo>
                  <a:lnTo>
                    <a:pt x="95572" y="8888"/>
                  </a:lnTo>
                  <a:lnTo>
                    <a:pt x="95819" y="8888"/>
                  </a:lnTo>
                  <a:lnTo>
                    <a:pt x="96148" y="8888"/>
                  </a:lnTo>
                  <a:lnTo>
                    <a:pt x="96394" y="8888"/>
                  </a:lnTo>
                  <a:lnTo>
                    <a:pt x="96394" y="8888"/>
                  </a:lnTo>
                  <a:lnTo>
                    <a:pt x="96394" y="8888"/>
                  </a:lnTo>
                  <a:lnTo>
                    <a:pt x="96148" y="8888"/>
                  </a:lnTo>
                  <a:lnTo>
                    <a:pt x="95819" y="9365"/>
                  </a:lnTo>
                  <a:lnTo>
                    <a:pt x="95819" y="9365"/>
                  </a:lnTo>
                  <a:lnTo>
                    <a:pt x="95572" y="9365"/>
                  </a:lnTo>
                  <a:lnTo>
                    <a:pt x="94996" y="9365"/>
                  </a:lnTo>
                  <a:lnTo>
                    <a:pt x="94832" y="9365"/>
                  </a:lnTo>
                  <a:lnTo>
                    <a:pt x="94667" y="9365"/>
                  </a:lnTo>
                  <a:lnTo>
                    <a:pt x="94667" y="9365"/>
                  </a:lnTo>
                  <a:lnTo>
                    <a:pt x="94420" y="9365"/>
                  </a:lnTo>
                  <a:lnTo>
                    <a:pt x="94009" y="9365"/>
                  </a:lnTo>
                  <a:lnTo>
                    <a:pt x="93269" y="9365"/>
                  </a:lnTo>
                  <a:lnTo>
                    <a:pt x="93269" y="8888"/>
                  </a:lnTo>
                  <a:lnTo>
                    <a:pt x="92858" y="8888"/>
                  </a:lnTo>
                  <a:lnTo>
                    <a:pt x="92529" y="9365"/>
                  </a:lnTo>
                  <a:lnTo>
                    <a:pt x="91953" y="9365"/>
                  </a:lnTo>
                  <a:lnTo>
                    <a:pt x="91130" y="9365"/>
                  </a:lnTo>
                  <a:lnTo>
                    <a:pt x="90966" y="9682"/>
                  </a:lnTo>
                  <a:lnTo>
                    <a:pt x="90555" y="10158"/>
                  </a:lnTo>
                  <a:lnTo>
                    <a:pt x="90143" y="10158"/>
                  </a:lnTo>
                  <a:lnTo>
                    <a:pt x="89979" y="10476"/>
                  </a:lnTo>
                  <a:lnTo>
                    <a:pt x="89814" y="10476"/>
                  </a:lnTo>
                  <a:lnTo>
                    <a:pt x="89568" y="10793"/>
                  </a:lnTo>
                  <a:lnTo>
                    <a:pt x="89568" y="10793"/>
                  </a:lnTo>
                  <a:lnTo>
                    <a:pt x="90143" y="10793"/>
                  </a:lnTo>
                  <a:lnTo>
                    <a:pt x="90390" y="10793"/>
                  </a:lnTo>
                  <a:lnTo>
                    <a:pt x="90719" y="10793"/>
                  </a:lnTo>
                  <a:lnTo>
                    <a:pt x="91130" y="10476"/>
                  </a:lnTo>
                  <a:lnTo>
                    <a:pt x="91295" y="10476"/>
                  </a:lnTo>
                  <a:lnTo>
                    <a:pt x="90966" y="10793"/>
                  </a:lnTo>
                  <a:lnTo>
                    <a:pt x="90719" y="11269"/>
                  </a:lnTo>
                  <a:lnTo>
                    <a:pt x="91295" y="11269"/>
                  </a:lnTo>
                  <a:lnTo>
                    <a:pt x="91542" y="10793"/>
                  </a:lnTo>
                  <a:lnTo>
                    <a:pt x="91706" y="10793"/>
                  </a:lnTo>
                  <a:lnTo>
                    <a:pt x="92282" y="10476"/>
                  </a:lnTo>
                  <a:lnTo>
                    <a:pt x="92858" y="10158"/>
                  </a:lnTo>
                  <a:lnTo>
                    <a:pt x="92282" y="10793"/>
                  </a:lnTo>
                  <a:lnTo>
                    <a:pt x="92693" y="10793"/>
                  </a:lnTo>
                  <a:lnTo>
                    <a:pt x="92693" y="10793"/>
                  </a:lnTo>
                  <a:lnTo>
                    <a:pt x="92858" y="10793"/>
                  </a:lnTo>
                  <a:lnTo>
                    <a:pt x="92529" y="10793"/>
                  </a:lnTo>
                  <a:lnTo>
                    <a:pt x="92529" y="10793"/>
                  </a:lnTo>
                  <a:lnTo>
                    <a:pt x="91953" y="11269"/>
                  </a:lnTo>
                  <a:lnTo>
                    <a:pt x="91542" y="11269"/>
                  </a:lnTo>
                  <a:lnTo>
                    <a:pt x="91130" y="11587"/>
                  </a:lnTo>
                  <a:lnTo>
                    <a:pt x="91130" y="11904"/>
                  </a:lnTo>
                  <a:lnTo>
                    <a:pt x="90719" y="12380"/>
                  </a:lnTo>
                  <a:lnTo>
                    <a:pt x="90966" y="12380"/>
                  </a:lnTo>
                  <a:lnTo>
                    <a:pt x="91130" y="12698"/>
                  </a:lnTo>
                  <a:lnTo>
                    <a:pt x="91542" y="12380"/>
                  </a:lnTo>
                  <a:lnTo>
                    <a:pt x="91953" y="12380"/>
                  </a:lnTo>
                  <a:lnTo>
                    <a:pt x="92117" y="12380"/>
                  </a:lnTo>
                  <a:lnTo>
                    <a:pt x="92282" y="12380"/>
                  </a:lnTo>
                  <a:lnTo>
                    <a:pt x="92693" y="12380"/>
                  </a:lnTo>
                  <a:lnTo>
                    <a:pt x="92858" y="11904"/>
                  </a:lnTo>
                  <a:lnTo>
                    <a:pt x="94009" y="11587"/>
                  </a:lnTo>
                  <a:lnTo>
                    <a:pt x="94009" y="11269"/>
                  </a:lnTo>
                  <a:lnTo>
                    <a:pt x="94009" y="11587"/>
                  </a:lnTo>
                  <a:lnTo>
                    <a:pt x="93845" y="11587"/>
                  </a:lnTo>
                  <a:lnTo>
                    <a:pt x="93845" y="11587"/>
                  </a:lnTo>
                  <a:lnTo>
                    <a:pt x="93433" y="11904"/>
                  </a:lnTo>
                  <a:lnTo>
                    <a:pt x="92858" y="12380"/>
                  </a:lnTo>
                  <a:lnTo>
                    <a:pt x="92529" y="12380"/>
                  </a:lnTo>
                  <a:lnTo>
                    <a:pt x="92529" y="12698"/>
                  </a:lnTo>
                  <a:lnTo>
                    <a:pt x="92282" y="12698"/>
                  </a:lnTo>
                  <a:lnTo>
                    <a:pt x="92117" y="12698"/>
                  </a:lnTo>
                  <a:lnTo>
                    <a:pt x="91953" y="12698"/>
                  </a:lnTo>
                  <a:lnTo>
                    <a:pt x="91295" y="12698"/>
                  </a:lnTo>
                  <a:lnTo>
                    <a:pt x="91130" y="12698"/>
                  </a:lnTo>
                  <a:lnTo>
                    <a:pt x="90966" y="12698"/>
                  </a:lnTo>
                  <a:lnTo>
                    <a:pt x="90390" y="12698"/>
                  </a:lnTo>
                  <a:lnTo>
                    <a:pt x="90390" y="12380"/>
                  </a:lnTo>
                  <a:lnTo>
                    <a:pt x="90390" y="12380"/>
                  </a:lnTo>
                  <a:lnTo>
                    <a:pt x="90143" y="11904"/>
                  </a:lnTo>
                  <a:lnTo>
                    <a:pt x="90143" y="11904"/>
                  </a:lnTo>
                  <a:lnTo>
                    <a:pt x="89814" y="11587"/>
                  </a:lnTo>
                  <a:lnTo>
                    <a:pt x="89568" y="11587"/>
                  </a:lnTo>
                  <a:lnTo>
                    <a:pt x="89403" y="11587"/>
                  </a:lnTo>
                  <a:lnTo>
                    <a:pt x="89239" y="11587"/>
                  </a:lnTo>
                  <a:lnTo>
                    <a:pt x="88827" y="11587"/>
                  </a:lnTo>
                  <a:lnTo>
                    <a:pt x="88416" y="11904"/>
                  </a:lnTo>
                  <a:lnTo>
                    <a:pt x="88252" y="11904"/>
                  </a:lnTo>
                  <a:lnTo>
                    <a:pt x="88252" y="12380"/>
                  </a:lnTo>
                  <a:lnTo>
                    <a:pt x="88252" y="12698"/>
                  </a:lnTo>
                  <a:lnTo>
                    <a:pt x="88252" y="12698"/>
                  </a:lnTo>
                  <a:lnTo>
                    <a:pt x="88252" y="12698"/>
                  </a:lnTo>
                  <a:lnTo>
                    <a:pt x="88416" y="13015"/>
                  </a:lnTo>
                  <a:lnTo>
                    <a:pt x="88416" y="13015"/>
                  </a:lnTo>
                  <a:lnTo>
                    <a:pt x="88581" y="13015"/>
                  </a:lnTo>
                  <a:lnTo>
                    <a:pt x="88581" y="13015"/>
                  </a:lnTo>
                  <a:lnTo>
                    <a:pt x="88581" y="13492"/>
                  </a:lnTo>
                  <a:lnTo>
                    <a:pt x="88581" y="13492"/>
                  </a:lnTo>
                  <a:lnTo>
                    <a:pt x="88581" y="13492"/>
                  </a:lnTo>
                  <a:lnTo>
                    <a:pt x="88416" y="13492"/>
                  </a:lnTo>
                  <a:lnTo>
                    <a:pt x="88005" y="13492"/>
                  </a:lnTo>
                  <a:lnTo>
                    <a:pt x="87840" y="13492"/>
                  </a:lnTo>
                  <a:lnTo>
                    <a:pt x="87676" y="13492"/>
                  </a:lnTo>
                  <a:lnTo>
                    <a:pt x="87265" y="13492"/>
                  </a:lnTo>
                  <a:lnTo>
                    <a:pt x="87100" y="13492"/>
                  </a:lnTo>
                  <a:lnTo>
                    <a:pt x="86854" y="13492"/>
                  </a:lnTo>
                  <a:lnTo>
                    <a:pt x="86525" y="13809"/>
                  </a:lnTo>
                  <a:lnTo>
                    <a:pt x="85538" y="14285"/>
                  </a:lnTo>
                  <a:lnTo>
                    <a:pt x="85126" y="14603"/>
                  </a:lnTo>
                  <a:lnTo>
                    <a:pt x="84962" y="14920"/>
                  </a:lnTo>
                  <a:lnTo>
                    <a:pt x="84962" y="14920"/>
                  </a:lnTo>
                  <a:lnTo>
                    <a:pt x="85538" y="15396"/>
                  </a:lnTo>
                  <a:lnTo>
                    <a:pt x="85702" y="15396"/>
                  </a:lnTo>
                  <a:lnTo>
                    <a:pt x="85867" y="14920"/>
                  </a:lnTo>
                  <a:lnTo>
                    <a:pt x="86113" y="14603"/>
                  </a:lnTo>
                  <a:lnTo>
                    <a:pt x="86278" y="14285"/>
                  </a:lnTo>
                  <a:lnTo>
                    <a:pt x="86113" y="14920"/>
                  </a:lnTo>
                  <a:lnTo>
                    <a:pt x="85867" y="15396"/>
                  </a:lnTo>
                  <a:lnTo>
                    <a:pt x="86278" y="15396"/>
                  </a:lnTo>
                  <a:lnTo>
                    <a:pt x="86689" y="15396"/>
                  </a:lnTo>
                  <a:lnTo>
                    <a:pt x="87100" y="14920"/>
                  </a:lnTo>
                  <a:lnTo>
                    <a:pt x="87100" y="15396"/>
                  </a:lnTo>
                  <a:lnTo>
                    <a:pt x="87265" y="15396"/>
                  </a:lnTo>
                  <a:lnTo>
                    <a:pt x="87676" y="15396"/>
                  </a:lnTo>
                  <a:lnTo>
                    <a:pt x="87840" y="14920"/>
                  </a:lnTo>
                  <a:lnTo>
                    <a:pt x="88005" y="14920"/>
                  </a:lnTo>
                  <a:lnTo>
                    <a:pt x="88252" y="14920"/>
                  </a:lnTo>
                  <a:lnTo>
                    <a:pt x="88252" y="14920"/>
                  </a:lnTo>
                  <a:lnTo>
                    <a:pt x="88252" y="14920"/>
                  </a:lnTo>
                  <a:lnTo>
                    <a:pt x="88252" y="15396"/>
                  </a:lnTo>
                  <a:lnTo>
                    <a:pt x="88581" y="15396"/>
                  </a:lnTo>
                  <a:lnTo>
                    <a:pt x="88827" y="15714"/>
                  </a:lnTo>
                  <a:lnTo>
                    <a:pt x="88992" y="15714"/>
                  </a:lnTo>
                  <a:lnTo>
                    <a:pt x="89979" y="15396"/>
                  </a:lnTo>
                  <a:lnTo>
                    <a:pt x="90555" y="14603"/>
                  </a:lnTo>
                  <a:lnTo>
                    <a:pt x="90555" y="14920"/>
                  </a:lnTo>
                  <a:lnTo>
                    <a:pt x="90555" y="15396"/>
                  </a:lnTo>
                  <a:lnTo>
                    <a:pt x="90966" y="15396"/>
                  </a:lnTo>
                  <a:lnTo>
                    <a:pt x="92117" y="15396"/>
                  </a:lnTo>
                  <a:lnTo>
                    <a:pt x="92282" y="14920"/>
                  </a:lnTo>
                  <a:lnTo>
                    <a:pt x="92282" y="14920"/>
                  </a:lnTo>
                  <a:lnTo>
                    <a:pt x="92282" y="14603"/>
                  </a:lnTo>
                  <a:lnTo>
                    <a:pt x="92282" y="14603"/>
                  </a:lnTo>
                  <a:lnTo>
                    <a:pt x="92282" y="14603"/>
                  </a:lnTo>
                  <a:lnTo>
                    <a:pt x="92282" y="14603"/>
                  </a:lnTo>
                  <a:lnTo>
                    <a:pt x="92529" y="14603"/>
                  </a:lnTo>
                  <a:lnTo>
                    <a:pt x="92529" y="14603"/>
                  </a:lnTo>
                  <a:lnTo>
                    <a:pt x="92529" y="14603"/>
                  </a:lnTo>
                  <a:lnTo>
                    <a:pt x="92693" y="14603"/>
                  </a:lnTo>
                  <a:lnTo>
                    <a:pt x="92693" y="14920"/>
                  </a:lnTo>
                  <a:lnTo>
                    <a:pt x="92693" y="14920"/>
                  </a:lnTo>
                  <a:lnTo>
                    <a:pt x="92858" y="14920"/>
                  </a:lnTo>
                  <a:lnTo>
                    <a:pt x="93104" y="14920"/>
                  </a:lnTo>
                  <a:lnTo>
                    <a:pt x="93104" y="14920"/>
                  </a:lnTo>
                  <a:lnTo>
                    <a:pt x="93269" y="14920"/>
                  </a:lnTo>
                  <a:lnTo>
                    <a:pt x="93433" y="14920"/>
                  </a:lnTo>
                  <a:lnTo>
                    <a:pt x="93433" y="14920"/>
                  </a:lnTo>
                  <a:lnTo>
                    <a:pt x="93433" y="15396"/>
                  </a:lnTo>
                  <a:lnTo>
                    <a:pt x="93433" y="15396"/>
                  </a:lnTo>
                  <a:lnTo>
                    <a:pt x="93269" y="15396"/>
                  </a:lnTo>
                  <a:lnTo>
                    <a:pt x="93269" y="15714"/>
                  </a:lnTo>
                  <a:lnTo>
                    <a:pt x="93104" y="15714"/>
                  </a:lnTo>
                  <a:lnTo>
                    <a:pt x="93104" y="15714"/>
                  </a:lnTo>
                  <a:lnTo>
                    <a:pt x="93269" y="15714"/>
                  </a:lnTo>
                  <a:lnTo>
                    <a:pt x="93269" y="15714"/>
                  </a:lnTo>
                  <a:lnTo>
                    <a:pt x="93845" y="15714"/>
                  </a:lnTo>
                  <a:lnTo>
                    <a:pt x="94256" y="15714"/>
                  </a:lnTo>
                  <a:lnTo>
                    <a:pt x="94667" y="15714"/>
                  </a:lnTo>
                  <a:lnTo>
                    <a:pt x="94996" y="15396"/>
                  </a:lnTo>
                  <a:lnTo>
                    <a:pt x="95243" y="15396"/>
                  </a:lnTo>
                  <a:lnTo>
                    <a:pt x="95572" y="15396"/>
                  </a:lnTo>
                  <a:lnTo>
                    <a:pt x="96394" y="14920"/>
                  </a:lnTo>
                  <a:lnTo>
                    <a:pt x="96559" y="14603"/>
                  </a:lnTo>
                  <a:lnTo>
                    <a:pt x="96970" y="14603"/>
                  </a:lnTo>
                  <a:lnTo>
                    <a:pt x="96970" y="14285"/>
                  </a:lnTo>
                  <a:lnTo>
                    <a:pt x="96970" y="13809"/>
                  </a:lnTo>
                  <a:lnTo>
                    <a:pt x="96970" y="13809"/>
                  </a:lnTo>
                  <a:lnTo>
                    <a:pt x="96723" y="13809"/>
                  </a:lnTo>
                  <a:lnTo>
                    <a:pt x="96723" y="13809"/>
                  </a:lnTo>
                  <a:lnTo>
                    <a:pt x="96394" y="14285"/>
                  </a:lnTo>
                  <a:lnTo>
                    <a:pt x="96148" y="14285"/>
                  </a:lnTo>
                  <a:lnTo>
                    <a:pt x="96148" y="14285"/>
                  </a:lnTo>
                  <a:lnTo>
                    <a:pt x="95983" y="13809"/>
                  </a:lnTo>
                  <a:lnTo>
                    <a:pt x="95819" y="13809"/>
                  </a:lnTo>
                  <a:lnTo>
                    <a:pt x="95983" y="13809"/>
                  </a:lnTo>
                  <a:lnTo>
                    <a:pt x="95983" y="13492"/>
                  </a:lnTo>
                  <a:lnTo>
                    <a:pt x="96148" y="13492"/>
                  </a:lnTo>
                  <a:lnTo>
                    <a:pt x="95983" y="13492"/>
                  </a:lnTo>
                  <a:lnTo>
                    <a:pt x="95572" y="13492"/>
                  </a:lnTo>
                  <a:lnTo>
                    <a:pt x="95243" y="13492"/>
                  </a:lnTo>
                  <a:lnTo>
                    <a:pt x="95243" y="13492"/>
                  </a:lnTo>
                  <a:lnTo>
                    <a:pt x="94832" y="13015"/>
                  </a:lnTo>
                  <a:lnTo>
                    <a:pt x="94832" y="13015"/>
                  </a:lnTo>
                  <a:lnTo>
                    <a:pt x="94420" y="13015"/>
                  </a:lnTo>
                  <a:lnTo>
                    <a:pt x="94256" y="13015"/>
                  </a:lnTo>
                  <a:lnTo>
                    <a:pt x="94009" y="13015"/>
                  </a:lnTo>
                  <a:lnTo>
                    <a:pt x="93845" y="13492"/>
                  </a:lnTo>
                  <a:lnTo>
                    <a:pt x="93680" y="13015"/>
                  </a:lnTo>
                  <a:lnTo>
                    <a:pt x="93680" y="13015"/>
                  </a:lnTo>
                  <a:lnTo>
                    <a:pt x="93680" y="13015"/>
                  </a:lnTo>
                  <a:lnTo>
                    <a:pt x="93680" y="13015"/>
                  </a:lnTo>
                  <a:lnTo>
                    <a:pt x="93845" y="13015"/>
                  </a:lnTo>
                  <a:lnTo>
                    <a:pt x="94256" y="13015"/>
                  </a:lnTo>
                  <a:lnTo>
                    <a:pt x="94420" y="13015"/>
                  </a:lnTo>
                  <a:lnTo>
                    <a:pt x="94420" y="12698"/>
                  </a:lnTo>
                  <a:lnTo>
                    <a:pt x="94420" y="12698"/>
                  </a:lnTo>
                  <a:lnTo>
                    <a:pt x="94420" y="12698"/>
                  </a:lnTo>
                  <a:lnTo>
                    <a:pt x="94256" y="12698"/>
                  </a:lnTo>
                  <a:lnTo>
                    <a:pt x="94420" y="12380"/>
                  </a:lnTo>
                  <a:lnTo>
                    <a:pt x="94420" y="12380"/>
                  </a:lnTo>
                  <a:lnTo>
                    <a:pt x="94667" y="12698"/>
                  </a:lnTo>
                  <a:lnTo>
                    <a:pt x="94832" y="12698"/>
                  </a:lnTo>
                  <a:lnTo>
                    <a:pt x="94996" y="13015"/>
                  </a:lnTo>
                  <a:lnTo>
                    <a:pt x="95407" y="13015"/>
                  </a:lnTo>
                  <a:lnTo>
                    <a:pt x="95819" y="13015"/>
                  </a:lnTo>
                  <a:lnTo>
                    <a:pt x="96559" y="13015"/>
                  </a:lnTo>
                  <a:lnTo>
                    <a:pt x="96723" y="13015"/>
                  </a:lnTo>
                  <a:lnTo>
                    <a:pt x="96970" y="13015"/>
                  </a:lnTo>
                  <a:lnTo>
                    <a:pt x="97381" y="12698"/>
                  </a:lnTo>
                  <a:lnTo>
                    <a:pt x="97546" y="12698"/>
                  </a:lnTo>
                  <a:lnTo>
                    <a:pt x="97710" y="12698"/>
                  </a:lnTo>
                  <a:lnTo>
                    <a:pt x="97957" y="12380"/>
                  </a:lnTo>
                  <a:lnTo>
                    <a:pt x="98122" y="12380"/>
                  </a:lnTo>
                  <a:lnTo>
                    <a:pt x="98122" y="11904"/>
                  </a:lnTo>
                  <a:lnTo>
                    <a:pt x="98286" y="11587"/>
                  </a:lnTo>
                  <a:lnTo>
                    <a:pt x="98533" y="11587"/>
                  </a:lnTo>
                  <a:lnTo>
                    <a:pt x="98533" y="11587"/>
                  </a:lnTo>
                  <a:lnTo>
                    <a:pt x="99108" y="11587"/>
                  </a:lnTo>
                  <a:lnTo>
                    <a:pt x="99437" y="11587"/>
                  </a:lnTo>
                  <a:lnTo>
                    <a:pt x="99849" y="11587"/>
                  </a:lnTo>
                  <a:lnTo>
                    <a:pt x="100260" y="11269"/>
                  </a:lnTo>
                  <a:lnTo>
                    <a:pt x="100424" y="11269"/>
                  </a:lnTo>
                  <a:lnTo>
                    <a:pt x="100671" y="11269"/>
                  </a:lnTo>
                  <a:lnTo>
                    <a:pt x="100836" y="11269"/>
                  </a:lnTo>
                  <a:lnTo>
                    <a:pt x="101411" y="10793"/>
                  </a:lnTo>
                  <a:lnTo>
                    <a:pt x="101823" y="10476"/>
                  </a:lnTo>
                  <a:lnTo>
                    <a:pt x="101823" y="10476"/>
                  </a:lnTo>
                  <a:lnTo>
                    <a:pt x="101576" y="10476"/>
                  </a:lnTo>
                  <a:lnTo>
                    <a:pt x="101247" y="10158"/>
                  </a:lnTo>
                  <a:lnTo>
                    <a:pt x="100836" y="10158"/>
                  </a:lnTo>
                  <a:lnTo>
                    <a:pt x="101000" y="10158"/>
                  </a:lnTo>
                  <a:lnTo>
                    <a:pt x="101411" y="10158"/>
                  </a:lnTo>
                  <a:lnTo>
                    <a:pt x="101987" y="10158"/>
                  </a:lnTo>
                  <a:lnTo>
                    <a:pt x="102398" y="10158"/>
                  </a:lnTo>
                  <a:lnTo>
                    <a:pt x="102974" y="9682"/>
                  </a:lnTo>
                  <a:lnTo>
                    <a:pt x="102974" y="9682"/>
                  </a:lnTo>
                  <a:lnTo>
                    <a:pt x="103139" y="9682"/>
                  </a:lnTo>
                  <a:lnTo>
                    <a:pt x="103139" y="9365"/>
                  </a:lnTo>
                  <a:lnTo>
                    <a:pt x="102974" y="9365"/>
                  </a:lnTo>
                  <a:lnTo>
                    <a:pt x="102810" y="9365"/>
                  </a:lnTo>
                  <a:lnTo>
                    <a:pt x="102398" y="9365"/>
                  </a:lnTo>
                  <a:lnTo>
                    <a:pt x="101987" y="9365"/>
                  </a:lnTo>
                  <a:lnTo>
                    <a:pt x="101987" y="8888"/>
                  </a:lnTo>
                  <a:lnTo>
                    <a:pt x="101987" y="8888"/>
                  </a:lnTo>
                  <a:lnTo>
                    <a:pt x="101823" y="8888"/>
                  </a:lnTo>
                  <a:lnTo>
                    <a:pt x="101576" y="8888"/>
                  </a:lnTo>
                  <a:lnTo>
                    <a:pt x="101247" y="8888"/>
                  </a:lnTo>
                  <a:lnTo>
                    <a:pt x="100424" y="8888"/>
                  </a:lnTo>
                  <a:lnTo>
                    <a:pt x="100260" y="8888"/>
                  </a:lnTo>
                  <a:lnTo>
                    <a:pt x="100095" y="8888"/>
                  </a:lnTo>
                  <a:lnTo>
                    <a:pt x="100095" y="8888"/>
                  </a:lnTo>
                  <a:lnTo>
                    <a:pt x="99849" y="8888"/>
                  </a:lnTo>
                  <a:lnTo>
                    <a:pt x="99684" y="8888"/>
                  </a:lnTo>
                  <a:lnTo>
                    <a:pt x="99684" y="8571"/>
                  </a:lnTo>
                  <a:lnTo>
                    <a:pt x="99684" y="8571"/>
                  </a:lnTo>
                  <a:lnTo>
                    <a:pt x="99849" y="8571"/>
                  </a:lnTo>
                  <a:lnTo>
                    <a:pt x="100260" y="8571"/>
                  </a:lnTo>
                  <a:lnTo>
                    <a:pt x="100424" y="8571"/>
                  </a:lnTo>
                  <a:lnTo>
                    <a:pt x="100836" y="8571"/>
                  </a:lnTo>
                  <a:lnTo>
                    <a:pt x="101411" y="8571"/>
                  </a:lnTo>
                  <a:lnTo>
                    <a:pt x="101576" y="8571"/>
                  </a:lnTo>
                  <a:lnTo>
                    <a:pt x="101823" y="8571"/>
                  </a:lnTo>
                  <a:lnTo>
                    <a:pt x="101987" y="8571"/>
                  </a:lnTo>
                  <a:lnTo>
                    <a:pt x="102152" y="8571"/>
                  </a:lnTo>
                  <a:lnTo>
                    <a:pt x="102563" y="8571"/>
                  </a:lnTo>
                  <a:lnTo>
                    <a:pt x="102563" y="8571"/>
                  </a:lnTo>
                  <a:lnTo>
                    <a:pt x="102810" y="8888"/>
                  </a:lnTo>
                  <a:lnTo>
                    <a:pt x="103385" y="8888"/>
                  </a:lnTo>
                  <a:lnTo>
                    <a:pt x="103550" y="8571"/>
                  </a:lnTo>
                  <a:lnTo>
                    <a:pt x="103714" y="8253"/>
                  </a:lnTo>
                  <a:lnTo>
                    <a:pt x="103550" y="8253"/>
                  </a:lnTo>
                  <a:lnTo>
                    <a:pt x="103139" y="8571"/>
                  </a:lnTo>
                  <a:lnTo>
                    <a:pt x="102974" y="8253"/>
                  </a:lnTo>
                  <a:lnTo>
                    <a:pt x="102810" y="8253"/>
                  </a:lnTo>
                  <a:lnTo>
                    <a:pt x="102563" y="8253"/>
                  </a:lnTo>
                  <a:lnTo>
                    <a:pt x="102398" y="8253"/>
                  </a:lnTo>
                  <a:lnTo>
                    <a:pt x="102398" y="7777"/>
                  </a:lnTo>
                  <a:lnTo>
                    <a:pt x="101987" y="7777"/>
                  </a:lnTo>
                  <a:lnTo>
                    <a:pt x="101823" y="7777"/>
                  </a:lnTo>
                  <a:lnTo>
                    <a:pt x="101823" y="7777"/>
                  </a:lnTo>
                  <a:lnTo>
                    <a:pt x="102398" y="7777"/>
                  </a:lnTo>
                  <a:lnTo>
                    <a:pt x="102563" y="7777"/>
                  </a:lnTo>
                  <a:lnTo>
                    <a:pt x="102810" y="7777"/>
                  </a:lnTo>
                  <a:lnTo>
                    <a:pt x="103139" y="7777"/>
                  </a:lnTo>
                  <a:lnTo>
                    <a:pt x="103385" y="7777"/>
                  </a:lnTo>
                  <a:lnTo>
                    <a:pt x="103714" y="7777"/>
                  </a:lnTo>
                  <a:lnTo>
                    <a:pt x="104126" y="7777"/>
                  </a:lnTo>
                  <a:lnTo>
                    <a:pt x="104290" y="7777"/>
                  </a:lnTo>
                  <a:lnTo>
                    <a:pt x="104537" y="7777"/>
                  </a:lnTo>
                  <a:lnTo>
                    <a:pt x="104701" y="7777"/>
                  </a:lnTo>
                  <a:lnTo>
                    <a:pt x="105113" y="7777"/>
                  </a:lnTo>
                  <a:lnTo>
                    <a:pt x="105277" y="7777"/>
                  </a:lnTo>
                  <a:lnTo>
                    <a:pt x="105277" y="7777"/>
                  </a:lnTo>
                  <a:lnTo>
                    <a:pt x="105524" y="7460"/>
                  </a:lnTo>
                  <a:lnTo>
                    <a:pt x="105524" y="7460"/>
                  </a:lnTo>
                  <a:lnTo>
                    <a:pt x="105524" y="7460"/>
                  </a:lnTo>
                  <a:lnTo>
                    <a:pt x="105524" y="7142"/>
                  </a:lnTo>
                  <a:lnTo>
                    <a:pt x="105524" y="7142"/>
                  </a:lnTo>
                  <a:lnTo>
                    <a:pt x="105277" y="7142"/>
                  </a:lnTo>
                  <a:lnTo>
                    <a:pt x="104866" y="7142"/>
                  </a:lnTo>
                  <a:lnTo>
                    <a:pt x="104537" y="7142"/>
                  </a:lnTo>
                  <a:lnTo>
                    <a:pt x="104537" y="7142"/>
                  </a:lnTo>
                  <a:lnTo>
                    <a:pt x="104701" y="6666"/>
                  </a:lnTo>
                  <a:lnTo>
                    <a:pt x="105113" y="6666"/>
                  </a:lnTo>
                  <a:lnTo>
                    <a:pt x="105277" y="7142"/>
                  </a:lnTo>
                  <a:lnTo>
                    <a:pt x="105688" y="7142"/>
                  </a:lnTo>
                  <a:lnTo>
                    <a:pt x="106429" y="7460"/>
                  </a:lnTo>
                  <a:lnTo>
                    <a:pt x="106675" y="7460"/>
                  </a:lnTo>
                  <a:lnTo>
                    <a:pt x="106840" y="7142"/>
                  </a:lnTo>
                  <a:lnTo>
                    <a:pt x="107416" y="7142"/>
                  </a:lnTo>
                  <a:lnTo>
                    <a:pt x="107580" y="7142"/>
                  </a:lnTo>
                  <a:lnTo>
                    <a:pt x="107827" y="7142"/>
                  </a:lnTo>
                  <a:lnTo>
                    <a:pt x="107827" y="6666"/>
                  </a:lnTo>
                  <a:lnTo>
                    <a:pt x="107827" y="6666"/>
                  </a:lnTo>
                  <a:lnTo>
                    <a:pt x="107580" y="6666"/>
                  </a:lnTo>
                  <a:lnTo>
                    <a:pt x="108403" y="6666"/>
                  </a:lnTo>
                  <a:lnTo>
                    <a:pt x="108567" y="6349"/>
                  </a:lnTo>
                  <a:lnTo>
                    <a:pt x="108814" y="6349"/>
                  </a:lnTo>
                  <a:lnTo>
                    <a:pt x="108567" y="6349"/>
                  </a:lnTo>
                  <a:lnTo>
                    <a:pt x="108403" y="6349"/>
                  </a:lnTo>
                  <a:lnTo>
                    <a:pt x="107580" y="6349"/>
                  </a:lnTo>
                  <a:lnTo>
                    <a:pt x="107416" y="6349"/>
                  </a:lnTo>
                  <a:lnTo>
                    <a:pt x="107251" y="6349"/>
                  </a:lnTo>
                  <a:lnTo>
                    <a:pt x="107251" y="6349"/>
                  </a:lnTo>
                  <a:lnTo>
                    <a:pt x="107416" y="6349"/>
                  </a:lnTo>
                  <a:lnTo>
                    <a:pt x="107580" y="6349"/>
                  </a:lnTo>
                  <a:lnTo>
                    <a:pt x="107580" y="6349"/>
                  </a:lnTo>
                  <a:lnTo>
                    <a:pt x="107827" y="6349"/>
                  </a:lnTo>
                  <a:lnTo>
                    <a:pt x="108403" y="6349"/>
                  </a:lnTo>
                  <a:lnTo>
                    <a:pt x="109143" y="6031"/>
                  </a:lnTo>
                  <a:lnTo>
                    <a:pt x="109389" y="6031"/>
                  </a:lnTo>
                  <a:lnTo>
                    <a:pt x="109143" y="5555"/>
                  </a:lnTo>
                  <a:lnTo>
                    <a:pt x="109143" y="5238"/>
                  </a:lnTo>
                  <a:lnTo>
                    <a:pt x="109143" y="5238"/>
                  </a:lnTo>
                  <a:lnTo>
                    <a:pt x="109389" y="5555"/>
                  </a:lnTo>
                  <a:lnTo>
                    <a:pt x="109554" y="5555"/>
                  </a:lnTo>
                  <a:lnTo>
                    <a:pt x="109554" y="5555"/>
                  </a:lnTo>
                  <a:lnTo>
                    <a:pt x="109718" y="5555"/>
                  </a:lnTo>
                  <a:lnTo>
                    <a:pt x="109965" y="5555"/>
                  </a:lnTo>
                  <a:lnTo>
                    <a:pt x="110130" y="5555"/>
                  </a:lnTo>
                  <a:lnTo>
                    <a:pt x="110952" y="5238"/>
                  </a:lnTo>
                  <a:lnTo>
                    <a:pt x="111281" y="5238"/>
                  </a:lnTo>
                  <a:lnTo>
                    <a:pt x="112268" y="4761"/>
                  </a:lnTo>
                  <a:lnTo>
                    <a:pt x="113420" y="4126"/>
                  </a:lnTo>
                  <a:lnTo>
                    <a:pt x="113995" y="4126"/>
                  </a:lnTo>
                  <a:lnTo>
                    <a:pt x="114982" y="3650"/>
                  </a:lnTo>
                  <a:lnTo>
                    <a:pt x="115723" y="3333"/>
                  </a:lnTo>
                  <a:lnTo>
                    <a:pt x="115723" y="3333"/>
                  </a:lnTo>
                  <a:lnTo>
                    <a:pt x="115394" y="3333"/>
                  </a:lnTo>
                  <a:lnTo>
                    <a:pt x="114982" y="3333"/>
                  </a:lnTo>
                  <a:lnTo>
                    <a:pt x="112268" y="3650"/>
                  </a:lnTo>
                  <a:lnTo>
                    <a:pt x="112104" y="3650"/>
                  </a:lnTo>
                  <a:lnTo>
                    <a:pt x="111857" y="3650"/>
                  </a:lnTo>
                  <a:lnTo>
                    <a:pt x="112104" y="3650"/>
                  </a:lnTo>
                  <a:lnTo>
                    <a:pt x="113831" y="3333"/>
                  </a:lnTo>
                  <a:lnTo>
                    <a:pt x="113995" y="3333"/>
                  </a:lnTo>
                  <a:lnTo>
                    <a:pt x="113995" y="3333"/>
                  </a:lnTo>
                  <a:lnTo>
                    <a:pt x="113995" y="3333"/>
                  </a:lnTo>
                  <a:lnTo>
                    <a:pt x="114242" y="3015"/>
                  </a:lnTo>
                  <a:lnTo>
                    <a:pt x="114818" y="3015"/>
                  </a:lnTo>
                  <a:lnTo>
                    <a:pt x="115147" y="3015"/>
                  </a:lnTo>
                  <a:lnTo>
                    <a:pt x="115394" y="3015"/>
                  </a:lnTo>
                  <a:lnTo>
                    <a:pt x="115558" y="3015"/>
                  </a:lnTo>
                  <a:lnTo>
                    <a:pt x="115723" y="3015"/>
                  </a:lnTo>
                  <a:lnTo>
                    <a:pt x="116381" y="3015"/>
                  </a:lnTo>
                  <a:lnTo>
                    <a:pt x="116545" y="3015"/>
                  </a:lnTo>
                  <a:lnTo>
                    <a:pt x="116710" y="2539"/>
                  </a:lnTo>
                  <a:lnTo>
                    <a:pt x="117285" y="2539"/>
                  </a:lnTo>
                  <a:lnTo>
                    <a:pt x="118437" y="2222"/>
                  </a:lnTo>
                  <a:lnTo>
                    <a:pt x="118848" y="2222"/>
                  </a:lnTo>
                  <a:lnTo>
                    <a:pt x="119095" y="2222"/>
                  </a:lnTo>
                  <a:lnTo>
                    <a:pt x="119671" y="1904"/>
                  </a:lnTo>
                  <a:lnTo>
                    <a:pt x="120000" y="1904"/>
                  </a:lnTo>
                  <a:lnTo>
                    <a:pt x="120000" y="1428"/>
                  </a:lnTo>
                  <a:lnTo>
                    <a:pt x="120000" y="1428"/>
                  </a:lnTo>
                  <a:close/>
                  <a:moveTo>
                    <a:pt x="98862" y="33333"/>
                  </a:moveTo>
                  <a:lnTo>
                    <a:pt x="98862" y="33333"/>
                  </a:lnTo>
                  <a:lnTo>
                    <a:pt x="98697" y="33809"/>
                  </a:lnTo>
                  <a:lnTo>
                    <a:pt x="98533" y="33809"/>
                  </a:lnTo>
                  <a:lnTo>
                    <a:pt x="98862" y="33809"/>
                  </a:lnTo>
                  <a:lnTo>
                    <a:pt x="98862" y="33809"/>
                  </a:lnTo>
                  <a:lnTo>
                    <a:pt x="99108" y="33809"/>
                  </a:lnTo>
                  <a:lnTo>
                    <a:pt x="99108" y="33333"/>
                  </a:lnTo>
                  <a:lnTo>
                    <a:pt x="99108" y="33333"/>
                  </a:lnTo>
                  <a:lnTo>
                    <a:pt x="99108" y="33333"/>
                  </a:lnTo>
                  <a:lnTo>
                    <a:pt x="98862" y="33333"/>
                  </a:lnTo>
                  <a:close/>
                  <a:moveTo>
                    <a:pt x="102563" y="40476"/>
                  </a:moveTo>
                  <a:lnTo>
                    <a:pt x="102810" y="40476"/>
                  </a:lnTo>
                  <a:lnTo>
                    <a:pt x="102810" y="40476"/>
                  </a:lnTo>
                  <a:lnTo>
                    <a:pt x="102810" y="40476"/>
                  </a:lnTo>
                  <a:lnTo>
                    <a:pt x="102563" y="40476"/>
                  </a:lnTo>
                  <a:lnTo>
                    <a:pt x="102398" y="40476"/>
                  </a:lnTo>
                  <a:lnTo>
                    <a:pt x="102398" y="40793"/>
                  </a:lnTo>
                  <a:lnTo>
                    <a:pt x="102152" y="40793"/>
                  </a:lnTo>
                  <a:lnTo>
                    <a:pt x="102152" y="40793"/>
                  </a:lnTo>
                  <a:lnTo>
                    <a:pt x="102152" y="40793"/>
                  </a:lnTo>
                  <a:lnTo>
                    <a:pt x="102398" y="40793"/>
                  </a:lnTo>
                  <a:lnTo>
                    <a:pt x="102563" y="40476"/>
                  </a:lnTo>
                  <a:close/>
                  <a:moveTo>
                    <a:pt x="94256" y="16825"/>
                  </a:moveTo>
                  <a:lnTo>
                    <a:pt x="94420" y="16825"/>
                  </a:lnTo>
                  <a:lnTo>
                    <a:pt x="94667" y="16825"/>
                  </a:lnTo>
                  <a:lnTo>
                    <a:pt x="94667" y="16507"/>
                  </a:lnTo>
                  <a:lnTo>
                    <a:pt x="94667" y="16507"/>
                  </a:lnTo>
                  <a:lnTo>
                    <a:pt x="94832" y="16507"/>
                  </a:lnTo>
                  <a:lnTo>
                    <a:pt x="94996" y="16031"/>
                  </a:lnTo>
                  <a:lnTo>
                    <a:pt x="94996" y="16031"/>
                  </a:lnTo>
                  <a:lnTo>
                    <a:pt x="94996" y="16031"/>
                  </a:lnTo>
                  <a:lnTo>
                    <a:pt x="94832" y="16031"/>
                  </a:lnTo>
                  <a:lnTo>
                    <a:pt x="94420" y="16507"/>
                  </a:lnTo>
                  <a:lnTo>
                    <a:pt x="94256" y="16507"/>
                  </a:lnTo>
                  <a:lnTo>
                    <a:pt x="93845" y="16507"/>
                  </a:lnTo>
                  <a:lnTo>
                    <a:pt x="93845" y="16825"/>
                  </a:lnTo>
                  <a:lnTo>
                    <a:pt x="94009" y="16825"/>
                  </a:lnTo>
                  <a:lnTo>
                    <a:pt x="94256" y="16825"/>
                  </a:lnTo>
                  <a:close/>
                  <a:moveTo>
                    <a:pt x="98533" y="94920"/>
                  </a:moveTo>
                  <a:lnTo>
                    <a:pt x="98533" y="94920"/>
                  </a:lnTo>
                  <a:lnTo>
                    <a:pt x="98286" y="94920"/>
                  </a:lnTo>
                  <a:lnTo>
                    <a:pt x="98533" y="95238"/>
                  </a:lnTo>
                  <a:lnTo>
                    <a:pt x="98533" y="95238"/>
                  </a:lnTo>
                  <a:lnTo>
                    <a:pt x="98533" y="95238"/>
                  </a:lnTo>
                  <a:lnTo>
                    <a:pt x="98533" y="94920"/>
                  </a:lnTo>
                  <a:lnTo>
                    <a:pt x="98862" y="94920"/>
                  </a:lnTo>
                  <a:lnTo>
                    <a:pt x="98862" y="94920"/>
                  </a:lnTo>
                  <a:lnTo>
                    <a:pt x="98862" y="94920"/>
                  </a:lnTo>
                  <a:lnTo>
                    <a:pt x="98697" y="94920"/>
                  </a:lnTo>
                  <a:lnTo>
                    <a:pt x="98533" y="94920"/>
                  </a:lnTo>
                  <a:lnTo>
                    <a:pt x="98533" y="94920"/>
                  </a:lnTo>
                  <a:lnTo>
                    <a:pt x="98533" y="94920"/>
                  </a:lnTo>
                  <a:lnTo>
                    <a:pt x="98533" y="94920"/>
                  </a:lnTo>
                  <a:lnTo>
                    <a:pt x="98533" y="94920"/>
                  </a:lnTo>
                  <a:close/>
                  <a:moveTo>
                    <a:pt x="103385" y="41587"/>
                  </a:moveTo>
                  <a:lnTo>
                    <a:pt x="103139" y="41269"/>
                  </a:lnTo>
                  <a:lnTo>
                    <a:pt x="103139" y="40793"/>
                  </a:lnTo>
                  <a:lnTo>
                    <a:pt x="102974" y="40793"/>
                  </a:lnTo>
                  <a:lnTo>
                    <a:pt x="102563" y="41269"/>
                  </a:lnTo>
                  <a:lnTo>
                    <a:pt x="102398" y="41269"/>
                  </a:lnTo>
                  <a:lnTo>
                    <a:pt x="102152" y="41269"/>
                  </a:lnTo>
                  <a:lnTo>
                    <a:pt x="102152" y="41269"/>
                  </a:lnTo>
                  <a:lnTo>
                    <a:pt x="101987" y="41269"/>
                  </a:lnTo>
                  <a:lnTo>
                    <a:pt x="101987" y="41269"/>
                  </a:lnTo>
                  <a:lnTo>
                    <a:pt x="101576" y="41269"/>
                  </a:lnTo>
                  <a:lnTo>
                    <a:pt x="101247" y="41269"/>
                  </a:lnTo>
                  <a:lnTo>
                    <a:pt x="101000" y="41587"/>
                  </a:lnTo>
                  <a:lnTo>
                    <a:pt x="101000" y="41587"/>
                  </a:lnTo>
                  <a:lnTo>
                    <a:pt x="101576" y="40793"/>
                  </a:lnTo>
                  <a:lnTo>
                    <a:pt x="101576" y="40793"/>
                  </a:lnTo>
                  <a:lnTo>
                    <a:pt x="101823" y="40793"/>
                  </a:lnTo>
                  <a:lnTo>
                    <a:pt x="101823" y="40793"/>
                  </a:lnTo>
                  <a:lnTo>
                    <a:pt x="101987" y="40476"/>
                  </a:lnTo>
                  <a:lnTo>
                    <a:pt x="102152" y="40476"/>
                  </a:lnTo>
                  <a:lnTo>
                    <a:pt x="101823" y="40158"/>
                  </a:lnTo>
                  <a:lnTo>
                    <a:pt x="101576" y="40158"/>
                  </a:lnTo>
                  <a:lnTo>
                    <a:pt x="101576" y="40158"/>
                  </a:lnTo>
                  <a:lnTo>
                    <a:pt x="101411" y="40158"/>
                  </a:lnTo>
                  <a:lnTo>
                    <a:pt x="101247" y="40158"/>
                  </a:lnTo>
                  <a:lnTo>
                    <a:pt x="101247" y="40158"/>
                  </a:lnTo>
                  <a:lnTo>
                    <a:pt x="101000" y="40158"/>
                  </a:lnTo>
                  <a:lnTo>
                    <a:pt x="100836" y="40158"/>
                  </a:lnTo>
                  <a:lnTo>
                    <a:pt x="100671" y="40158"/>
                  </a:lnTo>
                  <a:lnTo>
                    <a:pt x="100671" y="40158"/>
                  </a:lnTo>
                  <a:lnTo>
                    <a:pt x="100424" y="40158"/>
                  </a:lnTo>
                  <a:lnTo>
                    <a:pt x="100260" y="40158"/>
                  </a:lnTo>
                  <a:lnTo>
                    <a:pt x="100424" y="40158"/>
                  </a:lnTo>
                  <a:lnTo>
                    <a:pt x="100671" y="40158"/>
                  </a:lnTo>
                  <a:lnTo>
                    <a:pt x="100836" y="40158"/>
                  </a:lnTo>
                  <a:lnTo>
                    <a:pt x="101000" y="40158"/>
                  </a:lnTo>
                  <a:lnTo>
                    <a:pt x="101247" y="39682"/>
                  </a:lnTo>
                  <a:lnTo>
                    <a:pt x="101411" y="39365"/>
                  </a:lnTo>
                  <a:lnTo>
                    <a:pt x="101411" y="39047"/>
                  </a:lnTo>
                  <a:lnTo>
                    <a:pt x="101247" y="39365"/>
                  </a:lnTo>
                  <a:lnTo>
                    <a:pt x="101000" y="39047"/>
                  </a:lnTo>
                  <a:lnTo>
                    <a:pt x="101000" y="38571"/>
                  </a:lnTo>
                  <a:lnTo>
                    <a:pt x="100836" y="38571"/>
                  </a:lnTo>
                  <a:lnTo>
                    <a:pt x="100671" y="38571"/>
                  </a:lnTo>
                  <a:lnTo>
                    <a:pt x="100424" y="38571"/>
                  </a:lnTo>
                  <a:lnTo>
                    <a:pt x="100424" y="38571"/>
                  </a:lnTo>
                  <a:lnTo>
                    <a:pt x="100424" y="38571"/>
                  </a:lnTo>
                  <a:lnTo>
                    <a:pt x="100671" y="38253"/>
                  </a:lnTo>
                  <a:lnTo>
                    <a:pt x="100671" y="38253"/>
                  </a:lnTo>
                  <a:lnTo>
                    <a:pt x="100836" y="38253"/>
                  </a:lnTo>
                  <a:lnTo>
                    <a:pt x="100671" y="38253"/>
                  </a:lnTo>
                  <a:lnTo>
                    <a:pt x="100671" y="37936"/>
                  </a:lnTo>
                  <a:lnTo>
                    <a:pt x="100671" y="38253"/>
                  </a:lnTo>
                  <a:lnTo>
                    <a:pt x="100260" y="38253"/>
                  </a:lnTo>
                  <a:lnTo>
                    <a:pt x="100095" y="38571"/>
                  </a:lnTo>
                  <a:lnTo>
                    <a:pt x="99849" y="38571"/>
                  </a:lnTo>
                  <a:lnTo>
                    <a:pt x="99849" y="39047"/>
                  </a:lnTo>
                  <a:lnTo>
                    <a:pt x="99849" y="39047"/>
                  </a:lnTo>
                  <a:lnTo>
                    <a:pt x="99849" y="39047"/>
                  </a:lnTo>
                  <a:lnTo>
                    <a:pt x="99849" y="39047"/>
                  </a:lnTo>
                  <a:lnTo>
                    <a:pt x="99849" y="38571"/>
                  </a:lnTo>
                  <a:lnTo>
                    <a:pt x="100095" y="38253"/>
                  </a:lnTo>
                  <a:lnTo>
                    <a:pt x="100095" y="38253"/>
                  </a:lnTo>
                  <a:lnTo>
                    <a:pt x="99849" y="38253"/>
                  </a:lnTo>
                  <a:lnTo>
                    <a:pt x="99849" y="38253"/>
                  </a:lnTo>
                  <a:lnTo>
                    <a:pt x="99684" y="38253"/>
                  </a:lnTo>
                  <a:lnTo>
                    <a:pt x="99437" y="38253"/>
                  </a:lnTo>
                  <a:lnTo>
                    <a:pt x="99437" y="38253"/>
                  </a:lnTo>
                  <a:lnTo>
                    <a:pt x="99684" y="38253"/>
                  </a:lnTo>
                  <a:lnTo>
                    <a:pt x="99684" y="37936"/>
                  </a:lnTo>
                  <a:lnTo>
                    <a:pt x="99437" y="37936"/>
                  </a:lnTo>
                  <a:lnTo>
                    <a:pt x="99273" y="38253"/>
                  </a:lnTo>
                  <a:lnTo>
                    <a:pt x="98862" y="38571"/>
                  </a:lnTo>
                  <a:lnTo>
                    <a:pt x="98862" y="38571"/>
                  </a:lnTo>
                  <a:lnTo>
                    <a:pt x="98862" y="38571"/>
                  </a:lnTo>
                  <a:lnTo>
                    <a:pt x="98697" y="38571"/>
                  </a:lnTo>
                  <a:lnTo>
                    <a:pt x="98697" y="38571"/>
                  </a:lnTo>
                  <a:lnTo>
                    <a:pt x="98862" y="38253"/>
                  </a:lnTo>
                  <a:lnTo>
                    <a:pt x="99273" y="37936"/>
                  </a:lnTo>
                  <a:lnTo>
                    <a:pt x="99273" y="37936"/>
                  </a:lnTo>
                  <a:lnTo>
                    <a:pt x="99437" y="37460"/>
                  </a:lnTo>
                  <a:lnTo>
                    <a:pt x="99108" y="37460"/>
                  </a:lnTo>
                  <a:lnTo>
                    <a:pt x="98862" y="37460"/>
                  </a:lnTo>
                  <a:lnTo>
                    <a:pt x="98862" y="37936"/>
                  </a:lnTo>
                  <a:lnTo>
                    <a:pt x="98697" y="38253"/>
                  </a:lnTo>
                  <a:lnTo>
                    <a:pt x="98697" y="38253"/>
                  </a:lnTo>
                  <a:lnTo>
                    <a:pt x="98862" y="37936"/>
                  </a:lnTo>
                  <a:lnTo>
                    <a:pt x="98697" y="37936"/>
                  </a:lnTo>
                  <a:lnTo>
                    <a:pt x="98533" y="37936"/>
                  </a:lnTo>
                  <a:lnTo>
                    <a:pt x="98533" y="37936"/>
                  </a:lnTo>
                  <a:lnTo>
                    <a:pt x="98533" y="37936"/>
                  </a:lnTo>
                  <a:lnTo>
                    <a:pt x="98697" y="37460"/>
                  </a:lnTo>
                  <a:lnTo>
                    <a:pt x="98697" y="37460"/>
                  </a:lnTo>
                  <a:lnTo>
                    <a:pt x="98697" y="37460"/>
                  </a:lnTo>
                  <a:lnTo>
                    <a:pt x="98697" y="37142"/>
                  </a:lnTo>
                  <a:lnTo>
                    <a:pt x="98697" y="37142"/>
                  </a:lnTo>
                  <a:lnTo>
                    <a:pt x="99108" y="37142"/>
                  </a:lnTo>
                  <a:lnTo>
                    <a:pt x="99108" y="36666"/>
                  </a:lnTo>
                  <a:lnTo>
                    <a:pt x="99108" y="36666"/>
                  </a:lnTo>
                  <a:lnTo>
                    <a:pt x="98862" y="36666"/>
                  </a:lnTo>
                  <a:lnTo>
                    <a:pt x="98697" y="36666"/>
                  </a:lnTo>
                  <a:lnTo>
                    <a:pt x="98533" y="36666"/>
                  </a:lnTo>
                  <a:lnTo>
                    <a:pt x="98533" y="36666"/>
                  </a:lnTo>
                  <a:lnTo>
                    <a:pt x="98286" y="36666"/>
                  </a:lnTo>
                  <a:lnTo>
                    <a:pt x="98286" y="36666"/>
                  </a:lnTo>
                  <a:lnTo>
                    <a:pt x="98122" y="36666"/>
                  </a:lnTo>
                  <a:lnTo>
                    <a:pt x="98122" y="36666"/>
                  </a:lnTo>
                  <a:lnTo>
                    <a:pt x="97957" y="36666"/>
                  </a:lnTo>
                  <a:lnTo>
                    <a:pt x="97710" y="36666"/>
                  </a:lnTo>
                  <a:lnTo>
                    <a:pt x="97710" y="36666"/>
                  </a:lnTo>
                  <a:lnTo>
                    <a:pt x="97710" y="36349"/>
                  </a:lnTo>
                  <a:lnTo>
                    <a:pt x="97710" y="36349"/>
                  </a:lnTo>
                  <a:lnTo>
                    <a:pt x="97710" y="36031"/>
                  </a:lnTo>
                  <a:lnTo>
                    <a:pt x="97546" y="36031"/>
                  </a:lnTo>
                  <a:lnTo>
                    <a:pt x="97381" y="36031"/>
                  </a:lnTo>
                  <a:lnTo>
                    <a:pt x="96970" y="36031"/>
                  </a:lnTo>
                  <a:lnTo>
                    <a:pt x="96559" y="35555"/>
                  </a:lnTo>
                  <a:lnTo>
                    <a:pt x="96559" y="35555"/>
                  </a:lnTo>
                  <a:lnTo>
                    <a:pt x="96559" y="35555"/>
                  </a:lnTo>
                  <a:lnTo>
                    <a:pt x="96723" y="35555"/>
                  </a:lnTo>
                  <a:lnTo>
                    <a:pt x="97135" y="36031"/>
                  </a:lnTo>
                  <a:lnTo>
                    <a:pt x="97381" y="36031"/>
                  </a:lnTo>
                  <a:lnTo>
                    <a:pt x="97546" y="35555"/>
                  </a:lnTo>
                  <a:lnTo>
                    <a:pt x="97546" y="35555"/>
                  </a:lnTo>
                  <a:lnTo>
                    <a:pt x="97710" y="35555"/>
                  </a:lnTo>
                  <a:lnTo>
                    <a:pt x="97957" y="36031"/>
                  </a:lnTo>
                  <a:lnTo>
                    <a:pt x="98122" y="36031"/>
                  </a:lnTo>
                  <a:lnTo>
                    <a:pt x="98286" y="35555"/>
                  </a:lnTo>
                  <a:lnTo>
                    <a:pt x="98533" y="35555"/>
                  </a:lnTo>
                  <a:lnTo>
                    <a:pt x="98533" y="35238"/>
                  </a:lnTo>
                  <a:lnTo>
                    <a:pt x="98533" y="35238"/>
                  </a:lnTo>
                  <a:lnTo>
                    <a:pt x="98286" y="34920"/>
                  </a:lnTo>
                  <a:lnTo>
                    <a:pt x="98122" y="34920"/>
                  </a:lnTo>
                  <a:lnTo>
                    <a:pt x="97957" y="34920"/>
                  </a:lnTo>
                  <a:lnTo>
                    <a:pt x="97135" y="35238"/>
                  </a:lnTo>
                  <a:lnTo>
                    <a:pt x="97135" y="34920"/>
                  </a:lnTo>
                  <a:lnTo>
                    <a:pt x="97710" y="34920"/>
                  </a:lnTo>
                  <a:lnTo>
                    <a:pt x="97957" y="34444"/>
                  </a:lnTo>
                  <a:lnTo>
                    <a:pt x="98286" y="34920"/>
                  </a:lnTo>
                  <a:lnTo>
                    <a:pt x="98533" y="34444"/>
                  </a:lnTo>
                  <a:lnTo>
                    <a:pt x="98697" y="34920"/>
                  </a:lnTo>
                  <a:lnTo>
                    <a:pt x="98862" y="34920"/>
                  </a:lnTo>
                  <a:lnTo>
                    <a:pt x="98862" y="34920"/>
                  </a:lnTo>
                  <a:lnTo>
                    <a:pt x="99108" y="34920"/>
                  </a:lnTo>
                  <a:lnTo>
                    <a:pt x="99273" y="34920"/>
                  </a:lnTo>
                  <a:lnTo>
                    <a:pt x="99684" y="34920"/>
                  </a:lnTo>
                  <a:lnTo>
                    <a:pt x="99849" y="34920"/>
                  </a:lnTo>
                  <a:lnTo>
                    <a:pt x="99849" y="34920"/>
                  </a:lnTo>
                  <a:lnTo>
                    <a:pt x="100095" y="34444"/>
                  </a:lnTo>
                  <a:lnTo>
                    <a:pt x="100095" y="34444"/>
                  </a:lnTo>
                  <a:lnTo>
                    <a:pt x="100095" y="34444"/>
                  </a:lnTo>
                  <a:lnTo>
                    <a:pt x="99849" y="34444"/>
                  </a:lnTo>
                  <a:lnTo>
                    <a:pt x="99684" y="34126"/>
                  </a:lnTo>
                  <a:lnTo>
                    <a:pt x="99437" y="34126"/>
                  </a:lnTo>
                  <a:lnTo>
                    <a:pt x="99437" y="34126"/>
                  </a:lnTo>
                  <a:lnTo>
                    <a:pt x="99108" y="34126"/>
                  </a:lnTo>
                  <a:lnTo>
                    <a:pt x="98862" y="34126"/>
                  </a:lnTo>
                  <a:lnTo>
                    <a:pt x="98862" y="34126"/>
                  </a:lnTo>
                  <a:lnTo>
                    <a:pt x="98697" y="34126"/>
                  </a:lnTo>
                  <a:lnTo>
                    <a:pt x="98286" y="33809"/>
                  </a:lnTo>
                  <a:lnTo>
                    <a:pt x="97957" y="33809"/>
                  </a:lnTo>
                  <a:lnTo>
                    <a:pt x="97546" y="33809"/>
                  </a:lnTo>
                  <a:lnTo>
                    <a:pt x="97381" y="33809"/>
                  </a:lnTo>
                  <a:lnTo>
                    <a:pt x="97381" y="33809"/>
                  </a:lnTo>
                  <a:lnTo>
                    <a:pt x="97546" y="33809"/>
                  </a:lnTo>
                  <a:lnTo>
                    <a:pt x="97957" y="33333"/>
                  </a:lnTo>
                  <a:lnTo>
                    <a:pt x="98122" y="33333"/>
                  </a:lnTo>
                  <a:lnTo>
                    <a:pt x="98533" y="33333"/>
                  </a:lnTo>
                  <a:lnTo>
                    <a:pt x="98533" y="33333"/>
                  </a:lnTo>
                  <a:lnTo>
                    <a:pt x="98697" y="33333"/>
                  </a:lnTo>
                  <a:lnTo>
                    <a:pt x="98697" y="33333"/>
                  </a:lnTo>
                  <a:lnTo>
                    <a:pt x="98862" y="33333"/>
                  </a:lnTo>
                  <a:lnTo>
                    <a:pt x="99108" y="33015"/>
                  </a:lnTo>
                  <a:lnTo>
                    <a:pt x="99273" y="33015"/>
                  </a:lnTo>
                  <a:lnTo>
                    <a:pt x="99684" y="33333"/>
                  </a:lnTo>
                  <a:lnTo>
                    <a:pt x="99849" y="33333"/>
                  </a:lnTo>
                  <a:lnTo>
                    <a:pt x="99849" y="33333"/>
                  </a:lnTo>
                  <a:lnTo>
                    <a:pt x="99849" y="33333"/>
                  </a:lnTo>
                  <a:lnTo>
                    <a:pt x="100095" y="33015"/>
                  </a:lnTo>
                  <a:lnTo>
                    <a:pt x="100095" y="33015"/>
                  </a:lnTo>
                  <a:lnTo>
                    <a:pt x="100095" y="32539"/>
                  </a:lnTo>
                  <a:lnTo>
                    <a:pt x="100095" y="32222"/>
                  </a:lnTo>
                  <a:lnTo>
                    <a:pt x="99849" y="31904"/>
                  </a:lnTo>
                  <a:lnTo>
                    <a:pt x="99684" y="31904"/>
                  </a:lnTo>
                  <a:lnTo>
                    <a:pt x="99437" y="31428"/>
                  </a:lnTo>
                  <a:lnTo>
                    <a:pt x="99437" y="31428"/>
                  </a:lnTo>
                  <a:lnTo>
                    <a:pt x="99273" y="31904"/>
                  </a:lnTo>
                  <a:lnTo>
                    <a:pt x="99108" y="31904"/>
                  </a:lnTo>
                  <a:lnTo>
                    <a:pt x="99108" y="31904"/>
                  </a:lnTo>
                  <a:lnTo>
                    <a:pt x="99108" y="31904"/>
                  </a:lnTo>
                  <a:lnTo>
                    <a:pt x="99108" y="32222"/>
                  </a:lnTo>
                  <a:lnTo>
                    <a:pt x="99108" y="32222"/>
                  </a:lnTo>
                  <a:lnTo>
                    <a:pt x="99108" y="32222"/>
                  </a:lnTo>
                  <a:lnTo>
                    <a:pt x="98862" y="32222"/>
                  </a:lnTo>
                  <a:lnTo>
                    <a:pt x="98697" y="32222"/>
                  </a:lnTo>
                  <a:lnTo>
                    <a:pt x="98697" y="32222"/>
                  </a:lnTo>
                  <a:lnTo>
                    <a:pt x="98533" y="32539"/>
                  </a:lnTo>
                  <a:lnTo>
                    <a:pt x="98286" y="32539"/>
                  </a:lnTo>
                  <a:lnTo>
                    <a:pt x="98286" y="32539"/>
                  </a:lnTo>
                  <a:lnTo>
                    <a:pt x="98122" y="32539"/>
                  </a:lnTo>
                  <a:lnTo>
                    <a:pt x="98533" y="32222"/>
                  </a:lnTo>
                  <a:lnTo>
                    <a:pt x="98533" y="32222"/>
                  </a:lnTo>
                  <a:lnTo>
                    <a:pt x="98697" y="32222"/>
                  </a:lnTo>
                  <a:lnTo>
                    <a:pt x="98697" y="31904"/>
                  </a:lnTo>
                  <a:lnTo>
                    <a:pt x="98697" y="31904"/>
                  </a:lnTo>
                  <a:lnTo>
                    <a:pt x="98697" y="31904"/>
                  </a:lnTo>
                  <a:lnTo>
                    <a:pt x="98533" y="31904"/>
                  </a:lnTo>
                  <a:lnTo>
                    <a:pt x="98122" y="31904"/>
                  </a:lnTo>
                  <a:lnTo>
                    <a:pt x="97710" y="31904"/>
                  </a:lnTo>
                  <a:lnTo>
                    <a:pt x="97546" y="32222"/>
                  </a:lnTo>
                  <a:lnTo>
                    <a:pt x="97381" y="32222"/>
                  </a:lnTo>
                  <a:lnTo>
                    <a:pt x="97135" y="32222"/>
                  </a:lnTo>
                  <a:lnTo>
                    <a:pt x="96970" y="32222"/>
                  </a:lnTo>
                  <a:lnTo>
                    <a:pt x="97135" y="32222"/>
                  </a:lnTo>
                  <a:lnTo>
                    <a:pt x="97546" y="31904"/>
                  </a:lnTo>
                  <a:lnTo>
                    <a:pt x="97957" y="31904"/>
                  </a:lnTo>
                  <a:lnTo>
                    <a:pt x="98122" y="31904"/>
                  </a:lnTo>
                  <a:lnTo>
                    <a:pt x="98286" y="31904"/>
                  </a:lnTo>
                  <a:lnTo>
                    <a:pt x="98697" y="31428"/>
                  </a:lnTo>
                  <a:lnTo>
                    <a:pt x="98697" y="31428"/>
                  </a:lnTo>
                  <a:lnTo>
                    <a:pt x="98862" y="31428"/>
                  </a:lnTo>
                  <a:lnTo>
                    <a:pt x="99108" y="31428"/>
                  </a:lnTo>
                  <a:lnTo>
                    <a:pt x="99108" y="31428"/>
                  </a:lnTo>
                  <a:lnTo>
                    <a:pt x="99273" y="31111"/>
                  </a:lnTo>
                  <a:lnTo>
                    <a:pt x="99273" y="31111"/>
                  </a:lnTo>
                  <a:lnTo>
                    <a:pt x="99437" y="31111"/>
                  </a:lnTo>
                  <a:lnTo>
                    <a:pt x="99437" y="30793"/>
                  </a:lnTo>
                  <a:lnTo>
                    <a:pt x="99437" y="30793"/>
                  </a:lnTo>
                  <a:lnTo>
                    <a:pt x="99273" y="30793"/>
                  </a:lnTo>
                  <a:lnTo>
                    <a:pt x="99108" y="30793"/>
                  </a:lnTo>
                  <a:lnTo>
                    <a:pt x="98862" y="30317"/>
                  </a:lnTo>
                  <a:lnTo>
                    <a:pt x="98697" y="30317"/>
                  </a:lnTo>
                  <a:lnTo>
                    <a:pt x="98697" y="30317"/>
                  </a:lnTo>
                  <a:lnTo>
                    <a:pt x="98533" y="30317"/>
                  </a:lnTo>
                  <a:lnTo>
                    <a:pt x="98286" y="30317"/>
                  </a:lnTo>
                  <a:lnTo>
                    <a:pt x="98286" y="30317"/>
                  </a:lnTo>
                  <a:lnTo>
                    <a:pt x="98122" y="30317"/>
                  </a:lnTo>
                  <a:lnTo>
                    <a:pt x="97957" y="30000"/>
                  </a:lnTo>
                  <a:lnTo>
                    <a:pt x="97957" y="30317"/>
                  </a:lnTo>
                  <a:lnTo>
                    <a:pt x="97546" y="30317"/>
                  </a:lnTo>
                  <a:lnTo>
                    <a:pt x="97135" y="30317"/>
                  </a:lnTo>
                  <a:lnTo>
                    <a:pt x="96723" y="30793"/>
                  </a:lnTo>
                  <a:lnTo>
                    <a:pt x="96559" y="30793"/>
                  </a:lnTo>
                  <a:lnTo>
                    <a:pt x="96394" y="31111"/>
                  </a:lnTo>
                  <a:lnTo>
                    <a:pt x="95819" y="31904"/>
                  </a:lnTo>
                  <a:lnTo>
                    <a:pt x="95572" y="32222"/>
                  </a:lnTo>
                  <a:lnTo>
                    <a:pt x="95572" y="32222"/>
                  </a:lnTo>
                  <a:lnTo>
                    <a:pt x="96148" y="31428"/>
                  </a:lnTo>
                  <a:lnTo>
                    <a:pt x="96148" y="31111"/>
                  </a:lnTo>
                  <a:lnTo>
                    <a:pt x="96148" y="31111"/>
                  </a:lnTo>
                  <a:lnTo>
                    <a:pt x="96148" y="31111"/>
                  </a:lnTo>
                  <a:lnTo>
                    <a:pt x="96148" y="31111"/>
                  </a:lnTo>
                  <a:lnTo>
                    <a:pt x="95983" y="31111"/>
                  </a:lnTo>
                  <a:lnTo>
                    <a:pt x="95819" y="31111"/>
                  </a:lnTo>
                  <a:lnTo>
                    <a:pt x="95572" y="31428"/>
                  </a:lnTo>
                  <a:lnTo>
                    <a:pt x="95572" y="31428"/>
                  </a:lnTo>
                  <a:lnTo>
                    <a:pt x="95572" y="31428"/>
                  </a:lnTo>
                  <a:lnTo>
                    <a:pt x="95407" y="31111"/>
                  </a:lnTo>
                  <a:lnTo>
                    <a:pt x="95572" y="31111"/>
                  </a:lnTo>
                  <a:lnTo>
                    <a:pt x="95572" y="31111"/>
                  </a:lnTo>
                  <a:lnTo>
                    <a:pt x="95819" y="31111"/>
                  </a:lnTo>
                  <a:lnTo>
                    <a:pt x="95983" y="30793"/>
                  </a:lnTo>
                  <a:lnTo>
                    <a:pt x="96148" y="30793"/>
                  </a:lnTo>
                  <a:lnTo>
                    <a:pt x="96394" y="30793"/>
                  </a:lnTo>
                  <a:lnTo>
                    <a:pt x="96559" y="30793"/>
                  </a:lnTo>
                  <a:lnTo>
                    <a:pt x="97135" y="30317"/>
                  </a:lnTo>
                  <a:lnTo>
                    <a:pt x="97381" y="30000"/>
                  </a:lnTo>
                  <a:lnTo>
                    <a:pt x="97381" y="30000"/>
                  </a:lnTo>
                  <a:lnTo>
                    <a:pt x="97381" y="29682"/>
                  </a:lnTo>
                  <a:lnTo>
                    <a:pt x="97546" y="29682"/>
                  </a:lnTo>
                  <a:lnTo>
                    <a:pt x="97381" y="29682"/>
                  </a:lnTo>
                  <a:lnTo>
                    <a:pt x="97381" y="29206"/>
                  </a:lnTo>
                  <a:lnTo>
                    <a:pt x="97381" y="29682"/>
                  </a:lnTo>
                  <a:lnTo>
                    <a:pt x="96970" y="29682"/>
                  </a:lnTo>
                  <a:lnTo>
                    <a:pt x="96723" y="29682"/>
                  </a:lnTo>
                  <a:lnTo>
                    <a:pt x="96559" y="29682"/>
                  </a:lnTo>
                  <a:lnTo>
                    <a:pt x="96394" y="29682"/>
                  </a:lnTo>
                  <a:lnTo>
                    <a:pt x="95983" y="29682"/>
                  </a:lnTo>
                  <a:lnTo>
                    <a:pt x="95819" y="30000"/>
                  </a:lnTo>
                  <a:lnTo>
                    <a:pt x="95572" y="30000"/>
                  </a:lnTo>
                  <a:lnTo>
                    <a:pt x="95407" y="30317"/>
                  </a:lnTo>
                  <a:lnTo>
                    <a:pt x="94996" y="30317"/>
                  </a:lnTo>
                  <a:lnTo>
                    <a:pt x="95243" y="30000"/>
                  </a:lnTo>
                  <a:lnTo>
                    <a:pt x="95407" y="30000"/>
                  </a:lnTo>
                  <a:lnTo>
                    <a:pt x="95572" y="30000"/>
                  </a:lnTo>
                  <a:lnTo>
                    <a:pt x="95983" y="29682"/>
                  </a:lnTo>
                  <a:lnTo>
                    <a:pt x="96148" y="29682"/>
                  </a:lnTo>
                  <a:lnTo>
                    <a:pt x="96148" y="29682"/>
                  </a:lnTo>
                  <a:lnTo>
                    <a:pt x="96559" y="29682"/>
                  </a:lnTo>
                  <a:lnTo>
                    <a:pt x="96559" y="29682"/>
                  </a:lnTo>
                  <a:lnTo>
                    <a:pt x="96723" y="29206"/>
                  </a:lnTo>
                  <a:lnTo>
                    <a:pt x="97135" y="29206"/>
                  </a:lnTo>
                  <a:lnTo>
                    <a:pt x="97135" y="28888"/>
                  </a:lnTo>
                  <a:lnTo>
                    <a:pt x="97135" y="28888"/>
                  </a:lnTo>
                  <a:lnTo>
                    <a:pt x="97135" y="28888"/>
                  </a:lnTo>
                  <a:lnTo>
                    <a:pt x="97135" y="28412"/>
                  </a:lnTo>
                  <a:lnTo>
                    <a:pt x="96970" y="28412"/>
                  </a:lnTo>
                  <a:lnTo>
                    <a:pt x="96970" y="28412"/>
                  </a:lnTo>
                  <a:lnTo>
                    <a:pt x="96723" y="28095"/>
                  </a:lnTo>
                  <a:lnTo>
                    <a:pt x="96559" y="28095"/>
                  </a:lnTo>
                  <a:lnTo>
                    <a:pt x="96148" y="28095"/>
                  </a:lnTo>
                  <a:lnTo>
                    <a:pt x="95983" y="28095"/>
                  </a:lnTo>
                  <a:lnTo>
                    <a:pt x="95983" y="28095"/>
                  </a:lnTo>
                  <a:lnTo>
                    <a:pt x="95983" y="28095"/>
                  </a:lnTo>
                  <a:lnTo>
                    <a:pt x="95819" y="27777"/>
                  </a:lnTo>
                  <a:lnTo>
                    <a:pt x="95243" y="28095"/>
                  </a:lnTo>
                  <a:lnTo>
                    <a:pt x="95243" y="28095"/>
                  </a:lnTo>
                  <a:lnTo>
                    <a:pt x="94996" y="28412"/>
                  </a:lnTo>
                  <a:lnTo>
                    <a:pt x="94996" y="28888"/>
                  </a:lnTo>
                  <a:lnTo>
                    <a:pt x="94996" y="28888"/>
                  </a:lnTo>
                  <a:lnTo>
                    <a:pt x="94996" y="28888"/>
                  </a:lnTo>
                  <a:lnTo>
                    <a:pt x="94832" y="28888"/>
                  </a:lnTo>
                  <a:lnTo>
                    <a:pt x="94832" y="28412"/>
                  </a:lnTo>
                  <a:lnTo>
                    <a:pt x="94832" y="28095"/>
                  </a:lnTo>
                  <a:lnTo>
                    <a:pt x="94832" y="28095"/>
                  </a:lnTo>
                  <a:lnTo>
                    <a:pt x="94420" y="28095"/>
                  </a:lnTo>
                  <a:lnTo>
                    <a:pt x="94420" y="28412"/>
                  </a:lnTo>
                  <a:lnTo>
                    <a:pt x="94256" y="28412"/>
                  </a:lnTo>
                  <a:lnTo>
                    <a:pt x="94009" y="28412"/>
                  </a:lnTo>
                  <a:lnTo>
                    <a:pt x="94667" y="28095"/>
                  </a:lnTo>
                  <a:lnTo>
                    <a:pt x="94832" y="27777"/>
                  </a:lnTo>
                  <a:lnTo>
                    <a:pt x="94996" y="27777"/>
                  </a:lnTo>
                  <a:lnTo>
                    <a:pt x="94832" y="27777"/>
                  </a:lnTo>
                  <a:lnTo>
                    <a:pt x="94832" y="27777"/>
                  </a:lnTo>
                  <a:lnTo>
                    <a:pt x="94667" y="27777"/>
                  </a:lnTo>
                  <a:lnTo>
                    <a:pt x="94420" y="27777"/>
                  </a:lnTo>
                  <a:lnTo>
                    <a:pt x="94009" y="27777"/>
                  </a:lnTo>
                  <a:lnTo>
                    <a:pt x="94009" y="28095"/>
                  </a:lnTo>
                  <a:lnTo>
                    <a:pt x="93845" y="28095"/>
                  </a:lnTo>
                  <a:lnTo>
                    <a:pt x="93433" y="28412"/>
                  </a:lnTo>
                  <a:lnTo>
                    <a:pt x="93269" y="28888"/>
                  </a:lnTo>
                  <a:lnTo>
                    <a:pt x="92858" y="29206"/>
                  </a:lnTo>
                  <a:lnTo>
                    <a:pt x="92858" y="29206"/>
                  </a:lnTo>
                  <a:lnTo>
                    <a:pt x="93104" y="28888"/>
                  </a:lnTo>
                  <a:lnTo>
                    <a:pt x="93269" y="28412"/>
                  </a:lnTo>
                  <a:lnTo>
                    <a:pt x="93433" y="28412"/>
                  </a:lnTo>
                  <a:lnTo>
                    <a:pt x="93433" y="28412"/>
                  </a:lnTo>
                  <a:lnTo>
                    <a:pt x="93433" y="28095"/>
                  </a:lnTo>
                  <a:lnTo>
                    <a:pt x="93680" y="28095"/>
                  </a:lnTo>
                  <a:lnTo>
                    <a:pt x="93845" y="27777"/>
                  </a:lnTo>
                  <a:lnTo>
                    <a:pt x="93433" y="27777"/>
                  </a:lnTo>
                  <a:lnTo>
                    <a:pt x="93269" y="27777"/>
                  </a:lnTo>
                  <a:lnTo>
                    <a:pt x="93269" y="27777"/>
                  </a:lnTo>
                  <a:lnTo>
                    <a:pt x="93680" y="27777"/>
                  </a:lnTo>
                  <a:lnTo>
                    <a:pt x="93845" y="27777"/>
                  </a:lnTo>
                  <a:lnTo>
                    <a:pt x="94009" y="27777"/>
                  </a:lnTo>
                  <a:lnTo>
                    <a:pt x="94420" y="27301"/>
                  </a:lnTo>
                  <a:lnTo>
                    <a:pt x="94420" y="27301"/>
                  </a:lnTo>
                  <a:lnTo>
                    <a:pt x="94667" y="26984"/>
                  </a:lnTo>
                  <a:lnTo>
                    <a:pt x="94667" y="26984"/>
                  </a:lnTo>
                  <a:lnTo>
                    <a:pt x="94667" y="26984"/>
                  </a:lnTo>
                  <a:lnTo>
                    <a:pt x="94667" y="26984"/>
                  </a:lnTo>
                  <a:lnTo>
                    <a:pt x="94667" y="26666"/>
                  </a:lnTo>
                  <a:lnTo>
                    <a:pt x="94420" y="26666"/>
                  </a:lnTo>
                  <a:lnTo>
                    <a:pt x="94256" y="26666"/>
                  </a:lnTo>
                  <a:lnTo>
                    <a:pt x="94009" y="26666"/>
                  </a:lnTo>
                  <a:lnTo>
                    <a:pt x="93845" y="26984"/>
                  </a:lnTo>
                  <a:lnTo>
                    <a:pt x="93433" y="26984"/>
                  </a:lnTo>
                  <a:lnTo>
                    <a:pt x="93104" y="27301"/>
                  </a:lnTo>
                  <a:lnTo>
                    <a:pt x="92858" y="27301"/>
                  </a:lnTo>
                  <a:lnTo>
                    <a:pt x="92693" y="27777"/>
                  </a:lnTo>
                  <a:lnTo>
                    <a:pt x="92529" y="27777"/>
                  </a:lnTo>
                  <a:lnTo>
                    <a:pt x="92529" y="27777"/>
                  </a:lnTo>
                  <a:lnTo>
                    <a:pt x="92529" y="27777"/>
                  </a:lnTo>
                  <a:lnTo>
                    <a:pt x="92693" y="27301"/>
                  </a:lnTo>
                  <a:lnTo>
                    <a:pt x="93104" y="26984"/>
                  </a:lnTo>
                  <a:lnTo>
                    <a:pt x="93269" y="26984"/>
                  </a:lnTo>
                  <a:lnTo>
                    <a:pt x="93433" y="26984"/>
                  </a:lnTo>
                  <a:lnTo>
                    <a:pt x="94009" y="26190"/>
                  </a:lnTo>
                  <a:lnTo>
                    <a:pt x="94009" y="26190"/>
                  </a:lnTo>
                  <a:lnTo>
                    <a:pt x="94256" y="26190"/>
                  </a:lnTo>
                  <a:lnTo>
                    <a:pt x="94256" y="25873"/>
                  </a:lnTo>
                  <a:lnTo>
                    <a:pt x="94256" y="25873"/>
                  </a:lnTo>
                  <a:lnTo>
                    <a:pt x="94009" y="25555"/>
                  </a:lnTo>
                  <a:lnTo>
                    <a:pt x="93845" y="25555"/>
                  </a:lnTo>
                  <a:lnTo>
                    <a:pt x="93680" y="25555"/>
                  </a:lnTo>
                  <a:lnTo>
                    <a:pt x="93433" y="25555"/>
                  </a:lnTo>
                  <a:lnTo>
                    <a:pt x="93269" y="25555"/>
                  </a:lnTo>
                  <a:lnTo>
                    <a:pt x="93269" y="25555"/>
                  </a:lnTo>
                  <a:lnTo>
                    <a:pt x="93104" y="25079"/>
                  </a:lnTo>
                  <a:lnTo>
                    <a:pt x="92858" y="25079"/>
                  </a:lnTo>
                  <a:lnTo>
                    <a:pt x="92693" y="25079"/>
                  </a:lnTo>
                  <a:lnTo>
                    <a:pt x="92282" y="25079"/>
                  </a:lnTo>
                  <a:lnTo>
                    <a:pt x="91953" y="25079"/>
                  </a:lnTo>
                  <a:lnTo>
                    <a:pt x="91706" y="25079"/>
                  </a:lnTo>
                  <a:lnTo>
                    <a:pt x="91542" y="25079"/>
                  </a:lnTo>
                  <a:lnTo>
                    <a:pt x="90966" y="25555"/>
                  </a:lnTo>
                  <a:lnTo>
                    <a:pt x="90966" y="25555"/>
                  </a:lnTo>
                  <a:lnTo>
                    <a:pt x="90719" y="25555"/>
                  </a:lnTo>
                  <a:lnTo>
                    <a:pt x="90719" y="25555"/>
                  </a:lnTo>
                  <a:lnTo>
                    <a:pt x="90719" y="25873"/>
                  </a:lnTo>
                  <a:lnTo>
                    <a:pt x="90719" y="25873"/>
                  </a:lnTo>
                  <a:lnTo>
                    <a:pt x="90719" y="25873"/>
                  </a:lnTo>
                  <a:lnTo>
                    <a:pt x="91130" y="26190"/>
                  </a:lnTo>
                  <a:lnTo>
                    <a:pt x="91295" y="26190"/>
                  </a:lnTo>
                  <a:lnTo>
                    <a:pt x="91295" y="26190"/>
                  </a:lnTo>
                  <a:lnTo>
                    <a:pt x="91295" y="26666"/>
                  </a:lnTo>
                  <a:lnTo>
                    <a:pt x="91130" y="26666"/>
                  </a:lnTo>
                  <a:lnTo>
                    <a:pt x="90719" y="26190"/>
                  </a:lnTo>
                  <a:lnTo>
                    <a:pt x="90555" y="26190"/>
                  </a:lnTo>
                  <a:lnTo>
                    <a:pt x="90555" y="26190"/>
                  </a:lnTo>
                  <a:lnTo>
                    <a:pt x="90390" y="26190"/>
                  </a:lnTo>
                  <a:lnTo>
                    <a:pt x="90390" y="25873"/>
                  </a:lnTo>
                  <a:lnTo>
                    <a:pt x="90143" y="26190"/>
                  </a:lnTo>
                  <a:lnTo>
                    <a:pt x="89814" y="26666"/>
                  </a:lnTo>
                  <a:lnTo>
                    <a:pt x="89814" y="26984"/>
                  </a:lnTo>
                  <a:lnTo>
                    <a:pt x="89814" y="26984"/>
                  </a:lnTo>
                  <a:lnTo>
                    <a:pt x="89979" y="26984"/>
                  </a:lnTo>
                  <a:lnTo>
                    <a:pt x="89814" y="27301"/>
                  </a:lnTo>
                  <a:lnTo>
                    <a:pt x="89814" y="27301"/>
                  </a:lnTo>
                  <a:lnTo>
                    <a:pt x="89814" y="27301"/>
                  </a:lnTo>
                  <a:lnTo>
                    <a:pt x="89814" y="26984"/>
                  </a:lnTo>
                  <a:lnTo>
                    <a:pt x="89568" y="26984"/>
                  </a:lnTo>
                  <a:lnTo>
                    <a:pt x="89568" y="26666"/>
                  </a:lnTo>
                  <a:lnTo>
                    <a:pt x="89814" y="26666"/>
                  </a:lnTo>
                  <a:lnTo>
                    <a:pt x="89979" y="26190"/>
                  </a:lnTo>
                  <a:lnTo>
                    <a:pt x="89814" y="25873"/>
                  </a:lnTo>
                  <a:lnTo>
                    <a:pt x="89814" y="25873"/>
                  </a:lnTo>
                  <a:lnTo>
                    <a:pt x="89568" y="26190"/>
                  </a:lnTo>
                  <a:lnTo>
                    <a:pt x="89403" y="26190"/>
                  </a:lnTo>
                  <a:lnTo>
                    <a:pt x="89239" y="26190"/>
                  </a:lnTo>
                  <a:lnTo>
                    <a:pt x="89239" y="25873"/>
                  </a:lnTo>
                  <a:lnTo>
                    <a:pt x="89239" y="25873"/>
                  </a:lnTo>
                  <a:lnTo>
                    <a:pt x="89239" y="25873"/>
                  </a:lnTo>
                  <a:lnTo>
                    <a:pt x="88992" y="25873"/>
                  </a:lnTo>
                  <a:lnTo>
                    <a:pt x="88992" y="25873"/>
                  </a:lnTo>
                  <a:lnTo>
                    <a:pt x="88827" y="25873"/>
                  </a:lnTo>
                  <a:lnTo>
                    <a:pt x="88827" y="26190"/>
                  </a:lnTo>
                  <a:lnTo>
                    <a:pt x="88827" y="26190"/>
                  </a:lnTo>
                  <a:lnTo>
                    <a:pt x="88827" y="26666"/>
                  </a:lnTo>
                  <a:lnTo>
                    <a:pt x="88827" y="26666"/>
                  </a:lnTo>
                  <a:lnTo>
                    <a:pt x="88581" y="26190"/>
                  </a:lnTo>
                  <a:lnTo>
                    <a:pt x="88581" y="26190"/>
                  </a:lnTo>
                  <a:lnTo>
                    <a:pt x="88252" y="26666"/>
                  </a:lnTo>
                  <a:lnTo>
                    <a:pt x="87676" y="26984"/>
                  </a:lnTo>
                  <a:lnTo>
                    <a:pt x="87429" y="26984"/>
                  </a:lnTo>
                  <a:lnTo>
                    <a:pt x="87429" y="27301"/>
                  </a:lnTo>
                  <a:lnTo>
                    <a:pt x="87429" y="27301"/>
                  </a:lnTo>
                  <a:lnTo>
                    <a:pt x="87429" y="27301"/>
                  </a:lnTo>
                  <a:lnTo>
                    <a:pt x="87429" y="26984"/>
                  </a:lnTo>
                  <a:lnTo>
                    <a:pt x="87429" y="26984"/>
                  </a:lnTo>
                  <a:lnTo>
                    <a:pt x="87429" y="26984"/>
                  </a:lnTo>
                  <a:lnTo>
                    <a:pt x="87429" y="26984"/>
                  </a:lnTo>
                  <a:lnTo>
                    <a:pt x="87676" y="26666"/>
                  </a:lnTo>
                  <a:lnTo>
                    <a:pt x="87676" y="26666"/>
                  </a:lnTo>
                  <a:lnTo>
                    <a:pt x="87676" y="26666"/>
                  </a:lnTo>
                  <a:lnTo>
                    <a:pt x="87840" y="26666"/>
                  </a:lnTo>
                  <a:lnTo>
                    <a:pt x="87840" y="26666"/>
                  </a:lnTo>
                  <a:lnTo>
                    <a:pt x="87676" y="26666"/>
                  </a:lnTo>
                  <a:lnTo>
                    <a:pt x="87676" y="26190"/>
                  </a:lnTo>
                  <a:lnTo>
                    <a:pt x="87840" y="26190"/>
                  </a:lnTo>
                  <a:lnTo>
                    <a:pt x="88252" y="26190"/>
                  </a:lnTo>
                  <a:lnTo>
                    <a:pt x="88416" y="25873"/>
                  </a:lnTo>
                  <a:lnTo>
                    <a:pt x="88416" y="25873"/>
                  </a:lnTo>
                  <a:lnTo>
                    <a:pt x="88252" y="25873"/>
                  </a:lnTo>
                  <a:lnTo>
                    <a:pt x="87429" y="26190"/>
                  </a:lnTo>
                  <a:lnTo>
                    <a:pt x="87676" y="26190"/>
                  </a:lnTo>
                  <a:lnTo>
                    <a:pt x="88005" y="25873"/>
                  </a:lnTo>
                  <a:lnTo>
                    <a:pt x="88416" y="25555"/>
                  </a:lnTo>
                  <a:lnTo>
                    <a:pt x="88827" y="25079"/>
                  </a:lnTo>
                  <a:lnTo>
                    <a:pt x="88992" y="25079"/>
                  </a:lnTo>
                  <a:lnTo>
                    <a:pt x="89239" y="25079"/>
                  </a:lnTo>
                  <a:lnTo>
                    <a:pt x="89239" y="24761"/>
                  </a:lnTo>
                  <a:lnTo>
                    <a:pt x="88992" y="24761"/>
                  </a:lnTo>
                  <a:lnTo>
                    <a:pt x="88992" y="24761"/>
                  </a:lnTo>
                  <a:lnTo>
                    <a:pt x="88992" y="24285"/>
                  </a:lnTo>
                  <a:lnTo>
                    <a:pt x="88992" y="24285"/>
                  </a:lnTo>
                  <a:lnTo>
                    <a:pt x="89239" y="23968"/>
                  </a:lnTo>
                  <a:lnTo>
                    <a:pt x="89239" y="23968"/>
                  </a:lnTo>
                  <a:lnTo>
                    <a:pt x="89239" y="23968"/>
                  </a:lnTo>
                  <a:lnTo>
                    <a:pt x="89239" y="23650"/>
                  </a:lnTo>
                  <a:lnTo>
                    <a:pt x="88992" y="23650"/>
                  </a:lnTo>
                  <a:lnTo>
                    <a:pt x="88992" y="23650"/>
                  </a:lnTo>
                  <a:lnTo>
                    <a:pt x="88992" y="22857"/>
                  </a:lnTo>
                  <a:lnTo>
                    <a:pt x="88992" y="22539"/>
                  </a:lnTo>
                  <a:lnTo>
                    <a:pt x="88992" y="22539"/>
                  </a:lnTo>
                  <a:lnTo>
                    <a:pt x="88992" y="22539"/>
                  </a:lnTo>
                  <a:lnTo>
                    <a:pt x="88581" y="22539"/>
                  </a:lnTo>
                  <a:lnTo>
                    <a:pt x="88416" y="22539"/>
                  </a:lnTo>
                  <a:lnTo>
                    <a:pt x="87840" y="22539"/>
                  </a:lnTo>
                  <a:lnTo>
                    <a:pt x="87676" y="22539"/>
                  </a:lnTo>
                  <a:lnTo>
                    <a:pt x="87676" y="22539"/>
                  </a:lnTo>
                  <a:lnTo>
                    <a:pt x="87429" y="22539"/>
                  </a:lnTo>
                  <a:lnTo>
                    <a:pt x="87100" y="22539"/>
                  </a:lnTo>
                  <a:lnTo>
                    <a:pt x="86525" y="22857"/>
                  </a:lnTo>
                  <a:lnTo>
                    <a:pt x="86278" y="22857"/>
                  </a:lnTo>
                  <a:lnTo>
                    <a:pt x="86278" y="22857"/>
                  </a:lnTo>
                  <a:lnTo>
                    <a:pt x="86278" y="23174"/>
                  </a:lnTo>
                  <a:lnTo>
                    <a:pt x="86278" y="23174"/>
                  </a:lnTo>
                  <a:lnTo>
                    <a:pt x="86113" y="22857"/>
                  </a:lnTo>
                  <a:lnTo>
                    <a:pt x="85702" y="23174"/>
                  </a:lnTo>
                  <a:lnTo>
                    <a:pt x="85291" y="23174"/>
                  </a:lnTo>
                  <a:lnTo>
                    <a:pt x="84962" y="23174"/>
                  </a:lnTo>
                  <a:lnTo>
                    <a:pt x="84139" y="23968"/>
                  </a:lnTo>
                  <a:lnTo>
                    <a:pt x="84139" y="23968"/>
                  </a:lnTo>
                  <a:lnTo>
                    <a:pt x="84386" y="24285"/>
                  </a:lnTo>
                  <a:lnTo>
                    <a:pt x="84962" y="24761"/>
                  </a:lnTo>
                  <a:lnTo>
                    <a:pt x="84962" y="24761"/>
                  </a:lnTo>
                  <a:lnTo>
                    <a:pt x="84386" y="24285"/>
                  </a:lnTo>
                  <a:lnTo>
                    <a:pt x="84139" y="24285"/>
                  </a:lnTo>
                  <a:lnTo>
                    <a:pt x="83975" y="24285"/>
                  </a:lnTo>
                  <a:lnTo>
                    <a:pt x="83810" y="24285"/>
                  </a:lnTo>
                  <a:lnTo>
                    <a:pt x="83564" y="24761"/>
                  </a:lnTo>
                  <a:lnTo>
                    <a:pt x="83564" y="24761"/>
                  </a:lnTo>
                  <a:lnTo>
                    <a:pt x="83399" y="24761"/>
                  </a:lnTo>
                  <a:lnTo>
                    <a:pt x="83399" y="25079"/>
                  </a:lnTo>
                  <a:lnTo>
                    <a:pt x="83235" y="25079"/>
                  </a:lnTo>
                  <a:lnTo>
                    <a:pt x="83235" y="25555"/>
                  </a:lnTo>
                  <a:lnTo>
                    <a:pt x="83235" y="25555"/>
                  </a:lnTo>
                  <a:lnTo>
                    <a:pt x="83235" y="25555"/>
                  </a:lnTo>
                  <a:lnTo>
                    <a:pt x="83399" y="25873"/>
                  </a:lnTo>
                  <a:lnTo>
                    <a:pt x="83399" y="25873"/>
                  </a:lnTo>
                  <a:lnTo>
                    <a:pt x="83399" y="25873"/>
                  </a:lnTo>
                  <a:lnTo>
                    <a:pt x="83564" y="25873"/>
                  </a:lnTo>
                  <a:lnTo>
                    <a:pt x="83810" y="25873"/>
                  </a:lnTo>
                  <a:lnTo>
                    <a:pt x="83810" y="25873"/>
                  </a:lnTo>
                  <a:lnTo>
                    <a:pt x="83975" y="25873"/>
                  </a:lnTo>
                  <a:lnTo>
                    <a:pt x="83975" y="25873"/>
                  </a:lnTo>
                  <a:lnTo>
                    <a:pt x="83810" y="26190"/>
                  </a:lnTo>
                  <a:lnTo>
                    <a:pt x="83810" y="26190"/>
                  </a:lnTo>
                  <a:lnTo>
                    <a:pt x="83810" y="26190"/>
                  </a:lnTo>
                  <a:lnTo>
                    <a:pt x="83810" y="26666"/>
                  </a:lnTo>
                  <a:lnTo>
                    <a:pt x="83975" y="26666"/>
                  </a:lnTo>
                  <a:lnTo>
                    <a:pt x="83975" y="26984"/>
                  </a:lnTo>
                  <a:lnTo>
                    <a:pt x="83975" y="26984"/>
                  </a:lnTo>
                  <a:lnTo>
                    <a:pt x="83975" y="26984"/>
                  </a:lnTo>
                  <a:lnTo>
                    <a:pt x="83810" y="26666"/>
                  </a:lnTo>
                  <a:lnTo>
                    <a:pt x="83399" y="26190"/>
                  </a:lnTo>
                  <a:lnTo>
                    <a:pt x="82988" y="26190"/>
                  </a:lnTo>
                  <a:lnTo>
                    <a:pt x="82988" y="26190"/>
                  </a:lnTo>
                  <a:lnTo>
                    <a:pt x="82577" y="26666"/>
                  </a:lnTo>
                  <a:lnTo>
                    <a:pt x="82412" y="26984"/>
                  </a:lnTo>
                  <a:lnTo>
                    <a:pt x="82248" y="26984"/>
                  </a:lnTo>
                  <a:lnTo>
                    <a:pt x="82248" y="26984"/>
                  </a:lnTo>
                  <a:lnTo>
                    <a:pt x="82248" y="26984"/>
                  </a:lnTo>
                  <a:lnTo>
                    <a:pt x="82248" y="27301"/>
                  </a:lnTo>
                  <a:lnTo>
                    <a:pt x="82412" y="27301"/>
                  </a:lnTo>
                  <a:lnTo>
                    <a:pt x="82412" y="27777"/>
                  </a:lnTo>
                  <a:lnTo>
                    <a:pt x="82412" y="27777"/>
                  </a:lnTo>
                  <a:lnTo>
                    <a:pt x="82412" y="27777"/>
                  </a:lnTo>
                  <a:lnTo>
                    <a:pt x="82577" y="27777"/>
                  </a:lnTo>
                  <a:lnTo>
                    <a:pt x="82577" y="27777"/>
                  </a:lnTo>
                  <a:lnTo>
                    <a:pt x="82823" y="27777"/>
                  </a:lnTo>
                  <a:lnTo>
                    <a:pt x="82988" y="28095"/>
                  </a:lnTo>
                  <a:lnTo>
                    <a:pt x="82988" y="28095"/>
                  </a:lnTo>
                  <a:lnTo>
                    <a:pt x="82823" y="28412"/>
                  </a:lnTo>
                  <a:lnTo>
                    <a:pt x="82823" y="28412"/>
                  </a:lnTo>
                  <a:lnTo>
                    <a:pt x="82577" y="28888"/>
                  </a:lnTo>
                  <a:lnTo>
                    <a:pt x="82248" y="29682"/>
                  </a:lnTo>
                  <a:lnTo>
                    <a:pt x="82001" y="29682"/>
                  </a:lnTo>
                  <a:lnTo>
                    <a:pt x="82001" y="29682"/>
                  </a:lnTo>
                  <a:lnTo>
                    <a:pt x="81836" y="29682"/>
                  </a:lnTo>
                  <a:lnTo>
                    <a:pt x="81836" y="29682"/>
                  </a:lnTo>
                  <a:lnTo>
                    <a:pt x="81836" y="29682"/>
                  </a:lnTo>
                  <a:lnTo>
                    <a:pt x="81836" y="29682"/>
                  </a:lnTo>
                  <a:lnTo>
                    <a:pt x="82001" y="29206"/>
                  </a:lnTo>
                  <a:lnTo>
                    <a:pt x="81836" y="29206"/>
                  </a:lnTo>
                  <a:lnTo>
                    <a:pt x="81261" y="29206"/>
                  </a:lnTo>
                  <a:lnTo>
                    <a:pt x="81096" y="29206"/>
                  </a:lnTo>
                  <a:lnTo>
                    <a:pt x="80685" y="29682"/>
                  </a:lnTo>
                  <a:lnTo>
                    <a:pt x="80520" y="29682"/>
                  </a:lnTo>
                  <a:lnTo>
                    <a:pt x="80109" y="29682"/>
                  </a:lnTo>
                  <a:lnTo>
                    <a:pt x="80109" y="29682"/>
                  </a:lnTo>
                  <a:lnTo>
                    <a:pt x="80274" y="29682"/>
                  </a:lnTo>
                  <a:lnTo>
                    <a:pt x="80685" y="29682"/>
                  </a:lnTo>
                  <a:lnTo>
                    <a:pt x="81096" y="29206"/>
                  </a:lnTo>
                  <a:lnTo>
                    <a:pt x="81261" y="29206"/>
                  </a:lnTo>
                  <a:lnTo>
                    <a:pt x="81672" y="29206"/>
                  </a:lnTo>
                  <a:lnTo>
                    <a:pt x="82001" y="28888"/>
                  </a:lnTo>
                  <a:lnTo>
                    <a:pt x="82248" y="28888"/>
                  </a:lnTo>
                  <a:lnTo>
                    <a:pt x="82248" y="28412"/>
                  </a:lnTo>
                  <a:lnTo>
                    <a:pt x="82001" y="28412"/>
                  </a:lnTo>
                  <a:lnTo>
                    <a:pt x="82001" y="28095"/>
                  </a:lnTo>
                  <a:lnTo>
                    <a:pt x="81836" y="28095"/>
                  </a:lnTo>
                  <a:lnTo>
                    <a:pt x="81672" y="27777"/>
                  </a:lnTo>
                  <a:lnTo>
                    <a:pt x="81672" y="27301"/>
                  </a:lnTo>
                  <a:lnTo>
                    <a:pt x="81836" y="26984"/>
                  </a:lnTo>
                  <a:lnTo>
                    <a:pt x="81836" y="26666"/>
                  </a:lnTo>
                  <a:lnTo>
                    <a:pt x="81836" y="26666"/>
                  </a:lnTo>
                  <a:lnTo>
                    <a:pt x="82001" y="26190"/>
                  </a:lnTo>
                  <a:lnTo>
                    <a:pt x="82248" y="25873"/>
                  </a:lnTo>
                  <a:lnTo>
                    <a:pt x="82412" y="25873"/>
                  </a:lnTo>
                  <a:lnTo>
                    <a:pt x="82412" y="25555"/>
                  </a:lnTo>
                  <a:lnTo>
                    <a:pt x="82248" y="25079"/>
                  </a:lnTo>
                  <a:lnTo>
                    <a:pt x="82412" y="25079"/>
                  </a:lnTo>
                  <a:lnTo>
                    <a:pt x="82412" y="24761"/>
                  </a:lnTo>
                  <a:lnTo>
                    <a:pt x="82577" y="24761"/>
                  </a:lnTo>
                  <a:lnTo>
                    <a:pt x="82577" y="24285"/>
                  </a:lnTo>
                  <a:lnTo>
                    <a:pt x="82823" y="24285"/>
                  </a:lnTo>
                  <a:lnTo>
                    <a:pt x="83564" y="23650"/>
                  </a:lnTo>
                  <a:lnTo>
                    <a:pt x="83810" y="23650"/>
                  </a:lnTo>
                  <a:lnTo>
                    <a:pt x="84386" y="22857"/>
                  </a:lnTo>
                  <a:lnTo>
                    <a:pt x="84715" y="22857"/>
                  </a:lnTo>
                  <a:lnTo>
                    <a:pt x="85126" y="22539"/>
                  </a:lnTo>
                  <a:lnTo>
                    <a:pt x="85538" y="22539"/>
                  </a:lnTo>
                  <a:lnTo>
                    <a:pt x="85538" y="22539"/>
                  </a:lnTo>
                  <a:lnTo>
                    <a:pt x="85538" y="22063"/>
                  </a:lnTo>
                  <a:lnTo>
                    <a:pt x="85538" y="22063"/>
                  </a:lnTo>
                  <a:lnTo>
                    <a:pt x="85538" y="22063"/>
                  </a:lnTo>
                  <a:lnTo>
                    <a:pt x="84551" y="22063"/>
                  </a:lnTo>
                  <a:lnTo>
                    <a:pt x="84139" y="22063"/>
                  </a:lnTo>
                  <a:lnTo>
                    <a:pt x="83810" y="22063"/>
                  </a:lnTo>
                  <a:lnTo>
                    <a:pt x="82823" y="22063"/>
                  </a:lnTo>
                  <a:lnTo>
                    <a:pt x="82577" y="22539"/>
                  </a:lnTo>
                  <a:lnTo>
                    <a:pt x="82248" y="22539"/>
                  </a:lnTo>
                  <a:lnTo>
                    <a:pt x="81836" y="22857"/>
                  </a:lnTo>
                  <a:lnTo>
                    <a:pt x="81096" y="23174"/>
                  </a:lnTo>
                  <a:lnTo>
                    <a:pt x="81096" y="23174"/>
                  </a:lnTo>
                  <a:lnTo>
                    <a:pt x="81096" y="23174"/>
                  </a:lnTo>
                  <a:lnTo>
                    <a:pt x="80849" y="23174"/>
                  </a:lnTo>
                  <a:lnTo>
                    <a:pt x="80849" y="23650"/>
                  </a:lnTo>
                  <a:lnTo>
                    <a:pt x="80685" y="23650"/>
                  </a:lnTo>
                  <a:lnTo>
                    <a:pt x="80274" y="23650"/>
                  </a:lnTo>
                  <a:lnTo>
                    <a:pt x="80109" y="23968"/>
                  </a:lnTo>
                  <a:lnTo>
                    <a:pt x="80109" y="23968"/>
                  </a:lnTo>
                  <a:lnTo>
                    <a:pt x="79862" y="24285"/>
                  </a:lnTo>
                  <a:lnTo>
                    <a:pt x="79862" y="24285"/>
                  </a:lnTo>
                  <a:lnTo>
                    <a:pt x="79698" y="24761"/>
                  </a:lnTo>
                  <a:lnTo>
                    <a:pt x="79533" y="24761"/>
                  </a:lnTo>
                  <a:lnTo>
                    <a:pt x="79122" y="25079"/>
                  </a:lnTo>
                  <a:lnTo>
                    <a:pt x="78958" y="25555"/>
                  </a:lnTo>
                  <a:lnTo>
                    <a:pt x="78546" y="25873"/>
                  </a:lnTo>
                  <a:lnTo>
                    <a:pt x="78546" y="25873"/>
                  </a:lnTo>
                  <a:lnTo>
                    <a:pt x="78382" y="25873"/>
                  </a:lnTo>
                  <a:lnTo>
                    <a:pt x="78382" y="26190"/>
                  </a:lnTo>
                  <a:lnTo>
                    <a:pt x="78382" y="26190"/>
                  </a:lnTo>
                  <a:lnTo>
                    <a:pt x="78135" y="26190"/>
                  </a:lnTo>
                  <a:lnTo>
                    <a:pt x="78382" y="26666"/>
                  </a:lnTo>
                  <a:lnTo>
                    <a:pt x="78382" y="26666"/>
                  </a:lnTo>
                  <a:lnTo>
                    <a:pt x="78382" y="26666"/>
                  </a:lnTo>
                  <a:lnTo>
                    <a:pt x="77971" y="26984"/>
                  </a:lnTo>
                  <a:lnTo>
                    <a:pt x="77559" y="26984"/>
                  </a:lnTo>
                  <a:lnTo>
                    <a:pt x="77559" y="27301"/>
                  </a:lnTo>
                  <a:lnTo>
                    <a:pt x="77559" y="27301"/>
                  </a:lnTo>
                  <a:lnTo>
                    <a:pt x="77559" y="27777"/>
                  </a:lnTo>
                  <a:lnTo>
                    <a:pt x="77395" y="28095"/>
                  </a:lnTo>
                  <a:lnTo>
                    <a:pt x="77148" y="28412"/>
                  </a:lnTo>
                  <a:lnTo>
                    <a:pt x="77148" y="28412"/>
                  </a:lnTo>
                  <a:lnTo>
                    <a:pt x="77395" y="28412"/>
                  </a:lnTo>
                  <a:lnTo>
                    <a:pt x="77559" y="28888"/>
                  </a:lnTo>
                  <a:lnTo>
                    <a:pt x="77806" y="28888"/>
                  </a:lnTo>
                  <a:lnTo>
                    <a:pt x="78382" y="29206"/>
                  </a:lnTo>
                  <a:lnTo>
                    <a:pt x="78711" y="29206"/>
                  </a:lnTo>
                  <a:lnTo>
                    <a:pt x="78958" y="29206"/>
                  </a:lnTo>
                  <a:lnTo>
                    <a:pt x="79122" y="29206"/>
                  </a:lnTo>
                  <a:lnTo>
                    <a:pt x="79122" y="29206"/>
                  </a:lnTo>
                  <a:lnTo>
                    <a:pt x="79287" y="29682"/>
                  </a:lnTo>
                  <a:lnTo>
                    <a:pt x="79533" y="29682"/>
                  </a:lnTo>
                  <a:lnTo>
                    <a:pt x="79533" y="29682"/>
                  </a:lnTo>
                  <a:lnTo>
                    <a:pt x="79122" y="30000"/>
                  </a:lnTo>
                  <a:lnTo>
                    <a:pt x="78711" y="30000"/>
                  </a:lnTo>
                  <a:lnTo>
                    <a:pt x="78546" y="30000"/>
                  </a:lnTo>
                  <a:lnTo>
                    <a:pt x="78135" y="29682"/>
                  </a:lnTo>
                  <a:lnTo>
                    <a:pt x="78135" y="29682"/>
                  </a:lnTo>
                  <a:lnTo>
                    <a:pt x="77971" y="29682"/>
                  </a:lnTo>
                  <a:lnTo>
                    <a:pt x="77559" y="29682"/>
                  </a:lnTo>
                  <a:lnTo>
                    <a:pt x="77148" y="29682"/>
                  </a:lnTo>
                  <a:lnTo>
                    <a:pt x="76984" y="29682"/>
                  </a:lnTo>
                  <a:lnTo>
                    <a:pt x="77148" y="29682"/>
                  </a:lnTo>
                  <a:lnTo>
                    <a:pt x="76984" y="29682"/>
                  </a:lnTo>
                  <a:lnTo>
                    <a:pt x="76984" y="30317"/>
                  </a:lnTo>
                  <a:lnTo>
                    <a:pt x="76984" y="30317"/>
                  </a:lnTo>
                  <a:lnTo>
                    <a:pt x="76984" y="31111"/>
                  </a:lnTo>
                  <a:lnTo>
                    <a:pt x="76984" y="31111"/>
                  </a:lnTo>
                  <a:lnTo>
                    <a:pt x="77148" y="31111"/>
                  </a:lnTo>
                  <a:lnTo>
                    <a:pt x="77395" y="31111"/>
                  </a:lnTo>
                  <a:lnTo>
                    <a:pt x="77559" y="31428"/>
                  </a:lnTo>
                  <a:lnTo>
                    <a:pt x="77806" y="31904"/>
                  </a:lnTo>
                  <a:lnTo>
                    <a:pt x="77806" y="31904"/>
                  </a:lnTo>
                  <a:lnTo>
                    <a:pt x="77806" y="31904"/>
                  </a:lnTo>
                  <a:lnTo>
                    <a:pt x="77971" y="31428"/>
                  </a:lnTo>
                  <a:lnTo>
                    <a:pt x="78135" y="31428"/>
                  </a:lnTo>
                  <a:lnTo>
                    <a:pt x="78135" y="31428"/>
                  </a:lnTo>
                  <a:lnTo>
                    <a:pt x="78546" y="31428"/>
                  </a:lnTo>
                  <a:lnTo>
                    <a:pt x="78711" y="31428"/>
                  </a:lnTo>
                  <a:lnTo>
                    <a:pt x="78711" y="31428"/>
                  </a:lnTo>
                  <a:lnTo>
                    <a:pt x="78711" y="31428"/>
                  </a:lnTo>
                  <a:lnTo>
                    <a:pt x="78711" y="31428"/>
                  </a:lnTo>
                  <a:lnTo>
                    <a:pt x="78711" y="31428"/>
                  </a:lnTo>
                  <a:lnTo>
                    <a:pt x="79122" y="31428"/>
                  </a:lnTo>
                  <a:lnTo>
                    <a:pt x="79122" y="31428"/>
                  </a:lnTo>
                  <a:lnTo>
                    <a:pt x="79287" y="31428"/>
                  </a:lnTo>
                  <a:lnTo>
                    <a:pt x="79698" y="31111"/>
                  </a:lnTo>
                  <a:lnTo>
                    <a:pt x="79533" y="31111"/>
                  </a:lnTo>
                  <a:lnTo>
                    <a:pt x="79533" y="31428"/>
                  </a:lnTo>
                  <a:lnTo>
                    <a:pt x="79287" y="31428"/>
                  </a:lnTo>
                  <a:lnTo>
                    <a:pt x="79287" y="31904"/>
                  </a:lnTo>
                  <a:lnTo>
                    <a:pt x="79287" y="31904"/>
                  </a:lnTo>
                  <a:lnTo>
                    <a:pt x="79287" y="32222"/>
                  </a:lnTo>
                  <a:lnTo>
                    <a:pt x="79287" y="32222"/>
                  </a:lnTo>
                  <a:lnTo>
                    <a:pt x="79698" y="32222"/>
                  </a:lnTo>
                  <a:lnTo>
                    <a:pt x="80274" y="32222"/>
                  </a:lnTo>
                  <a:lnTo>
                    <a:pt x="80685" y="32222"/>
                  </a:lnTo>
                  <a:lnTo>
                    <a:pt x="80849" y="32222"/>
                  </a:lnTo>
                  <a:lnTo>
                    <a:pt x="80849" y="32222"/>
                  </a:lnTo>
                  <a:lnTo>
                    <a:pt x="80849" y="32222"/>
                  </a:lnTo>
                  <a:lnTo>
                    <a:pt x="81096" y="32539"/>
                  </a:lnTo>
                  <a:lnTo>
                    <a:pt x="81836" y="32539"/>
                  </a:lnTo>
                  <a:lnTo>
                    <a:pt x="82248" y="32539"/>
                  </a:lnTo>
                  <a:lnTo>
                    <a:pt x="82577" y="32539"/>
                  </a:lnTo>
                  <a:lnTo>
                    <a:pt x="82577" y="32539"/>
                  </a:lnTo>
                  <a:lnTo>
                    <a:pt x="82823" y="32539"/>
                  </a:lnTo>
                  <a:lnTo>
                    <a:pt x="83235" y="33015"/>
                  </a:lnTo>
                  <a:lnTo>
                    <a:pt x="83399" y="33015"/>
                  </a:lnTo>
                  <a:lnTo>
                    <a:pt x="83564" y="33015"/>
                  </a:lnTo>
                  <a:lnTo>
                    <a:pt x="83810" y="33015"/>
                  </a:lnTo>
                  <a:lnTo>
                    <a:pt x="84386" y="32539"/>
                  </a:lnTo>
                  <a:lnTo>
                    <a:pt x="84715" y="33333"/>
                  </a:lnTo>
                  <a:lnTo>
                    <a:pt x="84962" y="33015"/>
                  </a:lnTo>
                  <a:lnTo>
                    <a:pt x="84962" y="33015"/>
                  </a:lnTo>
                  <a:lnTo>
                    <a:pt x="84962" y="33015"/>
                  </a:lnTo>
                  <a:lnTo>
                    <a:pt x="84715" y="32539"/>
                  </a:lnTo>
                  <a:lnTo>
                    <a:pt x="84715" y="32539"/>
                  </a:lnTo>
                  <a:lnTo>
                    <a:pt x="84551" y="32539"/>
                  </a:lnTo>
                  <a:lnTo>
                    <a:pt x="84551" y="32539"/>
                  </a:lnTo>
                  <a:lnTo>
                    <a:pt x="84386" y="32222"/>
                  </a:lnTo>
                  <a:lnTo>
                    <a:pt x="84386" y="32222"/>
                  </a:lnTo>
                  <a:lnTo>
                    <a:pt x="84551" y="32222"/>
                  </a:lnTo>
                  <a:lnTo>
                    <a:pt x="84962" y="32222"/>
                  </a:lnTo>
                  <a:lnTo>
                    <a:pt x="85291" y="32222"/>
                  </a:lnTo>
                  <a:lnTo>
                    <a:pt x="85291" y="32222"/>
                  </a:lnTo>
                  <a:lnTo>
                    <a:pt x="85702" y="32539"/>
                  </a:lnTo>
                  <a:lnTo>
                    <a:pt x="85702" y="32539"/>
                  </a:lnTo>
                  <a:lnTo>
                    <a:pt x="85867" y="32539"/>
                  </a:lnTo>
                  <a:lnTo>
                    <a:pt x="86278" y="32539"/>
                  </a:lnTo>
                  <a:lnTo>
                    <a:pt x="86525" y="33015"/>
                  </a:lnTo>
                  <a:lnTo>
                    <a:pt x="86689" y="32539"/>
                  </a:lnTo>
                  <a:lnTo>
                    <a:pt x="87100" y="32539"/>
                  </a:lnTo>
                  <a:lnTo>
                    <a:pt x="87265" y="32539"/>
                  </a:lnTo>
                  <a:lnTo>
                    <a:pt x="87429" y="32539"/>
                  </a:lnTo>
                  <a:lnTo>
                    <a:pt x="87429" y="32222"/>
                  </a:lnTo>
                  <a:lnTo>
                    <a:pt x="87429" y="32222"/>
                  </a:lnTo>
                  <a:lnTo>
                    <a:pt x="87676" y="31904"/>
                  </a:lnTo>
                  <a:lnTo>
                    <a:pt x="87676" y="31904"/>
                  </a:lnTo>
                  <a:lnTo>
                    <a:pt x="87676" y="31904"/>
                  </a:lnTo>
                  <a:lnTo>
                    <a:pt x="87429" y="31428"/>
                  </a:lnTo>
                  <a:lnTo>
                    <a:pt x="87265" y="31428"/>
                  </a:lnTo>
                  <a:lnTo>
                    <a:pt x="87265" y="31428"/>
                  </a:lnTo>
                  <a:lnTo>
                    <a:pt x="87265" y="31111"/>
                  </a:lnTo>
                  <a:lnTo>
                    <a:pt x="87265" y="31111"/>
                  </a:lnTo>
                  <a:lnTo>
                    <a:pt x="87429" y="31111"/>
                  </a:lnTo>
                  <a:lnTo>
                    <a:pt x="87676" y="30793"/>
                  </a:lnTo>
                  <a:lnTo>
                    <a:pt x="87840" y="30793"/>
                  </a:lnTo>
                  <a:lnTo>
                    <a:pt x="87840" y="30793"/>
                  </a:lnTo>
                  <a:lnTo>
                    <a:pt x="87840" y="31111"/>
                  </a:lnTo>
                  <a:lnTo>
                    <a:pt x="87840" y="31111"/>
                  </a:lnTo>
                  <a:lnTo>
                    <a:pt x="87840" y="31111"/>
                  </a:lnTo>
                  <a:lnTo>
                    <a:pt x="88005" y="31428"/>
                  </a:lnTo>
                  <a:lnTo>
                    <a:pt x="88005" y="31428"/>
                  </a:lnTo>
                  <a:lnTo>
                    <a:pt x="88005" y="31428"/>
                  </a:lnTo>
                  <a:lnTo>
                    <a:pt x="88252" y="31904"/>
                  </a:lnTo>
                  <a:lnTo>
                    <a:pt x="88252" y="31904"/>
                  </a:lnTo>
                  <a:lnTo>
                    <a:pt x="88416" y="31904"/>
                  </a:lnTo>
                  <a:lnTo>
                    <a:pt x="88827" y="31904"/>
                  </a:lnTo>
                  <a:lnTo>
                    <a:pt x="88827" y="31904"/>
                  </a:lnTo>
                  <a:lnTo>
                    <a:pt x="88827" y="31904"/>
                  </a:lnTo>
                  <a:lnTo>
                    <a:pt x="88581" y="32222"/>
                  </a:lnTo>
                  <a:lnTo>
                    <a:pt x="88581" y="32539"/>
                  </a:lnTo>
                  <a:lnTo>
                    <a:pt x="88581" y="32539"/>
                  </a:lnTo>
                  <a:lnTo>
                    <a:pt x="88581" y="33015"/>
                  </a:lnTo>
                  <a:lnTo>
                    <a:pt x="88581" y="33015"/>
                  </a:lnTo>
                  <a:lnTo>
                    <a:pt x="88992" y="33015"/>
                  </a:lnTo>
                  <a:lnTo>
                    <a:pt x="89239" y="33015"/>
                  </a:lnTo>
                  <a:lnTo>
                    <a:pt x="89239" y="33015"/>
                  </a:lnTo>
                  <a:lnTo>
                    <a:pt x="89239" y="33015"/>
                  </a:lnTo>
                  <a:lnTo>
                    <a:pt x="89239" y="33333"/>
                  </a:lnTo>
                  <a:lnTo>
                    <a:pt x="88992" y="33333"/>
                  </a:lnTo>
                  <a:lnTo>
                    <a:pt x="88827" y="33333"/>
                  </a:lnTo>
                  <a:lnTo>
                    <a:pt x="88827" y="33333"/>
                  </a:lnTo>
                  <a:lnTo>
                    <a:pt x="88827" y="33333"/>
                  </a:lnTo>
                  <a:lnTo>
                    <a:pt x="88827" y="33809"/>
                  </a:lnTo>
                  <a:lnTo>
                    <a:pt x="88992" y="33809"/>
                  </a:lnTo>
                  <a:lnTo>
                    <a:pt x="89239" y="33809"/>
                  </a:lnTo>
                  <a:lnTo>
                    <a:pt x="89239" y="33809"/>
                  </a:lnTo>
                  <a:lnTo>
                    <a:pt x="89403" y="33333"/>
                  </a:lnTo>
                  <a:lnTo>
                    <a:pt x="89568" y="33333"/>
                  </a:lnTo>
                  <a:lnTo>
                    <a:pt x="89568" y="33333"/>
                  </a:lnTo>
                  <a:lnTo>
                    <a:pt x="89814" y="33333"/>
                  </a:lnTo>
                  <a:lnTo>
                    <a:pt x="89814" y="33333"/>
                  </a:lnTo>
                  <a:lnTo>
                    <a:pt x="89568" y="33809"/>
                  </a:lnTo>
                  <a:lnTo>
                    <a:pt x="89403" y="33809"/>
                  </a:lnTo>
                  <a:lnTo>
                    <a:pt x="89403" y="33809"/>
                  </a:lnTo>
                  <a:lnTo>
                    <a:pt x="89403" y="33809"/>
                  </a:lnTo>
                  <a:lnTo>
                    <a:pt x="89403" y="34126"/>
                  </a:lnTo>
                  <a:lnTo>
                    <a:pt x="89403" y="34126"/>
                  </a:lnTo>
                  <a:lnTo>
                    <a:pt x="89403" y="34126"/>
                  </a:lnTo>
                  <a:lnTo>
                    <a:pt x="89568" y="34126"/>
                  </a:lnTo>
                  <a:lnTo>
                    <a:pt x="89814" y="34126"/>
                  </a:lnTo>
                  <a:lnTo>
                    <a:pt x="89979" y="34444"/>
                  </a:lnTo>
                  <a:lnTo>
                    <a:pt x="89979" y="34444"/>
                  </a:lnTo>
                  <a:lnTo>
                    <a:pt x="89979" y="34920"/>
                  </a:lnTo>
                  <a:lnTo>
                    <a:pt x="89979" y="34920"/>
                  </a:lnTo>
                  <a:lnTo>
                    <a:pt x="89814" y="34920"/>
                  </a:lnTo>
                  <a:lnTo>
                    <a:pt x="89568" y="35238"/>
                  </a:lnTo>
                  <a:lnTo>
                    <a:pt x="89403" y="35238"/>
                  </a:lnTo>
                  <a:lnTo>
                    <a:pt x="89239" y="35238"/>
                  </a:lnTo>
                  <a:lnTo>
                    <a:pt x="88992" y="35238"/>
                  </a:lnTo>
                  <a:lnTo>
                    <a:pt x="88827" y="35238"/>
                  </a:lnTo>
                  <a:lnTo>
                    <a:pt x="88827" y="35238"/>
                  </a:lnTo>
                  <a:lnTo>
                    <a:pt x="88581" y="35238"/>
                  </a:lnTo>
                  <a:lnTo>
                    <a:pt x="88581" y="35555"/>
                  </a:lnTo>
                  <a:lnTo>
                    <a:pt x="88416" y="36031"/>
                  </a:lnTo>
                  <a:lnTo>
                    <a:pt x="88416" y="36031"/>
                  </a:lnTo>
                  <a:lnTo>
                    <a:pt x="88416" y="36031"/>
                  </a:lnTo>
                  <a:lnTo>
                    <a:pt x="88416" y="36031"/>
                  </a:lnTo>
                  <a:lnTo>
                    <a:pt x="88416" y="36031"/>
                  </a:lnTo>
                  <a:lnTo>
                    <a:pt x="88581" y="36349"/>
                  </a:lnTo>
                  <a:lnTo>
                    <a:pt x="88827" y="36031"/>
                  </a:lnTo>
                  <a:lnTo>
                    <a:pt x="89403" y="35555"/>
                  </a:lnTo>
                  <a:lnTo>
                    <a:pt x="89568" y="35555"/>
                  </a:lnTo>
                  <a:lnTo>
                    <a:pt x="89814" y="35555"/>
                  </a:lnTo>
                  <a:lnTo>
                    <a:pt x="89979" y="35238"/>
                  </a:lnTo>
                  <a:lnTo>
                    <a:pt x="89979" y="35555"/>
                  </a:lnTo>
                  <a:lnTo>
                    <a:pt x="90143" y="35555"/>
                  </a:lnTo>
                  <a:lnTo>
                    <a:pt x="90390" y="35555"/>
                  </a:lnTo>
                  <a:lnTo>
                    <a:pt x="90555" y="35238"/>
                  </a:lnTo>
                  <a:lnTo>
                    <a:pt x="90719" y="35238"/>
                  </a:lnTo>
                  <a:lnTo>
                    <a:pt x="90719" y="35238"/>
                  </a:lnTo>
                  <a:lnTo>
                    <a:pt x="90719" y="35238"/>
                  </a:lnTo>
                  <a:lnTo>
                    <a:pt x="90719" y="35238"/>
                  </a:lnTo>
                  <a:lnTo>
                    <a:pt x="90555" y="35238"/>
                  </a:lnTo>
                  <a:lnTo>
                    <a:pt x="90390" y="35238"/>
                  </a:lnTo>
                  <a:lnTo>
                    <a:pt x="90555" y="35555"/>
                  </a:lnTo>
                  <a:lnTo>
                    <a:pt x="90555" y="35555"/>
                  </a:lnTo>
                  <a:lnTo>
                    <a:pt x="90555" y="35555"/>
                  </a:lnTo>
                  <a:lnTo>
                    <a:pt x="90555" y="35555"/>
                  </a:lnTo>
                  <a:lnTo>
                    <a:pt x="90390" y="36031"/>
                  </a:lnTo>
                  <a:lnTo>
                    <a:pt x="90390" y="36031"/>
                  </a:lnTo>
                  <a:lnTo>
                    <a:pt x="90390" y="36031"/>
                  </a:lnTo>
                  <a:lnTo>
                    <a:pt x="90555" y="36031"/>
                  </a:lnTo>
                  <a:lnTo>
                    <a:pt x="90555" y="36031"/>
                  </a:lnTo>
                  <a:lnTo>
                    <a:pt x="90555" y="36031"/>
                  </a:lnTo>
                  <a:lnTo>
                    <a:pt x="90555" y="36031"/>
                  </a:lnTo>
                  <a:lnTo>
                    <a:pt x="90555" y="36031"/>
                  </a:lnTo>
                  <a:lnTo>
                    <a:pt x="90555" y="36349"/>
                  </a:lnTo>
                  <a:lnTo>
                    <a:pt x="90719" y="36666"/>
                  </a:lnTo>
                  <a:lnTo>
                    <a:pt x="90719" y="36666"/>
                  </a:lnTo>
                  <a:lnTo>
                    <a:pt x="90966" y="36666"/>
                  </a:lnTo>
                  <a:lnTo>
                    <a:pt x="91130" y="36666"/>
                  </a:lnTo>
                  <a:lnTo>
                    <a:pt x="91130" y="36349"/>
                  </a:lnTo>
                  <a:lnTo>
                    <a:pt x="91130" y="36031"/>
                  </a:lnTo>
                  <a:lnTo>
                    <a:pt x="91130" y="36031"/>
                  </a:lnTo>
                  <a:lnTo>
                    <a:pt x="91295" y="36031"/>
                  </a:lnTo>
                  <a:lnTo>
                    <a:pt x="91295" y="36031"/>
                  </a:lnTo>
                  <a:lnTo>
                    <a:pt x="91295" y="36349"/>
                  </a:lnTo>
                  <a:lnTo>
                    <a:pt x="91295" y="36349"/>
                  </a:lnTo>
                  <a:lnTo>
                    <a:pt x="91295" y="36349"/>
                  </a:lnTo>
                  <a:lnTo>
                    <a:pt x="91295" y="36349"/>
                  </a:lnTo>
                  <a:lnTo>
                    <a:pt x="91130" y="36666"/>
                  </a:lnTo>
                  <a:lnTo>
                    <a:pt x="91130" y="36666"/>
                  </a:lnTo>
                  <a:lnTo>
                    <a:pt x="91130" y="36666"/>
                  </a:lnTo>
                  <a:lnTo>
                    <a:pt x="91130" y="37142"/>
                  </a:lnTo>
                  <a:lnTo>
                    <a:pt x="91130" y="37142"/>
                  </a:lnTo>
                  <a:lnTo>
                    <a:pt x="91130" y="37460"/>
                  </a:lnTo>
                  <a:lnTo>
                    <a:pt x="91295" y="37142"/>
                  </a:lnTo>
                  <a:lnTo>
                    <a:pt x="91706" y="37142"/>
                  </a:lnTo>
                  <a:lnTo>
                    <a:pt x="91706" y="37142"/>
                  </a:lnTo>
                  <a:lnTo>
                    <a:pt x="91542" y="37142"/>
                  </a:lnTo>
                  <a:lnTo>
                    <a:pt x="91542" y="37460"/>
                  </a:lnTo>
                  <a:lnTo>
                    <a:pt x="91706" y="37936"/>
                  </a:lnTo>
                  <a:lnTo>
                    <a:pt x="91706" y="38253"/>
                  </a:lnTo>
                  <a:lnTo>
                    <a:pt x="91706" y="38571"/>
                  </a:lnTo>
                  <a:lnTo>
                    <a:pt x="91706" y="39047"/>
                  </a:lnTo>
                  <a:lnTo>
                    <a:pt x="91706" y="40158"/>
                  </a:lnTo>
                  <a:lnTo>
                    <a:pt x="91706" y="40158"/>
                  </a:lnTo>
                  <a:lnTo>
                    <a:pt x="91706" y="40158"/>
                  </a:lnTo>
                  <a:lnTo>
                    <a:pt x="91706" y="40158"/>
                  </a:lnTo>
                  <a:lnTo>
                    <a:pt x="91295" y="40476"/>
                  </a:lnTo>
                  <a:lnTo>
                    <a:pt x="91295" y="40793"/>
                  </a:lnTo>
                  <a:lnTo>
                    <a:pt x="90966" y="40793"/>
                  </a:lnTo>
                  <a:lnTo>
                    <a:pt x="90719" y="40793"/>
                  </a:lnTo>
                  <a:lnTo>
                    <a:pt x="90555" y="41269"/>
                  </a:lnTo>
                  <a:lnTo>
                    <a:pt x="90390" y="41587"/>
                  </a:lnTo>
                  <a:lnTo>
                    <a:pt x="90390" y="41587"/>
                  </a:lnTo>
                  <a:lnTo>
                    <a:pt x="90143" y="42063"/>
                  </a:lnTo>
                  <a:lnTo>
                    <a:pt x="89979" y="42063"/>
                  </a:lnTo>
                  <a:lnTo>
                    <a:pt x="89979" y="42063"/>
                  </a:lnTo>
                  <a:lnTo>
                    <a:pt x="89814" y="42063"/>
                  </a:lnTo>
                  <a:lnTo>
                    <a:pt x="89568" y="42380"/>
                  </a:lnTo>
                  <a:lnTo>
                    <a:pt x="89403" y="42380"/>
                  </a:lnTo>
                  <a:lnTo>
                    <a:pt x="88827" y="42698"/>
                  </a:lnTo>
                  <a:lnTo>
                    <a:pt x="88252" y="43492"/>
                  </a:lnTo>
                  <a:lnTo>
                    <a:pt x="88005" y="43492"/>
                  </a:lnTo>
                  <a:lnTo>
                    <a:pt x="88005" y="43492"/>
                  </a:lnTo>
                  <a:lnTo>
                    <a:pt x="88005" y="43492"/>
                  </a:lnTo>
                  <a:lnTo>
                    <a:pt x="88005" y="43809"/>
                  </a:lnTo>
                  <a:lnTo>
                    <a:pt x="88252" y="44285"/>
                  </a:lnTo>
                  <a:lnTo>
                    <a:pt x="88416" y="44603"/>
                  </a:lnTo>
                  <a:lnTo>
                    <a:pt x="88416" y="44603"/>
                  </a:lnTo>
                  <a:lnTo>
                    <a:pt x="88416" y="44920"/>
                  </a:lnTo>
                  <a:lnTo>
                    <a:pt x="88416" y="45396"/>
                  </a:lnTo>
                  <a:lnTo>
                    <a:pt x="88416" y="45396"/>
                  </a:lnTo>
                  <a:lnTo>
                    <a:pt x="88252" y="45396"/>
                  </a:lnTo>
                  <a:lnTo>
                    <a:pt x="88005" y="45396"/>
                  </a:lnTo>
                  <a:lnTo>
                    <a:pt x="87840" y="45396"/>
                  </a:lnTo>
                  <a:lnTo>
                    <a:pt x="87676" y="45396"/>
                  </a:lnTo>
                  <a:lnTo>
                    <a:pt x="87429" y="45396"/>
                  </a:lnTo>
                  <a:lnTo>
                    <a:pt x="87265" y="45714"/>
                  </a:lnTo>
                  <a:lnTo>
                    <a:pt x="87100" y="45714"/>
                  </a:lnTo>
                  <a:lnTo>
                    <a:pt x="87100" y="45714"/>
                  </a:lnTo>
                  <a:lnTo>
                    <a:pt x="86854" y="45714"/>
                  </a:lnTo>
                  <a:lnTo>
                    <a:pt x="86689" y="45714"/>
                  </a:lnTo>
                  <a:lnTo>
                    <a:pt x="86525" y="45714"/>
                  </a:lnTo>
                  <a:lnTo>
                    <a:pt x="86525" y="45714"/>
                  </a:lnTo>
                  <a:lnTo>
                    <a:pt x="86278" y="45714"/>
                  </a:lnTo>
                  <a:lnTo>
                    <a:pt x="86278" y="46190"/>
                  </a:lnTo>
                  <a:lnTo>
                    <a:pt x="86113" y="46190"/>
                  </a:lnTo>
                  <a:lnTo>
                    <a:pt x="85702" y="46190"/>
                  </a:lnTo>
                  <a:lnTo>
                    <a:pt x="85538" y="46190"/>
                  </a:lnTo>
                  <a:lnTo>
                    <a:pt x="85538" y="46190"/>
                  </a:lnTo>
                  <a:lnTo>
                    <a:pt x="85702" y="46507"/>
                  </a:lnTo>
                  <a:lnTo>
                    <a:pt x="85702" y="46507"/>
                  </a:lnTo>
                  <a:lnTo>
                    <a:pt x="85702" y="46825"/>
                  </a:lnTo>
                  <a:lnTo>
                    <a:pt x="85702" y="46825"/>
                  </a:lnTo>
                  <a:lnTo>
                    <a:pt x="85702" y="46825"/>
                  </a:lnTo>
                  <a:lnTo>
                    <a:pt x="85538" y="46825"/>
                  </a:lnTo>
                  <a:lnTo>
                    <a:pt x="85538" y="47301"/>
                  </a:lnTo>
                  <a:lnTo>
                    <a:pt x="85538" y="47301"/>
                  </a:lnTo>
                  <a:lnTo>
                    <a:pt x="85538" y="47301"/>
                  </a:lnTo>
                  <a:lnTo>
                    <a:pt x="85291" y="47301"/>
                  </a:lnTo>
                  <a:lnTo>
                    <a:pt x="85291" y="47301"/>
                  </a:lnTo>
                  <a:lnTo>
                    <a:pt x="85291" y="47301"/>
                  </a:lnTo>
                  <a:lnTo>
                    <a:pt x="85538" y="46825"/>
                  </a:lnTo>
                  <a:lnTo>
                    <a:pt x="85538" y="46825"/>
                  </a:lnTo>
                  <a:lnTo>
                    <a:pt x="85538" y="46825"/>
                  </a:lnTo>
                  <a:lnTo>
                    <a:pt x="85538" y="46507"/>
                  </a:lnTo>
                  <a:lnTo>
                    <a:pt x="85538" y="46190"/>
                  </a:lnTo>
                  <a:lnTo>
                    <a:pt x="85126" y="46190"/>
                  </a:lnTo>
                  <a:lnTo>
                    <a:pt x="84715" y="45714"/>
                  </a:lnTo>
                  <a:lnTo>
                    <a:pt x="84551" y="45714"/>
                  </a:lnTo>
                  <a:lnTo>
                    <a:pt x="84386" y="45714"/>
                  </a:lnTo>
                  <a:lnTo>
                    <a:pt x="84139" y="45714"/>
                  </a:lnTo>
                  <a:lnTo>
                    <a:pt x="83975" y="45396"/>
                  </a:lnTo>
                  <a:lnTo>
                    <a:pt x="83975" y="45396"/>
                  </a:lnTo>
                  <a:lnTo>
                    <a:pt x="83975" y="45714"/>
                  </a:lnTo>
                  <a:lnTo>
                    <a:pt x="83810" y="45714"/>
                  </a:lnTo>
                  <a:lnTo>
                    <a:pt x="83810" y="45714"/>
                  </a:lnTo>
                  <a:lnTo>
                    <a:pt x="83564" y="45714"/>
                  </a:lnTo>
                  <a:lnTo>
                    <a:pt x="83564" y="46190"/>
                  </a:lnTo>
                  <a:lnTo>
                    <a:pt x="83564" y="46190"/>
                  </a:lnTo>
                  <a:lnTo>
                    <a:pt x="83564" y="46507"/>
                  </a:lnTo>
                  <a:lnTo>
                    <a:pt x="82823" y="46507"/>
                  </a:lnTo>
                  <a:lnTo>
                    <a:pt x="82577" y="46825"/>
                  </a:lnTo>
                  <a:lnTo>
                    <a:pt x="82577" y="46825"/>
                  </a:lnTo>
                  <a:lnTo>
                    <a:pt x="82412" y="46825"/>
                  </a:lnTo>
                  <a:lnTo>
                    <a:pt x="82248" y="47619"/>
                  </a:lnTo>
                  <a:lnTo>
                    <a:pt x="82248" y="47619"/>
                  </a:lnTo>
                  <a:lnTo>
                    <a:pt x="82248" y="47619"/>
                  </a:lnTo>
                  <a:lnTo>
                    <a:pt x="82001" y="47936"/>
                  </a:lnTo>
                  <a:lnTo>
                    <a:pt x="82001" y="47936"/>
                  </a:lnTo>
                  <a:lnTo>
                    <a:pt x="82001" y="48412"/>
                  </a:lnTo>
                  <a:lnTo>
                    <a:pt x="82001" y="48412"/>
                  </a:lnTo>
                  <a:lnTo>
                    <a:pt x="82248" y="48730"/>
                  </a:lnTo>
                  <a:lnTo>
                    <a:pt x="82248" y="48730"/>
                  </a:lnTo>
                  <a:lnTo>
                    <a:pt x="82412" y="48730"/>
                  </a:lnTo>
                  <a:lnTo>
                    <a:pt x="82577" y="48730"/>
                  </a:lnTo>
                  <a:lnTo>
                    <a:pt x="82577" y="49047"/>
                  </a:lnTo>
                  <a:lnTo>
                    <a:pt x="82823" y="49047"/>
                  </a:lnTo>
                  <a:lnTo>
                    <a:pt x="82823" y="49047"/>
                  </a:lnTo>
                  <a:lnTo>
                    <a:pt x="82988" y="49047"/>
                  </a:lnTo>
                  <a:lnTo>
                    <a:pt x="83235" y="49047"/>
                  </a:lnTo>
                  <a:lnTo>
                    <a:pt x="83399" y="49047"/>
                  </a:lnTo>
                  <a:lnTo>
                    <a:pt x="83564" y="49047"/>
                  </a:lnTo>
                  <a:lnTo>
                    <a:pt x="83564" y="48730"/>
                  </a:lnTo>
                  <a:lnTo>
                    <a:pt x="83564" y="49047"/>
                  </a:lnTo>
                  <a:lnTo>
                    <a:pt x="83810" y="48730"/>
                  </a:lnTo>
                  <a:lnTo>
                    <a:pt x="84139" y="48730"/>
                  </a:lnTo>
                  <a:lnTo>
                    <a:pt x="84386" y="48730"/>
                  </a:lnTo>
                  <a:lnTo>
                    <a:pt x="84551" y="48730"/>
                  </a:lnTo>
                  <a:lnTo>
                    <a:pt x="84551" y="48730"/>
                  </a:lnTo>
                  <a:lnTo>
                    <a:pt x="84715" y="48412"/>
                  </a:lnTo>
                  <a:lnTo>
                    <a:pt x="85126" y="48412"/>
                  </a:lnTo>
                  <a:lnTo>
                    <a:pt x="85291" y="48412"/>
                  </a:lnTo>
                  <a:lnTo>
                    <a:pt x="85291" y="48412"/>
                  </a:lnTo>
                  <a:lnTo>
                    <a:pt x="85538" y="48412"/>
                  </a:lnTo>
                  <a:lnTo>
                    <a:pt x="85702" y="48412"/>
                  </a:lnTo>
                  <a:lnTo>
                    <a:pt x="85867" y="48412"/>
                  </a:lnTo>
                  <a:lnTo>
                    <a:pt x="86113" y="47936"/>
                  </a:lnTo>
                  <a:lnTo>
                    <a:pt x="86113" y="47936"/>
                  </a:lnTo>
                  <a:lnTo>
                    <a:pt x="86113" y="47619"/>
                  </a:lnTo>
                  <a:lnTo>
                    <a:pt x="86113" y="47619"/>
                  </a:lnTo>
                  <a:lnTo>
                    <a:pt x="86113" y="47619"/>
                  </a:lnTo>
                  <a:lnTo>
                    <a:pt x="86113" y="47619"/>
                  </a:lnTo>
                  <a:lnTo>
                    <a:pt x="86278" y="47619"/>
                  </a:lnTo>
                  <a:lnTo>
                    <a:pt x="86278" y="47301"/>
                  </a:lnTo>
                  <a:lnTo>
                    <a:pt x="86278" y="47301"/>
                  </a:lnTo>
                  <a:lnTo>
                    <a:pt x="86525" y="47301"/>
                  </a:lnTo>
                  <a:lnTo>
                    <a:pt x="86525" y="47619"/>
                  </a:lnTo>
                  <a:lnTo>
                    <a:pt x="86278" y="47619"/>
                  </a:lnTo>
                  <a:lnTo>
                    <a:pt x="86278" y="47936"/>
                  </a:lnTo>
                  <a:lnTo>
                    <a:pt x="86525" y="47936"/>
                  </a:lnTo>
                  <a:lnTo>
                    <a:pt x="86525" y="47936"/>
                  </a:lnTo>
                  <a:lnTo>
                    <a:pt x="86689" y="47936"/>
                  </a:lnTo>
                  <a:lnTo>
                    <a:pt x="86689" y="47936"/>
                  </a:lnTo>
                  <a:lnTo>
                    <a:pt x="86689" y="48412"/>
                  </a:lnTo>
                  <a:lnTo>
                    <a:pt x="86689" y="48412"/>
                  </a:lnTo>
                  <a:lnTo>
                    <a:pt x="86689" y="48730"/>
                  </a:lnTo>
                  <a:lnTo>
                    <a:pt x="86689" y="48730"/>
                  </a:lnTo>
                  <a:lnTo>
                    <a:pt x="86689" y="48412"/>
                  </a:lnTo>
                  <a:lnTo>
                    <a:pt x="86854" y="48412"/>
                  </a:lnTo>
                  <a:lnTo>
                    <a:pt x="87100" y="47936"/>
                  </a:lnTo>
                  <a:lnTo>
                    <a:pt x="87100" y="47936"/>
                  </a:lnTo>
                  <a:lnTo>
                    <a:pt x="87100" y="47936"/>
                  </a:lnTo>
                  <a:lnTo>
                    <a:pt x="87265" y="47936"/>
                  </a:lnTo>
                  <a:lnTo>
                    <a:pt x="87265" y="47936"/>
                  </a:lnTo>
                  <a:lnTo>
                    <a:pt x="87676" y="47936"/>
                  </a:lnTo>
                  <a:lnTo>
                    <a:pt x="87676" y="47936"/>
                  </a:lnTo>
                  <a:lnTo>
                    <a:pt x="87676" y="47936"/>
                  </a:lnTo>
                  <a:lnTo>
                    <a:pt x="87429" y="48730"/>
                  </a:lnTo>
                  <a:lnTo>
                    <a:pt x="87265" y="48730"/>
                  </a:lnTo>
                  <a:lnTo>
                    <a:pt x="87429" y="48730"/>
                  </a:lnTo>
                  <a:lnTo>
                    <a:pt x="87429" y="48730"/>
                  </a:lnTo>
                  <a:lnTo>
                    <a:pt x="87429" y="49047"/>
                  </a:lnTo>
                  <a:lnTo>
                    <a:pt x="87676" y="49523"/>
                  </a:lnTo>
                  <a:lnTo>
                    <a:pt x="87840" y="49841"/>
                  </a:lnTo>
                  <a:lnTo>
                    <a:pt x="87840" y="49841"/>
                  </a:lnTo>
                  <a:lnTo>
                    <a:pt x="87840" y="49841"/>
                  </a:lnTo>
                  <a:lnTo>
                    <a:pt x="87840" y="50317"/>
                  </a:lnTo>
                  <a:lnTo>
                    <a:pt x="87840" y="50317"/>
                  </a:lnTo>
                  <a:lnTo>
                    <a:pt x="87840" y="50317"/>
                  </a:lnTo>
                  <a:lnTo>
                    <a:pt x="88252" y="50317"/>
                  </a:lnTo>
                  <a:lnTo>
                    <a:pt x="88252" y="50317"/>
                  </a:lnTo>
                  <a:lnTo>
                    <a:pt x="88416" y="50317"/>
                  </a:lnTo>
                  <a:lnTo>
                    <a:pt x="88252" y="50317"/>
                  </a:lnTo>
                  <a:lnTo>
                    <a:pt x="88252" y="50317"/>
                  </a:lnTo>
                  <a:lnTo>
                    <a:pt x="88005" y="50634"/>
                  </a:lnTo>
                  <a:lnTo>
                    <a:pt x="88005" y="50634"/>
                  </a:lnTo>
                  <a:lnTo>
                    <a:pt x="88005" y="50634"/>
                  </a:lnTo>
                  <a:lnTo>
                    <a:pt x="88581" y="50634"/>
                  </a:lnTo>
                  <a:lnTo>
                    <a:pt x="88581" y="50634"/>
                  </a:lnTo>
                  <a:lnTo>
                    <a:pt x="88827" y="50952"/>
                  </a:lnTo>
                  <a:lnTo>
                    <a:pt x="88827" y="50952"/>
                  </a:lnTo>
                  <a:lnTo>
                    <a:pt x="88827" y="50952"/>
                  </a:lnTo>
                  <a:lnTo>
                    <a:pt x="88827" y="50952"/>
                  </a:lnTo>
                  <a:lnTo>
                    <a:pt x="88992" y="50952"/>
                  </a:lnTo>
                  <a:lnTo>
                    <a:pt x="88992" y="50952"/>
                  </a:lnTo>
                  <a:lnTo>
                    <a:pt x="88827" y="51428"/>
                  </a:lnTo>
                  <a:lnTo>
                    <a:pt x="88581" y="51428"/>
                  </a:lnTo>
                  <a:lnTo>
                    <a:pt x="88416" y="51428"/>
                  </a:lnTo>
                  <a:lnTo>
                    <a:pt x="88252" y="51428"/>
                  </a:lnTo>
                  <a:lnTo>
                    <a:pt x="88005" y="51428"/>
                  </a:lnTo>
                  <a:lnTo>
                    <a:pt x="88005" y="51746"/>
                  </a:lnTo>
                  <a:lnTo>
                    <a:pt x="88252" y="51746"/>
                  </a:lnTo>
                  <a:lnTo>
                    <a:pt x="88252" y="52063"/>
                  </a:lnTo>
                  <a:lnTo>
                    <a:pt x="88416" y="52539"/>
                  </a:lnTo>
                  <a:lnTo>
                    <a:pt x="88416" y="52539"/>
                  </a:lnTo>
                  <a:lnTo>
                    <a:pt x="88581" y="52857"/>
                  </a:lnTo>
                  <a:lnTo>
                    <a:pt x="88992" y="52539"/>
                  </a:lnTo>
                  <a:lnTo>
                    <a:pt x="88992" y="52539"/>
                  </a:lnTo>
                  <a:lnTo>
                    <a:pt x="88827" y="52857"/>
                  </a:lnTo>
                  <a:lnTo>
                    <a:pt x="88581" y="52857"/>
                  </a:lnTo>
                  <a:lnTo>
                    <a:pt x="88827" y="52857"/>
                  </a:lnTo>
                  <a:lnTo>
                    <a:pt x="88992" y="53174"/>
                  </a:lnTo>
                  <a:lnTo>
                    <a:pt x="89239" y="53174"/>
                  </a:lnTo>
                  <a:lnTo>
                    <a:pt x="89403" y="53650"/>
                  </a:lnTo>
                  <a:lnTo>
                    <a:pt x="89568" y="53650"/>
                  </a:lnTo>
                  <a:lnTo>
                    <a:pt x="89814" y="53650"/>
                  </a:lnTo>
                  <a:lnTo>
                    <a:pt x="89814" y="53650"/>
                  </a:lnTo>
                  <a:lnTo>
                    <a:pt x="89979" y="53650"/>
                  </a:lnTo>
                  <a:lnTo>
                    <a:pt x="90143" y="53650"/>
                  </a:lnTo>
                  <a:lnTo>
                    <a:pt x="90390" y="53650"/>
                  </a:lnTo>
                  <a:lnTo>
                    <a:pt x="90390" y="53968"/>
                  </a:lnTo>
                  <a:lnTo>
                    <a:pt x="90555" y="54444"/>
                  </a:lnTo>
                  <a:lnTo>
                    <a:pt x="90555" y="54761"/>
                  </a:lnTo>
                  <a:lnTo>
                    <a:pt x="90966" y="54761"/>
                  </a:lnTo>
                  <a:lnTo>
                    <a:pt x="90966" y="55079"/>
                  </a:lnTo>
                  <a:lnTo>
                    <a:pt x="90966" y="55079"/>
                  </a:lnTo>
                  <a:lnTo>
                    <a:pt x="91130" y="55079"/>
                  </a:lnTo>
                  <a:lnTo>
                    <a:pt x="92282" y="55555"/>
                  </a:lnTo>
                  <a:lnTo>
                    <a:pt x="92282" y="55555"/>
                  </a:lnTo>
                  <a:lnTo>
                    <a:pt x="92282" y="55555"/>
                  </a:lnTo>
                  <a:lnTo>
                    <a:pt x="92529" y="55555"/>
                  </a:lnTo>
                  <a:lnTo>
                    <a:pt x="92858" y="55873"/>
                  </a:lnTo>
                  <a:lnTo>
                    <a:pt x="93104" y="55873"/>
                  </a:lnTo>
                  <a:lnTo>
                    <a:pt x="93269" y="56190"/>
                  </a:lnTo>
                  <a:lnTo>
                    <a:pt x="93269" y="56190"/>
                  </a:lnTo>
                  <a:lnTo>
                    <a:pt x="93433" y="56190"/>
                  </a:lnTo>
                  <a:lnTo>
                    <a:pt x="93680" y="56190"/>
                  </a:lnTo>
                  <a:lnTo>
                    <a:pt x="93680" y="56190"/>
                  </a:lnTo>
                  <a:lnTo>
                    <a:pt x="93680" y="55873"/>
                  </a:lnTo>
                  <a:lnTo>
                    <a:pt x="93680" y="55555"/>
                  </a:lnTo>
                  <a:lnTo>
                    <a:pt x="93845" y="55555"/>
                  </a:lnTo>
                  <a:lnTo>
                    <a:pt x="93845" y="55555"/>
                  </a:lnTo>
                  <a:lnTo>
                    <a:pt x="94009" y="55555"/>
                  </a:lnTo>
                  <a:lnTo>
                    <a:pt x="94009" y="55079"/>
                  </a:lnTo>
                  <a:lnTo>
                    <a:pt x="94009" y="55079"/>
                  </a:lnTo>
                  <a:lnTo>
                    <a:pt x="93845" y="55079"/>
                  </a:lnTo>
                  <a:lnTo>
                    <a:pt x="93845" y="54761"/>
                  </a:lnTo>
                  <a:lnTo>
                    <a:pt x="93680" y="54761"/>
                  </a:lnTo>
                  <a:lnTo>
                    <a:pt x="93680" y="54444"/>
                  </a:lnTo>
                  <a:lnTo>
                    <a:pt x="93680" y="54444"/>
                  </a:lnTo>
                  <a:lnTo>
                    <a:pt x="93680" y="53968"/>
                  </a:lnTo>
                  <a:lnTo>
                    <a:pt x="93433" y="53968"/>
                  </a:lnTo>
                  <a:lnTo>
                    <a:pt x="93269" y="53650"/>
                  </a:lnTo>
                  <a:lnTo>
                    <a:pt x="93269" y="53650"/>
                  </a:lnTo>
                  <a:lnTo>
                    <a:pt x="93104" y="53174"/>
                  </a:lnTo>
                  <a:lnTo>
                    <a:pt x="93104" y="53174"/>
                  </a:lnTo>
                  <a:lnTo>
                    <a:pt x="93104" y="53174"/>
                  </a:lnTo>
                  <a:lnTo>
                    <a:pt x="92858" y="52857"/>
                  </a:lnTo>
                  <a:lnTo>
                    <a:pt x="92693" y="52857"/>
                  </a:lnTo>
                  <a:lnTo>
                    <a:pt x="92693" y="52857"/>
                  </a:lnTo>
                  <a:lnTo>
                    <a:pt x="92858" y="52539"/>
                  </a:lnTo>
                  <a:lnTo>
                    <a:pt x="92858" y="52539"/>
                  </a:lnTo>
                  <a:lnTo>
                    <a:pt x="92693" y="52539"/>
                  </a:lnTo>
                  <a:lnTo>
                    <a:pt x="92529" y="52539"/>
                  </a:lnTo>
                  <a:lnTo>
                    <a:pt x="92282" y="52063"/>
                  </a:lnTo>
                  <a:lnTo>
                    <a:pt x="92282" y="52063"/>
                  </a:lnTo>
                  <a:lnTo>
                    <a:pt x="92282" y="51746"/>
                  </a:lnTo>
                  <a:lnTo>
                    <a:pt x="92117" y="51428"/>
                  </a:lnTo>
                  <a:lnTo>
                    <a:pt x="92117" y="51428"/>
                  </a:lnTo>
                  <a:lnTo>
                    <a:pt x="92117" y="50952"/>
                  </a:lnTo>
                  <a:lnTo>
                    <a:pt x="91953" y="50634"/>
                  </a:lnTo>
                  <a:lnTo>
                    <a:pt x="92117" y="50634"/>
                  </a:lnTo>
                  <a:lnTo>
                    <a:pt x="92282" y="50634"/>
                  </a:lnTo>
                  <a:lnTo>
                    <a:pt x="92529" y="50634"/>
                  </a:lnTo>
                  <a:lnTo>
                    <a:pt x="92693" y="50952"/>
                  </a:lnTo>
                  <a:lnTo>
                    <a:pt x="93104" y="51428"/>
                  </a:lnTo>
                  <a:lnTo>
                    <a:pt x="93104" y="51428"/>
                  </a:lnTo>
                  <a:lnTo>
                    <a:pt x="93104" y="51428"/>
                  </a:lnTo>
                  <a:lnTo>
                    <a:pt x="93104" y="51428"/>
                  </a:lnTo>
                  <a:lnTo>
                    <a:pt x="93269" y="50952"/>
                  </a:lnTo>
                  <a:lnTo>
                    <a:pt x="93269" y="50634"/>
                  </a:lnTo>
                  <a:lnTo>
                    <a:pt x="93269" y="50634"/>
                  </a:lnTo>
                  <a:lnTo>
                    <a:pt x="93269" y="50952"/>
                  </a:lnTo>
                  <a:lnTo>
                    <a:pt x="93433" y="51428"/>
                  </a:lnTo>
                  <a:lnTo>
                    <a:pt x="93680" y="51746"/>
                  </a:lnTo>
                  <a:lnTo>
                    <a:pt x="93680" y="51746"/>
                  </a:lnTo>
                  <a:lnTo>
                    <a:pt x="93845" y="51746"/>
                  </a:lnTo>
                  <a:lnTo>
                    <a:pt x="93845" y="51746"/>
                  </a:lnTo>
                  <a:lnTo>
                    <a:pt x="93845" y="52063"/>
                  </a:lnTo>
                  <a:lnTo>
                    <a:pt x="93845" y="52063"/>
                  </a:lnTo>
                  <a:lnTo>
                    <a:pt x="94009" y="52063"/>
                  </a:lnTo>
                  <a:lnTo>
                    <a:pt x="94009" y="52539"/>
                  </a:lnTo>
                  <a:lnTo>
                    <a:pt x="94009" y="52539"/>
                  </a:lnTo>
                  <a:lnTo>
                    <a:pt x="94009" y="52539"/>
                  </a:lnTo>
                  <a:lnTo>
                    <a:pt x="94009" y="52539"/>
                  </a:lnTo>
                  <a:lnTo>
                    <a:pt x="94009" y="52539"/>
                  </a:lnTo>
                  <a:lnTo>
                    <a:pt x="94009" y="52539"/>
                  </a:lnTo>
                  <a:lnTo>
                    <a:pt x="94256" y="52063"/>
                  </a:lnTo>
                  <a:lnTo>
                    <a:pt x="94256" y="52063"/>
                  </a:lnTo>
                  <a:lnTo>
                    <a:pt x="94256" y="52063"/>
                  </a:lnTo>
                  <a:lnTo>
                    <a:pt x="94256" y="52539"/>
                  </a:lnTo>
                  <a:lnTo>
                    <a:pt x="94256" y="52857"/>
                  </a:lnTo>
                  <a:lnTo>
                    <a:pt x="94420" y="52857"/>
                  </a:lnTo>
                  <a:lnTo>
                    <a:pt x="94420" y="52857"/>
                  </a:lnTo>
                  <a:lnTo>
                    <a:pt x="94420" y="52857"/>
                  </a:lnTo>
                  <a:lnTo>
                    <a:pt x="94667" y="52539"/>
                  </a:lnTo>
                  <a:lnTo>
                    <a:pt x="94667" y="52539"/>
                  </a:lnTo>
                  <a:lnTo>
                    <a:pt x="94667" y="52539"/>
                  </a:lnTo>
                  <a:lnTo>
                    <a:pt x="94832" y="52857"/>
                  </a:lnTo>
                  <a:lnTo>
                    <a:pt x="94832" y="52857"/>
                  </a:lnTo>
                  <a:lnTo>
                    <a:pt x="94832" y="52857"/>
                  </a:lnTo>
                  <a:lnTo>
                    <a:pt x="94832" y="53174"/>
                  </a:lnTo>
                  <a:lnTo>
                    <a:pt x="94832" y="53174"/>
                  </a:lnTo>
                  <a:lnTo>
                    <a:pt x="94996" y="52857"/>
                  </a:lnTo>
                  <a:lnTo>
                    <a:pt x="94996" y="52857"/>
                  </a:lnTo>
                  <a:lnTo>
                    <a:pt x="95243" y="53174"/>
                  </a:lnTo>
                  <a:lnTo>
                    <a:pt x="95243" y="53650"/>
                  </a:lnTo>
                  <a:lnTo>
                    <a:pt x="95407" y="53650"/>
                  </a:lnTo>
                  <a:lnTo>
                    <a:pt x="95407" y="53968"/>
                  </a:lnTo>
                  <a:lnTo>
                    <a:pt x="95407" y="53968"/>
                  </a:lnTo>
                  <a:lnTo>
                    <a:pt x="95572" y="53968"/>
                  </a:lnTo>
                  <a:lnTo>
                    <a:pt x="95572" y="53650"/>
                  </a:lnTo>
                  <a:lnTo>
                    <a:pt x="95572" y="52857"/>
                  </a:lnTo>
                  <a:lnTo>
                    <a:pt x="95819" y="52857"/>
                  </a:lnTo>
                  <a:lnTo>
                    <a:pt x="95983" y="53174"/>
                  </a:lnTo>
                  <a:lnTo>
                    <a:pt x="95983" y="53174"/>
                  </a:lnTo>
                  <a:lnTo>
                    <a:pt x="96148" y="53174"/>
                  </a:lnTo>
                  <a:lnTo>
                    <a:pt x="96148" y="53174"/>
                  </a:lnTo>
                  <a:lnTo>
                    <a:pt x="96148" y="52857"/>
                  </a:lnTo>
                  <a:lnTo>
                    <a:pt x="96148" y="52857"/>
                  </a:lnTo>
                  <a:lnTo>
                    <a:pt x="96148" y="52857"/>
                  </a:lnTo>
                  <a:lnTo>
                    <a:pt x="96148" y="52539"/>
                  </a:lnTo>
                  <a:lnTo>
                    <a:pt x="96148" y="52539"/>
                  </a:lnTo>
                  <a:lnTo>
                    <a:pt x="96148" y="52063"/>
                  </a:lnTo>
                  <a:lnTo>
                    <a:pt x="96148" y="52063"/>
                  </a:lnTo>
                  <a:lnTo>
                    <a:pt x="96148" y="52063"/>
                  </a:lnTo>
                  <a:lnTo>
                    <a:pt x="96148" y="52063"/>
                  </a:lnTo>
                  <a:lnTo>
                    <a:pt x="96148" y="51746"/>
                  </a:lnTo>
                  <a:lnTo>
                    <a:pt x="96394" y="51428"/>
                  </a:lnTo>
                  <a:lnTo>
                    <a:pt x="96394" y="50952"/>
                  </a:lnTo>
                  <a:lnTo>
                    <a:pt x="96394" y="50634"/>
                  </a:lnTo>
                  <a:lnTo>
                    <a:pt x="96394" y="50634"/>
                  </a:lnTo>
                  <a:lnTo>
                    <a:pt x="96394" y="50634"/>
                  </a:lnTo>
                  <a:lnTo>
                    <a:pt x="96559" y="50952"/>
                  </a:lnTo>
                  <a:lnTo>
                    <a:pt x="96559" y="50952"/>
                  </a:lnTo>
                  <a:lnTo>
                    <a:pt x="96559" y="50952"/>
                  </a:lnTo>
                  <a:lnTo>
                    <a:pt x="96559" y="52063"/>
                  </a:lnTo>
                  <a:lnTo>
                    <a:pt x="96559" y="52063"/>
                  </a:lnTo>
                  <a:lnTo>
                    <a:pt x="96559" y="52063"/>
                  </a:lnTo>
                  <a:lnTo>
                    <a:pt x="96723" y="52063"/>
                  </a:lnTo>
                  <a:lnTo>
                    <a:pt x="96723" y="51746"/>
                  </a:lnTo>
                  <a:lnTo>
                    <a:pt x="96970" y="51428"/>
                  </a:lnTo>
                  <a:lnTo>
                    <a:pt x="96970" y="50952"/>
                  </a:lnTo>
                  <a:lnTo>
                    <a:pt x="97135" y="50634"/>
                  </a:lnTo>
                  <a:lnTo>
                    <a:pt x="97135" y="50634"/>
                  </a:lnTo>
                  <a:lnTo>
                    <a:pt x="97381" y="50634"/>
                  </a:lnTo>
                  <a:lnTo>
                    <a:pt x="97381" y="50634"/>
                  </a:lnTo>
                  <a:lnTo>
                    <a:pt x="97381" y="50317"/>
                  </a:lnTo>
                  <a:lnTo>
                    <a:pt x="97135" y="50317"/>
                  </a:lnTo>
                  <a:lnTo>
                    <a:pt x="96970" y="50317"/>
                  </a:lnTo>
                  <a:lnTo>
                    <a:pt x="96970" y="50317"/>
                  </a:lnTo>
                  <a:lnTo>
                    <a:pt x="97135" y="49841"/>
                  </a:lnTo>
                  <a:lnTo>
                    <a:pt x="97381" y="49841"/>
                  </a:lnTo>
                  <a:lnTo>
                    <a:pt x="97381" y="49841"/>
                  </a:lnTo>
                  <a:lnTo>
                    <a:pt x="97135" y="49841"/>
                  </a:lnTo>
                  <a:lnTo>
                    <a:pt x="96970" y="49841"/>
                  </a:lnTo>
                  <a:lnTo>
                    <a:pt x="96723" y="49841"/>
                  </a:lnTo>
                  <a:lnTo>
                    <a:pt x="96723" y="49841"/>
                  </a:lnTo>
                  <a:lnTo>
                    <a:pt x="96723" y="49841"/>
                  </a:lnTo>
                  <a:lnTo>
                    <a:pt x="96723" y="49523"/>
                  </a:lnTo>
                  <a:lnTo>
                    <a:pt x="96723" y="49523"/>
                  </a:lnTo>
                  <a:lnTo>
                    <a:pt x="96723" y="49523"/>
                  </a:lnTo>
                  <a:lnTo>
                    <a:pt x="96723" y="49047"/>
                  </a:lnTo>
                  <a:lnTo>
                    <a:pt x="96559" y="49047"/>
                  </a:lnTo>
                  <a:lnTo>
                    <a:pt x="96394" y="49047"/>
                  </a:lnTo>
                  <a:lnTo>
                    <a:pt x="96394" y="48730"/>
                  </a:lnTo>
                  <a:lnTo>
                    <a:pt x="96559" y="48730"/>
                  </a:lnTo>
                  <a:lnTo>
                    <a:pt x="96723" y="48730"/>
                  </a:lnTo>
                  <a:lnTo>
                    <a:pt x="96970" y="48730"/>
                  </a:lnTo>
                  <a:lnTo>
                    <a:pt x="97135" y="48412"/>
                  </a:lnTo>
                  <a:lnTo>
                    <a:pt x="97135" y="48412"/>
                  </a:lnTo>
                  <a:lnTo>
                    <a:pt x="97135" y="48412"/>
                  </a:lnTo>
                  <a:lnTo>
                    <a:pt x="96723" y="48412"/>
                  </a:lnTo>
                  <a:lnTo>
                    <a:pt x="96723" y="48412"/>
                  </a:lnTo>
                  <a:lnTo>
                    <a:pt x="96723" y="48412"/>
                  </a:lnTo>
                  <a:lnTo>
                    <a:pt x="96970" y="47936"/>
                  </a:lnTo>
                  <a:lnTo>
                    <a:pt x="97135" y="47936"/>
                  </a:lnTo>
                  <a:lnTo>
                    <a:pt x="96970" y="47619"/>
                  </a:lnTo>
                  <a:lnTo>
                    <a:pt x="96970" y="47619"/>
                  </a:lnTo>
                  <a:lnTo>
                    <a:pt x="96723" y="47619"/>
                  </a:lnTo>
                  <a:lnTo>
                    <a:pt x="96723" y="47619"/>
                  </a:lnTo>
                  <a:lnTo>
                    <a:pt x="96723" y="47301"/>
                  </a:lnTo>
                  <a:lnTo>
                    <a:pt x="96559" y="47301"/>
                  </a:lnTo>
                  <a:lnTo>
                    <a:pt x="96394" y="47301"/>
                  </a:lnTo>
                  <a:lnTo>
                    <a:pt x="96394" y="47619"/>
                  </a:lnTo>
                  <a:lnTo>
                    <a:pt x="96148" y="47619"/>
                  </a:lnTo>
                  <a:lnTo>
                    <a:pt x="96148" y="47619"/>
                  </a:lnTo>
                  <a:lnTo>
                    <a:pt x="95983" y="47619"/>
                  </a:lnTo>
                  <a:lnTo>
                    <a:pt x="95983" y="47619"/>
                  </a:lnTo>
                  <a:lnTo>
                    <a:pt x="96148" y="47301"/>
                  </a:lnTo>
                  <a:lnTo>
                    <a:pt x="96148" y="47301"/>
                  </a:lnTo>
                  <a:lnTo>
                    <a:pt x="96148" y="47301"/>
                  </a:lnTo>
                  <a:lnTo>
                    <a:pt x="95983" y="46825"/>
                  </a:lnTo>
                  <a:lnTo>
                    <a:pt x="95819" y="46825"/>
                  </a:lnTo>
                  <a:lnTo>
                    <a:pt x="95819" y="46825"/>
                  </a:lnTo>
                  <a:lnTo>
                    <a:pt x="95572" y="47301"/>
                  </a:lnTo>
                  <a:lnTo>
                    <a:pt x="95572" y="47301"/>
                  </a:lnTo>
                  <a:lnTo>
                    <a:pt x="95572" y="47301"/>
                  </a:lnTo>
                  <a:lnTo>
                    <a:pt x="95819" y="46825"/>
                  </a:lnTo>
                  <a:lnTo>
                    <a:pt x="95819" y="46507"/>
                  </a:lnTo>
                  <a:lnTo>
                    <a:pt x="95819" y="46507"/>
                  </a:lnTo>
                  <a:lnTo>
                    <a:pt x="95572" y="46507"/>
                  </a:lnTo>
                  <a:lnTo>
                    <a:pt x="95572" y="46507"/>
                  </a:lnTo>
                  <a:lnTo>
                    <a:pt x="95572" y="46507"/>
                  </a:lnTo>
                  <a:lnTo>
                    <a:pt x="95572" y="46507"/>
                  </a:lnTo>
                  <a:lnTo>
                    <a:pt x="95572" y="46507"/>
                  </a:lnTo>
                  <a:lnTo>
                    <a:pt x="95572" y="46507"/>
                  </a:lnTo>
                  <a:lnTo>
                    <a:pt x="95572" y="46190"/>
                  </a:lnTo>
                  <a:lnTo>
                    <a:pt x="95572" y="46190"/>
                  </a:lnTo>
                  <a:lnTo>
                    <a:pt x="95407" y="45714"/>
                  </a:lnTo>
                  <a:lnTo>
                    <a:pt x="95407" y="45714"/>
                  </a:lnTo>
                  <a:lnTo>
                    <a:pt x="95407" y="45714"/>
                  </a:lnTo>
                  <a:lnTo>
                    <a:pt x="95819" y="45714"/>
                  </a:lnTo>
                  <a:lnTo>
                    <a:pt x="95819" y="45714"/>
                  </a:lnTo>
                  <a:lnTo>
                    <a:pt x="95572" y="45396"/>
                  </a:lnTo>
                  <a:lnTo>
                    <a:pt x="95572" y="45396"/>
                  </a:lnTo>
                  <a:lnTo>
                    <a:pt x="95572" y="45396"/>
                  </a:lnTo>
                  <a:lnTo>
                    <a:pt x="95572" y="44920"/>
                  </a:lnTo>
                  <a:lnTo>
                    <a:pt x="95407" y="44920"/>
                  </a:lnTo>
                  <a:lnTo>
                    <a:pt x="95407" y="44920"/>
                  </a:lnTo>
                  <a:lnTo>
                    <a:pt x="95407" y="44920"/>
                  </a:lnTo>
                  <a:lnTo>
                    <a:pt x="95243" y="44920"/>
                  </a:lnTo>
                  <a:lnTo>
                    <a:pt x="94996" y="45396"/>
                  </a:lnTo>
                  <a:lnTo>
                    <a:pt x="94832" y="45396"/>
                  </a:lnTo>
                  <a:lnTo>
                    <a:pt x="94832" y="44920"/>
                  </a:lnTo>
                  <a:lnTo>
                    <a:pt x="94996" y="44920"/>
                  </a:lnTo>
                  <a:lnTo>
                    <a:pt x="95243" y="44603"/>
                  </a:lnTo>
                  <a:lnTo>
                    <a:pt x="95243" y="44603"/>
                  </a:lnTo>
                  <a:lnTo>
                    <a:pt x="94996" y="44603"/>
                  </a:lnTo>
                  <a:lnTo>
                    <a:pt x="94996" y="44603"/>
                  </a:lnTo>
                  <a:lnTo>
                    <a:pt x="94832" y="44285"/>
                  </a:lnTo>
                  <a:lnTo>
                    <a:pt x="94832" y="44285"/>
                  </a:lnTo>
                  <a:lnTo>
                    <a:pt x="94996" y="43809"/>
                  </a:lnTo>
                  <a:lnTo>
                    <a:pt x="94996" y="43809"/>
                  </a:lnTo>
                  <a:lnTo>
                    <a:pt x="94996" y="43809"/>
                  </a:lnTo>
                  <a:lnTo>
                    <a:pt x="94832" y="43492"/>
                  </a:lnTo>
                  <a:lnTo>
                    <a:pt x="94832" y="43492"/>
                  </a:lnTo>
                  <a:lnTo>
                    <a:pt x="94667" y="43492"/>
                  </a:lnTo>
                  <a:lnTo>
                    <a:pt x="94667" y="43492"/>
                  </a:lnTo>
                  <a:lnTo>
                    <a:pt x="94832" y="43174"/>
                  </a:lnTo>
                  <a:lnTo>
                    <a:pt x="94996" y="43174"/>
                  </a:lnTo>
                  <a:lnTo>
                    <a:pt x="95243" y="43492"/>
                  </a:lnTo>
                  <a:lnTo>
                    <a:pt x="95407" y="43809"/>
                  </a:lnTo>
                  <a:lnTo>
                    <a:pt x="95407" y="43809"/>
                  </a:lnTo>
                  <a:lnTo>
                    <a:pt x="95819" y="44285"/>
                  </a:lnTo>
                  <a:lnTo>
                    <a:pt x="95819" y="44285"/>
                  </a:lnTo>
                  <a:lnTo>
                    <a:pt x="95983" y="44285"/>
                  </a:lnTo>
                  <a:lnTo>
                    <a:pt x="95983" y="44285"/>
                  </a:lnTo>
                  <a:lnTo>
                    <a:pt x="96148" y="43809"/>
                  </a:lnTo>
                  <a:lnTo>
                    <a:pt x="96148" y="43492"/>
                  </a:lnTo>
                  <a:lnTo>
                    <a:pt x="95983" y="43492"/>
                  </a:lnTo>
                  <a:lnTo>
                    <a:pt x="95819" y="43174"/>
                  </a:lnTo>
                  <a:lnTo>
                    <a:pt x="95819" y="42698"/>
                  </a:lnTo>
                  <a:lnTo>
                    <a:pt x="95819" y="42698"/>
                  </a:lnTo>
                  <a:lnTo>
                    <a:pt x="95819" y="42380"/>
                  </a:lnTo>
                  <a:lnTo>
                    <a:pt x="95983" y="42698"/>
                  </a:lnTo>
                  <a:lnTo>
                    <a:pt x="96148" y="42698"/>
                  </a:lnTo>
                  <a:lnTo>
                    <a:pt x="96394" y="43174"/>
                  </a:lnTo>
                  <a:lnTo>
                    <a:pt x="96394" y="43174"/>
                  </a:lnTo>
                  <a:lnTo>
                    <a:pt x="96394" y="43174"/>
                  </a:lnTo>
                  <a:lnTo>
                    <a:pt x="96559" y="43174"/>
                  </a:lnTo>
                  <a:lnTo>
                    <a:pt x="96559" y="42698"/>
                  </a:lnTo>
                  <a:lnTo>
                    <a:pt x="96559" y="42380"/>
                  </a:lnTo>
                  <a:lnTo>
                    <a:pt x="96559" y="42380"/>
                  </a:lnTo>
                  <a:lnTo>
                    <a:pt x="96723" y="42380"/>
                  </a:lnTo>
                  <a:lnTo>
                    <a:pt x="96723" y="42380"/>
                  </a:lnTo>
                  <a:lnTo>
                    <a:pt x="96970" y="42380"/>
                  </a:lnTo>
                  <a:lnTo>
                    <a:pt x="96970" y="42380"/>
                  </a:lnTo>
                  <a:lnTo>
                    <a:pt x="96970" y="42063"/>
                  </a:lnTo>
                  <a:lnTo>
                    <a:pt x="96970" y="42063"/>
                  </a:lnTo>
                  <a:lnTo>
                    <a:pt x="97135" y="42380"/>
                  </a:lnTo>
                  <a:lnTo>
                    <a:pt x="97135" y="42380"/>
                  </a:lnTo>
                  <a:lnTo>
                    <a:pt x="97135" y="42380"/>
                  </a:lnTo>
                  <a:lnTo>
                    <a:pt x="97135" y="42698"/>
                  </a:lnTo>
                  <a:lnTo>
                    <a:pt x="97381" y="43174"/>
                  </a:lnTo>
                  <a:lnTo>
                    <a:pt x="97381" y="43174"/>
                  </a:lnTo>
                  <a:lnTo>
                    <a:pt x="97546" y="43174"/>
                  </a:lnTo>
                  <a:lnTo>
                    <a:pt x="97546" y="43492"/>
                  </a:lnTo>
                  <a:lnTo>
                    <a:pt x="97546" y="43492"/>
                  </a:lnTo>
                  <a:lnTo>
                    <a:pt x="97710" y="43492"/>
                  </a:lnTo>
                  <a:lnTo>
                    <a:pt x="97957" y="43492"/>
                  </a:lnTo>
                  <a:lnTo>
                    <a:pt x="97957" y="43492"/>
                  </a:lnTo>
                  <a:lnTo>
                    <a:pt x="98122" y="43492"/>
                  </a:lnTo>
                  <a:lnTo>
                    <a:pt x="98122" y="43492"/>
                  </a:lnTo>
                  <a:lnTo>
                    <a:pt x="97710" y="43809"/>
                  </a:lnTo>
                  <a:lnTo>
                    <a:pt x="97710" y="43809"/>
                  </a:lnTo>
                  <a:lnTo>
                    <a:pt x="97710" y="43809"/>
                  </a:lnTo>
                  <a:lnTo>
                    <a:pt x="98122" y="43809"/>
                  </a:lnTo>
                  <a:lnTo>
                    <a:pt x="98286" y="43809"/>
                  </a:lnTo>
                  <a:lnTo>
                    <a:pt x="98286" y="43809"/>
                  </a:lnTo>
                  <a:lnTo>
                    <a:pt x="98697" y="43809"/>
                  </a:lnTo>
                  <a:lnTo>
                    <a:pt x="98862" y="43492"/>
                  </a:lnTo>
                  <a:lnTo>
                    <a:pt x="99273" y="43174"/>
                  </a:lnTo>
                  <a:lnTo>
                    <a:pt x="99273" y="43174"/>
                  </a:lnTo>
                  <a:lnTo>
                    <a:pt x="99684" y="43174"/>
                  </a:lnTo>
                  <a:lnTo>
                    <a:pt x="99684" y="43174"/>
                  </a:lnTo>
                  <a:lnTo>
                    <a:pt x="99437" y="43174"/>
                  </a:lnTo>
                  <a:lnTo>
                    <a:pt x="99273" y="43492"/>
                  </a:lnTo>
                  <a:lnTo>
                    <a:pt x="99108" y="43809"/>
                  </a:lnTo>
                  <a:lnTo>
                    <a:pt x="98862" y="43809"/>
                  </a:lnTo>
                  <a:lnTo>
                    <a:pt x="98697" y="43809"/>
                  </a:lnTo>
                  <a:lnTo>
                    <a:pt x="98533" y="44285"/>
                  </a:lnTo>
                  <a:lnTo>
                    <a:pt x="98286" y="44285"/>
                  </a:lnTo>
                  <a:lnTo>
                    <a:pt x="98122" y="44603"/>
                  </a:lnTo>
                  <a:lnTo>
                    <a:pt x="98122" y="44603"/>
                  </a:lnTo>
                  <a:lnTo>
                    <a:pt x="98122" y="44603"/>
                  </a:lnTo>
                  <a:lnTo>
                    <a:pt x="98122" y="44920"/>
                  </a:lnTo>
                  <a:lnTo>
                    <a:pt x="98122" y="44920"/>
                  </a:lnTo>
                  <a:lnTo>
                    <a:pt x="98122" y="44920"/>
                  </a:lnTo>
                  <a:lnTo>
                    <a:pt x="98122" y="45396"/>
                  </a:lnTo>
                  <a:lnTo>
                    <a:pt x="98122" y="45396"/>
                  </a:lnTo>
                  <a:lnTo>
                    <a:pt x="98122" y="45714"/>
                  </a:lnTo>
                  <a:lnTo>
                    <a:pt x="98286" y="46190"/>
                  </a:lnTo>
                  <a:lnTo>
                    <a:pt x="98286" y="46190"/>
                  </a:lnTo>
                  <a:lnTo>
                    <a:pt x="98286" y="46507"/>
                  </a:lnTo>
                  <a:lnTo>
                    <a:pt x="98286" y="46507"/>
                  </a:lnTo>
                  <a:lnTo>
                    <a:pt x="98697" y="46190"/>
                  </a:lnTo>
                  <a:lnTo>
                    <a:pt x="98862" y="45714"/>
                  </a:lnTo>
                  <a:lnTo>
                    <a:pt x="98862" y="45714"/>
                  </a:lnTo>
                  <a:lnTo>
                    <a:pt x="99108" y="45714"/>
                  </a:lnTo>
                  <a:lnTo>
                    <a:pt x="98862" y="45714"/>
                  </a:lnTo>
                  <a:lnTo>
                    <a:pt x="98697" y="46507"/>
                  </a:lnTo>
                  <a:lnTo>
                    <a:pt x="98697" y="46507"/>
                  </a:lnTo>
                  <a:lnTo>
                    <a:pt x="98862" y="46507"/>
                  </a:lnTo>
                  <a:lnTo>
                    <a:pt x="98862" y="46507"/>
                  </a:lnTo>
                  <a:lnTo>
                    <a:pt x="99108" y="46507"/>
                  </a:lnTo>
                  <a:lnTo>
                    <a:pt x="99108" y="46507"/>
                  </a:lnTo>
                  <a:lnTo>
                    <a:pt x="99273" y="46507"/>
                  </a:lnTo>
                  <a:lnTo>
                    <a:pt x="99273" y="46825"/>
                  </a:lnTo>
                  <a:lnTo>
                    <a:pt x="99273" y="46825"/>
                  </a:lnTo>
                  <a:lnTo>
                    <a:pt x="99273" y="47301"/>
                  </a:lnTo>
                  <a:lnTo>
                    <a:pt x="99437" y="46825"/>
                  </a:lnTo>
                  <a:lnTo>
                    <a:pt x="99684" y="46507"/>
                  </a:lnTo>
                  <a:lnTo>
                    <a:pt x="99849" y="46190"/>
                  </a:lnTo>
                  <a:lnTo>
                    <a:pt x="100260" y="45396"/>
                  </a:lnTo>
                  <a:lnTo>
                    <a:pt x="100260" y="44920"/>
                  </a:lnTo>
                  <a:lnTo>
                    <a:pt x="100095" y="44920"/>
                  </a:lnTo>
                  <a:lnTo>
                    <a:pt x="99849" y="44920"/>
                  </a:lnTo>
                  <a:lnTo>
                    <a:pt x="99849" y="44920"/>
                  </a:lnTo>
                  <a:lnTo>
                    <a:pt x="100260" y="44603"/>
                  </a:lnTo>
                  <a:lnTo>
                    <a:pt x="100260" y="44603"/>
                  </a:lnTo>
                  <a:lnTo>
                    <a:pt x="100260" y="44285"/>
                  </a:lnTo>
                  <a:lnTo>
                    <a:pt x="100260" y="44285"/>
                  </a:lnTo>
                  <a:lnTo>
                    <a:pt x="100424" y="44920"/>
                  </a:lnTo>
                  <a:lnTo>
                    <a:pt x="100424" y="44920"/>
                  </a:lnTo>
                  <a:lnTo>
                    <a:pt x="100671" y="44920"/>
                  </a:lnTo>
                  <a:lnTo>
                    <a:pt x="100836" y="44920"/>
                  </a:lnTo>
                  <a:lnTo>
                    <a:pt x="101000" y="44920"/>
                  </a:lnTo>
                  <a:lnTo>
                    <a:pt x="101000" y="44920"/>
                  </a:lnTo>
                  <a:lnTo>
                    <a:pt x="101247" y="44603"/>
                  </a:lnTo>
                  <a:lnTo>
                    <a:pt x="101411" y="44603"/>
                  </a:lnTo>
                  <a:lnTo>
                    <a:pt x="101576" y="44285"/>
                  </a:lnTo>
                  <a:lnTo>
                    <a:pt x="101576" y="44285"/>
                  </a:lnTo>
                  <a:lnTo>
                    <a:pt x="101576" y="44285"/>
                  </a:lnTo>
                  <a:lnTo>
                    <a:pt x="101576" y="44285"/>
                  </a:lnTo>
                  <a:lnTo>
                    <a:pt x="101576" y="43809"/>
                  </a:lnTo>
                  <a:lnTo>
                    <a:pt x="101411" y="43809"/>
                  </a:lnTo>
                  <a:lnTo>
                    <a:pt x="101411" y="43809"/>
                  </a:lnTo>
                  <a:lnTo>
                    <a:pt x="101576" y="43809"/>
                  </a:lnTo>
                  <a:lnTo>
                    <a:pt x="101823" y="43809"/>
                  </a:lnTo>
                  <a:lnTo>
                    <a:pt x="101987" y="43809"/>
                  </a:lnTo>
                  <a:lnTo>
                    <a:pt x="102152" y="43809"/>
                  </a:lnTo>
                  <a:lnTo>
                    <a:pt x="102152" y="43809"/>
                  </a:lnTo>
                  <a:lnTo>
                    <a:pt x="101987" y="43492"/>
                  </a:lnTo>
                  <a:lnTo>
                    <a:pt x="101823" y="43174"/>
                  </a:lnTo>
                  <a:lnTo>
                    <a:pt x="101823" y="43174"/>
                  </a:lnTo>
                  <a:lnTo>
                    <a:pt x="101987" y="43174"/>
                  </a:lnTo>
                  <a:lnTo>
                    <a:pt x="101987" y="43174"/>
                  </a:lnTo>
                  <a:lnTo>
                    <a:pt x="101823" y="42698"/>
                  </a:lnTo>
                  <a:lnTo>
                    <a:pt x="101987" y="42698"/>
                  </a:lnTo>
                  <a:lnTo>
                    <a:pt x="102152" y="42698"/>
                  </a:lnTo>
                  <a:lnTo>
                    <a:pt x="102152" y="42698"/>
                  </a:lnTo>
                  <a:lnTo>
                    <a:pt x="102152" y="43174"/>
                  </a:lnTo>
                  <a:lnTo>
                    <a:pt x="102563" y="43174"/>
                  </a:lnTo>
                  <a:lnTo>
                    <a:pt x="102563" y="43174"/>
                  </a:lnTo>
                  <a:lnTo>
                    <a:pt x="102974" y="42698"/>
                  </a:lnTo>
                  <a:lnTo>
                    <a:pt x="102974" y="42698"/>
                  </a:lnTo>
                  <a:lnTo>
                    <a:pt x="102974" y="42380"/>
                  </a:lnTo>
                  <a:lnTo>
                    <a:pt x="102563" y="42063"/>
                  </a:lnTo>
                  <a:lnTo>
                    <a:pt x="102563" y="42063"/>
                  </a:lnTo>
                  <a:lnTo>
                    <a:pt x="102810" y="42063"/>
                  </a:lnTo>
                  <a:lnTo>
                    <a:pt x="102974" y="42063"/>
                  </a:lnTo>
                  <a:lnTo>
                    <a:pt x="102974" y="42063"/>
                  </a:lnTo>
                  <a:lnTo>
                    <a:pt x="103139" y="42380"/>
                  </a:lnTo>
                  <a:lnTo>
                    <a:pt x="103385" y="42380"/>
                  </a:lnTo>
                  <a:lnTo>
                    <a:pt x="103550" y="42063"/>
                  </a:lnTo>
                  <a:lnTo>
                    <a:pt x="103550" y="42063"/>
                  </a:lnTo>
                  <a:lnTo>
                    <a:pt x="103550" y="42063"/>
                  </a:lnTo>
                  <a:lnTo>
                    <a:pt x="103385" y="41587"/>
                  </a:lnTo>
                  <a:close/>
                  <a:moveTo>
                    <a:pt x="98122" y="101269"/>
                  </a:moveTo>
                  <a:lnTo>
                    <a:pt x="98286" y="101269"/>
                  </a:lnTo>
                  <a:lnTo>
                    <a:pt x="98122" y="101269"/>
                  </a:lnTo>
                  <a:lnTo>
                    <a:pt x="98122" y="101269"/>
                  </a:lnTo>
                  <a:lnTo>
                    <a:pt x="98122" y="101746"/>
                  </a:lnTo>
                  <a:lnTo>
                    <a:pt x="98122" y="101746"/>
                  </a:lnTo>
                  <a:lnTo>
                    <a:pt x="97957" y="101746"/>
                  </a:lnTo>
                  <a:lnTo>
                    <a:pt x="97957" y="102063"/>
                  </a:lnTo>
                  <a:lnTo>
                    <a:pt x="97957" y="102063"/>
                  </a:lnTo>
                  <a:lnTo>
                    <a:pt x="97957" y="102063"/>
                  </a:lnTo>
                  <a:lnTo>
                    <a:pt x="97957" y="102063"/>
                  </a:lnTo>
                  <a:lnTo>
                    <a:pt x="98122" y="101269"/>
                  </a:lnTo>
                  <a:close/>
                  <a:moveTo>
                    <a:pt x="85538" y="33015"/>
                  </a:moveTo>
                  <a:lnTo>
                    <a:pt x="85538" y="33015"/>
                  </a:lnTo>
                  <a:lnTo>
                    <a:pt x="85291" y="33015"/>
                  </a:lnTo>
                  <a:lnTo>
                    <a:pt x="85291" y="33015"/>
                  </a:lnTo>
                  <a:lnTo>
                    <a:pt x="85291" y="33333"/>
                  </a:lnTo>
                  <a:lnTo>
                    <a:pt x="85291" y="33333"/>
                  </a:lnTo>
                  <a:lnTo>
                    <a:pt x="85126" y="33333"/>
                  </a:lnTo>
                  <a:lnTo>
                    <a:pt x="84962" y="33333"/>
                  </a:lnTo>
                  <a:lnTo>
                    <a:pt x="84962" y="33333"/>
                  </a:lnTo>
                  <a:lnTo>
                    <a:pt x="84715" y="33333"/>
                  </a:lnTo>
                  <a:lnTo>
                    <a:pt x="84715" y="33333"/>
                  </a:lnTo>
                  <a:lnTo>
                    <a:pt x="85126" y="33333"/>
                  </a:lnTo>
                  <a:lnTo>
                    <a:pt x="85126" y="33333"/>
                  </a:lnTo>
                  <a:lnTo>
                    <a:pt x="85126" y="33809"/>
                  </a:lnTo>
                  <a:lnTo>
                    <a:pt x="85291" y="33809"/>
                  </a:lnTo>
                  <a:lnTo>
                    <a:pt x="85291" y="33809"/>
                  </a:lnTo>
                  <a:lnTo>
                    <a:pt x="85291" y="33809"/>
                  </a:lnTo>
                  <a:lnTo>
                    <a:pt x="85291" y="33809"/>
                  </a:lnTo>
                  <a:lnTo>
                    <a:pt x="85291" y="33809"/>
                  </a:lnTo>
                  <a:lnTo>
                    <a:pt x="85538" y="33809"/>
                  </a:lnTo>
                  <a:lnTo>
                    <a:pt x="85538" y="33809"/>
                  </a:lnTo>
                  <a:lnTo>
                    <a:pt x="85538" y="33809"/>
                  </a:lnTo>
                  <a:lnTo>
                    <a:pt x="85538" y="33809"/>
                  </a:lnTo>
                  <a:lnTo>
                    <a:pt x="85538" y="33333"/>
                  </a:lnTo>
                  <a:lnTo>
                    <a:pt x="85702" y="33809"/>
                  </a:lnTo>
                  <a:lnTo>
                    <a:pt x="86113" y="33333"/>
                  </a:lnTo>
                  <a:lnTo>
                    <a:pt x="86278" y="33333"/>
                  </a:lnTo>
                  <a:lnTo>
                    <a:pt x="86525" y="33333"/>
                  </a:lnTo>
                  <a:lnTo>
                    <a:pt x="86525" y="33333"/>
                  </a:lnTo>
                  <a:lnTo>
                    <a:pt x="86525" y="33015"/>
                  </a:lnTo>
                  <a:lnTo>
                    <a:pt x="86278" y="33015"/>
                  </a:lnTo>
                  <a:lnTo>
                    <a:pt x="86113" y="33015"/>
                  </a:lnTo>
                  <a:lnTo>
                    <a:pt x="85867" y="33333"/>
                  </a:lnTo>
                  <a:lnTo>
                    <a:pt x="85702" y="33333"/>
                  </a:lnTo>
                  <a:lnTo>
                    <a:pt x="85702" y="33333"/>
                  </a:lnTo>
                  <a:lnTo>
                    <a:pt x="85702" y="33333"/>
                  </a:lnTo>
                  <a:lnTo>
                    <a:pt x="85702" y="33015"/>
                  </a:lnTo>
                  <a:lnTo>
                    <a:pt x="85538" y="33015"/>
                  </a:lnTo>
                  <a:close/>
                  <a:moveTo>
                    <a:pt x="88252" y="34920"/>
                  </a:moveTo>
                  <a:lnTo>
                    <a:pt x="88416" y="34920"/>
                  </a:lnTo>
                  <a:lnTo>
                    <a:pt x="88581" y="34920"/>
                  </a:lnTo>
                  <a:lnTo>
                    <a:pt x="88581" y="34444"/>
                  </a:lnTo>
                  <a:lnTo>
                    <a:pt x="88827" y="34444"/>
                  </a:lnTo>
                  <a:lnTo>
                    <a:pt x="88992" y="34444"/>
                  </a:lnTo>
                  <a:lnTo>
                    <a:pt x="88992" y="34444"/>
                  </a:lnTo>
                  <a:lnTo>
                    <a:pt x="88992" y="34126"/>
                  </a:lnTo>
                  <a:lnTo>
                    <a:pt x="88992" y="34126"/>
                  </a:lnTo>
                  <a:lnTo>
                    <a:pt x="88992" y="34126"/>
                  </a:lnTo>
                  <a:lnTo>
                    <a:pt x="88581" y="34126"/>
                  </a:lnTo>
                  <a:lnTo>
                    <a:pt x="88581" y="34126"/>
                  </a:lnTo>
                  <a:lnTo>
                    <a:pt x="88416" y="34126"/>
                  </a:lnTo>
                  <a:lnTo>
                    <a:pt x="88416" y="34126"/>
                  </a:lnTo>
                  <a:lnTo>
                    <a:pt x="88252" y="34126"/>
                  </a:lnTo>
                  <a:lnTo>
                    <a:pt x="88252" y="34126"/>
                  </a:lnTo>
                  <a:lnTo>
                    <a:pt x="88252" y="34444"/>
                  </a:lnTo>
                  <a:lnTo>
                    <a:pt x="88005" y="34444"/>
                  </a:lnTo>
                  <a:lnTo>
                    <a:pt x="88005" y="34920"/>
                  </a:lnTo>
                  <a:lnTo>
                    <a:pt x="88005" y="34920"/>
                  </a:lnTo>
                  <a:lnTo>
                    <a:pt x="88252" y="34920"/>
                  </a:lnTo>
                  <a:lnTo>
                    <a:pt x="88252" y="34920"/>
                  </a:lnTo>
                  <a:close/>
                  <a:moveTo>
                    <a:pt x="87676" y="37460"/>
                  </a:moveTo>
                  <a:lnTo>
                    <a:pt x="87676" y="37460"/>
                  </a:lnTo>
                  <a:lnTo>
                    <a:pt x="87265" y="37936"/>
                  </a:lnTo>
                  <a:lnTo>
                    <a:pt x="86854" y="38253"/>
                  </a:lnTo>
                  <a:lnTo>
                    <a:pt x="86689" y="38571"/>
                  </a:lnTo>
                  <a:lnTo>
                    <a:pt x="86525" y="39047"/>
                  </a:lnTo>
                  <a:lnTo>
                    <a:pt x="86525" y="39047"/>
                  </a:lnTo>
                  <a:lnTo>
                    <a:pt x="86278" y="39682"/>
                  </a:lnTo>
                  <a:lnTo>
                    <a:pt x="86278" y="39682"/>
                  </a:lnTo>
                  <a:lnTo>
                    <a:pt x="86278" y="40158"/>
                  </a:lnTo>
                  <a:lnTo>
                    <a:pt x="86278" y="40158"/>
                  </a:lnTo>
                  <a:lnTo>
                    <a:pt x="86278" y="40476"/>
                  </a:lnTo>
                  <a:lnTo>
                    <a:pt x="86525" y="40476"/>
                  </a:lnTo>
                  <a:lnTo>
                    <a:pt x="86689" y="40476"/>
                  </a:lnTo>
                  <a:lnTo>
                    <a:pt x="87100" y="40158"/>
                  </a:lnTo>
                  <a:lnTo>
                    <a:pt x="87429" y="40158"/>
                  </a:lnTo>
                  <a:lnTo>
                    <a:pt x="87676" y="40158"/>
                  </a:lnTo>
                  <a:lnTo>
                    <a:pt x="88252" y="40158"/>
                  </a:lnTo>
                  <a:lnTo>
                    <a:pt x="88416" y="39682"/>
                  </a:lnTo>
                  <a:lnTo>
                    <a:pt x="88581" y="39682"/>
                  </a:lnTo>
                  <a:lnTo>
                    <a:pt x="88581" y="39365"/>
                  </a:lnTo>
                  <a:lnTo>
                    <a:pt x="88827" y="39365"/>
                  </a:lnTo>
                  <a:lnTo>
                    <a:pt x="88992" y="39047"/>
                  </a:lnTo>
                  <a:lnTo>
                    <a:pt x="89239" y="38253"/>
                  </a:lnTo>
                  <a:lnTo>
                    <a:pt x="89239" y="38253"/>
                  </a:lnTo>
                  <a:lnTo>
                    <a:pt x="89403" y="37936"/>
                  </a:lnTo>
                  <a:lnTo>
                    <a:pt x="89403" y="37936"/>
                  </a:lnTo>
                  <a:lnTo>
                    <a:pt x="89403" y="37936"/>
                  </a:lnTo>
                  <a:lnTo>
                    <a:pt x="89403" y="37460"/>
                  </a:lnTo>
                  <a:lnTo>
                    <a:pt x="89403" y="37460"/>
                  </a:lnTo>
                  <a:lnTo>
                    <a:pt x="89403" y="37460"/>
                  </a:lnTo>
                  <a:lnTo>
                    <a:pt x="88992" y="37142"/>
                  </a:lnTo>
                  <a:lnTo>
                    <a:pt x="88827" y="37142"/>
                  </a:lnTo>
                  <a:lnTo>
                    <a:pt x="88581" y="37142"/>
                  </a:lnTo>
                  <a:lnTo>
                    <a:pt x="88416" y="37142"/>
                  </a:lnTo>
                  <a:lnTo>
                    <a:pt x="88416" y="37142"/>
                  </a:lnTo>
                  <a:lnTo>
                    <a:pt x="88252" y="37142"/>
                  </a:lnTo>
                  <a:lnTo>
                    <a:pt x="87840" y="37460"/>
                  </a:lnTo>
                  <a:lnTo>
                    <a:pt x="87676" y="37460"/>
                  </a:lnTo>
                  <a:close/>
                  <a:moveTo>
                    <a:pt x="86525" y="34444"/>
                  </a:moveTo>
                  <a:lnTo>
                    <a:pt x="86525" y="34444"/>
                  </a:lnTo>
                  <a:lnTo>
                    <a:pt x="86278" y="34920"/>
                  </a:lnTo>
                  <a:lnTo>
                    <a:pt x="86278" y="34920"/>
                  </a:lnTo>
                  <a:lnTo>
                    <a:pt x="85867" y="35238"/>
                  </a:lnTo>
                  <a:lnTo>
                    <a:pt x="85702" y="35238"/>
                  </a:lnTo>
                  <a:lnTo>
                    <a:pt x="85702" y="35238"/>
                  </a:lnTo>
                  <a:lnTo>
                    <a:pt x="85538" y="35555"/>
                  </a:lnTo>
                  <a:lnTo>
                    <a:pt x="85538" y="35555"/>
                  </a:lnTo>
                  <a:lnTo>
                    <a:pt x="85538" y="35555"/>
                  </a:lnTo>
                  <a:lnTo>
                    <a:pt x="85538" y="35555"/>
                  </a:lnTo>
                  <a:lnTo>
                    <a:pt x="85538" y="35555"/>
                  </a:lnTo>
                  <a:lnTo>
                    <a:pt x="85538" y="35555"/>
                  </a:lnTo>
                  <a:lnTo>
                    <a:pt x="85538" y="35555"/>
                  </a:lnTo>
                  <a:lnTo>
                    <a:pt x="85867" y="35555"/>
                  </a:lnTo>
                  <a:lnTo>
                    <a:pt x="86113" y="35555"/>
                  </a:lnTo>
                  <a:lnTo>
                    <a:pt x="86113" y="35555"/>
                  </a:lnTo>
                  <a:lnTo>
                    <a:pt x="86278" y="35238"/>
                  </a:lnTo>
                  <a:lnTo>
                    <a:pt x="86525" y="35238"/>
                  </a:lnTo>
                  <a:lnTo>
                    <a:pt x="86689" y="34920"/>
                  </a:lnTo>
                  <a:lnTo>
                    <a:pt x="86689" y="34920"/>
                  </a:lnTo>
                  <a:lnTo>
                    <a:pt x="86689" y="34920"/>
                  </a:lnTo>
                  <a:lnTo>
                    <a:pt x="86854" y="34920"/>
                  </a:lnTo>
                  <a:lnTo>
                    <a:pt x="87100" y="34444"/>
                  </a:lnTo>
                  <a:lnTo>
                    <a:pt x="87265" y="34444"/>
                  </a:lnTo>
                  <a:lnTo>
                    <a:pt x="87265" y="34444"/>
                  </a:lnTo>
                  <a:lnTo>
                    <a:pt x="87265" y="34126"/>
                  </a:lnTo>
                  <a:lnTo>
                    <a:pt x="87265" y="34126"/>
                  </a:lnTo>
                  <a:lnTo>
                    <a:pt x="87265" y="34126"/>
                  </a:lnTo>
                  <a:lnTo>
                    <a:pt x="87100" y="34126"/>
                  </a:lnTo>
                  <a:lnTo>
                    <a:pt x="86854" y="34126"/>
                  </a:lnTo>
                  <a:lnTo>
                    <a:pt x="86854" y="34444"/>
                  </a:lnTo>
                  <a:lnTo>
                    <a:pt x="86689" y="34444"/>
                  </a:lnTo>
                  <a:lnTo>
                    <a:pt x="86689" y="34444"/>
                  </a:lnTo>
                  <a:lnTo>
                    <a:pt x="86689" y="34444"/>
                  </a:lnTo>
                  <a:lnTo>
                    <a:pt x="86689" y="34444"/>
                  </a:lnTo>
                  <a:lnTo>
                    <a:pt x="86525" y="34444"/>
                  </a:lnTo>
                  <a:close/>
                  <a:moveTo>
                    <a:pt x="87676" y="108095"/>
                  </a:moveTo>
                  <a:lnTo>
                    <a:pt x="87676" y="108095"/>
                  </a:lnTo>
                  <a:lnTo>
                    <a:pt x="87676" y="108412"/>
                  </a:lnTo>
                  <a:lnTo>
                    <a:pt x="87676" y="108412"/>
                  </a:lnTo>
                  <a:lnTo>
                    <a:pt x="87676" y="108412"/>
                  </a:lnTo>
                  <a:lnTo>
                    <a:pt x="87840" y="108095"/>
                  </a:lnTo>
                  <a:lnTo>
                    <a:pt x="87840" y="108095"/>
                  </a:lnTo>
                  <a:lnTo>
                    <a:pt x="87676" y="108095"/>
                  </a:lnTo>
                  <a:lnTo>
                    <a:pt x="87676" y="108095"/>
                  </a:lnTo>
                  <a:close/>
                  <a:moveTo>
                    <a:pt x="91953" y="92698"/>
                  </a:moveTo>
                  <a:lnTo>
                    <a:pt x="92117" y="92698"/>
                  </a:lnTo>
                  <a:lnTo>
                    <a:pt x="92282" y="92222"/>
                  </a:lnTo>
                  <a:lnTo>
                    <a:pt x="92693" y="91904"/>
                  </a:lnTo>
                  <a:lnTo>
                    <a:pt x="93104" y="91587"/>
                  </a:lnTo>
                  <a:lnTo>
                    <a:pt x="93433" y="91111"/>
                  </a:lnTo>
                  <a:lnTo>
                    <a:pt x="93680" y="90793"/>
                  </a:lnTo>
                  <a:lnTo>
                    <a:pt x="94420" y="89682"/>
                  </a:lnTo>
                  <a:lnTo>
                    <a:pt x="94420" y="89682"/>
                  </a:lnTo>
                  <a:lnTo>
                    <a:pt x="94667" y="89206"/>
                  </a:lnTo>
                  <a:lnTo>
                    <a:pt x="94667" y="89206"/>
                  </a:lnTo>
                  <a:lnTo>
                    <a:pt x="94832" y="89206"/>
                  </a:lnTo>
                  <a:lnTo>
                    <a:pt x="94996" y="89206"/>
                  </a:lnTo>
                  <a:lnTo>
                    <a:pt x="95243" y="89206"/>
                  </a:lnTo>
                  <a:lnTo>
                    <a:pt x="95407" y="89206"/>
                  </a:lnTo>
                  <a:lnTo>
                    <a:pt x="95572" y="88888"/>
                  </a:lnTo>
                  <a:lnTo>
                    <a:pt x="95819" y="88888"/>
                  </a:lnTo>
                  <a:lnTo>
                    <a:pt x="96148" y="88888"/>
                  </a:lnTo>
                  <a:lnTo>
                    <a:pt x="96394" y="88888"/>
                  </a:lnTo>
                  <a:lnTo>
                    <a:pt x="96559" y="88888"/>
                  </a:lnTo>
                  <a:lnTo>
                    <a:pt x="96723" y="88888"/>
                  </a:lnTo>
                  <a:lnTo>
                    <a:pt x="96723" y="88888"/>
                  </a:lnTo>
                  <a:lnTo>
                    <a:pt x="97546" y="88095"/>
                  </a:lnTo>
                  <a:lnTo>
                    <a:pt x="97957" y="87777"/>
                  </a:lnTo>
                  <a:lnTo>
                    <a:pt x="98286" y="87460"/>
                  </a:lnTo>
                  <a:lnTo>
                    <a:pt x="98862" y="86666"/>
                  </a:lnTo>
                  <a:lnTo>
                    <a:pt x="99108" y="86349"/>
                  </a:lnTo>
                  <a:lnTo>
                    <a:pt x="99108" y="86349"/>
                  </a:lnTo>
                  <a:lnTo>
                    <a:pt x="98862" y="86349"/>
                  </a:lnTo>
                  <a:lnTo>
                    <a:pt x="98862" y="85873"/>
                  </a:lnTo>
                  <a:lnTo>
                    <a:pt x="98697" y="85873"/>
                  </a:lnTo>
                  <a:lnTo>
                    <a:pt x="98697" y="85873"/>
                  </a:lnTo>
                  <a:lnTo>
                    <a:pt x="98862" y="85873"/>
                  </a:lnTo>
                  <a:lnTo>
                    <a:pt x="98862" y="85873"/>
                  </a:lnTo>
                  <a:lnTo>
                    <a:pt x="99108" y="85873"/>
                  </a:lnTo>
                  <a:lnTo>
                    <a:pt x="99108" y="85555"/>
                  </a:lnTo>
                  <a:lnTo>
                    <a:pt x="99108" y="85555"/>
                  </a:lnTo>
                  <a:lnTo>
                    <a:pt x="98862" y="85555"/>
                  </a:lnTo>
                  <a:lnTo>
                    <a:pt x="98697" y="85555"/>
                  </a:lnTo>
                  <a:lnTo>
                    <a:pt x="98533" y="85555"/>
                  </a:lnTo>
                  <a:lnTo>
                    <a:pt x="98286" y="85079"/>
                  </a:lnTo>
                  <a:lnTo>
                    <a:pt x="98533" y="85079"/>
                  </a:lnTo>
                  <a:lnTo>
                    <a:pt x="98697" y="85079"/>
                  </a:lnTo>
                  <a:lnTo>
                    <a:pt x="99108" y="85079"/>
                  </a:lnTo>
                  <a:lnTo>
                    <a:pt x="99108" y="85079"/>
                  </a:lnTo>
                  <a:lnTo>
                    <a:pt x="99108" y="84761"/>
                  </a:lnTo>
                  <a:lnTo>
                    <a:pt x="99108" y="84761"/>
                  </a:lnTo>
                  <a:lnTo>
                    <a:pt x="99108" y="84444"/>
                  </a:lnTo>
                  <a:lnTo>
                    <a:pt x="99273" y="84444"/>
                  </a:lnTo>
                  <a:lnTo>
                    <a:pt x="99273" y="83968"/>
                  </a:lnTo>
                  <a:lnTo>
                    <a:pt x="99437" y="83333"/>
                  </a:lnTo>
                  <a:lnTo>
                    <a:pt x="99437" y="83333"/>
                  </a:lnTo>
                  <a:lnTo>
                    <a:pt x="99437" y="82857"/>
                  </a:lnTo>
                  <a:lnTo>
                    <a:pt x="99437" y="82857"/>
                  </a:lnTo>
                  <a:lnTo>
                    <a:pt x="99437" y="82857"/>
                  </a:lnTo>
                  <a:lnTo>
                    <a:pt x="99437" y="82857"/>
                  </a:lnTo>
                  <a:lnTo>
                    <a:pt x="99437" y="82539"/>
                  </a:lnTo>
                  <a:lnTo>
                    <a:pt x="99437" y="82539"/>
                  </a:lnTo>
                  <a:lnTo>
                    <a:pt x="99273" y="82222"/>
                  </a:lnTo>
                  <a:lnTo>
                    <a:pt x="99108" y="81746"/>
                  </a:lnTo>
                  <a:lnTo>
                    <a:pt x="99108" y="81746"/>
                  </a:lnTo>
                  <a:lnTo>
                    <a:pt x="99108" y="81428"/>
                  </a:lnTo>
                  <a:lnTo>
                    <a:pt x="99108" y="81428"/>
                  </a:lnTo>
                  <a:lnTo>
                    <a:pt x="98862" y="81428"/>
                  </a:lnTo>
                  <a:lnTo>
                    <a:pt x="98697" y="81428"/>
                  </a:lnTo>
                  <a:lnTo>
                    <a:pt x="98533" y="81428"/>
                  </a:lnTo>
                  <a:lnTo>
                    <a:pt x="98286" y="81746"/>
                  </a:lnTo>
                  <a:lnTo>
                    <a:pt x="97957" y="82222"/>
                  </a:lnTo>
                  <a:lnTo>
                    <a:pt x="97710" y="82539"/>
                  </a:lnTo>
                  <a:lnTo>
                    <a:pt x="97710" y="82222"/>
                  </a:lnTo>
                  <a:lnTo>
                    <a:pt x="97710" y="82222"/>
                  </a:lnTo>
                  <a:lnTo>
                    <a:pt x="97546" y="81746"/>
                  </a:lnTo>
                  <a:lnTo>
                    <a:pt x="97546" y="81746"/>
                  </a:lnTo>
                  <a:lnTo>
                    <a:pt x="97546" y="81746"/>
                  </a:lnTo>
                  <a:lnTo>
                    <a:pt x="97957" y="81746"/>
                  </a:lnTo>
                  <a:lnTo>
                    <a:pt x="98122" y="81428"/>
                  </a:lnTo>
                  <a:lnTo>
                    <a:pt x="98122" y="81428"/>
                  </a:lnTo>
                  <a:lnTo>
                    <a:pt x="98286" y="80952"/>
                  </a:lnTo>
                  <a:lnTo>
                    <a:pt x="98122" y="80952"/>
                  </a:lnTo>
                  <a:lnTo>
                    <a:pt x="98122" y="80317"/>
                  </a:lnTo>
                  <a:lnTo>
                    <a:pt x="97957" y="79841"/>
                  </a:lnTo>
                  <a:lnTo>
                    <a:pt x="97135" y="79841"/>
                  </a:lnTo>
                  <a:lnTo>
                    <a:pt x="96970" y="79841"/>
                  </a:lnTo>
                  <a:lnTo>
                    <a:pt x="96970" y="80317"/>
                  </a:lnTo>
                  <a:lnTo>
                    <a:pt x="96970" y="80317"/>
                  </a:lnTo>
                  <a:lnTo>
                    <a:pt x="96970" y="80317"/>
                  </a:lnTo>
                  <a:lnTo>
                    <a:pt x="97135" y="80317"/>
                  </a:lnTo>
                  <a:lnTo>
                    <a:pt x="97135" y="80317"/>
                  </a:lnTo>
                  <a:lnTo>
                    <a:pt x="97381" y="80317"/>
                  </a:lnTo>
                  <a:lnTo>
                    <a:pt x="97381" y="80317"/>
                  </a:lnTo>
                  <a:lnTo>
                    <a:pt x="97135" y="80317"/>
                  </a:lnTo>
                  <a:lnTo>
                    <a:pt x="96723" y="80634"/>
                  </a:lnTo>
                  <a:lnTo>
                    <a:pt x="96394" y="80634"/>
                  </a:lnTo>
                  <a:lnTo>
                    <a:pt x="95983" y="80952"/>
                  </a:lnTo>
                  <a:lnTo>
                    <a:pt x="95572" y="81428"/>
                  </a:lnTo>
                  <a:lnTo>
                    <a:pt x="95243" y="81746"/>
                  </a:lnTo>
                  <a:lnTo>
                    <a:pt x="94996" y="82222"/>
                  </a:lnTo>
                  <a:lnTo>
                    <a:pt x="94832" y="82222"/>
                  </a:lnTo>
                  <a:lnTo>
                    <a:pt x="94420" y="82222"/>
                  </a:lnTo>
                  <a:lnTo>
                    <a:pt x="94420" y="82222"/>
                  </a:lnTo>
                  <a:lnTo>
                    <a:pt x="94256" y="82539"/>
                  </a:lnTo>
                  <a:lnTo>
                    <a:pt x="94009" y="82857"/>
                  </a:lnTo>
                  <a:lnTo>
                    <a:pt x="93680" y="82857"/>
                  </a:lnTo>
                  <a:lnTo>
                    <a:pt x="93680" y="82857"/>
                  </a:lnTo>
                  <a:lnTo>
                    <a:pt x="93680" y="82857"/>
                  </a:lnTo>
                  <a:lnTo>
                    <a:pt x="93845" y="82857"/>
                  </a:lnTo>
                  <a:lnTo>
                    <a:pt x="93845" y="82857"/>
                  </a:lnTo>
                  <a:lnTo>
                    <a:pt x="93845" y="82857"/>
                  </a:lnTo>
                  <a:lnTo>
                    <a:pt x="93845" y="82539"/>
                  </a:lnTo>
                  <a:lnTo>
                    <a:pt x="94009" y="82539"/>
                  </a:lnTo>
                  <a:lnTo>
                    <a:pt x="94256" y="82222"/>
                  </a:lnTo>
                  <a:lnTo>
                    <a:pt x="94009" y="82222"/>
                  </a:lnTo>
                  <a:lnTo>
                    <a:pt x="93845" y="81746"/>
                  </a:lnTo>
                  <a:lnTo>
                    <a:pt x="93845" y="81746"/>
                  </a:lnTo>
                  <a:lnTo>
                    <a:pt x="94009" y="81746"/>
                  </a:lnTo>
                  <a:lnTo>
                    <a:pt x="94256" y="82222"/>
                  </a:lnTo>
                  <a:lnTo>
                    <a:pt x="94256" y="81746"/>
                  </a:lnTo>
                  <a:lnTo>
                    <a:pt x="94256" y="81746"/>
                  </a:lnTo>
                  <a:lnTo>
                    <a:pt x="94256" y="81746"/>
                  </a:lnTo>
                  <a:lnTo>
                    <a:pt x="94420" y="81428"/>
                  </a:lnTo>
                  <a:lnTo>
                    <a:pt x="94420" y="81428"/>
                  </a:lnTo>
                  <a:lnTo>
                    <a:pt x="94667" y="81428"/>
                  </a:lnTo>
                  <a:lnTo>
                    <a:pt x="94832" y="80952"/>
                  </a:lnTo>
                  <a:lnTo>
                    <a:pt x="94832" y="80952"/>
                  </a:lnTo>
                  <a:lnTo>
                    <a:pt x="94996" y="81428"/>
                  </a:lnTo>
                  <a:lnTo>
                    <a:pt x="95243" y="80952"/>
                  </a:lnTo>
                  <a:lnTo>
                    <a:pt x="95572" y="80952"/>
                  </a:lnTo>
                  <a:lnTo>
                    <a:pt x="95819" y="80634"/>
                  </a:lnTo>
                  <a:lnTo>
                    <a:pt x="95983" y="80634"/>
                  </a:lnTo>
                  <a:lnTo>
                    <a:pt x="95983" y="80634"/>
                  </a:lnTo>
                  <a:lnTo>
                    <a:pt x="95983" y="80634"/>
                  </a:lnTo>
                  <a:lnTo>
                    <a:pt x="96148" y="80634"/>
                  </a:lnTo>
                  <a:lnTo>
                    <a:pt x="96394" y="80634"/>
                  </a:lnTo>
                  <a:lnTo>
                    <a:pt x="96394" y="80634"/>
                  </a:lnTo>
                  <a:lnTo>
                    <a:pt x="96559" y="80317"/>
                  </a:lnTo>
                  <a:lnTo>
                    <a:pt x="96723" y="79841"/>
                  </a:lnTo>
                  <a:lnTo>
                    <a:pt x="96970" y="79841"/>
                  </a:lnTo>
                  <a:lnTo>
                    <a:pt x="97135" y="79841"/>
                  </a:lnTo>
                  <a:lnTo>
                    <a:pt x="97381" y="79523"/>
                  </a:lnTo>
                  <a:lnTo>
                    <a:pt x="97381" y="79523"/>
                  </a:lnTo>
                  <a:lnTo>
                    <a:pt x="97710" y="79523"/>
                  </a:lnTo>
                  <a:lnTo>
                    <a:pt x="97957" y="79523"/>
                  </a:lnTo>
                  <a:lnTo>
                    <a:pt x="98122" y="79206"/>
                  </a:lnTo>
                  <a:lnTo>
                    <a:pt x="98286" y="79206"/>
                  </a:lnTo>
                  <a:lnTo>
                    <a:pt x="98533" y="78730"/>
                  </a:lnTo>
                  <a:lnTo>
                    <a:pt x="98533" y="78730"/>
                  </a:lnTo>
                  <a:lnTo>
                    <a:pt x="98286" y="78730"/>
                  </a:lnTo>
                  <a:lnTo>
                    <a:pt x="98122" y="78730"/>
                  </a:lnTo>
                  <a:lnTo>
                    <a:pt x="98122" y="78412"/>
                  </a:lnTo>
                  <a:lnTo>
                    <a:pt x="97957" y="78412"/>
                  </a:lnTo>
                  <a:lnTo>
                    <a:pt x="97957" y="78412"/>
                  </a:lnTo>
                  <a:lnTo>
                    <a:pt x="97957" y="78095"/>
                  </a:lnTo>
                  <a:lnTo>
                    <a:pt x="97710" y="78095"/>
                  </a:lnTo>
                  <a:lnTo>
                    <a:pt x="97546" y="78095"/>
                  </a:lnTo>
                  <a:lnTo>
                    <a:pt x="97546" y="78095"/>
                  </a:lnTo>
                  <a:lnTo>
                    <a:pt x="97381" y="78412"/>
                  </a:lnTo>
                  <a:lnTo>
                    <a:pt x="97135" y="78095"/>
                  </a:lnTo>
                  <a:lnTo>
                    <a:pt x="96723" y="78095"/>
                  </a:lnTo>
                  <a:lnTo>
                    <a:pt x="96723" y="77619"/>
                  </a:lnTo>
                  <a:lnTo>
                    <a:pt x="96723" y="77301"/>
                  </a:lnTo>
                  <a:lnTo>
                    <a:pt x="96723" y="76825"/>
                  </a:lnTo>
                  <a:lnTo>
                    <a:pt x="96723" y="76825"/>
                  </a:lnTo>
                  <a:lnTo>
                    <a:pt x="96559" y="76825"/>
                  </a:lnTo>
                  <a:lnTo>
                    <a:pt x="96394" y="76825"/>
                  </a:lnTo>
                  <a:lnTo>
                    <a:pt x="96148" y="77301"/>
                  </a:lnTo>
                  <a:lnTo>
                    <a:pt x="96148" y="77301"/>
                  </a:lnTo>
                  <a:lnTo>
                    <a:pt x="95572" y="78095"/>
                  </a:lnTo>
                  <a:lnTo>
                    <a:pt x="95407" y="78095"/>
                  </a:lnTo>
                  <a:lnTo>
                    <a:pt x="95572" y="78095"/>
                  </a:lnTo>
                  <a:lnTo>
                    <a:pt x="95572" y="77619"/>
                  </a:lnTo>
                  <a:lnTo>
                    <a:pt x="96148" y="77301"/>
                  </a:lnTo>
                  <a:lnTo>
                    <a:pt x="96148" y="76825"/>
                  </a:lnTo>
                  <a:lnTo>
                    <a:pt x="96148" y="76825"/>
                  </a:lnTo>
                  <a:lnTo>
                    <a:pt x="95983" y="76825"/>
                  </a:lnTo>
                  <a:lnTo>
                    <a:pt x="95983" y="76825"/>
                  </a:lnTo>
                  <a:lnTo>
                    <a:pt x="95983" y="76507"/>
                  </a:lnTo>
                  <a:lnTo>
                    <a:pt x="95983" y="76507"/>
                  </a:lnTo>
                  <a:lnTo>
                    <a:pt x="95819" y="76507"/>
                  </a:lnTo>
                  <a:lnTo>
                    <a:pt x="95572" y="76507"/>
                  </a:lnTo>
                  <a:lnTo>
                    <a:pt x="95407" y="76825"/>
                  </a:lnTo>
                  <a:lnTo>
                    <a:pt x="95243" y="76825"/>
                  </a:lnTo>
                  <a:lnTo>
                    <a:pt x="94832" y="77301"/>
                  </a:lnTo>
                  <a:lnTo>
                    <a:pt x="94667" y="77301"/>
                  </a:lnTo>
                  <a:lnTo>
                    <a:pt x="94832" y="77301"/>
                  </a:lnTo>
                  <a:lnTo>
                    <a:pt x="94996" y="76825"/>
                  </a:lnTo>
                  <a:lnTo>
                    <a:pt x="94996" y="76825"/>
                  </a:lnTo>
                  <a:lnTo>
                    <a:pt x="95243" y="76507"/>
                  </a:lnTo>
                  <a:lnTo>
                    <a:pt x="95407" y="76190"/>
                  </a:lnTo>
                  <a:lnTo>
                    <a:pt x="95572" y="76190"/>
                  </a:lnTo>
                  <a:lnTo>
                    <a:pt x="95407" y="75714"/>
                  </a:lnTo>
                  <a:lnTo>
                    <a:pt x="95407" y="75396"/>
                  </a:lnTo>
                  <a:lnTo>
                    <a:pt x="95407" y="75396"/>
                  </a:lnTo>
                  <a:lnTo>
                    <a:pt x="95407" y="75396"/>
                  </a:lnTo>
                  <a:lnTo>
                    <a:pt x="95572" y="75079"/>
                  </a:lnTo>
                  <a:lnTo>
                    <a:pt x="95407" y="75079"/>
                  </a:lnTo>
                  <a:lnTo>
                    <a:pt x="95407" y="75079"/>
                  </a:lnTo>
                  <a:lnTo>
                    <a:pt x="95243" y="75396"/>
                  </a:lnTo>
                  <a:lnTo>
                    <a:pt x="95243" y="75079"/>
                  </a:lnTo>
                  <a:lnTo>
                    <a:pt x="95243" y="75079"/>
                  </a:lnTo>
                  <a:lnTo>
                    <a:pt x="95243" y="74603"/>
                  </a:lnTo>
                  <a:lnTo>
                    <a:pt x="95243" y="74603"/>
                  </a:lnTo>
                  <a:lnTo>
                    <a:pt x="94996" y="74603"/>
                  </a:lnTo>
                  <a:lnTo>
                    <a:pt x="94996" y="74603"/>
                  </a:lnTo>
                  <a:lnTo>
                    <a:pt x="94832" y="74603"/>
                  </a:lnTo>
                  <a:lnTo>
                    <a:pt x="94667" y="74603"/>
                  </a:lnTo>
                  <a:lnTo>
                    <a:pt x="94667" y="74603"/>
                  </a:lnTo>
                  <a:lnTo>
                    <a:pt x="94667" y="74603"/>
                  </a:lnTo>
                  <a:lnTo>
                    <a:pt x="94667" y="74603"/>
                  </a:lnTo>
                  <a:lnTo>
                    <a:pt x="94420" y="74285"/>
                  </a:lnTo>
                  <a:lnTo>
                    <a:pt x="94256" y="74285"/>
                  </a:lnTo>
                  <a:lnTo>
                    <a:pt x="94420" y="74285"/>
                  </a:lnTo>
                  <a:lnTo>
                    <a:pt x="94667" y="74285"/>
                  </a:lnTo>
                  <a:lnTo>
                    <a:pt x="94667" y="74285"/>
                  </a:lnTo>
                  <a:lnTo>
                    <a:pt x="94667" y="73492"/>
                  </a:lnTo>
                  <a:lnTo>
                    <a:pt x="94667" y="73492"/>
                  </a:lnTo>
                  <a:lnTo>
                    <a:pt x="94420" y="73492"/>
                  </a:lnTo>
                  <a:lnTo>
                    <a:pt x="94256" y="73492"/>
                  </a:lnTo>
                  <a:lnTo>
                    <a:pt x="94256" y="73492"/>
                  </a:lnTo>
                  <a:lnTo>
                    <a:pt x="94667" y="73174"/>
                  </a:lnTo>
                  <a:lnTo>
                    <a:pt x="94667" y="73174"/>
                  </a:lnTo>
                  <a:lnTo>
                    <a:pt x="94667" y="73174"/>
                  </a:lnTo>
                  <a:lnTo>
                    <a:pt x="94420" y="73174"/>
                  </a:lnTo>
                  <a:lnTo>
                    <a:pt x="94009" y="73174"/>
                  </a:lnTo>
                  <a:lnTo>
                    <a:pt x="94009" y="72698"/>
                  </a:lnTo>
                  <a:lnTo>
                    <a:pt x="94256" y="72698"/>
                  </a:lnTo>
                  <a:lnTo>
                    <a:pt x="94420" y="72698"/>
                  </a:lnTo>
                  <a:lnTo>
                    <a:pt x="94420" y="72698"/>
                  </a:lnTo>
                  <a:lnTo>
                    <a:pt x="94256" y="72380"/>
                  </a:lnTo>
                  <a:lnTo>
                    <a:pt x="94256" y="72380"/>
                  </a:lnTo>
                  <a:lnTo>
                    <a:pt x="94009" y="72380"/>
                  </a:lnTo>
                  <a:lnTo>
                    <a:pt x="94009" y="72380"/>
                  </a:lnTo>
                  <a:lnTo>
                    <a:pt x="93680" y="72063"/>
                  </a:lnTo>
                  <a:lnTo>
                    <a:pt x="93680" y="72063"/>
                  </a:lnTo>
                  <a:lnTo>
                    <a:pt x="93680" y="71587"/>
                  </a:lnTo>
                  <a:lnTo>
                    <a:pt x="93845" y="71587"/>
                  </a:lnTo>
                  <a:lnTo>
                    <a:pt x="93845" y="71587"/>
                  </a:lnTo>
                  <a:lnTo>
                    <a:pt x="93845" y="72063"/>
                  </a:lnTo>
                  <a:lnTo>
                    <a:pt x="93845" y="72063"/>
                  </a:lnTo>
                  <a:lnTo>
                    <a:pt x="94009" y="72063"/>
                  </a:lnTo>
                  <a:lnTo>
                    <a:pt x="94832" y="72380"/>
                  </a:lnTo>
                  <a:lnTo>
                    <a:pt x="94996" y="72380"/>
                  </a:lnTo>
                  <a:lnTo>
                    <a:pt x="94996" y="72063"/>
                  </a:lnTo>
                  <a:lnTo>
                    <a:pt x="94996" y="71587"/>
                  </a:lnTo>
                  <a:lnTo>
                    <a:pt x="95243" y="71587"/>
                  </a:lnTo>
                  <a:lnTo>
                    <a:pt x="95243" y="71269"/>
                  </a:lnTo>
                  <a:lnTo>
                    <a:pt x="94996" y="70476"/>
                  </a:lnTo>
                  <a:lnTo>
                    <a:pt x="94996" y="70476"/>
                  </a:lnTo>
                  <a:lnTo>
                    <a:pt x="94832" y="70476"/>
                  </a:lnTo>
                  <a:lnTo>
                    <a:pt x="94832" y="70476"/>
                  </a:lnTo>
                  <a:lnTo>
                    <a:pt x="94667" y="70476"/>
                  </a:lnTo>
                  <a:lnTo>
                    <a:pt x="94667" y="70476"/>
                  </a:lnTo>
                  <a:lnTo>
                    <a:pt x="94832" y="70476"/>
                  </a:lnTo>
                  <a:lnTo>
                    <a:pt x="94832" y="70158"/>
                  </a:lnTo>
                  <a:lnTo>
                    <a:pt x="94996" y="70158"/>
                  </a:lnTo>
                  <a:lnTo>
                    <a:pt x="94996" y="70158"/>
                  </a:lnTo>
                  <a:lnTo>
                    <a:pt x="94832" y="69841"/>
                  </a:lnTo>
                  <a:lnTo>
                    <a:pt x="94667" y="69841"/>
                  </a:lnTo>
                  <a:lnTo>
                    <a:pt x="94667" y="69841"/>
                  </a:lnTo>
                  <a:lnTo>
                    <a:pt x="94420" y="69841"/>
                  </a:lnTo>
                  <a:lnTo>
                    <a:pt x="94256" y="69841"/>
                  </a:lnTo>
                  <a:lnTo>
                    <a:pt x="94256" y="69841"/>
                  </a:lnTo>
                  <a:lnTo>
                    <a:pt x="94256" y="69841"/>
                  </a:lnTo>
                  <a:lnTo>
                    <a:pt x="94420" y="69841"/>
                  </a:lnTo>
                  <a:lnTo>
                    <a:pt x="94420" y="69841"/>
                  </a:lnTo>
                  <a:lnTo>
                    <a:pt x="94667" y="69365"/>
                  </a:lnTo>
                  <a:lnTo>
                    <a:pt x="94667" y="69365"/>
                  </a:lnTo>
                  <a:lnTo>
                    <a:pt x="94832" y="69365"/>
                  </a:lnTo>
                  <a:lnTo>
                    <a:pt x="94996" y="69365"/>
                  </a:lnTo>
                  <a:lnTo>
                    <a:pt x="94996" y="69047"/>
                  </a:lnTo>
                  <a:lnTo>
                    <a:pt x="94996" y="68571"/>
                  </a:lnTo>
                  <a:lnTo>
                    <a:pt x="95243" y="68571"/>
                  </a:lnTo>
                  <a:lnTo>
                    <a:pt x="95243" y="68571"/>
                  </a:lnTo>
                  <a:lnTo>
                    <a:pt x="95243" y="68571"/>
                  </a:lnTo>
                  <a:lnTo>
                    <a:pt x="95243" y="68253"/>
                  </a:lnTo>
                  <a:lnTo>
                    <a:pt x="94996" y="68253"/>
                  </a:lnTo>
                  <a:lnTo>
                    <a:pt x="94996" y="68253"/>
                  </a:lnTo>
                  <a:lnTo>
                    <a:pt x="94832" y="68253"/>
                  </a:lnTo>
                  <a:lnTo>
                    <a:pt x="94832" y="67460"/>
                  </a:lnTo>
                  <a:lnTo>
                    <a:pt x="94667" y="67460"/>
                  </a:lnTo>
                  <a:lnTo>
                    <a:pt x="94420" y="67460"/>
                  </a:lnTo>
                  <a:lnTo>
                    <a:pt x="94009" y="67936"/>
                  </a:lnTo>
                  <a:lnTo>
                    <a:pt x="93680" y="68253"/>
                  </a:lnTo>
                  <a:lnTo>
                    <a:pt x="93680" y="67936"/>
                  </a:lnTo>
                  <a:lnTo>
                    <a:pt x="93845" y="67936"/>
                  </a:lnTo>
                  <a:lnTo>
                    <a:pt x="94009" y="67936"/>
                  </a:lnTo>
                  <a:lnTo>
                    <a:pt x="94420" y="67460"/>
                  </a:lnTo>
                  <a:lnTo>
                    <a:pt x="94667" y="67142"/>
                  </a:lnTo>
                  <a:lnTo>
                    <a:pt x="94832" y="66825"/>
                  </a:lnTo>
                  <a:lnTo>
                    <a:pt x="94832" y="66349"/>
                  </a:lnTo>
                  <a:lnTo>
                    <a:pt x="94832" y="66349"/>
                  </a:lnTo>
                  <a:lnTo>
                    <a:pt x="94667" y="66825"/>
                  </a:lnTo>
                  <a:lnTo>
                    <a:pt x="94256" y="66825"/>
                  </a:lnTo>
                  <a:lnTo>
                    <a:pt x="94256" y="66825"/>
                  </a:lnTo>
                  <a:lnTo>
                    <a:pt x="94256" y="66825"/>
                  </a:lnTo>
                  <a:lnTo>
                    <a:pt x="94256" y="66825"/>
                  </a:lnTo>
                  <a:lnTo>
                    <a:pt x="94009" y="66825"/>
                  </a:lnTo>
                  <a:lnTo>
                    <a:pt x="94009" y="66825"/>
                  </a:lnTo>
                  <a:lnTo>
                    <a:pt x="93680" y="67142"/>
                  </a:lnTo>
                  <a:lnTo>
                    <a:pt x="93680" y="67142"/>
                  </a:lnTo>
                  <a:lnTo>
                    <a:pt x="93845" y="66825"/>
                  </a:lnTo>
                  <a:lnTo>
                    <a:pt x="93845" y="66825"/>
                  </a:lnTo>
                  <a:lnTo>
                    <a:pt x="94256" y="66349"/>
                  </a:lnTo>
                  <a:lnTo>
                    <a:pt x="94420" y="66349"/>
                  </a:lnTo>
                  <a:lnTo>
                    <a:pt x="94832" y="66031"/>
                  </a:lnTo>
                  <a:lnTo>
                    <a:pt x="94832" y="65714"/>
                  </a:lnTo>
                  <a:lnTo>
                    <a:pt x="94667" y="65238"/>
                  </a:lnTo>
                  <a:lnTo>
                    <a:pt x="94667" y="65238"/>
                  </a:lnTo>
                  <a:lnTo>
                    <a:pt x="94420" y="65238"/>
                  </a:lnTo>
                  <a:lnTo>
                    <a:pt x="94420" y="65238"/>
                  </a:lnTo>
                  <a:lnTo>
                    <a:pt x="94420" y="65238"/>
                  </a:lnTo>
                  <a:lnTo>
                    <a:pt x="94420" y="65238"/>
                  </a:lnTo>
                  <a:lnTo>
                    <a:pt x="94420" y="64920"/>
                  </a:lnTo>
                  <a:lnTo>
                    <a:pt x="94420" y="64920"/>
                  </a:lnTo>
                  <a:lnTo>
                    <a:pt x="94420" y="64920"/>
                  </a:lnTo>
                  <a:lnTo>
                    <a:pt x="94667" y="64920"/>
                  </a:lnTo>
                  <a:lnTo>
                    <a:pt x="94667" y="64920"/>
                  </a:lnTo>
                  <a:lnTo>
                    <a:pt x="94420" y="64920"/>
                  </a:lnTo>
                  <a:lnTo>
                    <a:pt x="94420" y="64920"/>
                  </a:lnTo>
                  <a:lnTo>
                    <a:pt x="94256" y="64920"/>
                  </a:lnTo>
                  <a:lnTo>
                    <a:pt x="93845" y="64920"/>
                  </a:lnTo>
                  <a:lnTo>
                    <a:pt x="93680" y="64920"/>
                  </a:lnTo>
                  <a:lnTo>
                    <a:pt x="93680" y="64920"/>
                  </a:lnTo>
                  <a:lnTo>
                    <a:pt x="93845" y="64920"/>
                  </a:lnTo>
                  <a:lnTo>
                    <a:pt x="94009" y="64920"/>
                  </a:lnTo>
                  <a:lnTo>
                    <a:pt x="94009" y="64920"/>
                  </a:lnTo>
                  <a:lnTo>
                    <a:pt x="94256" y="64444"/>
                  </a:lnTo>
                  <a:lnTo>
                    <a:pt x="94420" y="64444"/>
                  </a:lnTo>
                  <a:lnTo>
                    <a:pt x="94420" y="64126"/>
                  </a:lnTo>
                  <a:lnTo>
                    <a:pt x="94420" y="63809"/>
                  </a:lnTo>
                  <a:lnTo>
                    <a:pt x="94256" y="64126"/>
                  </a:lnTo>
                  <a:lnTo>
                    <a:pt x="94009" y="64126"/>
                  </a:lnTo>
                  <a:lnTo>
                    <a:pt x="94256" y="64126"/>
                  </a:lnTo>
                  <a:lnTo>
                    <a:pt x="94256" y="63809"/>
                  </a:lnTo>
                  <a:lnTo>
                    <a:pt x="94009" y="63809"/>
                  </a:lnTo>
                  <a:lnTo>
                    <a:pt x="94009" y="63809"/>
                  </a:lnTo>
                  <a:lnTo>
                    <a:pt x="94256" y="63809"/>
                  </a:lnTo>
                  <a:lnTo>
                    <a:pt x="94420" y="63333"/>
                  </a:lnTo>
                  <a:lnTo>
                    <a:pt x="94256" y="63333"/>
                  </a:lnTo>
                  <a:lnTo>
                    <a:pt x="94256" y="63015"/>
                  </a:lnTo>
                  <a:lnTo>
                    <a:pt x="94256" y="63015"/>
                  </a:lnTo>
                  <a:lnTo>
                    <a:pt x="94256" y="62698"/>
                  </a:lnTo>
                  <a:lnTo>
                    <a:pt x="94256" y="62698"/>
                  </a:lnTo>
                  <a:lnTo>
                    <a:pt x="94009" y="62698"/>
                  </a:lnTo>
                  <a:lnTo>
                    <a:pt x="94009" y="62698"/>
                  </a:lnTo>
                  <a:lnTo>
                    <a:pt x="94009" y="62222"/>
                  </a:lnTo>
                  <a:lnTo>
                    <a:pt x="94256" y="61904"/>
                  </a:lnTo>
                  <a:lnTo>
                    <a:pt x="94256" y="61904"/>
                  </a:lnTo>
                  <a:lnTo>
                    <a:pt x="94009" y="61904"/>
                  </a:lnTo>
                  <a:lnTo>
                    <a:pt x="93845" y="61904"/>
                  </a:lnTo>
                  <a:lnTo>
                    <a:pt x="93680" y="61904"/>
                  </a:lnTo>
                  <a:lnTo>
                    <a:pt x="93433" y="61904"/>
                  </a:lnTo>
                  <a:lnTo>
                    <a:pt x="93680" y="61904"/>
                  </a:lnTo>
                  <a:lnTo>
                    <a:pt x="93845" y="61587"/>
                  </a:lnTo>
                  <a:lnTo>
                    <a:pt x="94009" y="61587"/>
                  </a:lnTo>
                  <a:lnTo>
                    <a:pt x="94009" y="61111"/>
                  </a:lnTo>
                  <a:lnTo>
                    <a:pt x="94009" y="61111"/>
                  </a:lnTo>
                  <a:lnTo>
                    <a:pt x="93845" y="60793"/>
                  </a:lnTo>
                  <a:lnTo>
                    <a:pt x="93845" y="60793"/>
                  </a:lnTo>
                  <a:lnTo>
                    <a:pt x="93680" y="61111"/>
                  </a:lnTo>
                  <a:lnTo>
                    <a:pt x="93680" y="61111"/>
                  </a:lnTo>
                  <a:lnTo>
                    <a:pt x="93433" y="61111"/>
                  </a:lnTo>
                  <a:lnTo>
                    <a:pt x="93269" y="61904"/>
                  </a:lnTo>
                  <a:lnTo>
                    <a:pt x="93104" y="61904"/>
                  </a:lnTo>
                  <a:lnTo>
                    <a:pt x="92858" y="62222"/>
                  </a:lnTo>
                  <a:lnTo>
                    <a:pt x="92858" y="62222"/>
                  </a:lnTo>
                  <a:lnTo>
                    <a:pt x="92858" y="62222"/>
                  </a:lnTo>
                  <a:lnTo>
                    <a:pt x="92858" y="62698"/>
                  </a:lnTo>
                  <a:lnTo>
                    <a:pt x="93104" y="62698"/>
                  </a:lnTo>
                  <a:lnTo>
                    <a:pt x="92858" y="62698"/>
                  </a:lnTo>
                  <a:lnTo>
                    <a:pt x="92858" y="62698"/>
                  </a:lnTo>
                  <a:lnTo>
                    <a:pt x="92693" y="62698"/>
                  </a:lnTo>
                  <a:lnTo>
                    <a:pt x="92693" y="62698"/>
                  </a:lnTo>
                  <a:lnTo>
                    <a:pt x="92529" y="62698"/>
                  </a:lnTo>
                  <a:lnTo>
                    <a:pt x="92529" y="62698"/>
                  </a:lnTo>
                  <a:lnTo>
                    <a:pt x="92282" y="63015"/>
                  </a:lnTo>
                  <a:lnTo>
                    <a:pt x="92282" y="63015"/>
                  </a:lnTo>
                  <a:lnTo>
                    <a:pt x="92282" y="63015"/>
                  </a:lnTo>
                  <a:lnTo>
                    <a:pt x="92282" y="63333"/>
                  </a:lnTo>
                  <a:lnTo>
                    <a:pt x="92529" y="63333"/>
                  </a:lnTo>
                  <a:lnTo>
                    <a:pt x="92529" y="63333"/>
                  </a:lnTo>
                  <a:lnTo>
                    <a:pt x="92529" y="63809"/>
                  </a:lnTo>
                  <a:lnTo>
                    <a:pt x="92693" y="63809"/>
                  </a:lnTo>
                  <a:lnTo>
                    <a:pt x="92693" y="63809"/>
                  </a:lnTo>
                  <a:lnTo>
                    <a:pt x="92693" y="63809"/>
                  </a:lnTo>
                  <a:lnTo>
                    <a:pt x="92529" y="63333"/>
                  </a:lnTo>
                  <a:lnTo>
                    <a:pt x="92282" y="63333"/>
                  </a:lnTo>
                  <a:lnTo>
                    <a:pt x="92282" y="63333"/>
                  </a:lnTo>
                  <a:lnTo>
                    <a:pt x="92117" y="63809"/>
                  </a:lnTo>
                  <a:lnTo>
                    <a:pt x="92117" y="64126"/>
                  </a:lnTo>
                  <a:lnTo>
                    <a:pt x="92117" y="64126"/>
                  </a:lnTo>
                  <a:lnTo>
                    <a:pt x="92117" y="63809"/>
                  </a:lnTo>
                  <a:lnTo>
                    <a:pt x="91953" y="64126"/>
                  </a:lnTo>
                  <a:lnTo>
                    <a:pt x="91953" y="64126"/>
                  </a:lnTo>
                  <a:lnTo>
                    <a:pt x="91953" y="64444"/>
                  </a:lnTo>
                  <a:lnTo>
                    <a:pt x="91706" y="64126"/>
                  </a:lnTo>
                  <a:lnTo>
                    <a:pt x="91706" y="64126"/>
                  </a:lnTo>
                  <a:lnTo>
                    <a:pt x="91706" y="64444"/>
                  </a:lnTo>
                  <a:lnTo>
                    <a:pt x="91706" y="64444"/>
                  </a:lnTo>
                  <a:lnTo>
                    <a:pt x="91706" y="64444"/>
                  </a:lnTo>
                  <a:lnTo>
                    <a:pt x="91706" y="64444"/>
                  </a:lnTo>
                  <a:lnTo>
                    <a:pt x="91953" y="64920"/>
                  </a:lnTo>
                  <a:lnTo>
                    <a:pt x="91953" y="64920"/>
                  </a:lnTo>
                  <a:lnTo>
                    <a:pt x="91953" y="64920"/>
                  </a:lnTo>
                  <a:lnTo>
                    <a:pt x="91706" y="64920"/>
                  </a:lnTo>
                  <a:lnTo>
                    <a:pt x="91706" y="64920"/>
                  </a:lnTo>
                  <a:lnTo>
                    <a:pt x="91542" y="64920"/>
                  </a:lnTo>
                  <a:lnTo>
                    <a:pt x="91542" y="64920"/>
                  </a:lnTo>
                  <a:lnTo>
                    <a:pt x="91542" y="64920"/>
                  </a:lnTo>
                  <a:lnTo>
                    <a:pt x="91542" y="65238"/>
                  </a:lnTo>
                  <a:lnTo>
                    <a:pt x="91295" y="64920"/>
                  </a:lnTo>
                  <a:lnTo>
                    <a:pt x="91295" y="64920"/>
                  </a:lnTo>
                  <a:lnTo>
                    <a:pt x="91130" y="65238"/>
                  </a:lnTo>
                  <a:lnTo>
                    <a:pt x="91130" y="65238"/>
                  </a:lnTo>
                  <a:lnTo>
                    <a:pt x="91130" y="65238"/>
                  </a:lnTo>
                  <a:lnTo>
                    <a:pt x="91130" y="65714"/>
                  </a:lnTo>
                  <a:lnTo>
                    <a:pt x="91130" y="65714"/>
                  </a:lnTo>
                  <a:lnTo>
                    <a:pt x="90966" y="65714"/>
                  </a:lnTo>
                  <a:lnTo>
                    <a:pt x="90966" y="65714"/>
                  </a:lnTo>
                  <a:lnTo>
                    <a:pt x="90966" y="65714"/>
                  </a:lnTo>
                  <a:lnTo>
                    <a:pt x="90966" y="66031"/>
                  </a:lnTo>
                  <a:lnTo>
                    <a:pt x="90966" y="66349"/>
                  </a:lnTo>
                  <a:lnTo>
                    <a:pt x="90966" y="66349"/>
                  </a:lnTo>
                  <a:lnTo>
                    <a:pt x="90719" y="66349"/>
                  </a:lnTo>
                  <a:lnTo>
                    <a:pt x="90555" y="66825"/>
                  </a:lnTo>
                  <a:lnTo>
                    <a:pt x="90555" y="66825"/>
                  </a:lnTo>
                  <a:lnTo>
                    <a:pt x="90719" y="66349"/>
                  </a:lnTo>
                  <a:lnTo>
                    <a:pt x="90719" y="66349"/>
                  </a:lnTo>
                  <a:lnTo>
                    <a:pt x="90719" y="66031"/>
                  </a:lnTo>
                  <a:lnTo>
                    <a:pt x="90719" y="66031"/>
                  </a:lnTo>
                  <a:lnTo>
                    <a:pt x="90719" y="65714"/>
                  </a:lnTo>
                  <a:lnTo>
                    <a:pt x="90555" y="65714"/>
                  </a:lnTo>
                  <a:lnTo>
                    <a:pt x="90555" y="65714"/>
                  </a:lnTo>
                  <a:lnTo>
                    <a:pt x="90390" y="66031"/>
                  </a:lnTo>
                  <a:lnTo>
                    <a:pt x="90143" y="66031"/>
                  </a:lnTo>
                  <a:lnTo>
                    <a:pt x="90143" y="66031"/>
                  </a:lnTo>
                  <a:lnTo>
                    <a:pt x="89979" y="66349"/>
                  </a:lnTo>
                  <a:lnTo>
                    <a:pt x="89814" y="66825"/>
                  </a:lnTo>
                  <a:lnTo>
                    <a:pt x="89568" y="66825"/>
                  </a:lnTo>
                  <a:lnTo>
                    <a:pt x="89403" y="66825"/>
                  </a:lnTo>
                  <a:lnTo>
                    <a:pt x="89239" y="67142"/>
                  </a:lnTo>
                  <a:lnTo>
                    <a:pt x="88827" y="67142"/>
                  </a:lnTo>
                  <a:lnTo>
                    <a:pt x="88416" y="67460"/>
                  </a:lnTo>
                  <a:lnTo>
                    <a:pt x="88416" y="67460"/>
                  </a:lnTo>
                  <a:lnTo>
                    <a:pt x="88416" y="67460"/>
                  </a:lnTo>
                  <a:lnTo>
                    <a:pt x="88252" y="67936"/>
                  </a:lnTo>
                  <a:lnTo>
                    <a:pt x="88252" y="68253"/>
                  </a:lnTo>
                  <a:lnTo>
                    <a:pt x="88252" y="67936"/>
                  </a:lnTo>
                  <a:lnTo>
                    <a:pt x="88252" y="67936"/>
                  </a:lnTo>
                  <a:lnTo>
                    <a:pt x="88252" y="67460"/>
                  </a:lnTo>
                  <a:lnTo>
                    <a:pt x="88416" y="67460"/>
                  </a:lnTo>
                  <a:lnTo>
                    <a:pt x="88416" y="66825"/>
                  </a:lnTo>
                  <a:lnTo>
                    <a:pt x="88416" y="66825"/>
                  </a:lnTo>
                  <a:lnTo>
                    <a:pt x="88416" y="67142"/>
                  </a:lnTo>
                  <a:lnTo>
                    <a:pt x="88252" y="67142"/>
                  </a:lnTo>
                  <a:lnTo>
                    <a:pt x="88252" y="67142"/>
                  </a:lnTo>
                  <a:lnTo>
                    <a:pt x="87840" y="67460"/>
                  </a:lnTo>
                  <a:lnTo>
                    <a:pt x="87840" y="67460"/>
                  </a:lnTo>
                  <a:lnTo>
                    <a:pt x="88252" y="67142"/>
                  </a:lnTo>
                  <a:lnTo>
                    <a:pt x="88252" y="67142"/>
                  </a:lnTo>
                  <a:lnTo>
                    <a:pt x="88252" y="67142"/>
                  </a:lnTo>
                  <a:lnTo>
                    <a:pt x="88252" y="66825"/>
                  </a:lnTo>
                  <a:lnTo>
                    <a:pt x="88252" y="66825"/>
                  </a:lnTo>
                  <a:lnTo>
                    <a:pt x="88005" y="66825"/>
                  </a:lnTo>
                  <a:lnTo>
                    <a:pt x="87840" y="66825"/>
                  </a:lnTo>
                  <a:lnTo>
                    <a:pt x="87676" y="67460"/>
                  </a:lnTo>
                  <a:lnTo>
                    <a:pt x="87429" y="67936"/>
                  </a:lnTo>
                  <a:lnTo>
                    <a:pt x="87265" y="67936"/>
                  </a:lnTo>
                  <a:lnTo>
                    <a:pt x="87265" y="67936"/>
                  </a:lnTo>
                  <a:lnTo>
                    <a:pt x="86854" y="68253"/>
                  </a:lnTo>
                  <a:lnTo>
                    <a:pt x="86525" y="68253"/>
                  </a:lnTo>
                  <a:lnTo>
                    <a:pt x="86525" y="68253"/>
                  </a:lnTo>
                  <a:lnTo>
                    <a:pt x="86689" y="68253"/>
                  </a:lnTo>
                  <a:lnTo>
                    <a:pt x="86689" y="68253"/>
                  </a:lnTo>
                  <a:lnTo>
                    <a:pt x="87100" y="67936"/>
                  </a:lnTo>
                  <a:lnTo>
                    <a:pt x="87265" y="67936"/>
                  </a:lnTo>
                  <a:lnTo>
                    <a:pt x="87429" y="67460"/>
                  </a:lnTo>
                  <a:lnTo>
                    <a:pt x="87676" y="67460"/>
                  </a:lnTo>
                  <a:lnTo>
                    <a:pt x="87840" y="66825"/>
                  </a:lnTo>
                  <a:lnTo>
                    <a:pt x="87840" y="66825"/>
                  </a:lnTo>
                  <a:lnTo>
                    <a:pt x="88005" y="66349"/>
                  </a:lnTo>
                  <a:lnTo>
                    <a:pt x="88005" y="66349"/>
                  </a:lnTo>
                  <a:lnTo>
                    <a:pt x="87840" y="66349"/>
                  </a:lnTo>
                  <a:lnTo>
                    <a:pt x="88005" y="65714"/>
                  </a:lnTo>
                  <a:lnTo>
                    <a:pt x="88005" y="65714"/>
                  </a:lnTo>
                  <a:lnTo>
                    <a:pt x="87840" y="65714"/>
                  </a:lnTo>
                  <a:lnTo>
                    <a:pt x="87840" y="65238"/>
                  </a:lnTo>
                  <a:lnTo>
                    <a:pt x="87840" y="65238"/>
                  </a:lnTo>
                  <a:lnTo>
                    <a:pt x="87676" y="65238"/>
                  </a:lnTo>
                  <a:lnTo>
                    <a:pt x="87429" y="65238"/>
                  </a:lnTo>
                  <a:lnTo>
                    <a:pt x="87265" y="65238"/>
                  </a:lnTo>
                  <a:lnTo>
                    <a:pt x="87100" y="65238"/>
                  </a:lnTo>
                  <a:lnTo>
                    <a:pt x="87100" y="65238"/>
                  </a:lnTo>
                  <a:lnTo>
                    <a:pt x="86854" y="65714"/>
                  </a:lnTo>
                  <a:lnTo>
                    <a:pt x="86525" y="66031"/>
                  </a:lnTo>
                  <a:lnTo>
                    <a:pt x="86113" y="66031"/>
                  </a:lnTo>
                  <a:lnTo>
                    <a:pt x="86113" y="66031"/>
                  </a:lnTo>
                  <a:lnTo>
                    <a:pt x="85867" y="65714"/>
                  </a:lnTo>
                  <a:lnTo>
                    <a:pt x="85702" y="65714"/>
                  </a:lnTo>
                  <a:lnTo>
                    <a:pt x="85867" y="65714"/>
                  </a:lnTo>
                  <a:lnTo>
                    <a:pt x="86113" y="65714"/>
                  </a:lnTo>
                  <a:lnTo>
                    <a:pt x="86278" y="65238"/>
                  </a:lnTo>
                  <a:lnTo>
                    <a:pt x="86278" y="65238"/>
                  </a:lnTo>
                  <a:lnTo>
                    <a:pt x="86278" y="65238"/>
                  </a:lnTo>
                  <a:lnTo>
                    <a:pt x="86278" y="65238"/>
                  </a:lnTo>
                  <a:lnTo>
                    <a:pt x="86525" y="65238"/>
                  </a:lnTo>
                  <a:lnTo>
                    <a:pt x="86525" y="65238"/>
                  </a:lnTo>
                  <a:lnTo>
                    <a:pt x="86525" y="65238"/>
                  </a:lnTo>
                  <a:lnTo>
                    <a:pt x="86525" y="65714"/>
                  </a:lnTo>
                  <a:lnTo>
                    <a:pt x="86525" y="65714"/>
                  </a:lnTo>
                  <a:lnTo>
                    <a:pt x="86525" y="65714"/>
                  </a:lnTo>
                  <a:lnTo>
                    <a:pt x="86689" y="65238"/>
                  </a:lnTo>
                  <a:lnTo>
                    <a:pt x="86689" y="65238"/>
                  </a:lnTo>
                  <a:lnTo>
                    <a:pt x="86854" y="64920"/>
                  </a:lnTo>
                  <a:lnTo>
                    <a:pt x="86854" y="64920"/>
                  </a:lnTo>
                  <a:lnTo>
                    <a:pt x="87100" y="64920"/>
                  </a:lnTo>
                  <a:lnTo>
                    <a:pt x="87100" y="64920"/>
                  </a:lnTo>
                  <a:lnTo>
                    <a:pt x="87100" y="64444"/>
                  </a:lnTo>
                  <a:lnTo>
                    <a:pt x="87100" y="64444"/>
                  </a:lnTo>
                  <a:lnTo>
                    <a:pt x="87265" y="64126"/>
                  </a:lnTo>
                  <a:lnTo>
                    <a:pt x="87265" y="64126"/>
                  </a:lnTo>
                  <a:lnTo>
                    <a:pt x="87265" y="64126"/>
                  </a:lnTo>
                  <a:lnTo>
                    <a:pt x="86854" y="63809"/>
                  </a:lnTo>
                  <a:lnTo>
                    <a:pt x="86854" y="63809"/>
                  </a:lnTo>
                  <a:lnTo>
                    <a:pt x="87100" y="63333"/>
                  </a:lnTo>
                  <a:lnTo>
                    <a:pt x="87100" y="63333"/>
                  </a:lnTo>
                  <a:lnTo>
                    <a:pt x="87265" y="63015"/>
                  </a:lnTo>
                  <a:lnTo>
                    <a:pt x="87429" y="63015"/>
                  </a:lnTo>
                  <a:lnTo>
                    <a:pt x="87429" y="62698"/>
                  </a:lnTo>
                  <a:lnTo>
                    <a:pt x="87429" y="62698"/>
                  </a:lnTo>
                  <a:lnTo>
                    <a:pt x="87429" y="62222"/>
                  </a:lnTo>
                  <a:lnTo>
                    <a:pt x="87429" y="62222"/>
                  </a:lnTo>
                  <a:lnTo>
                    <a:pt x="87265" y="62222"/>
                  </a:lnTo>
                  <a:lnTo>
                    <a:pt x="86689" y="61904"/>
                  </a:lnTo>
                  <a:lnTo>
                    <a:pt x="86525" y="61904"/>
                  </a:lnTo>
                  <a:lnTo>
                    <a:pt x="86278" y="61904"/>
                  </a:lnTo>
                  <a:lnTo>
                    <a:pt x="86278" y="61904"/>
                  </a:lnTo>
                  <a:lnTo>
                    <a:pt x="86525" y="61904"/>
                  </a:lnTo>
                  <a:lnTo>
                    <a:pt x="87265" y="61904"/>
                  </a:lnTo>
                  <a:lnTo>
                    <a:pt x="87429" y="61904"/>
                  </a:lnTo>
                  <a:lnTo>
                    <a:pt x="87676" y="61587"/>
                  </a:lnTo>
                  <a:lnTo>
                    <a:pt x="87676" y="61587"/>
                  </a:lnTo>
                  <a:lnTo>
                    <a:pt x="87676" y="61587"/>
                  </a:lnTo>
                  <a:lnTo>
                    <a:pt x="87840" y="61111"/>
                  </a:lnTo>
                  <a:lnTo>
                    <a:pt x="87840" y="61111"/>
                  </a:lnTo>
                  <a:lnTo>
                    <a:pt x="87840" y="61111"/>
                  </a:lnTo>
                  <a:lnTo>
                    <a:pt x="87840" y="60793"/>
                  </a:lnTo>
                  <a:lnTo>
                    <a:pt x="87840" y="60793"/>
                  </a:lnTo>
                  <a:lnTo>
                    <a:pt x="87840" y="60793"/>
                  </a:lnTo>
                  <a:lnTo>
                    <a:pt x="87840" y="60317"/>
                  </a:lnTo>
                  <a:lnTo>
                    <a:pt x="88005" y="60000"/>
                  </a:lnTo>
                  <a:lnTo>
                    <a:pt x="88252" y="59682"/>
                  </a:lnTo>
                  <a:lnTo>
                    <a:pt x="88416" y="59682"/>
                  </a:lnTo>
                  <a:lnTo>
                    <a:pt x="88416" y="59682"/>
                  </a:lnTo>
                  <a:lnTo>
                    <a:pt x="88581" y="59206"/>
                  </a:lnTo>
                  <a:lnTo>
                    <a:pt x="88581" y="59206"/>
                  </a:lnTo>
                  <a:lnTo>
                    <a:pt x="88581" y="59206"/>
                  </a:lnTo>
                  <a:lnTo>
                    <a:pt x="88827" y="59206"/>
                  </a:lnTo>
                  <a:lnTo>
                    <a:pt x="88827" y="58888"/>
                  </a:lnTo>
                  <a:lnTo>
                    <a:pt x="88827" y="58888"/>
                  </a:lnTo>
                  <a:lnTo>
                    <a:pt x="88581" y="58571"/>
                  </a:lnTo>
                  <a:lnTo>
                    <a:pt x="88581" y="58888"/>
                  </a:lnTo>
                  <a:lnTo>
                    <a:pt x="88581" y="58888"/>
                  </a:lnTo>
                  <a:lnTo>
                    <a:pt x="88416" y="58888"/>
                  </a:lnTo>
                  <a:lnTo>
                    <a:pt x="88416" y="59206"/>
                  </a:lnTo>
                  <a:lnTo>
                    <a:pt x="88252" y="59206"/>
                  </a:lnTo>
                  <a:lnTo>
                    <a:pt x="88005" y="59206"/>
                  </a:lnTo>
                  <a:lnTo>
                    <a:pt x="88005" y="59206"/>
                  </a:lnTo>
                  <a:lnTo>
                    <a:pt x="87840" y="59206"/>
                  </a:lnTo>
                  <a:lnTo>
                    <a:pt x="87840" y="59206"/>
                  </a:lnTo>
                  <a:lnTo>
                    <a:pt x="87840" y="58888"/>
                  </a:lnTo>
                  <a:lnTo>
                    <a:pt x="87840" y="58888"/>
                  </a:lnTo>
                  <a:lnTo>
                    <a:pt x="87840" y="58888"/>
                  </a:lnTo>
                  <a:lnTo>
                    <a:pt x="87840" y="58571"/>
                  </a:lnTo>
                  <a:lnTo>
                    <a:pt x="87676" y="58571"/>
                  </a:lnTo>
                  <a:lnTo>
                    <a:pt x="87429" y="58888"/>
                  </a:lnTo>
                  <a:lnTo>
                    <a:pt x="87265" y="58888"/>
                  </a:lnTo>
                  <a:lnTo>
                    <a:pt x="86854" y="58571"/>
                  </a:lnTo>
                  <a:lnTo>
                    <a:pt x="86854" y="58571"/>
                  </a:lnTo>
                  <a:lnTo>
                    <a:pt x="86689" y="58571"/>
                  </a:lnTo>
                  <a:lnTo>
                    <a:pt x="86525" y="58571"/>
                  </a:lnTo>
                  <a:lnTo>
                    <a:pt x="86525" y="58095"/>
                  </a:lnTo>
                  <a:lnTo>
                    <a:pt x="86278" y="57777"/>
                  </a:lnTo>
                  <a:lnTo>
                    <a:pt x="86278" y="57777"/>
                  </a:lnTo>
                  <a:lnTo>
                    <a:pt x="86525" y="57777"/>
                  </a:lnTo>
                  <a:lnTo>
                    <a:pt x="86525" y="57777"/>
                  </a:lnTo>
                  <a:lnTo>
                    <a:pt x="86278" y="57777"/>
                  </a:lnTo>
                  <a:lnTo>
                    <a:pt x="86278" y="57301"/>
                  </a:lnTo>
                  <a:lnTo>
                    <a:pt x="86278" y="57301"/>
                  </a:lnTo>
                  <a:lnTo>
                    <a:pt x="86525" y="57301"/>
                  </a:lnTo>
                  <a:lnTo>
                    <a:pt x="86689" y="56984"/>
                  </a:lnTo>
                  <a:lnTo>
                    <a:pt x="86689" y="56984"/>
                  </a:lnTo>
                  <a:lnTo>
                    <a:pt x="86689" y="56984"/>
                  </a:lnTo>
                  <a:lnTo>
                    <a:pt x="86689" y="56984"/>
                  </a:lnTo>
                  <a:lnTo>
                    <a:pt x="86525" y="56666"/>
                  </a:lnTo>
                  <a:lnTo>
                    <a:pt x="86525" y="56666"/>
                  </a:lnTo>
                  <a:lnTo>
                    <a:pt x="86278" y="56984"/>
                  </a:lnTo>
                  <a:lnTo>
                    <a:pt x="86278" y="56984"/>
                  </a:lnTo>
                  <a:lnTo>
                    <a:pt x="85867" y="56984"/>
                  </a:lnTo>
                  <a:lnTo>
                    <a:pt x="85867" y="56984"/>
                  </a:lnTo>
                  <a:lnTo>
                    <a:pt x="86278" y="56984"/>
                  </a:lnTo>
                  <a:lnTo>
                    <a:pt x="86278" y="56984"/>
                  </a:lnTo>
                  <a:lnTo>
                    <a:pt x="86278" y="56666"/>
                  </a:lnTo>
                  <a:lnTo>
                    <a:pt x="86278" y="56666"/>
                  </a:lnTo>
                  <a:lnTo>
                    <a:pt x="86278" y="56666"/>
                  </a:lnTo>
                  <a:lnTo>
                    <a:pt x="86278" y="56190"/>
                  </a:lnTo>
                  <a:lnTo>
                    <a:pt x="86278" y="56190"/>
                  </a:lnTo>
                  <a:lnTo>
                    <a:pt x="86113" y="56190"/>
                  </a:lnTo>
                  <a:lnTo>
                    <a:pt x="85867" y="55873"/>
                  </a:lnTo>
                  <a:lnTo>
                    <a:pt x="85867" y="56190"/>
                  </a:lnTo>
                  <a:lnTo>
                    <a:pt x="85702" y="56190"/>
                  </a:lnTo>
                  <a:lnTo>
                    <a:pt x="85702" y="56190"/>
                  </a:lnTo>
                  <a:lnTo>
                    <a:pt x="85538" y="56190"/>
                  </a:lnTo>
                  <a:lnTo>
                    <a:pt x="85702" y="55873"/>
                  </a:lnTo>
                  <a:lnTo>
                    <a:pt x="85867" y="55873"/>
                  </a:lnTo>
                  <a:lnTo>
                    <a:pt x="85867" y="55555"/>
                  </a:lnTo>
                  <a:lnTo>
                    <a:pt x="85867" y="55555"/>
                  </a:lnTo>
                  <a:lnTo>
                    <a:pt x="85867" y="55555"/>
                  </a:lnTo>
                  <a:lnTo>
                    <a:pt x="85867" y="55555"/>
                  </a:lnTo>
                  <a:lnTo>
                    <a:pt x="85867" y="55555"/>
                  </a:lnTo>
                  <a:lnTo>
                    <a:pt x="85702" y="55555"/>
                  </a:lnTo>
                  <a:lnTo>
                    <a:pt x="85702" y="55079"/>
                  </a:lnTo>
                  <a:lnTo>
                    <a:pt x="85538" y="55079"/>
                  </a:lnTo>
                  <a:lnTo>
                    <a:pt x="85538" y="55079"/>
                  </a:lnTo>
                  <a:lnTo>
                    <a:pt x="85291" y="54761"/>
                  </a:lnTo>
                  <a:lnTo>
                    <a:pt x="85291" y="54761"/>
                  </a:lnTo>
                  <a:lnTo>
                    <a:pt x="85126" y="54444"/>
                  </a:lnTo>
                  <a:lnTo>
                    <a:pt x="85126" y="54444"/>
                  </a:lnTo>
                  <a:lnTo>
                    <a:pt x="84962" y="54444"/>
                  </a:lnTo>
                  <a:lnTo>
                    <a:pt x="84715" y="54444"/>
                  </a:lnTo>
                  <a:lnTo>
                    <a:pt x="84551" y="54761"/>
                  </a:lnTo>
                  <a:lnTo>
                    <a:pt x="84386" y="54761"/>
                  </a:lnTo>
                  <a:lnTo>
                    <a:pt x="83975" y="55079"/>
                  </a:lnTo>
                  <a:lnTo>
                    <a:pt x="83810" y="55079"/>
                  </a:lnTo>
                  <a:lnTo>
                    <a:pt x="83564" y="55079"/>
                  </a:lnTo>
                  <a:lnTo>
                    <a:pt x="83564" y="55555"/>
                  </a:lnTo>
                  <a:lnTo>
                    <a:pt x="83564" y="55555"/>
                  </a:lnTo>
                  <a:lnTo>
                    <a:pt x="83399" y="55079"/>
                  </a:lnTo>
                  <a:lnTo>
                    <a:pt x="83399" y="55079"/>
                  </a:lnTo>
                  <a:lnTo>
                    <a:pt x="83235" y="55079"/>
                  </a:lnTo>
                  <a:lnTo>
                    <a:pt x="82988" y="54761"/>
                  </a:lnTo>
                  <a:lnTo>
                    <a:pt x="82823" y="54761"/>
                  </a:lnTo>
                  <a:lnTo>
                    <a:pt x="82823" y="55079"/>
                  </a:lnTo>
                  <a:lnTo>
                    <a:pt x="82248" y="55079"/>
                  </a:lnTo>
                  <a:lnTo>
                    <a:pt x="82248" y="55079"/>
                  </a:lnTo>
                  <a:lnTo>
                    <a:pt x="82412" y="55079"/>
                  </a:lnTo>
                  <a:lnTo>
                    <a:pt x="82412" y="54761"/>
                  </a:lnTo>
                  <a:lnTo>
                    <a:pt x="81672" y="54444"/>
                  </a:lnTo>
                  <a:lnTo>
                    <a:pt x="81425" y="54444"/>
                  </a:lnTo>
                  <a:lnTo>
                    <a:pt x="81096" y="53968"/>
                  </a:lnTo>
                  <a:lnTo>
                    <a:pt x="80849" y="53968"/>
                  </a:lnTo>
                  <a:lnTo>
                    <a:pt x="80520" y="54444"/>
                  </a:lnTo>
                  <a:lnTo>
                    <a:pt x="80109" y="54444"/>
                  </a:lnTo>
                  <a:lnTo>
                    <a:pt x="79698" y="54761"/>
                  </a:lnTo>
                  <a:lnTo>
                    <a:pt x="79698" y="54761"/>
                  </a:lnTo>
                  <a:lnTo>
                    <a:pt x="79533" y="55079"/>
                  </a:lnTo>
                  <a:lnTo>
                    <a:pt x="79533" y="55079"/>
                  </a:lnTo>
                  <a:lnTo>
                    <a:pt x="79287" y="55555"/>
                  </a:lnTo>
                  <a:lnTo>
                    <a:pt x="79287" y="55873"/>
                  </a:lnTo>
                  <a:lnTo>
                    <a:pt x="79287" y="56190"/>
                  </a:lnTo>
                  <a:lnTo>
                    <a:pt x="79287" y="56666"/>
                  </a:lnTo>
                  <a:lnTo>
                    <a:pt x="79287" y="56666"/>
                  </a:lnTo>
                  <a:lnTo>
                    <a:pt x="79287" y="56666"/>
                  </a:lnTo>
                  <a:lnTo>
                    <a:pt x="79533" y="56984"/>
                  </a:lnTo>
                  <a:lnTo>
                    <a:pt x="79533" y="56984"/>
                  </a:lnTo>
                  <a:lnTo>
                    <a:pt x="79287" y="57301"/>
                  </a:lnTo>
                  <a:lnTo>
                    <a:pt x="79122" y="57301"/>
                  </a:lnTo>
                  <a:lnTo>
                    <a:pt x="79122" y="57777"/>
                  </a:lnTo>
                  <a:lnTo>
                    <a:pt x="78958" y="58095"/>
                  </a:lnTo>
                  <a:lnTo>
                    <a:pt x="78958" y="58095"/>
                  </a:lnTo>
                  <a:lnTo>
                    <a:pt x="78958" y="58571"/>
                  </a:lnTo>
                  <a:lnTo>
                    <a:pt x="78711" y="58571"/>
                  </a:lnTo>
                  <a:lnTo>
                    <a:pt x="78546" y="58888"/>
                  </a:lnTo>
                  <a:lnTo>
                    <a:pt x="78135" y="59206"/>
                  </a:lnTo>
                  <a:lnTo>
                    <a:pt x="77971" y="59206"/>
                  </a:lnTo>
                  <a:lnTo>
                    <a:pt x="78135" y="59206"/>
                  </a:lnTo>
                  <a:lnTo>
                    <a:pt x="78135" y="59206"/>
                  </a:lnTo>
                  <a:lnTo>
                    <a:pt x="78382" y="59682"/>
                  </a:lnTo>
                  <a:lnTo>
                    <a:pt x="78711" y="59206"/>
                  </a:lnTo>
                  <a:lnTo>
                    <a:pt x="78711" y="59682"/>
                  </a:lnTo>
                  <a:lnTo>
                    <a:pt x="78546" y="59682"/>
                  </a:lnTo>
                  <a:lnTo>
                    <a:pt x="78382" y="59682"/>
                  </a:lnTo>
                  <a:lnTo>
                    <a:pt x="78382" y="60000"/>
                  </a:lnTo>
                  <a:lnTo>
                    <a:pt x="78382" y="60000"/>
                  </a:lnTo>
                  <a:lnTo>
                    <a:pt x="78382" y="60000"/>
                  </a:lnTo>
                  <a:lnTo>
                    <a:pt x="78382" y="60000"/>
                  </a:lnTo>
                  <a:lnTo>
                    <a:pt x="78546" y="60317"/>
                  </a:lnTo>
                  <a:lnTo>
                    <a:pt x="78546" y="60317"/>
                  </a:lnTo>
                  <a:lnTo>
                    <a:pt x="78382" y="60317"/>
                  </a:lnTo>
                  <a:lnTo>
                    <a:pt x="78135" y="60793"/>
                  </a:lnTo>
                  <a:lnTo>
                    <a:pt x="78135" y="60793"/>
                  </a:lnTo>
                  <a:lnTo>
                    <a:pt x="78135" y="61587"/>
                  </a:lnTo>
                  <a:lnTo>
                    <a:pt x="78135" y="61587"/>
                  </a:lnTo>
                  <a:lnTo>
                    <a:pt x="77971" y="61587"/>
                  </a:lnTo>
                  <a:lnTo>
                    <a:pt x="77971" y="61587"/>
                  </a:lnTo>
                  <a:lnTo>
                    <a:pt x="77971" y="61904"/>
                  </a:lnTo>
                  <a:lnTo>
                    <a:pt x="78382" y="61904"/>
                  </a:lnTo>
                  <a:lnTo>
                    <a:pt x="78382" y="61904"/>
                  </a:lnTo>
                  <a:lnTo>
                    <a:pt x="78135" y="62222"/>
                  </a:lnTo>
                  <a:lnTo>
                    <a:pt x="77971" y="62222"/>
                  </a:lnTo>
                  <a:lnTo>
                    <a:pt x="77971" y="62222"/>
                  </a:lnTo>
                  <a:lnTo>
                    <a:pt x="77971" y="62698"/>
                  </a:lnTo>
                  <a:lnTo>
                    <a:pt x="77806" y="62698"/>
                  </a:lnTo>
                  <a:lnTo>
                    <a:pt x="77806" y="63015"/>
                  </a:lnTo>
                  <a:lnTo>
                    <a:pt x="77806" y="63015"/>
                  </a:lnTo>
                  <a:lnTo>
                    <a:pt x="77806" y="63333"/>
                  </a:lnTo>
                  <a:lnTo>
                    <a:pt x="77806" y="63333"/>
                  </a:lnTo>
                  <a:lnTo>
                    <a:pt x="77559" y="63015"/>
                  </a:lnTo>
                  <a:lnTo>
                    <a:pt x="77395" y="63015"/>
                  </a:lnTo>
                  <a:lnTo>
                    <a:pt x="77395" y="63015"/>
                  </a:lnTo>
                  <a:lnTo>
                    <a:pt x="77148" y="63333"/>
                  </a:lnTo>
                  <a:lnTo>
                    <a:pt x="77148" y="63333"/>
                  </a:lnTo>
                  <a:lnTo>
                    <a:pt x="76984" y="63333"/>
                  </a:lnTo>
                  <a:lnTo>
                    <a:pt x="76984" y="63809"/>
                  </a:lnTo>
                  <a:lnTo>
                    <a:pt x="76984" y="63809"/>
                  </a:lnTo>
                  <a:lnTo>
                    <a:pt x="76984" y="63809"/>
                  </a:lnTo>
                  <a:lnTo>
                    <a:pt x="76819" y="64126"/>
                  </a:lnTo>
                  <a:lnTo>
                    <a:pt x="76572" y="64126"/>
                  </a:lnTo>
                  <a:lnTo>
                    <a:pt x="76408" y="64444"/>
                  </a:lnTo>
                  <a:lnTo>
                    <a:pt x="76408" y="64444"/>
                  </a:lnTo>
                  <a:lnTo>
                    <a:pt x="75997" y="64920"/>
                  </a:lnTo>
                  <a:lnTo>
                    <a:pt x="75668" y="65238"/>
                  </a:lnTo>
                  <a:lnTo>
                    <a:pt x="75668" y="65238"/>
                  </a:lnTo>
                  <a:lnTo>
                    <a:pt x="75668" y="65714"/>
                  </a:lnTo>
                  <a:lnTo>
                    <a:pt x="75421" y="65714"/>
                  </a:lnTo>
                  <a:lnTo>
                    <a:pt x="75421" y="66031"/>
                  </a:lnTo>
                  <a:lnTo>
                    <a:pt x="75421" y="66031"/>
                  </a:lnTo>
                  <a:lnTo>
                    <a:pt x="75421" y="66349"/>
                  </a:lnTo>
                  <a:lnTo>
                    <a:pt x="75421" y="66349"/>
                  </a:lnTo>
                  <a:lnTo>
                    <a:pt x="75832" y="66825"/>
                  </a:lnTo>
                  <a:lnTo>
                    <a:pt x="75832" y="67142"/>
                  </a:lnTo>
                  <a:lnTo>
                    <a:pt x="75997" y="67142"/>
                  </a:lnTo>
                  <a:lnTo>
                    <a:pt x="76244" y="67460"/>
                  </a:lnTo>
                  <a:lnTo>
                    <a:pt x="76244" y="67460"/>
                  </a:lnTo>
                  <a:lnTo>
                    <a:pt x="76408" y="67936"/>
                  </a:lnTo>
                  <a:lnTo>
                    <a:pt x="76408" y="69047"/>
                  </a:lnTo>
                  <a:lnTo>
                    <a:pt x="76408" y="69047"/>
                  </a:lnTo>
                  <a:lnTo>
                    <a:pt x="76408" y="69365"/>
                  </a:lnTo>
                  <a:lnTo>
                    <a:pt x="76408" y="70158"/>
                  </a:lnTo>
                  <a:lnTo>
                    <a:pt x="76408" y="70476"/>
                  </a:lnTo>
                  <a:lnTo>
                    <a:pt x="76408" y="70476"/>
                  </a:lnTo>
                  <a:lnTo>
                    <a:pt x="75997" y="71587"/>
                  </a:lnTo>
                  <a:lnTo>
                    <a:pt x="75997" y="72063"/>
                  </a:lnTo>
                  <a:lnTo>
                    <a:pt x="75668" y="72698"/>
                  </a:lnTo>
                  <a:lnTo>
                    <a:pt x="75668" y="73174"/>
                  </a:lnTo>
                  <a:lnTo>
                    <a:pt x="75257" y="73968"/>
                  </a:lnTo>
                  <a:lnTo>
                    <a:pt x="75257" y="73968"/>
                  </a:lnTo>
                  <a:lnTo>
                    <a:pt x="74845" y="74285"/>
                  </a:lnTo>
                  <a:lnTo>
                    <a:pt x="74681" y="74603"/>
                  </a:lnTo>
                  <a:lnTo>
                    <a:pt x="74270" y="75079"/>
                  </a:lnTo>
                  <a:lnTo>
                    <a:pt x="74105" y="75396"/>
                  </a:lnTo>
                  <a:lnTo>
                    <a:pt x="73858" y="75714"/>
                  </a:lnTo>
                  <a:lnTo>
                    <a:pt x="73118" y="76507"/>
                  </a:lnTo>
                  <a:lnTo>
                    <a:pt x="72954" y="76507"/>
                  </a:lnTo>
                  <a:lnTo>
                    <a:pt x="72707" y="76825"/>
                  </a:lnTo>
                  <a:lnTo>
                    <a:pt x="72378" y="76825"/>
                  </a:lnTo>
                  <a:lnTo>
                    <a:pt x="72131" y="77301"/>
                  </a:lnTo>
                  <a:lnTo>
                    <a:pt x="71720" y="77619"/>
                  </a:lnTo>
                  <a:lnTo>
                    <a:pt x="71144" y="77619"/>
                  </a:lnTo>
                  <a:lnTo>
                    <a:pt x="71144" y="78095"/>
                  </a:lnTo>
                  <a:lnTo>
                    <a:pt x="69993" y="78412"/>
                  </a:lnTo>
                  <a:lnTo>
                    <a:pt x="69993" y="78412"/>
                  </a:lnTo>
                  <a:lnTo>
                    <a:pt x="69828" y="78730"/>
                  </a:lnTo>
                  <a:lnTo>
                    <a:pt x="69993" y="78730"/>
                  </a:lnTo>
                  <a:lnTo>
                    <a:pt x="69993" y="78730"/>
                  </a:lnTo>
                  <a:lnTo>
                    <a:pt x="69993" y="78730"/>
                  </a:lnTo>
                  <a:lnTo>
                    <a:pt x="69993" y="79206"/>
                  </a:lnTo>
                  <a:lnTo>
                    <a:pt x="69993" y="79523"/>
                  </a:lnTo>
                  <a:lnTo>
                    <a:pt x="69993" y="79523"/>
                  </a:lnTo>
                  <a:lnTo>
                    <a:pt x="69993" y="79841"/>
                  </a:lnTo>
                  <a:lnTo>
                    <a:pt x="69993" y="79841"/>
                  </a:lnTo>
                  <a:lnTo>
                    <a:pt x="69993" y="80317"/>
                  </a:lnTo>
                  <a:lnTo>
                    <a:pt x="70239" y="80317"/>
                  </a:lnTo>
                  <a:lnTo>
                    <a:pt x="70239" y="80317"/>
                  </a:lnTo>
                  <a:lnTo>
                    <a:pt x="69993" y="80317"/>
                  </a:lnTo>
                  <a:lnTo>
                    <a:pt x="69993" y="80317"/>
                  </a:lnTo>
                  <a:lnTo>
                    <a:pt x="70239" y="80634"/>
                  </a:lnTo>
                  <a:lnTo>
                    <a:pt x="70239" y="80634"/>
                  </a:lnTo>
                  <a:lnTo>
                    <a:pt x="70239" y="80634"/>
                  </a:lnTo>
                  <a:lnTo>
                    <a:pt x="69993" y="80952"/>
                  </a:lnTo>
                  <a:lnTo>
                    <a:pt x="69993" y="80952"/>
                  </a:lnTo>
                  <a:lnTo>
                    <a:pt x="69993" y="80952"/>
                  </a:lnTo>
                  <a:lnTo>
                    <a:pt x="70239" y="80952"/>
                  </a:lnTo>
                  <a:lnTo>
                    <a:pt x="69993" y="81428"/>
                  </a:lnTo>
                  <a:lnTo>
                    <a:pt x="69993" y="80952"/>
                  </a:lnTo>
                  <a:lnTo>
                    <a:pt x="69993" y="81428"/>
                  </a:lnTo>
                  <a:lnTo>
                    <a:pt x="69828" y="81428"/>
                  </a:lnTo>
                  <a:lnTo>
                    <a:pt x="69828" y="81428"/>
                  </a:lnTo>
                  <a:lnTo>
                    <a:pt x="69828" y="81746"/>
                  </a:lnTo>
                  <a:lnTo>
                    <a:pt x="69828" y="82222"/>
                  </a:lnTo>
                  <a:lnTo>
                    <a:pt x="69664" y="82539"/>
                  </a:lnTo>
                  <a:lnTo>
                    <a:pt x="69417" y="83333"/>
                  </a:lnTo>
                  <a:lnTo>
                    <a:pt x="69417" y="83650"/>
                  </a:lnTo>
                  <a:lnTo>
                    <a:pt x="69417" y="83968"/>
                  </a:lnTo>
                  <a:lnTo>
                    <a:pt x="69417" y="83968"/>
                  </a:lnTo>
                  <a:lnTo>
                    <a:pt x="69417" y="84444"/>
                  </a:lnTo>
                  <a:lnTo>
                    <a:pt x="69417" y="84444"/>
                  </a:lnTo>
                  <a:lnTo>
                    <a:pt x="69417" y="84761"/>
                  </a:lnTo>
                  <a:lnTo>
                    <a:pt x="69252" y="85079"/>
                  </a:lnTo>
                  <a:lnTo>
                    <a:pt x="69252" y="85079"/>
                  </a:lnTo>
                  <a:lnTo>
                    <a:pt x="69417" y="85555"/>
                  </a:lnTo>
                  <a:lnTo>
                    <a:pt x="69417" y="85555"/>
                  </a:lnTo>
                  <a:lnTo>
                    <a:pt x="69252" y="85873"/>
                  </a:lnTo>
                  <a:lnTo>
                    <a:pt x="69252" y="85873"/>
                  </a:lnTo>
                  <a:lnTo>
                    <a:pt x="69252" y="86349"/>
                  </a:lnTo>
                  <a:lnTo>
                    <a:pt x="69252" y="86349"/>
                  </a:lnTo>
                  <a:lnTo>
                    <a:pt x="69252" y="86349"/>
                  </a:lnTo>
                  <a:lnTo>
                    <a:pt x="69252" y="86349"/>
                  </a:lnTo>
                  <a:lnTo>
                    <a:pt x="69006" y="86666"/>
                  </a:lnTo>
                  <a:lnTo>
                    <a:pt x="68841" y="86984"/>
                  </a:lnTo>
                  <a:lnTo>
                    <a:pt x="68430" y="86984"/>
                  </a:lnTo>
                  <a:lnTo>
                    <a:pt x="68430" y="87460"/>
                  </a:lnTo>
                  <a:lnTo>
                    <a:pt x="68265" y="87460"/>
                  </a:lnTo>
                  <a:lnTo>
                    <a:pt x="68265" y="87777"/>
                  </a:lnTo>
                  <a:lnTo>
                    <a:pt x="68265" y="87777"/>
                  </a:lnTo>
                  <a:lnTo>
                    <a:pt x="68101" y="87777"/>
                  </a:lnTo>
                  <a:lnTo>
                    <a:pt x="68265" y="88571"/>
                  </a:lnTo>
                  <a:lnTo>
                    <a:pt x="68265" y="88571"/>
                  </a:lnTo>
                  <a:lnTo>
                    <a:pt x="68265" y="88571"/>
                  </a:lnTo>
                  <a:lnTo>
                    <a:pt x="68101" y="88888"/>
                  </a:lnTo>
                  <a:lnTo>
                    <a:pt x="68101" y="88888"/>
                  </a:lnTo>
                  <a:lnTo>
                    <a:pt x="67854" y="89206"/>
                  </a:lnTo>
                  <a:lnTo>
                    <a:pt x="67690" y="89682"/>
                  </a:lnTo>
                  <a:lnTo>
                    <a:pt x="67854" y="89206"/>
                  </a:lnTo>
                  <a:lnTo>
                    <a:pt x="67854" y="88888"/>
                  </a:lnTo>
                  <a:lnTo>
                    <a:pt x="67854" y="88888"/>
                  </a:lnTo>
                  <a:lnTo>
                    <a:pt x="67854" y="88888"/>
                  </a:lnTo>
                  <a:lnTo>
                    <a:pt x="67854" y="88571"/>
                  </a:lnTo>
                  <a:lnTo>
                    <a:pt x="67690" y="88571"/>
                  </a:lnTo>
                  <a:lnTo>
                    <a:pt x="67690" y="88571"/>
                  </a:lnTo>
                  <a:lnTo>
                    <a:pt x="67690" y="88571"/>
                  </a:lnTo>
                  <a:lnTo>
                    <a:pt x="67690" y="88095"/>
                  </a:lnTo>
                  <a:lnTo>
                    <a:pt x="67525" y="88095"/>
                  </a:lnTo>
                  <a:lnTo>
                    <a:pt x="67278" y="88571"/>
                  </a:lnTo>
                  <a:lnTo>
                    <a:pt x="67278" y="88571"/>
                  </a:lnTo>
                  <a:lnTo>
                    <a:pt x="67114" y="88571"/>
                  </a:lnTo>
                  <a:lnTo>
                    <a:pt x="67114" y="88888"/>
                  </a:lnTo>
                  <a:lnTo>
                    <a:pt x="66949" y="88888"/>
                  </a:lnTo>
                  <a:lnTo>
                    <a:pt x="66949" y="89206"/>
                  </a:lnTo>
                  <a:lnTo>
                    <a:pt x="66703" y="89682"/>
                  </a:lnTo>
                  <a:lnTo>
                    <a:pt x="66703" y="89682"/>
                  </a:lnTo>
                  <a:lnTo>
                    <a:pt x="66703" y="89682"/>
                  </a:lnTo>
                  <a:lnTo>
                    <a:pt x="66703" y="90000"/>
                  </a:lnTo>
                  <a:lnTo>
                    <a:pt x="66703" y="90000"/>
                  </a:lnTo>
                  <a:lnTo>
                    <a:pt x="66703" y="90476"/>
                  </a:lnTo>
                  <a:lnTo>
                    <a:pt x="66949" y="90793"/>
                  </a:lnTo>
                  <a:lnTo>
                    <a:pt x="66703" y="91111"/>
                  </a:lnTo>
                  <a:lnTo>
                    <a:pt x="66703" y="90793"/>
                  </a:lnTo>
                  <a:lnTo>
                    <a:pt x="66703" y="90476"/>
                  </a:lnTo>
                  <a:lnTo>
                    <a:pt x="66538" y="89682"/>
                  </a:lnTo>
                  <a:lnTo>
                    <a:pt x="66291" y="89682"/>
                  </a:lnTo>
                  <a:lnTo>
                    <a:pt x="66291" y="89206"/>
                  </a:lnTo>
                  <a:lnTo>
                    <a:pt x="66127" y="89206"/>
                  </a:lnTo>
                  <a:lnTo>
                    <a:pt x="65962" y="89206"/>
                  </a:lnTo>
                  <a:lnTo>
                    <a:pt x="65716" y="89206"/>
                  </a:lnTo>
                  <a:lnTo>
                    <a:pt x="65387" y="89682"/>
                  </a:lnTo>
                  <a:lnTo>
                    <a:pt x="65140" y="90000"/>
                  </a:lnTo>
                  <a:lnTo>
                    <a:pt x="65140" y="90000"/>
                  </a:lnTo>
                  <a:lnTo>
                    <a:pt x="65551" y="89206"/>
                  </a:lnTo>
                  <a:lnTo>
                    <a:pt x="65716" y="89206"/>
                  </a:lnTo>
                  <a:lnTo>
                    <a:pt x="65962" y="88888"/>
                  </a:lnTo>
                  <a:lnTo>
                    <a:pt x="65962" y="88888"/>
                  </a:lnTo>
                  <a:lnTo>
                    <a:pt x="65962" y="88571"/>
                  </a:lnTo>
                  <a:lnTo>
                    <a:pt x="65962" y="88095"/>
                  </a:lnTo>
                  <a:lnTo>
                    <a:pt x="65962" y="87777"/>
                  </a:lnTo>
                  <a:lnTo>
                    <a:pt x="65962" y="87777"/>
                  </a:lnTo>
                  <a:lnTo>
                    <a:pt x="65716" y="86984"/>
                  </a:lnTo>
                  <a:lnTo>
                    <a:pt x="65551" y="86984"/>
                  </a:lnTo>
                  <a:lnTo>
                    <a:pt x="65387" y="86666"/>
                  </a:lnTo>
                  <a:lnTo>
                    <a:pt x="65387" y="86666"/>
                  </a:lnTo>
                  <a:lnTo>
                    <a:pt x="65387" y="86349"/>
                  </a:lnTo>
                  <a:lnTo>
                    <a:pt x="65140" y="86349"/>
                  </a:lnTo>
                  <a:lnTo>
                    <a:pt x="65140" y="86349"/>
                  </a:lnTo>
                  <a:lnTo>
                    <a:pt x="64976" y="86349"/>
                  </a:lnTo>
                  <a:lnTo>
                    <a:pt x="64811" y="86349"/>
                  </a:lnTo>
                  <a:lnTo>
                    <a:pt x="64976" y="86349"/>
                  </a:lnTo>
                  <a:lnTo>
                    <a:pt x="65140" y="86349"/>
                  </a:lnTo>
                  <a:lnTo>
                    <a:pt x="65140" y="85873"/>
                  </a:lnTo>
                  <a:lnTo>
                    <a:pt x="65387" y="85873"/>
                  </a:lnTo>
                  <a:lnTo>
                    <a:pt x="65387" y="85555"/>
                  </a:lnTo>
                  <a:lnTo>
                    <a:pt x="65387" y="85079"/>
                  </a:lnTo>
                  <a:lnTo>
                    <a:pt x="65140" y="85079"/>
                  </a:lnTo>
                  <a:lnTo>
                    <a:pt x="65140" y="84444"/>
                  </a:lnTo>
                  <a:lnTo>
                    <a:pt x="65140" y="84444"/>
                  </a:lnTo>
                  <a:lnTo>
                    <a:pt x="64976" y="83968"/>
                  </a:lnTo>
                  <a:lnTo>
                    <a:pt x="64976" y="83968"/>
                  </a:lnTo>
                  <a:lnTo>
                    <a:pt x="64976" y="83650"/>
                  </a:lnTo>
                  <a:lnTo>
                    <a:pt x="64976" y="83650"/>
                  </a:lnTo>
                  <a:lnTo>
                    <a:pt x="65140" y="83333"/>
                  </a:lnTo>
                  <a:lnTo>
                    <a:pt x="65387" y="83333"/>
                  </a:lnTo>
                  <a:lnTo>
                    <a:pt x="65387" y="82857"/>
                  </a:lnTo>
                  <a:lnTo>
                    <a:pt x="65551" y="82539"/>
                  </a:lnTo>
                  <a:lnTo>
                    <a:pt x="65551" y="82222"/>
                  </a:lnTo>
                  <a:lnTo>
                    <a:pt x="65716" y="81746"/>
                  </a:lnTo>
                  <a:lnTo>
                    <a:pt x="65962" y="81428"/>
                  </a:lnTo>
                  <a:lnTo>
                    <a:pt x="65962" y="81428"/>
                  </a:lnTo>
                  <a:lnTo>
                    <a:pt x="65962" y="80952"/>
                  </a:lnTo>
                  <a:lnTo>
                    <a:pt x="66127" y="80634"/>
                  </a:lnTo>
                  <a:lnTo>
                    <a:pt x="66127" y="80317"/>
                  </a:lnTo>
                  <a:lnTo>
                    <a:pt x="65962" y="80317"/>
                  </a:lnTo>
                  <a:lnTo>
                    <a:pt x="65962" y="79841"/>
                  </a:lnTo>
                  <a:lnTo>
                    <a:pt x="66127" y="79523"/>
                  </a:lnTo>
                  <a:lnTo>
                    <a:pt x="66291" y="79206"/>
                  </a:lnTo>
                  <a:lnTo>
                    <a:pt x="66949" y="78095"/>
                  </a:lnTo>
                  <a:lnTo>
                    <a:pt x="66949" y="78095"/>
                  </a:lnTo>
                  <a:lnTo>
                    <a:pt x="66949" y="77619"/>
                  </a:lnTo>
                  <a:lnTo>
                    <a:pt x="66949" y="77301"/>
                  </a:lnTo>
                  <a:lnTo>
                    <a:pt x="66703" y="76825"/>
                  </a:lnTo>
                  <a:lnTo>
                    <a:pt x="66538" y="76825"/>
                  </a:lnTo>
                  <a:lnTo>
                    <a:pt x="66538" y="76825"/>
                  </a:lnTo>
                  <a:lnTo>
                    <a:pt x="66291" y="76825"/>
                  </a:lnTo>
                  <a:lnTo>
                    <a:pt x="66291" y="76825"/>
                  </a:lnTo>
                  <a:lnTo>
                    <a:pt x="66291" y="76825"/>
                  </a:lnTo>
                  <a:lnTo>
                    <a:pt x="65962" y="76825"/>
                  </a:lnTo>
                  <a:lnTo>
                    <a:pt x="65551" y="76507"/>
                  </a:lnTo>
                  <a:lnTo>
                    <a:pt x="65387" y="76507"/>
                  </a:lnTo>
                  <a:lnTo>
                    <a:pt x="65140" y="76507"/>
                  </a:lnTo>
                  <a:lnTo>
                    <a:pt x="65140" y="76507"/>
                  </a:lnTo>
                  <a:lnTo>
                    <a:pt x="64976" y="76507"/>
                  </a:lnTo>
                  <a:lnTo>
                    <a:pt x="64976" y="76507"/>
                  </a:lnTo>
                  <a:lnTo>
                    <a:pt x="64811" y="76507"/>
                  </a:lnTo>
                  <a:lnTo>
                    <a:pt x="64564" y="76507"/>
                  </a:lnTo>
                  <a:lnTo>
                    <a:pt x="64400" y="76507"/>
                  </a:lnTo>
                  <a:lnTo>
                    <a:pt x="64235" y="76507"/>
                  </a:lnTo>
                  <a:lnTo>
                    <a:pt x="63824" y="76507"/>
                  </a:lnTo>
                  <a:lnTo>
                    <a:pt x="63577" y="76507"/>
                  </a:lnTo>
                  <a:lnTo>
                    <a:pt x="63577" y="76507"/>
                  </a:lnTo>
                  <a:lnTo>
                    <a:pt x="63413" y="76825"/>
                  </a:lnTo>
                  <a:lnTo>
                    <a:pt x="63002" y="77301"/>
                  </a:lnTo>
                  <a:lnTo>
                    <a:pt x="63002" y="77301"/>
                  </a:lnTo>
                  <a:lnTo>
                    <a:pt x="63577" y="76507"/>
                  </a:lnTo>
                  <a:lnTo>
                    <a:pt x="63577" y="76507"/>
                  </a:lnTo>
                  <a:lnTo>
                    <a:pt x="63577" y="76190"/>
                  </a:lnTo>
                  <a:lnTo>
                    <a:pt x="63413" y="76190"/>
                  </a:lnTo>
                  <a:lnTo>
                    <a:pt x="63413" y="76190"/>
                  </a:lnTo>
                  <a:lnTo>
                    <a:pt x="63413" y="75714"/>
                  </a:lnTo>
                  <a:lnTo>
                    <a:pt x="63248" y="75714"/>
                  </a:lnTo>
                  <a:lnTo>
                    <a:pt x="63002" y="75396"/>
                  </a:lnTo>
                  <a:lnTo>
                    <a:pt x="63002" y="75396"/>
                  </a:lnTo>
                  <a:lnTo>
                    <a:pt x="62837" y="75396"/>
                  </a:lnTo>
                  <a:lnTo>
                    <a:pt x="62426" y="75079"/>
                  </a:lnTo>
                  <a:lnTo>
                    <a:pt x="62097" y="74603"/>
                  </a:lnTo>
                  <a:lnTo>
                    <a:pt x="61686" y="74285"/>
                  </a:lnTo>
                  <a:lnTo>
                    <a:pt x="61521" y="74285"/>
                  </a:lnTo>
                  <a:lnTo>
                    <a:pt x="61274" y="74285"/>
                  </a:lnTo>
                  <a:lnTo>
                    <a:pt x="61274" y="73174"/>
                  </a:lnTo>
                  <a:lnTo>
                    <a:pt x="61110" y="72698"/>
                  </a:lnTo>
                  <a:lnTo>
                    <a:pt x="60863" y="72698"/>
                  </a:lnTo>
                  <a:lnTo>
                    <a:pt x="60863" y="72380"/>
                  </a:lnTo>
                  <a:lnTo>
                    <a:pt x="60699" y="72063"/>
                  </a:lnTo>
                  <a:lnTo>
                    <a:pt x="60534" y="71587"/>
                  </a:lnTo>
                  <a:lnTo>
                    <a:pt x="60534" y="71587"/>
                  </a:lnTo>
                  <a:lnTo>
                    <a:pt x="60123" y="71587"/>
                  </a:lnTo>
                  <a:lnTo>
                    <a:pt x="60123" y="71587"/>
                  </a:lnTo>
                  <a:lnTo>
                    <a:pt x="59547" y="71269"/>
                  </a:lnTo>
                  <a:lnTo>
                    <a:pt x="59383" y="70952"/>
                  </a:lnTo>
                  <a:lnTo>
                    <a:pt x="58971" y="70952"/>
                  </a:lnTo>
                  <a:lnTo>
                    <a:pt x="58807" y="70476"/>
                  </a:lnTo>
                  <a:lnTo>
                    <a:pt x="58396" y="70476"/>
                  </a:lnTo>
                  <a:lnTo>
                    <a:pt x="58149" y="70476"/>
                  </a:lnTo>
                  <a:lnTo>
                    <a:pt x="56833" y="70952"/>
                  </a:lnTo>
                  <a:lnTo>
                    <a:pt x="56422" y="71269"/>
                  </a:lnTo>
                  <a:lnTo>
                    <a:pt x="56257" y="71269"/>
                  </a:lnTo>
                  <a:lnTo>
                    <a:pt x="56257" y="71269"/>
                  </a:lnTo>
                  <a:lnTo>
                    <a:pt x="56422" y="71269"/>
                  </a:lnTo>
                  <a:lnTo>
                    <a:pt x="56422" y="70952"/>
                  </a:lnTo>
                  <a:lnTo>
                    <a:pt x="56257" y="71269"/>
                  </a:lnTo>
                  <a:lnTo>
                    <a:pt x="56257" y="71269"/>
                  </a:lnTo>
                  <a:lnTo>
                    <a:pt x="55846" y="71269"/>
                  </a:lnTo>
                  <a:lnTo>
                    <a:pt x="55846" y="71269"/>
                  </a:lnTo>
                  <a:lnTo>
                    <a:pt x="55681" y="71587"/>
                  </a:lnTo>
                  <a:lnTo>
                    <a:pt x="55681" y="71269"/>
                  </a:lnTo>
                  <a:lnTo>
                    <a:pt x="55846" y="71269"/>
                  </a:lnTo>
                  <a:lnTo>
                    <a:pt x="55846" y="71269"/>
                  </a:lnTo>
                  <a:lnTo>
                    <a:pt x="56093" y="71269"/>
                  </a:lnTo>
                  <a:lnTo>
                    <a:pt x="56257" y="70952"/>
                  </a:lnTo>
                  <a:lnTo>
                    <a:pt x="56422" y="70476"/>
                  </a:lnTo>
                  <a:lnTo>
                    <a:pt x="56668" y="70476"/>
                  </a:lnTo>
                  <a:lnTo>
                    <a:pt x="56668" y="70158"/>
                  </a:lnTo>
                  <a:lnTo>
                    <a:pt x="56668" y="70158"/>
                  </a:lnTo>
                  <a:lnTo>
                    <a:pt x="56668" y="69841"/>
                  </a:lnTo>
                  <a:lnTo>
                    <a:pt x="56833" y="68571"/>
                  </a:lnTo>
                  <a:lnTo>
                    <a:pt x="56833" y="68571"/>
                  </a:lnTo>
                  <a:lnTo>
                    <a:pt x="56997" y="67936"/>
                  </a:lnTo>
                  <a:lnTo>
                    <a:pt x="56997" y="67460"/>
                  </a:lnTo>
                  <a:lnTo>
                    <a:pt x="57244" y="66825"/>
                  </a:lnTo>
                  <a:lnTo>
                    <a:pt x="57244" y="66349"/>
                  </a:lnTo>
                  <a:lnTo>
                    <a:pt x="57409" y="66031"/>
                  </a:lnTo>
                  <a:lnTo>
                    <a:pt x="57409" y="66031"/>
                  </a:lnTo>
                  <a:lnTo>
                    <a:pt x="57244" y="65714"/>
                  </a:lnTo>
                  <a:lnTo>
                    <a:pt x="56997" y="65714"/>
                  </a:lnTo>
                  <a:lnTo>
                    <a:pt x="56997" y="65714"/>
                  </a:lnTo>
                  <a:lnTo>
                    <a:pt x="56668" y="65714"/>
                  </a:lnTo>
                  <a:lnTo>
                    <a:pt x="56257" y="65714"/>
                  </a:lnTo>
                  <a:lnTo>
                    <a:pt x="56257" y="65714"/>
                  </a:lnTo>
                  <a:lnTo>
                    <a:pt x="55846" y="66031"/>
                  </a:lnTo>
                  <a:lnTo>
                    <a:pt x="55435" y="66825"/>
                  </a:lnTo>
                  <a:lnTo>
                    <a:pt x="55435" y="67142"/>
                  </a:lnTo>
                  <a:lnTo>
                    <a:pt x="55435" y="67142"/>
                  </a:lnTo>
                  <a:lnTo>
                    <a:pt x="55846" y="66031"/>
                  </a:lnTo>
                  <a:lnTo>
                    <a:pt x="55846" y="66031"/>
                  </a:lnTo>
                  <a:lnTo>
                    <a:pt x="55846" y="65714"/>
                  </a:lnTo>
                  <a:lnTo>
                    <a:pt x="55846" y="65714"/>
                  </a:lnTo>
                  <a:lnTo>
                    <a:pt x="55681" y="65238"/>
                  </a:lnTo>
                  <a:lnTo>
                    <a:pt x="55681" y="65238"/>
                  </a:lnTo>
                  <a:lnTo>
                    <a:pt x="55681" y="65238"/>
                  </a:lnTo>
                  <a:lnTo>
                    <a:pt x="55681" y="65238"/>
                  </a:lnTo>
                  <a:lnTo>
                    <a:pt x="55681" y="65238"/>
                  </a:lnTo>
                  <a:lnTo>
                    <a:pt x="55681" y="64920"/>
                  </a:lnTo>
                  <a:lnTo>
                    <a:pt x="55681" y="64920"/>
                  </a:lnTo>
                  <a:lnTo>
                    <a:pt x="55435" y="64920"/>
                  </a:lnTo>
                  <a:lnTo>
                    <a:pt x="55681" y="64920"/>
                  </a:lnTo>
                  <a:lnTo>
                    <a:pt x="55846" y="64444"/>
                  </a:lnTo>
                  <a:lnTo>
                    <a:pt x="56093" y="64126"/>
                  </a:lnTo>
                  <a:lnTo>
                    <a:pt x="56257" y="63333"/>
                  </a:lnTo>
                  <a:lnTo>
                    <a:pt x="56833" y="61904"/>
                  </a:lnTo>
                  <a:lnTo>
                    <a:pt x="56997" y="61587"/>
                  </a:lnTo>
                  <a:lnTo>
                    <a:pt x="57409" y="61111"/>
                  </a:lnTo>
                  <a:lnTo>
                    <a:pt x="57573" y="60793"/>
                  </a:lnTo>
                  <a:lnTo>
                    <a:pt x="57573" y="60317"/>
                  </a:lnTo>
                  <a:lnTo>
                    <a:pt x="57573" y="60317"/>
                  </a:lnTo>
                  <a:lnTo>
                    <a:pt x="57573" y="60317"/>
                  </a:lnTo>
                  <a:lnTo>
                    <a:pt x="57573" y="60317"/>
                  </a:lnTo>
                  <a:lnTo>
                    <a:pt x="57820" y="60317"/>
                  </a:lnTo>
                  <a:lnTo>
                    <a:pt x="57984" y="60000"/>
                  </a:lnTo>
                  <a:lnTo>
                    <a:pt x="58149" y="59682"/>
                  </a:lnTo>
                  <a:lnTo>
                    <a:pt x="58560" y="59206"/>
                  </a:lnTo>
                  <a:lnTo>
                    <a:pt x="58971" y="58888"/>
                  </a:lnTo>
                  <a:lnTo>
                    <a:pt x="59136" y="58571"/>
                  </a:lnTo>
                  <a:lnTo>
                    <a:pt x="59383" y="58095"/>
                  </a:lnTo>
                  <a:lnTo>
                    <a:pt x="59383" y="58095"/>
                  </a:lnTo>
                  <a:lnTo>
                    <a:pt x="59383" y="57777"/>
                  </a:lnTo>
                  <a:lnTo>
                    <a:pt x="59383" y="57777"/>
                  </a:lnTo>
                  <a:lnTo>
                    <a:pt x="59547" y="57777"/>
                  </a:lnTo>
                  <a:lnTo>
                    <a:pt x="59547" y="57777"/>
                  </a:lnTo>
                  <a:lnTo>
                    <a:pt x="59712" y="57777"/>
                  </a:lnTo>
                  <a:lnTo>
                    <a:pt x="59712" y="57301"/>
                  </a:lnTo>
                  <a:lnTo>
                    <a:pt x="59712" y="57301"/>
                  </a:lnTo>
                  <a:lnTo>
                    <a:pt x="60123" y="56984"/>
                  </a:lnTo>
                  <a:lnTo>
                    <a:pt x="60699" y="56666"/>
                  </a:lnTo>
                  <a:lnTo>
                    <a:pt x="60699" y="56666"/>
                  </a:lnTo>
                  <a:lnTo>
                    <a:pt x="60863" y="56666"/>
                  </a:lnTo>
                  <a:lnTo>
                    <a:pt x="60863" y="56666"/>
                  </a:lnTo>
                  <a:lnTo>
                    <a:pt x="60699" y="56190"/>
                  </a:lnTo>
                  <a:lnTo>
                    <a:pt x="60699" y="56190"/>
                  </a:lnTo>
                  <a:lnTo>
                    <a:pt x="60699" y="56190"/>
                  </a:lnTo>
                  <a:lnTo>
                    <a:pt x="60699" y="55873"/>
                  </a:lnTo>
                  <a:lnTo>
                    <a:pt x="60863" y="55873"/>
                  </a:lnTo>
                  <a:lnTo>
                    <a:pt x="61110" y="55873"/>
                  </a:lnTo>
                  <a:lnTo>
                    <a:pt x="61110" y="55873"/>
                  </a:lnTo>
                  <a:lnTo>
                    <a:pt x="61110" y="55873"/>
                  </a:lnTo>
                  <a:lnTo>
                    <a:pt x="61110" y="55873"/>
                  </a:lnTo>
                  <a:lnTo>
                    <a:pt x="61110" y="55873"/>
                  </a:lnTo>
                  <a:lnTo>
                    <a:pt x="61274" y="55873"/>
                  </a:lnTo>
                  <a:lnTo>
                    <a:pt x="61521" y="55555"/>
                  </a:lnTo>
                  <a:lnTo>
                    <a:pt x="61686" y="55555"/>
                  </a:lnTo>
                  <a:lnTo>
                    <a:pt x="61686" y="55555"/>
                  </a:lnTo>
                  <a:lnTo>
                    <a:pt x="61521" y="55555"/>
                  </a:lnTo>
                  <a:lnTo>
                    <a:pt x="61686" y="55555"/>
                  </a:lnTo>
                  <a:lnTo>
                    <a:pt x="61850" y="55079"/>
                  </a:lnTo>
                  <a:lnTo>
                    <a:pt x="61850" y="55079"/>
                  </a:lnTo>
                  <a:lnTo>
                    <a:pt x="61850" y="55079"/>
                  </a:lnTo>
                  <a:lnTo>
                    <a:pt x="61686" y="54761"/>
                  </a:lnTo>
                  <a:lnTo>
                    <a:pt x="61686" y="54761"/>
                  </a:lnTo>
                  <a:lnTo>
                    <a:pt x="61686" y="54761"/>
                  </a:lnTo>
                  <a:lnTo>
                    <a:pt x="62097" y="54761"/>
                  </a:lnTo>
                  <a:lnTo>
                    <a:pt x="62097" y="55079"/>
                  </a:lnTo>
                  <a:lnTo>
                    <a:pt x="62261" y="55079"/>
                  </a:lnTo>
                  <a:lnTo>
                    <a:pt x="62261" y="55079"/>
                  </a:lnTo>
                  <a:lnTo>
                    <a:pt x="62261" y="55555"/>
                  </a:lnTo>
                  <a:lnTo>
                    <a:pt x="62261" y="55079"/>
                  </a:lnTo>
                  <a:lnTo>
                    <a:pt x="62261" y="55079"/>
                  </a:lnTo>
                  <a:lnTo>
                    <a:pt x="62261" y="54761"/>
                  </a:lnTo>
                  <a:lnTo>
                    <a:pt x="62261" y="54761"/>
                  </a:lnTo>
                  <a:lnTo>
                    <a:pt x="62261" y="54761"/>
                  </a:lnTo>
                  <a:lnTo>
                    <a:pt x="62426" y="54761"/>
                  </a:lnTo>
                  <a:lnTo>
                    <a:pt x="62673" y="54444"/>
                  </a:lnTo>
                  <a:lnTo>
                    <a:pt x="62673" y="54444"/>
                  </a:lnTo>
                  <a:lnTo>
                    <a:pt x="62673" y="53968"/>
                  </a:lnTo>
                  <a:lnTo>
                    <a:pt x="62837" y="53968"/>
                  </a:lnTo>
                  <a:lnTo>
                    <a:pt x="62837" y="53968"/>
                  </a:lnTo>
                  <a:lnTo>
                    <a:pt x="63002" y="53968"/>
                  </a:lnTo>
                  <a:lnTo>
                    <a:pt x="63002" y="53968"/>
                  </a:lnTo>
                  <a:lnTo>
                    <a:pt x="63248" y="53968"/>
                  </a:lnTo>
                  <a:lnTo>
                    <a:pt x="63248" y="53968"/>
                  </a:lnTo>
                  <a:lnTo>
                    <a:pt x="63413" y="54444"/>
                  </a:lnTo>
                  <a:lnTo>
                    <a:pt x="63413" y="53968"/>
                  </a:lnTo>
                  <a:lnTo>
                    <a:pt x="63413" y="53968"/>
                  </a:lnTo>
                  <a:lnTo>
                    <a:pt x="63577" y="53968"/>
                  </a:lnTo>
                  <a:lnTo>
                    <a:pt x="63413" y="53968"/>
                  </a:lnTo>
                  <a:lnTo>
                    <a:pt x="63248" y="53650"/>
                  </a:lnTo>
                  <a:lnTo>
                    <a:pt x="63248" y="53650"/>
                  </a:lnTo>
                  <a:lnTo>
                    <a:pt x="63248" y="53650"/>
                  </a:lnTo>
                  <a:lnTo>
                    <a:pt x="63248" y="53650"/>
                  </a:lnTo>
                  <a:lnTo>
                    <a:pt x="63248" y="53174"/>
                  </a:lnTo>
                  <a:lnTo>
                    <a:pt x="63248" y="53174"/>
                  </a:lnTo>
                  <a:lnTo>
                    <a:pt x="63413" y="53174"/>
                  </a:lnTo>
                  <a:lnTo>
                    <a:pt x="63577" y="53174"/>
                  </a:lnTo>
                  <a:lnTo>
                    <a:pt x="63577" y="53174"/>
                  </a:lnTo>
                  <a:lnTo>
                    <a:pt x="63577" y="53174"/>
                  </a:lnTo>
                  <a:lnTo>
                    <a:pt x="63824" y="53174"/>
                  </a:lnTo>
                  <a:lnTo>
                    <a:pt x="64400" y="53174"/>
                  </a:lnTo>
                  <a:lnTo>
                    <a:pt x="64400" y="53174"/>
                  </a:lnTo>
                  <a:lnTo>
                    <a:pt x="64811" y="52857"/>
                  </a:lnTo>
                  <a:lnTo>
                    <a:pt x="64976" y="52857"/>
                  </a:lnTo>
                  <a:lnTo>
                    <a:pt x="65140" y="52857"/>
                  </a:lnTo>
                  <a:lnTo>
                    <a:pt x="65387" y="52857"/>
                  </a:lnTo>
                  <a:lnTo>
                    <a:pt x="65387" y="52857"/>
                  </a:lnTo>
                  <a:lnTo>
                    <a:pt x="65551" y="52539"/>
                  </a:lnTo>
                  <a:lnTo>
                    <a:pt x="65551" y="52539"/>
                  </a:lnTo>
                  <a:lnTo>
                    <a:pt x="65716" y="51746"/>
                  </a:lnTo>
                  <a:lnTo>
                    <a:pt x="65716" y="51746"/>
                  </a:lnTo>
                  <a:lnTo>
                    <a:pt x="65716" y="51428"/>
                  </a:lnTo>
                  <a:lnTo>
                    <a:pt x="65551" y="51428"/>
                  </a:lnTo>
                  <a:lnTo>
                    <a:pt x="65387" y="51428"/>
                  </a:lnTo>
                  <a:lnTo>
                    <a:pt x="65140" y="50952"/>
                  </a:lnTo>
                  <a:lnTo>
                    <a:pt x="65140" y="50952"/>
                  </a:lnTo>
                  <a:lnTo>
                    <a:pt x="64976" y="50634"/>
                  </a:lnTo>
                  <a:lnTo>
                    <a:pt x="64811" y="50634"/>
                  </a:lnTo>
                  <a:lnTo>
                    <a:pt x="64564" y="50952"/>
                  </a:lnTo>
                  <a:lnTo>
                    <a:pt x="64235" y="50952"/>
                  </a:lnTo>
                  <a:lnTo>
                    <a:pt x="63989" y="50952"/>
                  </a:lnTo>
                  <a:lnTo>
                    <a:pt x="63989" y="50952"/>
                  </a:lnTo>
                  <a:lnTo>
                    <a:pt x="64564" y="50952"/>
                  </a:lnTo>
                  <a:lnTo>
                    <a:pt x="64564" y="50634"/>
                  </a:lnTo>
                  <a:lnTo>
                    <a:pt x="64564" y="50634"/>
                  </a:lnTo>
                  <a:lnTo>
                    <a:pt x="64400" y="50634"/>
                  </a:lnTo>
                  <a:lnTo>
                    <a:pt x="64235" y="50634"/>
                  </a:lnTo>
                  <a:lnTo>
                    <a:pt x="63577" y="50317"/>
                  </a:lnTo>
                  <a:lnTo>
                    <a:pt x="63577" y="49841"/>
                  </a:lnTo>
                  <a:lnTo>
                    <a:pt x="63413" y="49841"/>
                  </a:lnTo>
                  <a:lnTo>
                    <a:pt x="63413" y="49841"/>
                  </a:lnTo>
                  <a:lnTo>
                    <a:pt x="63413" y="50317"/>
                  </a:lnTo>
                  <a:lnTo>
                    <a:pt x="63413" y="50317"/>
                  </a:lnTo>
                  <a:lnTo>
                    <a:pt x="63413" y="50317"/>
                  </a:lnTo>
                  <a:lnTo>
                    <a:pt x="63413" y="50317"/>
                  </a:lnTo>
                  <a:lnTo>
                    <a:pt x="63248" y="50317"/>
                  </a:lnTo>
                  <a:lnTo>
                    <a:pt x="63248" y="50317"/>
                  </a:lnTo>
                  <a:lnTo>
                    <a:pt x="63002" y="49841"/>
                  </a:lnTo>
                  <a:lnTo>
                    <a:pt x="63248" y="49841"/>
                  </a:lnTo>
                  <a:lnTo>
                    <a:pt x="63248" y="49841"/>
                  </a:lnTo>
                  <a:lnTo>
                    <a:pt x="63413" y="49841"/>
                  </a:lnTo>
                  <a:lnTo>
                    <a:pt x="63413" y="49523"/>
                  </a:lnTo>
                  <a:lnTo>
                    <a:pt x="63413" y="49841"/>
                  </a:lnTo>
                  <a:lnTo>
                    <a:pt x="63989" y="49841"/>
                  </a:lnTo>
                  <a:lnTo>
                    <a:pt x="64400" y="50317"/>
                  </a:lnTo>
                  <a:lnTo>
                    <a:pt x="64564" y="50634"/>
                  </a:lnTo>
                  <a:lnTo>
                    <a:pt x="64564" y="50634"/>
                  </a:lnTo>
                  <a:lnTo>
                    <a:pt x="64811" y="50634"/>
                  </a:lnTo>
                  <a:lnTo>
                    <a:pt x="64976" y="50317"/>
                  </a:lnTo>
                  <a:lnTo>
                    <a:pt x="64976" y="50317"/>
                  </a:lnTo>
                  <a:lnTo>
                    <a:pt x="64976" y="50317"/>
                  </a:lnTo>
                  <a:lnTo>
                    <a:pt x="64976" y="50317"/>
                  </a:lnTo>
                  <a:lnTo>
                    <a:pt x="64976" y="50634"/>
                  </a:lnTo>
                  <a:lnTo>
                    <a:pt x="64976" y="50634"/>
                  </a:lnTo>
                  <a:lnTo>
                    <a:pt x="64976" y="50634"/>
                  </a:lnTo>
                  <a:lnTo>
                    <a:pt x="65140" y="50634"/>
                  </a:lnTo>
                  <a:lnTo>
                    <a:pt x="65387" y="50634"/>
                  </a:lnTo>
                  <a:lnTo>
                    <a:pt x="65716" y="50952"/>
                  </a:lnTo>
                  <a:lnTo>
                    <a:pt x="65962" y="50952"/>
                  </a:lnTo>
                  <a:lnTo>
                    <a:pt x="65962" y="50952"/>
                  </a:lnTo>
                  <a:lnTo>
                    <a:pt x="66127" y="50952"/>
                  </a:lnTo>
                  <a:lnTo>
                    <a:pt x="66291" y="50952"/>
                  </a:lnTo>
                  <a:lnTo>
                    <a:pt x="66291" y="50952"/>
                  </a:lnTo>
                  <a:lnTo>
                    <a:pt x="66538" y="50952"/>
                  </a:lnTo>
                  <a:lnTo>
                    <a:pt x="66538" y="50952"/>
                  </a:lnTo>
                  <a:lnTo>
                    <a:pt x="66538" y="50952"/>
                  </a:lnTo>
                  <a:lnTo>
                    <a:pt x="66703" y="50952"/>
                  </a:lnTo>
                  <a:lnTo>
                    <a:pt x="66949" y="50634"/>
                  </a:lnTo>
                  <a:lnTo>
                    <a:pt x="67278" y="50317"/>
                  </a:lnTo>
                  <a:lnTo>
                    <a:pt x="67278" y="50317"/>
                  </a:lnTo>
                  <a:lnTo>
                    <a:pt x="67278" y="50317"/>
                  </a:lnTo>
                  <a:lnTo>
                    <a:pt x="67278" y="49841"/>
                  </a:lnTo>
                  <a:lnTo>
                    <a:pt x="67278" y="49841"/>
                  </a:lnTo>
                  <a:lnTo>
                    <a:pt x="67525" y="49841"/>
                  </a:lnTo>
                  <a:lnTo>
                    <a:pt x="67690" y="49841"/>
                  </a:lnTo>
                  <a:lnTo>
                    <a:pt x="67690" y="49841"/>
                  </a:lnTo>
                  <a:lnTo>
                    <a:pt x="67690" y="49523"/>
                  </a:lnTo>
                  <a:lnTo>
                    <a:pt x="67690" y="49523"/>
                  </a:lnTo>
                  <a:lnTo>
                    <a:pt x="67525" y="49523"/>
                  </a:lnTo>
                  <a:lnTo>
                    <a:pt x="67690" y="49523"/>
                  </a:lnTo>
                  <a:lnTo>
                    <a:pt x="67854" y="49047"/>
                  </a:lnTo>
                  <a:lnTo>
                    <a:pt x="67854" y="49523"/>
                  </a:lnTo>
                  <a:lnTo>
                    <a:pt x="67854" y="49523"/>
                  </a:lnTo>
                  <a:lnTo>
                    <a:pt x="67854" y="49523"/>
                  </a:lnTo>
                  <a:lnTo>
                    <a:pt x="68101" y="49841"/>
                  </a:lnTo>
                  <a:lnTo>
                    <a:pt x="68101" y="49841"/>
                  </a:lnTo>
                  <a:lnTo>
                    <a:pt x="68101" y="49841"/>
                  </a:lnTo>
                  <a:lnTo>
                    <a:pt x="68101" y="49841"/>
                  </a:lnTo>
                  <a:lnTo>
                    <a:pt x="68265" y="49841"/>
                  </a:lnTo>
                  <a:lnTo>
                    <a:pt x="68430" y="49841"/>
                  </a:lnTo>
                  <a:lnTo>
                    <a:pt x="68430" y="49841"/>
                  </a:lnTo>
                  <a:lnTo>
                    <a:pt x="68430" y="49841"/>
                  </a:lnTo>
                  <a:lnTo>
                    <a:pt x="68677" y="49523"/>
                  </a:lnTo>
                  <a:lnTo>
                    <a:pt x="68677" y="49523"/>
                  </a:lnTo>
                  <a:lnTo>
                    <a:pt x="68677" y="49841"/>
                  </a:lnTo>
                  <a:lnTo>
                    <a:pt x="68677" y="49841"/>
                  </a:lnTo>
                  <a:lnTo>
                    <a:pt x="68841" y="49841"/>
                  </a:lnTo>
                  <a:lnTo>
                    <a:pt x="69006" y="49841"/>
                  </a:lnTo>
                  <a:lnTo>
                    <a:pt x="69417" y="49523"/>
                  </a:lnTo>
                  <a:lnTo>
                    <a:pt x="69993" y="49047"/>
                  </a:lnTo>
                  <a:lnTo>
                    <a:pt x="70239" y="49047"/>
                  </a:lnTo>
                  <a:lnTo>
                    <a:pt x="70239" y="48730"/>
                  </a:lnTo>
                  <a:lnTo>
                    <a:pt x="70404" y="48730"/>
                  </a:lnTo>
                  <a:lnTo>
                    <a:pt x="71720" y="47301"/>
                  </a:lnTo>
                  <a:lnTo>
                    <a:pt x="71967" y="47301"/>
                  </a:lnTo>
                  <a:lnTo>
                    <a:pt x="72378" y="46507"/>
                  </a:lnTo>
                  <a:lnTo>
                    <a:pt x="72378" y="46507"/>
                  </a:lnTo>
                  <a:lnTo>
                    <a:pt x="72378" y="46190"/>
                  </a:lnTo>
                  <a:lnTo>
                    <a:pt x="72378" y="46190"/>
                  </a:lnTo>
                  <a:lnTo>
                    <a:pt x="72131" y="46190"/>
                  </a:lnTo>
                  <a:lnTo>
                    <a:pt x="71555" y="46190"/>
                  </a:lnTo>
                  <a:lnTo>
                    <a:pt x="71144" y="46190"/>
                  </a:lnTo>
                  <a:lnTo>
                    <a:pt x="70404" y="45714"/>
                  </a:lnTo>
                  <a:lnTo>
                    <a:pt x="70239" y="45714"/>
                  </a:lnTo>
                  <a:lnTo>
                    <a:pt x="70239" y="45396"/>
                  </a:lnTo>
                  <a:lnTo>
                    <a:pt x="69993" y="44920"/>
                  </a:lnTo>
                  <a:lnTo>
                    <a:pt x="69828" y="44603"/>
                  </a:lnTo>
                  <a:lnTo>
                    <a:pt x="69828" y="44603"/>
                  </a:lnTo>
                  <a:lnTo>
                    <a:pt x="69664" y="44603"/>
                  </a:lnTo>
                  <a:lnTo>
                    <a:pt x="69664" y="44603"/>
                  </a:lnTo>
                  <a:lnTo>
                    <a:pt x="69252" y="44285"/>
                  </a:lnTo>
                  <a:lnTo>
                    <a:pt x="68677" y="44285"/>
                  </a:lnTo>
                  <a:lnTo>
                    <a:pt x="68677" y="44285"/>
                  </a:lnTo>
                  <a:lnTo>
                    <a:pt x="68677" y="44285"/>
                  </a:lnTo>
                  <a:lnTo>
                    <a:pt x="68677" y="44285"/>
                  </a:lnTo>
                  <a:lnTo>
                    <a:pt x="68265" y="44285"/>
                  </a:lnTo>
                  <a:lnTo>
                    <a:pt x="68265" y="44285"/>
                  </a:lnTo>
                  <a:lnTo>
                    <a:pt x="68265" y="43809"/>
                  </a:lnTo>
                  <a:lnTo>
                    <a:pt x="68430" y="43809"/>
                  </a:lnTo>
                  <a:lnTo>
                    <a:pt x="68841" y="43809"/>
                  </a:lnTo>
                  <a:lnTo>
                    <a:pt x="69006" y="44285"/>
                  </a:lnTo>
                  <a:lnTo>
                    <a:pt x="69006" y="44285"/>
                  </a:lnTo>
                  <a:lnTo>
                    <a:pt x="69252" y="44285"/>
                  </a:lnTo>
                  <a:lnTo>
                    <a:pt x="69417" y="44285"/>
                  </a:lnTo>
                  <a:lnTo>
                    <a:pt x="69664" y="44285"/>
                  </a:lnTo>
                  <a:lnTo>
                    <a:pt x="69828" y="44285"/>
                  </a:lnTo>
                  <a:lnTo>
                    <a:pt x="69993" y="44285"/>
                  </a:lnTo>
                  <a:lnTo>
                    <a:pt x="69993" y="44285"/>
                  </a:lnTo>
                  <a:lnTo>
                    <a:pt x="69993" y="44285"/>
                  </a:lnTo>
                  <a:lnTo>
                    <a:pt x="69993" y="44285"/>
                  </a:lnTo>
                  <a:lnTo>
                    <a:pt x="70239" y="44285"/>
                  </a:lnTo>
                  <a:lnTo>
                    <a:pt x="70404" y="44285"/>
                  </a:lnTo>
                  <a:lnTo>
                    <a:pt x="70404" y="44285"/>
                  </a:lnTo>
                  <a:lnTo>
                    <a:pt x="70815" y="44603"/>
                  </a:lnTo>
                  <a:lnTo>
                    <a:pt x="70815" y="44603"/>
                  </a:lnTo>
                  <a:lnTo>
                    <a:pt x="70980" y="44920"/>
                  </a:lnTo>
                  <a:lnTo>
                    <a:pt x="70980" y="44920"/>
                  </a:lnTo>
                  <a:lnTo>
                    <a:pt x="70980" y="44920"/>
                  </a:lnTo>
                  <a:lnTo>
                    <a:pt x="71144" y="44920"/>
                  </a:lnTo>
                  <a:lnTo>
                    <a:pt x="71144" y="45396"/>
                  </a:lnTo>
                  <a:lnTo>
                    <a:pt x="71391" y="45714"/>
                  </a:lnTo>
                  <a:lnTo>
                    <a:pt x="71555" y="45714"/>
                  </a:lnTo>
                  <a:lnTo>
                    <a:pt x="71720" y="45714"/>
                  </a:lnTo>
                  <a:lnTo>
                    <a:pt x="72131" y="45714"/>
                  </a:lnTo>
                  <a:lnTo>
                    <a:pt x="72378" y="45714"/>
                  </a:lnTo>
                  <a:lnTo>
                    <a:pt x="72542" y="45714"/>
                  </a:lnTo>
                  <a:lnTo>
                    <a:pt x="72707" y="45714"/>
                  </a:lnTo>
                  <a:lnTo>
                    <a:pt x="72954" y="45396"/>
                  </a:lnTo>
                  <a:lnTo>
                    <a:pt x="73283" y="44920"/>
                  </a:lnTo>
                  <a:lnTo>
                    <a:pt x="74434" y="43809"/>
                  </a:lnTo>
                  <a:lnTo>
                    <a:pt x="74681" y="43809"/>
                  </a:lnTo>
                  <a:lnTo>
                    <a:pt x="74681" y="43492"/>
                  </a:lnTo>
                  <a:lnTo>
                    <a:pt x="74845" y="43492"/>
                  </a:lnTo>
                  <a:lnTo>
                    <a:pt x="74845" y="43492"/>
                  </a:lnTo>
                  <a:lnTo>
                    <a:pt x="74681" y="43174"/>
                  </a:lnTo>
                  <a:lnTo>
                    <a:pt x="74434" y="43174"/>
                  </a:lnTo>
                  <a:lnTo>
                    <a:pt x="74270" y="43174"/>
                  </a:lnTo>
                  <a:lnTo>
                    <a:pt x="74270" y="42698"/>
                  </a:lnTo>
                  <a:lnTo>
                    <a:pt x="74270" y="42698"/>
                  </a:lnTo>
                  <a:lnTo>
                    <a:pt x="74270" y="42698"/>
                  </a:lnTo>
                  <a:lnTo>
                    <a:pt x="74270" y="42698"/>
                  </a:lnTo>
                  <a:lnTo>
                    <a:pt x="74270" y="42698"/>
                  </a:lnTo>
                  <a:lnTo>
                    <a:pt x="74270" y="42380"/>
                  </a:lnTo>
                  <a:lnTo>
                    <a:pt x="74434" y="42380"/>
                  </a:lnTo>
                  <a:lnTo>
                    <a:pt x="74434" y="42380"/>
                  </a:lnTo>
                  <a:lnTo>
                    <a:pt x="75092" y="42380"/>
                  </a:lnTo>
                  <a:lnTo>
                    <a:pt x="75421" y="42380"/>
                  </a:lnTo>
                  <a:lnTo>
                    <a:pt x="75668" y="42380"/>
                  </a:lnTo>
                  <a:lnTo>
                    <a:pt x="75832" y="42380"/>
                  </a:lnTo>
                  <a:lnTo>
                    <a:pt x="75832" y="42698"/>
                  </a:lnTo>
                  <a:lnTo>
                    <a:pt x="75997" y="42698"/>
                  </a:lnTo>
                  <a:lnTo>
                    <a:pt x="75997" y="43174"/>
                  </a:lnTo>
                  <a:lnTo>
                    <a:pt x="76244" y="43174"/>
                  </a:lnTo>
                  <a:lnTo>
                    <a:pt x="76408" y="43492"/>
                  </a:lnTo>
                  <a:lnTo>
                    <a:pt x="76572" y="43492"/>
                  </a:lnTo>
                  <a:lnTo>
                    <a:pt x="76572" y="43492"/>
                  </a:lnTo>
                  <a:lnTo>
                    <a:pt x="76819" y="43174"/>
                  </a:lnTo>
                  <a:lnTo>
                    <a:pt x="76819" y="43174"/>
                  </a:lnTo>
                  <a:lnTo>
                    <a:pt x="76819" y="43174"/>
                  </a:lnTo>
                  <a:lnTo>
                    <a:pt x="77148" y="43174"/>
                  </a:lnTo>
                  <a:lnTo>
                    <a:pt x="77148" y="43492"/>
                  </a:lnTo>
                  <a:lnTo>
                    <a:pt x="77148" y="43492"/>
                  </a:lnTo>
                  <a:lnTo>
                    <a:pt x="77395" y="43174"/>
                  </a:lnTo>
                  <a:lnTo>
                    <a:pt x="77395" y="43174"/>
                  </a:lnTo>
                  <a:lnTo>
                    <a:pt x="77395" y="42698"/>
                  </a:lnTo>
                  <a:lnTo>
                    <a:pt x="77395" y="42380"/>
                  </a:lnTo>
                  <a:lnTo>
                    <a:pt x="77395" y="42380"/>
                  </a:lnTo>
                  <a:lnTo>
                    <a:pt x="77395" y="42063"/>
                  </a:lnTo>
                  <a:lnTo>
                    <a:pt x="77395" y="42063"/>
                  </a:lnTo>
                  <a:lnTo>
                    <a:pt x="77395" y="42063"/>
                  </a:lnTo>
                  <a:lnTo>
                    <a:pt x="77148" y="41587"/>
                  </a:lnTo>
                  <a:lnTo>
                    <a:pt x="77148" y="41269"/>
                  </a:lnTo>
                  <a:lnTo>
                    <a:pt x="77148" y="41269"/>
                  </a:lnTo>
                  <a:lnTo>
                    <a:pt x="77148" y="41269"/>
                  </a:lnTo>
                  <a:lnTo>
                    <a:pt x="76984" y="41269"/>
                  </a:lnTo>
                  <a:lnTo>
                    <a:pt x="76984" y="41269"/>
                  </a:lnTo>
                  <a:lnTo>
                    <a:pt x="76819" y="41269"/>
                  </a:lnTo>
                  <a:lnTo>
                    <a:pt x="76819" y="41269"/>
                  </a:lnTo>
                  <a:lnTo>
                    <a:pt x="76572" y="41269"/>
                  </a:lnTo>
                  <a:lnTo>
                    <a:pt x="76572" y="41269"/>
                  </a:lnTo>
                  <a:lnTo>
                    <a:pt x="76819" y="41269"/>
                  </a:lnTo>
                  <a:lnTo>
                    <a:pt x="77148" y="40793"/>
                  </a:lnTo>
                  <a:lnTo>
                    <a:pt x="77148" y="40793"/>
                  </a:lnTo>
                  <a:lnTo>
                    <a:pt x="77395" y="41269"/>
                  </a:lnTo>
                  <a:lnTo>
                    <a:pt x="77395" y="41269"/>
                  </a:lnTo>
                  <a:lnTo>
                    <a:pt x="77395" y="41269"/>
                  </a:lnTo>
                  <a:lnTo>
                    <a:pt x="77559" y="41269"/>
                  </a:lnTo>
                  <a:lnTo>
                    <a:pt x="77559" y="41587"/>
                  </a:lnTo>
                  <a:lnTo>
                    <a:pt x="77395" y="41587"/>
                  </a:lnTo>
                  <a:lnTo>
                    <a:pt x="77395" y="41587"/>
                  </a:lnTo>
                  <a:lnTo>
                    <a:pt x="77395" y="41587"/>
                  </a:lnTo>
                  <a:lnTo>
                    <a:pt x="77559" y="41587"/>
                  </a:lnTo>
                  <a:lnTo>
                    <a:pt x="77559" y="41587"/>
                  </a:lnTo>
                  <a:lnTo>
                    <a:pt x="77806" y="41587"/>
                  </a:lnTo>
                  <a:lnTo>
                    <a:pt x="77806" y="42063"/>
                  </a:lnTo>
                  <a:lnTo>
                    <a:pt x="77806" y="42063"/>
                  </a:lnTo>
                  <a:lnTo>
                    <a:pt x="77806" y="42380"/>
                  </a:lnTo>
                  <a:lnTo>
                    <a:pt x="77806" y="42380"/>
                  </a:lnTo>
                  <a:lnTo>
                    <a:pt x="77806" y="42698"/>
                  </a:lnTo>
                  <a:lnTo>
                    <a:pt x="77806" y="42698"/>
                  </a:lnTo>
                  <a:lnTo>
                    <a:pt x="77806" y="42698"/>
                  </a:lnTo>
                  <a:lnTo>
                    <a:pt x="77971" y="42698"/>
                  </a:lnTo>
                  <a:lnTo>
                    <a:pt x="78135" y="42698"/>
                  </a:lnTo>
                  <a:lnTo>
                    <a:pt x="78382" y="42698"/>
                  </a:lnTo>
                  <a:lnTo>
                    <a:pt x="78711" y="42380"/>
                  </a:lnTo>
                  <a:lnTo>
                    <a:pt x="79122" y="42380"/>
                  </a:lnTo>
                  <a:lnTo>
                    <a:pt x="79287" y="42063"/>
                  </a:lnTo>
                  <a:lnTo>
                    <a:pt x="79533" y="42063"/>
                  </a:lnTo>
                  <a:lnTo>
                    <a:pt x="79698" y="41587"/>
                  </a:lnTo>
                  <a:lnTo>
                    <a:pt x="79862" y="41587"/>
                  </a:lnTo>
                  <a:lnTo>
                    <a:pt x="79862" y="41587"/>
                  </a:lnTo>
                  <a:lnTo>
                    <a:pt x="80274" y="41269"/>
                  </a:lnTo>
                  <a:lnTo>
                    <a:pt x="80274" y="41269"/>
                  </a:lnTo>
                  <a:lnTo>
                    <a:pt x="80520" y="41269"/>
                  </a:lnTo>
                  <a:lnTo>
                    <a:pt x="80685" y="41269"/>
                  </a:lnTo>
                  <a:lnTo>
                    <a:pt x="80685" y="40793"/>
                  </a:lnTo>
                  <a:lnTo>
                    <a:pt x="81096" y="40793"/>
                  </a:lnTo>
                  <a:lnTo>
                    <a:pt x="81096" y="40793"/>
                  </a:lnTo>
                  <a:lnTo>
                    <a:pt x="81261" y="40476"/>
                  </a:lnTo>
                  <a:lnTo>
                    <a:pt x="81425" y="40158"/>
                  </a:lnTo>
                  <a:lnTo>
                    <a:pt x="81672" y="39682"/>
                  </a:lnTo>
                  <a:lnTo>
                    <a:pt x="81672" y="39682"/>
                  </a:lnTo>
                  <a:lnTo>
                    <a:pt x="81672" y="39365"/>
                  </a:lnTo>
                  <a:lnTo>
                    <a:pt x="81672" y="39365"/>
                  </a:lnTo>
                  <a:lnTo>
                    <a:pt x="81425" y="39047"/>
                  </a:lnTo>
                  <a:lnTo>
                    <a:pt x="81425" y="38571"/>
                  </a:lnTo>
                  <a:lnTo>
                    <a:pt x="81425" y="38571"/>
                  </a:lnTo>
                  <a:lnTo>
                    <a:pt x="81261" y="38253"/>
                  </a:lnTo>
                  <a:lnTo>
                    <a:pt x="81425" y="38253"/>
                  </a:lnTo>
                  <a:lnTo>
                    <a:pt x="81425" y="38253"/>
                  </a:lnTo>
                  <a:lnTo>
                    <a:pt x="81425" y="37936"/>
                  </a:lnTo>
                  <a:lnTo>
                    <a:pt x="81672" y="37460"/>
                  </a:lnTo>
                  <a:lnTo>
                    <a:pt x="81672" y="37460"/>
                  </a:lnTo>
                  <a:lnTo>
                    <a:pt x="81672" y="37460"/>
                  </a:lnTo>
                  <a:lnTo>
                    <a:pt x="81672" y="37460"/>
                  </a:lnTo>
                  <a:lnTo>
                    <a:pt x="81425" y="37936"/>
                  </a:lnTo>
                  <a:lnTo>
                    <a:pt x="81425" y="37936"/>
                  </a:lnTo>
                  <a:lnTo>
                    <a:pt x="81425" y="37936"/>
                  </a:lnTo>
                  <a:lnTo>
                    <a:pt x="81425" y="37460"/>
                  </a:lnTo>
                  <a:lnTo>
                    <a:pt x="81425" y="37460"/>
                  </a:lnTo>
                  <a:lnTo>
                    <a:pt x="81425" y="37142"/>
                  </a:lnTo>
                  <a:lnTo>
                    <a:pt x="81425" y="37142"/>
                  </a:lnTo>
                  <a:lnTo>
                    <a:pt x="81425" y="37142"/>
                  </a:lnTo>
                  <a:lnTo>
                    <a:pt x="81425" y="37142"/>
                  </a:lnTo>
                  <a:lnTo>
                    <a:pt x="81425" y="36666"/>
                  </a:lnTo>
                  <a:lnTo>
                    <a:pt x="81425" y="36666"/>
                  </a:lnTo>
                  <a:lnTo>
                    <a:pt x="81425" y="36666"/>
                  </a:lnTo>
                  <a:lnTo>
                    <a:pt x="81672" y="36666"/>
                  </a:lnTo>
                  <a:lnTo>
                    <a:pt x="81836" y="36666"/>
                  </a:lnTo>
                  <a:lnTo>
                    <a:pt x="82001" y="36666"/>
                  </a:lnTo>
                  <a:lnTo>
                    <a:pt x="82001" y="36666"/>
                  </a:lnTo>
                  <a:lnTo>
                    <a:pt x="82001" y="36666"/>
                  </a:lnTo>
                  <a:lnTo>
                    <a:pt x="82248" y="36666"/>
                  </a:lnTo>
                  <a:lnTo>
                    <a:pt x="82412" y="36666"/>
                  </a:lnTo>
                  <a:lnTo>
                    <a:pt x="82577" y="36666"/>
                  </a:lnTo>
                  <a:lnTo>
                    <a:pt x="82988" y="36349"/>
                  </a:lnTo>
                  <a:lnTo>
                    <a:pt x="83235" y="36349"/>
                  </a:lnTo>
                  <a:lnTo>
                    <a:pt x="83235" y="36031"/>
                  </a:lnTo>
                  <a:lnTo>
                    <a:pt x="83235" y="36031"/>
                  </a:lnTo>
                  <a:lnTo>
                    <a:pt x="83235" y="35555"/>
                  </a:lnTo>
                  <a:lnTo>
                    <a:pt x="83235" y="35555"/>
                  </a:lnTo>
                  <a:lnTo>
                    <a:pt x="82988" y="35555"/>
                  </a:lnTo>
                  <a:lnTo>
                    <a:pt x="82823" y="35555"/>
                  </a:lnTo>
                  <a:lnTo>
                    <a:pt x="82577" y="35555"/>
                  </a:lnTo>
                  <a:lnTo>
                    <a:pt x="82577" y="35555"/>
                  </a:lnTo>
                  <a:lnTo>
                    <a:pt x="82823" y="35555"/>
                  </a:lnTo>
                  <a:lnTo>
                    <a:pt x="83235" y="35238"/>
                  </a:lnTo>
                  <a:lnTo>
                    <a:pt x="83564" y="34920"/>
                  </a:lnTo>
                  <a:lnTo>
                    <a:pt x="83564" y="34920"/>
                  </a:lnTo>
                  <a:lnTo>
                    <a:pt x="83564" y="34920"/>
                  </a:lnTo>
                  <a:lnTo>
                    <a:pt x="83564" y="34920"/>
                  </a:lnTo>
                  <a:lnTo>
                    <a:pt x="83235" y="34444"/>
                  </a:lnTo>
                  <a:lnTo>
                    <a:pt x="82988" y="34444"/>
                  </a:lnTo>
                  <a:lnTo>
                    <a:pt x="82823" y="34444"/>
                  </a:lnTo>
                  <a:lnTo>
                    <a:pt x="82823" y="34444"/>
                  </a:lnTo>
                  <a:lnTo>
                    <a:pt x="82823" y="34444"/>
                  </a:lnTo>
                  <a:lnTo>
                    <a:pt x="82823" y="34444"/>
                  </a:lnTo>
                  <a:lnTo>
                    <a:pt x="82823" y="34444"/>
                  </a:lnTo>
                  <a:lnTo>
                    <a:pt x="82823" y="34126"/>
                  </a:lnTo>
                  <a:lnTo>
                    <a:pt x="82412" y="34126"/>
                  </a:lnTo>
                  <a:lnTo>
                    <a:pt x="82412" y="33809"/>
                  </a:lnTo>
                  <a:lnTo>
                    <a:pt x="82577" y="33809"/>
                  </a:lnTo>
                  <a:lnTo>
                    <a:pt x="82823" y="33809"/>
                  </a:lnTo>
                  <a:lnTo>
                    <a:pt x="82988" y="33809"/>
                  </a:lnTo>
                  <a:lnTo>
                    <a:pt x="82988" y="33333"/>
                  </a:lnTo>
                  <a:lnTo>
                    <a:pt x="82823" y="33333"/>
                  </a:lnTo>
                  <a:lnTo>
                    <a:pt x="82577" y="33333"/>
                  </a:lnTo>
                  <a:lnTo>
                    <a:pt x="82412" y="33333"/>
                  </a:lnTo>
                  <a:lnTo>
                    <a:pt x="81836" y="33333"/>
                  </a:lnTo>
                  <a:lnTo>
                    <a:pt x="81672" y="33333"/>
                  </a:lnTo>
                  <a:lnTo>
                    <a:pt x="81425" y="33333"/>
                  </a:lnTo>
                  <a:lnTo>
                    <a:pt x="81261" y="33015"/>
                  </a:lnTo>
                  <a:lnTo>
                    <a:pt x="81096" y="33015"/>
                  </a:lnTo>
                  <a:lnTo>
                    <a:pt x="80849" y="33015"/>
                  </a:lnTo>
                  <a:lnTo>
                    <a:pt x="80520" y="33015"/>
                  </a:lnTo>
                  <a:lnTo>
                    <a:pt x="80274" y="33015"/>
                  </a:lnTo>
                  <a:lnTo>
                    <a:pt x="80109" y="33015"/>
                  </a:lnTo>
                  <a:lnTo>
                    <a:pt x="80109" y="33015"/>
                  </a:lnTo>
                  <a:lnTo>
                    <a:pt x="79862" y="33015"/>
                  </a:lnTo>
                  <a:lnTo>
                    <a:pt x="79862" y="33015"/>
                  </a:lnTo>
                  <a:lnTo>
                    <a:pt x="79698" y="33015"/>
                  </a:lnTo>
                  <a:lnTo>
                    <a:pt x="79862" y="33015"/>
                  </a:lnTo>
                  <a:lnTo>
                    <a:pt x="79862" y="33015"/>
                  </a:lnTo>
                  <a:lnTo>
                    <a:pt x="79698" y="33333"/>
                  </a:lnTo>
                  <a:lnTo>
                    <a:pt x="79533" y="33333"/>
                  </a:lnTo>
                  <a:lnTo>
                    <a:pt x="79533" y="33809"/>
                  </a:lnTo>
                  <a:lnTo>
                    <a:pt x="79533" y="33809"/>
                  </a:lnTo>
                  <a:lnTo>
                    <a:pt x="79533" y="33809"/>
                  </a:lnTo>
                  <a:lnTo>
                    <a:pt x="79533" y="33809"/>
                  </a:lnTo>
                  <a:lnTo>
                    <a:pt x="79533" y="34126"/>
                  </a:lnTo>
                  <a:lnTo>
                    <a:pt x="79533" y="34126"/>
                  </a:lnTo>
                  <a:lnTo>
                    <a:pt x="79533" y="34126"/>
                  </a:lnTo>
                  <a:lnTo>
                    <a:pt x="79287" y="34126"/>
                  </a:lnTo>
                  <a:lnTo>
                    <a:pt x="79287" y="34444"/>
                  </a:lnTo>
                  <a:lnTo>
                    <a:pt x="79287" y="34444"/>
                  </a:lnTo>
                  <a:lnTo>
                    <a:pt x="79122" y="34444"/>
                  </a:lnTo>
                  <a:lnTo>
                    <a:pt x="79287" y="34920"/>
                  </a:lnTo>
                  <a:lnTo>
                    <a:pt x="79287" y="34920"/>
                  </a:lnTo>
                  <a:lnTo>
                    <a:pt x="79533" y="34920"/>
                  </a:lnTo>
                  <a:lnTo>
                    <a:pt x="79533" y="34920"/>
                  </a:lnTo>
                  <a:lnTo>
                    <a:pt x="79533" y="35238"/>
                  </a:lnTo>
                  <a:lnTo>
                    <a:pt x="79533" y="35238"/>
                  </a:lnTo>
                  <a:lnTo>
                    <a:pt x="79533" y="35238"/>
                  </a:lnTo>
                  <a:lnTo>
                    <a:pt x="79287" y="35238"/>
                  </a:lnTo>
                  <a:lnTo>
                    <a:pt x="79287" y="35555"/>
                  </a:lnTo>
                  <a:lnTo>
                    <a:pt x="79122" y="35555"/>
                  </a:lnTo>
                  <a:lnTo>
                    <a:pt x="79122" y="35555"/>
                  </a:lnTo>
                  <a:lnTo>
                    <a:pt x="78958" y="35555"/>
                  </a:lnTo>
                  <a:lnTo>
                    <a:pt x="79287" y="36031"/>
                  </a:lnTo>
                  <a:lnTo>
                    <a:pt x="79122" y="36031"/>
                  </a:lnTo>
                  <a:lnTo>
                    <a:pt x="78711" y="36031"/>
                  </a:lnTo>
                  <a:lnTo>
                    <a:pt x="78711" y="36031"/>
                  </a:lnTo>
                  <a:lnTo>
                    <a:pt x="78546" y="36031"/>
                  </a:lnTo>
                  <a:lnTo>
                    <a:pt x="78546" y="36031"/>
                  </a:lnTo>
                  <a:lnTo>
                    <a:pt x="78546" y="36031"/>
                  </a:lnTo>
                  <a:lnTo>
                    <a:pt x="78382" y="36031"/>
                  </a:lnTo>
                  <a:lnTo>
                    <a:pt x="78135" y="36031"/>
                  </a:lnTo>
                  <a:lnTo>
                    <a:pt x="78135" y="36349"/>
                  </a:lnTo>
                  <a:lnTo>
                    <a:pt x="78135" y="36349"/>
                  </a:lnTo>
                  <a:lnTo>
                    <a:pt x="77971" y="36349"/>
                  </a:lnTo>
                  <a:lnTo>
                    <a:pt x="77971" y="36666"/>
                  </a:lnTo>
                  <a:lnTo>
                    <a:pt x="77806" y="36666"/>
                  </a:lnTo>
                  <a:lnTo>
                    <a:pt x="77559" y="37142"/>
                  </a:lnTo>
                  <a:lnTo>
                    <a:pt x="77148" y="37936"/>
                  </a:lnTo>
                  <a:lnTo>
                    <a:pt x="76984" y="37936"/>
                  </a:lnTo>
                  <a:lnTo>
                    <a:pt x="76408" y="38571"/>
                  </a:lnTo>
                  <a:lnTo>
                    <a:pt x="76244" y="38571"/>
                  </a:lnTo>
                  <a:lnTo>
                    <a:pt x="75997" y="39047"/>
                  </a:lnTo>
                  <a:lnTo>
                    <a:pt x="75997" y="39047"/>
                  </a:lnTo>
                  <a:lnTo>
                    <a:pt x="75832" y="39365"/>
                  </a:lnTo>
                  <a:lnTo>
                    <a:pt x="75668" y="39682"/>
                  </a:lnTo>
                  <a:lnTo>
                    <a:pt x="75668" y="39682"/>
                  </a:lnTo>
                  <a:lnTo>
                    <a:pt x="75421" y="39682"/>
                  </a:lnTo>
                  <a:lnTo>
                    <a:pt x="75421" y="39682"/>
                  </a:lnTo>
                  <a:lnTo>
                    <a:pt x="75257" y="39682"/>
                  </a:lnTo>
                  <a:lnTo>
                    <a:pt x="75257" y="40158"/>
                  </a:lnTo>
                  <a:lnTo>
                    <a:pt x="74845" y="40158"/>
                  </a:lnTo>
                  <a:lnTo>
                    <a:pt x="74434" y="40476"/>
                  </a:lnTo>
                  <a:lnTo>
                    <a:pt x="74434" y="40476"/>
                  </a:lnTo>
                  <a:lnTo>
                    <a:pt x="74434" y="40476"/>
                  </a:lnTo>
                  <a:lnTo>
                    <a:pt x="74434" y="40476"/>
                  </a:lnTo>
                  <a:lnTo>
                    <a:pt x="74434" y="40476"/>
                  </a:lnTo>
                  <a:lnTo>
                    <a:pt x="74434" y="40158"/>
                  </a:lnTo>
                  <a:lnTo>
                    <a:pt x="74434" y="40158"/>
                  </a:lnTo>
                  <a:lnTo>
                    <a:pt x="74270" y="39365"/>
                  </a:lnTo>
                  <a:lnTo>
                    <a:pt x="74270" y="39047"/>
                  </a:lnTo>
                  <a:lnTo>
                    <a:pt x="74270" y="38253"/>
                  </a:lnTo>
                  <a:lnTo>
                    <a:pt x="74270" y="38253"/>
                  </a:lnTo>
                  <a:lnTo>
                    <a:pt x="74681" y="37936"/>
                  </a:lnTo>
                  <a:lnTo>
                    <a:pt x="74681" y="37460"/>
                  </a:lnTo>
                  <a:lnTo>
                    <a:pt x="74681" y="37460"/>
                  </a:lnTo>
                  <a:lnTo>
                    <a:pt x="74845" y="37142"/>
                  </a:lnTo>
                  <a:lnTo>
                    <a:pt x="74845" y="37142"/>
                  </a:lnTo>
                  <a:lnTo>
                    <a:pt x="74845" y="37460"/>
                  </a:lnTo>
                  <a:lnTo>
                    <a:pt x="74845" y="37460"/>
                  </a:lnTo>
                  <a:lnTo>
                    <a:pt x="75092" y="37460"/>
                  </a:lnTo>
                  <a:lnTo>
                    <a:pt x="75257" y="37460"/>
                  </a:lnTo>
                  <a:lnTo>
                    <a:pt x="75257" y="37460"/>
                  </a:lnTo>
                  <a:lnTo>
                    <a:pt x="75257" y="37142"/>
                  </a:lnTo>
                  <a:lnTo>
                    <a:pt x="75421" y="37142"/>
                  </a:lnTo>
                  <a:lnTo>
                    <a:pt x="75421" y="37142"/>
                  </a:lnTo>
                  <a:lnTo>
                    <a:pt x="75421" y="36666"/>
                  </a:lnTo>
                  <a:lnTo>
                    <a:pt x="75421" y="36666"/>
                  </a:lnTo>
                  <a:lnTo>
                    <a:pt x="75668" y="36349"/>
                  </a:lnTo>
                  <a:lnTo>
                    <a:pt x="75668" y="36031"/>
                  </a:lnTo>
                  <a:lnTo>
                    <a:pt x="75668" y="36031"/>
                  </a:lnTo>
                  <a:lnTo>
                    <a:pt x="75668" y="35555"/>
                  </a:lnTo>
                  <a:lnTo>
                    <a:pt x="75668" y="35555"/>
                  </a:lnTo>
                  <a:lnTo>
                    <a:pt x="75421" y="35238"/>
                  </a:lnTo>
                  <a:lnTo>
                    <a:pt x="75257" y="34920"/>
                  </a:lnTo>
                  <a:lnTo>
                    <a:pt x="75257" y="34920"/>
                  </a:lnTo>
                  <a:lnTo>
                    <a:pt x="75257" y="34444"/>
                  </a:lnTo>
                  <a:lnTo>
                    <a:pt x="75092" y="34444"/>
                  </a:lnTo>
                  <a:lnTo>
                    <a:pt x="74845" y="34444"/>
                  </a:lnTo>
                  <a:lnTo>
                    <a:pt x="74845" y="34444"/>
                  </a:lnTo>
                  <a:lnTo>
                    <a:pt x="74434" y="35238"/>
                  </a:lnTo>
                  <a:lnTo>
                    <a:pt x="74105" y="35238"/>
                  </a:lnTo>
                  <a:lnTo>
                    <a:pt x="74105" y="35555"/>
                  </a:lnTo>
                  <a:lnTo>
                    <a:pt x="73858" y="36031"/>
                  </a:lnTo>
                  <a:lnTo>
                    <a:pt x="73694" y="36031"/>
                  </a:lnTo>
                  <a:lnTo>
                    <a:pt x="73529" y="36349"/>
                  </a:lnTo>
                  <a:lnTo>
                    <a:pt x="73283" y="36349"/>
                  </a:lnTo>
                  <a:lnTo>
                    <a:pt x="73283" y="36666"/>
                  </a:lnTo>
                  <a:lnTo>
                    <a:pt x="73283" y="36666"/>
                  </a:lnTo>
                  <a:lnTo>
                    <a:pt x="72954" y="37142"/>
                  </a:lnTo>
                  <a:lnTo>
                    <a:pt x="72707" y="37142"/>
                  </a:lnTo>
                  <a:lnTo>
                    <a:pt x="72707" y="37142"/>
                  </a:lnTo>
                  <a:lnTo>
                    <a:pt x="72707" y="37460"/>
                  </a:lnTo>
                  <a:lnTo>
                    <a:pt x="72542" y="37460"/>
                  </a:lnTo>
                  <a:lnTo>
                    <a:pt x="72542" y="37460"/>
                  </a:lnTo>
                  <a:lnTo>
                    <a:pt x="72542" y="37460"/>
                  </a:lnTo>
                  <a:lnTo>
                    <a:pt x="72542" y="37142"/>
                  </a:lnTo>
                  <a:lnTo>
                    <a:pt x="72542" y="37142"/>
                  </a:lnTo>
                  <a:lnTo>
                    <a:pt x="72542" y="37142"/>
                  </a:lnTo>
                  <a:lnTo>
                    <a:pt x="72542" y="36666"/>
                  </a:lnTo>
                  <a:lnTo>
                    <a:pt x="72542" y="36666"/>
                  </a:lnTo>
                  <a:lnTo>
                    <a:pt x="72707" y="36349"/>
                  </a:lnTo>
                  <a:lnTo>
                    <a:pt x="72707" y="36349"/>
                  </a:lnTo>
                  <a:lnTo>
                    <a:pt x="72954" y="36031"/>
                  </a:lnTo>
                  <a:lnTo>
                    <a:pt x="72954" y="36031"/>
                  </a:lnTo>
                  <a:lnTo>
                    <a:pt x="73118" y="35555"/>
                  </a:lnTo>
                  <a:lnTo>
                    <a:pt x="73118" y="35555"/>
                  </a:lnTo>
                  <a:lnTo>
                    <a:pt x="73118" y="35555"/>
                  </a:lnTo>
                  <a:lnTo>
                    <a:pt x="73118" y="34920"/>
                  </a:lnTo>
                  <a:lnTo>
                    <a:pt x="72707" y="34444"/>
                  </a:lnTo>
                  <a:lnTo>
                    <a:pt x="72707" y="34444"/>
                  </a:lnTo>
                  <a:lnTo>
                    <a:pt x="72954" y="34444"/>
                  </a:lnTo>
                  <a:lnTo>
                    <a:pt x="73118" y="34444"/>
                  </a:lnTo>
                  <a:lnTo>
                    <a:pt x="73118" y="34444"/>
                  </a:lnTo>
                  <a:lnTo>
                    <a:pt x="72954" y="34444"/>
                  </a:lnTo>
                  <a:lnTo>
                    <a:pt x="73118" y="34444"/>
                  </a:lnTo>
                  <a:lnTo>
                    <a:pt x="73118" y="34444"/>
                  </a:lnTo>
                  <a:lnTo>
                    <a:pt x="73283" y="34444"/>
                  </a:lnTo>
                  <a:lnTo>
                    <a:pt x="73283" y="34444"/>
                  </a:lnTo>
                  <a:lnTo>
                    <a:pt x="73529" y="34126"/>
                  </a:lnTo>
                  <a:lnTo>
                    <a:pt x="73529" y="34126"/>
                  </a:lnTo>
                  <a:lnTo>
                    <a:pt x="73694" y="34126"/>
                  </a:lnTo>
                  <a:lnTo>
                    <a:pt x="73694" y="34126"/>
                  </a:lnTo>
                  <a:lnTo>
                    <a:pt x="73858" y="34126"/>
                  </a:lnTo>
                  <a:lnTo>
                    <a:pt x="73858" y="34126"/>
                  </a:lnTo>
                  <a:lnTo>
                    <a:pt x="73858" y="33809"/>
                  </a:lnTo>
                  <a:lnTo>
                    <a:pt x="73694" y="33809"/>
                  </a:lnTo>
                  <a:lnTo>
                    <a:pt x="73529" y="33809"/>
                  </a:lnTo>
                  <a:lnTo>
                    <a:pt x="73283" y="33809"/>
                  </a:lnTo>
                  <a:lnTo>
                    <a:pt x="73118" y="33809"/>
                  </a:lnTo>
                  <a:lnTo>
                    <a:pt x="72954" y="33809"/>
                  </a:lnTo>
                  <a:lnTo>
                    <a:pt x="72954" y="33809"/>
                  </a:lnTo>
                  <a:lnTo>
                    <a:pt x="73118" y="33809"/>
                  </a:lnTo>
                  <a:lnTo>
                    <a:pt x="73283" y="33809"/>
                  </a:lnTo>
                  <a:lnTo>
                    <a:pt x="73283" y="33333"/>
                  </a:lnTo>
                  <a:lnTo>
                    <a:pt x="73283" y="33333"/>
                  </a:lnTo>
                  <a:lnTo>
                    <a:pt x="73118" y="33333"/>
                  </a:lnTo>
                  <a:lnTo>
                    <a:pt x="72954" y="33809"/>
                  </a:lnTo>
                  <a:lnTo>
                    <a:pt x="72542" y="33809"/>
                  </a:lnTo>
                  <a:lnTo>
                    <a:pt x="72378" y="33809"/>
                  </a:lnTo>
                  <a:lnTo>
                    <a:pt x="72131" y="33809"/>
                  </a:lnTo>
                  <a:lnTo>
                    <a:pt x="72131" y="33333"/>
                  </a:lnTo>
                  <a:lnTo>
                    <a:pt x="72131" y="33333"/>
                  </a:lnTo>
                  <a:lnTo>
                    <a:pt x="72131" y="33333"/>
                  </a:lnTo>
                  <a:lnTo>
                    <a:pt x="71967" y="33333"/>
                  </a:lnTo>
                  <a:lnTo>
                    <a:pt x="71720" y="33333"/>
                  </a:lnTo>
                  <a:lnTo>
                    <a:pt x="71555" y="33333"/>
                  </a:lnTo>
                  <a:lnTo>
                    <a:pt x="71555" y="33333"/>
                  </a:lnTo>
                  <a:lnTo>
                    <a:pt x="71391" y="33333"/>
                  </a:lnTo>
                  <a:lnTo>
                    <a:pt x="71720" y="33333"/>
                  </a:lnTo>
                  <a:lnTo>
                    <a:pt x="72378" y="32539"/>
                  </a:lnTo>
                  <a:lnTo>
                    <a:pt x="72707" y="32539"/>
                  </a:lnTo>
                  <a:lnTo>
                    <a:pt x="72954" y="32222"/>
                  </a:lnTo>
                  <a:lnTo>
                    <a:pt x="72954" y="32222"/>
                  </a:lnTo>
                  <a:lnTo>
                    <a:pt x="72954" y="32222"/>
                  </a:lnTo>
                  <a:lnTo>
                    <a:pt x="72542" y="32222"/>
                  </a:lnTo>
                  <a:lnTo>
                    <a:pt x="72542" y="32222"/>
                  </a:lnTo>
                  <a:lnTo>
                    <a:pt x="72542" y="32222"/>
                  </a:lnTo>
                  <a:lnTo>
                    <a:pt x="72707" y="31904"/>
                  </a:lnTo>
                  <a:lnTo>
                    <a:pt x="72954" y="31904"/>
                  </a:lnTo>
                  <a:lnTo>
                    <a:pt x="72954" y="31904"/>
                  </a:lnTo>
                  <a:lnTo>
                    <a:pt x="72954" y="31904"/>
                  </a:lnTo>
                  <a:lnTo>
                    <a:pt x="72954" y="31904"/>
                  </a:lnTo>
                  <a:lnTo>
                    <a:pt x="73118" y="32222"/>
                  </a:lnTo>
                  <a:lnTo>
                    <a:pt x="73283" y="32222"/>
                  </a:lnTo>
                  <a:lnTo>
                    <a:pt x="73529" y="32222"/>
                  </a:lnTo>
                  <a:lnTo>
                    <a:pt x="73529" y="31904"/>
                  </a:lnTo>
                  <a:lnTo>
                    <a:pt x="73694" y="31904"/>
                  </a:lnTo>
                  <a:lnTo>
                    <a:pt x="73529" y="31904"/>
                  </a:lnTo>
                  <a:lnTo>
                    <a:pt x="73529" y="31428"/>
                  </a:lnTo>
                  <a:lnTo>
                    <a:pt x="73529" y="31428"/>
                  </a:lnTo>
                  <a:lnTo>
                    <a:pt x="73529" y="31428"/>
                  </a:lnTo>
                  <a:lnTo>
                    <a:pt x="73529" y="31428"/>
                  </a:lnTo>
                  <a:lnTo>
                    <a:pt x="73283" y="31428"/>
                  </a:lnTo>
                  <a:lnTo>
                    <a:pt x="73283" y="31904"/>
                  </a:lnTo>
                  <a:lnTo>
                    <a:pt x="73283" y="31428"/>
                  </a:lnTo>
                  <a:lnTo>
                    <a:pt x="73283" y="31428"/>
                  </a:lnTo>
                  <a:lnTo>
                    <a:pt x="73283" y="31428"/>
                  </a:lnTo>
                  <a:lnTo>
                    <a:pt x="73283" y="31428"/>
                  </a:lnTo>
                  <a:lnTo>
                    <a:pt x="73283" y="31111"/>
                  </a:lnTo>
                  <a:lnTo>
                    <a:pt x="73283" y="30793"/>
                  </a:lnTo>
                  <a:lnTo>
                    <a:pt x="73283" y="30793"/>
                  </a:lnTo>
                  <a:lnTo>
                    <a:pt x="73283" y="30793"/>
                  </a:lnTo>
                  <a:lnTo>
                    <a:pt x="73118" y="30793"/>
                  </a:lnTo>
                  <a:lnTo>
                    <a:pt x="73118" y="30317"/>
                  </a:lnTo>
                  <a:lnTo>
                    <a:pt x="73118" y="30317"/>
                  </a:lnTo>
                  <a:lnTo>
                    <a:pt x="72954" y="30000"/>
                  </a:lnTo>
                  <a:lnTo>
                    <a:pt x="72954" y="30000"/>
                  </a:lnTo>
                  <a:lnTo>
                    <a:pt x="73118" y="30000"/>
                  </a:lnTo>
                  <a:lnTo>
                    <a:pt x="73118" y="30000"/>
                  </a:lnTo>
                  <a:lnTo>
                    <a:pt x="73283" y="29682"/>
                  </a:lnTo>
                  <a:lnTo>
                    <a:pt x="73529" y="29206"/>
                  </a:lnTo>
                  <a:lnTo>
                    <a:pt x="73529" y="28888"/>
                  </a:lnTo>
                  <a:lnTo>
                    <a:pt x="73529" y="28888"/>
                  </a:lnTo>
                  <a:lnTo>
                    <a:pt x="73529" y="28888"/>
                  </a:lnTo>
                  <a:lnTo>
                    <a:pt x="73529" y="28412"/>
                  </a:lnTo>
                  <a:lnTo>
                    <a:pt x="73529" y="28095"/>
                  </a:lnTo>
                  <a:lnTo>
                    <a:pt x="73283" y="28095"/>
                  </a:lnTo>
                  <a:lnTo>
                    <a:pt x="73283" y="28095"/>
                  </a:lnTo>
                  <a:lnTo>
                    <a:pt x="73283" y="27777"/>
                  </a:lnTo>
                  <a:lnTo>
                    <a:pt x="73283" y="27777"/>
                  </a:lnTo>
                  <a:lnTo>
                    <a:pt x="73283" y="27777"/>
                  </a:lnTo>
                  <a:lnTo>
                    <a:pt x="73283" y="27777"/>
                  </a:lnTo>
                  <a:lnTo>
                    <a:pt x="73118" y="27777"/>
                  </a:lnTo>
                  <a:lnTo>
                    <a:pt x="72954" y="27777"/>
                  </a:lnTo>
                  <a:lnTo>
                    <a:pt x="72707" y="27777"/>
                  </a:lnTo>
                  <a:lnTo>
                    <a:pt x="72707" y="27301"/>
                  </a:lnTo>
                  <a:lnTo>
                    <a:pt x="72954" y="27301"/>
                  </a:lnTo>
                  <a:lnTo>
                    <a:pt x="72954" y="26984"/>
                  </a:lnTo>
                  <a:lnTo>
                    <a:pt x="72707" y="26984"/>
                  </a:lnTo>
                  <a:lnTo>
                    <a:pt x="72707" y="26984"/>
                  </a:lnTo>
                  <a:lnTo>
                    <a:pt x="72542" y="26984"/>
                  </a:lnTo>
                  <a:lnTo>
                    <a:pt x="72131" y="27301"/>
                  </a:lnTo>
                  <a:lnTo>
                    <a:pt x="71555" y="27777"/>
                  </a:lnTo>
                  <a:lnTo>
                    <a:pt x="71391" y="27777"/>
                  </a:lnTo>
                  <a:lnTo>
                    <a:pt x="70980" y="28095"/>
                  </a:lnTo>
                  <a:lnTo>
                    <a:pt x="70815" y="28095"/>
                  </a:lnTo>
                  <a:lnTo>
                    <a:pt x="70815" y="28095"/>
                  </a:lnTo>
                  <a:lnTo>
                    <a:pt x="70815" y="28412"/>
                  </a:lnTo>
                  <a:lnTo>
                    <a:pt x="70980" y="28412"/>
                  </a:lnTo>
                  <a:lnTo>
                    <a:pt x="71144" y="28412"/>
                  </a:lnTo>
                  <a:lnTo>
                    <a:pt x="71144" y="28412"/>
                  </a:lnTo>
                  <a:lnTo>
                    <a:pt x="71144" y="28412"/>
                  </a:lnTo>
                  <a:lnTo>
                    <a:pt x="70815" y="28888"/>
                  </a:lnTo>
                  <a:lnTo>
                    <a:pt x="70815" y="28888"/>
                  </a:lnTo>
                  <a:lnTo>
                    <a:pt x="70568" y="28888"/>
                  </a:lnTo>
                  <a:lnTo>
                    <a:pt x="70568" y="28888"/>
                  </a:lnTo>
                  <a:lnTo>
                    <a:pt x="70568" y="28412"/>
                  </a:lnTo>
                  <a:lnTo>
                    <a:pt x="70404" y="28412"/>
                  </a:lnTo>
                  <a:lnTo>
                    <a:pt x="70404" y="28412"/>
                  </a:lnTo>
                  <a:lnTo>
                    <a:pt x="70404" y="28412"/>
                  </a:lnTo>
                  <a:lnTo>
                    <a:pt x="69993" y="28888"/>
                  </a:lnTo>
                  <a:lnTo>
                    <a:pt x="69828" y="28888"/>
                  </a:lnTo>
                  <a:lnTo>
                    <a:pt x="69828" y="29206"/>
                  </a:lnTo>
                  <a:lnTo>
                    <a:pt x="69664" y="29206"/>
                  </a:lnTo>
                  <a:lnTo>
                    <a:pt x="69664" y="29206"/>
                  </a:lnTo>
                  <a:lnTo>
                    <a:pt x="69664" y="29206"/>
                  </a:lnTo>
                  <a:lnTo>
                    <a:pt x="69417" y="29206"/>
                  </a:lnTo>
                  <a:lnTo>
                    <a:pt x="69417" y="29682"/>
                  </a:lnTo>
                  <a:lnTo>
                    <a:pt x="69417" y="29682"/>
                  </a:lnTo>
                  <a:lnTo>
                    <a:pt x="69006" y="30000"/>
                  </a:lnTo>
                  <a:lnTo>
                    <a:pt x="69006" y="30317"/>
                  </a:lnTo>
                  <a:lnTo>
                    <a:pt x="69006" y="30793"/>
                  </a:lnTo>
                  <a:lnTo>
                    <a:pt x="69006" y="30793"/>
                  </a:lnTo>
                  <a:lnTo>
                    <a:pt x="69252" y="30793"/>
                  </a:lnTo>
                  <a:lnTo>
                    <a:pt x="69664" y="30793"/>
                  </a:lnTo>
                  <a:lnTo>
                    <a:pt x="69664" y="30793"/>
                  </a:lnTo>
                  <a:lnTo>
                    <a:pt x="69417" y="30793"/>
                  </a:lnTo>
                  <a:lnTo>
                    <a:pt x="69417" y="30793"/>
                  </a:lnTo>
                  <a:lnTo>
                    <a:pt x="69417" y="31111"/>
                  </a:lnTo>
                  <a:lnTo>
                    <a:pt x="69252" y="30793"/>
                  </a:lnTo>
                  <a:lnTo>
                    <a:pt x="69006" y="31111"/>
                  </a:lnTo>
                  <a:lnTo>
                    <a:pt x="69006" y="31111"/>
                  </a:lnTo>
                  <a:lnTo>
                    <a:pt x="68841" y="31111"/>
                  </a:lnTo>
                  <a:lnTo>
                    <a:pt x="68841" y="31111"/>
                  </a:lnTo>
                  <a:lnTo>
                    <a:pt x="68265" y="31428"/>
                  </a:lnTo>
                  <a:lnTo>
                    <a:pt x="68265" y="31904"/>
                  </a:lnTo>
                  <a:lnTo>
                    <a:pt x="68265" y="31904"/>
                  </a:lnTo>
                  <a:lnTo>
                    <a:pt x="68101" y="32222"/>
                  </a:lnTo>
                  <a:lnTo>
                    <a:pt x="68265" y="32539"/>
                  </a:lnTo>
                  <a:lnTo>
                    <a:pt x="68265" y="32539"/>
                  </a:lnTo>
                  <a:lnTo>
                    <a:pt x="68265" y="33015"/>
                  </a:lnTo>
                  <a:lnTo>
                    <a:pt x="68265" y="33015"/>
                  </a:lnTo>
                  <a:lnTo>
                    <a:pt x="68265" y="33015"/>
                  </a:lnTo>
                  <a:lnTo>
                    <a:pt x="68265" y="33015"/>
                  </a:lnTo>
                  <a:lnTo>
                    <a:pt x="68430" y="33015"/>
                  </a:lnTo>
                  <a:lnTo>
                    <a:pt x="68677" y="33333"/>
                  </a:lnTo>
                  <a:lnTo>
                    <a:pt x="68677" y="33333"/>
                  </a:lnTo>
                  <a:lnTo>
                    <a:pt x="68841" y="33333"/>
                  </a:lnTo>
                  <a:lnTo>
                    <a:pt x="69252" y="33809"/>
                  </a:lnTo>
                  <a:lnTo>
                    <a:pt x="69252" y="33809"/>
                  </a:lnTo>
                  <a:lnTo>
                    <a:pt x="69417" y="33333"/>
                  </a:lnTo>
                  <a:lnTo>
                    <a:pt x="69417" y="33333"/>
                  </a:lnTo>
                  <a:lnTo>
                    <a:pt x="69417" y="33333"/>
                  </a:lnTo>
                  <a:lnTo>
                    <a:pt x="69664" y="33809"/>
                  </a:lnTo>
                  <a:lnTo>
                    <a:pt x="69664" y="33809"/>
                  </a:lnTo>
                  <a:lnTo>
                    <a:pt x="69664" y="34126"/>
                  </a:lnTo>
                  <a:lnTo>
                    <a:pt x="69664" y="34126"/>
                  </a:lnTo>
                  <a:lnTo>
                    <a:pt x="69828" y="34126"/>
                  </a:lnTo>
                  <a:lnTo>
                    <a:pt x="69993" y="34126"/>
                  </a:lnTo>
                  <a:lnTo>
                    <a:pt x="69993" y="34126"/>
                  </a:lnTo>
                  <a:lnTo>
                    <a:pt x="70239" y="33809"/>
                  </a:lnTo>
                  <a:lnTo>
                    <a:pt x="70404" y="33809"/>
                  </a:lnTo>
                  <a:lnTo>
                    <a:pt x="70404" y="34126"/>
                  </a:lnTo>
                  <a:lnTo>
                    <a:pt x="70404" y="34126"/>
                  </a:lnTo>
                  <a:lnTo>
                    <a:pt x="70404" y="34126"/>
                  </a:lnTo>
                  <a:lnTo>
                    <a:pt x="70404" y="34126"/>
                  </a:lnTo>
                  <a:lnTo>
                    <a:pt x="70404" y="34126"/>
                  </a:lnTo>
                  <a:lnTo>
                    <a:pt x="70404" y="34444"/>
                  </a:lnTo>
                  <a:lnTo>
                    <a:pt x="70239" y="34444"/>
                  </a:lnTo>
                  <a:lnTo>
                    <a:pt x="69828" y="34444"/>
                  </a:lnTo>
                  <a:lnTo>
                    <a:pt x="69828" y="34444"/>
                  </a:lnTo>
                  <a:lnTo>
                    <a:pt x="69993" y="34444"/>
                  </a:lnTo>
                  <a:lnTo>
                    <a:pt x="70239" y="34126"/>
                  </a:lnTo>
                  <a:lnTo>
                    <a:pt x="70404" y="34126"/>
                  </a:lnTo>
                  <a:lnTo>
                    <a:pt x="69993" y="34126"/>
                  </a:lnTo>
                  <a:lnTo>
                    <a:pt x="69664" y="34444"/>
                  </a:lnTo>
                  <a:lnTo>
                    <a:pt x="69417" y="34444"/>
                  </a:lnTo>
                  <a:lnTo>
                    <a:pt x="69417" y="34444"/>
                  </a:lnTo>
                  <a:lnTo>
                    <a:pt x="69417" y="34444"/>
                  </a:lnTo>
                  <a:lnTo>
                    <a:pt x="69252" y="34920"/>
                  </a:lnTo>
                  <a:lnTo>
                    <a:pt x="69252" y="34920"/>
                  </a:lnTo>
                  <a:lnTo>
                    <a:pt x="69417" y="34920"/>
                  </a:lnTo>
                  <a:lnTo>
                    <a:pt x="69417" y="34920"/>
                  </a:lnTo>
                  <a:lnTo>
                    <a:pt x="69006" y="35238"/>
                  </a:lnTo>
                  <a:lnTo>
                    <a:pt x="68677" y="35238"/>
                  </a:lnTo>
                  <a:lnTo>
                    <a:pt x="68677" y="35555"/>
                  </a:lnTo>
                  <a:lnTo>
                    <a:pt x="68430" y="36031"/>
                  </a:lnTo>
                  <a:lnTo>
                    <a:pt x="68430" y="36031"/>
                  </a:lnTo>
                  <a:lnTo>
                    <a:pt x="68430" y="36031"/>
                  </a:lnTo>
                  <a:lnTo>
                    <a:pt x="68841" y="36031"/>
                  </a:lnTo>
                  <a:lnTo>
                    <a:pt x="69006" y="36031"/>
                  </a:lnTo>
                  <a:lnTo>
                    <a:pt x="69006" y="36031"/>
                  </a:lnTo>
                  <a:lnTo>
                    <a:pt x="69252" y="35555"/>
                  </a:lnTo>
                  <a:lnTo>
                    <a:pt x="69417" y="35238"/>
                  </a:lnTo>
                  <a:lnTo>
                    <a:pt x="69417" y="35238"/>
                  </a:lnTo>
                  <a:lnTo>
                    <a:pt x="69417" y="35238"/>
                  </a:lnTo>
                  <a:lnTo>
                    <a:pt x="69664" y="35238"/>
                  </a:lnTo>
                  <a:lnTo>
                    <a:pt x="69664" y="35238"/>
                  </a:lnTo>
                  <a:lnTo>
                    <a:pt x="69664" y="35555"/>
                  </a:lnTo>
                  <a:lnTo>
                    <a:pt x="69664" y="35555"/>
                  </a:lnTo>
                  <a:lnTo>
                    <a:pt x="69417" y="35555"/>
                  </a:lnTo>
                  <a:lnTo>
                    <a:pt x="69417" y="36031"/>
                  </a:lnTo>
                  <a:lnTo>
                    <a:pt x="69252" y="36349"/>
                  </a:lnTo>
                  <a:lnTo>
                    <a:pt x="69252" y="36349"/>
                  </a:lnTo>
                  <a:lnTo>
                    <a:pt x="69252" y="36349"/>
                  </a:lnTo>
                  <a:lnTo>
                    <a:pt x="69417" y="36349"/>
                  </a:lnTo>
                  <a:lnTo>
                    <a:pt x="69417" y="36349"/>
                  </a:lnTo>
                  <a:lnTo>
                    <a:pt x="69006" y="36666"/>
                  </a:lnTo>
                  <a:lnTo>
                    <a:pt x="68677" y="36666"/>
                  </a:lnTo>
                  <a:lnTo>
                    <a:pt x="68430" y="37142"/>
                  </a:lnTo>
                  <a:lnTo>
                    <a:pt x="68101" y="37460"/>
                  </a:lnTo>
                  <a:lnTo>
                    <a:pt x="67854" y="37460"/>
                  </a:lnTo>
                  <a:lnTo>
                    <a:pt x="67690" y="37460"/>
                  </a:lnTo>
                  <a:lnTo>
                    <a:pt x="67278" y="37936"/>
                  </a:lnTo>
                  <a:lnTo>
                    <a:pt x="67114" y="37936"/>
                  </a:lnTo>
                  <a:lnTo>
                    <a:pt x="66949" y="37936"/>
                  </a:lnTo>
                  <a:lnTo>
                    <a:pt x="66949" y="37936"/>
                  </a:lnTo>
                  <a:lnTo>
                    <a:pt x="66703" y="37936"/>
                  </a:lnTo>
                  <a:lnTo>
                    <a:pt x="66538" y="37936"/>
                  </a:lnTo>
                  <a:lnTo>
                    <a:pt x="66538" y="37936"/>
                  </a:lnTo>
                  <a:lnTo>
                    <a:pt x="66291" y="38253"/>
                  </a:lnTo>
                  <a:lnTo>
                    <a:pt x="65716" y="39047"/>
                  </a:lnTo>
                  <a:lnTo>
                    <a:pt x="65716" y="39047"/>
                  </a:lnTo>
                  <a:lnTo>
                    <a:pt x="65716" y="39365"/>
                  </a:lnTo>
                  <a:lnTo>
                    <a:pt x="65716" y="39365"/>
                  </a:lnTo>
                  <a:lnTo>
                    <a:pt x="65716" y="40158"/>
                  </a:lnTo>
                  <a:lnTo>
                    <a:pt x="65551" y="40158"/>
                  </a:lnTo>
                  <a:lnTo>
                    <a:pt x="65387" y="40476"/>
                  </a:lnTo>
                  <a:lnTo>
                    <a:pt x="65140" y="41269"/>
                  </a:lnTo>
                  <a:lnTo>
                    <a:pt x="64976" y="41269"/>
                  </a:lnTo>
                  <a:lnTo>
                    <a:pt x="64976" y="41269"/>
                  </a:lnTo>
                  <a:lnTo>
                    <a:pt x="64811" y="41269"/>
                  </a:lnTo>
                  <a:lnTo>
                    <a:pt x="64400" y="41269"/>
                  </a:lnTo>
                  <a:lnTo>
                    <a:pt x="64235" y="41269"/>
                  </a:lnTo>
                  <a:lnTo>
                    <a:pt x="64235" y="41269"/>
                  </a:lnTo>
                  <a:lnTo>
                    <a:pt x="64235" y="41269"/>
                  </a:lnTo>
                  <a:lnTo>
                    <a:pt x="64400" y="42063"/>
                  </a:lnTo>
                  <a:lnTo>
                    <a:pt x="64235" y="42063"/>
                  </a:lnTo>
                  <a:lnTo>
                    <a:pt x="64235" y="42063"/>
                  </a:lnTo>
                  <a:lnTo>
                    <a:pt x="64235" y="42063"/>
                  </a:lnTo>
                  <a:lnTo>
                    <a:pt x="64235" y="42063"/>
                  </a:lnTo>
                  <a:lnTo>
                    <a:pt x="64235" y="41587"/>
                  </a:lnTo>
                  <a:lnTo>
                    <a:pt x="63989" y="41269"/>
                  </a:lnTo>
                  <a:lnTo>
                    <a:pt x="63989" y="40793"/>
                  </a:lnTo>
                  <a:lnTo>
                    <a:pt x="63989" y="40793"/>
                  </a:lnTo>
                  <a:lnTo>
                    <a:pt x="63989" y="40793"/>
                  </a:lnTo>
                  <a:lnTo>
                    <a:pt x="63989" y="40793"/>
                  </a:lnTo>
                  <a:lnTo>
                    <a:pt x="64235" y="40793"/>
                  </a:lnTo>
                  <a:lnTo>
                    <a:pt x="64235" y="40793"/>
                  </a:lnTo>
                  <a:lnTo>
                    <a:pt x="64400" y="40793"/>
                  </a:lnTo>
                  <a:lnTo>
                    <a:pt x="64400" y="40793"/>
                  </a:lnTo>
                  <a:lnTo>
                    <a:pt x="64564" y="41269"/>
                  </a:lnTo>
                  <a:lnTo>
                    <a:pt x="64564" y="41269"/>
                  </a:lnTo>
                  <a:lnTo>
                    <a:pt x="64811" y="41269"/>
                  </a:lnTo>
                  <a:lnTo>
                    <a:pt x="64811" y="41269"/>
                  </a:lnTo>
                  <a:lnTo>
                    <a:pt x="64976" y="41269"/>
                  </a:lnTo>
                  <a:lnTo>
                    <a:pt x="64976" y="41269"/>
                  </a:lnTo>
                  <a:lnTo>
                    <a:pt x="65140" y="40793"/>
                  </a:lnTo>
                  <a:lnTo>
                    <a:pt x="65140" y="40793"/>
                  </a:lnTo>
                  <a:lnTo>
                    <a:pt x="65140" y="40793"/>
                  </a:lnTo>
                  <a:lnTo>
                    <a:pt x="65387" y="40476"/>
                  </a:lnTo>
                  <a:lnTo>
                    <a:pt x="65140" y="40476"/>
                  </a:lnTo>
                  <a:lnTo>
                    <a:pt x="65140" y="40476"/>
                  </a:lnTo>
                  <a:lnTo>
                    <a:pt x="65140" y="40476"/>
                  </a:lnTo>
                  <a:lnTo>
                    <a:pt x="64976" y="40476"/>
                  </a:lnTo>
                  <a:lnTo>
                    <a:pt x="64976" y="40476"/>
                  </a:lnTo>
                  <a:lnTo>
                    <a:pt x="65140" y="40158"/>
                  </a:lnTo>
                  <a:lnTo>
                    <a:pt x="65140" y="40158"/>
                  </a:lnTo>
                  <a:lnTo>
                    <a:pt x="64976" y="40158"/>
                  </a:lnTo>
                  <a:lnTo>
                    <a:pt x="64811" y="40158"/>
                  </a:lnTo>
                  <a:lnTo>
                    <a:pt x="64564" y="40158"/>
                  </a:lnTo>
                  <a:lnTo>
                    <a:pt x="64564" y="40158"/>
                  </a:lnTo>
                  <a:lnTo>
                    <a:pt x="64811" y="40158"/>
                  </a:lnTo>
                  <a:lnTo>
                    <a:pt x="64811" y="39682"/>
                  </a:lnTo>
                  <a:lnTo>
                    <a:pt x="64564" y="39682"/>
                  </a:lnTo>
                  <a:lnTo>
                    <a:pt x="64811" y="39365"/>
                  </a:lnTo>
                  <a:lnTo>
                    <a:pt x="64976" y="39047"/>
                  </a:lnTo>
                  <a:lnTo>
                    <a:pt x="65140" y="39047"/>
                  </a:lnTo>
                  <a:lnTo>
                    <a:pt x="65387" y="38571"/>
                  </a:lnTo>
                  <a:lnTo>
                    <a:pt x="65962" y="37936"/>
                  </a:lnTo>
                  <a:lnTo>
                    <a:pt x="66127" y="37460"/>
                  </a:lnTo>
                  <a:lnTo>
                    <a:pt x="65962" y="37460"/>
                  </a:lnTo>
                  <a:lnTo>
                    <a:pt x="65387" y="37936"/>
                  </a:lnTo>
                  <a:lnTo>
                    <a:pt x="65387" y="37936"/>
                  </a:lnTo>
                  <a:lnTo>
                    <a:pt x="65387" y="37936"/>
                  </a:lnTo>
                  <a:lnTo>
                    <a:pt x="65140" y="37936"/>
                  </a:lnTo>
                  <a:lnTo>
                    <a:pt x="65140" y="37936"/>
                  </a:lnTo>
                  <a:lnTo>
                    <a:pt x="64976" y="37936"/>
                  </a:lnTo>
                  <a:lnTo>
                    <a:pt x="64976" y="37936"/>
                  </a:lnTo>
                  <a:lnTo>
                    <a:pt x="65551" y="37460"/>
                  </a:lnTo>
                  <a:lnTo>
                    <a:pt x="65551" y="37460"/>
                  </a:lnTo>
                  <a:lnTo>
                    <a:pt x="65716" y="37142"/>
                  </a:lnTo>
                  <a:lnTo>
                    <a:pt x="65387" y="37460"/>
                  </a:lnTo>
                  <a:lnTo>
                    <a:pt x="64976" y="37460"/>
                  </a:lnTo>
                  <a:lnTo>
                    <a:pt x="64976" y="37460"/>
                  </a:lnTo>
                  <a:lnTo>
                    <a:pt x="64976" y="37142"/>
                  </a:lnTo>
                  <a:lnTo>
                    <a:pt x="64976" y="37142"/>
                  </a:lnTo>
                  <a:lnTo>
                    <a:pt x="64976" y="36666"/>
                  </a:lnTo>
                  <a:lnTo>
                    <a:pt x="64976" y="36666"/>
                  </a:lnTo>
                  <a:lnTo>
                    <a:pt x="64811" y="36666"/>
                  </a:lnTo>
                  <a:lnTo>
                    <a:pt x="64811" y="36666"/>
                  </a:lnTo>
                  <a:lnTo>
                    <a:pt x="64564" y="36666"/>
                  </a:lnTo>
                  <a:lnTo>
                    <a:pt x="64564" y="36666"/>
                  </a:lnTo>
                  <a:lnTo>
                    <a:pt x="64400" y="36666"/>
                  </a:lnTo>
                  <a:lnTo>
                    <a:pt x="64400" y="36666"/>
                  </a:lnTo>
                  <a:lnTo>
                    <a:pt x="64235" y="36666"/>
                  </a:lnTo>
                  <a:lnTo>
                    <a:pt x="64235" y="36666"/>
                  </a:lnTo>
                  <a:lnTo>
                    <a:pt x="64235" y="37142"/>
                  </a:lnTo>
                  <a:lnTo>
                    <a:pt x="63824" y="37142"/>
                  </a:lnTo>
                  <a:lnTo>
                    <a:pt x="63577" y="37142"/>
                  </a:lnTo>
                  <a:lnTo>
                    <a:pt x="63413" y="37142"/>
                  </a:lnTo>
                  <a:lnTo>
                    <a:pt x="63413" y="37142"/>
                  </a:lnTo>
                  <a:lnTo>
                    <a:pt x="63413" y="37142"/>
                  </a:lnTo>
                  <a:lnTo>
                    <a:pt x="63248" y="37142"/>
                  </a:lnTo>
                  <a:lnTo>
                    <a:pt x="63248" y="37142"/>
                  </a:lnTo>
                  <a:lnTo>
                    <a:pt x="63248" y="37460"/>
                  </a:lnTo>
                  <a:lnTo>
                    <a:pt x="63248" y="37460"/>
                  </a:lnTo>
                  <a:lnTo>
                    <a:pt x="63248" y="37936"/>
                  </a:lnTo>
                  <a:lnTo>
                    <a:pt x="63248" y="37936"/>
                  </a:lnTo>
                  <a:lnTo>
                    <a:pt x="63002" y="37936"/>
                  </a:lnTo>
                  <a:lnTo>
                    <a:pt x="63002" y="37936"/>
                  </a:lnTo>
                  <a:lnTo>
                    <a:pt x="63002" y="37936"/>
                  </a:lnTo>
                  <a:lnTo>
                    <a:pt x="63248" y="38253"/>
                  </a:lnTo>
                  <a:lnTo>
                    <a:pt x="63248" y="38571"/>
                  </a:lnTo>
                  <a:lnTo>
                    <a:pt x="63577" y="38253"/>
                  </a:lnTo>
                  <a:lnTo>
                    <a:pt x="63824" y="38253"/>
                  </a:lnTo>
                  <a:lnTo>
                    <a:pt x="63989" y="38253"/>
                  </a:lnTo>
                  <a:lnTo>
                    <a:pt x="64235" y="38571"/>
                  </a:lnTo>
                  <a:lnTo>
                    <a:pt x="64235" y="38571"/>
                  </a:lnTo>
                  <a:lnTo>
                    <a:pt x="64235" y="38571"/>
                  </a:lnTo>
                  <a:lnTo>
                    <a:pt x="64235" y="38571"/>
                  </a:lnTo>
                  <a:lnTo>
                    <a:pt x="64235" y="39047"/>
                  </a:lnTo>
                  <a:lnTo>
                    <a:pt x="63989" y="39047"/>
                  </a:lnTo>
                  <a:lnTo>
                    <a:pt x="63989" y="39047"/>
                  </a:lnTo>
                  <a:lnTo>
                    <a:pt x="63824" y="39047"/>
                  </a:lnTo>
                  <a:lnTo>
                    <a:pt x="63577" y="39365"/>
                  </a:lnTo>
                  <a:lnTo>
                    <a:pt x="63413" y="39365"/>
                  </a:lnTo>
                  <a:lnTo>
                    <a:pt x="63248" y="39047"/>
                  </a:lnTo>
                  <a:lnTo>
                    <a:pt x="63248" y="39047"/>
                  </a:lnTo>
                  <a:lnTo>
                    <a:pt x="63002" y="39047"/>
                  </a:lnTo>
                  <a:lnTo>
                    <a:pt x="63002" y="38253"/>
                  </a:lnTo>
                  <a:lnTo>
                    <a:pt x="63002" y="37936"/>
                  </a:lnTo>
                  <a:lnTo>
                    <a:pt x="62837" y="37936"/>
                  </a:lnTo>
                  <a:lnTo>
                    <a:pt x="62837" y="37936"/>
                  </a:lnTo>
                  <a:lnTo>
                    <a:pt x="62837" y="37936"/>
                  </a:lnTo>
                  <a:lnTo>
                    <a:pt x="62673" y="38253"/>
                  </a:lnTo>
                  <a:lnTo>
                    <a:pt x="62673" y="38253"/>
                  </a:lnTo>
                  <a:lnTo>
                    <a:pt x="62673" y="38253"/>
                  </a:lnTo>
                  <a:lnTo>
                    <a:pt x="62837" y="38571"/>
                  </a:lnTo>
                  <a:lnTo>
                    <a:pt x="62837" y="38571"/>
                  </a:lnTo>
                  <a:lnTo>
                    <a:pt x="62837" y="38571"/>
                  </a:lnTo>
                  <a:lnTo>
                    <a:pt x="62673" y="38571"/>
                  </a:lnTo>
                  <a:lnTo>
                    <a:pt x="62426" y="38571"/>
                  </a:lnTo>
                  <a:lnTo>
                    <a:pt x="62261" y="39047"/>
                  </a:lnTo>
                  <a:lnTo>
                    <a:pt x="62097" y="39047"/>
                  </a:lnTo>
                  <a:lnTo>
                    <a:pt x="61850" y="39047"/>
                  </a:lnTo>
                  <a:lnTo>
                    <a:pt x="61850" y="39047"/>
                  </a:lnTo>
                  <a:lnTo>
                    <a:pt x="61686" y="39047"/>
                  </a:lnTo>
                  <a:lnTo>
                    <a:pt x="61521" y="38571"/>
                  </a:lnTo>
                  <a:lnTo>
                    <a:pt x="61274" y="38571"/>
                  </a:lnTo>
                  <a:lnTo>
                    <a:pt x="60699" y="38571"/>
                  </a:lnTo>
                  <a:lnTo>
                    <a:pt x="60534" y="38571"/>
                  </a:lnTo>
                  <a:lnTo>
                    <a:pt x="60287" y="38571"/>
                  </a:lnTo>
                  <a:lnTo>
                    <a:pt x="60287" y="38571"/>
                  </a:lnTo>
                  <a:lnTo>
                    <a:pt x="60123" y="38571"/>
                  </a:lnTo>
                  <a:lnTo>
                    <a:pt x="59958" y="38571"/>
                  </a:lnTo>
                  <a:lnTo>
                    <a:pt x="59712" y="39047"/>
                  </a:lnTo>
                  <a:lnTo>
                    <a:pt x="59712" y="39047"/>
                  </a:lnTo>
                  <a:lnTo>
                    <a:pt x="59136" y="39047"/>
                  </a:lnTo>
                  <a:lnTo>
                    <a:pt x="58971" y="39047"/>
                  </a:lnTo>
                  <a:lnTo>
                    <a:pt x="58807" y="39047"/>
                  </a:lnTo>
                  <a:lnTo>
                    <a:pt x="58560" y="39047"/>
                  </a:lnTo>
                  <a:lnTo>
                    <a:pt x="58396" y="39047"/>
                  </a:lnTo>
                  <a:lnTo>
                    <a:pt x="58149" y="39047"/>
                  </a:lnTo>
                  <a:lnTo>
                    <a:pt x="58149" y="39047"/>
                  </a:lnTo>
                  <a:lnTo>
                    <a:pt x="57984" y="38571"/>
                  </a:lnTo>
                  <a:lnTo>
                    <a:pt x="57820" y="38571"/>
                  </a:lnTo>
                  <a:lnTo>
                    <a:pt x="57820" y="38253"/>
                  </a:lnTo>
                  <a:lnTo>
                    <a:pt x="57573" y="37936"/>
                  </a:lnTo>
                  <a:lnTo>
                    <a:pt x="57409" y="37936"/>
                  </a:lnTo>
                  <a:lnTo>
                    <a:pt x="57244" y="37936"/>
                  </a:lnTo>
                  <a:lnTo>
                    <a:pt x="56833" y="37936"/>
                  </a:lnTo>
                  <a:lnTo>
                    <a:pt x="56668" y="38253"/>
                  </a:lnTo>
                  <a:lnTo>
                    <a:pt x="56422" y="37936"/>
                  </a:lnTo>
                  <a:lnTo>
                    <a:pt x="56257" y="37936"/>
                  </a:lnTo>
                  <a:lnTo>
                    <a:pt x="56257" y="37936"/>
                  </a:lnTo>
                  <a:lnTo>
                    <a:pt x="56257" y="37936"/>
                  </a:lnTo>
                  <a:lnTo>
                    <a:pt x="56257" y="37460"/>
                  </a:lnTo>
                  <a:lnTo>
                    <a:pt x="56422" y="37460"/>
                  </a:lnTo>
                  <a:lnTo>
                    <a:pt x="56257" y="37460"/>
                  </a:lnTo>
                  <a:lnTo>
                    <a:pt x="56093" y="37460"/>
                  </a:lnTo>
                  <a:lnTo>
                    <a:pt x="56093" y="37460"/>
                  </a:lnTo>
                  <a:lnTo>
                    <a:pt x="56093" y="37142"/>
                  </a:lnTo>
                  <a:lnTo>
                    <a:pt x="56093" y="37142"/>
                  </a:lnTo>
                  <a:lnTo>
                    <a:pt x="56093" y="37142"/>
                  </a:lnTo>
                  <a:lnTo>
                    <a:pt x="56093" y="37460"/>
                  </a:lnTo>
                  <a:lnTo>
                    <a:pt x="55846" y="37142"/>
                  </a:lnTo>
                  <a:lnTo>
                    <a:pt x="55846" y="37142"/>
                  </a:lnTo>
                  <a:lnTo>
                    <a:pt x="55846" y="37142"/>
                  </a:lnTo>
                  <a:lnTo>
                    <a:pt x="55846" y="36666"/>
                  </a:lnTo>
                  <a:lnTo>
                    <a:pt x="56093" y="36349"/>
                  </a:lnTo>
                  <a:lnTo>
                    <a:pt x="56093" y="36031"/>
                  </a:lnTo>
                  <a:lnTo>
                    <a:pt x="56093" y="36031"/>
                  </a:lnTo>
                  <a:lnTo>
                    <a:pt x="56093" y="35555"/>
                  </a:lnTo>
                  <a:lnTo>
                    <a:pt x="56093" y="35555"/>
                  </a:lnTo>
                  <a:lnTo>
                    <a:pt x="55846" y="35555"/>
                  </a:lnTo>
                  <a:lnTo>
                    <a:pt x="55681" y="35555"/>
                  </a:lnTo>
                  <a:lnTo>
                    <a:pt x="55435" y="35555"/>
                  </a:lnTo>
                  <a:lnTo>
                    <a:pt x="54859" y="36031"/>
                  </a:lnTo>
                  <a:lnTo>
                    <a:pt x="54694" y="36031"/>
                  </a:lnTo>
                  <a:lnTo>
                    <a:pt x="53954" y="36349"/>
                  </a:lnTo>
                  <a:lnTo>
                    <a:pt x="53543" y="36349"/>
                  </a:lnTo>
                  <a:lnTo>
                    <a:pt x="52721" y="36349"/>
                  </a:lnTo>
                  <a:lnTo>
                    <a:pt x="52721" y="36349"/>
                  </a:lnTo>
                  <a:lnTo>
                    <a:pt x="52145" y="37142"/>
                  </a:lnTo>
                  <a:lnTo>
                    <a:pt x="51980" y="37142"/>
                  </a:lnTo>
                  <a:lnTo>
                    <a:pt x="51980" y="37460"/>
                  </a:lnTo>
                  <a:lnTo>
                    <a:pt x="52145" y="37460"/>
                  </a:lnTo>
                  <a:lnTo>
                    <a:pt x="52145" y="37936"/>
                  </a:lnTo>
                  <a:lnTo>
                    <a:pt x="52145" y="37936"/>
                  </a:lnTo>
                  <a:lnTo>
                    <a:pt x="52392" y="37460"/>
                  </a:lnTo>
                  <a:lnTo>
                    <a:pt x="52392" y="37936"/>
                  </a:lnTo>
                  <a:lnTo>
                    <a:pt x="52721" y="37460"/>
                  </a:lnTo>
                  <a:lnTo>
                    <a:pt x="52967" y="37460"/>
                  </a:lnTo>
                  <a:lnTo>
                    <a:pt x="52967" y="37460"/>
                  </a:lnTo>
                  <a:lnTo>
                    <a:pt x="52967" y="37460"/>
                  </a:lnTo>
                  <a:lnTo>
                    <a:pt x="53132" y="37142"/>
                  </a:lnTo>
                  <a:lnTo>
                    <a:pt x="53379" y="37142"/>
                  </a:lnTo>
                  <a:lnTo>
                    <a:pt x="53543" y="37460"/>
                  </a:lnTo>
                  <a:lnTo>
                    <a:pt x="53708" y="37142"/>
                  </a:lnTo>
                  <a:lnTo>
                    <a:pt x="53954" y="37142"/>
                  </a:lnTo>
                  <a:lnTo>
                    <a:pt x="53954" y="37142"/>
                  </a:lnTo>
                  <a:lnTo>
                    <a:pt x="54119" y="37142"/>
                  </a:lnTo>
                  <a:lnTo>
                    <a:pt x="54119" y="37142"/>
                  </a:lnTo>
                  <a:lnTo>
                    <a:pt x="54283" y="37142"/>
                  </a:lnTo>
                  <a:lnTo>
                    <a:pt x="54530" y="37142"/>
                  </a:lnTo>
                  <a:lnTo>
                    <a:pt x="54530" y="36666"/>
                  </a:lnTo>
                  <a:lnTo>
                    <a:pt x="54694" y="36666"/>
                  </a:lnTo>
                  <a:lnTo>
                    <a:pt x="55106" y="36349"/>
                  </a:lnTo>
                  <a:lnTo>
                    <a:pt x="55435" y="36349"/>
                  </a:lnTo>
                  <a:lnTo>
                    <a:pt x="55435" y="36349"/>
                  </a:lnTo>
                  <a:lnTo>
                    <a:pt x="55681" y="36349"/>
                  </a:lnTo>
                  <a:lnTo>
                    <a:pt x="55681" y="36349"/>
                  </a:lnTo>
                  <a:lnTo>
                    <a:pt x="55435" y="36666"/>
                  </a:lnTo>
                  <a:lnTo>
                    <a:pt x="55270" y="36666"/>
                  </a:lnTo>
                  <a:lnTo>
                    <a:pt x="55270" y="36666"/>
                  </a:lnTo>
                  <a:lnTo>
                    <a:pt x="55106" y="37142"/>
                  </a:lnTo>
                  <a:lnTo>
                    <a:pt x="54859" y="37142"/>
                  </a:lnTo>
                  <a:lnTo>
                    <a:pt x="54694" y="37142"/>
                  </a:lnTo>
                  <a:lnTo>
                    <a:pt x="54530" y="37142"/>
                  </a:lnTo>
                  <a:lnTo>
                    <a:pt x="54530" y="37460"/>
                  </a:lnTo>
                  <a:lnTo>
                    <a:pt x="54283" y="37460"/>
                  </a:lnTo>
                  <a:lnTo>
                    <a:pt x="54283" y="37460"/>
                  </a:lnTo>
                  <a:lnTo>
                    <a:pt x="54119" y="37460"/>
                  </a:lnTo>
                  <a:lnTo>
                    <a:pt x="54119" y="37460"/>
                  </a:lnTo>
                  <a:lnTo>
                    <a:pt x="53954" y="37460"/>
                  </a:lnTo>
                  <a:lnTo>
                    <a:pt x="53708" y="37936"/>
                  </a:lnTo>
                  <a:lnTo>
                    <a:pt x="53708" y="37936"/>
                  </a:lnTo>
                  <a:lnTo>
                    <a:pt x="53543" y="37936"/>
                  </a:lnTo>
                  <a:lnTo>
                    <a:pt x="53543" y="37936"/>
                  </a:lnTo>
                  <a:lnTo>
                    <a:pt x="53379" y="37936"/>
                  </a:lnTo>
                  <a:lnTo>
                    <a:pt x="53379" y="37936"/>
                  </a:lnTo>
                  <a:lnTo>
                    <a:pt x="53132" y="37936"/>
                  </a:lnTo>
                  <a:lnTo>
                    <a:pt x="52967" y="37936"/>
                  </a:lnTo>
                  <a:lnTo>
                    <a:pt x="52967" y="37936"/>
                  </a:lnTo>
                  <a:lnTo>
                    <a:pt x="52556" y="38253"/>
                  </a:lnTo>
                  <a:lnTo>
                    <a:pt x="52556" y="37936"/>
                  </a:lnTo>
                  <a:lnTo>
                    <a:pt x="52556" y="38253"/>
                  </a:lnTo>
                  <a:lnTo>
                    <a:pt x="52556" y="38253"/>
                  </a:lnTo>
                  <a:lnTo>
                    <a:pt x="52392" y="38253"/>
                  </a:lnTo>
                  <a:lnTo>
                    <a:pt x="52145" y="38571"/>
                  </a:lnTo>
                  <a:lnTo>
                    <a:pt x="51980" y="38571"/>
                  </a:lnTo>
                  <a:lnTo>
                    <a:pt x="51816" y="39047"/>
                  </a:lnTo>
                  <a:lnTo>
                    <a:pt x="51816" y="39047"/>
                  </a:lnTo>
                  <a:lnTo>
                    <a:pt x="51816" y="39365"/>
                  </a:lnTo>
                  <a:lnTo>
                    <a:pt x="51980" y="39365"/>
                  </a:lnTo>
                  <a:lnTo>
                    <a:pt x="51980" y="39365"/>
                  </a:lnTo>
                  <a:lnTo>
                    <a:pt x="51816" y="39682"/>
                  </a:lnTo>
                  <a:lnTo>
                    <a:pt x="51816" y="39682"/>
                  </a:lnTo>
                  <a:lnTo>
                    <a:pt x="51816" y="39682"/>
                  </a:lnTo>
                  <a:lnTo>
                    <a:pt x="51569" y="40158"/>
                  </a:lnTo>
                  <a:lnTo>
                    <a:pt x="51569" y="40476"/>
                  </a:lnTo>
                  <a:lnTo>
                    <a:pt x="51816" y="40476"/>
                  </a:lnTo>
                  <a:lnTo>
                    <a:pt x="51816" y="40793"/>
                  </a:lnTo>
                  <a:lnTo>
                    <a:pt x="51569" y="40793"/>
                  </a:lnTo>
                  <a:lnTo>
                    <a:pt x="51569" y="40793"/>
                  </a:lnTo>
                  <a:lnTo>
                    <a:pt x="51569" y="41269"/>
                  </a:lnTo>
                  <a:lnTo>
                    <a:pt x="51569" y="41269"/>
                  </a:lnTo>
                  <a:lnTo>
                    <a:pt x="51405" y="41269"/>
                  </a:lnTo>
                  <a:lnTo>
                    <a:pt x="51405" y="41269"/>
                  </a:lnTo>
                  <a:lnTo>
                    <a:pt x="51405" y="41269"/>
                  </a:lnTo>
                  <a:lnTo>
                    <a:pt x="51405" y="41269"/>
                  </a:lnTo>
                  <a:lnTo>
                    <a:pt x="51240" y="41269"/>
                  </a:lnTo>
                  <a:lnTo>
                    <a:pt x="51240" y="41269"/>
                  </a:lnTo>
                  <a:lnTo>
                    <a:pt x="51240" y="40793"/>
                  </a:lnTo>
                  <a:lnTo>
                    <a:pt x="50993" y="41269"/>
                  </a:lnTo>
                  <a:lnTo>
                    <a:pt x="50993" y="41269"/>
                  </a:lnTo>
                  <a:lnTo>
                    <a:pt x="50829" y="41587"/>
                  </a:lnTo>
                  <a:lnTo>
                    <a:pt x="50664" y="41587"/>
                  </a:lnTo>
                  <a:lnTo>
                    <a:pt x="50664" y="41587"/>
                  </a:lnTo>
                  <a:lnTo>
                    <a:pt x="50664" y="42063"/>
                  </a:lnTo>
                  <a:lnTo>
                    <a:pt x="50829" y="42698"/>
                  </a:lnTo>
                  <a:lnTo>
                    <a:pt x="50664" y="42698"/>
                  </a:lnTo>
                  <a:lnTo>
                    <a:pt x="50664" y="42698"/>
                  </a:lnTo>
                  <a:lnTo>
                    <a:pt x="50664" y="42698"/>
                  </a:lnTo>
                  <a:lnTo>
                    <a:pt x="50664" y="42380"/>
                  </a:lnTo>
                  <a:lnTo>
                    <a:pt x="50664" y="42063"/>
                  </a:lnTo>
                  <a:lnTo>
                    <a:pt x="50664" y="42063"/>
                  </a:lnTo>
                  <a:lnTo>
                    <a:pt x="50418" y="41587"/>
                  </a:lnTo>
                  <a:lnTo>
                    <a:pt x="50418" y="41587"/>
                  </a:lnTo>
                  <a:lnTo>
                    <a:pt x="50418" y="41587"/>
                  </a:lnTo>
                  <a:lnTo>
                    <a:pt x="50418" y="41587"/>
                  </a:lnTo>
                  <a:lnTo>
                    <a:pt x="50418" y="41269"/>
                  </a:lnTo>
                  <a:lnTo>
                    <a:pt x="50418" y="41269"/>
                  </a:lnTo>
                  <a:lnTo>
                    <a:pt x="50253" y="40793"/>
                  </a:lnTo>
                  <a:lnTo>
                    <a:pt x="50253" y="40793"/>
                  </a:lnTo>
                  <a:lnTo>
                    <a:pt x="50418" y="40793"/>
                  </a:lnTo>
                  <a:lnTo>
                    <a:pt x="50418" y="40793"/>
                  </a:lnTo>
                  <a:lnTo>
                    <a:pt x="50664" y="40793"/>
                  </a:lnTo>
                  <a:lnTo>
                    <a:pt x="50829" y="40793"/>
                  </a:lnTo>
                  <a:lnTo>
                    <a:pt x="50829" y="40793"/>
                  </a:lnTo>
                  <a:lnTo>
                    <a:pt x="50993" y="40476"/>
                  </a:lnTo>
                  <a:lnTo>
                    <a:pt x="50993" y="40476"/>
                  </a:lnTo>
                  <a:lnTo>
                    <a:pt x="51240" y="40476"/>
                  </a:lnTo>
                  <a:lnTo>
                    <a:pt x="51240" y="40158"/>
                  </a:lnTo>
                  <a:lnTo>
                    <a:pt x="50993" y="39682"/>
                  </a:lnTo>
                  <a:lnTo>
                    <a:pt x="50993" y="39682"/>
                  </a:lnTo>
                  <a:lnTo>
                    <a:pt x="50993" y="39365"/>
                  </a:lnTo>
                  <a:lnTo>
                    <a:pt x="50993" y="39365"/>
                  </a:lnTo>
                  <a:lnTo>
                    <a:pt x="50829" y="39365"/>
                  </a:lnTo>
                  <a:lnTo>
                    <a:pt x="50829" y="39365"/>
                  </a:lnTo>
                  <a:lnTo>
                    <a:pt x="50418" y="39682"/>
                  </a:lnTo>
                  <a:lnTo>
                    <a:pt x="50418" y="39682"/>
                  </a:lnTo>
                  <a:lnTo>
                    <a:pt x="50418" y="39682"/>
                  </a:lnTo>
                  <a:lnTo>
                    <a:pt x="50418" y="39682"/>
                  </a:lnTo>
                  <a:lnTo>
                    <a:pt x="50418" y="39365"/>
                  </a:lnTo>
                  <a:lnTo>
                    <a:pt x="50664" y="39365"/>
                  </a:lnTo>
                  <a:lnTo>
                    <a:pt x="50664" y="39047"/>
                  </a:lnTo>
                  <a:lnTo>
                    <a:pt x="50664" y="39047"/>
                  </a:lnTo>
                  <a:lnTo>
                    <a:pt x="50418" y="39047"/>
                  </a:lnTo>
                  <a:lnTo>
                    <a:pt x="50006" y="39047"/>
                  </a:lnTo>
                  <a:lnTo>
                    <a:pt x="50006" y="39047"/>
                  </a:lnTo>
                  <a:lnTo>
                    <a:pt x="50006" y="38571"/>
                  </a:lnTo>
                  <a:lnTo>
                    <a:pt x="50006" y="38571"/>
                  </a:lnTo>
                  <a:lnTo>
                    <a:pt x="49842" y="38571"/>
                  </a:lnTo>
                  <a:lnTo>
                    <a:pt x="49842" y="38571"/>
                  </a:lnTo>
                  <a:lnTo>
                    <a:pt x="49842" y="38253"/>
                  </a:lnTo>
                  <a:lnTo>
                    <a:pt x="49842" y="38253"/>
                  </a:lnTo>
                  <a:lnTo>
                    <a:pt x="49842" y="38253"/>
                  </a:lnTo>
                  <a:lnTo>
                    <a:pt x="49677" y="38253"/>
                  </a:lnTo>
                  <a:lnTo>
                    <a:pt x="49431" y="38253"/>
                  </a:lnTo>
                  <a:lnTo>
                    <a:pt x="48855" y="38571"/>
                  </a:lnTo>
                  <a:lnTo>
                    <a:pt x="48526" y="38571"/>
                  </a:lnTo>
                  <a:lnTo>
                    <a:pt x="48526" y="38571"/>
                  </a:lnTo>
                  <a:lnTo>
                    <a:pt x="48279" y="38571"/>
                  </a:lnTo>
                  <a:lnTo>
                    <a:pt x="48279" y="38571"/>
                  </a:lnTo>
                  <a:lnTo>
                    <a:pt x="48279" y="38571"/>
                  </a:lnTo>
                  <a:lnTo>
                    <a:pt x="48115" y="38571"/>
                  </a:lnTo>
                  <a:lnTo>
                    <a:pt x="47950" y="39047"/>
                  </a:lnTo>
                  <a:lnTo>
                    <a:pt x="47703" y="39047"/>
                  </a:lnTo>
                  <a:lnTo>
                    <a:pt x="47128" y="39047"/>
                  </a:lnTo>
                  <a:lnTo>
                    <a:pt x="47128" y="39047"/>
                  </a:lnTo>
                  <a:lnTo>
                    <a:pt x="46963" y="39047"/>
                  </a:lnTo>
                  <a:lnTo>
                    <a:pt x="46716" y="39047"/>
                  </a:lnTo>
                  <a:lnTo>
                    <a:pt x="46716" y="39047"/>
                  </a:lnTo>
                  <a:lnTo>
                    <a:pt x="46141" y="39047"/>
                  </a:lnTo>
                  <a:lnTo>
                    <a:pt x="45976" y="39047"/>
                  </a:lnTo>
                  <a:lnTo>
                    <a:pt x="45976" y="39047"/>
                  </a:lnTo>
                  <a:lnTo>
                    <a:pt x="45400" y="39047"/>
                  </a:lnTo>
                  <a:lnTo>
                    <a:pt x="45236" y="39047"/>
                  </a:lnTo>
                  <a:lnTo>
                    <a:pt x="44989" y="39047"/>
                  </a:lnTo>
                  <a:lnTo>
                    <a:pt x="44825" y="39047"/>
                  </a:lnTo>
                  <a:lnTo>
                    <a:pt x="44825" y="39047"/>
                  </a:lnTo>
                  <a:lnTo>
                    <a:pt x="44578" y="39047"/>
                  </a:lnTo>
                  <a:lnTo>
                    <a:pt x="44413" y="38571"/>
                  </a:lnTo>
                  <a:lnTo>
                    <a:pt x="44249" y="38571"/>
                  </a:lnTo>
                  <a:lnTo>
                    <a:pt x="44002" y="38571"/>
                  </a:lnTo>
                  <a:lnTo>
                    <a:pt x="44002" y="38571"/>
                  </a:lnTo>
                  <a:lnTo>
                    <a:pt x="43838" y="38571"/>
                  </a:lnTo>
                  <a:lnTo>
                    <a:pt x="43673" y="38571"/>
                  </a:lnTo>
                  <a:lnTo>
                    <a:pt x="43838" y="38253"/>
                  </a:lnTo>
                  <a:lnTo>
                    <a:pt x="44249" y="38253"/>
                  </a:lnTo>
                  <a:lnTo>
                    <a:pt x="44249" y="38253"/>
                  </a:lnTo>
                  <a:lnTo>
                    <a:pt x="44249" y="37936"/>
                  </a:lnTo>
                  <a:lnTo>
                    <a:pt x="44413" y="37936"/>
                  </a:lnTo>
                  <a:lnTo>
                    <a:pt x="44413" y="37936"/>
                  </a:lnTo>
                  <a:lnTo>
                    <a:pt x="44825" y="37460"/>
                  </a:lnTo>
                  <a:lnTo>
                    <a:pt x="44989" y="37460"/>
                  </a:lnTo>
                  <a:lnTo>
                    <a:pt x="45565" y="37460"/>
                  </a:lnTo>
                  <a:lnTo>
                    <a:pt x="45812" y="37460"/>
                  </a:lnTo>
                  <a:lnTo>
                    <a:pt x="45976" y="37460"/>
                  </a:lnTo>
                  <a:lnTo>
                    <a:pt x="45976" y="37142"/>
                  </a:lnTo>
                  <a:lnTo>
                    <a:pt x="46141" y="37142"/>
                  </a:lnTo>
                  <a:lnTo>
                    <a:pt x="46141" y="37142"/>
                  </a:lnTo>
                  <a:lnTo>
                    <a:pt x="46141" y="37142"/>
                  </a:lnTo>
                  <a:lnTo>
                    <a:pt x="46141" y="36666"/>
                  </a:lnTo>
                  <a:lnTo>
                    <a:pt x="46141" y="36666"/>
                  </a:lnTo>
                  <a:lnTo>
                    <a:pt x="46141" y="36666"/>
                  </a:lnTo>
                  <a:lnTo>
                    <a:pt x="46141" y="36349"/>
                  </a:lnTo>
                  <a:lnTo>
                    <a:pt x="45976" y="36031"/>
                  </a:lnTo>
                  <a:lnTo>
                    <a:pt x="45812" y="35555"/>
                  </a:lnTo>
                  <a:lnTo>
                    <a:pt x="45565" y="35555"/>
                  </a:lnTo>
                  <a:lnTo>
                    <a:pt x="45400" y="35555"/>
                  </a:lnTo>
                  <a:lnTo>
                    <a:pt x="45236" y="35238"/>
                  </a:lnTo>
                  <a:lnTo>
                    <a:pt x="44989" y="35238"/>
                  </a:lnTo>
                  <a:lnTo>
                    <a:pt x="44989" y="35238"/>
                  </a:lnTo>
                  <a:lnTo>
                    <a:pt x="44825" y="35238"/>
                  </a:lnTo>
                  <a:lnTo>
                    <a:pt x="44578" y="35238"/>
                  </a:lnTo>
                  <a:lnTo>
                    <a:pt x="44578" y="35238"/>
                  </a:lnTo>
                  <a:lnTo>
                    <a:pt x="44413" y="35238"/>
                  </a:lnTo>
                  <a:lnTo>
                    <a:pt x="44578" y="35555"/>
                  </a:lnTo>
                  <a:lnTo>
                    <a:pt x="44578" y="35555"/>
                  </a:lnTo>
                  <a:lnTo>
                    <a:pt x="44413" y="35555"/>
                  </a:lnTo>
                  <a:lnTo>
                    <a:pt x="44249" y="35555"/>
                  </a:lnTo>
                  <a:lnTo>
                    <a:pt x="44249" y="35555"/>
                  </a:lnTo>
                  <a:lnTo>
                    <a:pt x="44002" y="35555"/>
                  </a:lnTo>
                  <a:lnTo>
                    <a:pt x="43673" y="35555"/>
                  </a:lnTo>
                  <a:lnTo>
                    <a:pt x="43427" y="35555"/>
                  </a:lnTo>
                  <a:lnTo>
                    <a:pt x="43427" y="35555"/>
                  </a:lnTo>
                  <a:lnTo>
                    <a:pt x="43262" y="35555"/>
                  </a:lnTo>
                  <a:lnTo>
                    <a:pt x="42851" y="35238"/>
                  </a:lnTo>
                  <a:lnTo>
                    <a:pt x="42686" y="35238"/>
                  </a:lnTo>
                  <a:lnTo>
                    <a:pt x="42522" y="34920"/>
                  </a:lnTo>
                  <a:lnTo>
                    <a:pt x="42275" y="34920"/>
                  </a:lnTo>
                  <a:lnTo>
                    <a:pt x="42275" y="34444"/>
                  </a:lnTo>
                  <a:lnTo>
                    <a:pt x="42111" y="34444"/>
                  </a:lnTo>
                  <a:lnTo>
                    <a:pt x="41124" y="34444"/>
                  </a:lnTo>
                  <a:lnTo>
                    <a:pt x="40959" y="34126"/>
                  </a:lnTo>
                  <a:lnTo>
                    <a:pt x="40712" y="34126"/>
                  </a:lnTo>
                  <a:lnTo>
                    <a:pt x="40548" y="33809"/>
                  </a:lnTo>
                  <a:lnTo>
                    <a:pt x="40548" y="33333"/>
                  </a:lnTo>
                  <a:lnTo>
                    <a:pt x="40137" y="33333"/>
                  </a:lnTo>
                  <a:lnTo>
                    <a:pt x="39972" y="33015"/>
                  </a:lnTo>
                  <a:lnTo>
                    <a:pt x="39808" y="33015"/>
                  </a:lnTo>
                  <a:lnTo>
                    <a:pt x="39561" y="33015"/>
                  </a:lnTo>
                  <a:lnTo>
                    <a:pt x="39232" y="33015"/>
                  </a:lnTo>
                  <a:lnTo>
                    <a:pt x="38821" y="33015"/>
                  </a:lnTo>
                  <a:lnTo>
                    <a:pt x="38821" y="33015"/>
                  </a:lnTo>
                  <a:lnTo>
                    <a:pt x="38574" y="33015"/>
                  </a:lnTo>
                  <a:lnTo>
                    <a:pt x="38409" y="33015"/>
                  </a:lnTo>
                  <a:lnTo>
                    <a:pt x="38409" y="33015"/>
                  </a:lnTo>
                  <a:lnTo>
                    <a:pt x="38245" y="33333"/>
                  </a:lnTo>
                  <a:lnTo>
                    <a:pt x="37998" y="33333"/>
                  </a:lnTo>
                  <a:lnTo>
                    <a:pt x="37834" y="33809"/>
                  </a:lnTo>
                  <a:lnTo>
                    <a:pt x="37669" y="33809"/>
                  </a:lnTo>
                  <a:lnTo>
                    <a:pt x="37422" y="33809"/>
                  </a:lnTo>
                  <a:lnTo>
                    <a:pt x="37258" y="34126"/>
                  </a:lnTo>
                  <a:lnTo>
                    <a:pt x="37258" y="34126"/>
                  </a:lnTo>
                  <a:lnTo>
                    <a:pt x="37093" y="34126"/>
                  </a:lnTo>
                  <a:lnTo>
                    <a:pt x="36518" y="34126"/>
                  </a:lnTo>
                  <a:lnTo>
                    <a:pt x="36518" y="34126"/>
                  </a:lnTo>
                  <a:lnTo>
                    <a:pt x="36271" y="34126"/>
                  </a:lnTo>
                  <a:lnTo>
                    <a:pt x="36106" y="34126"/>
                  </a:lnTo>
                  <a:lnTo>
                    <a:pt x="36106" y="34126"/>
                  </a:lnTo>
                  <a:lnTo>
                    <a:pt x="36106" y="34126"/>
                  </a:lnTo>
                  <a:lnTo>
                    <a:pt x="36271" y="34126"/>
                  </a:lnTo>
                  <a:lnTo>
                    <a:pt x="36518" y="33809"/>
                  </a:lnTo>
                  <a:lnTo>
                    <a:pt x="36847" y="33333"/>
                  </a:lnTo>
                  <a:lnTo>
                    <a:pt x="37093" y="33333"/>
                  </a:lnTo>
                  <a:lnTo>
                    <a:pt x="36847" y="33333"/>
                  </a:lnTo>
                  <a:lnTo>
                    <a:pt x="36847" y="33015"/>
                  </a:lnTo>
                  <a:lnTo>
                    <a:pt x="37093" y="32539"/>
                  </a:lnTo>
                  <a:lnTo>
                    <a:pt x="37258" y="32539"/>
                  </a:lnTo>
                  <a:lnTo>
                    <a:pt x="37258" y="32222"/>
                  </a:lnTo>
                  <a:lnTo>
                    <a:pt x="37422" y="32222"/>
                  </a:lnTo>
                  <a:lnTo>
                    <a:pt x="37422" y="32222"/>
                  </a:lnTo>
                  <a:lnTo>
                    <a:pt x="37422" y="32222"/>
                  </a:lnTo>
                  <a:lnTo>
                    <a:pt x="37258" y="32222"/>
                  </a:lnTo>
                  <a:lnTo>
                    <a:pt x="37093" y="32222"/>
                  </a:lnTo>
                  <a:lnTo>
                    <a:pt x="37093" y="32222"/>
                  </a:lnTo>
                  <a:lnTo>
                    <a:pt x="36682" y="32222"/>
                  </a:lnTo>
                  <a:lnTo>
                    <a:pt x="36682" y="32222"/>
                  </a:lnTo>
                  <a:lnTo>
                    <a:pt x="36682" y="32539"/>
                  </a:lnTo>
                  <a:lnTo>
                    <a:pt x="36682" y="32539"/>
                  </a:lnTo>
                  <a:lnTo>
                    <a:pt x="36847" y="32539"/>
                  </a:lnTo>
                  <a:lnTo>
                    <a:pt x="36847" y="32539"/>
                  </a:lnTo>
                  <a:lnTo>
                    <a:pt x="36847" y="32539"/>
                  </a:lnTo>
                  <a:lnTo>
                    <a:pt x="36682" y="32539"/>
                  </a:lnTo>
                  <a:lnTo>
                    <a:pt x="36518" y="32539"/>
                  </a:lnTo>
                  <a:lnTo>
                    <a:pt x="36271" y="33015"/>
                  </a:lnTo>
                  <a:lnTo>
                    <a:pt x="36271" y="33015"/>
                  </a:lnTo>
                  <a:lnTo>
                    <a:pt x="36106" y="33015"/>
                  </a:lnTo>
                  <a:lnTo>
                    <a:pt x="36106" y="33015"/>
                  </a:lnTo>
                  <a:lnTo>
                    <a:pt x="35860" y="33333"/>
                  </a:lnTo>
                  <a:lnTo>
                    <a:pt x="35860" y="33333"/>
                  </a:lnTo>
                  <a:lnTo>
                    <a:pt x="35695" y="33333"/>
                  </a:lnTo>
                  <a:lnTo>
                    <a:pt x="35531" y="33333"/>
                  </a:lnTo>
                  <a:lnTo>
                    <a:pt x="35531" y="33809"/>
                  </a:lnTo>
                  <a:lnTo>
                    <a:pt x="35531" y="34126"/>
                  </a:lnTo>
                  <a:lnTo>
                    <a:pt x="35531" y="34126"/>
                  </a:lnTo>
                  <a:lnTo>
                    <a:pt x="35119" y="34444"/>
                  </a:lnTo>
                  <a:lnTo>
                    <a:pt x="34955" y="34444"/>
                  </a:lnTo>
                  <a:lnTo>
                    <a:pt x="34708" y="34126"/>
                  </a:lnTo>
                  <a:lnTo>
                    <a:pt x="34544" y="34126"/>
                  </a:lnTo>
                  <a:lnTo>
                    <a:pt x="34544" y="34126"/>
                  </a:lnTo>
                  <a:lnTo>
                    <a:pt x="34379" y="33809"/>
                  </a:lnTo>
                  <a:lnTo>
                    <a:pt x="34379" y="33333"/>
                  </a:lnTo>
                  <a:lnTo>
                    <a:pt x="34379" y="33015"/>
                  </a:lnTo>
                  <a:lnTo>
                    <a:pt x="34379" y="33015"/>
                  </a:lnTo>
                  <a:lnTo>
                    <a:pt x="34544" y="32539"/>
                  </a:lnTo>
                  <a:lnTo>
                    <a:pt x="34544" y="32222"/>
                  </a:lnTo>
                  <a:lnTo>
                    <a:pt x="34708" y="31904"/>
                  </a:lnTo>
                  <a:lnTo>
                    <a:pt x="34708" y="31428"/>
                  </a:lnTo>
                  <a:lnTo>
                    <a:pt x="34708" y="31428"/>
                  </a:lnTo>
                  <a:lnTo>
                    <a:pt x="34544" y="31111"/>
                  </a:lnTo>
                  <a:lnTo>
                    <a:pt x="34544" y="31111"/>
                  </a:lnTo>
                  <a:lnTo>
                    <a:pt x="34379" y="30793"/>
                  </a:lnTo>
                  <a:lnTo>
                    <a:pt x="34379" y="30793"/>
                  </a:lnTo>
                  <a:lnTo>
                    <a:pt x="34132" y="31111"/>
                  </a:lnTo>
                  <a:lnTo>
                    <a:pt x="33968" y="31111"/>
                  </a:lnTo>
                  <a:lnTo>
                    <a:pt x="33968" y="31428"/>
                  </a:lnTo>
                  <a:lnTo>
                    <a:pt x="33968" y="31428"/>
                  </a:lnTo>
                  <a:lnTo>
                    <a:pt x="33968" y="31428"/>
                  </a:lnTo>
                  <a:lnTo>
                    <a:pt x="33968" y="31428"/>
                  </a:lnTo>
                  <a:lnTo>
                    <a:pt x="33803" y="31428"/>
                  </a:lnTo>
                  <a:lnTo>
                    <a:pt x="33968" y="31904"/>
                  </a:lnTo>
                  <a:lnTo>
                    <a:pt x="34132" y="31904"/>
                  </a:lnTo>
                  <a:lnTo>
                    <a:pt x="33968" y="31904"/>
                  </a:lnTo>
                  <a:lnTo>
                    <a:pt x="33557" y="31904"/>
                  </a:lnTo>
                  <a:lnTo>
                    <a:pt x="33145" y="32222"/>
                  </a:lnTo>
                  <a:lnTo>
                    <a:pt x="32981" y="32539"/>
                  </a:lnTo>
                  <a:lnTo>
                    <a:pt x="32816" y="32539"/>
                  </a:lnTo>
                  <a:lnTo>
                    <a:pt x="32241" y="33015"/>
                  </a:lnTo>
                  <a:lnTo>
                    <a:pt x="31994" y="33333"/>
                  </a:lnTo>
                  <a:lnTo>
                    <a:pt x="31830" y="33333"/>
                  </a:lnTo>
                  <a:lnTo>
                    <a:pt x="31665" y="33333"/>
                  </a:lnTo>
                  <a:lnTo>
                    <a:pt x="31665" y="33333"/>
                  </a:lnTo>
                  <a:lnTo>
                    <a:pt x="31665" y="33333"/>
                  </a:lnTo>
                  <a:lnTo>
                    <a:pt x="31665" y="33015"/>
                  </a:lnTo>
                  <a:lnTo>
                    <a:pt x="31830" y="33015"/>
                  </a:lnTo>
                  <a:lnTo>
                    <a:pt x="31994" y="33015"/>
                  </a:lnTo>
                  <a:lnTo>
                    <a:pt x="32241" y="32539"/>
                  </a:lnTo>
                  <a:lnTo>
                    <a:pt x="32241" y="32539"/>
                  </a:lnTo>
                  <a:lnTo>
                    <a:pt x="32241" y="32539"/>
                  </a:lnTo>
                  <a:lnTo>
                    <a:pt x="32241" y="32539"/>
                  </a:lnTo>
                  <a:lnTo>
                    <a:pt x="31994" y="32539"/>
                  </a:lnTo>
                  <a:lnTo>
                    <a:pt x="31830" y="33015"/>
                  </a:lnTo>
                  <a:lnTo>
                    <a:pt x="31665" y="33015"/>
                  </a:lnTo>
                  <a:lnTo>
                    <a:pt x="31254" y="33015"/>
                  </a:lnTo>
                  <a:lnTo>
                    <a:pt x="30431" y="33333"/>
                  </a:lnTo>
                  <a:lnTo>
                    <a:pt x="30102" y="33333"/>
                  </a:lnTo>
                  <a:lnTo>
                    <a:pt x="29691" y="33809"/>
                  </a:lnTo>
                  <a:lnTo>
                    <a:pt x="29527" y="34126"/>
                  </a:lnTo>
                  <a:lnTo>
                    <a:pt x="28951" y="34444"/>
                  </a:lnTo>
                  <a:lnTo>
                    <a:pt x="28704" y="34444"/>
                  </a:lnTo>
                  <a:lnTo>
                    <a:pt x="28540" y="34920"/>
                  </a:lnTo>
                  <a:lnTo>
                    <a:pt x="28704" y="34444"/>
                  </a:lnTo>
                  <a:lnTo>
                    <a:pt x="28951" y="34126"/>
                  </a:lnTo>
                  <a:lnTo>
                    <a:pt x="28951" y="34126"/>
                  </a:lnTo>
                  <a:lnTo>
                    <a:pt x="28951" y="34126"/>
                  </a:lnTo>
                  <a:lnTo>
                    <a:pt x="28951" y="34126"/>
                  </a:lnTo>
                  <a:lnTo>
                    <a:pt x="28951" y="34126"/>
                  </a:lnTo>
                  <a:lnTo>
                    <a:pt x="28704" y="34126"/>
                  </a:lnTo>
                  <a:lnTo>
                    <a:pt x="28540" y="34126"/>
                  </a:lnTo>
                  <a:lnTo>
                    <a:pt x="28540" y="34126"/>
                  </a:lnTo>
                  <a:lnTo>
                    <a:pt x="28540" y="34126"/>
                  </a:lnTo>
                  <a:lnTo>
                    <a:pt x="28540" y="34126"/>
                  </a:lnTo>
                  <a:lnTo>
                    <a:pt x="28375" y="34126"/>
                  </a:lnTo>
                  <a:lnTo>
                    <a:pt x="28375" y="34126"/>
                  </a:lnTo>
                  <a:lnTo>
                    <a:pt x="28128" y="34126"/>
                  </a:lnTo>
                  <a:lnTo>
                    <a:pt x="27964" y="34126"/>
                  </a:lnTo>
                  <a:lnTo>
                    <a:pt x="27964" y="34126"/>
                  </a:lnTo>
                  <a:lnTo>
                    <a:pt x="27964" y="34126"/>
                  </a:lnTo>
                  <a:lnTo>
                    <a:pt x="27964" y="34444"/>
                  </a:lnTo>
                  <a:lnTo>
                    <a:pt x="27717" y="34444"/>
                  </a:lnTo>
                  <a:lnTo>
                    <a:pt x="27388" y="34444"/>
                  </a:lnTo>
                  <a:lnTo>
                    <a:pt x="27141" y="34920"/>
                  </a:lnTo>
                  <a:lnTo>
                    <a:pt x="26977" y="34920"/>
                  </a:lnTo>
                  <a:lnTo>
                    <a:pt x="26812" y="34920"/>
                  </a:lnTo>
                  <a:lnTo>
                    <a:pt x="26401" y="35238"/>
                  </a:lnTo>
                  <a:lnTo>
                    <a:pt x="26401" y="35238"/>
                  </a:lnTo>
                  <a:lnTo>
                    <a:pt x="26237" y="35238"/>
                  </a:lnTo>
                  <a:lnTo>
                    <a:pt x="26237" y="35238"/>
                  </a:lnTo>
                  <a:lnTo>
                    <a:pt x="26237" y="35555"/>
                  </a:lnTo>
                  <a:lnTo>
                    <a:pt x="25990" y="35555"/>
                  </a:lnTo>
                  <a:lnTo>
                    <a:pt x="26237" y="35555"/>
                  </a:lnTo>
                  <a:lnTo>
                    <a:pt x="26237" y="35555"/>
                  </a:lnTo>
                  <a:lnTo>
                    <a:pt x="26237" y="35555"/>
                  </a:lnTo>
                  <a:lnTo>
                    <a:pt x="25990" y="36031"/>
                  </a:lnTo>
                  <a:lnTo>
                    <a:pt x="25414" y="35555"/>
                  </a:lnTo>
                  <a:lnTo>
                    <a:pt x="25250" y="35555"/>
                  </a:lnTo>
                  <a:lnTo>
                    <a:pt x="25250" y="36031"/>
                  </a:lnTo>
                  <a:lnTo>
                    <a:pt x="25414" y="36031"/>
                  </a:lnTo>
                  <a:lnTo>
                    <a:pt x="25414" y="36031"/>
                  </a:lnTo>
                  <a:lnTo>
                    <a:pt x="25250" y="36031"/>
                  </a:lnTo>
                  <a:lnTo>
                    <a:pt x="25250" y="36031"/>
                  </a:lnTo>
                  <a:lnTo>
                    <a:pt x="25250" y="36031"/>
                  </a:lnTo>
                  <a:lnTo>
                    <a:pt x="25250" y="35555"/>
                  </a:lnTo>
                  <a:lnTo>
                    <a:pt x="25414" y="35555"/>
                  </a:lnTo>
                  <a:lnTo>
                    <a:pt x="25661" y="35238"/>
                  </a:lnTo>
                  <a:lnTo>
                    <a:pt x="25990" y="35238"/>
                  </a:lnTo>
                  <a:lnTo>
                    <a:pt x="26237" y="34920"/>
                  </a:lnTo>
                  <a:lnTo>
                    <a:pt x="26566" y="34920"/>
                  </a:lnTo>
                  <a:lnTo>
                    <a:pt x="26812" y="34444"/>
                  </a:lnTo>
                  <a:lnTo>
                    <a:pt x="26977" y="34444"/>
                  </a:lnTo>
                  <a:lnTo>
                    <a:pt x="27388" y="34444"/>
                  </a:lnTo>
                  <a:lnTo>
                    <a:pt x="27553" y="34126"/>
                  </a:lnTo>
                  <a:lnTo>
                    <a:pt x="27717" y="34126"/>
                  </a:lnTo>
                  <a:lnTo>
                    <a:pt x="27964" y="33809"/>
                  </a:lnTo>
                  <a:lnTo>
                    <a:pt x="28128" y="33809"/>
                  </a:lnTo>
                  <a:lnTo>
                    <a:pt x="28375" y="33809"/>
                  </a:lnTo>
                  <a:lnTo>
                    <a:pt x="28704" y="33809"/>
                  </a:lnTo>
                  <a:lnTo>
                    <a:pt x="28951" y="33809"/>
                  </a:lnTo>
                  <a:lnTo>
                    <a:pt x="29115" y="33809"/>
                  </a:lnTo>
                  <a:lnTo>
                    <a:pt x="29280" y="33333"/>
                  </a:lnTo>
                  <a:lnTo>
                    <a:pt x="29527" y="33333"/>
                  </a:lnTo>
                  <a:lnTo>
                    <a:pt x="29691" y="33333"/>
                  </a:lnTo>
                  <a:lnTo>
                    <a:pt x="30267" y="33015"/>
                  </a:lnTo>
                  <a:lnTo>
                    <a:pt x="31418" y="32539"/>
                  </a:lnTo>
                  <a:lnTo>
                    <a:pt x="31830" y="32222"/>
                  </a:lnTo>
                  <a:lnTo>
                    <a:pt x="31830" y="32222"/>
                  </a:lnTo>
                  <a:lnTo>
                    <a:pt x="31830" y="31904"/>
                  </a:lnTo>
                  <a:lnTo>
                    <a:pt x="31830" y="31904"/>
                  </a:lnTo>
                  <a:lnTo>
                    <a:pt x="31830" y="31904"/>
                  </a:lnTo>
                  <a:lnTo>
                    <a:pt x="31418" y="32222"/>
                  </a:lnTo>
                  <a:lnTo>
                    <a:pt x="31418" y="32222"/>
                  </a:lnTo>
                  <a:lnTo>
                    <a:pt x="31254" y="32222"/>
                  </a:lnTo>
                  <a:lnTo>
                    <a:pt x="31089" y="32222"/>
                  </a:lnTo>
                  <a:lnTo>
                    <a:pt x="31089" y="32222"/>
                  </a:lnTo>
                  <a:lnTo>
                    <a:pt x="30843" y="32222"/>
                  </a:lnTo>
                  <a:lnTo>
                    <a:pt x="30843" y="32222"/>
                  </a:lnTo>
                  <a:lnTo>
                    <a:pt x="30678" y="32222"/>
                  </a:lnTo>
                  <a:lnTo>
                    <a:pt x="30267" y="32222"/>
                  </a:lnTo>
                  <a:lnTo>
                    <a:pt x="30102" y="32539"/>
                  </a:lnTo>
                  <a:lnTo>
                    <a:pt x="29856" y="32539"/>
                  </a:lnTo>
                  <a:lnTo>
                    <a:pt x="29691" y="32539"/>
                  </a:lnTo>
                  <a:lnTo>
                    <a:pt x="29691" y="32539"/>
                  </a:lnTo>
                  <a:lnTo>
                    <a:pt x="29527" y="32539"/>
                  </a:lnTo>
                  <a:lnTo>
                    <a:pt x="29280" y="32539"/>
                  </a:lnTo>
                  <a:lnTo>
                    <a:pt x="29115" y="33015"/>
                  </a:lnTo>
                  <a:lnTo>
                    <a:pt x="28540" y="33333"/>
                  </a:lnTo>
                  <a:lnTo>
                    <a:pt x="28128" y="33333"/>
                  </a:lnTo>
                  <a:lnTo>
                    <a:pt x="28128" y="33333"/>
                  </a:lnTo>
                  <a:lnTo>
                    <a:pt x="28128" y="33333"/>
                  </a:lnTo>
                  <a:lnTo>
                    <a:pt x="27964" y="33333"/>
                  </a:lnTo>
                  <a:lnTo>
                    <a:pt x="27717" y="33333"/>
                  </a:lnTo>
                  <a:lnTo>
                    <a:pt x="27717" y="33333"/>
                  </a:lnTo>
                  <a:lnTo>
                    <a:pt x="27717" y="33333"/>
                  </a:lnTo>
                  <a:lnTo>
                    <a:pt x="27717" y="33333"/>
                  </a:lnTo>
                  <a:lnTo>
                    <a:pt x="27964" y="33333"/>
                  </a:lnTo>
                  <a:lnTo>
                    <a:pt x="27717" y="33333"/>
                  </a:lnTo>
                  <a:lnTo>
                    <a:pt x="27717" y="33333"/>
                  </a:lnTo>
                  <a:lnTo>
                    <a:pt x="27717" y="33333"/>
                  </a:lnTo>
                  <a:lnTo>
                    <a:pt x="27388" y="33333"/>
                  </a:lnTo>
                  <a:lnTo>
                    <a:pt x="27141" y="33333"/>
                  </a:lnTo>
                  <a:lnTo>
                    <a:pt x="26812" y="33809"/>
                  </a:lnTo>
                  <a:lnTo>
                    <a:pt x="26812" y="34126"/>
                  </a:lnTo>
                  <a:lnTo>
                    <a:pt x="26566" y="34126"/>
                  </a:lnTo>
                  <a:lnTo>
                    <a:pt x="26401" y="34126"/>
                  </a:lnTo>
                  <a:lnTo>
                    <a:pt x="26237" y="34126"/>
                  </a:lnTo>
                  <a:lnTo>
                    <a:pt x="25825" y="34126"/>
                  </a:lnTo>
                  <a:lnTo>
                    <a:pt x="25414" y="34444"/>
                  </a:lnTo>
                  <a:lnTo>
                    <a:pt x="25003" y="34444"/>
                  </a:lnTo>
                  <a:lnTo>
                    <a:pt x="25250" y="34444"/>
                  </a:lnTo>
                  <a:lnTo>
                    <a:pt x="25661" y="34126"/>
                  </a:lnTo>
                  <a:lnTo>
                    <a:pt x="25661" y="34126"/>
                  </a:lnTo>
                  <a:lnTo>
                    <a:pt x="25990" y="33809"/>
                  </a:lnTo>
                  <a:lnTo>
                    <a:pt x="25990" y="33809"/>
                  </a:lnTo>
                  <a:lnTo>
                    <a:pt x="25825" y="33809"/>
                  </a:lnTo>
                  <a:lnTo>
                    <a:pt x="25825" y="33809"/>
                  </a:lnTo>
                  <a:lnTo>
                    <a:pt x="25825" y="33333"/>
                  </a:lnTo>
                  <a:lnTo>
                    <a:pt x="25825" y="33333"/>
                  </a:lnTo>
                  <a:lnTo>
                    <a:pt x="25661" y="33333"/>
                  </a:lnTo>
                  <a:lnTo>
                    <a:pt x="25661" y="33333"/>
                  </a:lnTo>
                  <a:lnTo>
                    <a:pt x="25414" y="33333"/>
                  </a:lnTo>
                  <a:lnTo>
                    <a:pt x="25414" y="33809"/>
                  </a:lnTo>
                  <a:lnTo>
                    <a:pt x="25414" y="33809"/>
                  </a:lnTo>
                  <a:lnTo>
                    <a:pt x="25250" y="34126"/>
                  </a:lnTo>
                  <a:lnTo>
                    <a:pt x="25250" y="34126"/>
                  </a:lnTo>
                  <a:lnTo>
                    <a:pt x="24838" y="34126"/>
                  </a:lnTo>
                  <a:lnTo>
                    <a:pt x="24427" y="34126"/>
                  </a:lnTo>
                  <a:lnTo>
                    <a:pt x="24427" y="34126"/>
                  </a:lnTo>
                  <a:lnTo>
                    <a:pt x="24263" y="34126"/>
                  </a:lnTo>
                  <a:lnTo>
                    <a:pt x="24098" y="34444"/>
                  </a:lnTo>
                  <a:lnTo>
                    <a:pt x="24098" y="34444"/>
                  </a:lnTo>
                  <a:lnTo>
                    <a:pt x="23851" y="34444"/>
                  </a:lnTo>
                  <a:lnTo>
                    <a:pt x="23687" y="34444"/>
                  </a:lnTo>
                  <a:lnTo>
                    <a:pt x="23522" y="34444"/>
                  </a:lnTo>
                  <a:lnTo>
                    <a:pt x="22947" y="34920"/>
                  </a:lnTo>
                  <a:lnTo>
                    <a:pt x="22947" y="35238"/>
                  </a:lnTo>
                  <a:lnTo>
                    <a:pt x="23111" y="35238"/>
                  </a:lnTo>
                  <a:lnTo>
                    <a:pt x="23111" y="35238"/>
                  </a:lnTo>
                  <a:lnTo>
                    <a:pt x="23111" y="35238"/>
                  </a:lnTo>
                  <a:lnTo>
                    <a:pt x="23111" y="35238"/>
                  </a:lnTo>
                  <a:lnTo>
                    <a:pt x="22947" y="35238"/>
                  </a:lnTo>
                  <a:lnTo>
                    <a:pt x="22700" y="35238"/>
                  </a:lnTo>
                  <a:lnTo>
                    <a:pt x="22700" y="35238"/>
                  </a:lnTo>
                  <a:lnTo>
                    <a:pt x="22700" y="35238"/>
                  </a:lnTo>
                  <a:lnTo>
                    <a:pt x="22535" y="35555"/>
                  </a:lnTo>
                  <a:lnTo>
                    <a:pt x="22535" y="35555"/>
                  </a:lnTo>
                  <a:lnTo>
                    <a:pt x="22947" y="35555"/>
                  </a:lnTo>
                  <a:lnTo>
                    <a:pt x="22947" y="35555"/>
                  </a:lnTo>
                  <a:lnTo>
                    <a:pt x="22947" y="35555"/>
                  </a:lnTo>
                  <a:lnTo>
                    <a:pt x="22947" y="36031"/>
                  </a:lnTo>
                  <a:lnTo>
                    <a:pt x="22947" y="36349"/>
                  </a:lnTo>
                  <a:lnTo>
                    <a:pt x="22700" y="36031"/>
                  </a:lnTo>
                  <a:lnTo>
                    <a:pt x="22535" y="35555"/>
                  </a:lnTo>
                  <a:lnTo>
                    <a:pt x="22289" y="35555"/>
                  </a:lnTo>
                  <a:lnTo>
                    <a:pt x="21960" y="35555"/>
                  </a:lnTo>
                  <a:lnTo>
                    <a:pt x="21549" y="35555"/>
                  </a:lnTo>
                  <a:lnTo>
                    <a:pt x="21384" y="35555"/>
                  </a:lnTo>
                  <a:lnTo>
                    <a:pt x="21137" y="35238"/>
                  </a:lnTo>
                  <a:lnTo>
                    <a:pt x="20808" y="34920"/>
                  </a:lnTo>
                  <a:lnTo>
                    <a:pt x="20562" y="34920"/>
                  </a:lnTo>
                  <a:lnTo>
                    <a:pt x="20562" y="34920"/>
                  </a:lnTo>
                  <a:lnTo>
                    <a:pt x="20233" y="34444"/>
                  </a:lnTo>
                  <a:lnTo>
                    <a:pt x="19986" y="33809"/>
                  </a:lnTo>
                  <a:lnTo>
                    <a:pt x="19410" y="33809"/>
                  </a:lnTo>
                  <a:lnTo>
                    <a:pt x="18834" y="33809"/>
                  </a:lnTo>
                  <a:lnTo>
                    <a:pt x="18423" y="33333"/>
                  </a:lnTo>
                  <a:lnTo>
                    <a:pt x="18259" y="33333"/>
                  </a:lnTo>
                  <a:lnTo>
                    <a:pt x="17847" y="34126"/>
                  </a:lnTo>
                  <a:lnTo>
                    <a:pt x="17272" y="35238"/>
                  </a:lnTo>
                  <a:lnTo>
                    <a:pt x="16696" y="36031"/>
                  </a:lnTo>
                  <a:lnTo>
                    <a:pt x="16120" y="36666"/>
                  </a:lnTo>
                  <a:lnTo>
                    <a:pt x="15544" y="37460"/>
                  </a:lnTo>
                  <a:lnTo>
                    <a:pt x="14969" y="38571"/>
                  </a:lnTo>
                  <a:lnTo>
                    <a:pt x="14393" y="39365"/>
                  </a:lnTo>
                  <a:lnTo>
                    <a:pt x="13817" y="40158"/>
                  </a:lnTo>
                  <a:lnTo>
                    <a:pt x="13241" y="40793"/>
                  </a:lnTo>
                  <a:lnTo>
                    <a:pt x="12666" y="42063"/>
                  </a:lnTo>
                  <a:lnTo>
                    <a:pt x="12254" y="42698"/>
                  </a:lnTo>
                  <a:lnTo>
                    <a:pt x="11679" y="43492"/>
                  </a:lnTo>
                  <a:lnTo>
                    <a:pt x="11103" y="44285"/>
                  </a:lnTo>
                  <a:lnTo>
                    <a:pt x="10527" y="45396"/>
                  </a:lnTo>
                  <a:lnTo>
                    <a:pt x="9952" y="46190"/>
                  </a:lnTo>
                  <a:lnTo>
                    <a:pt x="9376" y="46825"/>
                  </a:lnTo>
                  <a:lnTo>
                    <a:pt x="8965" y="47619"/>
                  </a:lnTo>
                  <a:lnTo>
                    <a:pt x="8389" y="48730"/>
                  </a:lnTo>
                  <a:lnTo>
                    <a:pt x="7813" y="49523"/>
                  </a:lnTo>
                  <a:lnTo>
                    <a:pt x="7237" y="50317"/>
                  </a:lnTo>
                  <a:lnTo>
                    <a:pt x="6826" y="51428"/>
                  </a:lnTo>
                  <a:lnTo>
                    <a:pt x="6250" y="52063"/>
                  </a:lnTo>
                  <a:lnTo>
                    <a:pt x="5675" y="52857"/>
                  </a:lnTo>
                  <a:lnTo>
                    <a:pt x="5099" y="53968"/>
                  </a:lnTo>
                  <a:lnTo>
                    <a:pt x="4688" y="54761"/>
                  </a:lnTo>
                  <a:lnTo>
                    <a:pt x="4112" y="55555"/>
                  </a:lnTo>
                  <a:lnTo>
                    <a:pt x="3536" y="56666"/>
                  </a:lnTo>
                  <a:lnTo>
                    <a:pt x="3125" y="57301"/>
                  </a:lnTo>
                  <a:lnTo>
                    <a:pt x="2549" y="58571"/>
                  </a:lnTo>
                  <a:lnTo>
                    <a:pt x="1973" y="59206"/>
                  </a:lnTo>
                  <a:lnTo>
                    <a:pt x="1398" y="60000"/>
                  </a:lnTo>
                  <a:lnTo>
                    <a:pt x="986" y="61111"/>
                  </a:lnTo>
                  <a:lnTo>
                    <a:pt x="1233" y="61111"/>
                  </a:lnTo>
                  <a:lnTo>
                    <a:pt x="1398" y="61111"/>
                  </a:lnTo>
                  <a:lnTo>
                    <a:pt x="1562" y="61111"/>
                  </a:lnTo>
                  <a:lnTo>
                    <a:pt x="1809" y="61111"/>
                  </a:lnTo>
                  <a:lnTo>
                    <a:pt x="1973" y="61587"/>
                  </a:lnTo>
                  <a:lnTo>
                    <a:pt x="2385" y="61111"/>
                  </a:lnTo>
                  <a:lnTo>
                    <a:pt x="2549" y="60793"/>
                  </a:lnTo>
                  <a:lnTo>
                    <a:pt x="2960" y="60793"/>
                  </a:lnTo>
                  <a:lnTo>
                    <a:pt x="3125" y="60793"/>
                  </a:lnTo>
                  <a:lnTo>
                    <a:pt x="3289" y="60793"/>
                  </a:lnTo>
                  <a:lnTo>
                    <a:pt x="3289" y="61111"/>
                  </a:lnTo>
                  <a:lnTo>
                    <a:pt x="2960" y="61587"/>
                  </a:lnTo>
                  <a:lnTo>
                    <a:pt x="2714" y="61587"/>
                  </a:lnTo>
                  <a:lnTo>
                    <a:pt x="2714" y="61904"/>
                  </a:lnTo>
                  <a:lnTo>
                    <a:pt x="2960" y="62222"/>
                  </a:lnTo>
                  <a:lnTo>
                    <a:pt x="3125" y="62222"/>
                  </a:lnTo>
                  <a:lnTo>
                    <a:pt x="2960" y="62698"/>
                  </a:lnTo>
                  <a:lnTo>
                    <a:pt x="2960" y="63015"/>
                  </a:lnTo>
                  <a:lnTo>
                    <a:pt x="3125" y="63015"/>
                  </a:lnTo>
                  <a:lnTo>
                    <a:pt x="3125" y="63333"/>
                  </a:lnTo>
                  <a:lnTo>
                    <a:pt x="3125" y="63809"/>
                  </a:lnTo>
                  <a:lnTo>
                    <a:pt x="3125" y="63809"/>
                  </a:lnTo>
                  <a:lnTo>
                    <a:pt x="3289" y="64126"/>
                  </a:lnTo>
                  <a:lnTo>
                    <a:pt x="3289" y="64126"/>
                  </a:lnTo>
                  <a:lnTo>
                    <a:pt x="3125" y="64444"/>
                  </a:lnTo>
                  <a:lnTo>
                    <a:pt x="2960" y="64920"/>
                  </a:lnTo>
                  <a:lnTo>
                    <a:pt x="2714" y="65238"/>
                  </a:lnTo>
                  <a:lnTo>
                    <a:pt x="2960" y="65238"/>
                  </a:lnTo>
                  <a:lnTo>
                    <a:pt x="3289" y="64920"/>
                  </a:lnTo>
                  <a:lnTo>
                    <a:pt x="3536" y="64920"/>
                  </a:lnTo>
                  <a:lnTo>
                    <a:pt x="3947" y="64444"/>
                  </a:lnTo>
                  <a:lnTo>
                    <a:pt x="4112" y="64444"/>
                  </a:lnTo>
                  <a:lnTo>
                    <a:pt x="4523" y="64444"/>
                  </a:lnTo>
                  <a:lnTo>
                    <a:pt x="4688" y="64126"/>
                  </a:lnTo>
                  <a:lnTo>
                    <a:pt x="5099" y="63809"/>
                  </a:lnTo>
                  <a:lnTo>
                    <a:pt x="5263" y="63809"/>
                  </a:lnTo>
                  <a:lnTo>
                    <a:pt x="5263" y="63333"/>
                  </a:lnTo>
                  <a:lnTo>
                    <a:pt x="5428" y="63333"/>
                  </a:lnTo>
                  <a:lnTo>
                    <a:pt x="5428" y="63015"/>
                  </a:lnTo>
                  <a:lnTo>
                    <a:pt x="5839" y="63015"/>
                  </a:lnTo>
                  <a:lnTo>
                    <a:pt x="6004" y="63015"/>
                  </a:lnTo>
                  <a:lnTo>
                    <a:pt x="6415" y="62698"/>
                  </a:lnTo>
                  <a:lnTo>
                    <a:pt x="6826" y="62698"/>
                  </a:lnTo>
                  <a:lnTo>
                    <a:pt x="6826" y="62698"/>
                  </a:lnTo>
                  <a:lnTo>
                    <a:pt x="6991" y="63015"/>
                  </a:lnTo>
                  <a:lnTo>
                    <a:pt x="6991" y="63333"/>
                  </a:lnTo>
                  <a:lnTo>
                    <a:pt x="6991" y="63333"/>
                  </a:lnTo>
                  <a:lnTo>
                    <a:pt x="6826" y="63333"/>
                  </a:lnTo>
                  <a:lnTo>
                    <a:pt x="6826" y="63809"/>
                  </a:lnTo>
                  <a:lnTo>
                    <a:pt x="6662" y="64126"/>
                  </a:lnTo>
                  <a:lnTo>
                    <a:pt x="6662" y="64126"/>
                  </a:lnTo>
                  <a:lnTo>
                    <a:pt x="6826" y="64126"/>
                  </a:lnTo>
                  <a:lnTo>
                    <a:pt x="6826" y="64444"/>
                  </a:lnTo>
                  <a:lnTo>
                    <a:pt x="6826" y="64444"/>
                  </a:lnTo>
                  <a:lnTo>
                    <a:pt x="6991" y="64920"/>
                  </a:lnTo>
                  <a:lnTo>
                    <a:pt x="6826" y="64920"/>
                  </a:lnTo>
                  <a:lnTo>
                    <a:pt x="6826" y="64920"/>
                  </a:lnTo>
                  <a:lnTo>
                    <a:pt x="6826" y="65238"/>
                  </a:lnTo>
                  <a:lnTo>
                    <a:pt x="6826" y="65238"/>
                  </a:lnTo>
                  <a:lnTo>
                    <a:pt x="6826" y="65238"/>
                  </a:lnTo>
                  <a:lnTo>
                    <a:pt x="6826" y="65714"/>
                  </a:lnTo>
                  <a:lnTo>
                    <a:pt x="6826" y="65714"/>
                  </a:lnTo>
                  <a:lnTo>
                    <a:pt x="6991" y="65714"/>
                  </a:lnTo>
                  <a:lnTo>
                    <a:pt x="6991" y="66031"/>
                  </a:lnTo>
                  <a:lnTo>
                    <a:pt x="6991" y="66349"/>
                  </a:lnTo>
                  <a:lnTo>
                    <a:pt x="6991" y="66349"/>
                  </a:lnTo>
                  <a:lnTo>
                    <a:pt x="6991" y="66825"/>
                  </a:lnTo>
                  <a:lnTo>
                    <a:pt x="6991" y="67142"/>
                  </a:lnTo>
                  <a:lnTo>
                    <a:pt x="6991" y="67460"/>
                  </a:lnTo>
                  <a:lnTo>
                    <a:pt x="6826" y="67936"/>
                  </a:lnTo>
                  <a:lnTo>
                    <a:pt x="6826" y="68253"/>
                  </a:lnTo>
                  <a:lnTo>
                    <a:pt x="6826" y="68571"/>
                  </a:lnTo>
                  <a:lnTo>
                    <a:pt x="6826" y="68571"/>
                  </a:lnTo>
                  <a:lnTo>
                    <a:pt x="6826" y="69365"/>
                  </a:lnTo>
                  <a:lnTo>
                    <a:pt x="6662" y="69841"/>
                  </a:lnTo>
                  <a:lnTo>
                    <a:pt x="6662" y="69841"/>
                  </a:lnTo>
                  <a:lnTo>
                    <a:pt x="6662" y="70476"/>
                  </a:lnTo>
                  <a:lnTo>
                    <a:pt x="6662" y="70476"/>
                  </a:lnTo>
                  <a:lnTo>
                    <a:pt x="6415" y="70952"/>
                  </a:lnTo>
                  <a:lnTo>
                    <a:pt x="6250" y="70952"/>
                  </a:lnTo>
                  <a:lnTo>
                    <a:pt x="6415" y="70952"/>
                  </a:lnTo>
                  <a:lnTo>
                    <a:pt x="6662" y="71269"/>
                  </a:lnTo>
                  <a:lnTo>
                    <a:pt x="6415" y="71269"/>
                  </a:lnTo>
                  <a:lnTo>
                    <a:pt x="6250" y="71587"/>
                  </a:lnTo>
                  <a:lnTo>
                    <a:pt x="6415" y="71587"/>
                  </a:lnTo>
                  <a:lnTo>
                    <a:pt x="6415" y="72063"/>
                  </a:lnTo>
                  <a:lnTo>
                    <a:pt x="6250" y="72063"/>
                  </a:lnTo>
                  <a:lnTo>
                    <a:pt x="6250" y="72380"/>
                  </a:lnTo>
                  <a:lnTo>
                    <a:pt x="6250" y="72380"/>
                  </a:lnTo>
                  <a:lnTo>
                    <a:pt x="6415" y="72380"/>
                  </a:lnTo>
                  <a:lnTo>
                    <a:pt x="6415" y="72380"/>
                  </a:lnTo>
                  <a:lnTo>
                    <a:pt x="6662" y="72698"/>
                  </a:lnTo>
                  <a:lnTo>
                    <a:pt x="6662" y="72698"/>
                  </a:lnTo>
                  <a:lnTo>
                    <a:pt x="6826" y="72698"/>
                  </a:lnTo>
                  <a:lnTo>
                    <a:pt x="6826" y="73174"/>
                  </a:lnTo>
                  <a:lnTo>
                    <a:pt x="6991" y="73174"/>
                  </a:lnTo>
                  <a:lnTo>
                    <a:pt x="7237" y="73174"/>
                  </a:lnTo>
                  <a:lnTo>
                    <a:pt x="7237" y="73492"/>
                  </a:lnTo>
                  <a:lnTo>
                    <a:pt x="7237" y="73492"/>
                  </a:lnTo>
                  <a:lnTo>
                    <a:pt x="7237" y="73968"/>
                  </a:lnTo>
                  <a:lnTo>
                    <a:pt x="7402" y="74285"/>
                  </a:lnTo>
                  <a:lnTo>
                    <a:pt x="7566" y="73968"/>
                  </a:lnTo>
                  <a:lnTo>
                    <a:pt x="7566" y="74285"/>
                  </a:lnTo>
                  <a:lnTo>
                    <a:pt x="7566" y="74285"/>
                  </a:lnTo>
                  <a:lnTo>
                    <a:pt x="7402" y="74603"/>
                  </a:lnTo>
                  <a:lnTo>
                    <a:pt x="7402" y="74603"/>
                  </a:lnTo>
                  <a:lnTo>
                    <a:pt x="7402" y="74603"/>
                  </a:lnTo>
                  <a:lnTo>
                    <a:pt x="7237" y="75079"/>
                  </a:lnTo>
                  <a:lnTo>
                    <a:pt x="6991" y="75079"/>
                  </a:lnTo>
                  <a:lnTo>
                    <a:pt x="6991" y="75396"/>
                  </a:lnTo>
                  <a:lnTo>
                    <a:pt x="6826" y="75396"/>
                  </a:lnTo>
                  <a:lnTo>
                    <a:pt x="6826" y="75714"/>
                  </a:lnTo>
                  <a:lnTo>
                    <a:pt x="6662" y="76190"/>
                  </a:lnTo>
                  <a:lnTo>
                    <a:pt x="6662" y="76507"/>
                  </a:lnTo>
                  <a:lnTo>
                    <a:pt x="6415" y="76507"/>
                  </a:lnTo>
                  <a:lnTo>
                    <a:pt x="6250" y="76825"/>
                  </a:lnTo>
                  <a:lnTo>
                    <a:pt x="6004" y="77301"/>
                  </a:lnTo>
                  <a:lnTo>
                    <a:pt x="6004" y="77301"/>
                  </a:lnTo>
                  <a:lnTo>
                    <a:pt x="6250" y="77301"/>
                  </a:lnTo>
                  <a:lnTo>
                    <a:pt x="6662" y="76825"/>
                  </a:lnTo>
                  <a:lnTo>
                    <a:pt x="6662" y="76507"/>
                  </a:lnTo>
                  <a:lnTo>
                    <a:pt x="6826" y="76190"/>
                  </a:lnTo>
                  <a:lnTo>
                    <a:pt x="6991" y="75714"/>
                  </a:lnTo>
                  <a:lnTo>
                    <a:pt x="7237" y="75714"/>
                  </a:lnTo>
                  <a:lnTo>
                    <a:pt x="6991" y="75714"/>
                  </a:lnTo>
                  <a:lnTo>
                    <a:pt x="6991" y="76190"/>
                  </a:lnTo>
                  <a:lnTo>
                    <a:pt x="6991" y="76190"/>
                  </a:lnTo>
                  <a:lnTo>
                    <a:pt x="7237" y="76190"/>
                  </a:lnTo>
                  <a:lnTo>
                    <a:pt x="7237" y="76190"/>
                  </a:lnTo>
                  <a:lnTo>
                    <a:pt x="7237" y="76190"/>
                  </a:lnTo>
                  <a:lnTo>
                    <a:pt x="6826" y="76507"/>
                  </a:lnTo>
                  <a:lnTo>
                    <a:pt x="6415" y="76825"/>
                  </a:lnTo>
                  <a:lnTo>
                    <a:pt x="6250" y="77301"/>
                  </a:lnTo>
                  <a:lnTo>
                    <a:pt x="5675" y="78095"/>
                  </a:lnTo>
                  <a:lnTo>
                    <a:pt x="5675" y="78095"/>
                  </a:lnTo>
                  <a:lnTo>
                    <a:pt x="5263" y="78412"/>
                  </a:lnTo>
                  <a:lnTo>
                    <a:pt x="5263" y="78412"/>
                  </a:lnTo>
                  <a:lnTo>
                    <a:pt x="5099" y="78730"/>
                  </a:lnTo>
                  <a:lnTo>
                    <a:pt x="5099" y="78730"/>
                  </a:lnTo>
                  <a:lnTo>
                    <a:pt x="4852" y="79206"/>
                  </a:lnTo>
                  <a:lnTo>
                    <a:pt x="4688" y="79206"/>
                  </a:lnTo>
                  <a:lnTo>
                    <a:pt x="4688" y="79523"/>
                  </a:lnTo>
                  <a:lnTo>
                    <a:pt x="4523" y="79523"/>
                  </a:lnTo>
                  <a:lnTo>
                    <a:pt x="4523" y="79841"/>
                  </a:lnTo>
                  <a:lnTo>
                    <a:pt x="4688" y="80317"/>
                  </a:lnTo>
                  <a:lnTo>
                    <a:pt x="5099" y="79841"/>
                  </a:lnTo>
                  <a:lnTo>
                    <a:pt x="5099" y="79841"/>
                  </a:lnTo>
                  <a:lnTo>
                    <a:pt x="5263" y="79841"/>
                  </a:lnTo>
                  <a:lnTo>
                    <a:pt x="5099" y="80317"/>
                  </a:lnTo>
                  <a:lnTo>
                    <a:pt x="4688" y="80317"/>
                  </a:lnTo>
                  <a:lnTo>
                    <a:pt x="4688" y="80317"/>
                  </a:lnTo>
                  <a:lnTo>
                    <a:pt x="4276" y="80634"/>
                  </a:lnTo>
                  <a:lnTo>
                    <a:pt x="4112" y="80952"/>
                  </a:lnTo>
                  <a:lnTo>
                    <a:pt x="3701" y="81428"/>
                  </a:lnTo>
                  <a:lnTo>
                    <a:pt x="3701" y="81746"/>
                  </a:lnTo>
                  <a:lnTo>
                    <a:pt x="3947" y="82222"/>
                  </a:lnTo>
                  <a:lnTo>
                    <a:pt x="3947" y="82222"/>
                  </a:lnTo>
                  <a:lnTo>
                    <a:pt x="3947" y="82539"/>
                  </a:lnTo>
                  <a:lnTo>
                    <a:pt x="3947" y="82857"/>
                  </a:lnTo>
                  <a:lnTo>
                    <a:pt x="3947" y="82857"/>
                  </a:lnTo>
                  <a:lnTo>
                    <a:pt x="4276" y="82857"/>
                  </a:lnTo>
                  <a:lnTo>
                    <a:pt x="4523" y="82539"/>
                  </a:lnTo>
                  <a:lnTo>
                    <a:pt x="4688" y="82539"/>
                  </a:lnTo>
                  <a:lnTo>
                    <a:pt x="4688" y="82539"/>
                  </a:lnTo>
                  <a:lnTo>
                    <a:pt x="4852" y="82222"/>
                  </a:lnTo>
                  <a:lnTo>
                    <a:pt x="5099" y="81746"/>
                  </a:lnTo>
                  <a:lnTo>
                    <a:pt x="5428" y="81428"/>
                  </a:lnTo>
                  <a:lnTo>
                    <a:pt x="5428" y="81428"/>
                  </a:lnTo>
                  <a:lnTo>
                    <a:pt x="5675" y="80952"/>
                  </a:lnTo>
                  <a:lnTo>
                    <a:pt x="5675" y="80952"/>
                  </a:lnTo>
                  <a:lnTo>
                    <a:pt x="5675" y="81428"/>
                  </a:lnTo>
                  <a:lnTo>
                    <a:pt x="5675" y="81428"/>
                  </a:lnTo>
                  <a:lnTo>
                    <a:pt x="6004" y="80952"/>
                  </a:lnTo>
                  <a:lnTo>
                    <a:pt x="6250" y="80952"/>
                  </a:lnTo>
                  <a:lnTo>
                    <a:pt x="6250" y="80952"/>
                  </a:lnTo>
                  <a:lnTo>
                    <a:pt x="6250" y="80952"/>
                  </a:lnTo>
                  <a:lnTo>
                    <a:pt x="6004" y="81428"/>
                  </a:lnTo>
                  <a:lnTo>
                    <a:pt x="5839" y="81428"/>
                  </a:lnTo>
                  <a:lnTo>
                    <a:pt x="5839" y="81428"/>
                  </a:lnTo>
                  <a:lnTo>
                    <a:pt x="5839" y="81428"/>
                  </a:lnTo>
                  <a:lnTo>
                    <a:pt x="5675" y="81746"/>
                  </a:lnTo>
                  <a:lnTo>
                    <a:pt x="5675" y="81746"/>
                  </a:lnTo>
                  <a:lnTo>
                    <a:pt x="5675" y="82222"/>
                  </a:lnTo>
                  <a:lnTo>
                    <a:pt x="5675" y="82222"/>
                  </a:lnTo>
                  <a:lnTo>
                    <a:pt x="5675" y="82539"/>
                  </a:lnTo>
                  <a:lnTo>
                    <a:pt x="5675" y="82539"/>
                  </a:lnTo>
                  <a:lnTo>
                    <a:pt x="5839" y="82222"/>
                  </a:lnTo>
                  <a:lnTo>
                    <a:pt x="6004" y="82222"/>
                  </a:lnTo>
                  <a:lnTo>
                    <a:pt x="6250" y="82539"/>
                  </a:lnTo>
                  <a:lnTo>
                    <a:pt x="6250" y="82857"/>
                  </a:lnTo>
                  <a:lnTo>
                    <a:pt x="6250" y="82857"/>
                  </a:lnTo>
                  <a:lnTo>
                    <a:pt x="6004" y="82539"/>
                  </a:lnTo>
                  <a:lnTo>
                    <a:pt x="6004" y="82539"/>
                  </a:lnTo>
                  <a:lnTo>
                    <a:pt x="6004" y="82539"/>
                  </a:lnTo>
                  <a:lnTo>
                    <a:pt x="5839" y="82539"/>
                  </a:lnTo>
                  <a:lnTo>
                    <a:pt x="5675" y="82539"/>
                  </a:lnTo>
                  <a:lnTo>
                    <a:pt x="5675" y="82539"/>
                  </a:lnTo>
                  <a:lnTo>
                    <a:pt x="5428" y="82222"/>
                  </a:lnTo>
                  <a:lnTo>
                    <a:pt x="5263" y="82222"/>
                  </a:lnTo>
                  <a:lnTo>
                    <a:pt x="5428" y="81746"/>
                  </a:lnTo>
                  <a:lnTo>
                    <a:pt x="5675" y="81746"/>
                  </a:lnTo>
                  <a:lnTo>
                    <a:pt x="5428" y="81746"/>
                  </a:lnTo>
                  <a:lnTo>
                    <a:pt x="5263" y="81746"/>
                  </a:lnTo>
                  <a:lnTo>
                    <a:pt x="5099" y="81746"/>
                  </a:lnTo>
                  <a:lnTo>
                    <a:pt x="4852" y="82222"/>
                  </a:lnTo>
                  <a:lnTo>
                    <a:pt x="4852" y="82539"/>
                  </a:lnTo>
                  <a:lnTo>
                    <a:pt x="4852" y="82539"/>
                  </a:lnTo>
                  <a:lnTo>
                    <a:pt x="5099" y="82857"/>
                  </a:lnTo>
                  <a:lnTo>
                    <a:pt x="5263" y="83333"/>
                  </a:lnTo>
                  <a:lnTo>
                    <a:pt x="5263" y="83333"/>
                  </a:lnTo>
                  <a:lnTo>
                    <a:pt x="4852" y="84444"/>
                  </a:lnTo>
                  <a:lnTo>
                    <a:pt x="4852" y="84444"/>
                  </a:lnTo>
                  <a:lnTo>
                    <a:pt x="5428" y="83968"/>
                  </a:lnTo>
                  <a:lnTo>
                    <a:pt x="5428" y="83968"/>
                  </a:lnTo>
                  <a:lnTo>
                    <a:pt x="5263" y="84444"/>
                  </a:lnTo>
                  <a:lnTo>
                    <a:pt x="5263" y="84444"/>
                  </a:lnTo>
                  <a:lnTo>
                    <a:pt x="4852" y="85079"/>
                  </a:lnTo>
                  <a:lnTo>
                    <a:pt x="4523" y="85555"/>
                  </a:lnTo>
                  <a:lnTo>
                    <a:pt x="4523" y="85873"/>
                  </a:lnTo>
                  <a:lnTo>
                    <a:pt x="4523" y="85873"/>
                  </a:lnTo>
                  <a:lnTo>
                    <a:pt x="4688" y="85873"/>
                  </a:lnTo>
                  <a:lnTo>
                    <a:pt x="4852" y="85555"/>
                  </a:lnTo>
                  <a:lnTo>
                    <a:pt x="5099" y="85079"/>
                  </a:lnTo>
                  <a:lnTo>
                    <a:pt x="5099" y="85079"/>
                  </a:lnTo>
                  <a:lnTo>
                    <a:pt x="4852" y="85555"/>
                  </a:lnTo>
                  <a:lnTo>
                    <a:pt x="4852" y="85555"/>
                  </a:lnTo>
                  <a:lnTo>
                    <a:pt x="4852" y="85555"/>
                  </a:lnTo>
                  <a:lnTo>
                    <a:pt x="4688" y="85873"/>
                  </a:lnTo>
                  <a:lnTo>
                    <a:pt x="4688" y="85873"/>
                  </a:lnTo>
                  <a:lnTo>
                    <a:pt x="4112" y="86666"/>
                  </a:lnTo>
                  <a:lnTo>
                    <a:pt x="4112" y="86984"/>
                  </a:lnTo>
                  <a:lnTo>
                    <a:pt x="3947" y="87777"/>
                  </a:lnTo>
                  <a:lnTo>
                    <a:pt x="4276" y="87460"/>
                  </a:lnTo>
                  <a:lnTo>
                    <a:pt x="4688" y="86666"/>
                  </a:lnTo>
                  <a:lnTo>
                    <a:pt x="4852" y="86349"/>
                  </a:lnTo>
                  <a:lnTo>
                    <a:pt x="4852" y="86349"/>
                  </a:lnTo>
                  <a:lnTo>
                    <a:pt x="5099" y="85873"/>
                  </a:lnTo>
                  <a:lnTo>
                    <a:pt x="5263" y="85873"/>
                  </a:lnTo>
                  <a:lnTo>
                    <a:pt x="5428" y="85873"/>
                  </a:lnTo>
                  <a:lnTo>
                    <a:pt x="6250" y="85079"/>
                  </a:lnTo>
                  <a:lnTo>
                    <a:pt x="6415" y="85079"/>
                  </a:lnTo>
                  <a:lnTo>
                    <a:pt x="6415" y="84761"/>
                  </a:lnTo>
                  <a:lnTo>
                    <a:pt x="6662" y="84761"/>
                  </a:lnTo>
                  <a:lnTo>
                    <a:pt x="6662" y="84761"/>
                  </a:lnTo>
                  <a:lnTo>
                    <a:pt x="6826" y="84444"/>
                  </a:lnTo>
                  <a:lnTo>
                    <a:pt x="6826" y="84444"/>
                  </a:lnTo>
                  <a:lnTo>
                    <a:pt x="6662" y="84444"/>
                  </a:lnTo>
                  <a:lnTo>
                    <a:pt x="6662" y="84761"/>
                  </a:lnTo>
                  <a:lnTo>
                    <a:pt x="6662" y="84761"/>
                  </a:lnTo>
                  <a:lnTo>
                    <a:pt x="6415" y="84761"/>
                  </a:lnTo>
                  <a:lnTo>
                    <a:pt x="6004" y="85555"/>
                  </a:lnTo>
                  <a:lnTo>
                    <a:pt x="6004" y="85555"/>
                  </a:lnTo>
                  <a:lnTo>
                    <a:pt x="6004" y="85555"/>
                  </a:lnTo>
                  <a:lnTo>
                    <a:pt x="5839" y="85873"/>
                  </a:lnTo>
                  <a:lnTo>
                    <a:pt x="5839" y="85873"/>
                  </a:lnTo>
                  <a:lnTo>
                    <a:pt x="6004" y="85873"/>
                  </a:lnTo>
                  <a:lnTo>
                    <a:pt x="6004" y="86349"/>
                  </a:lnTo>
                  <a:lnTo>
                    <a:pt x="6004" y="86349"/>
                  </a:lnTo>
                  <a:lnTo>
                    <a:pt x="6004" y="86666"/>
                  </a:lnTo>
                  <a:lnTo>
                    <a:pt x="6004" y="86984"/>
                  </a:lnTo>
                  <a:lnTo>
                    <a:pt x="6004" y="86984"/>
                  </a:lnTo>
                  <a:lnTo>
                    <a:pt x="6004" y="86666"/>
                  </a:lnTo>
                  <a:lnTo>
                    <a:pt x="6004" y="86666"/>
                  </a:lnTo>
                  <a:lnTo>
                    <a:pt x="6004" y="86349"/>
                  </a:lnTo>
                  <a:lnTo>
                    <a:pt x="6004" y="86349"/>
                  </a:lnTo>
                  <a:lnTo>
                    <a:pt x="5839" y="85873"/>
                  </a:lnTo>
                  <a:lnTo>
                    <a:pt x="5839" y="85873"/>
                  </a:lnTo>
                  <a:lnTo>
                    <a:pt x="5428" y="85873"/>
                  </a:lnTo>
                  <a:lnTo>
                    <a:pt x="5263" y="86349"/>
                  </a:lnTo>
                  <a:lnTo>
                    <a:pt x="5099" y="86349"/>
                  </a:lnTo>
                  <a:lnTo>
                    <a:pt x="4852" y="86349"/>
                  </a:lnTo>
                  <a:lnTo>
                    <a:pt x="4688" y="86666"/>
                  </a:lnTo>
                  <a:lnTo>
                    <a:pt x="4523" y="86984"/>
                  </a:lnTo>
                  <a:lnTo>
                    <a:pt x="4688" y="86984"/>
                  </a:lnTo>
                  <a:lnTo>
                    <a:pt x="4276" y="87460"/>
                  </a:lnTo>
                  <a:lnTo>
                    <a:pt x="4112" y="87777"/>
                  </a:lnTo>
                  <a:lnTo>
                    <a:pt x="4112" y="87777"/>
                  </a:lnTo>
                  <a:lnTo>
                    <a:pt x="4112" y="88095"/>
                  </a:lnTo>
                  <a:lnTo>
                    <a:pt x="3947" y="88571"/>
                  </a:lnTo>
                  <a:lnTo>
                    <a:pt x="3947" y="88571"/>
                  </a:lnTo>
                  <a:lnTo>
                    <a:pt x="3947" y="88571"/>
                  </a:lnTo>
                  <a:lnTo>
                    <a:pt x="3947" y="88571"/>
                  </a:lnTo>
                  <a:lnTo>
                    <a:pt x="3947" y="88888"/>
                  </a:lnTo>
                  <a:lnTo>
                    <a:pt x="4112" y="88888"/>
                  </a:lnTo>
                  <a:lnTo>
                    <a:pt x="4112" y="88571"/>
                  </a:lnTo>
                  <a:lnTo>
                    <a:pt x="4276" y="88571"/>
                  </a:lnTo>
                  <a:lnTo>
                    <a:pt x="4523" y="88095"/>
                  </a:lnTo>
                  <a:lnTo>
                    <a:pt x="4688" y="88095"/>
                  </a:lnTo>
                  <a:lnTo>
                    <a:pt x="5099" y="88095"/>
                  </a:lnTo>
                  <a:lnTo>
                    <a:pt x="5675" y="88095"/>
                  </a:lnTo>
                  <a:lnTo>
                    <a:pt x="5428" y="88095"/>
                  </a:lnTo>
                  <a:lnTo>
                    <a:pt x="5099" y="88095"/>
                  </a:lnTo>
                  <a:lnTo>
                    <a:pt x="4688" y="88095"/>
                  </a:lnTo>
                  <a:lnTo>
                    <a:pt x="4688" y="88095"/>
                  </a:lnTo>
                  <a:lnTo>
                    <a:pt x="4523" y="88095"/>
                  </a:lnTo>
                  <a:lnTo>
                    <a:pt x="3947" y="88888"/>
                  </a:lnTo>
                  <a:lnTo>
                    <a:pt x="3701" y="89206"/>
                  </a:lnTo>
                  <a:lnTo>
                    <a:pt x="3701" y="89206"/>
                  </a:lnTo>
                  <a:lnTo>
                    <a:pt x="3536" y="89682"/>
                  </a:lnTo>
                  <a:lnTo>
                    <a:pt x="3536" y="90000"/>
                  </a:lnTo>
                  <a:lnTo>
                    <a:pt x="3701" y="90476"/>
                  </a:lnTo>
                  <a:lnTo>
                    <a:pt x="3701" y="90476"/>
                  </a:lnTo>
                  <a:lnTo>
                    <a:pt x="3701" y="90476"/>
                  </a:lnTo>
                  <a:lnTo>
                    <a:pt x="3947" y="90793"/>
                  </a:lnTo>
                  <a:lnTo>
                    <a:pt x="4112" y="90793"/>
                  </a:lnTo>
                  <a:lnTo>
                    <a:pt x="4112" y="90793"/>
                  </a:lnTo>
                  <a:lnTo>
                    <a:pt x="4688" y="90476"/>
                  </a:lnTo>
                  <a:lnTo>
                    <a:pt x="4688" y="90476"/>
                  </a:lnTo>
                  <a:lnTo>
                    <a:pt x="4852" y="90000"/>
                  </a:lnTo>
                  <a:lnTo>
                    <a:pt x="4852" y="90476"/>
                  </a:lnTo>
                  <a:lnTo>
                    <a:pt x="4688" y="90793"/>
                  </a:lnTo>
                  <a:lnTo>
                    <a:pt x="4688" y="90793"/>
                  </a:lnTo>
                  <a:lnTo>
                    <a:pt x="4852" y="90793"/>
                  </a:lnTo>
                  <a:lnTo>
                    <a:pt x="4852" y="90793"/>
                  </a:lnTo>
                  <a:lnTo>
                    <a:pt x="4688" y="90793"/>
                  </a:lnTo>
                  <a:lnTo>
                    <a:pt x="4688" y="91111"/>
                  </a:lnTo>
                  <a:lnTo>
                    <a:pt x="4523" y="91111"/>
                  </a:lnTo>
                  <a:lnTo>
                    <a:pt x="4523" y="91111"/>
                  </a:lnTo>
                  <a:lnTo>
                    <a:pt x="4523" y="91587"/>
                  </a:lnTo>
                  <a:lnTo>
                    <a:pt x="4688" y="91587"/>
                  </a:lnTo>
                  <a:lnTo>
                    <a:pt x="5263" y="91111"/>
                  </a:lnTo>
                  <a:lnTo>
                    <a:pt x="5263" y="91111"/>
                  </a:lnTo>
                  <a:lnTo>
                    <a:pt x="5263" y="91111"/>
                  </a:lnTo>
                  <a:lnTo>
                    <a:pt x="5099" y="91587"/>
                  </a:lnTo>
                  <a:lnTo>
                    <a:pt x="4688" y="91587"/>
                  </a:lnTo>
                  <a:lnTo>
                    <a:pt x="4523" y="91587"/>
                  </a:lnTo>
                  <a:lnTo>
                    <a:pt x="4523" y="91587"/>
                  </a:lnTo>
                  <a:lnTo>
                    <a:pt x="4276" y="91904"/>
                  </a:lnTo>
                  <a:lnTo>
                    <a:pt x="4276" y="91904"/>
                  </a:lnTo>
                  <a:lnTo>
                    <a:pt x="4688" y="91904"/>
                  </a:lnTo>
                  <a:lnTo>
                    <a:pt x="4688" y="91904"/>
                  </a:lnTo>
                  <a:lnTo>
                    <a:pt x="4852" y="91904"/>
                  </a:lnTo>
                  <a:lnTo>
                    <a:pt x="4852" y="91904"/>
                  </a:lnTo>
                  <a:lnTo>
                    <a:pt x="5099" y="91904"/>
                  </a:lnTo>
                  <a:lnTo>
                    <a:pt x="5263" y="91904"/>
                  </a:lnTo>
                  <a:lnTo>
                    <a:pt x="5263" y="91904"/>
                  </a:lnTo>
                  <a:lnTo>
                    <a:pt x="5263" y="91904"/>
                  </a:lnTo>
                  <a:lnTo>
                    <a:pt x="5263" y="91904"/>
                  </a:lnTo>
                  <a:lnTo>
                    <a:pt x="5428" y="91904"/>
                  </a:lnTo>
                  <a:lnTo>
                    <a:pt x="5428" y="91587"/>
                  </a:lnTo>
                  <a:lnTo>
                    <a:pt x="5675" y="91587"/>
                  </a:lnTo>
                  <a:lnTo>
                    <a:pt x="5675" y="91587"/>
                  </a:lnTo>
                  <a:lnTo>
                    <a:pt x="5428" y="91904"/>
                  </a:lnTo>
                  <a:lnTo>
                    <a:pt x="5428" y="91904"/>
                  </a:lnTo>
                  <a:lnTo>
                    <a:pt x="5675" y="91904"/>
                  </a:lnTo>
                  <a:lnTo>
                    <a:pt x="5839" y="91904"/>
                  </a:lnTo>
                  <a:lnTo>
                    <a:pt x="6250" y="91904"/>
                  </a:lnTo>
                  <a:lnTo>
                    <a:pt x="6415" y="91587"/>
                  </a:lnTo>
                  <a:lnTo>
                    <a:pt x="6415" y="91587"/>
                  </a:lnTo>
                  <a:lnTo>
                    <a:pt x="6662" y="91111"/>
                  </a:lnTo>
                  <a:lnTo>
                    <a:pt x="6662" y="91111"/>
                  </a:lnTo>
                  <a:lnTo>
                    <a:pt x="6662" y="90793"/>
                  </a:lnTo>
                  <a:lnTo>
                    <a:pt x="6826" y="90793"/>
                  </a:lnTo>
                  <a:lnTo>
                    <a:pt x="6826" y="90793"/>
                  </a:lnTo>
                  <a:lnTo>
                    <a:pt x="6662" y="91111"/>
                  </a:lnTo>
                  <a:lnTo>
                    <a:pt x="6662" y="91587"/>
                  </a:lnTo>
                  <a:lnTo>
                    <a:pt x="6662" y="91587"/>
                  </a:lnTo>
                  <a:lnTo>
                    <a:pt x="6415" y="91904"/>
                  </a:lnTo>
                  <a:lnTo>
                    <a:pt x="6004" y="92222"/>
                  </a:lnTo>
                  <a:lnTo>
                    <a:pt x="6004" y="92222"/>
                  </a:lnTo>
                  <a:lnTo>
                    <a:pt x="6004" y="92222"/>
                  </a:lnTo>
                  <a:lnTo>
                    <a:pt x="6004" y="92698"/>
                  </a:lnTo>
                  <a:lnTo>
                    <a:pt x="6004" y="92698"/>
                  </a:lnTo>
                  <a:lnTo>
                    <a:pt x="6004" y="93333"/>
                  </a:lnTo>
                  <a:lnTo>
                    <a:pt x="5839" y="93333"/>
                  </a:lnTo>
                  <a:lnTo>
                    <a:pt x="5839" y="93809"/>
                  </a:lnTo>
                  <a:lnTo>
                    <a:pt x="6004" y="94126"/>
                  </a:lnTo>
                  <a:lnTo>
                    <a:pt x="6004" y="94126"/>
                  </a:lnTo>
                  <a:lnTo>
                    <a:pt x="6250" y="94126"/>
                  </a:lnTo>
                  <a:lnTo>
                    <a:pt x="6415" y="94126"/>
                  </a:lnTo>
                  <a:lnTo>
                    <a:pt x="6662" y="94126"/>
                  </a:lnTo>
                  <a:lnTo>
                    <a:pt x="6826" y="93809"/>
                  </a:lnTo>
                  <a:lnTo>
                    <a:pt x="6826" y="93809"/>
                  </a:lnTo>
                  <a:lnTo>
                    <a:pt x="6826" y="93809"/>
                  </a:lnTo>
                  <a:lnTo>
                    <a:pt x="6991" y="93333"/>
                  </a:lnTo>
                  <a:lnTo>
                    <a:pt x="7237" y="93333"/>
                  </a:lnTo>
                  <a:lnTo>
                    <a:pt x="7237" y="93015"/>
                  </a:lnTo>
                  <a:lnTo>
                    <a:pt x="7237" y="93015"/>
                  </a:lnTo>
                  <a:lnTo>
                    <a:pt x="7237" y="93015"/>
                  </a:lnTo>
                  <a:lnTo>
                    <a:pt x="7237" y="93015"/>
                  </a:lnTo>
                  <a:lnTo>
                    <a:pt x="7402" y="93015"/>
                  </a:lnTo>
                  <a:lnTo>
                    <a:pt x="7402" y="93015"/>
                  </a:lnTo>
                  <a:lnTo>
                    <a:pt x="7237" y="93333"/>
                  </a:lnTo>
                  <a:lnTo>
                    <a:pt x="7237" y="93333"/>
                  </a:lnTo>
                  <a:lnTo>
                    <a:pt x="6991" y="93333"/>
                  </a:lnTo>
                  <a:lnTo>
                    <a:pt x="6991" y="93809"/>
                  </a:lnTo>
                  <a:lnTo>
                    <a:pt x="6826" y="94126"/>
                  </a:lnTo>
                  <a:lnTo>
                    <a:pt x="6826" y="94603"/>
                  </a:lnTo>
                  <a:lnTo>
                    <a:pt x="6826" y="94603"/>
                  </a:lnTo>
                  <a:lnTo>
                    <a:pt x="6826" y="94603"/>
                  </a:lnTo>
                  <a:lnTo>
                    <a:pt x="6826" y="94603"/>
                  </a:lnTo>
                  <a:lnTo>
                    <a:pt x="6991" y="94603"/>
                  </a:lnTo>
                  <a:lnTo>
                    <a:pt x="6991" y="94603"/>
                  </a:lnTo>
                  <a:lnTo>
                    <a:pt x="6826" y="94920"/>
                  </a:lnTo>
                  <a:lnTo>
                    <a:pt x="6662" y="94920"/>
                  </a:lnTo>
                  <a:lnTo>
                    <a:pt x="6662" y="94603"/>
                  </a:lnTo>
                  <a:lnTo>
                    <a:pt x="6662" y="94603"/>
                  </a:lnTo>
                  <a:lnTo>
                    <a:pt x="6662" y="94603"/>
                  </a:lnTo>
                  <a:lnTo>
                    <a:pt x="6662" y="94603"/>
                  </a:lnTo>
                  <a:lnTo>
                    <a:pt x="6415" y="94603"/>
                  </a:lnTo>
                  <a:lnTo>
                    <a:pt x="6415" y="94603"/>
                  </a:lnTo>
                  <a:lnTo>
                    <a:pt x="6415" y="94920"/>
                  </a:lnTo>
                  <a:lnTo>
                    <a:pt x="6415" y="94920"/>
                  </a:lnTo>
                  <a:lnTo>
                    <a:pt x="6415" y="95238"/>
                  </a:lnTo>
                  <a:lnTo>
                    <a:pt x="6415" y="95238"/>
                  </a:lnTo>
                  <a:lnTo>
                    <a:pt x="6826" y="95714"/>
                  </a:lnTo>
                  <a:lnTo>
                    <a:pt x="6826" y="95714"/>
                  </a:lnTo>
                  <a:lnTo>
                    <a:pt x="6991" y="95238"/>
                  </a:lnTo>
                  <a:lnTo>
                    <a:pt x="6991" y="95238"/>
                  </a:lnTo>
                  <a:lnTo>
                    <a:pt x="6991" y="95238"/>
                  </a:lnTo>
                  <a:lnTo>
                    <a:pt x="7237" y="95238"/>
                  </a:lnTo>
                  <a:lnTo>
                    <a:pt x="7237" y="94920"/>
                  </a:lnTo>
                  <a:lnTo>
                    <a:pt x="7237" y="94920"/>
                  </a:lnTo>
                  <a:lnTo>
                    <a:pt x="7566" y="94603"/>
                  </a:lnTo>
                  <a:lnTo>
                    <a:pt x="7566" y="94603"/>
                  </a:lnTo>
                  <a:lnTo>
                    <a:pt x="7566" y="94603"/>
                  </a:lnTo>
                  <a:lnTo>
                    <a:pt x="7402" y="94920"/>
                  </a:lnTo>
                  <a:lnTo>
                    <a:pt x="7237" y="95238"/>
                  </a:lnTo>
                  <a:lnTo>
                    <a:pt x="7237" y="95714"/>
                  </a:lnTo>
                  <a:lnTo>
                    <a:pt x="6991" y="95714"/>
                  </a:lnTo>
                  <a:lnTo>
                    <a:pt x="6991" y="95714"/>
                  </a:lnTo>
                  <a:lnTo>
                    <a:pt x="6991" y="95714"/>
                  </a:lnTo>
                  <a:lnTo>
                    <a:pt x="7237" y="95714"/>
                  </a:lnTo>
                  <a:lnTo>
                    <a:pt x="7402" y="95714"/>
                  </a:lnTo>
                  <a:lnTo>
                    <a:pt x="7402" y="95714"/>
                  </a:lnTo>
                  <a:lnTo>
                    <a:pt x="7566" y="95714"/>
                  </a:lnTo>
                  <a:lnTo>
                    <a:pt x="7566" y="95714"/>
                  </a:lnTo>
                  <a:lnTo>
                    <a:pt x="7402" y="95714"/>
                  </a:lnTo>
                  <a:lnTo>
                    <a:pt x="7237" y="95714"/>
                  </a:lnTo>
                  <a:lnTo>
                    <a:pt x="6991" y="96031"/>
                  </a:lnTo>
                  <a:lnTo>
                    <a:pt x="6991" y="96031"/>
                  </a:lnTo>
                  <a:lnTo>
                    <a:pt x="6991" y="96031"/>
                  </a:lnTo>
                  <a:lnTo>
                    <a:pt x="6826" y="96349"/>
                  </a:lnTo>
                  <a:lnTo>
                    <a:pt x="6826" y="96349"/>
                  </a:lnTo>
                  <a:lnTo>
                    <a:pt x="6991" y="96349"/>
                  </a:lnTo>
                  <a:lnTo>
                    <a:pt x="6991" y="96349"/>
                  </a:lnTo>
                  <a:lnTo>
                    <a:pt x="6991" y="96349"/>
                  </a:lnTo>
                  <a:lnTo>
                    <a:pt x="6991" y="96349"/>
                  </a:lnTo>
                  <a:lnTo>
                    <a:pt x="6826" y="96825"/>
                  </a:lnTo>
                  <a:lnTo>
                    <a:pt x="6826" y="96825"/>
                  </a:lnTo>
                  <a:lnTo>
                    <a:pt x="6826" y="96825"/>
                  </a:lnTo>
                  <a:lnTo>
                    <a:pt x="6826" y="96825"/>
                  </a:lnTo>
                  <a:lnTo>
                    <a:pt x="6991" y="96825"/>
                  </a:lnTo>
                  <a:lnTo>
                    <a:pt x="6991" y="96825"/>
                  </a:lnTo>
                  <a:lnTo>
                    <a:pt x="6991" y="96825"/>
                  </a:lnTo>
                  <a:lnTo>
                    <a:pt x="7237" y="96349"/>
                  </a:lnTo>
                  <a:lnTo>
                    <a:pt x="7237" y="96349"/>
                  </a:lnTo>
                  <a:lnTo>
                    <a:pt x="7237" y="96825"/>
                  </a:lnTo>
                  <a:lnTo>
                    <a:pt x="7237" y="96825"/>
                  </a:lnTo>
                  <a:lnTo>
                    <a:pt x="11432" y="96825"/>
                  </a:lnTo>
                  <a:lnTo>
                    <a:pt x="12090" y="96825"/>
                  </a:lnTo>
                  <a:lnTo>
                    <a:pt x="25003" y="96825"/>
                  </a:lnTo>
                  <a:lnTo>
                    <a:pt x="25661" y="96825"/>
                  </a:lnTo>
                  <a:lnTo>
                    <a:pt x="38821" y="96825"/>
                  </a:lnTo>
                  <a:lnTo>
                    <a:pt x="39396" y="96825"/>
                  </a:lnTo>
                  <a:lnTo>
                    <a:pt x="43838" y="96825"/>
                  </a:lnTo>
                  <a:lnTo>
                    <a:pt x="44249" y="96825"/>
                  </a:lnTo>
                  <a:lnTo>
                    <a:pt x="44413" y="96031"/>
                  </a:lnTo>
                  <a:lnTo>
                    <a:pt x="44578" y="95714"/>
                  </a:lnTo>
                  <a:lnTo>
                    <a:pt x="44825" y="95714"/>
                  </a:lnTo>
                  <a:lnTo>
                    <a:pt x="44825" y="95714"/>
                  </a:lnTo>
                  <a:lnTo>
                    <a:pt x="44825" y="95714"/>
                  </a:lnTo>
                  <a:lnTo>
                    <a:pt x="44825" y="96031"/>
                  </a:lnTo>
                  <a:lnTo>
                    <a:pt x="44825" y="96349"/>
                  </a:lnTo>
                  <a:lnTo>
                    <a:pt x="44578" y="96825"/>
                  </a:lnTo>
                  <a:lnTo>
                    <a:pt x="44578" y="97142"/>
                  </a:lnTo>
                  <a:lnTo>
                    <a:pt x="44578" y="97142"/>
                  </a:lnTo>
                  <a:lnTo>
                    <a:pt x="44578" y="97460"/>
                  </a:lnTo>
                  <a:lnTo>
                    <a:pt x="44578" y="97460"/>
                  </a:lnTo>
                  <a:lnTo>
                    <a:pt x="44578" y="97460"/>
                  </a:lnTo>
                  <a:lnTo>
                    <a:pt x="44989" y="97936"/>
                  </a:lnTo>
                  <a:lnTo>
                    <a:pt x="45400" y="97936"/>
                  </a:lnTo>
                  <a:lnTo>
                    <a:pt x="45565" y="97936"/>
                  </a:lnTo>
                  <a:lnTo>
                    <a:pt x="45565" y="98253"/>
                  </a:lnTo>
                  <a:lnTo>
                    <a:pt x="45812" y="98253"/>
                  </a:lnTo>
                  <a:lnTo>
                    <a:pt x="45976" y="98253"/>
                  </a:lnTo>
                  <a:lnTo>
                    <a:pt x="45976" y="98253"/>
                  </a:lnTo>
                  <a:lnTo>
                    <a:pt x="46141" y="97936"/>
                  </a:lnTo>
                  <a:lnTo>
                    <a:pt x="46387" y="97936"/>
                  </a:lnTo>
                  <a:lnTo>
                    <a:pt x="46552" y="97936"/>
                  </a:lnTo>
                  <a:lnTo>
                    <a:pt x="46716" y="97936"/>
                  </a:lnTo>
                  <a:lnTo>
                    <a:pt x="46716" y="97936"/>
                  </a:lnTo>
                  <a:lnTo>
                    <a:pt x="46963" y="98253"/>
                  </a:lnTo>
                  <a:lnTo>
                    <a:pt x="46963" y="98253"/>
                  </a:lnTo>
                  <a:lnTo>
                    <a:pt x="47128" y="98730"/>
                  </a:lnTo>
                  <a:lnTo>
                    <a:pt x="47128" y="98730"/>
                  </a:lnTo>
                  <a:lnTo>
                    <a:pt x="47128" y="99047"/>
                  </a:lnTo>
                  <a:lnTo>
                    <a:pt x="47128" y="99047"/>
                  </a:lnTo>
                  <a:lnTo>
                    <a:pt x="47292" y="99047"/>
                  </a:lnTo>
                  <a:lnTo>
                    <a:pt x="47292" y="99047"/>
                  </a:lnTo>
                  <a:lnTo>
                    <a:pt x="47539" y="99047"/>
                  </a:lnTo>
                  <a:lnTo>
                    <a:pt x="47703" y="99047"/>
                  </a:lnTo>
                  <a:lnTo>
                    <a:pt x="47950" y="99365"/>
                  </a:lnTo>
                  <a:lnTo>
                    <a:pt x="48115" y="99841"/>
                  </a:lnTo>
                  <a:lnTo>
                    <a:pt x="48279" y="99841"/>
                  </a:lnTo>
                  <a:lnTo>
                    <a:pt x="48279" y="99841"/>
                  </a:lnTo>
                  <a:lnTo>
                    <a:pt x="48690" y="99841"/>
                  </a:lnTo>
                  <a:lnTo>
                    <a:pt x="48855" y="99365"/>
                  </a:lnTo>
                  <a:lnTo>
                    <a:pt x="49102" y="99365"/>
                  </a:lnTo>
                  <a:lnTo>
                    <a:pt x="49266" y="99365"/>
                  </a:lnTo>
                  <a:lnTo>
                    <a:pt x="49266" y="99841"/>
                  </a:lnTo>
                  <a:lnTo>
                    <a:pt x="49266" y="99841"/>
                  </a:lnTo>
                  <a:lnTo>
                    <a:pt x="49431" y="99841"/>
                  </a:lnTo>
                  <a:lnTo>
                    <a:pt x="49842" y="99841"/>
                  </a:lnTo>
                  <a:lnTo>
                    <a:pt x="50253" y="99841"/>
                  </a:lnTo>
                  <a:lnTo>
                    <a:pt x="50253" y="99841"/>
                  </a:lnTo>
                  <a:lnTo>
                    <a:pt x="50253" y="100158"/>
                  </a:lnTo>
                  <a:lnTo>
                    <a:pt x="50253" y="100158"/>
                  </a:lnTo>
                  <a:lnTo>
                    <a:pt x="50418" y="100158"/>
                  </a:lnTo>
                  <a:lnTo>
                    <a:pt x="50829" y="100158"/>
                  </a:lnTo>
                  <a:lnTo>
                    <a:pt x="50829" y="100158"/>
                  </a:lnTo>
                  <a:lnTo>
                    <a:pt x="50993" y="99841"/>
                  </a:lnTo>
                  <a:lnTo>
                    <a:pt x="50993" y="99841"/>
                  </a:lnTo>
                  <a:lnTo>
                    <a:pt x="51240" y="99841"/>
                  </a:lnTo>
                  <a:lnTo>
                    <a:pt x="51240" y="99365"/>
                  </a:lnTo>
                  <a:lnTo>
                    <a:pt x="51405" y="99365"/>
                  </a:lnTo>
                  <a:lnTo>
                    <a:pt x="51405" y="99047"/>
                  </a:lnTo>
                  <a:lnTo>
                    <a:pt x="51569" y="99047"/>
                  </a:lnTo>
                  <a:lnTo>
                    <a:pt x="51569" y="99047"/>
                  </a:lnTo>
                  <a:lnTo>
                    <a:pt x="51569" y="98730"/>
                  </a:lnTo>
                  <a:lnTo>
                    <a:pt x="51569" y="98730"/>
                  </a:lnTo>
                  <a:lnTo>
                    <a:pt x="51569" y="98730"/>
                  </a:lnTo>
                  <a:lnTo>
                    <a:pt x="51816" y="98253"/>
                  </a:lnTo>
                  <a:lnTo>
                    <a:pt x="52392" y="98253"/>
                  </a:lnTo>
                  <a:lnTo>
                    <a:pt x="52392" y="98253"/>
                  </a:lnTo>
                  <a:lnTo>
                    <a:pt x="52145" y="98253"/>
                  </a:lnTo>
                  <a:lnTo>
                    <a:pt x="51980" y="98730"/>
                  </a:lnTo>
                  <a:lnTo>
                    <a:pt x="51980" y="98730"/>
                  </a:lnTo>
                  <a:lnTo>
                    <a:pt x="51980" y="99047"/>
                  </a:lnTo>
                  <a:lnTo>
                    <a:pt x="51980" y="99047"/>
                  </a:lnTo>
                  <a:lnTo>
                    <a:pt x="51980" y="99047"/>
                  </a:lnTo>
                  <a:lnTo>
                    <a:pt x="52145" y="99047"/>
                  </a:lnTo>
                  <a:lnTo>
                    <a:pt x="52145" y="98730"/>
                  </a:lnTo>
                  <a:lnTo>
                    <a:pt x="52392" y="98730"/>
                  </a:lnTo>
                  <a:lnTo>
                    <a:pt x="52392" y="98730"/>
                  </a:lnTo>
                  <a:lnTo>
                    <a:pt x="52392" y="98253"/>
                  </a:lnTo>
                  <a:lnTo>
                    <a:pt x="52392" y="98253"/>
                  </a:lnTo>
                  <a:lnTo>
                    <a:pt x="52556" y="98253"/>
                  </a:lnTo>
                  <a:lnTo>
                    <a:pt x="52556" y="98253"/>
                  </a:lnTo>
                  <a:lnTo>
                    <a:pt x="52556" y="97936"/>
                  </a:lnTo>
                  <a:lnTo>
                    <a:pt x="52721" y="97936"/>
                  </a:lnTo>
                  <a:lnTo>
                    <a:pt x="52721" y="97936"/>
                  </a:lnTo>
                  <a:lnTo>
                    <a:pt x="52721" y="97936"/>
                  </a:lnTo>
                  <a:lnTo>
                    <a:pt x="52721" y="97460"/>
                  </a:lnTo>
                  <a:lnTo>
                    <a:pt x="52967" y="97460"/>
                  </a:lnTo>
                  <a:lnTo>
                    <a:pt x="52967" y="97142"/>
                  </a:lnTo>
                  <a:lnTo>
                    <a:pt x="52967" y="97142"/>
                  </a:lnTo>
                  <a:lnTo>
                    <a:pt x="53132" y="97142"/>
                  </a:lnTo>
                  <a:lnTo>
                    <a:pt x="53132" y="97460"/>
                  </a:lnTo>
                  <a:lnTo>
                    <a:pt x="53132" y="97460"/>
                  </a:lnTo>
                  <a:lnTo>
                    <a:pt x="53132" y="97460"/>
                  </a:lnTo>
                  <a:lnTo>
                    <a:pt x="53132" y="97936"/>
                  </a:lnTo>
                  <a:lnTo>
                    <a:pt x="52967" y="97936"/>
                  </a:lnTo>
                  <a:lnTo>
                    <a:pt x="52556" y="98253"/>
                  </a:lnTo>
                  <a:lnTo>
                    <a:pt x="52556" y="98253"/>
                  </a:lnTo>
                  <a:lnTo>
                    <a:pt x="52556" y="98730"/>
                  </a:lnTo>
                  <a:lnTo>
                    <a:pt x="52556" y="98730"/>
                  </a:lnTo>
                  <a:lnTo>
                    <a:pt x="52556" y="98730"/>
                  </a:lnTo>
                  <a:lnTo>
                    <a:pt x="52556" y="98730"/>
                  </a:lnTo>
                  <a:lnTo>
                    <a:pt x="52721" y="98253"/>
                  </a:lnTo>
                  <a:lnTo>
                    <a:pt x="52721" y="98253"/>
                  </a:lnTo>
                  <a:lnTo>
                    <a:pt x="52721" y="98253"/>
                  </a:lnTo>
                  <a:lnTo>
                    <a:pt x="52721" y="98253"/>
                  </a:lnTo>
                  <a:lnTo>
                    <a:pt x="52721" y="98253"/>
                  </a:lnTo>
                  <a:lnTo>
                    <a:pt x="52721" y="98253"/>
                  </a:lnTo>
                  <a:lnTo>
                    <a:pt x="52967" y="98253"/>
                  </a:lnTo>
                  <a:lnTo>
                    <a:pt x="52967" y="98253"/>
                  </a:lnTo>
                  <a:lnTo>
                    <a:pt x="53132" y="98253"/>
                  </a:lnTo>
                  <a:lnTo>
                    <a:pt x="53132" y="98253"/>
                  </a:lnTo>
                  <a:lnTo>
                    <a:pt x="53379" y="97936"/>
                  </a:lnTo>
                  <a:lnTo>
                    <a:pt x="53379" y="97460"/>
                  </a:lnTo>
                  <a:lnTo>
                    <a:pt x="53379" y="97460"/>
                  </a:lnTo>
                  <a:lnTo>
                    <a:pt x="53379" y="97460"/>
                  </a:lnTo>
                  <a:lnTo>
                    <a:pt x="53379" y="97142"/>
                  </a:lnTo>
                  <a:lnTo>
                    <a:pt x="53379" y="97142"/>
                  </a:lnTo>
                  <a:lnTo>
                    <a:pt x="53379" y="97142"/>
                  </a:lnTo>
                  <a:lnTo>
                    <a:pt x="53379" y="96825"/>
                  </a:lnTo>
                  <a:lnTo>
                    <a:pt x="53379" y="96825"/>
                  </a:lnTo>
                  <a:lnTo>
                    <a:pt x="53543" y="96825"/>
                  </a:lnTo>
                  <a:lnTo>
                    <a:pt x="53543" y="96825"/>
                  </a:lnTo>
                  <a:lnTo>
                    <a:pt x="53543" y="96825"/>
                  </a:lnTo>
                  <a:lnTo>
                    <a:pt x="53708" y="96825"/>
                  </a:lnTo>
                  <a:lnTo>
                    <a:pt x="53708" y="96825"/>
                  </a:lnTo>
                  <a:lnTo>
                    <a:pt x="53708" y="96825"/>
                  </a:lnTo>
                  <a:lnTo>
                    <a:pt x="53954" y="97142"/>
                  </a:lnTo>
                  <a:lnTo>
                    <a:pt x="54119" y="97142"/>
                  </a:lnTo>
                  <a:lnTo>
                    <a:pt x="54119" y="97142"/>
                  </a:lnTo>
                  <a:lnTo>
                    <a:pt x="54283" y="97142"/>
                  </a:lnTo>
                  <a:lnTo>
                    <a:pt x="54283" y="97142"/>
                  </a:lnTo>
                  <a:lnTo>
                    <a:pt x="54283" y="97142"/>
                  </a:lnTo>
                  <a:lnTo>
                    <a:pt x="54283" y="97142"/>
                  </a:lnTo>
                  <a:lnTo>
                    <a:pt x="54530" y="97142"/>
                  </a:lnTo>
                  <a:lnTo>
                    <a:pt x="54530" y="97460"/>
                  </a:lnTo>
                  <a:lnTo>
                    <a:pt x="54694" y="97460"/>
                  </a:lnTo>
                  <a:lnTo>
                    <a:pt x="54859" y="97460"/>
                  </a:lnTo>
                  <a:lnTo>
                    <a:pt x="54859" y="97460"/>
                  </a:lnTo>
                  <a:lnTo>
                    <a:pt x="55106" y="97460"/>
                  </a:lnTo>
                  <a:lnTo>
                    <a:pt x="55106" y="97460"/>
                  </a:lnTo>
                  <a:lnTo>
                    <a:pt x="55270" y="97460"/>
                  </a:lnTo>
                  <a:lnTo>
                    <a:pt x="55270" y="97460"/>
                  </a:lnTo>
                  <a:lnTo>
                    <a:pt x="55435" y="97460"/>
                  </a:lnTo>
                  <a:lnTo>
                    <a:pt x="55435" y="97460"/>
                  </a:lnTo>
                  <a:lnTo>
                    <a:pt x="55435" y="97460"/>
                  </a:lnTo>
                  <a:lnTo>
                    <a:pt x="55681" y="97460"/>
                  </a:lnTo>
                  <a:lnTo>
                    <a:pt x="55681" y="97460"/>
                  </a:lnTo>
                  <a:lnTo>
                    <a:pt x="55681" y="97460"/>
                  </a:lnTo>
                  <a:lnTo>
                    <a:pt x="55681" y="97936"/>
                  </a:lnTo>
                  <a:lnTo>
                    <a:pt x="55681" y="97936"/>
                  </a:lnTo>
                  <a:lnTo>
                    <a:pt x="55681" y="97936"/>
                  </a:lnTo>
                  <a:lnTo>
                    <a:pt x="55681" y="97936"/>
                  </a:lnTo>
                  <a:lnTo>
                    <a:pt x="55681" y="98253"/>
                  </a:lnTo>
                  <a:lnTo>
                    <a:pt x="55681" y="98253"/>
                  </a:lnTo>
                  <a:lnTo>
                    <a:pt x="55681" y="98730"/>
                  </a:lnTo>
                  <a:lnTo>
                    <a:pt x="55681" y="98730"/>
                  </a:lnTo>
                  <a:lnTo>
                    <a:pt x="55681" y="98730"/>
                  </a:lnTo>
                  <a:lnTo>
                    <a:pt x="55681" y="98730"/>
                  </a:lnTo>
                  <a:lnTo>
                    <a:pt x="55681" y="99047"/>
                  </a:lnTo>
                  <a:lnTo>
                    <a:pt x="55681" y="99365"/>
                  </a:lnTo>
                  <a:lnTo>
                    <a:pt x="55681" y="99841"/>
                  </a:lnTo>
                  <a:lnTo>
                    <a:pt x="55681" y="100158"/>
                  </a:lnTo>
                  <a:lnTo>
                    <a:pt x="55846" y="100158"/>
                  </a:lnTo>
                  <a:lnTo>
                    <a:pt x="56093" y="100158"/>
                  </a:lnTo>
                  <a:lnTo>
                    <a:pt x="56257" y="100158"/>
                  </a:lnTo>
                  <a:lnTo>
                    <a:pt x="56422" y="100158"/>
                  </a:lnTo>
                  <a:lnTo>
                    <a:pt x="56668" y="100158"/>
                  </a:lnTo>
                  <a:lnTo>
                    <a:pt x="56997" y="100158"/>
                  </a:lnTo>
                  <a:lnTo>
                    <a:pt x="56997" y="100158"/>
                  </a:lnTo>
                  <a:lnTo>
                    <a:pt x="56997" y="100158"/>
                  </a:lnTo>
                  <a:lnTo>
                    <a:pt x="56997" y="100476"/>
                  </a:lnTo>
                  <a:lnTo>
                    <a:pt x="56833" y="100476"/>
                  </a:lnTo>
                  <a:lnTo>
                    <a:pt x="56833" y="100476"/>
                  </a:lnTo>
                  <a:lnTo>
                    <a:pt x="56833" y="100952"/>
                  </a:lnTo>
                  <a:lnTo>
                    <a:pt x="56833" y="100952"/>
                  </a:lnTo>
                  <a:lnTo>
                    <a:pt x="56668" y="100952"/>
                  </a:lnTo>
                  <a:lnTo>
                    <a:pt x="56668" y="100952"/>
                  </a:lnTo>
                  <a:lnTo>
                    <a:pt x="56668" y="101269"/>
                  </a:lnTo>
                  <a:lnTo>
                    <a:pt x="56668" y="101269"/>
                  </a:lnTo>
                  <a:lnTo>
                    <a:pt x="56668" y="101269"/>
                  </a:lnTo>
                  <a:lnTo>
                    <a:pt x="56668" y="101746"/>
                  </a:lnTo>
                  <a:lnTo>
                    <a:pt x="56668" y="101746"/>
                  </a:lnTo>
                  <a:lnTo>
                    <a:pt x="56833" y="101746"/>
                  </a:lnTo>
                  <a:lnTo>
                    <a:pt x="56833" y="102063"/>
                  </a:lnTo>
                  <a:lnTo>
                    <a:pt x="56833" y="102063"/>
                  </a:lnTo>
                  <a:lnTo>
                    <a:pt x="56833" y="102063"/>
                  </a:lnTo>
                  <a:lnTo>
                    <a:pt x="56833" y="102063"/>
                  </a:lnTo>
                  <a:lnTo>
                    <a:pt x="56833" y="102063"/>
                  </a:lnTo>
                  <a:lnTo>
                    <a:pt x="56833" y="102380"/>
                  </a:lnTo>
                  <a:lnTo>
                    <a:pt x="56833" y="102380"/>
                  </a:lnTo>
                  <a:lnTo>
                    <a:pt x="56668" y="102857"/>
                  </a:lnTo>
                  <a:lnTo>
                    <a:pt x="56668" y="102857"/>
                  </a:lnTo>
                  <a:lnTo>
                    <a:pt x="56668" y="102857"/>
                  </a:lnTo>
                  <a:lnTo>
                    <a:pt x="56422" y="103174"/>
                  </a:lnTo>
                  <a:lnTo>
                    <a:pt x="56422" y="103174"/>
                  </a:lnTo>
                  <a:lnTo>
                    <a:pt x="56422" y="103492"/>
                  </a:lnTo>
                  <a:lnTo>
                    <a:pt x="56422" y="103492"/>
                  </a:lnTo>
                  <a:lnTo>
                    <a:pt x="56668" y="103492"/>
                  </a:lnTo>
                  <a:lnTo>
                    <a:pt x="56668" y="103492"/>
                  </a:lnTo>
                  <a:lnTo>
                    <a:pt x="56668" y="103492"/>
                  </a:lnTo>
                  <a:lnTo>
                    <a:pt x="56668" y="103492"/>
                  </a:lnTo>
                  <a:lnTo>
                    <a:pt x="56833" y="103492"/>
                  </a:lnTo>
                  <a:lnTo>
                    <a:pt x="56833" y="103492"/>
                  </a:lnTo>
                  <a:lnTo>
                    <a:pt x="56833" y="103492"/>
                  </a:lnTo>
                  <a:lnTo>
                    <a:pt x="56833" y="103968"/>
                  </a:lnTo>
                  <a:lnTo>
                    <a:pt x="56833" y="103968"/>
                  </a:lnTo>
                  <a:lnTo>
                    <a:pt x="56833" y="103968"/>
                  </a:lnTo>
                  <a:lnTo>
                    <a:pt x="56668" y="103968"/>
                  </a:lnTo>
                  <a:lnTo>
                    <a:pt x="56668" y="103968"/>
                  </a:lnTo>
                  <a:lnTo>
                    <a:pt x="56668" y="103968"/>
                  </a:lnTo>
                  <a:lnTo>
                    <a:pt x="56422" y="104285"/>
                  </a:lnTo>
                  <a:lnTo>
                    <a:pt x="56422" y="104285"/>
                  </a:lnTo>
                  <a:lnTo>
                    <a:pt x="56422" y="104285"/>
                  </a:lnTo>
                  <a:lnTo>
                    <a:pt x="56422" y="104285"/>
                  </a:lnTo>
                  <a:lnTo>
                    <a:pt x="56668" y="104285"/>
                  </a:lnTo>
                  <a:lnTo>
                    <a:pt x="56668" y="104285"/>
                  </a:lnTo>
                  <a:lnTo>
                    <a:pt x="56668" y="104285"/>
                  </a:lnTo>
                  <a:lnTo>
                    <a:pt x="56668" y="104285"/>
                  </a:lnTo>
                  <a:lnTo>
                    <a:pt x="56422" y="104603"/>
                  </a:lnTo>
                  <a:lnTo>
                    <a:pt x="56257" y="104603"/>
                  </a:lnTo>
                  <a:lnTo>
                    <a:pt x="56257" y="104603"/>
                  </a:lnTo>
                  <a:lnTo>
                    <a:pt x="56422" y="105079"/>
                  </a:lnTo>
                  <a:lnTo>
                    <a:pt x="56422" y="105079"/>
                  </a:lnTo>
                  <a:lnTo>
                    <a:pt x="56422" y="105079"/>
                  </a:lnTo>
                  <a:lnTo>
                    <a:pt x="56422" y="105079"/>
                  </a:lnTo>
                  <a:lnTo>
                    <a:pt x="56668" y="105079"/>
                  </a:lnTo>
                  <a:lnTo>
                    <a:pt x="56833" y="104603"/>
                  </a:lnTo>
                  <a:lnTo>
                    <a:pt x="56833" y="104603"/>
                  </a:lnTo>
                  <a:lnTo>
                    <a:pt x="56833" y="105079"/>
                  </a:lnTo>
                  <a:lnTo>
                    <a:pt x="56997" y="105079"/>
                  </a:lnTo>
                  <a:lnTo>
                    <a:pt x="56833" y="105079"/>
                  </a:lnTo>
                  <a:lnTo>
                    <a:pt x="56833" y="105079"/>
                  </a:lnTo>
                  <a:lnTo>
                    <a:pt x="56833" y="105396"/>
                  </a:lnTo>
                  <a:lnTo>
                    <a:pt x="56833" y="105396"/>
                  </a:lnTo>
                  <a:lnTo>
                    <a:pt x="56833" y="105396"/>
                  </a:lnTo>
                  <a:lnTo>
                    <a:pt x="56997" y="105396"/>
                  </a:lnTo>
                  <a:lnTo>
                    <a:pt x="56997" y="105396"/>
                  </a:lnTo>
                  <a:lnTo>
                    <a:pt x="56997" y="105873"/>
                  </a:lnTo>
                  <a:lnTo>
                    <a:pt x="56997" y="105873"/>
                  </a:lnTo>
                  <a:lnTo>
                    <a:pt x="57409" y="105873"/>
                  </a:lnTo>
                  <a:lnTo>
                    <a:pt x="57409" y="105873"/>
                  </a:lnTo>
                  <a:lnTo>
                    <a:pt x="57409" y="105873"/>
                  </a:lnTo>
                  <a:lnTo>
                    <a:pt x="57573" y="105873"/>
                  </a:lnTo>
                  <a:lnTo>
                    <a:pt x="58149" y="106190"/>
                  </a:lnTo>
                  <a:lnTo>
                    <a:pt x="58396" y="106190"/>
                  </a:lnTo>
                  <a:lnTo>
                    <a:pt x="58560" y="105873"/>
                  </a:lnTo>
                  <a:lnTo>
                    <a:pt x="58560" y="106190"/>
                  </a:lnTo>
                  <a:lnTo>
                    <a:pt x="58560" y="106190"/>
                  </a:lnTo>
                  <a:lnTo>
                    <a:pt x="58807" y="106190"/>
                  </a:lnTo>
                  <a:lnTo>
                    <a:pt x="58971" y="106190"/>
                  </a:lnTo>
                  <a:lnTo>
                    <a:pt x="59136" y="106190"/>
                  </a:lnTo>
                  <a:lnTo>
                    <a:pt x="59136" y="106190"/>
                  </a:lnTo>
                  <a:lnTo>
                    <a:pt x="59383" y="106190"/>
                  </a:lnTo>
                  <a:lnTo>
                    <a:pt x="59547" y="106190"/>
                  </a:lnTo>
                  <a:lnTo>
                    <a:pt x="59712" y="106190"/>
                  </a:lnTo>
                  <a:lnTo>
                    <a:pt x="59712" y="106190"/>
                  </a:lnTo>
                  <a:lnTo>
                    <a:pt x="59712" y="106507"/>
                  </a:lnTo>
                  <a:lnTo>
                    <a:pt x="59712" y="106507"/>
                  </a:lnTo>
                  <a:lnTo>
                    <a:pt x="59712" y="106507"/>
                  </a:lnTo>
                  <a:lnTo>
                    <a:pt x="59712" y="106507"/>
                  </a:lnTo>
                  <a:lnTo>
                    <a:pt x="59958" y="106507"/>
                  </a:lnTo>
                  <a:lnTo>
                    <a:pt x="59958" y="106190"/>
                  </a:lnTo>
                  <a:lnTo>
                    <a:pt x="59958" y="106190"/>
                  </a:lnTo>
                  <a:lnTo>
                    <a:pt x="59958" y="106190"/>
                  </a:lnTo>
                  <a:lnTo>
                    <a:pt x="60123" y="106190"/>
                  </a:lnTo>
                  <a:lnTo>
                    <a:pt x="60123" y="106507"/>
                  </a:lnTo>
                  <a:lnTo>
                    <a:pt x="59958" y="106507"/>
                  </a:lnTo>
                  <a:lnTo>
                    <a:pt x="59958" y="106507"/>
                  </a:lnTo>
                  <a:lnTo>
                    <a:pt x="59958" y="106507"/>
                  </a:lnTo>
                  <a:lnTo>
                    <a:pt x="59958" y="106507"/>
                  </a:lnTo>
                  <a:lnTo>
                    <a:pt x="59958" y="106507"/>
                  </a:lnTo>
                  <a:lnTo>
                    <a:pt x="59958" y="106507"/>
                  </a:lnTo>
                  <a:lnTo>
                    <a:pt x="59958" y="106984"/>
                  </a:lnTo>
                  <a:lnTo>
                    <a:pt x="60123" y="106507"/>
                  </a:lnTo>
                  <a:lnTo>
                    <a:pt x="60123" y="106507"/>
                  </a:lnTo>
                  <a:lnTo>
                    <a:pt x="60287" y="106507"/>
                  </a:lnTo>
                  <a:lnTo>
                    <a:pt x="60287" y="106507"/>
                  </a:lnTo>
                  <a:lnTo>
                    <a:pt x="60534" y="106507"/>
                  </a:lnTo>
                  <a:lnTo>
                    <a:pt x="60534" y="106507"/>
                  </a:lnTo>
                  <a:lnTo>
                    <a:pt x="60534" y="106507"/>
                  </a:lnTo>
                  <a:lnTo>
                    <a:pt x="60534" y="106507"/>
                  </a:lnTo>
                  <a:lnTo>
                    <a:pt x="60534" y="106507"/>
                  </a:lnTo>
                  <a:lnTo>
                    <a:pt x="60534" y="106984"/>
                  </a:lnTo>
                  <a:lnTo>
                    <a:pt x="60534" y="106984"/>
                  </a:lnTo>
                  <a:lnTo>
                    <a:pt x="60699" y="106984"/>
                  </a:lnTo>
                  <a:lnTo>
                    <a:pt x="60863" y="106984"/>
                  </a:lnTo>
                  <a:lnTo>
                    <a:pt x="60863" y="106984"/>
                  </a:lnTo>
                  <a:lnTo>
                    <a:pt x="60863" y="106984"/>
                  </a:lnTo>
                  <a:lnTo>
                    <a:pt x="60863" y="106984"/>
                  </a:lnTo>
                  <a:lnTo>
                    <a:pt x="61110" y="106984"/>
                  </a:lnTo>
                  <a:lnTo>
                    <a:pt x="61110" y="106984"/>
                  </a:lnTo>
                  <a:lnTo>
                    <a:pt x="61110" y="107301"/>
                  </a:lnTo>
                  <a:lnTo>
                    <a:pt x="61110" y="107301"/>
                  </a:lnTo>
                  <a:lnTo>
                    <a:pt x="61110" y="107301"/>
                  </a:lnTo>
                  <a:lnTo>
                    <a:pt x="61110" y="107301"/>
                  </a:lnTo>
                  <a:lnTo>
                    <a:pt x="61110" y="107619"/>
                  </a:lnTo>
                  <a:lnTo>
                    <a:pt x="61110" y="107619"/>
                  </a:lnTo>
                  <a:lnTo>
                    <a:pt x="61110" y="107619"/>
                  </a:lnTo>
                  <a:lnTo>
                    <a:pt x="61110" y="108095"/>
                  </a:lnTo>
                  <a:lnTo>
                    <a:pt x="61110" y="108095"/>
                  </a:lnTo>
                  <a:lnTo>
                    <a:pt x="61110" y="108095"/>
                  </a:lnTo>
                  <a:lnTo>
                    <a:pt x="61110" y="108095"/>
                  </a:lnTo>
                  <a:lnTo>
                    <a:pt x="61274" y="108095"/>
                  </a:lnTo>
                  <a:lnTo>
                    <a:pt x="61274" y="107619"/>
                  </a:lnTo>
                  <a:lnTo>
                    <a:pt x="61274" y="108095"/>
                  </a:lnTo>
                  <a:lnTo>
                    <a:pt x="61274" y="108095"/>
                  </a:lnTo>
                  <a:lnTo>
                    <a:pt x="61274" y="108412"/>
                  </a:lnTo>
                  <a:lnTo>
                    <a:pt x="61110" y="108412"/>
                  </a:lnTo>
                  <a:lnTo>
                    <a:pt x="61110" y="108412"/>
                  </a:lnTo>
                  <a:lnTo>
                    <a:pt x="61274" y="108730"/>
                  </a:lnTo>
                  <a:lnTo>
                    <a:pt x="61274" y="108730"/>
                  </a:lnTo>
                  <a:lnTo>
                    <a:pt x="61274" y="108730"/>
                  </a:lnTo>
                  <a:lnTo>
                    <a:pt x="61521" y="108730"/>
                  </a:lnTo>
                  <a:lnTo>
                    <a:pt x="61521" y="108730"/>
                  </a:lnTo>
                  <a:lnTo>
                    <a:pt x="61521" y="108412"/>
                  </a:lnTo>
                  <a:lnTo>
                    <a:pt x="61521" y="108412"/>
                  </a:lnTo>
                  <a:lnTo>
                    <a:pt x="61521" y="108412"/>
                  </a:lnTo>
                  <a:lnTo>
                    <a:pt x="61521" y="108730"/>
                  </a:lnTo>
                  <a:lnTo>
                    <a:pt x="61521" y="108730"/>
                  </a:lnTo>
                  <a:lnTo>
                    <a:pt x="61521" y="108730"/>
                  </a:lnTo>
                  <a:lnTo>
                    <a:pt x="61521" y="109206"/>
                  </a:lnTo>
                  <a:lnTo>
                    <a:pt x="61274" y="109206"/>
                  </a:lnTo>
                  <a:lnTo>
                    <a:pt x="61274" y="109206"/>
                  </a:lnTo>
                  <a:lnTo>
                    <a:pt x="61274" y="109206"/>
                  </a:lnTo>
                  <a:lnTo>
                    <a:pt x="61521" y="109206"/>
                  </a:lnTo>
                  <a:lnTo>
                    <a:pt x="61521" y="109206"/>
                  </a:lnTo>
                  <a:lnTo>
                    <a:pt x="61521" y="109206"/>
                  </a:lnTo>
                  <a:lnTo>
                    <a:pt x="61521" y="109523"/>
                  </a:lnTo>
                  <a:lnTo>
                    <a:pt x="61521" y="109523"/>
                  </a:lnTo>
                  <a:lnTo>
                    <a:pt x="61274" y="109523"/>
                  </a:lnTo>
                  <a:lnTo>
                    <a:pt x="61274" y="109523"/>
                  </a:lnTo>
                  <a:lnTo>
                    <a:pt x="61274" y="109523"/>
                  </a:lnTo>
                  <a:lnTo>
                    <a:pt x="61521" y="110000"/>
                  </a:lnTo>
                  <a:lnTo>
                    <a:pt x="61521" y="110000"/>
                  </a:lnTo>
                  <a:lnTo>
                    <a:pt x="61521" y="110000"/>
                  </a:lnTo>
                  <a:lnTo>
                    <a:pt x="61521" y="110317"/>
                  </a:lnTo>
                  <a:lnTo>
                    <a:pt x="61521" y="110317"/>
                  </a:lnTo>
                  <a:lnTo>
                    <a:pt x="61521" y="110317"/>
                  </a:lnTo>
                  <a:lnTo>
                    <a:pt x="61521" y="110634"/>
                  </a:lnTo>
                  <a:lnTo>
                    <a:pt x="61521" y="110634"/>
                  </a:lnTo>
                  <a:lnTo>
                    <a:pt x="61521" y="110634"/>
                  </a:lnTo>
                  <a:lnTo>
                    <a:pt x="61521" y="110634"/>
                  </a:lnTo>
                  <a:lnTo>
                    <a:pt x="61686" y="110634"/>
                  </a:lnTo>
                  <a:lnTo>
                    <a:pt x="61686" y="110634"/>
                  </a:lnTo>
                  <a:lnTo>
                    <a:pt x="61686" y="110634"/>
                  </a:lnTo>
                  <a:lnTo>
                    <a:pt x="61686" y="110634"/>
                  </a:lnTo>
                  <a:lnTo>
                    <a:pt x="61686" y="110634"/>
                  </a:lnTo>
                  <a:lnTo>
                    <a:pt x="61686" y="110634"/>
                  </a:lnTo>
                  <a:lnTo>
                    <a:pt x="61686" y="111111"/>
                  </a:lnTo>
                  <a:lnTo>
                    <a:pt x="61521" y="111111"/>
                  </a:lnTo>
                  <a:lnTo>
                    <a:pt x="61521" y="111111"/>
                  </a:lnTo>
                  <a:lnTo>
                    <a:pt x="61274" y="110634"/>
                  </a:lnTo>
                  <a:lnTo>
                    <a:pt x="61274" y="110634"/>
                  </a:lnTo>
                  <a:lnTo>
                    <a:pt x="61274" y="110634"/>
                  </a:lnTo>
                  <a:lnTo>
                    <a:pt x="61274" y="110634"/>
                  </a:lnTo>
                  <a:lnTo>
                    <a:pt x="61274" y="110634"/>
                  </a:lnTo>
                  <a:lnTo>
                    <a:pt x="61274" y="110634"/>
                  </a:lnTo>
                  <a:lnTo>
                    <a:pt x="61274" y="110634"/>
                  </a:lnTo>
                  <a:lnTo>
                    <a:pt x="61110" y="110634"/>
                  </a:lnTo>
                  <a:lnTo>
                    <a:pt x="61110" y="110634"/>
                  </a:lnTo>
                  <a:lnTo>
                    <a:pt x="61110" y="111111"/>
                  </a:lnTo>
                  <a:lnTo>
                    <a:pt x="61110" y="111111"/>
                  </a:lnTo>
                  <a:lnTo>
                    <a:pt x="61110" y="111111"/>
                  </a:lnTo>
                  <a:lnTo>
                    <a:pt x="61110" y="111428"/>
                  </a:lnTo>
                  <a:lnTo>
                    <a:pt x="61110" y="111428"/>
                  </a:lnTo>
                  <a:lnTo>
                    <a:pt x="60863" y="111746"/>
                  </a:lnTo>
                  <a:lnTo>
                    <a:pt x="60863" y="111746"/>
                  </a:lnTo>
                  <a:lnTo>
                    <a:pt x="60699" y="111746"/>
                  </a:lnTo>
                  <a:lnTo>
                    <a:pt x="60287" y="111428"/>
                  </a:lnTo>
                  <a:lnTo>
                    <a:pt x="60287" y="111428"/>
                  </a:lnTo>
                  <a:lnTo>
                    <a:pt x="60287" y="111111"/>
                  </a:lnTo>
                  <a:lnTo>
                    <a:pt x="60287" y="111111"/>
                  </a:lnTo>
                  <a:lnTo>
                    <a:pt x="60123" y="111111"/>
                  </a:lnTo>
                  <a:lnTo>
                    <a:pt x="59958" y="111428"/>
                  </a:lnTo>
                  <a:lnTo>
                    <a:pt x="59712" y="111428"/>
                  </a:lnTo>
                  <a:lnTo>
                    <a:pt x="59712" y="111428"/>
                  </a:lnTo>
                  <a:lnTo>
                    <a:pt x="59958" y="111111"/>
                  </a:lnTo>
                  <a:lnTo>
                    <a:pt x="59958" y="111111"/>
                  </a:lnTo>
                  <a:lnTo>
                    <a:pt x="59958" y="111111"/>
                  </a:lnTo>
                  <a:lnTo>
                    <a:pt x="59958" y="110634"/>
                  </a:lnTo>
                  <a:lnTo>
                    <a:pt x="59958" y="110634"/>
                  </a:lnTo>
                  <a:lnTo>
                    <a:pt x="59712" y="110634"/>
                  </a:lnTo>
                  <a:lnTo>
                    <a:pt x="59712" y="111111"/>
                  </a:lnTo>
                  <a:lnTo>
                    <a:pt x="59547" y="111111"/>
                  </a:lnTo>
                  <a:lnTo>
                    <a:pt x="59712" y="111111"/>
                  </a:lnTo>
                  <a:lnTo>
                    <a:pt x="59712" y="110634"/>
                  </a:lnTo>
                  <a:lnTo>
                    <a:pt x="59958" y="110634"/>
                  </a:lnTo>
                  <a:lnTo>
                    <a:pt x="59958" y="110317"/>
                  </a:lnTo>
                  <a:lnTo>
                    <a:pt x="59958" y="110317"/>
                  </a:lnTo>
                  <a:lnTo>
                    <a:pt x="59958" y="110317"/>
                  </a:lnTo>
                  <a:lnTo>
                    <a:pt x="59958" y="110317"/>
                  </a:lnTo>
                  <a:lnTo>
                    <a:pt x="59958" y="110317"/>
                  </a:lnTo>
                  <a:lnTo>
                    <a:pt x="59958" y="110317"/>
                  </a:lnTo>
                  <a:lnTo>
                    <a:pt x="59712" y="110317"/>
                  </a:lnTo>
                  <a:lnTo>
                    <a:pt x="59712" y="110317"/>
                  </a:lnTo>
                  <a:lnTo>
                    <a:pt x="59712" y="110317"/>
                  </a:lnTo>
                  <a:lnTo>
                    <a:pt x="59712" y="110317"/>
                  </a:lnTo>
                  <a:lnTo>
                    <a:pt x="59712" y="110317"/>
                  </a:lnTo>
                  <a:lnTo>
                    <a:pt x="59712" y="110317"/>
                  </a:lnTo>
                  <a:lnTo>
                    <a:pt x="59712" y="110000"/>
                  </a:lnTo>
                  <a:lnTo>
                    <a:pt x="59712" y="110000"/>
                  </a:lnTo>
                  <a:lnTo>
                    <a:pt x="59712" y="110000"/>
                  </a:lnTo>
                  <a:lnTo>
                    <a:pt x="59712" y="109523"/>
                  </a:lnTo>
                  <a:lnTo>
                    <a:pt x="59712" y="109523"/>
                  </a:lnTo>
                  <a:lnTo>
                    <a:pt x="59712" y="109523"/>
                  </a:lnTo>
                  <a:lnTo>
                    <a:pt x="59712" y="109206"/>
                  </a:lnTo>
                  <a:lnTo>
                    <a:pt x="59712" y="109206"/>
                  </a:lnTo>
                  <a:lnTo>
                    <a:pt x="59712" y="109206"/>
                  </a:lnTo>
                  <a:lnTo>
                    <a:pt x="59547" y="109206"/>
                  </a:lnTo>
                  <a:lnTo>
                    <a:pt x="59383" y="109206"/>
                  </a:lnTo>
                  <a:lnTo>
                    <a:pt x="59136" y="109206"/>
                  </a:lnTo>
                  <a:lnTo>
                    <a:pt x="59136" y="109206"/>
                  </a:lnTo>
                  <a:lnTo>
                    <a:pt x="59136" y="109206"/>
                  </a:lnTo>
                  <a:lnTo>
                    <a:pt x="59383" y="109206"/>
                  </a:lnTo>
                  <a:lnTo>
                    <a:pt x="59383" y="109206"/>
                  </a:lnTo>
                  <a:lnTo>
                    <a:pt x="59383" y="109523"/>
                  </a:lnTo>
                  <a:lnTo>
                    <a:pt x="59383" y="109523"/>
                  </a:lnTo>
                  <a:lnTo>
                    <a:pt x="59383" y="109523"/>
                  </a:lnTo>
                  <a:lnTo>
                    <a:pt x="59383" y="110000"/>
                  </a:lnTo>
                  <a:lnTo>
                    <a:pt x="59383" y="110317"/>
                  </a:lnTo>
                  <a:lnTo>
                    <a:pt x="59547" y="110317"/>
                  </a:lnTo>
                  <a:lnTo>
                    <a:pt x="59547" y="110317"/>
                  </a:lnTo>
                  <a:lnTo>
                    <a:pt x="59383" y="110317"/>
                  </a:lnTo>
                  <a:lnTo>
                    <a:pt x="59383" y="110634"/>
                  </a:lnTo>
                  <a:lnTo>
                    <a:pt x="59383" y="110634"/>
                  </a:lnTo>
                  <a:lnTo>
                    <a:pt x="59383" y="110634"/>
                  </a:lnTo>
                  <a:lnTo>
                    <a:pt x="59383" y="111111"/>
                  </a:lnTo>
                  <a:lnTo>
                    <a:pt x="59383" y="111428"/>
                  </a:lnTo>
                  <a:lnTo>
                    <a:pt x="59383" y="111428"/>
                  </a:lnTo>
                  <a:lnTo>
                    <a:pt x="59136" y="111746"/>
                  </a:lnTo>
                  <a:lnTo>
                    <a:pt x="59136" y="111746"/>
                  </a:lnTo>
                  <a:lnTo>
                    <a:pt x="58971" y="111746"/>
                  </a:lnTo>
                  <a:lnTo>
                    <a:pt x="58971" y="111746"/>
                  </a:lnTo>
                  <a:lnTo>
                    <a:pt x="58971" y="112222"/>
                  </a:lnTo>
                  <a:lnTo>
                    <a:pt x="58807" y="112222"/>
                  </a:lnTo>
                  <a:lnTo>
                    <a:pt x="58807" y="112222"/>
                  </a:lnTo>
                  <a:lnTo>
                    <a:pt x="58560" y="112539"/>
                  </a:lnTo>
                  <a:lnTo>
                    <a:pt x="58560" y="112539"/>
                  </a:lnTo>
                  <a:lnTo>
                    <a:pt x="58560" y="112857"/>
                  </a:lnTo>
                  <a:lnTo>
                    <a:pt x="58396" y="112857"/>
                  </a:lnTo>
                  <a:lnTo>
                    <a:pt x="58149" y="113333"/>
                  </a:lnTo>
                  <a:lnTo>
                    <a:pt x="58149" y="113333"/>
                  </a:lnTo>
                  <a:lnTo>
                    <a:pt x="57984" y="114444"/>
                  </a:lnTo>
                  <a:lnTo>
                    <a:pt x="57984" y="114761"/>
                  </a:lnTo>
                  <a:lnTo>
                    <a:pt x="57820" y="115238"/>
                  </a:lnTo>
                  <a:lnTo>
                    <a:pt x="57820" y="115555"/>
                  </a:lnTo>
                  <a:lnTo>
                    <a:pt x="57573" y="115555"/>
                  </a:lnTo>
                  <a:lnTo>
                    <a:pt x="57573" y="115555"/>
                  </a:lnTo>
                  <a:lnTo>
                    <a:pt x="57409" y="115873"/>
                  </a:lnTo>
                  <a:lnTo>
                    <a:pt x="57244" y="115873"/>
                  </a:lnTo>
                  <a:lnTo>
                    <a:pt x="57244" y="115873"/>
                  </a:lnTo>
                  <a:lnTo>
                    <a:pt x="56997" y="116349"/>
                  </a:lnTo>
                  <a:lnTo>
                    <a:pt x="56833" y="116349"/>
                  </a:lnTo>
                  <a:lnTo>
                    <a:pt x="56668" y="116666"/>
                  </a:lnTo>
                  <a:lnTo>
                    <a:pt x="56668" y="116666"/>
                  </a:lnTo>
                  <a:lnTo>
                    <a:pt x="56257" y="117460"/>
                  </a:lnTo>
                  <a:lnTo>
                    <a:pt x="56093" y="117777"/>
                  </a:lnTo>
                  <a:lnTo>
                    <a:pt x="55846" y="118253"/>
                  </a:lnTo>
                  <a:lnTo>
                    <a:pt x="55846" y="118253"/>
                  </a:lnTo>
                  <a:lnTo>
                    <a:pt x="55846" y="118253"/>
                  </a:lnTo>
                  <a:lnTo>
                    <a:pt x="56093" y="118253"/>
                  </a:lnTo>
                  <a:lnTo>
                    <a:pt x="56093" y="118253"/>
                  </a:lnTo>
                  <a:lnTo>
                    <a:pt x="56093" y="118253"/>
                  </a:lnTo>
                  <a:lnTo>
                    <a:pt x="56093" y="118253"/>
                  </a:lnTo>
                  <a:lnTo>
                    <a:pt x="56093" y="118571"/>
                  </a:lnTo>
                  <a:lnTo>
                    <a:pt x="56093" y="118571"/>
                  </a:lnTo>
                  <a:lnTo>
                    <a:pt x="56093" y="118888"/>
                  </a:lnTo>
                  <a:lnTo>
                    <a:pt x="55846" y="118888"/>
                  </a:lnTo>
                  <a:lnTo>
                    <a:pt x="55846" y="118888"/>
                  </a:lnTo>
                  <a:lnTo>
                    <a:pt x="55435" y="118888"/>
                  </a:lnTo>
                  <a:lnTo>
                    <a:pt x="55270" y="118888"/>
                  </a:lnTo>
                  <a:lnTo>
                    <a:pt x="55270" y="118888"/>
                  </a:lnTo>
                  <a:lnTo>
                    <a:pt x="55106" y="118888"/>
                  </a:lnTo>
                  <a:lnTo>
                    <a:pt x="55106" y="118888"/>
                  </a:lnTo>
                  <a:lnTo>
                    <a:pt x="55106" y="119365"/>
                  </a:lnTo>
                  <a:lnTo>
                    <a:pt x="54859" y="119365"/>
                  </a:lnTo>
                  <a:lnTo>
                    <a:pt x="54859" y="119682"/>
                  </a:lnTo>
                  <a:lnTo>
                    <a:pt x="54859" y="119682"/>
                  </a:lnTo>
                  <a:lnTo>
                    <a:pt x="55106" y="119682"/>
                  </a:lnTo>
                  <a:lnTo>
                    <a:pt x="55270" y="120000"/>
                  </a:lnTo>
                  <a:lnTo>
                    <a:pt x="55435" y="119682"/>
                  </a:lnTo>
                  <a:lnTo>
                    <a:pt x="55435" y="119682"/>
                  </a:lnTo>
                  <a:lnTo>
                    <a:pt x="55435" y="119682"/>
                  </a:lnTo>
                  <a:lnTo>
                    <a:pt x="55681" y="120000"/>
                  </a:lnTo>
                  <a:lnTo>
                    <a:pt x="55681" y="120000"/>
                  </a:lnTo>
                  <a:lnTo>
                    <a:pt x="55681" y="120000"/>
                  </a:lnTo>
                  <a:lnTo>
                    <a:pt x="55681" y="119682"/>
                  </a:lnTo>
                  <a:lnTo>
                    <a:pt x="55846" y="119682"/>
                  </a:lnTo>
                  <a:lnTo>
                    <a:pt x="55846" y="119682"/>
                  </a:lnTo>
                  <a:lnTo>
                    <a:pt x="56093" y="119365"/>
                  </a:lnTo>
                  <a:lnTo>
                    <a:pt x="56257" y="119365"/>
                  </a:lnTo>
                  <a:lnTo>
                    <a:pt x="56422" y="118888"/>
                  </a:lnTo>
                  <a:lnTo>
                    <a:pt x="56668" y="118888"/>
                  </a:lnTo>
                  <a:lnTo>
                    <a:pt x="56668" y="118888"/>
                  </a:lnTo>
                  <a:lnTo>
                    <a:pt x="56833" y="118888"/>
                  </a:lnTo>
                  <a:lnTo>
                    <a:pt x="56833" y="118888"/>
                  </a:lnTo>
                  <a:lnTo>
                    <a:pt x="56833" y="118888"/>
                  </a:lnTo>
                  <a:lnTo>
                    <a:pt x="56668" y="118888"/>
                  </a:lnTo>
                  <a:lnTo>
                    <a:pt x="56833" y="118888"/>
                  </a:lnTo>
                  <a:lnTo>
                    <a:pt x="56833" y="118888"/>
                  </a:lnTo>
                  <a:lnTo>
                    <a:pt x="56833" y="118571"/>
                  </a:lnTo>
                  <a:lnTo>
                    <a:pt x="56997" y="118571"/>
                  </a:lnTo>
                  <a:lnTo>
                    <a:pt x="57573" y="117777"/>
                  </a:lnTo>
                  <a:lnTo>
                    <a:pt x="57573" y="117777"/>
                  </a:lnTo>
                  <a:lnTo>
                    <a:pt x="57984" y="117777"/>
                  </a:lnTo>
                  <a:lnTo>
                    <a:pt x="58149" y="117777"/>
                  </a:lnTo>
                  <a:lnTo>
                    <a:pt x="58560" y="117777"/>
                  </a:lnTo>
                  <a:lnTo>
                    <a:pt x="58807" y="117777"/>
                  </a:lnTo>
                  <a:lnTo>
                    <a:pt x="58971" y="118253"/>
                  </a:lnTo>
                  <a:lnTo>
                    <a:pt x="58971" y="118253"/>
                  </a:lnTo>
                  <a:lnTo>
                    <a:pt x="59383" y="118253"/>
                  </a:lnTo>
                  <a:lnTo>
                    <a:pt x="59547" y="118253"/>
                  </a:lnTo>
                  <a:lnTo>
                    <a:pt x="59383" y="118253"/>
                  </a:lnTo>
                  <a:lnTo>
                    <a:pt x="59136" y="117777"/>
                  </a:lnTo>
                  <a:lnTo>
                    <a:pt x="59136" y="117777"/>
                  </a:lnTo>
                  <a:lnTo>
                    <a:pt x="58971" y="117777"/>
                  </a:lnTo>
                  <a:lnTo>
                    <a:pt x="58971" y="117777"/>
                  </a:lnTo>
                  <a:lnTo>
                    <a:pt x="59136" y="117777"/>
                  </a:lnTo>
                  <a:lnTo>
                    <a:pt x="59136" y="117777"/>
                  </a:lnTo>
                  <a:lnTo>
                    <a:pt x="59136" y="117460"/>
                  </a:lnTo>
                  <a:lnTo>
                    <a:pt x="59383" y="117460"/>
                  </a:lnTo>
                  <a:lnTo>
                    <a:pt x="59383" y="117460"/>
                  </a:lnTo>
                  <a:lnTo>
                    <a:pt x="59547" y="117460"/>
                  </a:lnTo>
                  <a:lnTo>
                    <a:pt x="59958" y="116984"/>
                  </a:lnTo>
                  <a:lnTo>
                    <a:pt x="60123" y="116984"/>
                  </a:lnTo>
                  <a:lnTo>
                    <a:pt x="60123" y="116984"/>
                  </a:lnTo>
                  <a:lnTo>
                    <a:pt x="60287" y="116984"/>
                  </a:lnTo>
                  <a:lnTo>
                    <a:pt x="60287" y="116984"/>
                  </a:lnTo>
                  <a:lnTo>
                    <a:pt x="60699" y="116984"/>
                  </a:lnTo>
                  <a:lnTo>
                    <a:pt x="60863" y="116984"/>
                  </a:lnTo>
                  <a:lnTo>
                    <a:pt x="60863" y="116984"/>
                  </a:lnTo>
                  <a:lnTo>
                    <a:pt x="61110" y="116984"/>
                  </a:lnTo>
                  <a:lnTo>
                    <a:pt x="61110" y="116984"/>
                  </a:lnTo>
                  <a:lnTo>
                    <a:pt x="61274" y="116984"/>
                  </a:lnTo>
                  <a:lnTo>
                    <a:pt x="61274" y="116984"/>
                  </a:lnTo>
                  <a:lnTo>
                    <a:pt x="61274" y="116666"/>
                  </a:lnTo>
                  <a:lnTo>
                    <a:pt x="61274" y="116666"/>
                  </a:lnTo>
                  <a:lnTo>
                    <a:pt x="61274" y="116666"/>
                  </a:lnTo>
                  <a:lnTo>
                    <a:pt x="61274" y="116666"/>
                  </a:lnTo>
                  <a:lnTo>
                    <a:pt x="61274" y="116349"/>
                  </a:lnTo>
                  <a:lnTo>
                    <a:pt x="61274" y="116349"/>
                  </a:lnTo>
                  <a:lnTo>
                    <a:pt x="61274" y="116349"/>
                  </a:lnTo>
                  <a:lnTo>
                    <a:pt x="61521" y="115555"/>
                  </a:lnTo>
                  <a:lnTo>
                    <a:pt x="61521" y="115555"/>
                  </a:lnTo>
                  <a:lnTo>
                    <a:pt x="61110" y="115873"/>
                  </a:lnTo>
                  <a:lnTo>
                    <a:pt x="61110" y="115873"/>
                  </a:lnTo>
                  <a:lnTo>
                    <a:pt x="60863" y="115873"/>
                  </a:lnTo>
                  <a:lnTo>
                    <a:pt x="60863" y="115873"/>
                  </a:lnTo>
                  <a:lnTo>
                    <a:pt x="60699" y="115873"/>
                  </a:lnTo>
                  <a:lnTo>
                    <a:pt x="60534" y="115873"/>
                  </a:lnTo>
                  <a:lnTo>
                    <a:pt x="60534" y="115873"/>
                  </a:lnTo>
                  <a:lnTo>
                    <a:pt x="60534" y="115555"/>
                  </a:lnTo>
                  <a:lnTo>
                    <a:pt x="60534" y="115555"/>
                  </a:lnTo>
                  <a:lnTo>
                    <a:pt x="60699" y="115238"/>
                  </a:lnTo>
                  <a:lnTo>
                    <a:pt x="60699" y="114761"/>
                  </a:lnTo>
                  <a:lnTo>
                    <a:pt x="60863" y="114761"/>
                  </a:lnTo>
                  <a:lnTo>
                    <a:pt x="60863" y="114761"/>
                  </a:lnTo>
                  <a:lnTo>
                    <a:pt x="61110" y="114761"/>
                  </a:lnTo>
                  <a:lnTo>
                    <a:pt x="61110" y="114444"/>
                  </a:lnTo>
                  <a:lnTo>
                    <a:pt x="61110" y="114444"/>
                  </a:lnTo>
                  <a:lnTo>
                    <a:pt x="61110" y="114444"/>
                  </a:lnTo>
                  <a:lnTo>
                    <a:pt x="61274" y="114444"/>
                  </a:lnTo>
                  <a:lnTo>
                    <a:pt x="61686" y="114126"/>
                  </a:lnTo>
                  <a:lnTo>
                    <a:pt x="61850" y="114126"/>
                  </a:lnTo>
                  <a:lnTo>
                    <a:pt x="61850" y="114126"/>
                  </a:lnTo>
                  <a:lnTo>
                    <a:pt x="62261" y="113650"/>
                  </a:lnTo>
                  <a:lnTo>
                    <a:pt x="62426" y="113650"/>
                  </a:lnTo>
                  <a:lnTo>
                    <a:pt x="62426" y="113650"/>
                  </a:lnTo>
                  <a:lnTo>
                    <a:pt x="62673" y="113650"/>
                  </a:lnTo>
                  <a:lnTo>
                    <a:pt x="62673" y="113650"/>
                  </a:lnTo>
                  <a:lnTo>
                    <a:pt x="62837" y="113650"/>
                  </a:lnTo>
                  <a:lnTo>
                    <a:pt x="63002" y="113650"/>
                  </a:lnTo>
                  <a:lnTo>
                    <a:pt x="63413" y="113333"/>
                  </a:lnTo>
                  <a:lnTo>
                    <a:pt x="63577" y="113333"/>
                  </a:lnTo>
                  <a:lnTo>
                    <a:pt x="63577" y="113333"/>
                  </a:lnTo>
                  <a:lnTo>
                    <a:pt x="63824" y="113333"/>
                  </a:lnTo>
                  <a:lnTo>
                    <a:pt x="63824" y="113333"/>
                  </a:lnTo>
                  <a:lnTo>
                    <a:pt x="63824" y="113333"/>
                  </a:lnTo>
                  <a:lnTo>
                    <a:pt x="63989" y="113333"/>
                  </a:lnTo>
                  <a:lnTo>
                    <a:pt x="63989" y="113333"/>
                  </a:lnTo>
                  <a:lnTo>
                    <a:pt x="63989" y="113333"/>
                  </a:lnTo>
                  <a:lnTo>
                    <a:pt x="63989" y="113333"/>
                  </a:lnTo>
                  <a:lnTo>
                    <a:pt x="63989" y="113333"/>
                  </a:lnTo>
                  <a:lnTo>
                    <a:pt x="63989" y="113650"/>
                  </a:lnTo>
                  <a:lnTo>
                    <a:pt x="64235" y="113650"/>
                  </a:lnTo>
                  <a:lnTo>
                    <a:pt x="64235" y="113650"/>
                  </a:lnTo>
                  <a:lnTo>
                    <a:pt x="64400" y="113650"/>
                  </a:lnTo>
                  <a:lnTo>
                    <a:pt x="64400" y="113650"/>
                  </a:lnTo>
                  <a:lnTo>
                    <a:pt x="64235" y="113650"/>
                  </a:lnTo>
                  <a:lnTo>
                    <a:pt x="64235" y="113650"/>
                  </a:lnTo>
                  <a:lnTo>
                    <a:pt x="64400" y="113650"/>
                  </a:lnTo>
                  <a:lnTo>
                    <a:pt x="64400" y="113650"/>
                  </a:lnTo>
                  <a:lnTo>
                    <a:pt x="64400" y="113650"/>
                  </a:lnTo>
                  <a:lnTo>
                    <a:pt x="64400" y="113650"/>
                  </a:lnTo>
                  <a:lnTo>
                    <a:pt x="64400" y="113650"/>
                  </a:lnTo>
                  <a:lnTo>
                    <a:pt x="64400" y="113650"/>
                  </a:lnTo>
                  <a:lnTo>
                    <a:pt x="64400" y="113650"/>
                  </a:lnTo>
                  <a:lnTo>
                    <a:pt x="64564" y="113650"/>
                  </a:lnTo>
                  <a:lnTo>
                    <a:pt x="64811" y="113650"/>
                  </a:lnTo>
                  <a:lnTo>
                    <a:pt x="64976" y="113650"/>
                  </a:lnTo>
                  <a:lnTo>
                    <a:pt x="64976" y="113650"/>
                  </a:lnTo>
                  <a:lnTo>
                    <a:pt x="64811" y="113650"/>
                  </a:lnTo>
                  <a:lnTo>
                    <a:pt x="64811" y="113650"/>
                  </a:lnTo>
                  <a:lnTo>
                    <a:pt x="64564" y="113650"/>
                  </a:lnTo>
                  <a:lnTo>
                    <a:pt x="64564" y="113650"/>
                  </a:lnTo>
                  <a:lnTo>
                    <a:pt x="64811" y="113333"/>
                  </a:lnTo>
                  <a:lnTo>
                    <a:pt x="64811" y="113333"/>
                  </a:lnTo>
                  <a:lnTo>
                    <a:pt x="64976" y="113333"/>
                  </a:lnTo>
                  <a:lnTo>
                    <a:pt x="64976" y="112857"/>
                  </a:lnTo>
                  <a:lnTo>
                    <a:pt x="64976" y="112857"/>
                  </a:lnTo>
                  <a:lnTo>
                    <a:pt x="64811" y="113333"/>
                  </a:lnTo>
                  <a:lnTo>
                    <a:pt x="64811" y="113333"/>
                  </a:lnTo>
                  <a:lnTo>
                    <a:pt x="64564" y="113333"/>
                  </a:lnTo>
                  <a:lnTo>
                    <a:pt x="64564" y="113333"/>
                  </a:lnTo>
                  <a:lnTo>
                    <a:pt x="64811" y="112857"/>
                  </a:lnTo>
                  <a:lnTo>
                    <a:pt x="64811" y="112857"/>
                  </a:lnTo>
                  <a:lnTo>
                    <a:pt x="64400" y="112857"/>
                  </a:lnTo>
                  <a:lnTo>
                    <a:pt x="64400" y="112857"/>
                  </a:lnTo>
                  <a:lnTo>
                    <a:pt x="64400" y="112857"/>
                  </a:lnTo>
                  <a:lnTo>
                    <a:pt x="64400" y="112857"/>
                  </a:lnTo>
                  <a:lnTo>
                    <a:pt x="64400" y="112857"/>
                  </a:lnTo>
                  <a:lnTo>
                    <a:pt x="64400" y="112857"/>
                  </a:lnTo>
                  <a:lnTo>
                    <a:pt x="64400" y="112857"/>
                  </a:lnTo>
                  <a:lnTo>
                    <a:pt x="64400" y="112857"/>
                  </a:lnTo>
                  <a:lnTo>
                    <a:pt x="64400" y="112857"/>
                  </a:lnTo>
                  <a:lnTo>
                    <a:pt x="64400" y="112857"/>
                  </a:lnTo>
                  <a:lnTo>
                    <a:pt x="64400" y="112857"/>
                  </a:lnTo>
                  <a:lnTo>
                    <a:pt x="64235" y="112857"/>
                  </a:lnTo>
                  <a:lnTo>
                    <a:pt x="63989" y="113333"/>
                  </a:lnTo>
                  <a:lnTo>
                    <a:pt x="63989" y="112857"/>
                  </a:lnTo>
                  <a:lnTo>
                    <a:pt x="63989" y="112857"/>
                  </a:lnTo>
                  <a:lnTo>
                    <a:pt x="64400" y="112857"/>
                  </a:lnTo>
                  <a:lnTo>
                    <a:pt x="64400" y="112857"/>
                  </a:lnTo>
                  <a:lnTo>
                    <a:pt x="64564" y="112857"/>
                  </a:lnTo>
                  <a:lnTo>
                    <a:pt x="64564" y="112857"/>
                  </a:lnTo>
                  <a:lnTo>
                    <a:pt x="64564" y="112857"/>
                  </a:lnTo>
                  <a:lnTo>
                    <a:pt x="64564" y="112857"/>
                  </a:lnTo>
                  <a:lnTo>
                    <a:pt x="64564" y="112857"/>
                  </a:lnTo>
                  <a:lnTo>
                    <a:pt x="64811" y="112539"/>
                  </a:lnTo>
                  <a:lnTo>
                    <a:pt x="64811" y="112857"/>
                  </a:lnTo>
                  <a:lnTo>
                    <a:pt x="64811" y="112857"/>
                  </a:lnTo>
                  <a:lnTo>
                    <a:pt x="64811" y="112857"/>
                  </a:lnTo>
                  <a:lnTo>
                    <a:pt x="64976" y="112857"/>
                  </a:lnTo>
                  <a:lnTo>
                    <a:pt x="64976" y="112857"/>
                  </a:lnTo>
                  <a:lnTo>
                    <a:pt x="64976" y="112857"/>
                  </a:lnTo>
                  <a:lnTo>
                    <a:pt x="64811" y="112857"/>
                  </a:lnTo>
                  <a:lnTo>
                    <a:pt x="64811" y="112857"/>
                  </a:lnTo>
                  <a:lnTo>
                    <a:pt x="64811" y="112857"/>
                  </a:lnTo>
                  <a:lnTo>
                    <a:pt x="64811" y="113333"/>
                  </a:lnTo>
                  <a:lnTo>
                    <a:pt x="64811" y="113333"/>
                  </a:lnTo>
                  <a:lnTo>
                    <a:pt x="65140" y="112857"/>
                  </a:lnTo>
                  <a:lnTo>
                    <a:pt x="65387" y="112539"/>
                  </a:lnTo>
                  <a:lnTo>
                    <a:pt x="65551" y="112539"/>
                  </a:lnTo>
                  <a:lnTo>
                    <a:pt x="65551" y="112539"/>
                  </a:lnTo>
                  <a:lnTo>
                    <a:pt x="65716" y="112539"/>
                  </a:lnTo>
                  <a:lnTo>
                    <a:pt x="65962" y="112539"/>
                  </a:lnTo>
                  <a:lnTo>
                    <a:pt x="66291" y="112222"/>
                  </a:lnTo>
                  <a:lnTo>
                    <a:pt x="66538" y="112222"/>
                  </a:lnTo>
                  <a:lnTo>
                    <a:pt x="66703" y="111746"/>
                  </a:lnTo>
                  <a:lnTo>
                    <a:pt x="66703" y="111746"/>
                  </a:lnTo>
                  <a:lnTo>
                    <a:pt x="66703" y="111746"/>
                  </a:lnTo>
                  <a:lnTo>
                    <a:pt x="66703" y="111746"/>
                  </a:lnTo>
                  <a:lnTo>
                    <a:pt x="67525" y="111111"/>
                  </a:lnTo>
                  <a:lnTo>
                    <a:pt x="67854" y="110317"/>
                  </a:lnTo>
                  <a:lnTo>
                    <a:pt x="68265" y="110317"/>
                  </a:lnTo>
                  <a:lnTo>
                    <a:pt x="68430" y="110000"/>
                  </a:lnTo>
                  <a:lnTo>
                    <a:pt x="68430" y="110317"/>
                  </a:lnTo>
                  <a:lnTo>
                    <a:pt x="68677" y="110000"/>
                  </a:lnTo>
                  <a:lnTo>
                    <a:pt x="69252" y="109206"/>
                  </a:lnTo>
                  <a:lnTo>
                    <a:pt x="69664" y="108730"/>
                  </a:lnTo>
                  <a:lnTo>
                    <a:pt x="69828" y="108730"/>
                  </a:lnTo>
                  <a:lnTo>
                    <a:pt x="69828" y="108412"/>
                  </a:lnTo>
                  <a:lnTo>
                    <a:pt x="69664" y="108412"/>
                  </a:lnTo>
                  <a:lnTo>
                    <a:pt x="69417" y="108095"/>
                  </a:lnTo>
                  <a:lnTo>
                    <a:pt x="69828" y="108412"/>
                  </a:lnTo>
                  <a:lnTo>
                    <a:pt x="70239" y="108095"/>
                  </a:lnTo>
                  <a:lnTo>
                    <a:pt x="70404" y="107619"/>
                  </a:lnTo>
                  <a:lnTo>
                    <a:pt x="70404" y="107619"/>
                  </a:lnTo>
                  <a:lnTo>
                    <a:pt x="70815" y="107301"/>
                  </a:lnTo>
                  <a:lnTo>
                    <a:pt x="71144" y="106984"/>
                  </a:lnTo>
                  <a:lnTo>
                    <a:pt x="71391" y="106507"/>
                  </a:lnTo>
                  <a:lnTo>
                    <a:pt x="71555" y="106507"/>
                  </a:lnTo>
                  <a:lnTo>
                    <a:pt x="71720" y="106190"/>
                  </a:lnTo>
                  <a:lnTo>
                    <a:pt x="71720" y="105873"/>
                  </a:lnTo>
                  <a:lnTo>
                    <a:pt x="71967" y="105873"/>
                  </a:lnTo>
                  <a:lnTo>
                    <a:pt x="72378" y="105873"/>
                  </a:lnTo>
                  <a:lnTo>
                    <a:pt x="72954" y="105079"/>
                  </a:lnTo>
                  <a:lnTo>
                    <a:pt x="73118" y="104603"/>
                  </a:lnTo>
                  <a:lnTo>
                    <a:pt x="73283" y="104603"/>
                  </a:lnTo>
                  <a:lnTo>
                    <a:pt x="73694" y="104285"/>
                  </a:lnTo>
                  <a:lnTo>
                    <a:pt x="73858" y="104285"/>
                  </a:lnTo>
                  <a:lnTo>
                    <a:pt x="74105" y="104285"/>
                  </a:lnTo>
                  <a:lnTo>
                    <a:pt x="74434" y="103968"/>
                  </a:lnTo>
                  <a:lnTo>
                    <a:pt x="74845" y="103492"/>
                  </a:lnTo>
                  <a:lnTo>
                    <a:pt x="75092" y="103174"/>
                  </a:lnTo>
                  <a:lnTo>
                    <a:pt x="75668" y="102857"/>
                  </a:lnTo>
                  <a:lnTo>
                    <a:pt x="75997" y="102063"/>
                  </a:lnTo>
                  <a:lnTo>
                    <a:pt x="76408" y="101746"/>
                  </a:lnTo>
                  <a:lnTo>
                    <a:pt x="76984" y="100952"/>
                  </a:lnTo>
                  <a:lnTo>
                    <a:pt x="77148" y="100476"/>
                  </a:lnTo>
                  <a:lnTo>
                    <a:pt x="77395" y="100158"/>
                  </a:lnTo>
                  <a:lnTo>
                    <a:pt x="77559" y="99841"/>
                  </a:lnTo>
                  <a:lnTo>
                    <a:pt x="77395" y="99365"/>
                  </a:lnTo>
                  <a:lnTo>
                    <a:pt x="77395" y="99365"/>
                  </a:lnTo>
                  <a:lnTo>
                    <a:pt x="76984" y="99365"/>
                  </a:lnTo>
                  <a:lnTo>
                    <a:pt x="76572" y="99047"/>
                  </a:lnTo>
                  <a:lnTo>
                    <a:pt x="76408" y="99047"/>
                  </a:lnTo>
                  <a:lnTo>
                    <a:pt x="76244" y="99047"/>
                  </a:lnTo>
                  <a:lnTo>
                    <a:pt x="76244" y="98730"/>
                  </a:lnTo>
                  <a:lnTo>
                    <a:pt x="75997" y="98730"/>
                  </a:lnTo>
                  <a:lnTo>
                    <a:pt x="76819" y="99047"/>
                  </a:lnTo>
                  <a:lnTo>
                    <a:pt x="77148" y="99047"/>
                  </a:lnTo>
                  <a:lnTo>
                    <a:pt x="77395" y="99047"/>
                  </a:lnTo>
                  <a:lnTo>
                    <a:pt x="77395" y="99365"/>
                  </a:lnTo>
                  <a:lnTo>
                    <a:pt x="77559" y="99365"/>
                  </a:lnTo>
                  <a:lnTo>
                    <a:pt x="77806" y="99365"/>
                  </a:lnTo>
                  <a:lnTo>
                    <a:pt x="77971" y="99365"/>
                  </a:lnTo>
                  <a:lnTo>
                    <a:pt x="78135" y="98730"/>
                  </a:lnTo>
                  <a:lnTo>
                    <a:pt x="78546" y="98253"/>
                  </a:lnTo>
                  <a:lnTo>
                    <a:pt x="79122" y="97460"/>
                  </a:lnTo>
                  <a:lnTo>
                    <a:pt x="79533" y="97142"/>
                  </a:lnTo>
                  <a:lnTo>
                    <a:pt x="79698" y="96825"/>
                  </a:lnTo>
                  <a:lnTo>
                    <a:pt x="79862" y="96825"/>
                  </a:lnTo>
                  <a:lnTo>
                    <a:pt x="80109" y="96349"/>
                  </a:lnTo>
                  <a:lnTo>
                    <a:pt x="80109" y="96349"/>
                  </a:lnTo>
                  <a:lnTo>
                    <a:pt x="80274" y="96349"/>
                  </a:lnTo>
                  <a:lnTo>
                    <a:pt x="80274" y="96031"/>
                  </a:lnTo>
                  <a:lnTo>
                    <a:pt x="80685" y="96031"/>
                  </a:lnTo>
                  <a:lnTo>
                    <a:pt x="81261" y="95714"/>
                  </a:lnTo>
                  <a:lnTo>
                    <a:pt x="81425" y="95714"/>
                  </a:lnTo>
                  <a:lnTo>
                    <a:pt x="81672" y="95714"/>
                  </a:lnTo>
                  <a:lnTo>
                    <a:pt x="81836" y="95238"/>
                  </a:lnTo>
                  <a:lnTo>
                    <a:pt x="82001" y="94920"/>
                  </a:lnTo>
                  <a:lnTo>
                    <a:pt x="82577" y="93333"/>
                  </a:lnTo>
                  <a:lnTo>
                    <a:pt x="82988" y="93333"/>
                  </a:lnTo>
                  <a:lnTo>
                    <a:pt x="83235" y="93015"/>
                  </a:lnTo>
                  <a:lnTo>
                    <a:pt x="83235" y="93015"/>
                  </a:lnTo>
                  <a:lnTo>
                    <a:pt x="83399" y="93015"/>
                  </a:lnTo>
                  <a:lnTo>
                    <a:pt x="83564" y="92698"/>
                  </a:lnTo>
                  <a:lnTo>
                    <a:pt x="83564" y="93015"/>
                  </a:lnTo>
                  <a:lnTo>
                    <a:pt x="83810" y="92698"/>
                  </a:lnTo>
                  <a:lnTo>
                    <a:pt x="83810" y="93015"/>
                  </a:lnTo>
                  <a:lnTo>
                    <a:pt x="84139" y="92698"/>
                  </a:lnTo>
                  <a:lnTo>
                    <a:pt x="84386" y="92698"/>
                  </a:lnTo>
                  <a:lnTo>
                    <a:pt x="85126" y="92698"/>
                  </a:lnTo>
                  <a:lnTo>
                    <a:pt x="85126" y="92698"/>
                  </a:lnTo>
                  <a:lnTo>
                    <a:pt x="85538" y="92698"/>
                  </a:lnTo>
                  <a:lnTo>
                    <a:pt x="86113" y="92698"/>
                  </a:lnTo>
                  <a:lnTo>
                    <a:pt x="86525" y="92698"/>
                  </a:lnTo>
                  <a:lnTo>
                    <a:pt x="86689" y="92698"/>
                  </a:lnTo>
                  <a:lnTo>
                    <a:pt x="86854" y="92698"/>
                  </a:lnTo>
                  <a:lnTo>
                    <a:pt x="87100" y="92698"/>
                  </a:lnTo>
                  <a:lnTo>
                    <a:pt x="87265" y="92698"/>
                  </a:lnTo>
                  <a:lnTo>
                    <a:pt x="87676" y="92698"/>
                  </a:lnTo>
                  <a:lnTo>
                    <a:pt x="87840" y="92698"/>
                  </a:lnTo>
                  <a:lnTo>
                    <a:pt x="88005" y="92698"/>
                  </a:lnTo>
                  <a:lnTo>
                    <a:pt x="88252" y="92698"/>
                  </a:lnTo>
                  <a:lnTo>
                    <a:pt x="88416" y="92698"/>
                  </a:lnTo>
                  <a:lnTo>
                    <a:pt x="88581" y="92698"/>
                  </a:lnTo>
                  <a:lnTo>
                    <a:pt x="88827" y="92698"/>
                  </a:lnTo>
                  <a:lnTo>
                    <a:pt x="89239" y="92698"/>
                  </a:lnTo>
                  <a:lnTo>
                    <a:pt x="89403" y="92698"/>
                  </a:lnTo>
                  <a:lnTo>
                    <a:pt x="89568" y="93015"/>
                  </a:lnTo>
                  <a:lnTo>
                    <a:pt x="89568" y="93015"/>
                  </a:lnTo>
                  <a:lnTo>
                    <a:pt x="90143" y="93015"/>
                  </a:lnTo>
                  <a:lnTo>
                    <a:pt x="90390" y="93015"/>
                  </a:lnTo>
                  <a:lnTo>
                    <a:pt x="90719" y="93015"/>
                  </a:lnTo>
                  <a:lnTo>
                    <a:pt x="90966" y="92698"/>
                  </a:lnTo>
                  <a:lnTo>
                    <a:pt x="91130" y="92698"/>
                  </a:lnTo>
                  <a:lnTo>
                    <a:pt x="91295" y="92698"/>
                  </a:lnTo>
                  <a:lnTo>
                    <a:pt x="91953" y="92698"/>
                  </a:lnTo>
                  <a:close/>
                  <a:moveTo>
                    <a:pt x="69993" y="108412"/>
                  </a:moveTo>
                  <a:lnTo>
                    <a:pt x="69993" y="108412"/>
                  </a:lnTo>
                  <a:lnTo>
                    <a:pt x="70239" y="108412"/>
                  </a:lnTo>
                  <a:lnTo>
                    <a:pt x="70404" y="108412"/>
                  </a:lnTo>
                  <a:lnTo>
                    <a:pt x="70568" y="108412"/>
                  </a:lnTo>
                  <a:lnTo>
                    <a:pt x="70568" y="108412"/>
                  </a:lnTo>
                  <a:lnTo>
                    <a:pt x="70568" y="108095"/>
                  </a:lnTo>
                  <a:lnTo>
                    <a:pt x="70815" y="107619"/>
                  </a:lnTo>
                  <a:lnTo>
                    <a:pt x="70815" y="107619"/>
                  </a:lnTo>
                  <a:lnTo>
                    <a:pt x="70404" y="108095"/>
                  </a:lnTo>
                  <a:lnTo>
                    <a:pt x="70239" y="108095"/>
                  </a:lnTo>
                  <a:lnTo>
                    <a:pt x="69993" y="108412"/>
                  </a:lnTo>
                  <a:close/>
                  <a:moveTo>
                    <a:pt x="74845" y="103492"/>
                  </a:moveTo>
                  <a:lnTo>
                    <a:pt x="74845" y="103968"/>
                  </a:lnTo>
                  <a:lnTo>
                    <a:pt x="74845" y="103968"/>
                  </a:lnTo>
                  <a:lnTo>
                    <a:pt x="75092" y="103492"/>
                  </a:lnTo>
                  <a:lnTo>
                    <a:pt x="75257" y="103492"/>
                  </a:lnTo>
                  <a:lnTo>
                    <a:pt x="75257" y="103492"/>
                  </a:lnTo>
                  <a:lnTo>
                    <a:pt x="75092" y="103492"/>
                  </a:lnTo>
                  <a:lnTo>
                    <a:pt x="74845" y="103492"/>
                  </a:lnTo>
                  <a:close/>
                  <a:moveTo>
                    <a:pt x="69006" y="110000"/>
                  </a:moveTo>
                  <a:lnTo>
                    <a:pt x="70239" y="110000"/>
                  </a:lnTo>
                  <a:lnTo>
                    <a:pt x="70815" y="110000"/>
                  </a:lnTo>
                  <a:lnTo>
                    <a:pt x="71391" y="110000"/>
                  </a:lnTo>
                  <a:lnTo>
                    <a:pt x="71720" y="110000"/>
                  </a:lnTo>
                  <a:lnTo>
                    <a:pt x="72378" y="110000"/>
                  </a:lnTo>
                  <a:lnTo>
                    <a:pt x="72954" y="110000"/>
                  </a:lnTo>
                  <a:lnTo>
                    <a:pt x="73283" y="109206"/>
                  </a:lnTo>
                  <a:lnTo>
                    <a:pt x="73529" y="108730"/>
                  </a:lnTo>
                  <a:lnTo>
                    <a:pt x="73529" y="109206"/>
                  </a:lnTo>
                  <a:lnTo>
                    <a:pt x="73694" y="109206"/>
                  </a:lnTo>
                  <a:lnTo>
                    <a:pt x="73858" y="108730"/>
                  </a:lnTo>
                  <a:lnTo>
                    <a:pt x="73858" y="108730"/>
                  </a:lnTo>
                  <a:lnTo>
                    <a:pt x="73858" y="108730"/>
                  </a:lnTo>
                  <a:lnTo>
                    <a:pt x="74105" y="108730"/>
                  </a:lnTo>
                  <a:lnTo>
                    <a:pt x="74105" y="109206"/>
                  </a:lnTo>
                  <a:lnTo>
                    <a:pt x="74105" y="109206"/>
                  </a:lnTo>
                  <a:lnTo>
                    <a:pt x="74105" y="108730"/>
                  </a:lnTo>
                  <a:lnTo>
                    <a:pt x="74105" y="108730"/>
                  </a:lnTo>
                  <a:lnTo>
                    <a:pt x="74270" y="108412"/>
                  </a:lnTo>
                  <a:lnTo>
                    <a:pt x="74270" y="108412"/>
                  </a:lnTo>
                  <a:lnTo>
                    <a:pt x="74270" y="108412"/>
                  </a:lnTo>
                  <a:lnTo>
                    <a:pt x="74434" y="108412"/>
                  </a:lnTo>
                  <a:lnTo>
                    <a:pt x="74434" y="108412"/>
                  </a:lnTo>
                  <a:lnTo>
                    <a:pt x="74434" y="108412"/>
                  </a:lnTo>
                  <a:lnTo>
                    <a:pt x="74434" y="108095"/>
                  </a:lnTo>
                  <a:lnTo>
                    <a:pt x="74681" y="107619"/>
                  </a:lnTo>
                  <a:lnTo>
                    <a:pt x="74845" y="107619"/>
                  </a:lnTo>
                  <a:lnTo>
                    <a:pt x="75092" y="107301"/>
                  </a:lnTo>
                  <a:lnTo>
                    <a:pt x="75092" y="107301"/>
                  </a:lnTo>
                  <a:lnTo>
                    <a:pt x="75257" y="106984"/>
                  </a:lnTo>
                  <a:lnTo>
                    <a:pt x="75257" y="106984"/>
                  </a:lnTo>
                  <a:lnTo>
                    <a:pt x="75257" y="106984"/>
                  </a:lnTo>
                  <a:lnTo>
                    <a:pt x="75257" y="106507"/>
                  </a:lnTo>
                  <a:lnTo>
                    <a:pt x="75421" y="106507"/>
                  </a:lnTo>
                  <a:lnTo>
                    <a:pt x="75421" y="106190"/>
                  </a:lnTo>
                  <a:lnTo>
                    <a:pt x="75668" y="105873"/>
                  </a:lnTo>
                  <a:lnTo>
                    <a:pt x="75668" y="105396"/>
                  </a:lnTo>
                  <a:lnTo>
                    <a:pt x="75997" y="105079"/>
                  </a:lnTo>
                  <a:lnTo>
                    <a:pt x="75997" y="104603"/>
                  </a:lnTo>
                  <a:lnTo>
                    <a:pt x="76244" y="104285"/>
                  </a:lnTo>
                  <a:lnTo>
                    <a:pt x="76408" y="103968"/>
                  </a:lnTo>
                  <a:lnTo>
                    <a:pt x="76819" y="103492"/>
                  </a:lnTo>
                  <a:lnTo>
                    <a:pt x="76984" y="103174"/>
                  </a:lnTo>
                  <a:lnTo>
                    <a:pt x="77395" y="102380"/>
                  </a:lnTo>
                  <a:lnTo>
                    <a:pt x="77559" y="102063"/>
                  </a:lnTo>
                  <a:lnTo>
                    <a:pt x="77559" y="102063"/>
                  </a:lnTo>
                  <a:lnTo>
                    <a:pt x="77806" y="101746"/>
                  </a:lnTo>
                  <a:lnTo>
                    <a:pt x="77971" y="102063"/>
                  </a:lnTo>
                  <a:lnTo>
                    <a:pt x="77971" y="102063"/>
                  </a:lnTo>
                  <a:lnTo>
                    <a:pt x="77971" y="102380"/>
                  </a:lnTo>
                  <a:lnTo>
                    <a:pt x="77971" y="102380"/>
                  </a:lnTo>
                  <a:lnTo>
                    <a:pt x="77971" y="102380"/>
                  </a:lnTo>
                  <a:lnTo>
                    <a:pt x="77971" y="102857"/>
                  </a:lnTo>
                  <a:lnTo>
                    <a:pt x="77971" y="102857"/>
                  </a:lnTo>
                  <a:lnTo>
                    <a:pt x="78135" y="102857"/>
                  </a:lnTo>
                  <a:lnTo>
                    <a:pt x="78382" y="102380"/>
                  </a:lnTo>
                  <a:lnTo>
                    <a:pt x="78711" y="102380"/>
                  </a:lnTo>
                  <a:lnTo>
                    <a:pt x="78711" y="102380"/>
                  </a:lnTo>
                  <a:lnTo>
                    <a:pt x="78958" y="102063"/>
                  </a:lnTo>
                  <a:lnTo>
                    <a:pt x="78958" y="102063"/>
                  </a:lnTo>
                  <a:lnTo>
                    <a:pt x="79122" y="102063"/>
                  </a:lnTo>
                  <a:lnTo>
                    <a:pt x="79122" y="102380"/>
                  </a:lnTo>
                  <a:lnTo>
                    <a:pt x="79287" y="102857"/>
                  </a:lnTo>
                  <a:lnTo>
                    <a:pt x="79533" y="103174"/>
                  </a:lnTo>
                  <a:lnTo>
                    <a:pt x="79287" y="103492"/>
                  </a:lnTo>
                  <a:lnTo>
                    <a:pt x="79287" y="103968"/>
                  </a:lnTo>
                  <a:lnTo>
                    <a:pt x="79122" y="104603"/>
                  </a:lnTo>
                  <a:lnTo>
                    <a:pt x="79122" y="105079"/>
                  </a:lnTo>
                  <a:lnTo>
                    <a:pt x="78958" y="105396"/>
                  </a:lnTo>
                  <a:lnTo>
                    <a:pt x="78958" y="105873"/>
                  </a:lnTo>
                  <a:lnTo>
                    <a:pt x="78711" y="106507"/>
                  </a:lnTo>
                  <a:lnTo>
                    <a:pt x="78711" y="106984"/>
                  </a:lnTo>
                  <a:lnTo>
                    <a:pt x="78711" y="106984"/>
                  </a:lnTo>
                  <a:lnTo>
                    <a:pt x="78711" y="106984"/>
                  </a:lnTo>
                  <a:lnTo>
                    <a:pt x="78711" y="106984"/>
                  </a:lnTo>
                  <a:lnTo>
                    <a:pt x="78711" y="106984"/>
                  </a:lnTo>
                  <a:lnTo>
                    <a:pt x="78711" y="107301"/>
                  </a:lnTo>
                  <a:lnTo>
                    <a:pt x="78711" y="107301"/>
                  </a:lnTo>
                  <a:lnTo>
                    <a:pt x="78546" y="107301"/>
                  </a:lnTo>
                  <a:lnTo>
                    <a:pt x="78546" y="107301"/>
                  </a:lnTo>
                  <a:lnTo>
                    <a:pt x="78546" y="107619"/>
                  </a:lnTo>
                  <a:lnTo>
                    <a:pt x="78546" y="107619"/>
                  </a:lnTo>
                  <a:lnTo>
                    <a:pt x="78546" y="107619"/>
                  </a:lnTo>
                  <a:lnTo>
                    <a:pt x="78546" y="107619"/>
                  </a:lnTo>
                  <a:lnTo>
                    <a:pt x="78711" y="107619"/>
                  </a:lnTo>
                  <a:lnTo>
                    <a:pt x="78711" y="107619"/>
                  </a:lnTo>
                  <a:lnTo>
                    <a:pt x="78711" y="108095"/>
                  </a:lnTo>
                  <a:lnTo>
                    <a:pt x="78958" y="108095"/>
                  </a:lnTo>
                  <a:lnTo>
                    <a:pt x="78958" y="108095"/>
                  </a:lnTo>
                  <a:lnTo>
                    <a:pt x="78958" y="108095"/>
                  </a:lnTo>
                  <a:lnTo>
                    <a:pt x="78958" y="108095"/>
                  </a:lnTo>
                  <a:lnTo>
                    <a:pt x="78958" y="108095"/>
                  </a:lnTo>
                  <a:lnTo>
                    <a:pt x="78958" y="108095"/>
                  </a:lnTo>
                  <a:lnTo>
                    <a:pt x="78711" y="108412"/>
                  </a:lnTo>
                  <a:lnTo>
                    <a:pt x="78711" y="108412"/>
                  </a:lnTo>
                  <a:lnTo>
                    <a:pt x="78711" y="108412"/>
                  </a:lnTo>
                  <a:lnTo>
                    <a:pt x="78711" y="108412"/>
                  </a:lnTo>
                  <a:lnTo>
                    <a:pt x="78711" y="108730"/>
                  </a:lnTo>
                  <a:lnTo>
                    <a:pt x="78711" y="108730"/>
                  </a:lnTo>
                  <a:lnTo>
                    <a:pt x="78711" y="108730"/>
                  </a:lnTo>
                  <a:lnTo>
                    <a:pt x="78711" y="109206"/>
                  </a:lnTo>
                  <a:lnTo>
                    <a:pt x="78711" y="109206"/>
                  </a:lnTo>
                  <a:lnTo>
                    <a:pt x="78711" y="109206"/>
                  </a:lnTo>
                  <a:lnTo>
                    <a:pt x="78711" y="109206"/>
                  </a:lnTo>
                  <a:lnTo>
                    <a:pt x="78958" y="109523"/>
                  </a:lnTo>
                  <a:lnTo>
                    <a:pt x="78958" y="109206"/>
                  </a:lnTo>
                  <a:lnTo>
                    <a:pt x="78958" y="109206"/>
                  </a:lnTo>
                  <a:lnTo>
                    <a:pt x="78958" y="109206"/>
                  </a:lnTo>
                  <a:lnTo>
                    <a:pt x="78958" y="109206"/>
                  </a:lnTo>
                  <a:lnTo>
                    <a:pt x="79122" y="109206"/>
                  </a:lnTo>
                  <a:lnTo>
                    <a:pt x="79122" y="109206"/>
                  </a:lnTo>
                  <a:lnTo>
                    <a:pt x="79122" y="109523"/>
                  </a:lnTo>
                  <a:lnTo>
                    <a:pt x="79287" y="109523"/>
                  </a:lnTo>
                  <a:lnTo>
                    <a:pt x="79287" y="109523"/>
                  </a:lnTo>
                  <a:lnTo>
                    <a:pt x="79287" y="109523"/>
                  </a:lnTo>
                  <a:lnTo>
                    <a:pt x="79287" y="109523"/>
                  </a:lnTo>
                  <a:lnTo>
                    <a:pt x="79698" y="109523"/>
                  </a:lnTo>
                  <a:lnTo>
                    <a:pt x="79862" y="109523"/>
                  </a:lnTo>
                  <a:lnTo>
                    <a:pt x="80109" y="109523"/>
                  </a:lnTo>
                  <a:lnTo>
                    <a:pt x="80109" y="109523"/>
                  </a:lnTo>
                  <a:lnTo>
                    <a:pt x="80274" y="109206"/>
                  </a:lnTo>
                  <a:lnTo>
                    <a:pt x="80520" y="109206"/>
                  </a:lnTo>
                  <a:lnTo>
                    <a:pt x="80520" y="109206"/>
                  </a:lnTo>
                  <a:lnTo>
                    <a:pt x="80520" y="108730"/>
                  </a:lnTo>
                  <a:lnTo>
                    <a:pt x="80685" y="108730"/>
                  </a:lnTo>
                  <a:lnTo>
                    <a:pt x="80685" y="108412"/>
                  </a:lnTo>
                  <a:lnTo>
                    <a:pt x="80685" y="108412"/>
                  </a:lnTo>
                  <a:lnTo>
                    <a:pt x="80685" y="108730"/>
                  </a:lnTo>
                  <a:lnTo>
                    <a:pt x="80685" y="108730"/>
                  </a:lnTo>
                  <a:lnTo>
                    <a:pt x="80685" y="109206"/>
                  </a:lnTo>
                  <a:lnTo>
                    <a:pt x="80849" y="109206"/>
                  </a:lnTo>
                  <a:lnTo>
                    <a:pt x="81425" y="108730"/>
                  </a:lnTo>
                  <a:lnTo>
                    <a:pt x="81836" y="108412"/>
                  </a:lnTo>
                  <a:lnTo>
                    <a:pt x="82248" y="108095"/>
                  </a:lnTo>
                  <a:lnTo>
                    <a:pt x="82412" y="107619"/>
                  </a:lnTo>
                  <a:lnTo>
                    <a:pt x="82577" y="107619"/>
                  </a:lnTo>
                  <a:lnTo>
                    <a:pt x="82988" y="107301"/>
                  </a:lnTo>
                  <a:lnTo>
                    <a:pt x="82988" y="106984"/>
                  </a:lnTo>
                  <a:lnTo>
                    <a:pt x="82988" y="106984"/>
                  </a:lnTo>
                  <a:lnTo>
                    <a:pt x="82988" y="106984"/>
                  </a:lnTo>
                  <a:lnTo>
                    <a:pt x="83235" y="107301"/>
                  </a:lnTo>
                  <a:lnTo>
                    <a:pt x="83235" y="107301"/>
                  </a:lnTo>
                  <a:lnTo>
                    <a:pt x="83399" y="107301"/>
                  </a:lnTo>
                  <a:lnTo>
                    <a:pt x="83235" y="107301"/>
                  </a:lnTo>
                  <a:lnTo>
                    <a:pt x="83235" y="107301"/>
                  </a:lnTo>
                  <a:lnTo>
                    <a:pt x="82988" y="107619"/>
                  </a:lnTo>
                  <a:lnTo>
                    <a:pt x="82412" y="108412"/>
                  </a:lnTo>
                  <a:lnTo>
                    <a:pt x="82248" y="108730"/>
                  </a:lnTo>
                  <a:lnTo>
                    <a:pt x="82248" y="108730"/>
                  </a:lnTo>
                  <a:lnTo>
                    <a:pt x="82412" y="108730"/>
                  </a:lnTo>
                  <a:lnTo>
                    <a:pt x="82412" y="108730"/>
                  </a:lnTo>
                  <a:lnTo>
                    <a:pt x="82577" y="108730"/>
                  </a:lnTo>
                  <a:lnTo>
                    <a:pt x="82823" y="108412"/>
                  </a:lnTo>
                  <a:lnTo>
                    <a:pt x="82988" y="108730"/>
                  </a:lnTo>
                  <a:lnTo>
                    <a:pt x="83399" y="108412"/>
                  </a:lnTo>
                  <a:lnTo>
                    <a:pt x="83564" y="108730"/>
                  </a:lnTo>
                  <a:lnTo>
                    <a:pt x="83975" y="108412"/>
                  </a:lnTo>
                  <a:lnTo>
                    <a:pt x="84386" y="108730"/>
                  </a:lnTo>
                  <a:lnTo>
                    <a:pt x="84139" y="108730"/>
                  </a:lnTo>
                  <a:lnTo>
                    <a:pt x="83810" y="108730"/>
                  </a:lnTo>
                  <a:lnTo>
                    <a:pt x="83235" y="109206"/>
                  </a:lnTo>
                  <a:lnTo>
                    <a:pt x="83235" y="109523"/>
                  </a:lnTo>
                  <a:lnTo>
                    <a:pt x="83235" y="110000"/>
                  </a:lnTo>
                  <a:lnTo>
                    <a:pt x="82988" y="109523"/>
                  </a:lnTo>
                  <a:lnTo>
                    <a:pt x="82823" y="109523"/>
                  </a:lnTo>
                  <a:lnTo>
                    <a:pt x="82823" y="109206"/>
                  </a:lnTo>
                  <a:lnTo>
                    <a:pt x="82988" y="109206"/>
                  </a:lnTo>
                  <a:lnTo>
                    <a:pt x="82988" y="109206"/>
                  </a:lnTo>
                  <a:lnTo>
                    <a:pt x="82988" y="108730"/>
                  </a:lnTo>
                  <a:lnTo>
                    <a:pt x="82823" y="108730"/>
                  </a:lnTo>
                  <a:lnTo>
                    <a:pt x="82988" y="108730"/>
                  </a:lnTo>
                  <a:lnTo>
                    <a:pt x="82823" y="109206"/>
                  </a:lnTo>
                  <a:lnTo>
                    <a:pt x="82412" y="109206"/>
                  </a:lnTo>
                  <a:lnTo>
                    <a:pt x="82001" y="109523"/>
                  </a:lnTo>
                  <a:lnTo>
                    <a:pt x="80849" y="111111"/>
                  </a:lnTo>
                  <a:lnTo>
                    <a:pt x="80849" y="111111"/>
                  </a:lnTo>
                  <a:lnTo>
                    <a:pt x="80685" y="111111"/>
                  </a:lnTo>
                  <a:lnTo>
                    <a:pt x="80849" y="111111"/>
                  </a:lnTo>
                  <a:lnTo>
                    <a:pt x="81096" y="111111"/>
                  </a:lnTo>
                  <a:lnTo>
                    <a:pt x="81096" y="111111"/>
                  </a:lnTo>
                  <a:lnTo>
                    <a:pt x="80849" y="111111"/>
                  </a:lnTo>
                  <a:lnTo>
                    <a:pt x="80685" y="111428"/>
                  </a:lnTo>
                  <a:lnTo>
                    <a:pt x="80685" y="111428"/>
                  </a:lnTo>
                  <a:lnTo>
                    <a:pt x="80520" y="111428"/>
                  </a:lnTo>
                  <a:lnTo>
                    <a:pt x="80274" y="111428"/>
                  </a:lnTo>
                  <a:lnTo>
                    <a:pt x="80109" y="111746"/>
                  </a:lnTo>
                  <a:lnTo>
                    <a:pt x="80109" y="111746"/>
                  </a:lnTo>
                  <a:lnTo>
                    <a:pt x="79862" y="112222"/>
                  </a:lnTo>
                  <a:lnTo>
                    <a:pt x="80274" y="111428"/>
                  </a:lnTo>
                  <a:lnTo>
                    <a:pt x="80520" y="111428"/>
                  </a:lnTo>
                  <a:lnTo>
                    <a:pt x="80109" y="112222"/>
                  </a:lnTo>
                  <a:lnTo>
                    <a:pt x="79698" y="112857"/>
                  </a:lnTo>
                  <a:lnTo>
                    <a:pt x="79698" y="113333"/>
                  </a:lnTo>
                  <a:lnTo>
                    <a:pt x="79698" y="114126"/>
                  </a:lnTo>
                  <a:lnTo>
                    <a:pt x="79698" y="114126"/>
                  </a:lnTo>
                  <a:lnTo>
                    <a:pt x="79698" y="114126"/>
                  </a:lnTo>
                  <a:lnTo>
                    <a:pt x="79862" y="114126"/>
                  </a:lnTo>
                  <a:lnTo>
                    <a:pt x="79862" y="114126"/>
                  </a:lnTo>
                  <a:lnTo>
                    <a:pt x="79862" y="114444"/>
                  </a:lnTo>
                  <a:lnTo>
                    <a:pt x="80109" y="114761"/>
                  </a:lnTo>
                  <a:lnTo>
                    <a:pt x="80109" y="114761"/>
                  </a:lnTo>
                  <a:lnTo>
                    <a:pt x="80274" y="114761"/>
                  </a:lnTo>
                  <a:lnTo>
                    <a:pt x="80274" y="114761"/>
                  </a:lnTo>
                  <a:lnTo>
                    <a:pt x="80274" y="114761"/>
                  </a:lnTo>
                  <a:lnTo>
                    <a:pt x="80520" y="114761"/>
                  </a:lnTo>
                  <a:lnTo>
                    <a:pt x="80520" y="114761"/>
                  </a:lnTo>
                  <a:lnTo>
                    <a:pt x="80520" y="114761"/>
                  </a:lnTo>
                  <a:lnTo>
                    <a:pt x="80685" y="114444"/>
                  </a:lnTo>
                  <a:lnTo>
                    <a:pt x="80849" y="114444"/>
                  </a:lnTo>
                  <a:lnTo>
                    <a:pt x="80849" y="114444"/>
                  </a:lnTo>
                  <a:lnTo>
                    <a:pt x="81096" y="114444"/>
                  </a:lnTo>
                  <a:lnTo>
                    <a:pt x="81425" y="113650"/>
                  </a:lnTo>
                  <a:lnTo>
                    <a:pt x="81425" y="113650"/>
                  </a:lnTo>
                  <a:lnTo>
                    <a:pt x="81672" y="113333"/>
                  </a:lnTo>
                  <a:lnTo>
                    <a:pt x="82001" y="112857"/>
                  </a:lnTo>
                  <a:lnTo>
                    <a:pt x="82248" y="112857"/>
                  </a:lnTo>
                  <a:lnTo>
                    <a:pt x="82412" y="112539"/>
                  </a:lnTo>
                  <a:lnTo>
                    <a:pt x="82412" y="112539"/>
                  </a:lnTo>
                  <a:lnTo>
                    <a:pt x="82412" y="112222"/>
                  </a:lnTo>
                  <a:lnTo>
                    <a:pt x="82412" y="112222"/>
                  </a:lnTo>
                  <a:lnTo>
                    <a:pt x="82412" y="111746"/>
                  </a:lnTo>
                  <a:lnTo>
                    <a:pt x="82577" y="111746"/>
                  </a:lnTo>
                  <a:lnTo>
                    <a:pt x="82823" y="111428"/>
                  </a:lnTo>
                  <a:lnTo>
                    <a:pt x="82823" y="111746"/>
                  </a:lnTo>
                  <a:lnTo>
                    <a:pt x="82988" y="111746"/>
                  </a:lnTo>
                  <a:lnTo>
                    <a:pt x="82988" y="111428"/>
                  </a:lnTo>
                  <a:lnTo>
                    <a:pt x="82988" y="111428"/>
                  </a:lnTo>
                  <a:lnTo>
                    <a:pt x="83235" y="111428"/>
                  </a:lnTo>
                  <a:lnTo>
                    <a:pt x="83235" y="111746"/>
                  </a:lnTo>
                  <a:lnTo>
                    <a:pt x="83235" y="111746"/>
                  </a:lnTo>
                  <a:lnTo>
                    <a:pt x="83399" y="111746"/>
                  </a:lnTo>
                  <a:lnTo>
                    <a:pt x="83564" y="111746"/>
                  </a:lnTo>
                  <a:lnTo>
                    <a:pt x="83564" y="111746"/>
                  </a:lnTo>
                  <a:lnTo>
                    <a:pt x="83564" y="111746"/>
                  </a:lnTo>
                  <a:lnTo>
                    <a:pt x="83564" y="111428"/>
                  </a:lnTo>
                  <a:lnTo>
                    <a:pt x="83564" y="111111"/>
                  </a:lnTo>
                  <a:lnTo>
                    <a:pt x="83810" y="111428"/>
                  </a:lnTo>
                  <a:lnTo>
                    <a:pt x="83810" y="111428"/>
                  </a:lnTo>
                  <a:lnTo>
                    <a:pt x="83975" y="111428"/>
                  </a:lnTo>
                  <a:lnTo>
                    <a:pt x="83975" y="111428"/>
                  </a:lnTo>
                  <a:lnTo>
                    <a:pt x="84386" y="111111"/>
                  </a:lnTo>
                  <a:lnTo>
                    <a:pt x="84386" y="111111"/>
                  </a:lnTo>
                  <a:lnTo>
                    <a:pt x="84386" y="111111"/>
                  </a:lnTo>
                  <a:lnTo>
                    <a:pt x="84962" y="110634"/>
                  </a:lnTo>
                  <a:lnTo>
                    <a:pt x="85126" y="110634"/>
                  </a:lnTo>
                  <a:lnTo>
                    <a:pt x="85702" y="110317"/>
                  </a:lnTo>
                  <a:lnTo>
                    <a:pt x="85867" y="110317"/>
                  </a:lnTo>
                  <a:lnTo>
                    <a:pt x="86278" y="109523"/>
                  </a:lnTo>
                  <a:lnTo>
                    <a:pt x="86525" y="109523"/>
                  </a:lnTo>
                  <a:lnTo>
                    <a:pt x="86525" y="109523"/>
                  </a:lnTo>
                  <a:lnTo>
                    <a:pt x="86689" y="109523"/>
                  </a:lnTo>
                  <a:lnTo>
                    <a:pt x="86854" y="109523"/>
                  </a:lnTo>
                  <a:lnTo>
                    <a:pt x="87100" y="109206"/>
                  </a:lnTo>
                  <a:lnTo>
                    <a:pt x="87100" y="109206"/>
                  </a:lnTo>
                  <a:lnTo>
                    <a:pt x="87265" y="109206"/>
                  </a:lnTo>
                  <a:lnTo>
                    <a:pt x="87429" y="109206"/>
                  </a:lnTo>
                  <a:lnTo>
                    <a:pt x="87429" y="109206"/>
                  </a:lnTo>
                  <a:lnTo>
                    <a:pt x="87429" y="108730"/>
                  </a:lnTo>
                  <a:lnTo>
                    <a:pt x="87429" y="108730"/>
                  </a:lnTo>
                  <a:lnTo>
                    <a:pt x="87429" y="108730"/>
                  </a:lnTo>
                  <a:lnTo>
                    <a:pt x="87100" y="108730"/>
                  </a:lnTo>
                  <a:lnTo>
                    <a:pt x="87100" y="108412"/>
                  </a:lnTo>
                  <a:lnTo>
                    <a:pt x="87265" y="108412"/>
                  </a:lnTo>
                  <a:lnTo>
                    <a:pt x="87265" y="108412"/>
                  </a:lnTo>
                  <a:lnTo>
                    <a:pt x="87265" y="108095"/>
                  </a:lnTo>
                  <a:lnTo>
                    <a:pt x="87265" y="107619"/>
                  </a:lnTo>
                  <a:lnTo>
                    <a:pt x="87100" y="107619"/>
                  </a:lnTo>
                  <a:lnTo>
                    <a:pt x="86854" y="107619"/>
                  </a:lnTo>
                  <a:lnTo>
                    <a:pt x="86689" y="107619"/>
                  </a:lnTo>
                  <a:lnTo>
                    <a:pt x="86689" y="107619"/>
                  </a:lnTo>
                  <a:lnTo>
                    <a:pt x="86689" y="107301"/>
                  </a:lnTo>
                  <a:lnTo>
                    <a:pt x="86689" y="107301"/>
                  </a:lnTo>
                  <a:lnTo>
                    <a:pt x="86689" y="106984"/>
                  </a:lnTo>
                  <a:lnTo>
                    <a:pt x="86113" y="107619"/>
                  </a:lnTo>
                  <a:lnTo>
                    <a:pt x="85867" y="107619"/>
                  </a:lnTo>
                  <a:lnTo>
                    <a:pt x="85702" y="107619"/>
                  </a:lnTo>
                  <a:lnTo>
                    <a:pt x="85702" y="108095"/>
                  </a:lnTo>
                  <a:lnTo>
                    <a:pt x="85702" y="107619"/>
                  </a:lnTo>
                  <a:lnTo>
                    <a:pt x="85291" y="107619"/>
                  </a:lnTo>
                  <a:lnTo>
                    <a:pt x="85538" y="107619"/>
                  </a:lnTo>
                  <a:lnTo>
                    <a:pt x="85538" y="107301"/>
                  </a:lnTo>
                  <a:lnTo>
                    <a:pt x="85291" y="107301"/>
                  </a:lnTo>
                  <a:lnTo>
                    <a:pt x="84962" y="107301"/>
                  </a:lnTo>
                  <a:lnTo>
                    <a:pt x="84715" y="107301"/>
                  </a:lnTo>
                  <a:lnTo>
                    <a:pt x="84715" y="107301"/>
                  </a:lnTo>
                  <a:lnTo>
                    <a:pt x="84715" y="107301"/>
                  </a:lnTo>
                  <a:lnTo>
                    <a:pt x="84715" y="107301"/>
                  </a:lnTo>
                  <a:lnTo>
                    <a:pt x="84551" y="106984"/>
                  </a:lnTo>
                  <a:lnTo>
                    <a:pt x="84386" y="106984"/>
                  </a:lnTo>
                  <a:lnTo>
                    <a:pt x="84139" y="106984"/>
                  </a:lnTo>
                  <a:lnTo>
                    <a:pt x="83975" y="106984"/>
                  </a:lnTo>
                  <a:lnTo>
                    <a:pt x="83810" y="106507"/>
                  </a:lnTo>
                  <a:lnTo>
                    <a:pt x="84139" y="106190"/>
                  </a:lnTo>
                  <a:lnTo>
                    <a:pt x="84139" y="106190"/>
                  </a:lnTo>
                  <a:lnTo>
                    <a:pt x="84139" y="106190"/>
                  </a:lnTo>
                  <a:lnTo>
                    <a:pt x="83810" y="106190"/>
                  </a:lnTo>
                  <a:lnTo>
                    <a:pt x="83810" y="105873"/>
                  </a:lnTo>
                  <a:lnTo>
                    <a:pt x="83399" y="105873"/>
                  </a:lnTo>
                  <a:lnTo>
                    <a:pt x="83399" y="105873"/>
                  </a:lnTo>
                  <a:lnTo>
                    <a:pt x="83235" y="105396"/>
                  </a:lnTo>
                  <a:lnTo>
                    <a:pt x="83399" y="105396"/>
                  </a:lnTo>
                  <a:lnTo>
                    <a:pt x="83235" y="105079"/>
                  </a:lnTo>
                  <a:lnTo>
                    <a:pt x="83399" y="104285"/>
                  </a:lnTo>
                  <a:lnTo>
                    <a:pt x="83235" y="104285"/>
                  </a:lnTo>
                  <a:lnTo>
                    <a:pt x="83235" y="103968"/>
                  </a:lnTo>
                  <a:lnTo>
                    <a:pt x="83235" y="103492"/>
                  </a:lnTo>
                  <a:lnTo>
                    <a:pt x="83399" y="103492"/>
                  </a:lnTo>
                  <a:lnTo>
                    <a:pt x="83399" y="103174"/>
                  </a:lnTo>
                  <a:lnTo>
                    <a:pt x="83399" y="103174"/>
                  </a:lnTo>
                  <a:lnTo>
                    <a:pt x="83235" y="103174"/>
                  </a:lnTo>
                  <a:lnTo>
                    <a:pt x="82988" y="103174"/>
                  </a:lnTo>
                  <a:lnTo>
                    <a:pt x="82823" y="103174"/>
                  </a:lnTo>
                  <a:lnTo>
                    <a:pt x="82823" y="103174"/>
                  </a:lnTo>
                  <a:lnTo>
                    <a:pt x="83235" y="102380"/>
                  </a:lnTo>
                  <a:lnTo>
                    <a:pt x="83564" y="102063"/>
                  </a:lnTo>
                  <a:lnTo>
                    <a:pt x="83810" y="101746"/>
                  </a:lnTo>
                  <a:lnTo>
                    <a:pt x="83975" y="101269"/>
                  </a:lnTo>
                  <a:lnTo>
                    <a:pt x="83975" y="100952"/>
                  </a:lnTo>
                  <a:lnTo>
                    <a:pt x="83810" y="100952"/>
                  </a:lnTo>
                  <a:lnTo>
                    <a:pt x="83564" y="100952"/>
                  </a:lnTo>
                  <a:lnTo>
                    <a:pt x="83810" y="100476"/>
                  </a:lnTo>
                  <a:lnTo>
                    <a:pt x="83399" y="100476"/>
                  </a:lnTo>
                  <a:lnTo>
                    <a:pt x="83235" y="100952"/>
                  </a:lnTo>
                  <a:lnTo>
                    <a:pt x="82988" y="100952"/>
                  </a:lnTo>
                  <a:lnTo>
                    <a:pt x="82823" y="101269"/>
                  </a:lnTo>
                  <a:lnTo>
                    <a:pt x="82823" y="100952"/>
                  </a:lnTo>
                  <a:lnTo>
                    <a:pt x="82823" y="100476"/>
                  </a:lnTo>
                  <a:lnTo>
                    <a:pt x="82577" y="100476"/>
                  </a:lnTo>
                  <a:lnTo>
                    <a:pt x="82248" y="100158"/>
                  </a:lnTo>
                  <a:lnTo>
                    <a:pt x="82001" y="99841"/>
                  </a:lnTo>
                  <a:lnTo>
                    <a:pt x="82001" y="99841"/>
                  </a:lnTo>
                  <a:lnTo>
                    <a:pt x="81672" y="100158"/>
                  </a:lnTo>
                  <a:lnTo>
                    <a:pt x="81672" y="100158"/>
                  </a:lnTo>
                  <a:lnTo>
                    <a:pt x="82001" y="99841"/>
                  </a:lnTo>
                  <a:lnTo>
                    <a:pt x="82001" y="99841"/>
                  </a:lnTo>
                  <a:lnTo>
                    <a:pt x="82248" y="99841"/>
                  </a:lnTo>
                  <a:lnTo>
                    <a:pt x="82412" y="99841"/>
                  </a:lnTo>
                  <a:lnTo>
                    <a:pt x="82577" y="99365"/>
                  </a:lnTo>
                  <a:lnTo>
                    <a:pt x="82823" y="99365"/>
                  </a:lnTo>
                  <a:lnTo>
                    <a:pt x="82823" y="99841"/>
                  </a:lnTo>
                  <a:lnTo>
                    <a:pt x="83235" y="99841"/>
                  </a:lnTo>
                  <a:lnTo>
                    <a:pt x="83399" y="100158"/>
                  </a:lnTo>
                  <a:lnTo>
                    <a:pt x="83564" y="100158"/>
                  </a:lnTo>
                  <a:lnTo>
                    <a:pt x="83810" y="99841"/>
                  </a:lnTo>
                  <a:lnTo>
                    <a:pt x="83975" y="99365"/>
                  </a:lnTo>
                  <a:lnTo>
                    <a:pt x="84139" y="99365"/>
                  </a:lnTo>
                  <a:lnTo>
                    <a:pt x="84386" y="99365"/>
                  </a:lnTo>
                  <a:lnTo>
                    <a:pt x="84386" y="99047"/>
                  </a:lnTo>
                  <a:lnTo>
                    <a:pt x="84551" y="99047"/>
                  </a:lnTo>
                  <a:lnTo>
                    <a:pt x="84962" y="98730"/>
                  </a:lnTo>
                  <a:lnTo>
                    <a:pt x="85126" y="98253"/>
                  </a:lnTo>
                  <a:lnTo>
                    <a:pt x="85291" y="97936"/>
                  </a:lnTo>
                  <a:lnTo>
                    <a:pt x="85126" y="97460"/>
                  </a:lnTo>
                  <a:lnTo>
                    <a:pt x="85126" y="97142"/>
                  </a:lnTo>
                  <a:lnTo>
                    <a:pt x="85291" y="97142"/>
                  </a:lnTo>
                  <a:lnTo>
                    <a:pt x="85538" y="97460"/>
                  </a:lnTo>
                  <a:lnTo>
                    <a:pt x="85538" y="97142"/>
                  </a:lnTo>
                  <a:lnTo>
                    <a:pt x="85538" y="97142"/>
                  </a:lnTo>
                  <a:lnTo>
                    <a:pt x="85126" y="96349"/>
                  </a:lnTo>
                  <a:lnTo>
                    <a:pt x="84962" y="96031"/>
                  </a:lnTo>
                  <a:lnTo>
                    <a:pt x="84139" y="96031"/>
                  </a:lnTo>
                  <a:lnTo>
                    <a:pt x="83975" y="96031"/>
                  </a:lnTo>
                  <a:lnTo>
                    <a:pt x="83399" y="96031"/>
                  </a:lnTo>
                  <a:lnTo>
                    <a:pt x="82988" y="96031"/>
                  </a:lnTo>
                  <a:lnTo>
                    <a:pt x="82412" y="96349"/>
                  </a:lnTo>
                  <a:lnTo>
                    <a:pt x="81672" y="96825"/>
                  </a:lnTo>
                  <a:lnTo>
                    <a:pt x="81096" y="97142"/>
                  </a:lnTo>
                  <a:lnTo>
                    <a:pt x="80520" y="97460"/>
                  </a:lnTo>
                  <a:lnTo>
                    <a:pt x="79862" y="97936"/>
                  </a:lnTo>
                  <a:lnTo>
                    <a:pt x="79533" y="98253"/>
                  </a:lnTo>
                  <a:lnTo>
                    <a:pt x="79287" y="98730"/>
                  </a:lnTo>
                  <a:lnTo>
                    <a:pt x="79122" y="98730"/>
                  </a:lnTo>
                  <a:lnTo>
                    <a:pt x="78958" y="99047"/>
                  </a:lnTo>
                  <a:lnTo>
                    <a:pt x="78711" y="99047"/>
                  </a:lnTo>
                  <a:lnTo>
                    <a:pt x="78135" y="99841"/>
                  </a:lnTo>
                  <a:lnTo>
                    <a:pt x="77806" y="100158"/>
                  </a:lnTo>
                  <a:lnTo>
                    <a:pt x="77559" y="100476"/>
                  </a:lnTo>
                  <a:lnTo>
                    <a:pt x="77148" y="101269"/>
                  </a:lnTo>
                  <a:lnTo>
                    <a:pt x="76819" y="101746"/>
                  </a:lnTo>
                  <a:lnTo>
                    <a:pt x="76572" y="102063"/>
                  </a:lnTo>
                  <a:lnTo>
                    <a:pt x="76408" y="102380"/>
                  </a:lnTo>
                  <a:lnTo>
                    <a:pt x="75997" y="102857"/>
                  </a:lnTo>
                  <a:lnTo>
                    <a:pt x="75668" y="103174"/>
                  </a:lnTo>
                  <a:lnTo>
                    <a:pt x="75092" y="103968"/>
                  </a:lnTo>
                  <a:lnTo>
                    <a:pt x="74681" y="103968"/>
                  </a:lnTo>
                  <a:lnTo>
                    <a:pt x="74434" y="104285"/>
                  </a:lnTo>
                  <a:lnTo>
                    <a:pt x="74270" y="104285"/>
                  </a:lnTo>
                  <a:lnTo>
                    <a:pt x="73858" y="104603"/>
                  </a:lnTo>
                  <a:lnTo>
                    <a:pt x="73529" y="104603"/>
                  </a:lnTo>
                  <a:lnTo>
                    <a:pt x="73283" y="104603"/>
                  </a:lnTo>
                  <a:lnTo>
                    <a:pt x="73118" y="105079"/>
                  </a:lnTo>
                  <a:lnTo>
                    <a:pt x="72954" y="105079"/>
                  </a:lnTo>
                  <a:lnTo>
                    <a:pt x="72707" y="105396"/>
                  </a:lnTo>
                  <a:lnTo>
                    <a:pt x="72542" y="105396"/>
                  </a:lnTo>
                  <a:lnTo>
                    <a:pt x="72131" y="106190"/>
                  </a:lnTo>
                  <a:lnTo>
                    <a:pt x="71720" y="106190"/>
                  </a:lnTo>
                  <a:lnTo>
                    <a:pt x="71391" y="106507"/>
                  </a:lnTo>
                  <a:lnTo>
                    <a:pt x="71144" y="106984"/>
                  </a:lnTo>
                  <a:lnTo>
                    <a:pt x="70980" y="107301"/>
                  </a:lnTo>
                  <a:lnTo>
                    <a:pt x="70815" y="107619"/>
                  </a:lnTo>
                  <a:lnTo>
                    <a:pt x="70815" y="108095"/>
                  </a:lnTo>
                  <a:lnTo>
                    <a:pt x="70568" y="108412"/>
                  </a:lnTo>
                  <a:lnTo>
                    <a:pt x="70404" y="108412"/>
                  </a:lnTo>
                  <a:lnTo>
                    <a:pt x="70239" y="108412"/>
                  </a:lnTo>
                  <a:lnTo>
                    <a:pt x="69664" y="109206"/>
                  </a:lnTo>
                  <a:lnTo>
                    <a:pt x="69417" y="109206"/>
                  </a:lnTo>
                  <a:lnTo>
                    <a:pt x="68841" y="110000"/>
                  </a:lnTo>
                  <a:lnTo>
                    <a:pt x="68677" y="110000"/>
                  </a:lnTo>
                  <a:lnTo>
                    <a:pt x="68677" y="110000"/>
                  </a:lnTo>
                  <a:lnTo>
                    <a:pt x="69006" y="110000"/>
                  </a:lnTo>
                  <a:close/>
                  <a:moveTo>
                    <a:pt x="5675" y="77619"/>
                  </a:moveTo>
                  <a:lnTo>
                    <a:pt x="5839" y="77301"/>
                  </a:lnTo>
                  <a:lnTo>
                    <a:pt x="5428" y="77619"/>
                  </a:lnTo>
                  <a:lnTo>
                    <a:pt x="5099" y="78095"/>
                  </a:lnTo>
                  <a:lnTo>
                    <a:pt x="4852" y="78412"/>
                  </a:lnTo>
                  <a:lnTo>
                    <a:pt x="4852" y="78412"/>
                  </a:lnTo>
                  <a:lnTo>
                    <a:pt x="5263" y="78095"/>
                  </a:lnTo>
                  <a:lnTo>
                    <a:pt x="5675" y="77619"/>
                  </a:lnTo>
                  <a:close/>
                  <a:moveTo>
                    <a:pt x="50664" y="41269"/>
                  </a:moveTo>
                  <a:lnTo>
                    <a:pt x="50829" y="41269"/>
                  </a:lnTo>
                  <a:lnTo>
                    <a:pt x="50993" y="40793"/>
                  </a:lnTo>
                  <a:lnTo>
                    <a:pt x="50829" y="40793"/>
                  </a:lnTo>
                  <a:lnTo>
                    <a:pt x="50664" y="40793"/>
                  </a:lnTo>
                  <a:lnTo>
                    <a:pt x="50664" y="41269"/>
                  </a:lnTo>
                  <a:lnTo>
                    <a:pt x="50664" y="41269"/>
                  </a:lnTo>
                  <a:lnTo>
                    <a:pt x="50664" y="41587"/>
                  </a:lnTo>
                  <a:lnTo>
                    <a:pt x="50664" y="41269"/>
                  </a:lnTo>
                  <a:close/>
                  <a:moveTo>
                    <a:pt x="79862" y="112222"/>
                  </a:moveTo>
                  <a:lnTo>
                    <a:pt x="79862" y="112222"/>
                  </a:lnTo>
                  <a:lnTo>
                    <a:pt x="79698" y="112539"/>
                  </a:lnTo>
                  <a:lnTo>
                    <a:pt x="79698" y="112539"/>
                  </a:lnTo>
                  <a:lnTo>
                    <a:pt x="79698" y="112539"/>
                  </a:lnTo>
                  <a:lnTo>
                    <a:pt x="79862" y="112222"/>
                  </a:lnTo>
                  <a:close/>
                  <a:moveTo>
                    <a:pt x="70568" y="107619"/>
                  </a:moveTo>
                  <a:lnTo>
                    <a:pt x="70404" y="107619"/>
                  </a:lnTo>
                  <a:lnTo>
                    <a:pt x="70239" y="108095"/>
                  </a:lnTo>
                  <a:lnTo>
                    <a:pt x="70239" y="108095"/>
                  </a:lnTo>
                  <a:lnTo>
                    <a:pt x="70404" y="108095"/>
                  </a:lnTo>
                  <a:lnTo>
                    <a:pt x="70568" y="107619"/>
                  </a:lnTo>
                  <a:close/>
                  <a:moveTo>
                    <a:pt x="89568" y="106190"/>
                  </a:moveTo>
                  <a:lnTo>
                    <a:pt x="89403" y="105873"/>
                  </a:lnTo>
                  <a:lnTo>
                    <a:pt x="89239" y="106190"/>
                  </a:lnTo>
                  <a:lnTo>
                    <a:pt x="89239" y="105873"/>
                  </a:lnTo>
                  <a:lnTo>
                    <a:pt x="89239" y="105873"/>
                  </a:lnTo>
                  <a:lnTo>
                    <a:pt x="88992" y="105873"/>
                  </a:lnTo>
                  <a:lnTo>
                    <a:pt x="88992" y="105873"/>
                  </a:lnTo>
                  <a:lnTo>
                    <a:pt x="88827" y="105873"/>
                  </a:lnTo>
                  <a:lnTo>
                    <a:pt x="88581" y="106190"/>
                  </a:lnTo>
                  <a:lnTo>
                    <a:pt x="88581" y="106507"/>
                  </a:lnTo>
                  <a:lnTo>
                    <a:pt x="88252" y="106984"/>
                  </a:lnTo>
                  <a:lnTo>
                    <a:pt x="88416" y="106984"/>
                  </a:lnTo>
                  <a:lnTo>
                    <a:pt x="88581" y="106507"/>
                  </a:lnTo>
                  <a:lnTo>
                    <a:pt x="88581" y="106984"/>
                  </a:lnTo>
                  <a:lnTo>
                    <a:pt x="88252" y="107301"/>
                  </a:lnTo>
                  <a:lnTo>
                    <a:pt x="88252" y="107301"/>
                  </a:lnTo>
                  <a:lnTo>
                    <a:pt x="88005" y="107301"/>
                  </a:lnTo>
                  <a:lnTo>
                    <a:pt x="88005" y="107301"/>
                  </a:lnTo>
                  <a:lnTo>
                    <a:pt x="87840" y="107301"/>
                  </a:lnTo>
                  <a:lnTo>
                    <a:pt x="87676" y="107619"/>
                  </a:lnTo>
                  <a:lnTo>
                    <a:pt x="87676" y="107301"/>
                  </a:lnTo>
                  <a:lnTo>
                    <a:pt x="87840" y="107301"/>
                  </a:lnTo>
                  <a:lnTo>
                    <a:pt x="87840" y="107301"/>
                  </a:lnTo>
                  <a:lnTo>
                    <a:pt x="88005" y="106984"/>
                  </a:lnTo>
                  <a:lnTo>
                    <a:pt x="87840" y="106984"/>
                  </a:lnTo>
                  <a:lnTo>
                    <a:pt x="88005" y="106984"/>
                  </a:lnTo>
                  <a:lnTo>
                    <a:pt x="88252" y="106984"/>
                  </a:lnTo>
                  <a:lnTo>
                    <a:pt x="88252" y="106507"/>
                  </a:lnTo>
                  <a:lnTo>
                    <a:pt x="88005" y="106507"/>
                  </a:lnTo>
                  <a:lnTo>
                    <a:pt x="87840" y="106984"/>
                  </a:lnTo>
                  <a:lnTo>
                    <a:pt x="87840" y="106984"/>
                  </a:lnTo>
                  <a:lnTo>
                    <a:pt x="88005" y="106507"/>
                  </a:lnTo>
                  <a:lnTo>
                    <a:pt x="88252" y="106507"/>
                  </a:lnTo>
                  <a:lnTo>
                    <a:pt x="88416" y="106190"/>
                  </a:lnTo>
                  <a:lnTo>
                    <a:pt x="88581" y="106190"/>
                  </a:lnTo>
                  <a:lnTo>
                    <a:pt x="88827" y="105873"/>
                  </a:lnTo>
                  <a:lnTo>
                    <a:pt x="88827" y="105873"/>
                  </a:lnTo>
                  <a:lnTo>
                    <a:pt x="88827" y="105873"/>
                  </a:lnTo>
                  <a:lnTo>
                    <a:pt x="88992" y="105396"/>
                  </a:lnTo>
                  <a:lnTo>
                    <a:pt x="89239" y="104603"/>
                  </a:lnTo>
                  <a:lnTo>
                    <a:pt x="89403" y="104285"/>
                  </a:lnTo>
                  <a:lnTo>
                    <a:pt x="89403" y="104285"/>
                  </a:lnTo>
                  <a:lnTo>
                    <a:pt x="89403" y="103492"/>
                  </a:lnTo>
                  <a:lnTo>
                    <a:pt x="89403" y="103492"/>
                  </a:lnTo>
                  <a:lnTo>
                    <a:pt x="89403" y="103174"/>
                  </a:lnTo>
                  <a:lnTo>
                    <a:pt x="89239" y="103174"/>
                  </a:lnTo>
                  <a:lnTo>
                    <a:pt x="89239" y="103492"/>
                  </a:lnTo>
                  <a:lnTo>
                    <a:pt x="88992" y="103492"/>
                  </a:lnTo>
                  <a:lnTo>
                    <a:pt x="88827" y="103968"/>
                  </a:lnTo>
                  <a:lnTo>
                    <a:pt x="88581" y="103968"/>
                  </a:lnTo>
                  <a:lnTo>
                    <a:pt x="88416" y="104285"/>
                  </a:lnTo>
                  <a:lnTo>
                    <a:pt x="88416" y="104603"/>
                  </a:lnTo>
                  <a:lnTo>
                    <a:pt x="87840" y="105873"/>
                  </a:lnTo>
                  <a:lnTo>
                    <a:pt x="87676" y="105873"/>
                  </a:lnTo>
                  <a:lnTo>
                    <a:pt x="87429" y="106190"/>
                  </a:lnTo>
                  <a:lnTo>
                    <a:pt x="87429" y="106507"/>
                  </a:lnTo>
                  <a:lnTo>
                    <a:pt x="87265" y="106984"/>
                  </a:lnTo>
                  <a:lnTo>
                    <a:pt x="87265" y="107619"/>
                  </a:lnTo>
                  <a:lnTo>
                    <a:pt x="87265" y="107619"/>
                  </a:lnTo>
                  <a:lnTo>
                    <a:pt x="87265" y="108095"/>
                  </a:lnTo>
                  <a:lnTo>
                    <a:pt x="87265" y="108095"/>
                  </a:lnTo>
                  <a:lnTo>
                    <a:pt x="87429" y="108095"/>
                  </a:lnTo>
                  <a:lnTo>
                    <a:pt x="87429" y="108095"/>
                  </a:lnTo>
                  <a:lnTo>
                    <a:pt x="87676" y="108095"/>
                  </a:lnTo>
                  <a:lnTo>
                    <a:pt x="87840" y="108095"/>
                  </a:lnTo>
                  <a:lnTo>
                    <a:pt x="87840" y="108095"/>
                  </a:lnTo>
                  <a:lnTo>
                    <a:pt x="88005" y="108095"/>
                  </a:lnTo>
                  <a:lnTo>
                    <a:pt x="88252" y="108095"/>
                  </a:lnTo>
                  <a:lnTo>
                    <a:pt x="88581" y="107619"/>
                  </a:lnTo>
                  <a:lnTo>
                    <a:pt x="88992" y="107301"/>
                  </a:lnTo>
                  <a:lnTo>
                    <a:pt x="88992" y="107301"/>
                  </a:lnTo>
                  <a:lnTo>
                    <a:pt x="89239" y="106984"/>
                  </a:lnTo>
                  <a:lnTo>
                    <a:pt x="89568" y="106984"/>
                  </a:lnTo>
                  <a:lnTo>
                    <a:pt x="89568" y="106984"/>
                  </a:lnTo>
                  <a:lnTo>
                    <a:pt x="89403" y="106507"/>
                  </a:lnTo>
                  <a:lnTo>
                    <a:pt x="89568" y="106507"/>
                  </a:lnTo>
                  <a:lnTo>
                    <a:pt x="89568" y="106190"/>
                  </a:lnTo>
                  <a:lnTo>
                    <a:pt x="89568" y="106190"/>
                  </a:lnTo>
                  <a:lnTo>
                    <a:pt x="89568" y="106190"/>
                  </a:lnTo>
                  <a:lnTo>
                    <a:pt x="89568" y="106190"/>
                  </a:lnTo>
                  <a:close/>
                  <a:moveTo>
                    <a:pt x="87676" y="96349"/>
                  </a:moveTo>
                  <a:lnTo>
                    <a:pt x="87840" y="96349"/>
                  </a:lnTo>
                  <a:lnTo>
                    <a:pt x="88252" y="96349"/>
                  </a:lnTo>
                  <a:lnTo>
                    <a:pt x="88827" y="96349"/>
                  </a:lnTo>
                  <a:lnTo>
                    <a:pt x="88992" y="96349"/>
                  </a:lnTo>
                  <a:lnTo>
                    <a:pt x="88992" y="96349"/>
                  </a:lnTo>
                  <a:lnTo>
                    <a:pt x="88992" y="96031"/>
                  </a:lnTo>
                  <a:lnTo>
                    <a:pt x="88992" y="96031"/>
                  </a:lnTo>
                  <a:lnTo>
                    <a:pt x="88581" y="95714"/>
                  </a:lnTo>
                  <a:lnTo>
                    <a:pt x="88581" y="95238"/>
                  </a:lnTo>
                  <a:lnTo>
                    <a:pt x="88005" y="94920"/>
                  </a:lnTo>
                  <a:lnTo>
                    <a:pt x="87840" y="94603"/>
                  </a:lnTo>
                  <a:lnTo>
                    <a:pt x="87676" y="94126"/>
                  </a:lnTo>
                  <a:lnTo>
                    <a:pt x="87265" y="94126"/>
                  </a:lnTo>
                  <a:lnTo>
                    <a:pt x="86689" y="93809"/>
                  </a:lnTo>
                  <a:lnTo>
                    <a:pt x="86278" y="93809"/>
                  </a:lnTo>
                  <a:lnTo>
                    <a:pt x="86113" y="93809"/>
                  </a:lnTo>
                  <a:lnTo>
                    <a:pt x="85867" y="93809"/>
                  </a:lnTo>
                  <a:lnTo>
                    <a:pt x="85702" y="93809"/>
                  </a:lnTo>
                  <a:lnTo>
                    <a:pt x="85867" y="94126"/>
                  </a:lnTo>
                  <a:lnTo>
                    <a:pt x="86525" y="94603"/>
                  </a:lnTo>
                  <a:lnTo>
                    <a:pt x="86525" y="94920"/>
                  </a:lnTo>
                  <a:lnTo>
                    <a:pt x="86689" y="94920"/>
                  </a:lnTo>
                  <a:lnTo>
                    <a:pt x="86689" y="95238"/>
                  </a:lnTo>
                  <a:lnTo>
                    <a:pt x="86689" y="95714"/>
                  </a:lnTo>
                  <a:lnTo>
                    <a:pt x="87265" y="96031"/>
                  </a:lnTo>
                  <a:lnTo>
                    <a:pt x="87676" y="96349"/>
                  </a:lnTo>
                  <a:close/>
                  <a:moveTo>
                    <a:pt x="79287" y="111111"/>
                  </a:moveTo>
                  <a:lnTo>
                    <a:pt x="79122" y="111428"/>
                  </a:lnTo>
                  <a:lnTo>
                    <a:pt x="79287" y="111111"/>
                  </a:lnTo>
                  <a:lnTo>
                    <a:pt x="79287" y="111111"/>
                  </a:lnTo>
                  <a:lnTo>
                    <a:pt x="79287" y="110634"/>
                  </a:lnTo>
                  <a:lnTo>
                    <a:pt x="79287" y="110634"/>
                  </a:lnTo>
                  <a:lnTo>
                    <a:pt x="79287" y="111111"/>
                  </a:lnTo>
                  <a:close/>
                  <a:moveTo>
                    <a:pt x="85867" y="106190"/>
                  </a:moveTo>
                  <a:lnTo>
                    <a:pt x="86113" y="105873"/>
                  </a:lnTo>
                  <a:lnTo>
                    <a:pt x="86278" y="105873"/>
                  </a:lnTo>
                  <a:lnTo>
                    <a:pt x="86689" y="105396"/>
                  </a:lnTo>
                  <a:lnTo>
                    <a:pt x="86854" y="105396"/>
                  </a:lnTo>
                  <a:lnTo>
                    <a:pt x="86854" y="105079"/>
                  </a:lnTo>
                  <a:lnTo>
                    <a:pt x="86854" y="105079"/>
                  </a:lnTo>
                  <a:lnTo>
                    <a:pt x="86689" y="105079"/>
                  </a:lnTo>
                  <a:lnTo>
                    <a:pt x="86278" y="105079"/>
                  </a:lnTo>
                  <a:lnTo>
                    <a:pt x="85867" y="105079"/>
                  </a:lnTo>
                  <a:lnTo>
                    <a:pt x="85867" y="105079"/>
                  </a:lnTo>
                  <a:lnTo>
                    <a:pt x="85538" y="105079"/>
                  </a:lnTo>
                  <a:lnTo>
                    <a:pt x="85291" y="105396"/>
                  </a:lnTo>
                  <a:lnTo>
                    <a:pt x="85126" y="105079"/>
                  </a:lnTo>
                  <a:lnTo>
                    <a:pt x="85126" y="105079"/>
                  </a:lnTo>
                  <a:lnTo>
                    <a:pt x="84962" y="105079"/>
                  </a:lnTo>
                  <a:lnTo>
                    <a:pt x="84962" y="105079"/>
                  </a:lnTo>
                  <a:lnTo>
                    <a:pt x="84962" y="105079"/>
                  </a:lnTo>
                  <a:lnTo>
                    <a:pt x="84715" y="104603"/>
                  </a:lnTo>
                  <a:lnTo>
                    <a:pt x="84551" y="105079"/>
                  </a:lnTo>
                  <a:lnTo>
                    <a:pt x="84551" y="105079"/>
                  </a:lnTo>
                  <a:lnTo>
                    <a:pt x="84386" y="105079"/>
                  </a:lnTo>
                  <a:lnTo>
                    <a:pt x="84386" y="105079"/>
                  </a:lnTo>
                  <a:lnTo>
                    <a:pt x="84386" y="105079"/>
                  </a:lnTo>
                  <a:lnTo>
                    <a:pt x="84386" y="105079"/>
                  </a:lnTo>
                  <a:lnTo>
                    <a:pt x="84386" y="104603"/>
                  </a:lnTo>
                  <a:lnTo>
                    <a:pt x="84386" y="104603"/>
                  </a:lnTo>
                  <a:lnTo>
                    <a:pt x="84386" y="104603"/>
                  </a:lnTo>
                  <a:lnTo>
                    <a:pt x="84386" y="103968"/>
                  </a:lnTo>
                  <a:lnTo>
                    <a:pt x="84551" y="103492"/>
                  </a:lnTo>
                  <a:lnTo>
                    <a:pt x="84551" y="103492"/>
                  </a:lnTo>
                  <a:lnTo>
                    <a:pt x="84551" y="103174"/>
                  </a:lnTo>
                  <a:lnTo>
                    <a:pt x="84386" y="103492"/>
                  </a:lnTo>
                  <a:lnTo>
                    <a:pt x="84139" y="103492"/>
                  </a:lnTo>
                  <a:lnTo>
                    <a:pt x="83975" y="103968"/>
                  </a:lnTo>
                  <a:lnTo>
                    <a:pt x="83975" y="104285"/>
                  </a:lnTo>
                  <a:lnTo>
                    <a:pt x="83810" y="104285"/>
                  </a:lnTo>
                  <a:lnTo>
                    <a:pt x="83810" y="104603"/>
                  </a:lnTo>
                  <a:lnTo>
                    <a:pt x="83975" y="104603"/>
                  </a:lnTo>
                  <a:lnTo>
                    <a:pt x="84139" y="104603"/>
                  </a:lnTo>
                  <a:lnTo>
                    <a:pt x="84139" y="104603"/>
                  </a:lnTo>
                  <a:lnTo>
                    <a:pt x="83975" y="105396"/>
                  </a:lnTo>
                  <a:lnTo>
                    <a:pt x="84139" y="105396"/>
                  </a:lnTo>
                  <a:lnTo>
                    <a:pt x="84386" y="105396"/>
                  </a:lnTo>
                  <a:lnTo>
                    <a:pt x="84551" y="105396"/>
                  </a:lnTo>
                  <a:lnTo>
                    <a:pt x="84551" y="105396"/>
                  </a:lnTo>
                  <a:lnTo>
                    <a:pt x="84551" y="105396"/>
                  </a:lnTo>
                  <a:lnTo>
                    <a:pt x="84386" y="105396"/>
                  </a:lnTo>
                  <a:lnTo>
                    <a:pt x="84386" y="105873"/>
                  </a:lnTo>
                  <a:lnTo>
                    <a:pt x="84551" y="105873"/>
                  </a:lnTo>
                  <a:lnTo>
                    <a:pt x="84551" y="105873"/>
                  </a:lnTo>
                  <a:lnTo>
                    <a:pt x="84962" y="106190"/>
                  </a:lnTo>
                  <a:lnTo>
                    <a:pt x="85126" y="106190"/>
                  </a:lnTo>
                  <a:lnTo>
                    <a:pt x="85126" y="106190"/>
                  </a:lnTo>
                  <a:lnTo>
                    <a:pt x="84962" y="105873"/>
                  </a:lnTo>
                  <a:lnTo>
                    <a:pt x="85126" y="105873"/>
                  </a:lnTo>
                  <a:lnTo>
                    <a:pt x="85291" y="105873"/>
                  </a:lnTo>
                  <a:lnTo>
                    <a:pt x="85291" y="105873"/>
                  </a:lnTo>
                  <a:lnTo>
                    <a:pt x="85538" y="105396"/>
                  </a:lnTo>
                  <a:lnTo>
                    <a:pt x="85538" y="105873"/>
                  </a:lnTo>
                  <a:lnTo>
                    <a:pt x="85291" y="105873"/>
                  </a:lnTo>
                  <a:lnTo>
                    <a:pt x="85291" y="105873"/>
                  </a:lnTo>
                  <a:lnTo>
                    <a:pt x="85291" y="106190"/>
                  </a:lnTo>
                  <a:lnTo>
                    <a:pt x="85538" y="106190"/>
                  </a:lnTo>
                  <a:lnTo>
                    <a:pt x="85538" y="106190"/>
                  </a:lnTo>
                  <a:lnTo>
                    <a:pt x="85291" y="106507"/>
                  </a:lnTo>
                  <a:lnTo>
                    <a:pt x="85291" y="106507"/>
                  </a:lnTo>
                  <a:lnTo>
                    <a:pt x="85538" y="106507"/>
                  </a:lnTo>
                  <a:lnTo>
                    <a:pt x="85538" y="106507"/>
                  </a:lnTo>
                  <a:lnTo>
                    <a:pt x="85538" y="106507"/>
                  </a:lnTo>
                  <a:lnTo>
                    <a:pt x="85538" y="106984"/>
                  </a:lnTo>
                  <a:lnTo>
                    <a:pt x="85867" y="106507"/>
                  </a:lnTo>
                  <a:lnTo>
                    <a:pt x="85867" y="106507"/>
                  </a:lnTo>
                  <a:lnTo>
                    <a:pt x="85867" y="106507"/>
                  </a:lnTo>
                  <a:lnTo>
                    <a:pt x="85867" y="106507"/>
                  </a:lnTo>
                  <a:lnTo>
                    <a:pt x="85867" y="106190"/>
                  </a:lnTo>
                  <a:lnTo>
                    <a:pt x="85867" y="106190"/>
                  </a:lnTo>
                  <a:close/>
                  <a:moveTo>
                    <a:pt x="82001" y="51428"/>
                  </a:moveTo>
                  <a:lnTo>
                    <a:pt x="82248" y="51746"/>
                  </a:lnTo>
                  <a:lnTo>
                    <a:pt x="82412" y="51746"/>
                  </a:lnTo>
                  <a:lnTo>
                    <a:pt x="82412" y="51746"/>
                  </a:lnTo>
                  <a:lnTo>
                    <a:pt x="82577" y="51428"/>
                  </a:lnTo>
                  <a:lnTo>
                    <a:pt x="82577" y="50952"/>
                  </a:lnTo>
                  <a:lnTo>
                    <a:pt x="82248" y="50634"/>
                  </a:lnTo>
                  <a:lnTo>
                    <a:pt x="81836" y="50952"/>
                  </a:lnTo>
                  <a:lnTo>
                    <a:pt x="82001" y="51428"/>
                  </a:lnTo>
                  <a:close/>
                  <a:moveTo>
                    <a:pt x="71555" y="73174"/>
                  </a:moveTo>
                  <a:lnTo>
                    <a:pt x="71391" y="73174"/>
                  </a:lnTo>
                  <a:lnTo>
                    <a:pt x="71391" y="73174"/>
                  </a:lnTo>
                  <a:lnTo>
                    <a:pt x="71391" y="73174"/>
                  </a:lnTo>
                  <a:lnTo>
                    <a:pt x="71144" y="73492"/>
                  </a:lnTo>
                  <a:lnTo>
                    <a:pt x="70980" y="73492"/>
                  </a:lnTo>
                  <a:lnTo>
                    <a:pt x="70980" y="73492"/>
                  </a:lnTo>
                  <a:lnTo>
                    <a:pt x="70980" y="73968"/>
                  </a:lnTo>
                  <a:lnTo>
                    <a:pt x="71144" y="73968"/>
                  </a:lnTo>
                  <a:lnTo>
                    <a:pt x="71555" y="73492"/>
                  </a:lnTo>
                  <a:lnTo>
                    <a:pt x="71720" y="73174"/>
                  </a:lnTo>
                  <a:lnTo>
                    <a:pt x="71720" y="72698"/>
                  </a:lnTo>
                  <a:lnTo>
                    <a:pt x="71720" y="72698"/>
                  </a:lnTo>
                  <a:lnTo>
                    <a:pt x="71555" y="73174"/>
                  </a:lnTo>
                  <a:lnTo>
                    <a:pt x="71555" y="73174"/>
                  </a:lnTo>
                  <a:close/>
                  <a:moveTo>
                    <a:pt x="72131" y="73968"/>
                  </a:moveTo>
                  <a:lnTo>
                    <a:pt x="71720" y="74603"/>
                  </a:lnTo>
                  <a:lnTo>
                    <a:pt x="71720" y="74603"/>
                  </a:lnTo>
                  <a:lnTo>
                    <a:pt x="71720" y="74603"/>
                  </a:lnTo>
                  <a:lnTo>
                    <a:pt x="72131" y="74285"/>
                  </a:lnTo>
                  <a:lnTo>
                    <a:pt x="72378" y="73968"/>
                  </a:lnTo>
                  <a:lnTo>
                    <a:pt x="72542" y="73492"/>
                  </a:lnTo>
                  <a:lnTo>
                    <a:pt x="72542" y="73492"/>
                  </a:lnTo>
                  <a:lnTo>
                    <a:pt x="72542" y="73174"/>
                  </a:lnTo>
                  <a:lnTo>
                    <a:pt x="72542" y="73174"/>
                  </a:lnTo>
                  <a:lnTo>
                    <a:pt x="72542" y="73174"/>
                  </a:lnTo>
                  <a:lnTo>
                    <a:pt x="72542" y="73174"/>
                  </a:lnTo>
                  <a:lnTo>
                    <a:pt x="72542" y="73174"/>
                  </a:lnTo>
                  <a:lnTo>
                    <a:pt x="72542" y="72698"/>
                  </a:lnTo>
                  <a:lnTo>
                    <a:pt x="72542" y="72698"/>
                  </a:lnTo>
                  <a:lnTo>
                    <a:pt x="72542" y="72698"/>
                  </a:lnTo>
                  <a:lnTo>
                    <a:pt x="72542" y="72698"/>
                  </a:lnTo>
                  <a:lnTo>
                    <a:pt x="72378" y="72698"/>
                  </a:lnTo>
                  <a:lnTo>
                    <a:pt x="72378" y="72380"/>
                  </a:lnTo>
                  <a:lnTo>
                    <a:pt x="72378" y="72380"/>
                  </a:lnTo>
                  <a:lnTo>
                    <a:pt x="72378" y="72380"/>
                  </a:lnTo>
                  <a:lnTo>
                    <a:pt x="72131" y="72698"/>
                  </a:lnTo>
                  <a:lnTo>
                    <a:pt x="72131" y="73174"/>
                  </a:lnTo>
                  <a:lnTo>
                    <a:pt x="71967" y="73492"/>
                  </a:lnTo>
                  <a:lnTo>
                    <a:pt x="71720" y="73492"/>
                  </a:lnTo>
                  <a:lnTo>
                    <a:pt x="71555" y="73968"/>
                  </a:lnTo>
                  <a:lnTo>
                    <a:pt x="71555" y="73968"/>
                  </a:lnTo>
                  <a:lnTo>
                    <a:pt x="71720" y="73492"/>
                  </a:lnTo>
                  <a:lnTo>
                    <a:pt x="71720" y="73492"/>
                  </a:lnTo>
                  <a:lnTo>
                    <a:pt x="71967" y="72698"/>
                  </a:lnTo>
                  <a:lnTo>
                    <a:pt x="72131" y="72698"/>
                  </a:lnTo>
                  <a:lnTo>
                    <a:pt x="72131" y="72698"/>
                  </a:lnTo>
                  <a:lnTo>
                    <a:pt x="72131" y="72698"/>
                  </a:lnTo>
                  <a:lnTo>
                    <a:pt x="71967" y="72698"/>
                  </a:lnTo>
                  <a:lnTo>
                    <a:pt x="71967" y="72698"/>
                  </a:lnTo>
                  <a:lnTo>
                    <a:pt x="71967" y="73174"/>
                  </a:lnTo>
                  <a:lnTo>
                    <a:pt x="71720" y="73492"/>
                  </a:lnTo>
                  <a:lnTo>
                    <a:pt x="71555" y="73492"/>
                  </a:lnTo>
                  <a:lnTo>
                    <a:pt x="71144" y="73968"/>
                  </a:lnTo>
                  <a:lnTo>
                    <a:pt x="70815" y="74603"/>
                  </a:lnTo>
                  <a:lnTo>
                    <a:pt x="70815" y="74603"/>
                  </a:lnTo>
                  <a:lnTo>
                    <a:pt x="70815" y="74603"/>
                  </a:lnTo>
                  <a:lnTo>
                    <a:pt x="70815" y="74603"/>
                  </a:lnTo>
                  <a:lnTo>
                    <a:pt x="70980" y="74603"/>
                  </a:lnTo>
                  <a:lnTo>
                    <a:pt x="71555" y="73968"/>
                  </a:lnTo>
                  <a:lnTo>
                    <a:pt x="71555" y="73968"/>
                  </a:lnTo>
                  <a:lnTo>
                    <a:pt x="71555" y="73968"/>
                  </a:lnTo>
                  <a:lnTo>
                    <a:pt x="71555" y="73968"/>
                  </a:lnTo>
                  <a:lnTo>
                    <a:pt x="70980" y="75079"/>
                  </a:lnTo>
                  <a:lnTo>
                    <a:pt x="71144" y="74603"/>
                  </a:lnTo>
                  <a:lnTo>
                    <a:pt x="71391" y="74603"/>
                  </a:lnTo>
                  <a:lnTo>
                    <a:pt x="71391" y="74603"/>
                  </a:lnTo>
                  <a:lnTo>
                    <a:pt x="71391" y="74603"/>
                  </a:lnTo>
                  <a:lnTo>
                    <a:pt x="71555" y="74603"/>
                  </a:lnTo>
                  <a:lnTo>
                    <a:pt x="71967" y="73968"/>
                  </a:lnTo>
                  <a:lnTo>
                    <a:pt x="72131" y="73492"/>
                  </a:lnTo>
                  <a:lnTo>
                    <a:pt x="72131" y="73968"/>
                  </a:lnTo>
                  <a:lnTo>
                    <a:pt x="72131" y="73968"/>
                  </a:lnTo>
                  <a:lnTo>
                    <a:pt x="72131" y="73968"/>
                  </a:lnTo>
                  <a:close/>
                  <a:moveTo>
                    <a:pt x="71967" y="71587"/>
                  </a:moveTo>
                  <a:lnTo>
                    <a:pt x="71967" y="71587"/>
                  </a:lnTo>
                  <a:lnTo>
                    <a:pt x="71967" y="71587"/>
                  </a:lnTo>
                  <a:lnTo>
                    <a:pt x="71720" y="71587"/>
                  </a:lnTo>
                  <a:lnTo>
                    <a:pt x="71720" y="71587"/>
                  </a:lnTo>
                  <a:lnTo>
                    <a:pt x="71720" y="72063"/>
                  </a:lnTo>
                  <a:lnTo>
                    <a:pt x="71720" y="72063"/>
                  </a:lnTo>
                  <a:lnTo>
                    <a:pt x="71720" y="72063"/>
                  </a:lnTo>
                  <a:lnTo>
                    <a:pt x="71967" y="71587"/>
                  </a:lnTo>
                  <a:close/>
                  <a:moveTo>
                    <a:pt x="74681" y="62222"/>
                  </a:moveTo>
                  <a:lnTo>
                    <a:pt x="74681" y="62698"/>
                  </a:lnTo>
                  <a:lnTo>
                    <a:pt x="74434" y="62698"/>
                  </a:lnTo>
                  <a:lnTo>
                    <a:pt x="74681" y="62698"/>
                  </a:lnTo>
                  <a:lnTo>
                    <a:pt x="74845" y="62698"/>
                  </a:lnTo>
                  <a:lnTo>
                    <a:pt x="74845" y="62222"/>
                  </a:lnTo>
                  <a:lnTo>
                    <a:pt x="74845" y="62222"/>
                  </a:lnTo>
                  <a:lnTo>
                    <a:pt x="74681" y="62222"/>
                  </a:lnTo>
                  <a:lnTo>
                    <a:pt x="74681" y="62222"/>
                  </a:lnTo>
                  <a:close/>
                  <a:moveTo>
                    <a:pt x="73529" y="34444"/>
                  </a:moveTo>
                  <a:lnTo>
                    <a:pt x="73529" y="34920"/>
                  </a:lnTo>
                  <a:lnTo>
                    <a:pt x="73529" y="34920"/>
                  </a:lnTo>
                  <a:lnTo>
                    <a:pt x="73529" y="34444"/>
                  </a:lnTo>
                  <a:lnTo>
                    <a:pt x="73529" y="34444"/>
                  </a:lnTo>
                  <a:lnTo>
                    <a:pt x="73694" y="34444"/>
                  </a:lnTo>
                  <a:lnTo>
                    <a:pt x="73529" y="34126"/>
                  </a:lnTo>
                  <a:lnTo>
                    <a:pt x="73529" y="34126"/>
                  </a:lnTo>
                  <a:lnTo>
                    <a:pt x="73529" y="34126"/>
                  </a:lnTo>
                  <a:lnTo>
                    <a:pt x="73283" y="34444"/>
                  </a:lnTo>
                  <a:lnTo>
                    <a:pt x="73283" y="34444"/>
                  </a:lnTo>
                  <a:lnTo>
                    <a:pt x="73283" y="34444"/>
                  </a:lnTo>
                  <a:lnTo>
                    <a:pt x="73283" y="34444"/>
                  </a:lnTo>
                  <a:lnTo>
                    <a:pt x="73529" y="34444"/>
                  </a:lnTo>
                  <a:close/>
                  <a:moveTo>
                    <a:pt x="72542" y="73968"/>
                  </a:moveTo>
                  <a:lnTo>
                    <a:pt x="72542" y="73968"/>
                  </a:lnTo>
                  <a:lnTo>
                    <a:pt x="72707" y="73492"/>
                  </a:lnTo>
                  <a:lnTo>
                    <a:pt x="72707" y="73492"/>
                  </a:lnTo>
                  <a:lnTo>
                    <a:pt x="72954" y="73492"/>
                  </a:lnTo>
                  <a:lnTo>
                    <a:pt x="72954" y="73174"/>
                  </a:lnTo>
                  <a:lnTo>
                    <a:pt x="72954" y="73174"/>
                  </a:lnTo>
                  <a:lnTo>
                    <a:pt x="72954" y="73174"/>
                  </a:lnTo>
                  <a:lnTo>
                    <a:pt x="72707" y="73174"/>
                  </a:lnTo>
                  <a:lnTo>
                    <a:pt x="72707" y="73174"/>
                  </a:lnTo>
                  <a:lnTo>
                    <a:pt x="72542" y="73492"/>
                  </a:lnTo>
                  <a:lnTo>
                    <a:pt x="72542" y="73492"/>
                  </a:lnTo>
                  <a:lnTo>
                    <a:pt x="72378" y="73968"/>
                  </a:lnTo>
                  <a:lnTo>
                    <a:pt x="72378" y="73968"/>
                  </a:lnTo>
                  <a:lnTo>
                    <a:pt x="72378" y="73968"/>
                  </a:lnTo>
                  <a:lnTo>
                    <a:pt x="72542" y="73968"/>
                  </a:lnTo>
                  <a:close/>
                  <a:moveTo>
                    <a:pt x="72707" y="69841"/>
                  </a:moveTo>
                  <a:lnTo>
                    <a:pt x="72707" y="69841"/>
                  </a:lnTo>
                  <a:lnTo>
                    <a:pt x="72707" y="69841"/>
                  </a:lnTo>
                  <a:lnTo>
                    <a:pt x="72707" y="69365"/>
                  </a:lnTo>
                  <a:lnTo>
                    <a:pt x="72707" y="69365"/>
                  </a:lnTo>
                  <a:lnTo>
                    <a:pt x="72707" y="69365"/>
                  </a:lnTo>
                  <a:lnTo>
                    <a:pt x="72707" y="69365"/>
                  </a:lnTo>
                  <a:lnTo>
                    <a:pt x="72707" y="69365"/>
                  </a:lnTo>
                  <a:lnTo>
                    <a:pt x="72542" y="69365"/>
                  </a:lnTo>
                  <a:lnTo>
                    <a:pt x="72542" y="69841"/>
                  </a:lnTo>
                  <a:lnTo>
                    <a:pt x="72542" y="69841"/>
                  </a:lnTo>
                  <a:lnTo>
                    <a:pt x="72542" y="69841"/>
                  </a:lnTo>
                  <a:lnTo>
                    <a:pt x="72542" y="69841"/>
                  </a:lnTo>
                  <a:lnTo>
                    <a:pt x="72707" y="69841"/>
                  </a:lnTo>
                  <a:close/>
                  <a:moveTo>
                    <a:pt x="72131" y="72380"/>
                  </a:moveTo>
                  <a:lnTo>
                    <a:pt x="72131" y="72380"/>
                  </a:lnTo>
                  <a:lnTo>
                    <a:pt x="72131" y="72380"/>
                  </a:lnTo>
                  <a:lnTo>
                    <a:pt x="72131" y="72063"/>
                  </a:lnTo>
                  <a:lnTo>
                    <a:pt x="72131" y="72063"/>
                  </a:lnTo>
                  <a:lnTo>
                    <a:pt x="72131" y="72063"/>
                  </a:lnTo>
                  <a:lnTo>
                    <a:pt x="72131" y="72063"/>
                  </a:lnTo>
                  <a:lnTo>
                    <a:pt x="72131" y="72063"/>
                  </a:lnTo>
                  <a:lnTo>
                    <a:pt x="72131" y="72063"/>
                  </a:lnTo>
                  <a:lnTo>
                    <a:pt x="72131" y="72063"/>
                  </a:lnTo>
                  <a:lnTo>
                    <a:pt x="72131" y="72063"/>
                  </a:lnTo>
                  <a:lnTo>
                    <a:pt x="72131" y="72063"/>
                  </a:lnTo>
                  <a:lnTo>
                    <a:pt x="71967" y="72380"/>
                  </a:lnTo>
                  <a:lnTo>
                    <a:pt x="72131" y="72380"/>
                  </a:lnTo>
                  <a:close/>
                  <a:moveTo>
                    <a:pt x="74270" y="63015"/>
                  </a:moveTo>
                  <a:lnTo>
                    <a:pt x="74105" y="63015"/>
                  </a:lnTo>
                  <a:lnTo>
                    <a:pt x="74105" y="63015"/>
                  </a:lnTo>
                  <a:lnTo>
                    <a:pt x="74270" y="63015"/>
                  </a:lnTo>
                  <a:lnTo>
                    <a:pt x="74270" y="63015"/>
                  </a:lnTo>
                  <a:lnTo>
                    <a:pt x="74434" y="63015"/>
                  </a:lnTo>
                  <a:lnTo>
                    <a:pt x="74434" y="62698"/>
                  </a:lnTo>
                  <a:lnTo>
                    <a:pt x="74434" y="62698"/>
                  </a:lnTo>
                  <a:lnTo>
                    <a:pt x="74270" y="63015"/>
                  </a:lnTo>
                  <a:lnTo>
                    <a:pt x="74270" y="63015"/>
                  </a:lnTo>
                  <a:close/>
                  <a:moveTo>
                    <a:pt x="78546" y="50634"/>
                  </a:moveTo>
                  <a:lnTo>
                    <a:pt x="78711" y="50317"/>
                  </a:lnTo>
                  <a:lnTo>
                    <a:pt x="78546" y="50317"/>
                  </a:lnTo>
                  <a:lnTo>
                    <a:pt x="78382" y="50317"/>
                  </a:lnTo>
                  <a:lnTo>
                    <a:pt x="78546" y="50317"/>
                  </a:lnTo>
                  <a:lnTo>
                    <a:pt x="78546" y="49841"/>
                  </a:lnTo>
                  <a:lnTo>
                    <a:pt x="78546" y="49841"/>
                  </a:lnTo>
                  <a:lnTo>
                    <a:pt x="78546" y="49841"/>
                  </a:lnTo>
                  <a:lnTo>
                    <a:pt x="78382" y="49523"/>
                  </a:lnTo>
                  <a:lnTo>
                    <a:pt x="78382" y="49523"/>
                  </a:lnTo>
                  <a:lnTo>
                    <a:pt x="78135" y="49841"/>
                  </a:lnTo>
                  <a:lnTo>
                    <a:pt x="78135" y="49841"/>
                  </a:lnTo>
                  <a:lnTo>
                    <a:pt x="77971" y="49841"/>
                  </a:lnTo>
                  <a:lnTo>
                    <a:pt x="77806" y="49523"/>
                  </a:lnTo>
                  <a:lnTo>
                    <a:pt x="77148" y="49841"/>
                  </a:lnTo>
                  <a:lnTo>
                    <a:pt x="76984" y="49841"/>
                  </a:lnTo>
                  <a:lnTo>
                    <a:pt x="76984" y="49841"/>
                  </a:lnTo>
                  <a:lnTo>
                    <a:pt x="77395" y="49523"/>
                  </a:lnTo>
                  <a:lnTo>
                    <a:pt x="77395" y="49523"/>
                  </a:lnTo>
                  <a:lnTo>
                    <a:pt x="77559" y="49523"/>
                  </a:lnTo>
                  <a:lnTo>
                    <a:pt x="77559" y="49047"/>
                  </a:lnTo>
                  <a:lnTo>
                    <a:pt x="77559" y="48730"/>
                  </a:lnTo>
                  <a:lnTo>
                    <a:pt x="77559" y="47936"/>
                  </a:lnTo>
                  <a:lnTo>
                    <a:pt x="77559" y="47936"/>
                  </a:lnTo>
                  <a:lnTo>
                    <a:pt x="77559" y="47619"/>
                  </a:lnTo>
                  <a:lnTo>
                    <a:pt x="77395" y="47619"/>
                  </a:lnTo>
                  <a:lnTo>
                    <a:pt x="76984" y="47619"/>
                  </a:lnTo>
                  <a:lnTo>
                    <a:pt x="76984" y="47619"/>
                  </a:lnTo>
                  <a:lnTo>
                    <a:pt x="76819" y="47301"/>
                  </a:lnTo>
                  <a:lnTo>
                    <a:pt x="76572" y="46825"/>
                  </a:lnTo>
                  <a:lnTo>
                    <a:pt x="76572" y="46825"/>
                  </a:lnTo>
                  <a:lnTo>
                    <a:pt x="76572" y="46507"/>
                  </a:lnTo>
                  <a:lnTo>
                    <a:pt x="76408" y="46507"/>
                  </a:lnTo>
                  <a:lnTo>
                    <a:pt x="76244" y="46507"/>
                  </a:lnTo>
                  <a:lnTo>
                    <a:pt x="75997" y="46507"/>
                  </a:lnTo>
                  <a:lnTo>
                    <a:pt x="75832" y="46190"/>
                  </a:lnTo>
                  <a:lnTo>
                    <a:pt x="75832" y="46190"/>
                  </a:lnTo>
                  <a:lnTo>
                    <a:pt x="75832" y="46190"/>
                  </a:lnTo>
                  <a:lnTo>
                    <a:pt x="75832" y="45714"/>
                  </a:lnTo>
                  <a:lnTo>
                    <a:pt x="75668" y="45396"/>
                  </a:lnTo>
                  <a:lnTo>
                    <a:pt x="75668" y="45396"/>
                  </a:lnTo>
                  <a:lnTo>
                    <a:pt x="75421" y="45396"/>
                  </a:lnTo>
                  <a:lnTo>
                    <a:pt x="75257" y="46190"/>
                  </a:lnTo>
                  <a:lnTo>
                    <a:pt x="75092" y="46190"/>
                  </a:lnTo>
                  <a:lnTo>
                    <a:pt x="75092" y="46190"/>
                  </a:lnTo>
                  <a:lnTo>
                    <a:pt x="74845" y="46190"/>
                  </a:lnTo>
                  <a:lnTo>
                    <a:pt x="75092" y="45714"/>
                  </a:lnTo>
                  <a:lnTo>
                    <a:pt x="74845" y="45396"/>
                  </a:lnTo>
                  <a:lnTo>
                    <a:pt x="74845" y="45396"/>
                  </a:lnTo>
                  <a:lnTo>
                    <a:pt x="74845" y="45396"/>
                  </a:lnTo>
                  <a:lnTo>
                    <a:pt x="75092" y="44920"/>
                  </a:lnTo>
                  <a:lnTo>
                    <a:pt x="75257" y="44920"/>
                  </a:lnTo>
                  <a:lnTo>
                    <a:pt x="75257" y="44920"/>
                  </a:lnTo>
                  <a:lnTo>
                    <a:pt x="75257" y="44603"/>
                  </a:lnTo>
                  <a:lnTo>
                    <a:pt x="75257" y="44603"/>
                  </a:lnTo>
                  <a:lnTo>
                    <a:pt x="75092" y="44285"/>
                  </a:lnTo>
                  <a:lnTo>
                    <a:pt x="75092" y="44285"/>
                  </a:lnTo>
                  <a:lnTo>
                    <a:pt x="75092" y="44285"/>
                  </a:lnTo>
                  <a:lnTo>
                    <a:pt x="75092" y="44285"/>
                  </a:lnTo>
                  <a:lnTo>
                    <a:pt x="74845" y="44285"/>
                  </a:lnTo>
                  <a:lnTo>
                    <a:pt x="74681" y="44285"/>
                  </a:lnTo>
                  <a:lnTo>
                    <a:pt x="74270" y="44603"/>
                  </a:lnTo>
                  <a:lnTo>
                    <a:pt x="74105" y="44920"/>
                  </a:lnTo>
                  <a:lnTo>
                    <a:pt x="73858" y="45396"/>
                  </a:lnTo>
                  <a:lnTo>
                    <a:pt x="73694" y="45714"/>
                  </a:lnTo>
                  <a:lnTo>
                    <a:pt x="73118" y="46825"/>
                  </a:lnTo>
                  <a:lnTo>
                    <a:pt x="72954" y="47301"/>
                  </a:lnTo>
                  <a:lnTo>
                    <a:pt x="72542" y="47936"/>
                  </a:lnTo>
                  <a:lnTo>
                    <a:pt x="72378" y="47936"/>
                  </a:lnTo>
                  <a:lnTo>
                    <a:pt x="72378" y="48412"/>
                  </a:lnTo>
                  <a:lnTo>
                    <a:pt x="72131" y="48730"/>
                  </a:lnTo>
                  <a:lnTo>
                    <a:pt x="72131" y="49047"/>
                  </a:lnTo>
                  <a:lnTo>
                    <a:pt x="72131" y="49047"/>
                  </a:lnTo>
                  <a:lnTo>
                    <a:pt x="72131" y="49523"/>
                  </a:lnTo>
                  <a:lnTo>
                    <a:pt x="71967" y="49523"/>
                  </a:lnTo>
                  <a:lnTo>
                    <a:pt x="71720" y="49523"/>
                  </a:lnTo>
                  <a:lnTo>
                    <a:pt x="70980" y="49841"/>
                  </a:lnTo>
                  <a:lnTo>
                    <a:pt x="70980" y="50317"/>
                  </a:lnTo>
                  <a:lnTo>
                    <a:pt x="70815" y="50317"/>
                  </a:lnTo>
                  <a:lnTo>
                    <a:pt x="70568" y="50634"/>
                  </a:lnTo>
                  <a:lnTo>
                    <a:pt x="70404" y="50634"/>
                  </a:lnTo>
                  <a:lnTo>
                    <a:pt x="70404" y="50952"/>
                  </a:lnTo>
                  <a:lnTo>
                    <a:pt x="70404" y="50952"/>
                  </a:lnTo>
                  <a:lnTo>
                    <a:pt x="70404" y="50952"/>
                  </a:lnTo>
                  <a:lnTo>
                    <a:pt x="70404" y="50952"/>
                  </a:lnTo>
                  <a:lnTo>
                    <a:pt x="70568" y="50952"/>
                  </a:lnTo>
                  <a:lnTo>
                    <a:pt x="70815" y="50952"/>
                  </a:lnTo>
                  <a:lnTo>
                    <a:pt x="71144" y="50952"/>
                  </a:lnTo>
                  <a:lnTo>
                    <a:pt x="71391" y="50952"/>
                  </a:lnTo>
                  <a:lnTo>
                    <a:pt x="72131" y="50634"/>
                  </a:lnTo>
                  <a:lnTo>
                    <a:pt x="72131" y="50634"/>
                  </a:lnTo>
                  <a:lnTo>
                    <a:pt x="72131" y="50634"/>
                  </a:lnTo>
                  <a:lnTo>
                    <a:pt x="72131" y="50952"/>
                  </a:lnTo>
                  <a:lnTo>
                    <a:pt x="71967" y="52063"/>
                  </a:lnTo>
                  <a:lnTo>
                    <a:pt x="71720" y="52539"/>
                  </a:lnTo>
                  <a:lnTo>
                    <a:pt x="71967" y="52539"/>
                  </a:lnTo>
                  <a:lnTo>
                    <a:pt x="72131" y="52539"/>
                  </a:lnTo>
                  <a:lnTo>
                    <a:pt x="72542" y="52063"/>
                  </a:lnTo>
                  <a:lnTo>
                    <a:pt x="72707" y="52063"/>
                  </a:lnTo>
                  <a:lnTo>
                    <a:pt x="72954" y="51746"/>
                  </a:lnTo>
                  <a:lnTo>
                    <a:pt x="73118" y="51746"/>
                  </a:lnTo>
                  <a:lnTo>
                    <a:pt x="73283" y="51746"/>
                  </a:lnTo>
                  <a:lnTo>
                    <a:pt x="73529" y="51428"/>
                  </a:lnTo>
                  <a:lnTo>
                    <a:pt x="73694" y="50952"/>
                  </a:lnTo>
                  <a:lnTo>
                    <a:pt x="73694" y="50952"/>
                  </a:lnTo>
                  <a:lnTo>
                    <a:pt x="73858" y="50952"/>
                  </a:lnTo>
                  <a:lnTo>
                    <a:pt x="74105" y="50952"/>
                  </a:lnTo>
                  <a:lnTo>
                    <a:pt x="74681" y="50317"/>
                  </a:lnTo>
                  <a:lnTo>
                    <a:pt x="74845" y="50317"/>
                  </a:lnTo>
                  <a:lnTo>
                    <a:pt x="74845" y="50317"/>
                  </a:lnTo>
                  <a:lnTo>
                    <a:pt x="75092" y="49841"/>
                  </a:lnTo>
                  <a:lnTo>
                    <a:pt x="75092" y="49523"/>
                  </a:lnTo>
                  <a:lnTo>
                    <a:pt x="75257" y="49523"/>
                  </a:lnTo>
                  <a:lnTo>
                    <a:pt x="75421" y="49523"/>
                  </a:lnTo>
                  <a:lnTo>
                    <a:pt x="75668" y="49523"/>
                  </a:lnTo>
                  <a:lnTo>
                    <a:pt x="75832" y="49523"/>
                  </a:lnTo>
                  <a:lnTo>
                    <a:pt x="75832" y="49523"/>
                  </a:lnTo>
                  <a:lnTo>
                    <a:pt x="75832" y="49523"/>
                  </a:lnTo>
                  <a:lnTo>
                    <a:pt x="75668" y="49841"/>
                  </a:lnTo>
                  <a:lnTo>
                    <a:pt x="75832" y="49841"/>
                  </a:lnTo>
                  <a:lnTo>
                    <a:pt x="76244" y="49841"/>
                  </a:lnTo>
                  <a:lnTo>
                    <a:pt x="76244" y="49841"/>
                  </a:lnTo>
                  <a:lnTo>
                    <a:pt x="75997" y="50634"/>
                  </a:lnTo>
                  <a:lnTo>
                    <a:pt x="76244" y="50634"/>
                  </a:lnTo>
                  <a:lnTo>
                    <a:pt x="76408" y="50634"/>
                  </a:lnTo>
                  <a:lnTo>
                    <a:pt x="76572" y="50952"/>
                  </a:lnTo>
                  <a:lnTo>
                    <a:pt x="77148" y="51428"/>
                  </a:lnTo>
                  <a:lnTo>
                    <a:pt x="77395" y="51428"/>
                  </a:lnTo>
                  <a:lnTo>
                    <a:pt x="77395" y="51428"/>
                  </a:lnTo>
                  <a:lnTo>
                    <a:pt x="77395" y="51428"/>
                  </a:lnTo>
                  <a:lnTo>
                    <a:pt x="77559" y="51428"/>
                  </a:lnTo>
                  <a:lnTo>
                    <a:pt x="77971" y="50952"/>
                  </a:lnTo>
                  <a:lnTo>
                    <a:pt x="78382" y="50634"/>
                  </a:lnTo>
                  <a:lnTo>
                    <a:pt x="78546" y="50634"/>
                  </a:lnTo>
                  <a:close/>
                  <a:moveTo>
                    <a:pt x="78382" y="32539"/>
                  </a:moveTo>
                  <a:lnTo>
                    <a:pt x="78382" y="32539"/>
                  </a:lnTo>
                  <a:lnTo>
                    <a:pt x="78546" y="32539"/>
                  </a:lnTo>
                  <a:lnTo>
                    <a:pt x="78711" y="32539"/>
                  </a:lnTo>
                  <a:lnTo>
                    <a:pt x="78958" y="32539"/>
                  </a:lnTo>
                  <a:lnTo>
                    <a:pt x="78958" y="32539"/>
                  </a:lnTo>
                  <a:lnTo>
                    <a:pt x="78958" y="32222"/>
                  </a:lnTo>
                  <a:lnTo>
                    <a:pt x="78958" y="32222"/>
                  </a:lnTo>
                  <a:lnTo>
                    <a:pt x="78958" y="32222"/>
                  </a:lnTo>
                  <a:lnTo>
                    <a:pt x="78958" y="32222"/>
                  </a:lnTo>
                  <a:lnTo>
                    <a:pt x="78711" y="32222"/>
                  </a:lnTo>
                  <a:lnTo>
                    <a:pt x="78546" y="32222"/>
                  </a:lnTo>
                  <a:lnTo>
                    <a:pt x="78546" y="32222"/>
                  </a:lnTo>
                  <a:lnTo>
                    <a:pt x="78382" y="32222"/>
                  </a:lnTo>
                  <a:lnTo>
                    <a:pt x="78135" y="32222"/>
                  </a:lnTo>
                  <a:lnTo>
                    <a:pt x="78135" y="32222"/>
                  </a:lnTo>
                  <a:lnTo>
                    <a:pt x="78135" y="32222"/>
                  </a:lnTo>
                  <a:lnTo>
                    <a:pt x="78135" y="32539"/>
                  </a:lnTo>
                  <a:lnTo>
                    <a:pt x="78382" y="32539"/>
                  </a:lnTo>
                  <a:close/>
                  <a:moveTo>
                    <a:pt x="75832" y="43809"/>
                  </a:moveTo>
                  <a:lnTo>
                    <a:pt x="75832" y="43809"/>
                  </a:lnTo>
                  <a:lnTo>
                    <a:pt x="75668" y="43809"/>
                  </a:lnTo>
                  <a:lnTo>
                    <a:pt x="75668" y="43809"/>
                  </a:lnTo>
                  <a:lnTo>
                    <a:pt x="75421" y="43809"/>
                  </a:lnTo>
                  <a:lnTo>
                    <a:pt x="75421" y="44285"/>
                  </a:lnTo>
                  <a:lnTo>
                    <a:pt x="75421" y="44285"/>
                  </a:lnTo>
                  <a:lnTo>
                    <a:pt x="75421" y="44603"/>
                  </a:lnTo>
                  <a:lnTo>
                    <a:pt x="75257" y="44603"/>
                  </a:lnTo>
                  <a:lnTo>
                    <a:pt x="75257" y="44603"/>
                  </a:lnTo>
                  <a:lnTo>
                    <a:pt x="75421" y="44920"/>
                  </a:lnTo>
                  <a:lnTo>
                    <a:pt x="75421" y="44920"/>
                  </a:lnTo>
                  <a:lnTo>
                    <a:pt x="75421" y="44920"/>
                  </a:lnTo>
                  <a:lnTo>
                    <a:pt x="75421" y="45396"/>
                  </a:lnTo>
                  <a:lnTo>
                    <a:pt x="75421" y="45396"/>
                  </a:lnTo>
                  <a:lnTo>
                    <a:pt x="75668" y="44920"/>
                  </a:lnTo>
                  <a:lnTo>
                    <a:pt x="75668" y="44920"/>
                  </a:lnTo>
                  <a:lnTo>
                    <a:pt x="75832" y="44920"/>
                  </a:lnTo>
                  <a:lnTo>
                    <a:pt x="75832" y="44920"/>
                  </a:lnTo>
                  <a:lnTo>
                    <a:pt x="75832" y="44603"/>
                  </a:lnTo>
                  <a:lnTo>
                    <a:pt x="75832" y="44285"/>
                  </a:lnTo>
                  <a:lnTo>
                    <a:pt x="75832" y="44285"/>
                  </a:lnTo>
                  <a:lnTo>
                    <a:pt x="75832" y="43809"/>
                  </a:lnTo>
                  <a:lnTo>
                    <a:pt x="75832" y="43809"/>
                  </a:lnTo>
                  <a:close/>
                  <a:moveTo>
                    <a:pt x="81261" y="51428"/>
                  </a:moveTo>
                  <a:lnTo>
                    <a:pt x="81261" y="51428"/>
                  </a:lnTo>
                  <a:lnTo>
                    <a:pt x="81096" y="51428"/>
                  </a:lnTo>
                  <a:lnTo>
                    <a:pt x="80685" y="51428"/>
                  </a:lnTo>
                  <a:lnTo>
                    <a:pt x="80520" y="51428"/>
                  </a:lnTo>
                  <a:lnTo>
                    <a:pt x="80520" y="51428"/>
                  </a:lnTo>
                  <a:lnTo>
                    <a:pt x="80274" y="51428"/>
                  </a:lnTo>
                  <a:lnTo>
                    <a:pt x="80274" y="51746"/>
                  </a:lnTo>
                  <a:lnTo>
                    <a:pt x="80520" y="52063"/>
                  </a:lnTo>
                  <a:lnTo>
                    <a:pt x="80685" y="52539"/>
                  </a:lnTo>
                  <a:lnTo>
                    <a:pt x="80685" y="52539"/>
                  </a:lnTo>
                  <a:lnTo>
                    <a:pt x="80849" y="52539"/>
                  </a:lnTo>
                  <a:lnTo>
                    <a:pt x="81096" y="52539"/>
                  </a:lnTo>
                  <a:lnTo>
                    <a:pt x="81261" y="52063"/>
                  </a:lnTo>
                  <a:lnTo>
                    <a:pt x="81261" y="52063"/>
                  </a:lnTo>
                  <a:lnTo>
                    <a:pt x="81425" y="52063"/>
                  </a:lnTo>
                  <a:lnTo>
                    <a:pt x="81425" y="52063"/>
                  </a:lnTo>
                  <a:lnTo>
                    <a:pt x="81261" y="51746"/>
                  </a:lnTo>
                  <a:lnTo>
                    <a:pt x="81261" y="51428"/>
                  </a:lnTo>
                  <a:lnTo>
                    <a:pt x="81261" y="51428"/>
                  </a:lnTo>
                  <a:close/>
                  <a:moveTo>
                    <a:pt x="77395" y="59682"/>
                  </a:moveTo>
                  <a:lnTo>
                    <a:pt x="77395" y="59682"/>
                  </a:lnTo>
                  <a:lnTo>
                    <a:pt x="77395" y="59682"/>
                  </a:lnTo>
                  <a:lnTo>
                    <a:pt x="77559" y="59682"/>
                  </a:lnTo>
                  <a:lnTo>
                    <a:pt x="77806" y="59682"/>
                  </a:lnTo>
                  <a:lnTo>
                    <a:pt x="77806" y="59682"/>
                  </a:lnTo>
                  <a:lnTo>
                    <a:pt x="77971" y="59206"/>
                  </a:lnTo>
                  <a:lnTo>
                    <a:pt x="77806" y="59682"/>
                  </a:lnTo>
                  <a:lnTo>
                    <a:pt x="77395" y="59682"/>
                  </a:lnTo>
                  <a:close/>
                  <a:moveTo>
                    <a:pt x="78135" y="55079"/>
                  </a:moveTo>
                  <a:lnTo>
                    <a:pt x="78135" y="55079"/>
                  </a:lnTo>
                  <a:lnTo>
                    <a:pt x="78135" y="55079"/>
                  </a:lnTo>
                  <a:lnTo>
                    <a:pt x="78135" y="54761"/>
                  </a:lnTo>
                  <a:lnTo>
                    <a:pt x="77971" y="54761"/>
                  </a:lnTo>
                  <a:lnTo>
                    <a:pt x="77971" y="54761"/>
                  </a:lnTo>
                  <a:lnTo>
                    <a:pt x="77971" y="54761"/>
                  </a:lnTo>
                  <a:lnTo>
                    <a:pt x="77806" y="54761"/>
                  </a:lnTo>
                  <a:lnTo>
                    <a:pt x="77559" y="54761"/>
                  </a:lnTo>
                  <a:lnTo>
                    <a:pt x="77559" y="54761"/>
                  </a:lnTo>
                  <a:lnTo>
                    <a:pt x="77395" y="54761"/>
                  </a:lnTo>
                  <a:lnTo>
                    <a:pt x="76984" y="55079"/>
                  </a:lnTo>
                  <a:lnTo>
                    <a:pt x="76984" y="55555"/>
                  </a:lnTo>
                  <a:lnTo>
                    <a:pt x="76819" y="55555"/>
                  </a:lnTo>
                  <a:lnTo>
                    <a:pt x="76819" y="55555"/>
                  </a:lnTo>
                  <a:lnTo>
                    <a:pt x="76819" y="55873"/>
                  </a:lnTo>
                  <a:lnTo>
                    <a:pt x="76572" y="56190"/>
                  </a:lnTo>
                  <a:lnTo>
                    <a:pt x="76572" y="56190"/>
                  </a:lnTo>
                  <a:lnTo>
                    <a:pt x="76572" y="56666"/>
                  </a:lnTo>
                  <a:lnTo>
                    <a:pt x="76572" y="56666"/>
                  </a:lnTo>
                  <a:lnTo>
                    <a:pt x="76819" y="56666"/>
                  </a:lnTo>
                  <a:lnTo>
                    <a:pt x="76819" y="56984"/>
                  </a:lnTo>
                  <a:lnTo>
                    <a:pt x="76819" y="56984"/>
                  </a:lnTo>
                  <a:lnTo>
                    <a:pt x="76984" y="56984"/>
                  </a:lnTo>
                  <a:lnTo>
                    <a:pt x="76984" y="56984"/>
                  </a:lnTo>
                  <a:lnTo>
                    <a:pt x="76984" y="56984"/>
                  </a:lnTo>
                  <a:lnTo>
                    <a:pt x="77148" y="56666"/>
                  </a:lnTo>
                  <a:lnTo>
                    <a:pt x="77395" y="56190"/>
                  </a:lnTo>
                  <a:lnTo>
                    <a:pt x="77559" y="56190"/>
                  </a:lnTo>
                  <a:lnTo>
                    <a:pt x="77806" y="55873"/>
                  </a:lnTo>
                  <a:lnTo>
                    <a:pt x="77971" y="55873"/>
                  </a:lnTo>
                  <a:lnTo>
                    <a:pt x="77971" y="55555"/>
                  </a:lnTo>
                  <a:lnTo>
                    <a:pt x="78135" y="55079"/>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17" name="Shape 517"/>
            <p:cNvSpPr/>
            <p:nvPr/>
          </p:nvSpPr>
          <p:spPr>
            <a:xfrm>
              <a:off x="3811" y="2531"/>
              <a:ext cx="0" cy="300"/>
            </a:xfrm>
            <a:custGeom>
              <a:avLst/>
              <a:gdLst/>
              <a:ahLst/>
              <a:cxnLst/>
              <a:rect l="0" t="0" r="0" b="0"/>
              <a:pathLst>
                <a:path w="120000" h="120000" extrusionOk="0">
                  <a:moveTo>
                    <a:pt x="117500" y="113029"/>
                  </a:moveTo>
                  <a:lnTo>
                    <a:pt x="117500" y="112033"/>
                  </a:lnTo>
                  <a:lnTo>
                    <a:pt x="117500" y="110539"/>
                  </a:lnTo>
                  <a:lnTo>
                    <a:pt x="117500" y="110539"/>
                  </a:lnTo>
                  <a:lnTo>
                    <a:pt x="117500" y="109543"/>
                  </a:lnTo>
                  <a:lnTo>
                    <a:pt x="117500" y="109543"/>
                  </a:lnTo>
                  <a:lnTo>
                    <a:pt x="117500" y="108547"/>
                  </a:lnTo>
                  <a:lnTo>
                    <a:pt x="117500" y="108547"/>
                  </a:lnTo>
                  <a:lnTo>
                    <a:pt x="117500" y="107053"/>
                  </a:lnTo>
                  <a:lnTo>
                    <a:pt x="115833" y="106058"/>
                  </a:lnTo>
                  <a:lnTo>
                    <a:pt x="115833" y="106058"/>
                  </a:lnTo>
                  <a:lnTo>
                    <a:pt x="115833" y="106058"/>
                  </a:lnTo>
                  <a:lnTo>
                    <a:pt x="114166" y="104564"/>
                  </a:lnTo>
                  <a:lnTo>
                    <a:pt x="114166" y="104564"/>
                  </a:lnTo>
                  <a:lnTo>
                    <a:pt x="111666" y="104564"/>
                  </a:lnTo>
                  <a:lnTo>
                    <a:pt x="111666" y="103568"/>
                  </a:lnTo>
                  <a:lnTo>
                    <a:pt x="110000" y="102572"/>
                  </a:lnTo>
                  <a:lnTo>
                    <a:pt x="107500" y="101078"/>
                  </a:lnTo>
                  <a:lnTo>
                    <a:pt x="105833" y="100082"/>
                  </a:lnTo>
                  <a:lnTo>
                    <a:pt x="104166" y="99087"/>
                  </a:lnTo>
                  <a:lnTo>
                    <a:pt x="101666" y="97593"/>
                  </a:lnTo>
                  <a:lnTo>
                    <a:pt x="101666" y="96597"/>
                  </a:lnTo>
                  <a:lnTo>
                    <a:pt x="101666" y="95601"/>
                  </a:lnTo>
                  <a:lnTo>
                    <a:pt x="101666" y="95601"/>
                  </a:lnTo>
                  <a:lnTo>
                    <a:pt x="101666" y="95601"/>
                  </a:lnTo>
                  <a:lnTo>
                    <a:pt x="101666" y="95601"/>
                  </a:lnTo>
                  <a:lnTo>
                    <a:pt x="101666" y="95601"/>
                  </a:lnTo>
                  <a:lnTo>
                    <a:pt x="101666" y="94107"/>
                  </a:lnTo>
                  <a:lnTo>
                    <a:pt x="101666" y="93112"/>
                  </a:lnTo>
                  <a:lnTo>
                    <a:pt x="100000" y="91618"/>
                  </a:lnTo>
                  <a:lnTo>
                    <a:pt x="98333" y="90622"/>
                  </a:lnTo>
                  <a:lnTo>
                    <a:pt x="95833" y="89626"/>
                  </a:lnTo>
                  <a:lnTo>
                    <a:pt x="95833" y="89626"/>
                  </a:lnTo>
                  <a:lnTo>
                    <a:pt x="95833" y="88132"/>
                  </a:lnTo>
                  <a:lnTo>
                    <a:pt x="95833" y="84647"/>
                  </a:lnTo>
                  <a:lnTo>
                    <a:pt x="94166" y="83651"/>
                  </a:lnTo>
                  <a:lnTo>
                    <a:pt x="94166" y="82655"/>
                  </a:lnTo>
                  <a:lnTo>
                    <a:pt x="94166" y="82655"/>
                  </a:lnTo>
                  <a:lnTo>
                    <a:pt x="94166" y="82655"/>
                  </a:lnTo>
                  <a:lnTo>
                    <a:pt x="94166" y="81161"/>
                  </a:lnTo>
                  <a:lnTo>
                    <a:pt x="94166" y="81161"/>
                  </a:lnTo>
                  <a:lnTo>
                    <a:pt x="94166" y="80165"/>
                  </a:lnTo>
                  <a:lnTo>
                    <a:pt x="94166" y="80165"/>
                  </a:lnTo>
                  <a:lnTo>
                    <a:pt x="94166" y="76680"/>
                  </a:lnTo>
                  <a:lnTo>
                    <a:pt x="94166" y="75186"/>
                  </a:lnTo>
                  <a:lnTo>
                    <a:pt x="94166" y="75186"/>
                  </a:lnTo>
                  <a:lnTo>
                    <a:pt x="94166" y="75186"/>
                  </a:lnTo>
                  <a:lnTo>
                    <a:pt x="92500" y="75186"/>
                  </a:lnTo>
                  <a:lnTo>
                    <a:pt x="92500" y="75186"/>
                  </a:lnTo>
                  <a:lnTo>
                    <a:pt x="92500" y="74190"/>
                  </a:lnTo>
                  <a:lnTo>
                    <a:pt x="92500" y="74190"/>
                  </a:lnTo>
                  <a:lnTo>
                    <a:pt x="92500" y="73195"/>
                  </a:lnTo>
                  <a:lnTo>
                    <a:pt x="92500" y="73195"/>
                  </a:lnTo>
                  <a:lnTo>
                    <a:pt x="94166" y="73195"/>
                  </a:lnTo>
                  <a:lnTo>
                    <a:pt x="95833" y="71701"/>
                  </a:lnTo>
                  <a:lnTo>
                    <a:pt x="95833" y="71701"/>
                  </a:lnTo>
                  <a:lnTo>
                    <a:pt x="95833" y="71701"/>
                  </a:lnTo>
                  <a:lnTo>
                    <a:pt x="95833" y="70705"/>
                  </a:lnTo>
                  <a:lnTo>
                    <a:pt x="98333" y="68215"/>
                  </a:lnTo>
                  <a:lnTo>
                    <a:pt x="100000" y="67219"/>
                  </a:lnTo>
                  <a:lnTo>
                    <a:pt x="100000" y="65726"/>
                  </a:lnTo>
                  <a:lnTo>
                    <a:pt x="101666" y="64730"/>
                  </a:lnTo>
                  <a:lnTo>
                    <a:pt x="101666" y="63734"/>
                  </a:lnTo>
                  <a:lnTo>
                    <a:pt x="104166" y="62240"/>
                  </a:lnTo>
                  <a:lnTo>
                    <a:pt x="104166" y="62240"/>
                  </a:lnTo>
                  <a:lnTo>
                    <a:pt x="104166" y="61244"/>
                  </a:lnTo>
                  <a:lnTo>
                    <a:pt x="105833" y="60248"/>
                  </a:lnTo>
                  <a:lnTo>
                    <a:pt x="107500" y="58755"/>
                  </a:lnTo>
                  <a:lnTo>
                    <a:pt x="107500" y="57759"/>
                  </a:lnTo>
                  <a:lnTo>
                    <a:pt x="110000" y="57759"/>
                  </a:lnTo>
                  <a:lnTo>
                    <a:pt x="110000" y="56763"/>
                  </a:lnTo>
                  <a:lnTo>
                    <a:pt x="110000" y="55269"/>
                  </a:lnTo>
                  <a:lnTo>
                    <a:pt x="107500" y="55269"/>
                  </a:lnTo>
                  <a:lnTo>
                    <a:pt x="107500" y="55269"/>
                  </a:lnTo>
                  <a:lnTo>
                    <a:pt x="105833" y="52780"/>
                  </a:lnTo>
                  <a:lnTo>
                    <a:pt x="104166" y="50788"/>
                  </a:lnTo>
                  <a:lnTo>
                    <a:pt x="101666" y="48298"/>
                  </a:lnTo>
                  <a:lnTo>
                    <a:pt x="100000" y="45809"/>
                  </a:lnTo>
                  <a:lnTo>
                    <a:pt x="98333" y="44813"/>
                  </a:lnTo>
                  <a:lnTo>
                    <a:pt x="98333" y="44813"/>
                  </a:lnTo>
                  <a:lnTo>
                    <a:pt x="95833" y="44813"/>
                  </a:lnTo>
                  <a:lnTo>
                    <a:pt x="95833" y="44813"/>
                  </a:lnTo>
                  <a:lnTo>
                    <a:pt x="94166" y="42323"/>
                  </a:lnTo>
                  <a:lnTo>
                    <a:pt x="90000" y="41327"/>
                  </a:lnTo>
                  <a:lnTo>
                    <a:pt x="88333" y="39834"/>
                  </a:lnTo>
                  <a:lnTo>
                    <a:pt x="88333" y="38838"/>
                  </a:lnTo>
                  <a:lnTo>
                    <a:pt x="86666" y="37842"/>
                  </a:lnTo>
                  <a:lnTo>
                    <a:pt x="84166" y="36348"/>
                  </a:lnTo>
                  <a:lnTo>
                    <a:pt x="84166" y="36348"/>
                  </a:lnTo>
                  <a:lnTo>
                    <a:pt x="86666" y="35352"/>
                  </a:lnTo>
                  <a:lnTo>
                    <a:pt x="86666" y="34356"/>
                  </a:lnTo>
                  <a:lnTo>
                    <a:pt x="88333" y="32863"/>
                  </a:lnTo>
                  <a:lnTo>
                    <a:pt x="90000" y="32863"/>
                  </a:lnTo>
                  <a:lnTo>
                    <a:pt x="94166" y="32863"/>
                  </a:lnTo>
                  <a:lnTo>
                    <a:pt x="98333" y="32863"/>
                  </a:lnTo>
                  <a:lnTo>
                    <a:pt x="101666" y="32863"/>
                  </a:lnTo>
                  <a:lnTo>
                    <a:pt x="101666" y="32863"/>
                  </a:lnTo>
                  <a:lnTo>
                    <a:pt x="104166" y="32863"/>
                  </a:lnTo>
                  <a:lnTo>
                    <a:pt x="105833" y="32863"/>
                  </a:lnTo>
                  <a:lnTo>
                    <a:pt x="107500" y="32863"/>
                  </a:lnTo>
                  <a:lnTo>
                    <a:pt x="110000" y="32863"/>
                  </a:lnTo>
                  <a:lnTo>
                    <a:pt x="107500" y="31867"/>
                  </a:lnTo>
                  <a:lnTo>
                    <a:pt x="105833" y="30871"/>
                  </a:lnTo>
                  <a:lnTo>
                    <a:pt x="104166" y="29377"/>
                  </a:lnTo>
                  <a:lnTo>
                    <a:pt x="104166" y="26887"/>
                  </a:lnTo>
                  <a:lnTo>
                    <a:pt x="101666" y="25892"/>
                  </a:lnTo>
                  <a:lnTo>
                    <a:pt x="101666" y="23402"/>
                  </a:lnTo>
                  <a:lnTo>
                    <a:pt x="100000" y="21410"/>
                  </a:lnTo>
                  <a:lnTo>
                    <a:pt x="100000" y="18921"/>
                  </a:lnTo>
                  <a:lnTo>
                    <a:pt x="101666" y="18921"/>
                  </a:lnTo>
                  <a:lnTo>
                    <a:pt x="101666" y="16431"/>
                  </a:lnTo>
                  <a:lnTo>
                    <a:pt x="101666" y="15435"/>
                  </a:lnTo>
                  <a:lnTo>
                    <a:pt x="101666" y="13941"/>
                  </a:lnTo>
                  <a:lnTo>
                    <a:pt x="101666" y="12946"/>
                  </a:lnTo>
                  <a:lnTo>
                    <a:pt x="101666" y="12946"/>
                  </a:lnTo>
                  <a:lnTo>
                    <a:pt x="100000" y="10456"/>
                  </a:lnTo>
                  <a:lnTo>
                    <a:pt x="100000" y="10456"/>
                  </a:lnTo>
                  <a:lnTo>
                    <a:pt x="98333" y="8464"/>
                  </a:lnTo>
                  <a:lnTo>
                    <a:pt x="98333" y="5975"/>
                  </a:lnTo>
                  <a:lnTo>
                    <a:pt x="95833" y="4481"/>
                  </a:lnTo>
                  <a:lnTo>
                    <a:pt x="94166" y="3485"/>
                  </a:lnTo>
                  <a:lnTo>
                    <a:pt x="92500" y="3485"/>
                  </a:lnTo>
                  <a:lnTo>
                    <a:pt x="92500" y="995"/>
                  </a:lnTo>
                  <a:lnTo>
                    <a:pt x="92500" y="995"/>
                  </a:lnTo>
                  <a:lnTo>
                    <a:pt x="88333" y="0"/>
                  </a:lnTo>
                  <a:lnTo>
                    <a:pt x="86666" y="0"/>
                  </a:lnTo>
                  <a:lnTo>
                    <a:pt x="86666" y="4481"/>
                  </a:lnTo>
                  <a:lnTo>
                    <a:pt x="88333" y="5975"/>
                  </a:lnTo>
                  <a:lnTo>
                    <a:pt x="88333" y="6970"/>
                  </a:lnTo>
                  <a:lnTo>
                    <a:pt x="88333" y="6970"/>
                  </a:lnTo>
                  <a:lnTo>
                    <a:pt x="88333" y="6970"/>
                  </a:lnTo>
                  <a:lnTo>
                    <a:pt x="88333" y="8464"/>
                  </a:lnTo>
                  <a:lnTo>
                    <a:pt x="90000" y="8464"/>
                  </a:lnTo>
                  <a:lnTo>
                    <a:pt x="92500" y="8464"/>
                  </a:lnTo>
                  <a:lnTo>
                    <a:pt x="94166" y="9460"/>
                  </a:lnTo>
                  <a:lnTo>
                    <a:pt x="94166" y="9460"/>
                  </a:lnTo>
                  <a:lnTo>
                    <a:pt x="94166" y="10456"/>
                  </a:lnTo>
                  <a:lnTo>
                    <a:pt x="94166" y="10456"/>
                  </a:lnTo>
                  <a:lnTo>
                    <a:pt x="94166" y="11950"/>
                  </a:lnTo>
                  <a:lnTo>
                    <a:pt x="94166" y="12946"/>
                  </a:lnTo>
                  <a:lnTo>
                    <a:pt x="94166" y="13941"/>
                  </a:lnTo>
                  <a:lnTo>
                    <a:pt x="94166" y="16431"/>
                  </a:lnTo>
                  <a:lnTo>
                    <a:pt x="94166" y="16431"/>
                  </a:lnTo>
                  <a:lnTo>
                    <a:pt x="94166" y="16431"/>
                  </a:lnTo>
                  <a:lnTo>
                    <a:pt x="92500" y="17427"/>
                  </a:lnTo>
                  <a:lnTo>
                    <a:pt x="90000" y="17427"/>
                  </a:lnTo>
                  <a:lnTo>
                    <a:pt x="88333" y="18921"/>
                  </a:lnTo>
                  <a:lnTo>
                    <a:pt x="86666" y="19917"/>
                  </a:lnTo>
                  <a:lnTo>
                    <a:pt x="86666" y="19917"/>
                  </a:lnTo>
                  <a:lnTo>
                    <a:pt x="84166" y="19917"/>
                  </a:lnTo>
                  <a:lnTo>
                    <a:pt x="82500" y="21410"/>
                  </a:lnTo>
                  <a:lnTo>
                    <a:pt x="80000" y="23402"/>
                  </a:lnTo>
                  <a:lnTo>
                    <a:pt x="78333" y="25892"/>
                  </a:lnTo>
                  <a:lnTo>
                    <a:pt x="76666" y="28381"/>
                  </a:lnTo>
                  <a:lnTo>
                    <a:pt x="76666" y="30871"/>
                  </a:lnTo>
                  <a:lnTo>
                    <a:pt x="74166" y="31867"/>
                  </a:lnTo>
                  <a:lnTo>
                    <a:pt x="72500" y="32863"/>
                  </a:lnTo>
                  <a:lnTo>
                    <a:pt x="72500" y="32863"/>
                  </a:lnTo>
                  <a:lnTo>
                    <a:pt x="72500" y="34356"/>
                  </a:lnTo>
                  <a:lnTo>
                    <a:pt x="72500" y="36348"/>
                  </a:lnTo>
                  <a:lnTo>
                    <a:pt x="72500" y="37842"/>
                  </a:lnTo>
                  <a:lnTo>
                    <a:pt x="72500" y="37842"/>
                  </a:lnTo>
                  <a:lnTo>
                    <a:pt x="70833" y="37842"/>
                  </a:lnTo>
                  <a:lnTo>
                    <a:pt x="68333" y="38838"/>
                  </a:lnTo>
                  <a:lnTo>
                    <a:pt x="66666" y="39834"/>
                  </a:lnTo>
                  <a:lnTo>
                    <a:pt x="66666" y="41327"/>
                  </a:lnTo>
                  <a:lnTo>
                    <a:pt x="66666" y="43817"/>
                  </a:lnTo>
                  <a:lnTo>
                    <a:pt x="66666" y="44813"/>
                  </a:lnTo>
                  <a:lnTo>
                    <a:pt x="66666" y="44813"/>
                  </a:lnTo>
                  <a:lnTo>
                    <a:pt x="65000" y="45809"/>
                  </a:lnTo>
                  <a:lnTo>
                    <a:pt x="65000" y="47302"/>
                  </a:lnTo>
                  <a:lnTo>
                    <a:pt x="62500" y="47302"/>
                  </a:lnTo>
                  <a:lnTo>
                    <a:pt x="60833" y="47302"/>
                  </a:lnTo>
                  <a:lnTo>
                    <a:pt x="59166" y="49294"/>
                  </a:lnTo>
                  <a:lnTo>
                    <a:pt x="56666" y="50788"/>
                  </a:lnTo>
                  <a:lnTo>
                    <a:pt x="56666" y="51784"/>
                  </a:lnTo>
                  <a:lnTo>
                    <a:pt x="56666" y="54273"/>
                  </a:lnTo>
                  <a:lnTo>
                    <a:pt x="55000" y="56763"/>
                  </a:lnTo>
                  <a:lnTo>
                    <a:pt x="55000" y="57759"/>
                  </a:lnTo>
                  <a:lnTo>
                    <a:pt x="55000" y="57759"/>
                  </a:lnTo>
                  <a:lnTo>
                    <a:pt x="50833" y="60248"/>
                  </a:lnTo>
                  <a:lnTo>
                    <a:pt x="50833" y="60248"/>
                  </a:lnTo>
                  <a:lnTo>
                    <a:pt x="50833" y="61244"/>
                  </a:lnTo>
                  <a:lnTo>
                    <a:pt x="50833" y="62240"/>
                  </a:lnTo>
                  <a:lnTo>
                    <a:pt x="50833" y="62240"/>
                  </a:lnTo>
                  <a:lnTo>
                    <a:pt x="50833" y="62240"/>
                  </a:lnTo>
                  <a:lnTo>
                    <a:pt x="50833" y="63734"/>
                  </a:lnTo>
                  <a:lnTo>
                    <a:pt x="49166" y="64730"/>
                  </a:lnTo>
                  <a:lnTo>
                    <a:pt x="46666" y="65726"/>
                  </a:lnTo>
                  <a:lnTo>
                    <a:pt x="46666" y="65726"/>
                  </a:lnTo>
                  <a:lnTo>
                    <a:pt x="46666" y="67219"/>
                  </a:lnTo>
                  <a:lnTo>
                    <a:pt x="46666" y="68215"/>
                  </a:lnTo>
                  <a:lnTo>
                    <a:pt x="45000" y="68215"/>
                  </a:lnTo>
                  <a:lnTo>
                    <a:pt x="45000" y="69709"/>
                  </a:lnTo>
                  <a:lnTo>
                    <a:pt x="43333" y="69709"/>
                  </a:lnTo>
                  <a:lnTo>
                    <a:pt x="43333" y="69709"/>
                  </a:lnTo>
                  <a:lnTo>
                    <a:pt x="40833" y="70705"/>
                  </a:lnTo>
                  <a:lnTo>
                    <a:pt x="40833" y="69709"/>
                  </a:lnTo>
                  <a:lnTo>
                    <a:pt x="39166" y="69709"/>
                  </a:lnTo>
                  <a:lnTo>
                    <a:pt x="39166" y="67219"/>
                  </a:lnTo>
                  <a:lnTo>
                    <a:pt x="39166" y="67219"/>
                  </a:lnTo>
                  <a:lnTo>
                    <a:pt x="37500" y="67219"/>
                  </a:lnTo>
                  <a:lnTo>
                    <a:pt x="37500" y="65726"/>
                  </a:lnTo>
                  <a:lnTo>
                    <a:pt x="35000" y="64730"/>
                  </a:lnTo>
                  <a:lnTo>
                    <a:pt x="33333" y="63734"/>
                  </a:lnTo>
                  <a:lnTo>
                    <a:pt x="31666" y="63734"/>
                  </a:lnTo>
                  <a:lnTo>
                    <a:pt x="31666" y="63734"/>
                  </a:lnTo>
                  <a:lnTo>
                    <a:pt x="31666" y="64730"/>
                  </a:lnTo>
                  <a:lnTo>
                    <a:pt x="31666" y="65726"/>
                  </a:lnTo>
                  <a:lnTo>
                    <a:pt x="29166" y="65726"/>
                  </a:lnTo>
                  <a:lnTo>
                    <a:pt x="27500" y="65726"/>
                  </a:lnTo>
                  <a:lnTo>
                    <a:pt x="25000" y="64730"/>
                  </a:lnTo>
                  <a:lnTo>
                    <a:pt x="25000" y="64730"/>
                  </a:lnTo>
                  <a:lnTo>
                    <a:pt x="25000" y="64730"/>
                  </a:lnTo>
                  <a:lnTo>
                    <a:pt x="25000" y="64730"/>
                  </a:lnTo>
                  <a:lnTo>
                    <a:pt x="23333" y="64730"/>
                  </a:lnTo>
                  <a:lnTo>
                    <a:pt x="21666" y="65726"/>
                  </a:lnTo>
                  <a:lnTo>
                    <a:pt x="19166" y="65726"/>
                  </a:lnTo>
                  <a:lnTo>
                    <a:pt x="19166" y="67219"/>
                  </a:lnTo>
                  <a:lnTo>
                    <a:pt x="19166" y="68215"/>
                  </a:lnTo>
                  <a:lnTo>
                    <a:pt x="17500" y="69709"/>
                  </a:lnTo>
                  <a:lnTo>
                    <a:pt x="15833" y="69709"/>
                  </a:lnTo>
                  <a:lnTo>
                    <a:pt x="15833" y="70705"/>
                  </a:lnTo>
                  <a:lnTo>
                    <a:pt x="13333" y="70705"/>
                  </a:lnTo>
                  <a:lnTo>
                    <a:pt x="13333" y="71701"/>
                  </a:lnTo>
                  <a:lnTo>
                    <a:pt x="11666" y="73195"/>
                  </a:lnTo>
                  <a:lnTo>
                    <a:pt x="7500" y="74190"/>
                  </a:lnTo>
                  <a:lnTo>
                    <a:pt x="7500" y="75186"/>
                  </a:lnTo>
                  <a:lnTo>
                    <a:pt x="5833" y="76680"/>
                  </a:lnTo>
                  <a:lnTo>
                    <a:pt x="5833" y="78672"/>
                  </a:lnTo>
                  <a:lnTo>
                    <a:pt x="5833" y="80165"/>
                  </a:lnTo>
                  <a:lnTo>
                    <a:pt x="4166" y="83651"/>
                  </a:lnTo>
                  <a:lnTo>
                    <a:pt x="4166" y="84647"/>
                  </a:lnTo>
                  <a:lnTo>
                    <a:pt x="1666" y="86141"/>
                  </a:lnTo>
                  <a:lnTo>
                    <a:pt x="1666" y="87136"/>
                  </a:lnTo>
                  <a:lnTo>
                    <a:pt x="0" y="88132"/>
                  </a:lnTo>
                  <a:lnTo>
                    <a:pt x="1666" y="88132"/>
                  </a:lnTo>
                  <a:lnTo>
                    <a:pt x="0" y="89626"/>
                  </a:lnTo>
                  <a:lnTo>
                    <a:pt x="0" y="89626"/>
                  </a:lnTo>
                  <a:lnTo>
                    <a:pt x="1666" y="90622"/>
                  </a:lnTo>
                  <a:lnTo>
                    <a:pt x="1666" y="90622"/>
                  </a:lnTo>
                  <a:lnTo>
                    <a:pt x="4166" y="89626"/>
                  </a:lnTo>
                  <a:lnTo>
                    <a:pt x="1666" y="88132"/>
                  </a:lnTo>
                  <a:lnTo>
                    <a:pt x="4166" y="89626"/>
                  </a:lnTo>
                  <a:lnTo>
                    <a:pt x="4166" y="89626"/>
                  </a:lnTo>
                  <a:lnTo>
                    <a:pt x="4166" y="89626"/>
                  </a:lnTo>
                  <a:lnTo>
                    <a:pt x="5833" y="89626"/>
                  </a:lnTo>
                  <a:lnTo>
                    <a:pt x="5833" y="89626"/>
                  </a:lnTo>
                  <a:lnTo>
                    <a:pt x="5833" y="89626"/>
                  </a:lnTo>
                  <a:lnTo>
                    <a:pt x="5833" y="90622"/>
                  </a:lnTo>
                  <a:lnTo>
                    <a:pt x="5833" y="91618"/>
                  </a:lnTo>
                  <a:lnTo>
                    <a:pt x="5833" y="93112"/>
                  </a:lnTo>
                  <a:lnTo>
                    <a:pt x="7500" y="93112"/>
                  </a:lnTo>
                  <a:lnTo>
                    <a:pt x="7500" y="94107"/>
                  </a:lnTo>
                  <a:lnTo>
                    <a:pt x="10000" y="95601"/>
                  </a:lnTo>
                  <a:lnTo>
                    <a:pt x="11666" y="95601"/>
                  </a:lnTo>
                  <a:lnTo>
                    <a:pt x="11666" y="96597"/>
                  </a:lnTo>
                  <a:lnTo>
                    <a:pt x="11666" y="96597"/>
                  </a:lnTo>
                  <a:lnTo>
                    <a:pt x="13333" y="96597"/>
                  </a:lnTo>
                  <a:lnTo>
                    <a:pt x="13333" y="96597"/>
                  </a:lnTo>
                  <a:lnTo>
                    <a:pt x="15833" y="96597"/>
                  </a:lnTo>
                  <a:lnTo>
                    <a:pt x="15833" y="95601"/>
                  </a:lnTo>
                  <a:lnTo>
                    <a:pt x="15833" y="95601"/>
                  </a:lnTo>
                  <a:lnTo>
                    <a:pt x="15833" y="95601"/>
                  </a:lnTo>
                  <a:lnTo>
                    <a:pt x="15833" y="95601"/>
                  </a:lnTo>
                  <a:lnTo>
                    <a:pt x="17500" y="95601"/>
                  </a:lnTo>
                  <a:lnTo>
                    <a:pt x="17500" y="95601"/>
                  </a:lnTo>
                  <a:lnTo>
                    <a:pt x="17500" y="95601"/>
                  </a:lnTo>
                  <a:lnTo>
                    <a:pt x="17500" y="95601"/>
                  </a:lnTo>
                  <a:lnTo>
                    <a:pt x="17500" y="96597"/>
                  </a:lnTo>
                  <a:lnTo>
                    <a:pt x="19166" y="96597"/>
                  </a:lnTo>
                  <a:lnTo>
                    <a:pt x="19166" y="97593"/>
                  </a:lnTo>
                  <a:lnTo>
                    <a:pt x="17500" y="96597"/>
                  </a:lnTo>
                  <a:lnTo>
                    <a:pt x="17500" y="97593"/>
                  </a:lnTo>
                  <a:lnTo>
                    <a:pt x="15833" y="97593"/>
                  </a:lnTo>
                  <a:lnTo>
                    <a:pt x="17500" y="99087"/>
                  </a:lnTo>
                  <a:lnTo>
                    <a:pt x="17500" y="100082"/>
                  </a:lnTo>
                  <a:lnTo>
                    <a:pt x="19166" y="100082"/>
                  </a:lnTo>
                  <a:lnTo>
                    <a:pt x="17500" y="100082"/>
                  </a:lnTo>
                  <a:lnTo>
                    <a:pt x="21666" y="102572"/>
                  </a:lnTo>
                  <a:lnTo>
                    <a:pt x="21666" y="103568"/>
                  </a:lnTo>
                  <a:lnTo>
                    <a:pt x="21666" y="106058"/>
                  </a:lnTo>
                  <a:lnTo>
                    <a:pt x="21666" y="107053"/>
                  </a:lnTo>
                  <a:lnTo>
                    <a:pt x="21666" y="109543"/>
                  </a:lnTo>
                  <a:lnTo>
                    <a:pt x="19166" y="110539"/>
                  </a:lnTo>
                  <a:lnTo>
                    <a:pt x="19166" y="113029"/>
                  </a:lnTo>
                  <a:lnTo>
                    <a:pt x="19166" y="114024"/>
                  </a:lnTo>
                  <a:lnTo>
                    <a:pt x="19166" y="114024"/>
                  </a:lnTo>
                  <a:lnTo>
                    <a:pt x="21666" y="114024"/>
                  </a:lnTo>
                  <a:lnTo>
                    <a:pt x="21666" y="114024"/>
                  </a:lnTo>
                  <a:lnTo>
                    <a:pt x="23333" y="115518"/>
                  </a:lnTo>
                  <a:lnTo>
                    <a:pt x="27500" y="115518"/>
                  </a:lnTo>
                  <a:lnTo>
                    <a:pt x="31666" y="115518"/>
                  </a:lnTo>
                  <a:lnTo>
                    <a:pt x="35000" y="115518"/>
                  </a:lnTo>
                  <a:lnTo>
                    <a:pt x="39166" y="115518"/>
                  </a:lnTo>
                  <a:lnTo>
                    <a:pt x="43333" y="115518"/>
                  </a:lnTo>
                  <a:lnTo>
                    <a:pt x="43333" y="114024"/>
                  </a:lnTo>
                  <a:lnTo>
                    <a:pt x="45000" y="114024"/>
                  </a:lnTo>
                  <a:lnTo>
                    <a:pt x="43333" y="113029"/>
                  </a:lnTo>
                  <a:lnTo>
                    <a:pt x="46666" y="113029"/>
                  </a:lnTo>
                  <a:lnTo>
                    <a:pt x="52500" y="114024"/>
                  </a:lnTo>
                  <a:lnTo>
                    <a:pt x="55000" y="114024"/>
                  </a:lnTo>
                  <a:lnTo>
                    <a:pt x="56666" y="114024"/>
                  </a:lnTo>
                  <a:lnTo>
                    <a:pt x="59166" y="114024"/>
                  </a:lnTo>
                  <a:lnTo>
                    <a:pt x="62500" y="114024"/>
                  </a:lnTo>
                  <a:lnTo>
                    <a:pt x="62500" y="114024"/>
                  </a:lnTo>
                  <a:lnTo>
                    <a:pt x="65000" y="114024"/>
                  </a:lnTo>
                  <a:lnTo>
                    <a:pt x="66666" y="114024"/>
                  </a:lnTo>
                  <a:lnTo>
                    <a:pt x="72500" y="114024"/>
                  </a:lnTo>
                  <a:lnTo>
                    <a:pt x="72500" y="114024"/>
                  </a:lnTo>
                  <a:lnTo>
                    <a:pt x="74166" y="114024"/>
                  </a:lnTo>
                  <a:lnTo>
                    <a:pt x="74166" y="115518"/>
                  </a:lnTo>
                  <a:lnTo>
                    <a:pt x="78333" y="115518"/>
                  </a:lnTo>
                  <a:lnTo>
                    <a:pt x="82500" y="115518"/>
                  </a:lnTo>
                  <a:lnTo>
                    <a:pt x="86666" y="115518"/>
                  </a:lnTo>
                  <a:lnTo>
                    <a:pt x="90000" y="115518"/>
                  </a:lnTo>
                  <a:lnTo>
                    <a:pt x="92500" y="115518"/>
                  </a:lnTo>
                  <a:lnTo>
                    <a:pt x="94166" y="114024"/>
                  </a:lnTo>
                  <a:lnTo>
                    <a:pt x="95833" y="115518"/>
                  </a:lnTo>
                  <a:lnTo>
                    <a:pt x="95833" y="115518"/>
                  </a:lnTo>
                  <a:lnTo>
                    <a:pt x="95833" y="115518"/>
                  </a:lnTo>
                  <a:lnTo>
                    <a:pt x="95833" y="116514"/>
                  </a:lnTo>
                  <a:lnTo>
                    <a:pt x="98333" y="115518"/>
                  </a:lnTo>
                  <a:lnTo>
                    <a:pt x="98333" y="116514"/>
                  </a:lnTo>
                  <a:lnTo>
                    <a:pt x="98333" y="116514"/>
                  </a:lnTo>
                  <a:lnTo>
                    <a:pt x="100000" y="116514"/>
                  </a:lnTo>
                  <a:lnTo>
                    <a:pt x="101666" y="116514"/>
                  </a:lnTo>
                  <a:lnTo>
                    <a:pt x="101666" y="116514"/>
                  </a:lnTo>
                  <a:lnTo>
                    <a:pt x="104166" y="116514"/>
                  </a:lnTo>
                  <a:lnTo>
                    <a:pt x="104166" y="116514"/>
                  </a:lnTo>
                  <a:lnTo>
                    <a:pt x="104166" y="116514"/>
                  </a:lnTo>
                  <a:lnTo>
                    <a:pt x="105833" y="117510"/>
                  </a:lnTo>
                  <a:lnTo>
                    <a:pt x="107500" y="117510"/>
                  </a:lnTo>
                  <a:lnTo>
                    <a:pt x="110000" y="117510"/>
                  </a:lnTo>
                  <a:lnTo>
                    <a:pt x="111666" y="117510"/>
                  </a:lnTo>
                  <a:lnTo>
                    <a:pt x="114166" y="119004"/>
                  </a:lnTo>
                  <a:lnTo>
                    <a:pt x="115833" y="119004"/>
                  </a:lnTo>
                  <a:lnTo>
                    <a:pt x="117500" y="120000"/>
                  </a:lnTo>
                  <a:lnTo>
                    <a:pt x="117500" y="120000"/>
                  </a:lnTo>
                  <a:lnTo>
                    <a:pt x="117500" y="120000"/>
                  </a:lnTo>
                  <a:lnTo>
                    <a:pt x="117500" y="120000"/>
                  </a:lnTo>
                  <a:lnTo>
                    <a:pt x="117500" y="119004"/>
                  </a:lnTo>
                  <a:lnTo>
                    <a:pt x="117500" y="117510"/>
                  </a:lnTo>
                  <a:lnTo>
                    <a:pt x="117500" y="116514"/>
                  </a:lnTo>
                  <a:lnTo>
                    <a:pt x="117500" y="115518"/>
                  </a:lnTo>
                  <a:lnTo>
                    <a:pt x="117500" y="115518"/>
                  </a:lnTo>
                  <a:lnTo>
                    <a:pt x="120000" y="114024"/>
                  </a:lnTo>
                  <a:lnTo>
                    <a:pt x="120000" y="114024"/>
                  </a:lnTo>
                  <a:lnTo>
                    <a:pt x="120000" y="114024"/>
                  </a:lnTo>
                  <a:lnTo>
                    <a:pt x="117500" y="113029"/>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18" name="Shape 518"/>
            <p:cNvSpPr/>
            <p:nvPr/>
          </p:nvSpPr>
          <p:spPr>
            <a:xfrm>
              <a:off x="5541" y="2498"/>
              <a:ext cx="0" cy="0"/>
            </a:xfrm>
            <a:custGeom>
              <a:avLst/>
              <a:gdLst/>
              <a:ahLst/>
              <a:cxnLst/>
              <a:rect l="0" t="0" r="0" b="0"/>
              <a:pathLst>
                <a:path w="120000" h="120000" extrusionOk="0">
                  <a:moveTo>
                    <a:pt x="119999" y="56000"/>
                  </a:moveTo>
                  <a:lnTo>
                    <a:pt x="119999" y="50666"/>
                  </a:lnTo>
                  <a:lnTo>
                    <a:pt x="116363" y="50666"/>
                  </a:lnTo>
                  <a:lnTo>
                    <a:pt x="116363" y="46666"/>
                  </a:lnTo>
                  <a:lnTo>
                    <a:pt x="116363" y="41333"/>
                  </a:lnTo>
                  <a:lnTo>
                    <a:pt x="119999" y="34666"/>
                  </a:lnTo>
                  <a:lnTo>
                    <a:pt x="119999" y="32000"/>
                  </a:lnTo>
                  <a:lnTo>
                    <a:pt x="116363" y="28000"/>
                  </a:lnTo>
                  <a:lnTo>
                    <a:pt x="113939" y="25333"/>
                  </a:lnTo>
                  <a:lnTo>
                    <a:pt x="113939" y="18666"/>
                  </a:lnTo>
                  <a:lnTo>
                    <a:pt x="111515" y="18666"/>
                  </a:lnTo>
                  <a:lnTo>
                    <a:pt x="111515" y="16000"/>
                  </a:lnTo>
                  <a:lnTo>
                    <a:pt x="111515" y="16000"/>
                  </a:lnTo>
                  <a:lnTo>
                    <a:pt x="111515" y="9333"/>
                  </a:lnTo>
                  <a:lnTo>
                    <a:pt x="111515" y="9333"/>
                  </a:lnTo>
                  <a:lnTo>
                    <a:pt x="113939" y="6666"/>
                  </a:lnTo>
                  <a:lnTo>
                    <a:pt x="113939" y="2666"/>
                  </a:lnTo>
                  <a:lnTo>
                    <a:pt x="113939" y="0"/>
                  </a:lnTo>
                  <a:lnTo>
                    <a:pt x="113939" y="0"/>
                  </a:lnTo>
                  <a:lnTo>
                    <a:pt x="111515" y="0"/>
                  </a:lnTo>
                  <a:lnTo>
                    <a:pt x="111515" y="2666"/>
                  </a:lnTo>
                  <a:lnTo>
                    <a:pt x="111515" y="2666"/>
                  </a:lnTo>
                  <a:lnTo>
                    <a:pt x="107878" y="2666"/>
                  </a:lnTo>
                  <a:lnTo>
                    <a:pt x="107878" y="2666"/>
                  </a:lnTo>
                  <a:lnTo>
                    <a:pt x="107878" y="6666"/>
                  </a:lnTo>
                  <a:lnTo>
                    <a:pt x="105454" y="6666"/>
                  </a:lnTo>
                  <a:lnTo>
                    <a:pt x="105454" y="6666"/>
                  </a:lnTo>
                  <a:lnTo>
                    <a:pt x="103030" y="6666"/>
                  </a:lnTo>
                  <a:lnTo>
                    <a:pt x="103030" y="9333"/>
                  </a:lnTo>
                  <a:lnTo>
                    <a:pt x="103030" y="9333"/>
                  </a:lnTo>
                  <a:lnTo>
                    <a:pt x="99393" y="9333"/>
                  </a:lnTo>
                  <a:lnTo>
                    <a:pt x="99393" y="9333"/>
                  </a:lnTo>
                  <a:lnTo>
                    <a:pt x="96969" y="9333"/>
                  </a:lnTo>
                  <a:lnTo>
                    <a:pt x="96969" y="9333"/>
                  </a:lnTo>
                  <a:lnTo>
                    <a:pt x="94545" y="6666"/>
                  </a:lnTo>
                  <a:lnTo>
                    <a:pt x="94545" y="6666"/>
                  </a:lnTo>
                  <a:lnTo>
                    <a:pt x="94545" y="6666"/>
                  </a:lnTo>
                  <a:lnTo>
                    <a:pt x="90909" y="2666"/>
                  </a:lnTo>
                  <a:lnTo>
                    <a:pt x="90909" y="2666"/>
                  </a:lnTo>
                  <a:lnTo>
                    <a:pt x="90909" y="2666"/>
                  </a:lnTo>
                  <a:lnTo>
                    <a:pt x="88484" y="6666"/>
                  </a:lnTo>
                  <a:lnTo>
                    <a:pt x="84848" y="6666"/>
                  </a:lnTo>
                  <a:lnTo>
                    <a:pt x="84848" y="6666"/>
                  </a:lnTo>
                  <a:lnTo>
                    <a:pt x="84848" y="9333"/>
                  </a:lnTo>
                  <a:lnTo>
                    <a:pt x="84848" y="9333"/>
                  </a:lnTo>
                  <a:lnTo>
                    <a:pt x="80000" y="9333"/>
                  </a:lnTo>
                  <a:lnTo>
                    <a:pt x="80000" y="9333"/>
                  </a:lnTo>
                  <a:lnTo>
                    <a:pt x="80000" y="12000"/>
                  </a:lnTo>
                  <a:lnTo>
                    <a:pt x="82424" y="16000"/>
                  </a:lnTo>
                  <a:lnTo>
                    <a:pt x="84848" y="18666"/>
                  </a:lnTo>
                  <a:lnTo>
                    <a:pt x="82424" y="21333"/>
                  </a:lnTo>
                  <a:lnTo>
                    <a:pt x="80000" y="21333"/>
                  </a:lnTo>
                  <a:lnTo>
                    <a:pt x="76363" y="18666"/>
                  </a:lnTo>
                  <a:lnTo>
                    <a:pt x="76363" y="18666"/>
                  </a:lnTo>
                  <a:lnTo>
                    <a:pt x="76363" y="16000"/>
                  </a:lnTo>
                  <a:lnTo>
                    <a:pt x="71515" y="16000"/>
                  </a:lnTo>
                  <a:lnTo>
                    <a:pt x="67878" y="16000"/>
                  </a:lnTo>
                  <a:lnTo>
                    <a:pt x="65454" y="16000"/>
                  </a:lnTo>
                  <a:lnTo>
                    <a:pt x="65454" y="16000"/>
                  </a:lnTo>
                  <a:lnTo>
                    <a:pt x="65454" y="12000"/>
                  </a:lnTo>
                  <a:lnTo>
                    <a:pt x="63030" y="12000"/>
                  </a:lnTo>
                  <a:lnTo>
                    <a:pt x="63030" y="9333"/>
                  </a:lnTo>
                  <a:lnTo>
                    <a:pt x="63030" y="9333"/>
                  </a:lnTo>
                  <a:lnTo>
                    <a:pt x="63030" y="9333"/>
                  </a:lnTo>
                  <a:lnTo>
                    <a:pt x="63030" y="12000"/>
                  </a:lnTo>
                  <a:lnTo>
                    <a:pt x="59393" y="12000"/>
                  </a:lnTo>
                  <a:lnTo>
                    <a:pt x="59393" y="12000"/>
                  </a:lnTo>
                  <a:lnTo>
                    <a:pt x="59393" y="12000"/>
                  </a:lnTo>
                  <a:lnTo>
                    <a:pt x="56969" y="9333"/>
                  </a:lnTo>
                  <a:lnTo>
                    <a:pt x="56969" y="9333"/>
                  </a:lnTo>
                  <a:lnTo>
                    <a:pt x="54545" y="6666"/>
                  </a:lnTo>
                  <a:lnTo>
                    <a:pt x="54545" y="6666"/>
                  </a:lnTo>
                  <a:lnTo>
                    <a:pt x="48484" y="9333"/>
                  </a:lnTo>
                  <a:lnTo>
                    <a:pt x="44848" y="9333"/>
                  </a:lnTo>
                  <a:lnTo>
                    <a:pt x="40000" y="9333"/>
                  </a:lnTo>
                  <a:lnTo>
                    <a:pt x="36363" y="9333"/>
                  </a:lnTo>
                  <a:lnTo>
                    <a:pt x="36363" y="9333"/>
                  </a:lnTo>
                  <a:lnTo>
                    <a:pt x="33939" y="9333"/>
                  </a:lnTo>
                  <a:lnTo>
                    <a:pt x="31515" y="9333"/>
                  </a:lnTo>
                  <a:lnTo>
                    <a:pt x="31515" y="9333"/>
                  </a:lnTo>
                  <a:lnTo>
                    <a:pt x="25454" y="6666"/>
                  </a:lnTo>
                  <a:lnTo>
                    <a:pt x="25454" y="6666"/>
                  </a:lnTo>
                  <a:lnTo>
                    <a:pt x="23030" y="9333"/>
                  </a:lnTo>
                  <a:lnTo>
                    <a:pt x="19393" y="9333"/>
                  </a:lnTo>
                  <a:lnTo>
                    <a:pt x="16969" y="9333"/>
                  </a:lnTo>
                  <a:lnTo>
                    <a:pt x="14545" y="12000"/>
                  </a:lnTo>
                  <a:lnTo>
                    <a:pt x="10909" y="16000"/>
                  </a:lnTo>
                  <a:lnTo>
                    <a:pt x="10909" y="18666"/>
                  </a:lnTo>
                  <a:lnTo>
                    <a:pt x="10909" y="18666"/>
                  </a:lnTo>
                  <a:lnTo>
                    <a:pt x="8484" y="21333"/>
                  </a:lnTo>
                  <a:lnTo>
                    <a:pt x="4848" y="28000"/>
                  </a:lnTo>
                  <a:lnTo>
                    <a:pt x="4848" y="28000"/>
                  </a:lnTo>
                  <a:lnTo>
                    <a:pt x="4848" y="28000"/>
                  </a:lnTo>
                  <a:lnTo>
                    <a:pt x="4848" y="32000"/>
                  </a:lnTo>
                  <a:lnTo>
                    <a:pt x="2424" y="32000"/>
                  </a:lnTo>
                  <a:lnTo>
                    <a:pt x="0" y="32000"/>
                  </a:lnTo>
                  <a:lnTo>
                    <a:pt x="0" y="32000"/>
                  </a:lnTo>
                  <a:lnTo>
                    <a:pt x="2424" y="37333"/>
                  </a:lnTo>
                  <a:lnTo>
                    <a:pt x="2424" y="41333"/>
                  </a:lnTo>
                  <a:lnTo>
                    <a:pt x="2424" y="44000"/>
                  </a:lnTo>
                  <a:lnTo>
                    <a:pt x="4848" y="46666"/>
                  </a:lnTo>
                  <a:lnTo>
                    <a:pt x="4848" y="50666"/>
                  </a:lnTo>
                  <a:lnTo>
                    <a:pt x="4848" y="56000"/>
                  </a:lnTo>
                  <a:lnTo>
                    <a:pt x="8484" y="60000"/>
                  </a:lnTo>
                  <a:lnTo>
                    <a:pt x="10909" y="60000"/>
                  </a:lnTo>
                  <a:lnTo>
                    <a:pt x="14545" y="62666"/>
                  </a:lnTo>
                  <a:lnTo>
                    <a:pt x="10909" y="62666"/>
                  </a:lnTo>
                  <a:lnTo>
                    <a:pt x="10909" y="69333"/>
                  </a:lnTo>
                  <a:lnTo>
                    <a:pt x="14545" y="72000"/>
                  </a:lnTo>
                  <a:lnTo>
                    <a:pt x="16969" y="81333"/>
                  </a:lnTo>
                  <a:lnTo>
                    <a:pt x="19393" y="85333"/>
                  </a:lnTo>
                  <a:lnTo>
                    <a:pt x="16969" y="81333"/>
                  </a:lnTo>
                  <a:lnTo>
                    <a:pt x="19393" y="81333"/>
                  </a:lnTo>
                  <a:lnTo>
                    <a:pt x="19393" y="81333"/>
                  </a:lnTo>
                  <a:lnTo>
                    <a:pt x="19393" y="88000"/>
                  </a:lnTo>
                  <a:lnTo>
                    <a:pt x="23030" y="90666"/>
                  </a:lnTo>
                  <a:lnTo>
                    <a:pt x="23030" y="94666"/>
                  </a:lnTo>
                  <a:lnTo>
                    <a:pt x="23030" y="97333"/>
                  </a:lnTo>
                  <a:lnTo>
                    <a:pt x="23030" y="101333"/>
                  </a:lnTo>
                  <a:lnTo>
                    <a:pt x="25454" y="106666"/>
                  </a:lnTo>
                  <a:lnTo>
                    <a:pt x="27878" y="106666"/>
                  </a:lnTo>
                  <a:lnTo>
                    <a:pt x="27878" y="106666"/>
                  </a:lnTo>
                  <a:lnTo>
                    <a:pt x="31515" y="104000"/>
                  </a:lnTo>
                  <a:lnTo>
                    <a:pt x="31515" y="101333"/>
                  </a:lnTo>
                  <a:lnTo>
                    <a:pt x="33939" y="101333"/>
                  </a:lnTo>
                  <a:lnTo>
                    <a:pt x="33939" y="101333"/>
                  </a:lnTo>
                  <a:lnTo>
                    <a:pt x="36363" y="101333"/>
                  </a:lnTo>
                  <a:lnTo>
                    <a:pt x="36363" y="106666"/>
                  </a:lnTo>
                  <a:lnTo>
                    <a:pt x="36363" y="110666"/>
                  </a:lnTo>
                  <a:lnTo>
                    <a:pt x="33939" y="110666"/>
                  </a:lnTo>
                  <a:lnTo>
                    <a:pt x="33939" y="113333"/>
                  </a:lnTo>
                  <a:lnTo>
                    <a:pt x="33939" y="113333"/>
                  </a:lnTo>
                  <a:lnTo>
                    <a:pt x="33939" y="116000"/>
                  </a:lnTo>
                  <a:lnTo>
                    <a:pt x="36363" y="116000"/>
                  </a:lnTo>
                  <a:lnTo>
                    <a:pt x="40000" y="116000"/>
                  </a:lnTo>
                  <a:lnTo>
                    <a:pt x="42424" y="113333"/>
                  </a:lnTo>
                  <a:lnTo>
                    <a:pt x="42424" y="113333"/>
                  </a:lnTo>
                  <a:lnTo>
                    <a:pt x="42424" y="116000"/>
                  </a:lnTo>
                  <a:lnTo>
                    <a:pt x="50909" y="116000"/>
                  </a:lnTo>
                  <a:lnTo>
                    <a:pt x="54545" y="120000"/>
                  </a:lnTo>
                  <a:lnTo>
                    <a:pt x="54545" y="120000"/>
                  </a:lnTo>
                  <a:lnTo>
                    <a:pt x="56969" y="120000"/>
                  </a:lnTo>
                  <a:lnTo>
                    <a:pt x="56969" y="116000"/>
                  </a:lnTo>
                  <a:lnTo>
                    <a:pt x="59393" y="116000"/>
                  </a:lnTo>
                  <a:lnTo>
                    <a:pt x="63030" y="116000"/>
                  </a:lnTo>
                  <a:lnTo>
                    <a:pt x="63030" y="116000"/>
                  </a:lnTo>
                  <a:lnTo>
                    <a:pt x="65454" y="113333"/>
                  </a:lnTo>
                  <a:lnTo>
                    <a:pt x="65454" y="113333"/>
                  </a:lnTo>
                  <a:lnTo>
                    <a:pt x="67878" y="110666"/>
                  </a:lnTo>
                  <a:lnTo>
                    <a:pt x="67878" y="110666"/>
                  </a:lnTo>
                  <a:lnTo>
                    <a:pt x="67878" y="110666"/>
                  </a:lnTo>
                  <a:lnTo>
                    <a:pt x="65454" y="106666"/>
                  </a:lnTo>
                  <a:lnTo>
                    <a:pt x="67878" y="106666"/>
                  </a:lnTo>
                  <a:lnTo>
                    <a:pt x="71515" y="106666"/>
                  </a:lnTo>
                  <a:lnTo>
                    <a:pt x="73939" y="106666"/>
                  </a:lnTo>
                  <a:lnTo>
                    <a:pt x="73939" y="106666"/>
                  </a:lnTo>
                  <a:lnTo>
                    <a:pt x="73939" y="104000"/>
                  </a:lnTo>
                  <a:lnTo>
                    <a:pt x="73939" y="104000"/>
                  </a:lnTo>
                  <a:lnTo>
                    <a:pt x="76363" y="104000"/>
                  </a:lnTo>
                  <a:lnTo>
                    <a:pt x="80000" y="104000"/>
                  </a:lnTo>
                  <a:lnTo>
                    <a:pt x="82424" y="104000"/>
                  </a:lnTo>
                  <a:lnTo>
                    <a:pt x="82424" y="104000"/>
                  </a:lnTo>
                  <a:lnTo>
                    <a:pt x="84848" y="104000"/>
                  </a:lnTo>
                  <a:lnTo>
                    <a:pt x="84848" y="106666"/>
                  </a:lnTo>
                  <a:lnTo>
                    <a:pt x="84848" y="106666"/>
                  </a:lnTo>
                  <a:lnTo>
                    <a:pt x="88484" y="106666"/>
                  </a:lnTo>
                  <a:lnTo>
                    <a:pt x="88484" y="106666"/>
                  </a:lnTo>
                  <a:lnTo>
                    <a:pt x="90909" y="110666"/>
                  </a:lnTo>
                  <a:lnTo>
                    <a:pt x="90909" y="110666"/>
                  </a:lnTo>
                  <a:lnTo>
                    <a:pt x="90909" y="106666"/>
                  </a:lnTo>
                  <a:lnTo>
                    <a:pt x="90909" y="104000"/>
                  </a:lnTo>
                  <a:lnTo>
                    <a:pt x="90909" y="101333"/>
                  </a:lnTo>
                  <a:lnTo>
                    <a:pt x="90909" y="101333"/>
                  </a:lnTo>
                  <a:lnTo>
                    <a:pt x="84848" y="97333"/>
                  </a:lnTo>
                  <a:lnTo>
                    <a:pt x="84848" y="94666"/>
                  </a:lnTo>
                  <a:lnTo>
                    <a:pt x="84848" y="90666"/>
                  </a:lnTo>
                  <a:lnTo>
                    <a:pt x="84848" y="88000"/>
                  </a:lnTo>
                  <a:lnTo>
                    <a:pt x="82424" y="88000"/>
                  </a:lnTo>
                  <a:lnTo>
                    <a:pt x="82424" y="85333"/>
                  </a:lnTo>
                  <a:lnTo>
                    <a:pt x="82424" y="85333"/>
                  </a:lnTo>
                  <a:lnTo>
                    <a:pt x="84848" y="85333"/>
                  </a:lnTo>
                  <a:lnTo>
                    <a:pt x="84848" y="85333"/>
                  </a:lnTo>
                  <a:lnTo>
                    <a:pt x="84848" y="85333"/>
                  </a:lnTo>
                  <a:lnTo>
                    <a:pt x="88484" y="81333"/>
                  </a:lnTo>
                  <a:lnTo>
                    <a:pt x="88484" y="81333"/>
                  </a:lnTo>
                  <a:lnTo>
                    <a:pt x="90909" y="81333"/>
                  </a:lnTo>
                  <a:lnTo>
                    <a:pt x="94545" y="85333"/>
                  </a:lnTo>
                  <a:lnTo>
                    <a:pt x="96969" y="85333"/>
                  </a:lnTo>
                  <a:lnTo>
                    <a:pt x="96969" y="85333"/>
                  </a:lnTo>
                  <a:lnTo>
                    <a:pt x="96969" y="81333"/>
                  </a:lnTo>
                  <a:lnTo>
                    <a:pt x="96969" y="78666"/>
                  </a:lnTo>
                  <a:lnTo>
                    <a:pt x="96969" y="76000"/>
                  </a:lnTo>
                  <a:lnTo>
                    <a:pt x="96969" y="76000"/>
                  </a:lnTo>
                  <a:lnTo>
                    <a:pt x="99393" y="76000"/>
                  </a:lnTo>
                  <a:lnTo>
                    <a:pt x="103030" y="76000"/>
                  </a:lnTo>
                  <a:lnTo>
                    <a:pt x="103030" y="72000"/>
                  </a:lnTo>
                  <a:lnTo>
                    <a:pt x="107878" y="72000"/>
                  </a:lnTo>
                  <a:lnTo>
                    <a:pt x="107878" y="69333"/>
                  </a:lnTo>
                  <a:lnTo>
                    <a:pt x="111515" y="66666"/>
                  </a:lnTo>
                  <a:lnTo>
                    <a:pt x="113939" y="66666"/>
                  </a:lnTo>
                  <a:lnTo>
                    <a:pt x="113939" y="66666"/>
                  </a:lnTo>
                  <a:lnTo>
                    <a:pt x="116363" y="66666"/>
                  </a:lnTo>
                  <a:lnTo>
                    <a:pt x="116363" y="69333"/>
                  </a:lnTo>
                  <a:lnTo>
                    <a:pt x="116363" y="66666"/>
                  </a:lnTo>
                  <a:lnTo>
                    <a:pt x="119999" y="66666"/>
                  </a:lnTo>
                  <a:lnTo>
                    <a:pt x="119999" y="62666"/>
                  </a:lnTo>
                  <a:lnTo>
                    <a:pt x="119999" y="60000"/>
                  </a:lnTo>
                  <a:lnTo>
                    <a:pt x="119999" y="5600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19" name="Shape 519"/>
            <p:cNvSpPr/>
            <p:nvPr/>
          </p:nvSpPr>
          <p:spPr>
            <a:xfrm>
              <a:off x="4193" y="2857"/>
              <a:ext cx="0" cy="0"/>
            </a:xfrm>
            <a:custGeom>
              <a:avLst/>
              <a:gdLst/>
              <a:ahLst/>
              <a:cxnLst/>
              <a:rect l="0" t="0" r="0" b="0"/>
              <a:pathLst>
                <a:path w="120000" h="120000" extrusionOk="0">
                  <a:moveTo>
                    <a:pt x="120000" y="40000"/>
                  </a:moveTo>
                  <a:lnTo>
                    <a:pt x="120000" y="40000"/>
                  </a:lnTo>
                  <a:lnTo>
                    <a:pt x="120000" y="40000"/>
                  </a:lnTo>
                  <a:lnTo>
                    <a:pt x="109090" y="40000"/>
                  </a:lnTo>
                  <a:lnTo>
                    <a:pt x="101818" y="32000"/>
                  </a:lnTo>
                  <a:lnTo>
                    <a:pt x="101818" y="32000"/>
                  </a:lnTo>
                  <a:lnTo>
                    <a:pt x="94545" y="32000"/>
                  </a:lnTo>
                  <a:lnTo>
                    <a:pt x="94545" y="32000"/>
                  </a:lnTo>
                  <a:lnTo>
                    <a:pt x="94545" y="26666"/>
                  </a:lnTo>
                  <a:lnTo>
                    <a:pt x="94545" y="26666"/>
                  </a:lnTo>
                  <a:lnTo>
                    <a:pt x="94545" y="26666"/>
                  </a:lnTo>
                  <a:lnTo>
                    <a:pt x="94545" y="18666"/>
                  </a:lnTo>
                  <a:lnTo>
                    <a:pt x="94545" y="18666"/>
                  </a:lnTo>
                  <a:lnTo>
                    <a:pt x="94545" y="18666"/>
                  </a:lnTo>
                  <a:lnTo>
                    <a:pt x="94545" y="13333"/>
                  </a:lnTo>
                  <a:lnTo>
                    <a:pt x="101818" y="8000"/>
                  </a:lnTo>
                  <a:lnTo>
                    <a:pt x="101818" y="0"/>
                  </a:lnTo>
                  <a:lnTo>
                    <a:pt x="101818" y="0"/>
                  </a:lnTo>
                  <a:lnTo>
                    <a:pt x="94545" y="0"/>
                  </a:lnTo>
                  <a:lnTo>
                    <a:pt x="94545" y="0"/>
                  </a:lnTo>
                  <a:lnTo>
                    <a:pt x="83636" y="0"/>
                  </a:lnTo>
                  <a:lnTo>
                    <a:pt x="76363" y="0"/>
                  </a:lnTo>
                  <a:lnTo>
                    <a:pt x="76363" y="0"/>
                  </a:lnTo>
                  <a:lnTo>
                    <a:pt x="76363" y="8000"/>
                  </a:lnTo>
                  <a:lnTo>
                    <a:pt x="65454" y="8000"/>
                  </a:lnTo>
                  <a:lnTo>
                    <a:pt x="65454" y="8000"/>
                  </a:lnTo>
                  <a:lnTo>
                    <a:pt x="58181" y="0"/>
                  </a:lnTo>
                  <a:lnTo>
                    <a:pt x="58181" y="0"/>
                  </a:lnTo>
                  <a:lnTo>
                    <a:pt x="58181" y="13333"/>
                  </a:lnTo>
                  <a:lnTo>
                    <a:pt x="58181" y="18666"/>
                  </a:lnTo>
                  <a:lnTo>
                    <a:pt x="50909" y="18666"/>
                  </a:lnTo>
                  <a:lnTo>
                    <a:pt x="50909" y="26666"/>
                  </a:lnTo>
                  <a:lnTo>
                    <a:pt x="40000" y="26666"/>
                  </a:lnTo>
                  <a:lnTo>
                    <a:pt x="40000" y="26666"/>
                  </a:lnTo>
                  <a:lnTo>
                    <a:pt x="25454" y="26666"/>
                  </a:lnTo>
                  <a:lnTo>
                    <a:pt x="25454" y="26666"/>
                  </a:lnTo>
                  <a:lnTo>
                    <a:pt x="14545" y="26666"/>
                  </a:lnTo>
                  <a:lnTo>
                    <a:pt x="14545" y="18666"/>
                  </a:lnTo>
                  <a:lnTo>
                    <a:pt x="7272" y="13333"/>
                  </a:lnTo>
                  <a:lnTo>
                    <a:pt x="0" y="13333"/>
                  </a:lnTo>
                  <a:lnTo>
                    <a:pt x="0" y="13333"/>
                  </a:lnTo>
                  <a:lnTo>
                    <a:pt x="0" y="18666"/>
                  </a:lnTo>
                  <a:lnTo>
                    <a:pt x="0" y="18666"/>
                  </a:lnTo>
                  <a:lnTo>
                    <a:pt x="0" y="26666"/>
                  </a:lnTo>
                  <a:lnTo>
                    <a:pt x="0" y="26666"/>
                  </a:lnTo>
                  <a:lnTo>
                    <a:pt x="0" y="26666"/>
                  </a:lnTo>
                  <a:lnTo>
                    <a:pt x="7272" y="32000"/>
                  </a:lnTo>
                  <a:lnTo>
                    <a:pt x="7272" y="40000"/>
                  </a:lnTo>
                  <a:lnTo>
                    <a:pt x="7272" y="45333"/>
                  </a:lnTo>
                  <a:lnTo>
                    <a:pt x="7272" y="50666"/>
                  </a:lnTo>
                  <a:lnTo>
                    <a:pt x="7272" y="58666"/>
                  </a:lnTo>
                  <a:lnTo>
                    <a:pt x="7272" y="64000"/>
                  </a:lnTo>
                  <a:lnTo>
                    <a:pt x="7272" y="77333"/>
                  </a:lnTo>
                  <a:lnTo>
                    <a:pt x="7272" y="82666"/>
                  </a:lnTo>
                  <a:lnTo>
                    <a:pt x="7272" y="88000"/>
                  </a:lnTo>
                  <a:lnTo>
                    <a:pt x="14545" y="101333"/>
                  </a:lnTo>
                  <a:lnTo>
                    <a:pt x="25454" y="109333"/>
                  </a:lnTo>
                  <a:lnTo>
                    <a:pt x="25454" y="120000"/>
                  </a:lnTo>
                  <a:lnTo>
                    <a:pt x="40000" y="120000"/>
                  </a:lnTo>
                  <a:lnTo>
                    <a:pt x="50909" y="114666"/>
                  </a:lnTo>
                  <a:lnTo>
                    <a:pt x="58181" y="109333"/>
                  </a:lnTo>
                  <a:lnTo>
                    <a:pt x="76363" y="101333"/>
                  </a:lnTo>
                  <a:lnTo>
                    <a:pt x="76363" y="96000"/>
                  </a:lnTo>
                  <a:lnTo>
                    <a:pt x="83636" y="82666"/>
                  </a:lnTo>
                  <a:lnTo>
                    <a:pt x="83636" y="82666"/>
                  </a:lnTo>
                  <a:lnTo>
                    <a:pt x="83636" y="77333"/>
                  </a:lnTo>
                  <a:lnTo>
                    <a:pt x="94545" y="77333"/>
                  </a:lnTo>
                  <a:lnTo>
                    <a:pt x="94545" y="69333"/>
                  </a:lnTo>
                  <a:lnTo>
                    <a:pt x="101818" y="64000"/>
                  </a:lnTo>
                  <a:lnTo>
                    <a:pt x="101818" y="64000"/>
                  </a:lnTo>
                  <a:lnTo>
                    <a:pt x="101818" y="58666"/>
                  </a:lnTo>
                  <a:lnTo>
                    <a:pt x="101818" y="58666"/>
                  </a:lnTo>
                  <a:lnTo>
                    <a:pt x="101818" y="58666"/>
                  </a:lnTo>
                  <a:lnTo>
                    <a:pt x="109090" y="58666"/>
                  </a:lnTo>
                  <a:lnTo>
                    <a:pt x="120000" y="50666"/>
                  </a:lnTo>
                  <a:lnTo>
                    <a:pt x="120000" y="50666"/>
                  </a:lnTo>
                  <a:lnTo>
                    <a:pt x="120000" y="45333"/>
                  </a:lnTo>
                  <a:lnTo>
                    <a:pt x="120000" y="4000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20" name="Shape 520"/>
            <p:cNvSpPr/>
            <p:nvPr/>
          </p:nvSpPr>
          <p:spPr>
            <a:xfrm>
              <a:off x="3552" y="2488"/>
              <a:ext cx="0" cy="0"/>
            </a:xfrm>
            <a:custGeom>
              <a:avLst/>
              <a:gdLst/>
              <a:ahLst/>
              <a:cxnLst/>
              <a:rect l="0" t="0" r="0" b="0"/>
              <a:pathLst>
                <a:path w="120000" h="120000" extrusionOk="0">
                  <a:moveTo>
                    <a:pt x="119999" y="66446"/>
                  </a:moveTo>
                  <a:lnTo>
                    <a:pt x="117534" y="63471"/>
                  </a:lnTo>
                  <a:lnTo>
                    <a:pt x="115890" y="59504"/>
                  </a:lnTo>
                  <a:lnTo>
                    <a:pt x="115890" y="59504"/>
                  </a:lnTo>
                  <a:lnTo>
                    <a:pt x="115890" y="59504"/>
                  </a:lnTo>
                  <a:lnTo>
                    <a:pt x="115890" y="59504"/>
                  </a:lnTo>
                  <a:lnTo>
                    <a:pt x="115890" y="56528"/>
                  </a:lnTo>
                  <a:lnTo>
                    <a:pt x="117534" y="56528"/>
                  </a:lnTo>
                  <a:lnTo>
                    <a:pt x="117534" y="56528"/>
                  </a:lnTo>
                  <a:lnTo>
                    <a:pt x="117534" y="56528"/>
                  </a:lnTo>
                  <a:lnTo>
                    <a:pt x="117534" y="54545"/>
                  </a:lnTo>
                  <a:lnTo>
                    <a:pt x="115890" y="51570"/>
                  </a:lnTo>
                  <a:lnTo>
                    <a:pt x="115890" y="51570"/>
                  </a:lnTo>
                  <a:lnTo>
                    <a:pt x="115890" y="51570"/>
                  </a:lnTo>
                  <a:lnTo>
                    <a:pt x="114246" y="49586"/>
                  </a:lnTo>
                  <a:lnTo>
                    <a:pt x="114246" y="51570"/>
                  </a:lnTo>
                  <a:lnTo>
                    <a:pt x="111780" y="51570"/>
                  </a:lnTo>
                  <a:lnTo>
                    <a:pt x="111780" y="51570"/>
                  </a:lnTo>
                  <a:lnTo>
                    <a:pt x="110136" y="51570"/>
                  </a:lnTo>
                  <a:lnTo>
                    <a:pt x="108493" y="51570"/>
                  </a:lnTo>
                  <a:lnTo>
                    <a:pt x="106027" y="51570"/>
                  </a:lnTo>
                  <a:lnTo>
                    <a:pt x="104383" y="47603"/>
                  </a:lnTo>
                  <a:lnTo>
                    <a:pt x="100273" y="44628"/>
                  </a:lnTo>
                  <a:lnTo>
                    <a:pt x="98630" y="44628"/>
                  </a:lnTo>
                  <a:lnTo>
                    <a:pt x="98630" y="44628"/>
                  </a:lnTo>
                  <a:lnTo>
                    <a:pt x="98630" y="40661"/>
                  </a:lnTo>
                  <a:lnTo>
                    <a:pt x="98630" y="37685"/>
                  </a:lnTo>
                  <a:lnTo>
                    <a:pt x="98630" y="37685"/>
                  </a:lnTo>
                  <a:lnTo>
                    <a:pt x="100273" y="37685"/>
                  </a:lnTo>
                  <a:lnTo>
                    <a:pt x="101917" y="37685"/>
                  </a:lnTo>
                  <a:lnTo>
                    <a:pt x="101917" y="37685"/>
                  </a:lnTo>
                  <a:lnTo>
                    <a:pt x="100273" y="35702"/>
                  </a:lnTo>
                  <a:lnTo>
                    <a:pt x="100273" y="35702"/>
                  </a:lnTo>
                  <a:lnTo>
                    <a:pt x="98630" y="33719"/>
                  </a:lnTo>
                  <a:lnTo>
                    <a:pt x="98630" y="33719"/>
                  </a:lnTo>
                  <a:lnTo>
                    <a:pt x="98630" y="33719"/>
                  </a:lnTo>
                  <a:lnTo>
                    <a:pt x="96164" y="30743"/>
                  </a:lnTo>
                  <a:lnTo>
                    <a:pt x="96164" y="30743"/>
                  </a:lnTo>
                  <a:lnTo>
                    <a:pt x="96164" y="30743"/>
                  </a:lnTo>
                  <a:lnTo>
                    <a:pt x="94520" y="30743"/>
                  </a:lnTo>
                  <a:lnTo>
                    <a:pt x="92876" y="30743"/>
                  </a:lnTo>
                  <a:lnTo>
                    <a:pt x="92876" y="25785"/>
                  </a:lnTo>
                  <a:lnTo>
                    <a:pt x="90410" y="23801"/>
                  </a:lnTo>
                  <a:lnTo>
                    <a:pt x="90410" y="21818"/>
                  </a:lnTo>
                  <a:lnTo>
                    <a:pt x="88767" y="21818"/>
                  </a:lnTo>
                  <a:lnTo>
                    <a:pt x="90410" y="18842"/>
                  </a:lnTo>
                  <a:lnTo>
                    <a:pt x="88767" y="16859"/>
                  </a:lnTo>
                  <a:lnTo>
                    <a:pt x="88767" y="14876"/>
                  </a:lnTo>
                  <a:lnTo>
                    <a:pt x="87123" y="14876"/>
                  </a:lnTo>
                  <a:lnTo>
                    <a:pt x="87123" y="9917"/>
                  </a:lnTo>
                  <a:lnTo>
                    <a:pt x="87123" y="7933"/>
                  </a:lnTo>
                  <a:lnTo>
                    <a:pt x="87123" y="4958"/>
                  </a:lnTo>
                  <a:lnTo>
                    <a:pt x="87123" y="4958"/>
                  </a:lnTo>
                  <a:lnTo>
                    <a:pt x="84657" y="2975"/>
                  </a:lnTo>
                  <a:lnTo>
                    <a:pt x="81369" y="2975"/>
                  </a:lnTo>
                  <a:lnTo>
                    <a:pt x="78904" y="2975"/>
                  </a:lnTo>
                  <a:lnTo>
                    <a:pt x="77260" y="2975"/>
                  </a:lnTo>
                  <a:lnTo>
                    <a:pt x="77260" y="2975"/>
                  </a:lnTo>
                  <a:lnTo>
                    <a:pt x="77260" y="0"/>
                  </a:lnTo>
                  <a:lnTo>
                    <a:pt x="74794" y="0"/>
                  </a:lnTo>
                  <a:lnTo>
                    <a:pt x="73150" y="2975"/>
                  </a:lnTo>
                  <a:lnTo>
                    <a:pt x="71506" y="4958"/>
                  </a:lnTo>
                  <a:lnTo>
                    <a:pt x="69041" y="7933"/>
                  </a:lnTo>
                  <a:lnTo>
                    <a:pt x="69041" y="7933"/>
                  </a:lnTo>
                  <a:lnTo>
                    <a:pt x="65753" y="7933"/>
                  </a:lnTo>
                  <a:lnTo>
                    <a:pt x="61643" y="9917"/>
                  </a:lnTo>
                  <a:lnTo>
                    <a:pt x="59999" y="11900"/>
                  </a:lnTo>
                  <a:lnTo>
                    <a:pt x="59999" y="11900"/>
                  </a:lnTo>
                  <a:lnTo>
                    <a:pt x="57534" y="14876"/>
                  </a:lnTo>
                  <a:lnTo>
                    <a:pt x="55890" y="14876"/>
                  </a:lnTo>
                  <a:lnTo>
                    <a:pt x="54246" y="14876"/>
                  </a:lnTo>
                  <a:lnTo>
                    <a:pt x="54246" y="18842"/>
                  </a:lnTo>
                  <a:lnTo>
                    <a:pt x="51780" y="21818"/>
                  </a:lnTo>
                  <a:lnTo>
                    <a:pt x="48493" y="18842"/>
                  </a:lnTo>
                  <a:lnTo>
                    <a:pt x="46027" y="18842"/>
                  </a:lnTo>
                  <a:lnTo>
                    <a:pt x="44383" y="18842"/>
                  </a:lnTo>
                  <a:lnTo>
                    <a:pt x="41917" y="21818"/>
                  </a:lnTo>
                  <a:lnTo>
                    <a:pt x="40273" y="23801"/>
                  </a:lnTo>
                  <a:lnTo>
                    <a:pt x="40273" y="28760"/>
                  </a:lnTo>
                  <a:lnTo>
                    <a:pt x="40273" y="28760"/>
                  </a:lnTo>
                  <a:lnTo>
                    <a:pt x="40273" y="30743"/>
                  </a:lnTo>
                  <a:lnTo>
                    <a:pt x="40273" y="30743"/>
                  </a:lnTo>
                  <a:lnTo>
                    <a:pt x="38630" y="30743"/>
                  </a:lnTo>
                  <a:lnTo>
                    <a:pt x="38630" y="30743"/>
                  </a:lnTo>
                  <a:lnTo>
                    <a:pt x="36164" y="30743"/>
                  </a:lnTo>
                  <a:lnTo>
                    <a:pt x="34520" y="30743"/>
                  </a:lnTo>
                  <a:lnTo>
                    <a:pt x="34520" y="33719"/>
                  </a:lnTo>
                  <a:lnTo>
                    <a:pt x="34520" y="35702"/>
                  </a:lnTo>
                  <a:lnTo>
                    <a:pt x="34520" y="37685"/>
                  </a:lnTo>
                  <a:lnTo>
                    <a:pt x="32876" y="40661"/>
                  </a:lnTo>
                  <a:lnTo>
                    <a:pt x="30410" y="40661"/>
                  </a:lnTo>
                  <a:lnTo>
                    <a:pt x="30410" y="40661"/>
                  </a:lnTo>
                  <a:lnTo>
                    <a:pt x="30410" y="40661"/>
                  </a:lnTo>
                  <a:lnTo>
                    <a:pt x="24657" y="37685"/>
                  </a:lnTo>
                  <a:lnTo>
                    <a:pt x="24657" y="35702"/>
                  </a:lnTo>
                  <a:lnTo>
                    <a:pt x="23013" y="37685"/>
                  </a:lnTo>
                  <a:lnTo>
                    <a:pt x="21369" y="37685"/>
                  </a:lnTo>
                  <a:lnTo>
                    <a:pt x="21369" y="40661"/>
                  </a:lnTo>
                  <a:lnTo>
                    <a:pt x="18904" y="40661"/>
                  </a:lnTo>
                  <a:lnTo>
                    <a:pt x="18904" y="42644"/>
                  </a:lnTo>
                  <a:lnTo>
                    <a:pt x="18904" y="42644"/>
                  </a:lnTo>
                  <a:lnTo>
                    <a:pt x="18904" y="44628"/>
                  </a:lnTo>
                  <a:lnTo>
                    <a:pt x="18904" y="47603"/>
                  </a:lnTo>
                  <a:lnTo>
                    <a:pt x="18904" y="49586"/>
                  </a:lnTo>
                  <a:lnTo>
                    <a:pt x="14794" y="51570"/>
                  </a:lnTo>
                  <a:lnTo>
                    <a:pt x="17260" y="51570"/>
                  </a:lnTo>
                  <a:lnTo>
                    <a:pt x="17260" y="54545"/>
                  </a:lnTo>
                  <a:lnTo>
                    <a:pt x="17260" y="54545"/>
                  </a:lnTo>
                  <a:lnTo>
                    <a:pt x="17260" y="59504"/>
                  </a:lnTo>
                  <a:lnTo>
                    <a:pt x="14794" y="59504"/>
                  </a:lnTo>
                  <a:lnTo>
                    <a:pt x="14794" y="61487"/>
                  </a:lnTo>
                  <a:lnTo>
                    <a:pt x="14794" y="63471"/>
                  </a:lnTo>
                  <a:lnTo>
                    <a:pt x="13150" y="63471"/>
                  </a:lnTo>
                  <a:lnTo>
                    <a:pt x="13150" y="63471"/>
                  </a:lnTo>
                  <a:lnTo>
                    <a:pt x="11506" y="66446"/>
                  </a:lnTo>
                  <a:lnTo>
                    <a:pt x="9041" y="66446"/>
                  </a:lnTo>
                  <a:lnTo>
                    <a:pt x="5753" y="66446"/>
                  </a:lnTo>
                  <a:lnTo>
                    <a:pt x="5753" y="66446"/>
                  </a:lnTo>
                  <a:lnTo>
                    <a:pt x="3287" y="68429"/>
                  </a:lnTo>
                  <a:lnTo>
                    <a:pt x="3287" y="68429"/>
                  </a:lnTo>
                  <a:lnTo>
                    <a:pt x="3287" y="70413"/>
                  </a:lnTo>
                  <a:lnTo>
                    <a:pt x="3287" y="73388"/>
                  </a:lnTo>
                  <a:lnTo>
                    <a:pt x="3287" y="73388"/>
                  </a:lnTo>
                  <a:lnTo>
                    <a:pt x="3287" y="75371"/>
                  </a:lnTo>
                  <a:lnTo>
                    <a:pt x="3287" y="75371"/>
                  </a:lnTo>
                  <a:lnTo>
                    <a:pt x="3287" y="77355"/>
                  </a:lnTo>
                  <a:lnTo>
                    <a:pt x="3287" y="82314"/>
                  </a:lnTo>
                  <a:lnTo>
                    <a:pt x="1643" y="85289"/>
                  </a:lnTo>
                  <a:lnTo>
                    <a:pt x="1643" y="85289"/>
                  </a:lnTo>
                  <a:lnTo>
                    <a:pt x="0" y="85289"/>
                  </a:lnTo>
                  <a:lnTo>
                    <a:pt x="1643" y="87272"/>
                  </a:lnTo>
                  <a:lnTo>
                    <a:pt x="1643" y="92231"/>
                  </a:lnTo>
                  <a:lnTo>
                    <a:pt x="0" y="94214"/>
                  </a:lnTo>
                  <a:lnTo>
                    <a:pt x="0" y="96198"/>
                  </a:lnTo>
                  <a:lnTo>
                    <a:pt x="0" y="96198"/>
                  </a:lnTo>
                  <a:lnTo>
                    <a:pt x="0" y="99173"/>
                  </a:lnTo>
                  <a:lnTo>
                    <a:pt x="0" y="101157"/>
                  </a:lnTo>
                  <a:lnTo>
                    <a:pt x="1643" y="101157"/>
                  </a:lnTo>
                  <a:lnTo>
                    <a:pt x="3287" y="101157"/>
                  </a:lnTo>
                  <a:lnTo>
                    <a:pt x="5753" y="101157"/>
                  </a:lnTo>
                  <a:lnTo>
                    <a:pt x="5753" y="104132"/>
                  </a:lnTo>
                  <a:lnTo>
                    <a:pt x="7397" y="106115"/>
                  </a:lnTo>
                  <a:lnTo>
                    <a:pt x="7397" y="106115"/>
                  </a:lnTo>
                  <a:lnTo>
                    <a:pt x="7397" y="108099"/>
                  </a:lnTo>
                  <a:lnTo>
                    <a:pt x="9041" y="111074"/>
                  </a:lnTo>
                  <a:lnTo>
                    <a:pt x="11506" y="111074"/>
                  </a:lnTo>
                  <a:lnTo>
                    <a:pt x="11506" y="113057"/>
                  </a:lnTo>
                  <a:lnTo>
                    <a:pt x="13150" y="113057"/>
                  </a:lnTo>
                  <a:lnTo>
                    <a:pt x="14794" y="113057"/>
                  </a:lnTo>
                  <a:lnTo>
                    <a:pt x="14794" y="115041"/>
                  </a:lnTo>
                  <a:lnTo>
                    <a:pt x="17260" y="115041"/>
                  </a:lnTo>
                  <a:lnTo>
                    <a:pt x="17260" y="115041"/>
                  </a:lnTo>
                  <a:lnTo>
                    <a:pt x="18904" y="113057"/>
                  </a:lnTo>
                  <a:lnTo>
                    <a:pt x="18904" y="113057"/>
                  </a:lnTo>
                  <a:lnTo>
                    <a:pt x="23013" y="111074"/>
                  </a:lnTo>
                  <a:lnTo>
                    <a:pt x="24657" y="111074"/>
                  </a:lnTo>
                  <a:lnTo>
                    <a:pt x="27123" y="108099"/>
                  </a:lnTo>
                  <a:lnTo>
                    <a:pt x="28767" y="108099"/>
                  </a:lnTo>
                  <a:lnTo>
                    <a:pt x="32876" y="111074"/>
                  </a:lnTo>
                  <a:lnTo>
                    <a:pt x="32876" y="111074"/>
                  </a:lnTo>
                  <a:lnTo>
                    <a:pt x="34520" y="111074"/>
                  </a:lnTo>
                  <a:lnTo>
                    <a:pt x="36164" y="111074"/>
                  </a:lnTo>
                  <a:lnTo>
                    <a:pt x="36164" y="113057"/>
                  </a:lnTo>
                  <a:lnTo>
                    <a:pt x="36164" y="113057"/>
                  </a:lnTo>
                  <a:lnTo>
                    <a:pt x="38630" y="115041"/>
                  </a:lnTo>
                  <a:lnTo>
                    <a:pt x="38630" y="115041"/>
                  </a:lnTo>
                  <a:lnTo>
                    <a:pt x="40273" y="118016"/>
                  </a:lnTo>
                  <a:lnTo>
                    <a:pt x="40273" y="118016"/>
                  </a:lnTo>
                  <a:lnTo>
                    <a:pt x="40273" y="120000"/>
                  </a:lnTo>
                  <a:lnTo>
                    <a:pt x="41917" y="120000"/>
                  </a:lnTo>
                  <a:lnTo>
                    <a:pt x="41917" y="120000"/>
                  </a:lnTo>
                  <a:lnTo>
                    <a:pt x="41917" y="118016"/>
                  </a:lnTo>
                  <a:lnTo>
                    <a:pt x="41917" y="118016"/>
                  </a:lnTo>
                  <a:lnTo>
                    <a:pt x="41917" y="115041"/>
                  </a:lnTo>
                  <a:lnTo>
                    <a:pt x="40273" y="113057"/>
                  </a:lnTo>
                  <a:lnTo>
                    <a:pt x="41917" y="113057"/>
                  </a:lnTo>
                  <a:lnTo>
                    <a:pt x="41917" y="111074"/>
                  </a:lnTo>
                  <a:lnTo>
                    <a:pt x="40273" y="106115"/>
                  </a:lnTo>
                  <a:lnTo>
                    <a:pt x="40273" y="104132"/>
                  </a:lnTo>
                  <a:lnTo>
                    <a:pt x="41917" y="104132"/>
                  </a:lnTo>
                  <a:lnTo>
                    <a:pt x="41917" y="101157"/>
                  </a:lnTo>
                  <a:lnTo>
                    <a:pt x="40273" y="101157"/>
                  </a:lnTo>
                  <a:lnTo>
                    <a:pt x="40273" y="101157"/>
                  </a:lnTo>
                  <a:lnTo>
                    <a:pt x="40273" y="99173"/>
                  </a:lnTo>
                  <a:lnTo>
                    <a:pt x="40273" y="99173"/>
                  </a:lnTo>
                  <a:lnTo>
                    <a:pt x="40273" y="99173"/>
                  </a:lnTo>
                  <a:lnTo>
                    <a:pt x="40273" y="96198"/>
                  </a:lnTo>
                  <a:lnTo>
                    <a:pt x="40273" y="94214"/>
                  </a:lnTo>
                  <a:lnTo>
                    <a:pt x="40273" y="92231"/>
                  </a:lnTo>
                  <a:lnTo>
                    <a:pt x="40273" y="87272"/>
                  </a:lnTo>
                  <a:lnTo>
                    <a:pt x="40273" y="87272"/>
                  </a:lnTo>
                  <a:lnTo>
                    <a:pt x="41917" y="87272"/>
                  </a:lnTo>
                  <a:lnTo>
                    <a:pt x="41917" y="87272"/>
                  </a:lnTo>
                  <a:lnTo>
                    <a:pt x="46027" y="87272"/>
                  </a:lnTo>
                  <a:lnTo>
                    <a:pt x="50136" y="87272"/>
                  </a:lnTo>
                  <a:lnTo>
                    <a:pt x="55890" y="87272"/>
                  </a:lnTo>
                  <a:lnTo>
                    <a:pt x="59999" y="87272"/>
                  </a:lnTo>
                  <a:lnTo>
                    <a:pt x="59999" y="87272"/>
                  </a:lnTo>
                  <a:lnTo>
                    <a:pt x="59999" y="87272"/>
                  </a:lnTo>
                  <a:lnTo>
                    <a:pt x="65753" y="87272"/>
                  </a:lnTo>
                  <a:lnTo>
                    <a:pt x="67397" y="87272"/>
                  </a:lnTo>
                  <a:lnTo>
                    <a:pt x="69041" y="87272"/>
                  </a:lnTo>
                  <a:lnTo>
                    <a:pt x="69041" y="87272"/>
                  </a:lnTo>
                  <a:lnTo>
                    <a:pt x="71506" y="87272"/>
                  </a:lnTo>
                  <a:lnTo>
                    <a:pt x="73150" y="87272"/>
                  </a:lnTo>
                  <a:lnTo>
                    <a:pt x="73150" y="87272"/>
                  </a:lnTo>
                  <a:lnTo>
                    <a:pt x="73150" y="87272"/>
                  </a:lnTo>
                  <a:lnTo>
                    <a:pt x="74794" y="87272"/>
                  </a:lnTo>
                  <a:lnTo>
                    <a:pt x="74794" y="87272"/>
                  </a:lnTo>
                  <a:lnTo>
                    <a:pt x="77260" y="87272"/>
                  </a:lnTo>
                  <a:lnTo>
                    <a:pt x="77260" y="85289"/>
                  </a:lnTo>
                  <a:lnTo>
                    <a:pt x="77260" y="85289"/>
                  </a:lnTo>
                  <a:lnTo>
                    <a:pt x="77260" y="85289"/>
                  </a:lnTo>
                  <a:lnTo>
                    <a:pt x="78904" y="85289"/>
                  </a:lnTo>
                  <a:lnTo>
                    <a:pt x="78904" y="85289"/>
                  </a:lnTo>
                  <a:lnTo>
                    <a:pt x="78904" y="82314"/>
                  </a:lnTo>
                  <a:lnTo>
                    <a:pt x="83013" y="85289"/>
                  </a:lnTo>
                  <a:lnTo>
                    <a:pt x="87123" y="85289"/>
                  </a:lnTo>
                  <a:lnTo>
                    <a:pt x="90410" y="87272"/>
                  </a:lnTo>
                  <a:lnTo>
                    <a:pt x="90410" y="87272"/>
                  </a:lnTo>
                  <a:lnTo>
                    <a:pt x="90410" y="87272"/>
                  </a:lnTo>
                  <a:lnTo>
                    <a:pt x="92876" y="87272"/>
                  </a:lnTo>
                  <a:lnTo>
                    <a:pt x="92876" y="87272"/>
                  </a:lnTo>
                  <a:lnTo>
                    <a:pt x="96164" y="87272"/>
                  </a:lnTo>
                  <a:lnTo>
                    <a:pt x="98630" y="87272"/>
                  </a:lnTo>
                  <a:lnTo>
                    <a:pt x="98630" y="87272"/>
                  </a:lnTo>
                  <a:lnTo>
                    <a:pt x="98630" y="85289"/>
                  </a:lnTo>
                  <a:lnTo>
                    <a:pt x="98630" y="85289"/>
                  </a:lnTo>
                  <a:lnTo>
                    <a:pt x="100273" y="85289"/>
                  </a:lnTo>
                  <a:lnTo>
                    <a:pt x="100273" y="85289"/>
                  </a:lnTo>
                  <a:lnTo>
                    <a:pt x="100273" y="85289"/>
                  </a:lnTo>
                  <a:lnTo>
                    <a:pt x="100273" y="82314"/>
                  </a:lnTo>
                  <a:lnTo>
                    <a:pt x="100273" y="82314"/>
                  </a:lnTo>
                  <a:lnTo>
                    <a:pt x="100273" y="82314"/>
                  </a:lnTo>
                  <a:lnTo>
                    <a:pt x="100273" y="82314"/>
                  </a:lnTo>
                  <a:lnTo>
                    <a:pt x="101917" y="80330"/>
                  </a:lnTo>
                  <a:lnTo>
                    <a:pt x="101917" y="80330"/>
                  </a:lnTo>
                  <a:lnTo>
                    <a:pt x="101917" y="80330"/>
                  </a:lnTo>
                  <a:lnTo>
                    <a:pt x="104383" y="80330"/>
                  </a:lnTo>
                  <a:lnTo>
                    <a:pt x="104383" y="77355"/>
                  </a:lnTo>
                  <a:lnTo>
                    <a:pt x="104383" y="77355"/>
                  </a:lnTo>
                  <a:lnTo>
                    <a:pt x="104383" y="77355"/>
                  </a:lnTo>
                  <a:lnTo>
                    <a:pt x="106027" y="77355"/>
                  </a:lnTo>
                  <a:lnTo>
                    <a:pt x="106027" y="77355"/>
                  </a:lnTo>
                  <a:lnTo>
                    <a:pt x="108493" y="77355"/>
                  </a:lnTo>
                  <a:lnTo>
                    <a:pt x="108493" y="77355"/>
                  </a:lnTo>
                  <a:lnTo>
                    <a:pt x="111780" y="77355"/>
                  </a:lnTo>
                  <a:lnTo>
                    <a:pt x="114246" y="77355"/>
                  </a:lnTo>
                  <a:lnTo>
                    <a:pt x="117534" y="73388"/>
                  </a:lnTo>
                  <a:lnTo>
                    <a:pt x="117534" y="73388"/>
                  </a:lnTo>
                  <a:lnTo>
                    <a:pt x="119999" y="68429"/>
                  </a:lnTo>
                  <a:lnTo>
                    <a:pt x="119999" y="68429"/>
                  </a:lnTo>
                  <a:lnTo>
                    <a:pt x="119999" y="66446"/>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21" name="Shape 521"/>
            <p:cNvSpPr/>
            <p:nvPr/>
          </p:nvSpPr>
          <p:spPr>
            <a:xfrm>
              <a:off x="4049" y="1876"/>
              <a:ext cx="0" cy="0"/>
            </a:xfrm>
            <a:custGeom>
              <a:avLst/>
              <a:gdLst/>
              <a:ahLst/>
              <a:cxnLst/>
              <a:rect l="0" t="0" r="0" b="0"/>
              <a:pathLst>
                <a:path w="120000" h="120000" extrusionOk="0">
                  <a:moveTo>
                    <a:pt x="120000" y="19354"/>
                  </a:moveTo>
                  <a:lnTo>
                    <a:pt x="116538" y="23225"/>
                  </a:lnTo>
                  <a:lnTo>
                    <a:pt x="114230" y="19354"/>
                  </a:lnTo>
                  <a:lnTo>
                    <a:pt x="110769" y="19354"/>
                  </a:lnTo>
                  <a:lnTo>
                    <a:pt x="108461" y="19354"/>
                  </a:lnTo>
                  <a:lnTo>
                    <a:pt x="106153" y="13548"/>
                  </a:lnTo>
                  <a:lnTo>
                    <a:pt x="106153" y="9677"/>
                  </a:lnTo>
                  <a:lnTo>
                    <a:pt x="102692" y="13548"/>
                  </a:lnTo>
                  <a:lnTo>
                    <a:pt x="102692" y="13548"/>
                  </a:lnTo>
                  <a:lnTo>
                    <a:pt x="100384" y="9677"/>
                  </a:lnTo>
                  <a:lnTo>
                    <a:pt x="98076" y="9677"/>
                  </a:lnTo>
                  <a:lnTo>
                    <a:pt x="98076" y="9677"/>
                  </a:lnTo>
                  <a:lnTo>
                    <a:pt x="90000" y="3870"/>
                  </a:lnTo>
                  <a:lnTo>
                    <a:pt x="90000" y="3870"/>
                  </a:lnTo>
                  <a:lnTo>
                    <a:pt x="84230" y="3870"/>
                  </a:lnTo>
                  <a:lnTo>
                    <a:pt x="78461" y="9677"/>
                  </a:lnTo>
                  <a:lnTo>
                    <a:pt x="73846" y="9677"/>
                  </a:lnTo>
                  <a:lnTo>
                    <a:pt x="68076" y="13548"/>
                  </a:lnTo>
                  <a:lnTo>
                    <a:pt x="64615" y="19354"/>
                  </a:lnTo>
                  <a:lnTo>
                    <a:pt x="62307" y="23225"/>
                  </a:lnTo>
                  <a:lnTo>
                    <a:pt x="60000" y="23225"/>
                  </a:lnTo>
                  <a:lnTo>
                    <a:pt x="54230" y="23225"/>
                  </a:lnTo>
                  <a:lnTo>
                    <a:pt x="46153" y="23225"/>
                  </a:lnTo>
                  <a:lnTo>
                    <a:pt x="38076" y="19354"/>
                  </a:lnTo>
                  <a:lnTo>
                    <a:pt x="35769" y="19354"/>
                  </a:lnTo>
                  <a:lnTo>
                    <a:pt x="30000" y="19354"/>
                  </a:lnTo>
                  <a:lnTo>
                    <a:pt x="21923" y="19354"/>
                  </a:lnTo>
                  <a:lnTo>
                    <a:pt x="16153" y="13548"/>
                  </a:lnTo>
                  <a:lnTo>
                    <a:pt x="10384" y="19354"/>
                  </a:lnTo>
                  <a:lnTo>
                    <a:pt x="8076" y="13548"/>
                  </a:lnTo>
                  <a:lnTo>
                    <a:pt x="8076" y="13548"/>
                  </a:lnTo>
                  <a:lnTo>
                    <a:pt x="8076" y="13548"/>
                  </a:lnTo>
                  <a:lnTo>
                    <a:pt x="8076" y="9677"/>
                  </a:lnTo>
                  <a:lnTo>
                    <a:pt x="10384" y="9677"/>
                  </a:lnTo>
                  <a:lnTo>
                    <a:pt x="10384" y="9677"/>
                  </a:lnTo>
                  <a:lnTo>
                    <a:pt x="10384" y="9677"/>
                  </a:lnTo>
                  <a:lnTo>
                    <a:pt x="10384" y="3870"/>
                  </a:lnTo>
                  <a:lnTo>
                    <a:pt x="5769" y="3870"/>
                  </a:lnTo>
                  <a:lnTo>
                    <a:pt x="5769" y="0"/>
                  </a:lnTo>
                  <a:lnTo>
                    <a:pt x="5769" y="0"/>
                  </a:lnTo>
                  <a:lnTo>
                    <a:pt x="2307" y="3870"/>
                  </a:lnTo>
                  <a:lnTo>
                    <a:pt x="2307" y="3870"/>
                  </a:lnTo>
                  <a:lnTo>
                    <a:pt x="2307" y="9677"/>
                  </a:lnTo>
                  <a:lnTo>
                    <a:pt x="0" y="9677"/>
                  </a:lnTo>
                  <a:lnTo>
                    <a:pt x="0" y="9677"/>
                  </a:lnTo>
                  <a:lnTo>
                    <a:pt x="0" y="13548"/>
                  </a:lnTo>
                  <a:lnTo>
                    <a:pt x="0" y="13548"/>
                  </a:lnTo>
                  <a:lnTo>
                    <a:pt x="0" y="19354"/>
                  </a:lnTo>
                  <a:lnTo>
                    <a:pt x="0" y="23225"/>
                  </a:lnTo>
                  <a:lnTo>
                    <a:pt x="0" y="23225"/>
                  </a:lnTo>
                  <a:lnTo>
                    <a:pt x="0" y="23225"/>
                  </a:lnTo>
                  <a:lnTo>
                    <a:pt x="2307" y="27096"/>
                  </a:lnTo>
                  <a:lnTo>
                    <a:pt x="2307" y="27096"/>
                  </a:lnTo>
                  <a:lnTo>
                    <a:pt x="2307" y="32903"/>
                  </a:lnTo>
                  <a:lnTo>
                    <a:pt x="5769" y="36774"/>
                  </a:lnTo>
                  <a:lnTo>
                    <a:pt x="8076" y="36774"/>
                  </a:lnTo>
                  <a:lnTo>
                    <a:pt x="8076" y="36774"/>
                  </a:lnTo>
                  <a:lnTo>
                    <a:pt x="8076" y="40645"/>
                  </a:lnTo>
                  <a:lnTo>
                    <a:pt x="10384" y="40645"/>
                  </a:lnTo>
                  <a:lnTo>
                    <a:pt x="10384" y="46451"/>
                  </a:lnTo>
                  <a:lnTo>
                    <a:pt x="10384" y="46451"/>
                  </a:lnTo>
                  <a:lnTo>
                    <a:pt x="10384" y="46451"/>
                  </a:lnTo>
                  <a:lnTo>
                    <a:pt x="10384" y="50322"/>
                  </a:lnTo>
                  <a:lnTo>
                    <a:pt x="8076" y="50322"/>
                  </a:lnTo>
                  <a:lnTo>
                    <a:pt x="8076" y="54193"/>
                  </a:lnTo>
                  <a:lnTo>
                    <a:pt x="2307" y="54193"/>
                  </a:lnTo>
                  <a:lnTo>
                    <a:pt x="2307" y="54193"/>
                  </a:lnTo>
                  <a:lnTo>
                    <a:pt x="2307" y="54193"/>
                  </a:lnTo>
                  <a:lnTo>
                    <a:pt x="2307" y="60000"/>
                  </a:lnTo>
                  <a:lnTo>
                    <a:pt x="2307" y="60000"/>
                  </a:lnTo>
                  <a:lnTo>
                    <a:pt x="2307" y="60000"/>
                  </a:lnTo>
                  <a:lnTo>
                    <a:pt x="2307" y="63870"/>
                  </a:lnTo>
                  <a:lnTo>
                    <a:pt x="2307" y="69677"/>
                  </a:lnTo>
                  <a:lnTo>
                    <a:pt x="2307" y="69677"/>
                  </a:lnTo>
                  <a:lnTo>
                    <a:pt x="2307" y="69677"/>
                  </a:lnTo>
                  <a:lnTo>
                    <a:pt x="2307" y="73548"/>
                  </a:lnTo>
                  <a:lnTo>
                    <a:pt x="2307" y="73548"/>
                  </a:lnTo>
                  <a:lnTo>
                    <a:pt x="2307" y="77419"/>
                  </a:lnTo>
                  <a:lnTo>
                    <a:pt x="0" y="77419"/>
                  </a:lnTo>
                  <a:lnTo>
                    <a:pt x="2307" y="83225"/>
                  </a:lnTo>
                  <a:lnTo>
                    <a:pt x="5769" y="87096"/>
                  </a:lnTo>
                  <a:lnTo>
                    <a:pt x="8076" y="87096"/>
                  </a:lnTo>
                  <a:lnTo>
                    <a:pt x="10384" y="87096"/>
                  </a:lnTo>
                  <a:lnTo>
                    <a:pt x="10384" y="90967"/>
                  </a:lnTo>
                  <a:lnTo>
                    <a:pt x="10384" y="96774"/>
                  </a:lnTo>
                  <a:lnTo>
                    <a:pt x="13846" y="96774"/>
                  </a:lnTo>
                  <a:lnTo>
                    <a:pt x="13846" y="100645"/>
                  </a:lnTo>
                  <a:lnTo>
                    <a:pt x="13846" y="100645"/>
                  </a:lnTo>
                  <a:lnTo>
                    <a:pt x="13846" y="100645"/>
                  </a:lnTo>
                  <a:lnTo>
                    <a:pt x="13846" y="104516"/>
                  </a:lnTo>
                  <a:lnTo>
                    <a:pt x="13846" y="114193"/>
                  </a:lnTo>
                  <a:lnTo>
                    <a:pt x="13846" y="114193"/>
                  </a:lnTo>
                  <a:lnTo>
                    <a:pt x="16153" y="114193"/>
                  </a:lnTo>
                  <a:lnTo>
                    <a:pt x="16153" y="114193"/>
                  </a:lnTo>
                  <a:lnTo>
                    <a:pt x="18461" y="114193"/>
                  </a:lnTo>
                  <a:lnTo>
                    <a:pt x="21923" y="114193"/>
                  </a:lnTo>
                  <a:lnTo>
                    <a:pt x="21923" y="114193"/>
                  </a:lnTo>
                  <a:lnTo>
                    <a:pt x="24230" y="114193"/>
                  </a:lnTo>
                  <a:lnTo>
                    <a:pt x="26538" y="114193"/>
                  </a:lnTo>
                  <a:lnTo>
                    <a:pt x="30000" y="114193"/>
                  </a:lnTo>
                  <a:lnTo>
                    <a:pt x="32307" y="110322"/>
                  </a:lnTo>
                  <a:lnTo>
                    <a:pt x="32307" y="110322"/>
                  </a:lnTo>
                  <a:lnTo>
                    <a:pt x="35769" y="110322"/>
                  </a:lnTo>
                  <a:lnTo>
                    <a:pt x="35769" y="110322"/>
                  </a:lnTo>
                  <a:lnTo>
                    <a:pt x="35769" y="110322"/>
                  </a:lnTo>
                  <a:lnTo>
                    <a:pt x="38076" y="110322"/>
                  </a:lnTo>
                  <a:lnTo>
                    <a:pt x="40384" y="110322"/>
                  </a:lnTo>
                  <a:lnTo>
                    <a:pt x="40384" y="110322"/>
                  </a:lnTo>
                  <a:lnTo>
                    <a:pt x="43846" y="104516"/>
                  </a:lnTo>
                  <a:lnTo>
                    <a:pt x="43846" y="104516"/>
                  </a:lnTo>
                  <a:lnTo>
                    <a:pt x="46153" y="110322"/>
                  </a:lnTo>
                  <a:lnTo>
                    <a:pt x="46153" y="110322"/>
                  </a:lnTo>
                  <a:lnTo>
                    <a:pt x="46153" y="114193"/>
                  </a:lnTo>
                  <a:lnTo>
                    <a:pt x="48461" y="114193"/>
                  </a:lnTo>
                  <a:lnTo>
                    <a:pt x="48461" y="114193"/>
                  </a:lnTo>
                  <a:lnTo>
                    <a:pt x="51923" y="114193"/>
                  </a:lnTo>
                  <a:lnTo>
                    <a:pt x="54230" y="114193"/>
                  </a:lnTo>
                  <a:lnTo>
                    <a:pt x="56538" y="114193"/>
                  </a:lnTo>
                  <a:lnTo>
                    <a:pt x="60000" y="120000"/>
                  </a:lnTo>
                  <a:lnTo>
                    <a:pt x="62307" y="120000"/>
                  </a:lnTo>
                  <a:lnTo>
                    <a:pt x="64615" y="120000"/>
                  </a:lnTo>
                  <a:lnTo>
                    <a:pt x="64615" y="120000"/>
                  </a:lnTo>
                  <a:lnTo>
                    <a:pt x="68076" y="114193"/>
                  </a:lnTo>
                  <a:lnTo>
                    <a:pt x="68076" y="114193"/>
                  </a:lnTo>
                  <a:lnTo>
                    <a:pt x="70384" y="120000"/>
                  </a:lnTo>
                  <a:lnTo>
                    <a:pt x="73846" y="114193"/>
                  </a:lnTo>
                  <a:lnTo>
                    <a:pt x="76153" y="114193"/>
                  </a:lnTo>
                  <a:lnTo>
                    <a:pt x="76153" y="110322"/>
                  </a:lnTo>
                  <a:lnTo>
                    <a:pt x="76153" y="110322"/>
                  </a:lnTo>
                  <a:lnTo>
                    <a:pt x="76153" y="104516"/>
                  </a:lnTo>
                  <a:lnTo>
                    <a:pt x="73846" y="104516"/>
                  </a:lnTo>
                  <a:lnTo>
                    <a:pt x="73846" y="100645"/>
                  </a:lnTo>
                  <a:lnTo>
                    <a:pt x="73846" y="100645"/>
                  </a:lnTo>
                  <a:lnTo>
                    <a:pt x="76153" y="100645"/>
                  </a:lnTo>
                  <a:lnTo>
                    <a:pt x="76153" y="100645"/>
                  </a:lnTo>
                  <a:lnTo>
                    <a:pt x="78461" y="100645"/>
                  </a:lnTo>
                  <a:lnTo>
                    <a:pt x="78461" y="100645"/>
                  </a:lnTo>
                  <a:lnTo>
                    <a:pt x="78461" y="100645"/>
                  </a:lnTo>
                  <a:lnTo>
                    <a:pt x="78461" y="96774"/>
                  </a:lnTo>
                  <a:lnTo>
                    <a:pt x="81923" y="96774"/>
                  </a:lnTo>
                  <a:lnTo>
                    <a:pt x="84230" y="96774"/>
                  </a:lnTo>
                  <a:lnTo>
                    <a:pt x="84230" y="90967"/>
                  </a:lnTo>
                  <a:lnTo>
                    <a:pt x="84230" y="90967"/>
                  </a:lnTo>
                  <a:lnTo>
                    <a:pt x="84230" y="90967"/>
                  </a:lnTo>
                  <a:lnTo>
                    <a:pt x="86538" y="90967"/>
                  </a:lnTo>
                  <a:lnTo>
                    <a:pt x="86538" y="90967"/>
                  </a:lnTo>
                  <a:lnTo>
                    <a:pt x="90000" y="90967"/>
                  </a:lnTo>
                  <a:lnTo>
                    <a:pt x="92307" y="87096"/>
                  </a:lnTo>
                  <a:lnTo>
                    <a:pt x="92307" y="87096"/>
                  </a:lnTo>
                  <a:lnTo>
                    <a:pt x="94615" y="87096"/>
                  </a:lnTo>
                  <a:lnTo>
                    <a:pt x="98076" y="87096"/>
                  </a:lnTo>
                  <a:lnTo>
                    <a:pt x="98076" y="87096"/>
                  </a:lnTo>
                  <a:lnTo>
                    <a:pt x="98076" y="87096"/>
                  </a:lnTo>
                  <a:lnTo>
                    <a:pt x="100384" y="90967"/>
                  </a:lnTo>
                  <a:lnTo>
                    <a:pt x="102692" y="90967"/>
                  </a:lnTo>
                  <a:lnTo>
                    <a:pt x="102692" y="90967"/>
                  </a:lnTo>
                  <a:lnTo>
                    <a:pt x="106153" y="90967"/>
                  </a:lnTo>
                  <a:lnTo>
                    <a:pt x="106153" y="90967"/>
                  </a:lnTo>
                  <a:lnTo>
                    <a:pt x="108461" y="90967"/>
                  </a:lnTo>
                  <a:lnTo>
                    <a:pt x="108461" y="90967"/>
                  </a:lnTo>
                  <a:lnTo>
                    <a:pt x="108461" y="90967"/>
                  </a:lnTo>
                  <a:lnTo>
                    <a:pt x="110769" y="90967"/>
                  </a:lnTo>
                  <a:lnTo>
                    <a:pt x="110769" y="87096"/>
                  </a:lnTo>
                  <a:lnTo>
                    <a:pt x="108461" y="83225"/>
                  </a:lnTo>
                  <a:lnTo>
                    <a:pt x="106153" y="73548"/>
                  </a:lnTo>
                  <a:lnTo>
                    <a:pt x="102692" y="73548"/>
                  </a:lnTo>
                  <a:lnTo>
                    <a:pt x="100384" y="69677"/>
                  </a:lnTo>
                  <a:lnTo>
                    <a:pt x="106153" y="60000"/>
                  </a:lnTo>
                  <a:lnTo>
                    <a:pt x="106153" y="60000"/>
                  </a:lnTo>
                  <a:lnTo>
                    <a:pt x="108461" y="60000"/>
                  </a:lnTo>
                  <a:lnTo>
                    <a:pt x="108461" y="50322"/>
                  </a:lnTo>
                  <a:lnTo>
                    <a:pt x="108461" y="40645"/>
                  </a:lnTo>
                  <a:lnTo>
                    <a:pt x="108461" y="40645"/>
                  </a:lnTo>
                  <a:lnTo>
                    <a:pt x="108461" y="40645"/>
                  </a:lnTo>
                  <a:lnTo>
                    <a:pt x="110769" y="32903"/>
                  </a:lnTo>
                  <a:lnTo>
                    <a:pt x="114230" y="32903"/>
                  </a:lnTo>
                  <a:lnTo>
                    <a:pt x="116538" y="36774"/>
                  </a:lnTo>
                  <a:lnTo>
                    <a:pt x="120000" y="32903"/>
                  </a:lnTo>
                  <a:lnTo>
                    <a:pt x="120000" y="19354"/>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22" name="Shape 522"/>
            <p:cNvSpPr/>
            <p:nvPr/>
          </p:nvSpPr>
          <p:spPr>
            <a:xfrm>
              <a:off x="5772" y="2701"/>
              <a:ext cx="0" cy="0"/>
            </a:xfrm>
            <a:custGeom>
              <a:avLst/>
              <a:gdLst/>
              <a:ahLst/>
              <a:cxnLst/>
              <a:rect l="0" t="0" r="0" b="0"/>
              <a:pathLst>
                <a:path w="120000" h="120000" extrusionOk="0">
                  <a:moveTo>
                    <a:pt x="109565" y="65454"/>
                  </a:moveTo>
                  <a:lnTo>
                    <a:pt x="109565" y="54545"/>
                  </a:lnTo>
                  <a:lnTo>
                    <a:pt x="109565" y="38181"/>
                  </a:lnTo>
                  <a:lnTo>
                    <a:pt x="99130" y="27272"/>
                  </a:lnTo>
                  <a:lnTo>
                    <a:pt x="99130" y="16363"/>
                  </a:lnTo>
                  <a:lnTo>
                    <a:pt x="83478" y="16363"/>
                  </a:lnTo>
                  <a:lnTo>
                    <a:pt x="83478" y="27272"/>
                  </a:lnTo>
                  <a:lnTo>
                    <a:pt x="83478" y="38181"/>
                  </a:lnTo>
                  <a:lnTo>
                    <a:pt x="99130" y="54545"/>
                  </a:lnTo>
                  <a:lnTo>
                    <a:pt x="99130" y="76363"/>
                  </a:lnTo>
                  <a:lnTo>
                    <a:pt x="109565" y="76363"/>
                  </a:lnTo>
                  <a:lnTo>
                    <a:pt x="109565" y="76363"/>
                  </a:lnTo>
                  <a:lnTo>
                    <a:pt x="120000" y="76363"/>
                  </a:lnTo>
                  <a:lnTo>
                    <a:pt x="120000" y="76363"/>
                  </a:lnTo>
                  <a:lnTo>
                    <a:pt x="120000" y="76363"/>
                  </a:lnTo>
                  <a:lnTo>
                    <a:pt x="109565" y="65454"/>
                  </a:lnTo>
                  <a:close/>
                  <a:moveTo>
                    <a:pt x="83478" y="0"/>
                  </a:moveTo>
                  <a:lnTo>
                    <a:pt x="83478" y="0"/>
                  </a:lnTo>
                  <a:lnTo>
                    <a:pt x="73043" y="16363"/>
                  </a:lnTo>
                  <a:lnTo>
                    <a:pt x="57391" y="16363"/>
                  </a:lnTo>
                  <a:lnTo>
                    <a:pt x="46956" y="27272"/>
                  </a:lnTo>
                  <a:lnTo>
                    <a:pt x="46956" y="38181"/>
                  </a:lnTo>
                  <a:lnTo>
                    <a:pt x="36521" y="38181"/>
                  </a:lnTo>
                  <a:lnTo>
                    <a:pt x="20869" y="54545"/>
                  </a:lnTo>
                  <a:lnTo>
                    <a:pt x="10434" y="54545"/>
                  </a:lnTo>
                  <a:lnTo>
                    <a:pt x="0" y="54545"/>
                  </a:lnTo>
                  <a:lnTo>
                    <a:pt x="0" y="54545"/>
                  </a:lnTo>
                  <a:lnTo>
                    <a:pt x="10434" y="65454"/>
                  </a:lnTo>
                  <a:lnTo>
                    <a:pt x="10434" y="65454"/>
                  </a:lnTo>
                  <a:lnTo>
                    <a:pt x="10434" y="76363"/>
                  </a:lnTo>
                  <a:lnTo>
                    <a:pt x="20869" y="76363"/>
                  </a:lnTo>
                  <a:lnTo>
                    <a:pt x="20869" y="92727"/>
                  </a:lnTo>
                  <a:lnTo>
                    <a:pt x="20869" y="92727"/>
                  </a:lnTo>
                  <a:lnTo>
                    <a:pt x="36521" y="92727"/>
                  </a:lnTo>
                  <a:lnTo>
                    <a:pt x="36521" y="92727"/>
                  </a:lnTo>
                  <a:lnTo>
                    <a:pt x="46956" y="103636"/>
                  </a:lnTo>
                  <a:lnTo>
                    <a:pt x="46956" y="120000"/>
                  </a:lnTo>
                  <a:lnTo>
                    <a:pt x="46956" y="120000"/>
                  </a:lnTo>
                  <a:lnTo>
                    <a:pt x="57391" y="120000"/>
                  </a:lnTo>
                  <a:lnTo>
                    <a:pt x="57391" y="103636"/>
                  </a:lnTo>
                  <a:lnTo>
                    <a:pt x="73043" y="103636"/>
                  </a:lnTo>
                  <a:lnTo>
                    <a:pt x="73043" y="92727"/>
                  </a:lnTo>
                  <a:lnTo>
                    <a:pt x="73043" y="92727"/>
                  </a:lnTo>
                  <a:lnTo>
                    <a:pt x="73043" y="76363"/>
                  </a:lnTo>
                  <a:lnTo>
                    <a:pt x="73043" y="76363"/>
                  </a:lnTo>
                  <a:lnTo>
                    <a:pt x="73043" y="65454"/>
                  </a:lnTo>
                  <a:lnTo>
                    <a:pt x="73043" y="65454"/>
                  </a:lnTo>
                  <a:lnTo>
                    <a:pt x="57391" y="54545"/>
                  </a:lnTo>
                  <a:lnTo>
                    <a:pt x="57391" y="38181"/>
                  </a:lnTo>
                  <a:lnTo>
                    <a:pt x="57391" y="38181"/>
                  </a:lnTo>
                  <a:lnTo>
                    <a:pt x="57391" y="38181"/>
                  </a:lnTo>
                  <a:lnTo>
                    <a:pt x="73043" y="27272"/>
                  </a:lnTo>
                  <a:lnTo>
                    <a:pt x="83478" y="27272"/>
                  </a:lnTo>
                  <a:lnTo>
                    <a:pt x="83478" y="16363"/>
                  </a:lnTo>
                  <a:lnTo>
                    <a:pt x="83478" y="16363"/>
                  </a:lnTo>
                  <a:lnTo>
                    <a:pt x="83478" y="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23" name="Shape 523"/>
            <p:cNvSpPr/>
            <p:nvPr/>
          </p:nvSpPr>
          <p:spPr>
            <a:xfrm>
              <a:off x="2281" y="2697"/>
              <a:ext cx="600" cy="900"/>
            </a:xfrm>
            <a:custGeom>
              <a:avLst/>
              <a:gdLst/>
              <a:ahLst/>
              <a:cxnLst/>
              <a:rect l="0" t="0" r="0" b="0"/>
              <a:pathLst>
                <a:path w="120000" h="120000" extrusionOk="0">
                  <a:moveTo>
                    <a:pt x="91900" y="89343"/>
                  </a:moveTo>
                  <a:lnTo>
                    <a:pt x="91570" y="89343"/>
                  </a:lnTo>
                  <a:lnTo>
                    <a:pt x="91239" y="89635"/>
                  </a:lnTo>
                  <a:lnTo>
                    <a:pt x="91570" y="90072"/>
                  </a:lnTo>
                  <a:lnTo>
                    <a:pt x="91900" y="90072"/>
                  </a:lnTo>
                  <a:lnTo>
                    <a:pt x="91900" y="90072"/>
                  </a:lnTo>
                  <a:lnTo>
                    <a:pt x="91900" y="89635"/>
                  </a:lnTo>
                  <a:lnTo>
                    <a:pt x="91900" y="89635"/>
                  </a:lnTo>
                  <a:lnTo>
                    <a:pt x="91900" y="89635"/>
                  </a:lnTo>
                  <a:lnTo>
                    <a:pt x="91900" y="89343"/>
                  </a:lnTo>
                  <a:lnTo>
                    <a:pt x="91900" y="89343"/>
                  </a:lnTo>
                  <a:close/>
                  <a:moveTo>
                    <a:pt x="94710" y="87299"/>
                  </a:moveTo>
                  <a:lnTo>
                    <a:pt x="94710" y="87299"/>
                  </a:lnTo>
                  <a:lnTo>
                    <a:pt x="94710" y="87299"/>
                  </a:lnTo>
                  <a:lnTo>
                    <a:pt x="94710" y="87299"/>
                  </a:lnTo>
                  <a:lnTo>
                    <a:pt x="94380" y="87591"/>
                  </a:lnTo>
                  <a:lnTo>
                    <a:pt x="94710" y="87591"/>
                  </a:lnTo>
                  <a:lnTo>
                    <a:pt x="94710" y="87591"/>
                  </a:lnTo>
                  <a:lnTo>
                    <a:pt x="95041" y="87591"/>
                  </a:lnTo>
                  <a:lnTo>
                    <a:pt x="95041" y="87591"/>
                  </a:lnTo>
                  <a:lnTo>
                    <a:pt x="95041" y="87591"/>
                  </a:lnTo>
                  <a:lnTo>
                    <a:pt x="94710" y="87299"/>
                  </a:lnTo>
                  <a:close/>
                  <a:moveTo>
                    <a:pt x="107933" y="57518"/>
                  </a:moveTo>
                  <a:lnTo>
                    <a:pt x="107933" y="57518"/>
                  </a:lnTo>
                  <a:lnTo>
                    <a:pt x="108264" y="57518"/>
                  </a:lnTo>
                  <a:lnTo>
                    <a:pt x="108264" y="57956"/>
                  </a:lnTo>
                  <a:lnTo>
                    <a:pt x="108264" y="57956"/>
                  </a:lnTo>
                  <a:lnTo>
                    <a:pt x="108264" y="57518"/>
                  </a:lnTo>
                  <a:lnTo>
                    <a:pt x="108264" y="57518"/>
                  </a:lnTo>
                  <a:lnTo>
                    <a:pt x="108264" y="57518"/>
                  </a:lnTo>
                  <a:lnTo>
                    <a:pt x="107933" y="57518"/>
                  </a:lnTo>
                  <a:close/>
                  <a:moveTo>
                    <a:pt x="109090" y="55912"/>
                  </a:moveTo>
                  <a:lnTo>
                    <a:pt x="109090" y="56204"/>
                  </a:lnTo>
                  <a:lnTo>
                    <a:pt x="108760" y="56496"/>
                  </a:lnTo>
                  <a:lnTo>
                    <a:pt x="108760" y="56496"/>
                  </a:lnTo>
                  <a:lnTo>
                    <a:pt x="108760" y="56496"/>
                  </a:lnTo>
                  <a:lnTo>
                    <a:pt x="109090" y="56204"/>
                  </a:lnTo>
                  <a:lnTo>
                    <a:pt x="109090" y="56204"/>
                  </a:lnTo>
                  <a:lnTo>
                    <a:pt x="109090" y="55912"/>
                  </a:lnTo>
                  <a:lnTo>
                    <a:pt x="109090" y="55912"/>
                  </a:lnTo>
                  <a:close/>
                  <a:moveTo>
                    <a:pt x="90082" y="25109"/>
                  </a:moveTo>
                  <a:lnTo>
                    <a:pt x="90082" y="24817"/>
                  </a:lnTo>
                  <a:lnTo>
                    <a:pt x="90082" y="24817"/>
                  </a:lnTo>
                  <a:lnTo>
                    <a:pt x="90082" y="24379"/>
                  </a:lnTo>
                  <a:lnTo>
                    <a:pt x="90082" y="24379"/>
                  </a:lnTo>
                  <a:lnTo>
                    <a:pt x="90082" y="24817"/>
                  </a:lnTo>
                  <a:lnTo>
                    <a:pt x="89586" y="24817"/>
                  </a:lnTo>
                  <a:lnTo>
                    <a:pt x="90082" y="25109"/>
                  </a:lnTo>
                  <a:lnTo>
                    <a:pt x="89586" y="25547"/>
                  </a:lnTo>
                  <a:lnTo>
                    <a:pt x="90082" y="25109"/>
                  </a:lnTo>
                  <a:close/>
                  <a:moveTo>
                    <a:pt x="88429" y="20291"/>
                  </a:moveTo>
                  <a:lnTo>
                    <a:pt x="88925" y="20291"/>
                  </a:lnTo>
                  <a:lnTo>
                    <a:pt x="88925" y="20000"/>
                  </a:lnTo>
                  <a:lnTo>
                    <a:pt x="88429" y="20000"/>
                  </a:lnTo>
                  <a:lnTo>
                    <a:pt x="88429" y="20291"/>
                  </a:lnTo>
                  <a:lnTo>
                    <a:pt x="88429" y="20291"/>
                  </a:lnTo>
                  <a:lnTo>
                    <a:pt x="88429" y="20291"/>
                  </a:lnTo>
                  <a:lnTo>
                    <a:pt x="88429" y="20291"/>
                  </a:lnTo>
                  <a:lnTo>
                    <a:pt x="88429" y="20291"/>
                  </a:lnTo>
                  <a:close/>
                  <a:moveTo>
                    <a:pt x="67107" y="20583"/>
                  </a:moveTo>
                  <a:lnTo>
                    <a:pt x="67438" y="20583"/>
                  </a:lnTo>
                  <a:lnTo>
                    <a:pt x="68264" y="20291"/>
                  </a:lnTo>
                  <a:lnTo>
                    <a:pt x="68595" y="20000"/>
                  </a:lnTo>
                  <a:lnTo>
                    <a:pt x="68925" y="19270"/>
                  </a:lnTo>
                  <a:lnTo>
                    <a:pt x="68925" y="19270"/>
                  </a:lnTo>
                  <a:lnTo>
                    <a:pt x="69421" y="18248"/>
                  </a:lnTo>
                  <a:lnTo>
                    <a:pt x="69421" y="17810"/>
                  </a:lnTo>
                  <a:lnTo>
                    <a:pt x="68595" y="17810"/>
                  </a:lnTo>
                  <a:lnTo>
                    <a:pt x="68264" y="18248"/>
                  </a:lnTo>
                  <a:lnTo>
                    <a:pt x="67768" y="18978"/>
                  </a:lnTo>
                  <a:lnTo>
                    <a:pt x="67768" y="19562"/>
                  </a:lnTo>
                  <a:lnTo>
                    <a:pt x="67438" y="20000"/>
                  </a:lnTo>
                  <a:lnTo>
                    <a:pt x="67107" y="20583"/>
                  </a:lnTo>
                  <a:close/>
                  <a:moveTo>
                    <a:pt x="74380" y="16788"/>
                  </a:moveTo>
                  <a:lnTo>
                    <a:pt x="74049" y="16788"/>
                  </a:lnTo>
                  <a:lnTo>
                    <a:pt x="72561" y="16496"/>
                  </a:lnTo>
                  <a:lnTo>
                    <a:pt x="71735" y="16496"/>
                  </a:lnTo>
                  <a:lnTo>
                    <a:pt x="70909" y="16788"/>
                  </a:lnTo>
                  <a:lnTo>
                    <a:pt x="70909" y="17226"/>
                  </a:lnTo>
                  <a:lnTo>
                    <a:pt x="70909" y="17518"/>
                  </a:lnTo>
                  <a:lnTo>
                    <a:pt x="70909" y="17810"/>
                  </a:lnTo>
                  <a:lnTo>
                    <a:pt x="70909" y="17810"/>
                  </a:lnTo>
                  <a:lnTo>
                    <a:pt x="70578" y="18248"/>
                  </a:lnTo>
                  <a:lnTo>
                    <a:pt x="70578" y="18248"/>
                  </a:lnTo>
                  <a:lnTo>
                    <a:pt x="70578" y="18978"/>
                  </a:lnTo>
                  <a:lnTo>
                    <a:pt x="70578" y="19270"/>
                  </a:lnTo>
                  <a:lnTo>
                    <a:pt x="70909" y="19562"/>
                  </a:lnTo>
                  <a:lnTo>
                    <a:pt x="71404" y="19562"/>
                  </a:lnTo>
                  <a:lnTo>
                    <a:pt x="71404" y="19562"/>
                  </a:lnTo>
                  <a:lnTo>
                    <a:pt x="71404" y="19562"/>
                  </a:lnTo>
                  <a:lnTo>
                    <a:pt x="71404" y="19562"/>
                  </a:lnTo>
                  <a:lnTo>
                    <a:pt x="70909" y="19562"/>
                  </a:lnTo>
                  <a:lnTo>
                    <a:pt x="70909" y="19562"/>
                  </a:lnTo>
                  <a:lnTo>
                    <a:pt x="70909" y="20000"/>
                  </a:lnTo>
                  <a:lnTo>
                    <a:pt x="70909" y="20291"/>
                  </a:lnTo>
                  <a:lnTo>
                    <a:pt x="70909" y="21021"/>
                  </a:lnTo>
                  <a:lnTo>
                    <a:pt x="71404" y="21313"/>
                  </a:lnTo>
                  <a:lnTo>
                    <a:pt x="71404" y="21313"/>
                  </a:lnTo>
                  <a:lnTo>
                    <a:pt x="71735" y="21751"/>
                  </a:lnTo>
                  <a:lnTo>
                    <a:pt x="71735" y="21751"/>
                  </a:lnTo>
                  <a:lnTo>
                    <a:pt x="72066" y="21751"/>
                  </a:lnTo>
                  <a:lnTo>
                    <a:pt x="72892" y="21751"/>
                  </a:lnTo>
                  <a:lnTo>
                    <a:pt x="72892" y="21313"/>
                  </a:lnTo>
                  <a:lnTo>
                    <a:pt x="73223" y="21313"/>
                  </a:lnTo>
                  <a:lnTo>
                    <a:pt x="73223" y="21751"/>
                  </a:lnTo>
                  <a:lnTo>
                    <a:pt x="73719" y="21751"/>
                  </a:lnTo>
                  <a:lnTo>
                    <a:pt x="74049" y="21751"/>
                  </a:lnTo>
                  <a:lnTo>
                    <a:pt x="74049" y="21751"/>
                  </a:lnTo>
                  <a:lnTo>
                    <a:pt x="74380" y="21313"/>
                  </a:lnTo>
                  <a:lnTo>
                    <a:pt x="74380" y="21313"/>
                  </a:lnTo>
                  <a:lnTo>
                    <a:pt x="74380" y="21021"/>
                  </a:lnTo>
                  <a:lnTo>
                    <a:pt x="74876" y="21021"/>
                  </a:lnTo>
                  <a:lnTo>
                    <a:pt x="75206" y="21021"/>
                  </a:lnTo>
                  <a:lnTo>
                    <a:pt x="75537" y="21021"/>
                  </a:lnTo>
                  <a:lnTo>
                    <a:pt x="75537" y="21021"/>
                  </a:lnTo>
                  <a:lnTo>
                    <a:pt x="75537" y="20583"/>
                  </a:lnTo>
                  <a:lnTo>
                    <a:pt x="75537" y="20583"/>
                  </a:lnTo>
                  <a:lnTo>
                    <a:pt x="76033" y="20583"/>
                  </a:lnTo>
                  <a:lnTo>
                    <a:pt x="76033" y="21021"/>
                  </a:lnTo>
                  <a:lnTo>
                    <a:pt x="76363" y="20583"/>
                  </a:lnTo>
                  <a:lnTo>
                    <a:pt x="76363" y="20583"/>
                  </a:lnTo>
                  <a:lnTo>
                    <a:pt x="76859" y="20291"/>
                  </a:lnTo>
                  <a:lnTo>
                    <a:pt x="76859" y="20291"/>
                  </a:lnTo>
                  <a:lnTo>
                    <a:pt x="76859" y="20000"/>
                  </a:lnTo>
                  <a:lnTo>
                    <a:pt x="76859" y="20000"/>
                  </a:lnTo>
                  <a:lnTo>
                    <a:pt x="76859" y="20000"/>
                  </a:lnTo>
                  <a:lnTo>
                    <a:pt x="77190" y="19562"/>
                  </a:lnTo>
                  <a:lnTo>
                    <a:pt x="77190" y="19562"/>
                  </a:lnTo>
                  <a:lnTo>
                    <a:pt x="77190" y="19270"/>
                  </a:lnTo>
                  <a:lnTo>
                    <a:pt x="77520" y="18978"/>
                  </a:lnTo>
                  <a:lnTo>
                    <a:pt x="77520" y="18978"/>
                  </a:lnTo>
                  <a:lnTo>
                    <a:pt x="77520" y="18540"/>
                  </a:lnTo>
                  <a:lnTo>
                    <a:pt x="77520" y="18248"/>
                  </a:lnTo>
                  <a:lnTo>
                    <a:pt x="77520" y="18248"/>
                  </a:lnTo>
                  <a:lnTo>
                    <a:pt x="77520" y="18248"/>
                  </a:lnTo>
                  <a:lnTo>
                    <a:pt x="78016" y="17810"/>
                  </a:lnTo>
                  <a:lnTo>
                    <a:pt x="78016" y="17518"/>
                  </a:lnTo>
                  <a:lnTo>
                    <a:pt x="78016" y="17226"/>
                  </a:lnTo>
                  <a:lnTo>
                    <a:pt x="78016" y="17226"/>
                  </a:lnTo>
                  <a:lnTo>
                    <a:pt x="78016" y="16788"/>
                  </a:lnTo>
                  <a:lnTo>
                    <a:pt x="77520" y="16788"/>
                  </a:lnTo>
                  <a:lnTo>
                    <a:pt x="77520" y="16788"/>
                  </a:lnTo>
                  <a:lnTo>
                    <a:pt x="76859" y="16788"/>
                  </a:lnTo>
                  <a:lnTo>
                    <a:pt x="75537" y="16496"/>
                  </a:lnTo>
                  <a:lnTo>
                    <a:pt x="75537" y="16496"/>
                  </a:lnTo>
                  <a:lnTo>
                    <a:pt x="75206" y="16788"/>
                  </a:lnTo>
                  <a:lnTo>
                    <a:pt x="74876" y="16788"/>
                  </a:lnTo>
                  <a:lnTo>
                    <a:pt x="74380" y="16788"/>
                  </a:lnTo>
                  <a:close/>
                  <a:moveTo>
                    <a:pt x="69752" y="16788"/>
                  </a:moveTo>
                  <a:lnTo>
                    <a:pt x="70082" y="17226"/>
                  </a:lnTo>
                  <a:lnTo>
                    <a:pt x="70909" y="16496"/>
                  </a:lnTo>
                  <a:lnTo>
                    <a:pt x="70909" y="16496"/>
                  </a:lnTo>
                  <a:lnTo>
                    <a:pt x="70909" y="16496"/>
                  </a:lnTo>
                  <a:lnTo>
                    <a:pt x="70578" y="16204"/>
                  </a:lnTo>
                  <a:lnTo>
                    <a:pt x="70578" y="16204"/>
                  </a:lnTo>
                  <a:lnTo>
                    <a:pt x="70082" y="16496"/>
                  </a:lnTo>
                  <a:lnTo>
                    <a:pt x="69752" y="16788"/>
                  </a:lnTo>
                  <a:lnTo>
                    <a:pt x="69752" y="16788"/>
                  </a:lnTo>
                  <a:lnTo>
                    <a:pt x="69752" y="16788"/>
                  </a:lnTo>
                  <a:lnTo>
                    <a:pt x="69752" y="16788"/>
                  </a:lnTo>
                  <a:close/>
                  <a:moveTo>
                    <a:pt x="73719" y="16204"/>
                  </a:moveTo>
                  <a:lnTo>
                    <a:pt x="73719" y="16496"/>
                  </a:lnTo>
                  <a:lnTo>
                    <a:pt x="74049" y="16496"/>
                  </a:lnTo>
                  <a:lnTo>
                    <a:pt x="74876" y="16496"/>
                  </a:lnTo>
                  <a:lnTo>
                    <a:pt x="74876" y="16496"/>
                  </a:lnTo>
                  <a:lnTo>
                    <a:pt x="74876" y="16204"/>
                  </a:lnTo>
                  <a:lnTo>
                    <a:pt x="74876" y="16204"/>
                  </a:lnTo>
                  <a:lnTo>
                    <a:pt x="74380" y="15766"/>
                  </a:lnTo>
                  <a:lnTo>
                    <a:pt x="74380" y="15766"/>
                  </a:lnTo>
                  <a:lnTo>
                    <a:pt x="74049" y="16204"/>
                  </a:lnTo>
                  <a:lnTo>
                    <a:pt x="73719" y="16204"/>
                  </a:lnTo>
                  <a:close/>
                  <a:moveTo>
                    <a:pt x="72561" y="15474"/>
                  </a:moveTo>
                  <a:lnTo>
                    <a:pt x="72066" y="15474"/>
                  </a:lnTo>
                  <a:lnTo>
                    <a:pt x="72066" y="15766"/>
                  </a:lnTo>
                  <a:lnTo>
                    <a:pt x="72066" y="16204"/>
                  </a:lnTo>
                  <a:lnTo>
                    <a:pt x="72066" y="16204"/>
                  </a:lnTo>
                  <a:lnTo>
                    <a:pt x="72892" y="16204"/>
                  </a:lnTo>
                  <a:lnTo>
                    <a:pt x="72892" y="16204"/>
                  </a:lnTo>
                  <a:lnTo>
                    <a:pt x="73223" y="16204"/>
                  </a:lnTo>
                  <a:lnTo>
                    <a:pt x="73719" y="16204"/>
                  </a:lnTo>
                  <a:lnTo>
                    <a:pt x="74049" y="15474"/>
                  </a:lnTo>
                  <a:lnTo>
                    <a:pt x="74049" y="15474"/>
                  </a:lnTo>
                  <a:lnTo>
                    <a:pt x="73223" y="15182"/>
                  </a:lnTo>
                  <a:lnTo>
                    <a:pt x="72561" y="15474"/>
                  </a:lnTo>
                  <a:close/>
                  <a:moveTo>
                    <a:pt x="71735" y="15766"/>
                  </a:moveTo>
                  <a:lnTo>
                    <a:pt x="72066" y="15474"/>
                  </a:lnTo>
                  <a:lnTo>
                    <a:pt x="72066" y="15182"/>
                  </a:lnTo>
                  <a:lnTo>
                    <a:pt x="72066" y="14452"/>
                  </a:lnTo>
                  <a:lnTo>
                    <a:pt x="72066" y="14452"/>
                  </a:lnTo>
                  <a:lnTo>
                    <a:pt x="71735" y="14452"/>
                  </a:lnTo>
                  <a:lnTo>
                    <a:pt x="71735" y="14452"/>
                  </a:lnTo>
                  <a:lnTo>
                    <a:pt x="71735" y="14744"/>
                  </a:lnTo>
                  <a:lnTo>
                    <a:pt x="71735" y="15182"/>
                  </a:lnTo>
                  <a:lnTo>
                    <a:pt x="71404" y="15474"/>
                  </a:lnTo>
                  <a:lnTo>
                    <a:pt x="71404" y="15474"/>
                  </a:lnTo>
                  <a:lnTo>
                    <a:pt x="71404" y="16204"/>
                  </a:lnTo>
                  <a:lnTo>
                    <a:pt x="71735" y="16204"/>
                  </a:lnTo>
                  <a:lnTo>
                    <a:pt x="71735" y="15766"/>
                  </a:lnTo>
                  <a:close/>
                  <a:moveTo>
                    <a:pt x="72561" y="15182"/>
                  </a:moveTo>
                  <a:lnTo>
                    <a:pt x="72892" y="14452"/>
                  </a:lnTo>
                  <a:lnTo>
                    <a:pt x="72892" y="14452"/>
                  </a:lnTo>
                  <a:lnTo>
                    <a:pt x="72892" y="14014"/>
                  </a:lnTo>
                  <a:lnTo>
                    <a:pt x="72892" y="14014"/>
                  </a:lnTo>
                  <a:lnTo>
                    <a:pt x="72892" y="14452"/>
                  </a:lnTo>
                  <a:lnTo>
                    <a:pt x="72561" y="14452"/>
                  </a:lnTo>
                  <a:lnTo>
                    <a:pt x="72066" y="14452"/>
                  </a:lnTo>
                  <a:lnTo>
                    <a:pt x="72066" y="15182"/>
                  </a:lnTo>
                  <a:lnTo>
                    <a:pt x="72066" y="15182"/>
                  </a:lnTo>
                  <a:lnTo>
                    <a:pt x="72561" y="15182"/>
                  </a:lnTo>
                  <a:close/>
                  <a:moveTo>
                    <a:pt x="71735" y="10218"/>
                  </a:moveTo>
                  <a:lnTo>
                    <a:pt x="72066" y="10218"/>
                  </a:lnTo>
                  <a:lnTo>
                    <a:pt x="72066" y="9927"/>
                  </a:lnTo>
                  <a:lnTo>
                    <a:pt x="72066" y="9635"/>
                  </a:lnTo>
                  <a:lnTo>
                    <a:pt x="72066" y="9635"/>
                  </a:lnTo>
                  <a:lnTo>
                    <a:pt x="71735" y="9635"/>
                  </a:lnTo>
                  <a:lnTo>
                    <a:pt x="71735" y="9635"/>
                  </a:lnTo>
                  <a:lnTo>
                    <a:pt x="71735" y="9927"/>
                  </a:lnTo>
                  <a:lnTo>
                    <a:pt x="71735" y="10218"/>
                  </a:lnTo>
                  <a:lnTo>
                    <a:pt x="71735" y="10218"/>
                  </a:lnTo>
                  <a:close/>
                  <a:moveTo>
                    <a:pt x="120000" y="38978"/>
                  </a:moveTo>
                  <a:lnTo>
                    <a:pt x="120000" y="38540"/>
                  </a:lnTo>
                  <a:lnTo>
                    <a:pt x="120000" y="37956"/>
                  </a:lnTo>
                  <a:lnTo>
                    <a:pt x="120000" y="37956"/>
                  </a:lnTo>
                  <a:lnTo>
                    <a:pt x="120000" y="37518"/>
                  </a:lnTo>
                  <a:lnTo>
                    <a:pt x="119669" y="37226"/>
                  </a:lnTo>
                  <a:lnTo>
                    <a:pt x="119669" y="35766"/>
                  </a:lnTo>
                  <a:lnTo>
                    <a:pt x="119173" y="35182"/>
                  </a:lnTo>
                  <a:lnTo>
                    <a:pt x="118842" y="34452"/>
                  </a:lnTo>
                  <a:lnTo>
                    <a:pt x="118842" y="33430"/>
                  </a:lnTo>
                  <a:lnTo>
                    <a:pt x="118016" y="32408"/>
                  </a:lnTo>
                  <a:lnTo>
                    <a:pt x="118016" y="31970"/>
                  </a:lnTo>
                  <a:lnTo>
                    <a:pt x="117685" y="31970"/>
                  </a:lnTo>
                  <a:lnTo>
                    <a:pt x="116528" y="31678"/>
                  </a:lnTo>
                  <a:lnTo>
                    <a:pt x="115702" y="31970"/>
                  </a:lnTo>
                  <a:lnTo>
                    <a:pt x="115041" y="31678"/>
                  </a:lnTo>
                  <a:lnTo>
                    <a:pt x="114545" y="31970"/>
                  </a:lnTo>
                  <a:lnTo>
                    <a:pt x="114214" y="31678"/>
                  </a:lnTo>
                  <a:lnTo>
                    <a:pt x="113719" y="31386"/>
                  </a:lnTo>
                  <a:lnTo>
                    <a:pt x="113388" y="31386"/>
                  </a:lnTo>
                  <a:lnTo>
                    <a:pt x="112561" y="31386"/>
                  </a:lnTo>
                  <a:lnTo>
                    <a:pt x="112231" y="30656"/>
                  </a:lnTo>
                  <a:lnTo>
                    <a:pt x="111404" y="30364"/>
                  </a:lnTo>
                  <a:lnTo>
                    <a:pt x="110743" y="29635"/>
                  </a:lnTo>
                  <a:lnTo>
                    <a:pt x="109917" y="29343"/>
                  </a:lnTo>
                  <a:lnTo>
                    <a:pt x="109090" y="28175"/>
                  </a:lnTo>
                  <a:lnTo>
                    <a:pt x="109090" y="28175"/>
                  </a:lnTo>
                  <a:lnTo>
                    <a:pt x="108760" y="27591"/>
                  </a:lnTo>
                  <a:lnTo>
                    <a:pt x="107933" y="27591"/>
                  </a:lnTo>
                  <a:lnTo>
                    <a:pt x="107107" y="26861"/>
                  </a:lnTo>
                  <a:lnTo>
                    <a:pt x="106776" y="26569"/>
                  </a:lnTo>
                  <a:lnTo>
                    <a:pt x="105950" y="26131"/>
                  </a:lnTo>
                  <a:lnTo>
                    <a:pt x="105289" y="25839"/>
                  </a:lnTo>
                  <a:lnTo>
                    <a:pt x="105289" y="25547"/>
                  </a:lnTo>
                  <a:lnTo>
                    <a:pt x="104462" y="25547"/>
                  </a:lnTo>
                  <a:lnTo>
                    <a:pt x="104132" y="25109"/>
                  </a:lnTo>
                  <a:lnTo>
                    <a:pt x="103305" y="24817"/>
                  </a:lnTo>
                  <a:lnTo>
                    <a:pt x="102479" y="24817"/>
                  </a:lnTo>
                  <a:lnTo>
                    <a:pt x="101322" y="25109"/>
                  </a:lnTo>
                  <a:lnTo>
                    <a:pt x="100165" y="25109"/>
                  </a:lnTo>
                  <a:lnTo>
                    <a:pt x="99834" y="25109"/>
                  </a:lnTo>
                  <a:lnTo>
                    <a:pt x="99338" y="25109"/>
                  </a:lnTo>
                  <a:lnTo>
                    <a:pt x="99008" y="25109"/>
                  </a:lnTo>
                  <a:lnTo>
                    <a:pt x="98677" y="24817"/>
                  </a:lnTo>
                  <a:lnTo>
                    <a:pt x="98181" y="24817"/>
                  </a:lnTo>
                  <a:lnTo>
                    <a:pt x="97851" y="24817"/>
                  </a:lnTo>
                  <a:lnTo>
                    <a:pt x="97024" y="24817"/>
                  </a:lnTo>
                  <a:lnTo>
                    <a:pt x="95867" y="24379"/>
                  </a:lnTo>
                  <a:lnTo>
                    <a:pt x="95537" y="24087"/>
                  </a:lnTo>
                  <a:lnTo>
                    <a:pt x="95041" y="24087"/>
                  </a:lnTo>
                  <a:lnTo>
                    <a:pt x="94710" y="23795"/>
                  </a:lnTo>
                  <a:lnTo>
                    <a:pt x="93884" y="23357"/>
                  </a:lnTo>
                  <a:lnTo>
                    <a:pt x="93553" y="23357"/>
                  </a:lnTo>
                  <a:lnTo>
                    <a:pt x="93223" y="23795"/>
                  </a:lnTo>
                  <a:lnTo>
                    <a:pt x="93223" y="23795"/>
                  </a:lnTo>
                  <a:lnTo>
                    <a:pt x="92396" y="24087"/>
                  </a:lnTo>
                  <a:lnTo>
                    <a:pt x="91900" y="24087"/>
                  </a:lnTo>
                  <a:lnTo>
                    <a:pt x="91900" y="24087"/>
                  </a:lnTo>
                  <a:lnTo>
                    <a:pt x="91570" y="24379"/>
                  </a:lnTo>
                  <a:lnTo>
                    <a:pt x="91239" y="24817"/>
                  </a:lnTo>
                  <a:lnTo>
                    <a:pt x="90743" y="24817"/>
                  </a:lnTo>
                  <a:lnTo>
                    <a:pt x="91239" y="24379"/>
                  </a:lnTo>
                  <a:lnTo>
                    <a:pt x="91239" y="24087"/>
                  </a:lnTo>
                  <a:lnTo>
                    <a:pt x="91239" y="24087"/>
                  </a:lnTo>
                  <a:lnTo>
                    <a:pt x="91239" y="23795"/>
                  </a:lnTo>
                  <a:lnTo>
                    <a:pt x="91239" y="23795"/>
                  </a:lnTo>
                  <a:lnTo>
                    <a:pt x="90743" y="23795"/>
                  </a:lnTo>
                  <a:lnTo>
                    <a:pt x="90743" y="24087"/>
                  </a:lnTo>
                  <a:lnTo>
                    <a:pt x="90413" y="24379"/>
                  </a:lnTo>
                  <a:lnTo>
                    <a:pt x="90413" y="25109"/>
                  </a:lnTo>
                  <a:lnTo>
                    <a:pt x="89586" y="25839"/>
                  </a:lnTo>
                  <a:lnTo>
                    <a:pt x="89256" y="26131"/>
                  </a:lnTo>
                  <a:lnTo>
                    <a:pt x="89256" y="25839"/>
                  </a:lnTo>
                  <a:lnTo>
                    <a:pt x="89586" y="24817"/>
                  </a:lnTo>
                  <a:lnTo>
                    <a:pt x="89586" y="24379"/>
                  </a:lnTo>
                  <a:lnTo>
                    <a:pt x="89586" y="24087"/>
                  </a:lnTo>
                  <a:lnTo>
                    <a:pt x="90082" y="24087"/>
                  </a:lnTo>
                  <a:lnTo>
                    <a:pt x="90082" y="23795"/>
                  </a:lnTo>
                  <a:lnTo>
                    <a:pt x="90082" y="23795"/>
                  </a:lnTo>
                  <a:lnTo>
                    <a:pt x="90413" y="23357"/>
                  </a:lnTo>
                  <a:lnTo>
                    <a:pt x="90413" y="23065"/>
                  </a:lnTo>
                  <a:lnTo>
                    <a:pt x="90413" y="22773"/>
                  </a:lnTo>
                  <a:lnTo>
                    <a:pt x="90082" y="23065"/>
                  </a:lnTo>
                  <a:lnTo>
                    <a:pt x="89586" y="23065"/>
                  </a:lnTo>
                  <a:lnTo>
                    <a:pt x="89586" y="23357"/>
                  </a:lnTo>
                  <a:lnTo>
                    <a:pt x="89256" y="23357"/>
                  </a:lnTo>
                  <a:lnTo>
                    <a:pt x="89256" y="23065"/>
                  </a:lnTo>
                  <a:lnTo>
                    <a:pt x="89256" y="23065"/>
                  </a:lnTo>
                  <a:lnTo>
                    <a:pt x="89586" y="23065"/>
                  </a:lnTo>
                  <a:lnTo>
                    <a:pt x="89586" y="22773"/>
                  </a:lnTo>
                  <a:lnTo>
                    <a:pt x="89586" y="22773"/>
                  </a:lnTo>
                  <a:lnTo>
                    <a:pt x="90082" y="22335"/>
                  </a:lnTo>
                  <a:lnTo>
                    <a:pt x="90082" y="22043"/>
                  </a:lnTo>
                  <a:lnTo>
                    <a:pt x="89586" y="21751"/>
                  </a:lnTo>
                  <a:lnTo>
                    <a:pt x="89586" y="21751"/>
                  </a:lnTo>
                  <a:lnTo>
                    <a:pt x="89256" y="21751"/>
                  </a:lnTo>
                  <a:lnTo>
                    <a:pt x="89256" y="21751"/>
                  </a:lnTo>
                  <a:lnTo>
                    <a:pt x="89256" y="21751"/>
                  </a:lnTo>
                  <a:lnTo>
                    <a:pt x="89256" y="21313"/>
                  </a:lnTo>
                  <a:lnTo>
                    <a:pt x="88925" y="21313"/>
                  </a:lnTo>
                  <a:lnTo>
                    <a:pt x="88925" y="21021"/>
                  </a:lnTo>
                  <a:lnTo>
                    <a:pt x="88429" y="21021"/>
                  </a:lnTo>
                  <a:lnTo>
                    <a:pt x="88099" y="20583"/>
                  </a:lnTo>
                  <a:lnTo>
                    <a:pt x="88099" y="20583"/>
                  </a:lnTo>
                  <a:lnTo>
                    <a:pt x="87768" y="21313"/>
                  </a:lnTo>
                  <a:lnTo>
                    <a:pt x="87768" y="21313"/>
                  </a:lnTo>
                  <a:lnTo>
                    <a:pt x="87272" y="21313"/>
                  </a:lnTo>
                  <a:lnTo>
                    <a:pt x="87272" y="21021"/>
                  </a:lnTo>
                  <a:lnTo>
                    <a:pt x="86942" y="20291"/>
                  </a:lnTo>
                  <a:lnTo>
                    <a:pt x="86942" y="20291"/>
                  </a:lnTo>
                  <a:lnTo>
                    <a:pt x="86446" y="20291"/>
                  </a:lnTo>
                  <a:lnTo>
                    <a:pt x="86115" y="20000"/>
                  </a:lnTo>
                  <a:lnTo>
                    <a:pt x="85289" y="20000"/>
                  </a:lnTo>
                  <a:lnTo>
                    <a:pt x="85289" y="19562"/>
                  </a:lnTo>
                  <a:lnTo>
                    <a:pt x="84958" y="19562"/>
                  </a:lnTo>
                  <a:lnTo>
                    <a:pt x="84628" y="19562"/>
                  </a:lnTo>
                  <a:lnTo>
                    <a:pt x="84628" y="19270"/>
                  </a:lnTo>
                  <a:lnTo>
                    <a:pt x="84628" y="19270"/>
                  </a:lnTo>
                  <a:lnTo>
                    <a:pt x="84132" y="19270"/>
                  </a:lnTo>
                  <a:lnTo>
                    <a:pt x="83801" y="19270"/>
                  </a:lnTo>
                  <a:lnTo>
                    <a:pt x="83471" y="19270"/>
                  </a:lnTo>
                  <a:lnTo>
                    <a:pt x="83471" y="18978"/>
                  </a:lnTo>
                  <a:lnTo>
                    <a:pt x="82975" y="18540"/>
                  </a:lnTo>
                  <a:lnTo>
                    <a:pt x="82975" y="18540"/>
                  </a:lnTo>
                  <a:lnTo>
                    <a:pt x="82644" y="18540"/>
                  </a:lnTo>
                  <a:lnTo>
                    <a:pt x="82644" y="18540"/>
                  </a:lnTo>
                  <a:lnTo>
                    <a:pt x="82314" y="18540"/>
                  </a:lnTo>
                  <a:lnTo>
                    <a:pt x="81818" y="18540"/>
                  </a:lnTo>
                  <a:lnTo>
                    <a:pt x="81818" y="18248"/>
                  </a:lnTo>
                  <a:lnTo>
                    <a:pt x="81487" y="18248"/>
                  </a:lnTo>
                  <a:lnTo>
                    <a:pt x="80991" y="18248"/>
                  </a:lnTo>
                  <a:lnTo>
                    <a:pt x="80991" y="18248"/>
                  </a:lnTo>
                  <a:lnTo>
                    <a:pt x="80991" y="18248"/>
                  </a:lnTo>
                  <a:lnTo>
                    <a:pt x="80991" y="18248"/>
                  </a:lnTo>
                  <a:lnTo>
                    <a:pt x="80991" y="18540"/>
                  </a:lnTo>
                  <a:lnTo>
                    <a:pt x="80661" y="18540"/>
                  </a:lnTo>
                  <a:lnTo>
                    <a:pt x="80661" y="18248"/>
                  </a:lnTo>
                  <a:lnTo>
                    <a:pt x="80330" y="18248"/>
                  </a:lnTo>
                  <a:lnTo>
                    <a:pt x="80330" y="18540"/>
                  </a:lnTo>
                  <a:lnTo>
                    <a:pt x="79834" y="18248"/>
                  </a:lnTo>
                  <a:lnTo>
                    <a:pt x="79834" y="18248"/>
                  </a:lnTo>
                  <a:lnTo>
                    <a:pt x="79834" y="18248"/>
                  </a:lnTo>
                  <a:lnTo>
                    <a:pt x="79504" y="18248"/>
                  </a:lnTo>
                  <a:lnTo>
                    <a:pt x="79504" y="18540"/>
                  </a:lnTo>
                  <a:lnTo>
                    <a:pt x="79173" y="18248"/>
                  </a:lnTo>
                  <a:lnTo>
                    <a:pt x="79173" y="18248"/>
                  </a:lnTo>
                  <a:lnTo>
                    <a:pt x="78677" y="18540"/>
                  </a:lnTo>
                  <a:lnTo>
                    <a:pt x="78677" y="18540"/>
                  </a:lnTo>
                  <a:lnTo>
                    <a:pt x="78677" y="18540"/>
                  </a:lnTo>
                  <a:lnTo>
                    <a:pt x="78347" y="18978"/>
                  </a:lnTo>
                  <a:lnTo>
                    <a:pt x="78347" y="19270"/>
                  </a:lnTo>
                  <a:lnTo>
                    <a:pt x="78347" y="19270"/>
                  </a:lnTo>
                  <a:lnTo>
                    <a:pt x="78016" y="19562"/>
                  </a:lnTo>
                  <a:lnTo>
                    <a:pt x="78016" y="20000"/>
                  </a:lnTo>
                  <a:lnTo>
                    <a:pt x="78016" y="20291"/>
                  </a:lnTo>
                  <a:lnTo>
                    <a:pt x="78016" y="20291"/>
                  </a:lnTo>
                  <a:lnTo>
                    <a:pt x="78016" y="20583"/>
                  </a:lnTo>
                  <a:lnTo>
                    <a:pt x="78347" y="20583"/>
                  </a:lnTo>
                  <a:lnTo>
                    <a:pt x="78016" y="21021"/>
                  </a:lnTo>
                  <a:lnTo>
                    <a:pt x="78016" y="21021"/>
                  </a:lnTo>
                  <a:lnTo>
                    <a:pt x="77520" y="21021"/>
                  </a:lnTo>
                  <a:lnTo>
                    <a:pt x="77520" y="20583"/>
                  </a:lnTo>
                  <a:lnTo>
                    <a:pt x="77190" y="20583"/>
                  </a:lnTo>
                  <a:lnTo>
                    <a:pt x="76363" y="21751"/>
                  </a:lnTo>
                  <a:lnTo>
                    <a:pt x="75537" y="22043"/>
                  </a:lnTo>
                  <a:lnTo>
                    <a:pt x="75537" y="22043"/>
                  </a:lnTo>
                  <a:lnTo>
                    <a:pt x="74876" y="23357"/>
                  </a:lnTo>
                  <a:lnTo>
                    <a:pt x="74876" y="23795"/>
                  </a:lnTo>
                  <a:lnTo>
                    <a:pt x="74380" y="24087"/>
                  </a:lnTo>
                  <a:lnTo>
                    <a:pt x="74380" y="24379"/>
                  </a:lnTo>
                  <a:lnTo>
                    <a:pt x="74380" y="24379"/>
                  </a:lnTo>
                  <a:lnTo>
                    <a:pt x="74380" y="24087"/>
                  </a:lnTo>
                  <a:lnTo>
                    <a:pt x="74380" y="24087"/>
                  </a:lnTo>
                  <a:lnTo>
                    <a:pt x="74876" y="23065"/>
                  </a:lnTo>
                  <a:lnTo>
                    <a:pt x="74876" y="23065"/>
                  </a:lnTo>
                  <a:lnTo>
                    <a:pt x="74876" y="22335"/>
                  </a:lnTo>
                  <a:lnTo>
                    <a:pt x="75206" y="21313"/>
                  </a:lnTo>
                  <a:lnTo>
                    <a:pt x="74380" y="22043"/>
                  </a:lnTo>
                  <a:lnTo>
                    <a:pt x="74049" y="22043"/>
                  </a:lnTo>
                  <a:lnTo>
                    <a:pt x="73223" y="22043"/>
                  </a:lnTo>
                  <a:lnTo>
                    <a:pt x="73223" y="21751"/>
                  </a:lnTo>
                  <a:lnTo>
                    <a:pt x="72892" y="22043"/>
                  </a:lnTo>
                  <a:lnTo>
                    <a:pt x="72561" y="22043"/>
                  </a:lnTo>
                  <a:lnTo>
                    <a:pt x="72561" y="22043"/>
                  </a:lnTo>
                  <a:lnTo>
                    <a:pt x="71735" y="22335"/>
                  </a:lnTo>
                  <a:lnTo>
                    <a:pt x="71404" y="22043"/>
                  </a:lnTo>
                  <a:lnTo>
                    <a:pt x="71404" y="21751"/>
                  </a:lnTo>
                  <a:lnTo>
                    <a:pt x="70909" y="21751"/>
                  </a:lnTo>
                  <a:lnTo>
                    <a:pt x="70909" y="21313"/>
                  </a:lnTo>
                  <a:lnTo>
                    <a:pt x="70909" y="21313"/>
                  </a:lnTo>
                  <a:lnTo>
                    <a:pt x="70578" y="20583"/>
                  </a:lnTo>
                  <a:lnTo>
                    <a:pt x="70578" y="20291"/>
                  </a:lnTo>
                  <a:lnTo>
                    <a:pt x="70578" y="20291"/>
                  </a:lnTo>
                  <a:lnTo>
                    <a:pt x="70578" y="20000"/>
                  </a:lnTo>
                  <a:lnTo>
                    <a:pt x="70082" y="19562"/>
                  </a:lnTo>
                  <a:lnTo>
                    <a:pt x="70082" y="19562"/>
                  </a:lnTo>
                  <a:lnTo>
                    <a:pt x="70578" y="19270"/>
                  </a:lnTo>
                  <a:lnTo>
                    <a:pt x="70578" y="19270"/>
                  </a:lnTo>
                  <a:lnTo>
                    <a:pt x="70082" y="18978"/>
                  </a:lnTo>
                  <a:lnTo>
                    <a:pt x="70082" y="19270"/>
                  </a:lnTo>
                  <a:lnTo>
                    <a:pt x="69752" y="19270"/>
                  </a:lnTo>
                  <a:lnTo>
                    <a:pt x="69421" y="19562"/>
                  </a:lnTo>
                  <a:lnTo>
                    <a:pt x="68925" y="20000"/>
                  </a:lnTo>
                  <a:lnTo>
                    <a:pt x="68264" y="20291"/>
                  </a:lnTo>
                  <a:lnTo>
                    <a:pt x="68264" y="20291"/>
                  </a:lnTo>
                  <a:lnTo>
                    <a:pt x="67107" y="21021"/>
                  </a:lnTo>
                  <a:lnTo>
                    <a:pt x="66280" y="21313"/>
                  </a:lnTo>
                  <a:lnTo>
                    <a:pt x="65950" y="21021"/>
                  </a:lnTo>
                  <a:lnTo>
                    <a:pt x="65123" y="21021"/>
                  </a:lnTo>
                  <a:lnTo>
                    <a:pt x="65123" y="21021"/>
                  </a:lnTo>
                  <a:lnTo>
                    <a:pt x="66280" y="20291"/>
                  </a:lnTo>
                  <a:lnTo>
                    <a:pt x="67107" y="20583"/>
                  </a:lnTo>
                  <a:lnTo>
                    <a:pt x="67107" y="20291"/>
                  </a:lnTo>
                  <a:lnTo>
                    <a:pt x="67107" y="20291"/>
                  </a:lnTo>
                  <a:lnTo>
                    <a:pt x="67107" y="20000"/>
                  </a:lnTo>
                  <a:lnTo>
                    <a:pt x="67438" y="19562"/>
                  </a:lnTo>
                  <a:lnTo>
                    <a:pt x="67768" y="19270"/>
                  </a:lnTo>
                  <a:lnTo>
                    <a:pt x="67768" y="18978"/>
                  </a:lnTo>
                  <a:lnTo>
                    <a:pt x="67768" y="18540"/>
                  </a:lnTo>
                  <a:lnTo>
                    <a:pt x="68264" y="17810"/>
                  </a:lnTo>
                  <a:lnTo>
                    <a:pt x="68595" y="17810"/>
                  </a:lnTo>
                  <a:lnTo>
                    <a:pt x="68595" y="17518"/>
                  </a:lnTo>
                  <a:lnTo>
                    <a:pt x="68925" y="16788"/>
                  </a:lnTo>
                  <a:lnTo>
                    <a:pt x="68925" y="16496"/>
                  </a:lnTo>
                  <a:lnTo>
                    <a:pt x="69752" y="16204"/>
                  </a:lnTo>
                  <a:lnTo>
                    <a:pt x="70082" y="15766"/>
                  </a:lnTo>
                  <a:lnTo>
                    <a:pt x="70082" y="15766"/>
                  </a:lnTo>
                  <a:lnTo>
                    <a:pt x="70578" y="15474"/>
                  </a:lnTo>
                  <a:lnTo>
                    <a:pt x="70909" y="15474"/>
                  </a:lnTo>
                  <a:lnTo>
                    <a:pt x="71404" y="14744"/>
                  </a:lnTo>
                  <a:lnTo>
                    <a:pt x="71735" y="14014"/>
                  </a:lnTo>
                  <a:lnTo>
                    <a:pt x="72066" y="13722"/>
                  </a:lnTo>
                  <a:lnTo>
                    <a:pt x="72066" y="13722"/>
                  </a:lnTo>
                  <a:lnTo>
                    <a:pt x="72892" y="12992"/>
                  </a:lnTo>
                  <a:lnTo>
                    <a:pt x="72892" y="12992"/>
                  </a:lnTo>
                  <a:lnTo>
                    <a:pt x="73223" y="12700"/>
                  </a:lnTo>
                  <a:lnTo>
                    <a:pt x="73223" y="12700"/>
                  </a:lnTo>
                  <a:lnTo>
                    <a:pt x="73223" y="12408"/>
                  </a:lnTo>
                  <a:lnTo>
                    <a:pt x="73223" y="11678"/>
                  </a:lnTo>
                  <a:lnTo>
                    <a:pt x="73223" y="10948"/>
                  </a:lnTo>
                  <a:lnTo>
                    <a:pt x="72892" y="10948"/>
                  </a:lnTo>
                  <a:lnTo>
                    <a:pt x="72561" y="10656"/>
                  </a:lnTo>
                  <a:lnTo>
                    <a:pt x="72066" y="10656"/>
                  </a:lnTo>
                  <a:lnTo>
                    <a:pt x="71735" y="10656"/>
                  </a:lnTo>
                  <a:lnTo>
                    <a:pt x="71404" y="10218"/>
                  </a:lnTo>
                  <a:lnTo>
                    <a:pt x="71404" y="9927"/>
                  </a:lnTo>
                  <a:lnTo>
                    <a:pt x="71404" y="9635"/>
                  </a:lnTo>
                  <a:lnTo>
                    <a:pt x="70909" y="9635"/>
                  </a:lnTo>
                  <a:lnTo>
                    <a:pt x="70909" y="9635"/>
                  </a:lnTo>
                  <a:lnTo>
                    <a:pt x="70909" y="9635"/>
                  </a:lnTo>
                  <a:lnTo>
                    <a:pt x="70909" y="9197"/>
                  </a:lnTo>
                  <a:lnTo>
                    <a:pt x="70909" y="8905"/>
                  </a:lnTo>
                  <a:lnTo>
                    <a:pt x="70578" y="8613"/>
                  </a:lnTo>
                  <a:lnTo>
                    <a:pt x="70578" y="8175"/>
                  </a:lnTo>
                  <a:lnTo>
                    <a:pt x="70578" y="7883"/>
                  </a:lnTo>
                  <a:lnTo>
                    <a:pt x="70082" y="6861"/>
                  </a:lnTo>
                  <a:lnTo>
                    <a:pt x="70082" y="6131"/>
                  </a:lnTo>
                  <a:lnTo>
                    <a:pt x="69752" y="4817"/>
                  </a:lnTo>
                  <a:lnTo>
                    <a:pt x="69421" y="3357"/>
                  </a:lnTo>
                  <a:lnTo>
                    <a:pt x="69421" y="3065"/>
                  </a:lnTo>
                  <a:lnTo>
                    <a:pt x="68595" y="3065"/>
                  </a:lnTo>
                  <a:lnTo>
                    <a:pt x="68595" y="3065"/>
                  </a:lnTo>
                  <a:lnTo>
                    <a:pt x="68595" y="3065"/>
                  </a:lnTo>
                  <a:lnTo>
                    <a:pt x="68264" y="3795"/>
                  </a:lnTo>
                  <a:lnTo>
                    <a:pt x="68264" y="3795"/>
                  </a:lnTo>
                  <a:lnTo>
                    <a:pt x="67768" y="3795"/>
                  </a:lnTo>
                  <a:lnTo>
                    <a:pt x="67768" y="4087"/>
                  </a:lnTo>
                  <a:lnTo>
                    <a:pt x="67768" y="4087"/>
                  </a:lnTo>
                  <a:lnTo>
                    <a:pt x="67438" y="4379"/>
                  </a:lnTo>
                  <a:lnTo>
                    <a:pt x="67438" y="4379"/>
                  </a:lnTo>
                  <a:lnTo>
                    <a:pt x="67438" y="4817"/>
                  </a:lnTo>
                  <a:lnTo>
                    <a:pt x="67107" y="4817"/>
                  </a:lnTo>
                  <a:lnTo>
                    <a:pt x="67107" y="4817"/>
                  </a:lnTo>
                  <a:lnTo>
                    <a:pt x="66611" y="5401"/>
                  </a:lnTo>
                  <a:lnTo>
                    <a:pt x="66611" y="5839"/>
                  </a:lnTo>
                  <a:lnTo>
                    <a:pt x="66280" y="6131"/>
                  </a:lnTo>
                  <a:lnTo>
                    <a:pt x="66280" y="6131"/>
                  </a:lnTo>
                  <a:lnTo>
                    <a:pt x="65950" y="6423"/>
                  </a:lnTo>
                  <a:lnTo>
                    <a:pt x="65950" y="6423"/>
                  </a:lnTo>
                  <a:lnTo>
                    <a:pt x="65950" y="6861"/>
                  </a:lnTo>
                  <a:lnTo>
                    <a:pt x="65950" y="6861"/>
                  </a:lnTo>
                  <a:lnTo>
                    <a:pt x="65950" y="7153"/>
                  </a:lnTo>
                  <a:lnTo>
                    <a:pt x="65454" y="7153"/>
                  </a:lnTo>
                  <a:lnTo>
                    <a:pt x="65454" y="7883"/>
                  </a:lnTo>
                  <a:lnTo>
                    <a:pt x="65454" y="8175"/>
                  </a:lnTo>
                  <a:lnTo>
                    <a:pt x="65123" y="8175"/>
                  </a:lnTo>
                  <a:lnTo>
                    <a:pt x="65123" y="8613"/>
                  </a:lnTo>
                  <a:lnTo>
                    <a:pt x="64628" y="8905"/>
                  </a:lnTo>
                  <a:lnTo>
                    <a:pt x="64628" y="8905"/>
                  </a:lnTo>
                  <a:lnTo>
                    <a:pt x="64297" y="9197"/>
                  </a:lnTo>
                  <a:lnTo>
                    <a:pt x="64297" y="9197"/>
                  </a:lnTo>
                  <a:lnTo>
                    <a:pt x="63966" y="9635"/>
                  </a:lnTo>
                  <a:lnTo>
                    <a:pt x="63966" y="9635"/>
                  </a:lnTo>
                  <a:lnTo>
                    <a:pt x="63471" y="9197"/>
                  </a:lnTo>
                  <a:lnTo>
                    <a:pt x="63471" y="9197"/>
                  </a:lnTo>
                  <a:lnTo>
                    <a:pt x="63140" y="9197"/>
                  </a:lnTo>
                  <a:lnTo>
                    <a:pt x="63140" y="9197"/>
                  </a:lnTo>
                  <a:lnTo>
                    <a:pt x="63140" y="9197"/>
                  </a:lnTo>
                  <a:lnTo>
                    <a:pt x="62809" y="8905"/>
                  </a:lnTo>
                  <a:lnTo>
                    <a:pt x="62809" y="8905"/>
                  </a:lnTo>
                  <a:lnTo>
                    <a:pt x="62809" y="9197"/>
                  </a:lnTo>
                  <a:lnTo>
                    <a:pt x="62314" y="9197"/>
                  </a:lnTo>
                  <a:lnTo>
                    <a:pt x="62314" y="9197"/>
                  </a:lnTo>
                  <a:lnTo>
                    <a:pt x="61983" y="9197"/>
                  </a:lnTo>
                  <a:lnTo>
                    <a:pt x="61652" y="8905"/>
                  </a:lnTo>
                  <a:lnTo>
                    <a:pt x="61652" y="8905"/>
                  </a:lnTo>
                  <a:lnTo>
                    <a:pt x="61652" y="8905"/>
                  </a:lnTo>
                  <a:lnTo>
                    <a:pt x="61652" y="8905"/>
                  </a:lnTo>
                  <a:lnTo>
                    <a:pt x="61157" y="8905"/>
                  </a:lnTo>
                  <a:lnTo>
                    <a:pt x="61157" y="9197"/>
                  </a:lnTo>
                  <a:lnTo>
                    <a:pt x="61157" y="9197"/>
                  </a:lnTo>
                  <a:lnTo>
                    <a:pt x="60495" y="9635"/>
                  </a:lnTo>
                  <a:lnTo>
                    <a:pt x="60495" y="9635"/>
                  </a:lnTo>
                  <a:lnTo>
                    <a:pt x="60495" y="9635"/>
                  </a:lnTo>
                  <a:lnTo>
                    <a:pt x="60000" y="9635"/>
                  </a:lnTo>
                  <a:lnTo>
                    <a:pt x="60000" y="9635"/>
                  </a:lnTo>
                  <a:lnTo>
                    <a:pt x="59669" y="9197"/>
                  </a:lnTo>
                  <a:lnTo>
                    <a:pt x="59173" y="9197"/>
                  </a:lnTo>
                  <a:lnTo>
                    <a:pt x="59173" y="9197"/>
                  </a:lnTo>
                  <a:lnTo>
                    <a:pt x="58842" y="8905"/>
                  </a:lnTo>
                  <a:lnTo>
                    <a:pt x="58842" y="8905"/>
                  </a:lnTo>
                  <a:lnTo>
                    <a:pt x="58842" y="8905"/>
                  </a:lnTo>
                  <a:lnTo>
                    <a:pt x="58842" y="8905"/>
                  </a:lnTo>
                  <a:lnTo>
                    <a:pt x="58842" y="8905"/>
                  </a:lnTo>
                  <a:lnTo>
                    <a:pt x="58512" y="8613"/>
                  </a:lnTo>
                  <a:lnTo>
                    <a:pt x="58512" y="8613"/>
                  </a:lnTo>
                  <a:lnTo>
                    <a:pt x="58016" y="8613"/>
                  </a:lnTo>
                  <a:lnTo>
                    <a:pt x="58016" y="8613"/>
                  </a:lnTo>
                  <a:lnTo>
                    <a:pt x="58016" y="8613"/>
                  </a:lnTo>
                  <a:lnTo>
                    <a:pt x="58016" y="8175"/>
                  </a:lnTo>
                  <a:lnTo>
                    <a:pt x="57685" y="8175"/>
                  </a:lnTo>
                  <a:lnTo>
                    <a:pt x="57685" y="8175"/>
                  </a:lnTo>
                  <a:lnTo>
                    <a:pt x="57685" y="8175"/>
                  </a:lnTo>
                  <a:lnTo>
                    <a:pt x="57355" y="8175"/>
                  </a:lnTo>
                  <a:lnTo>
                    <a:pt x="57355" y="8175"/>
                  </a:lnTo>
                  <a:lnTo>
                    <a:pt x="57355" y="8175"/>
                  </a:lnTo>
                  <a:lnTo>
                    <a:pt x="56859" y="8613"/>
                  </a:lnTo>
                  <a:lnTo>
                    <a:pt x="56859" y="8613"/>
                  </a:lnTo>
                  <a:lnTo>
                    <a:pt x="56528" y="8613"/>
                  </a:lnTo>
                  <a:lnTo>
                    <a:pt x="55702" y="8613"/>
                  </a:lnTo>
                  <a:lnTo>
                    <a:pt x="55371" y="8905"/>
                  </a:lnTo>
                  <a:lnTo>
                    <a:pt x="55041" y="8613"/>
                  </a:lnTo>
                  <a:lnTo>
                    <a:pt x="55041" y="8613"/>
                  </a:lnTo>
                  <a:lnTo>
                    <a:pt x="55041" y="8613"/>
                  </a:lnTo>
                  <a:lnTo>
                    <a:pt x="55041" y="8613"/>
                  </a:lnTo>
                  <a:lnTo>
                    <a:pt x="54545" y="8613"/>
                  </a:lnTo>
                  <a:lnTo>
                    <a:pt x="54545" y="8905"/>
                  </a:lnTo>
                  <a:lnTo>
                    <a:pt x="54545" y="8905"/>
                  </a:lnTo>
                  <a:lnTo>
                    <a:pt x="54545" y="8905"/>
                  </a:lnTo>
                  <a:lnTo>
                    <a:pt x="54214" y="8905"/>
                  </a:lnTo>
                  <a:lnTo>
                    <a:pt x="54214" y="9197"/>
                  </a:lnTo>
                  <a:lnTo>
                    <a:pt x="54545" y="9197"/>
                  </a:lnTo>
                  <a:lnTo>
                    <a:pt x="54545" y="9635"/>
                  </a:lnTo>
                  <a:lnTo>
                    <a:pt x="55041" y="9635"/>
                  </a:lnTo>
                  <a:lnTo>
                    <a:pt x="55041" y="9927"/>
                  </a:lnTo>
                  <a:lnTo>
                    <a:pt x="55041" y="9927"/>
                  </a:lnTo>
                  <a:lnTo>
                    <a:pt x="55041" y="10218"/>
                  </a:lnTo>
                  <a:lnTo>
                    <a:pt x="55041" y="10218"/>
                  </a:lnTo>
                  <a:lnTo>
                    <a:pt x="54545" y="10656"/>
                  </a:lnTo>
                  <a:lnTo>
                    <a:pt x="53884" y="10218"/>
                  </a:lnTo>
                  <a:lnTo>
                    <a:pt x="53388" y="10218"/>
                  </a:lnTo>
                  <a:lnTo>
                    <a:pt x="53388" y="10218"/>
                  </a:lnTo>
                  <a:lnTo>
                    <a:pt x="53057" y="10218"/>
                  </a:lnTo>
                  <a:lnTo>
                    <a:pt x="53057" y="10218"/>
                  </a:lnTo>
                  <a:lnTo>
                    <a:pt x="53057" y="10218"/>
                  </a:lnTo>
                  <a:lnTo>
                    <a:pt x="52561" y="10218"/>
                  </a:lnTo>
                  <a:lnTo>
                    <a:pt x="52561" y="10218"/>
                  </a:lnTo>
                  <a:lnTo>
                    <a:pt x="52231" y="10218"/>
                  </a:lnTo>
                  <a:lnTo>
                    <a:pt x="52231" y="10218"/>
                  </a:lnTo>
                  <a:lnTo>
                    <a:pt x="51900" y="10218"/>
                  </a:lnTo>
                  <a:lnTo>
                    <a:pt x="51404" y="10218"/>
                  </a:lnTo>
                  <a:lnTo>
                    <a:pt x="51404" y="10218"/>
                  </a:lnTo>
                  <a:lnTo>
                    <a:pt x="51404" y="9927"/>
                  </a:lnTo>
                  <a:lnTo>
                    <a:pt x="51074" y="9927"/>
                  </a:lnTo>
                  <a:lnTo>
                    <a:pt x="51074" y="9927"/>
                  </a:lnTo>
                  <a:lnTo>
                    <a:pt x="50743" y="10218"/>
                  </a:lnTo>
                  <a:lnTo>
                    <a:pt x="50743" y="9927"/>
                  </a:lnTo>
                  <a:lnTo>
                    <a:pt x="50743" y="10218"/>
                  </a:lnTo>
                  <a:lnTo>
                    <a:pt x="50247" y="10218"/>
                  </a:lnTo>
                  <a:lnTo>
                    <a:pt x="49917" y="10656"/>
                  </a:lnTo>
                  <a:lnTo>
                    <a:pt x="49917" y="10948"/>
                  </a:lnTo>
                  <a:lnTo>
                    <a:pt x="49917" y="10948"/>
                  </a:lnTo>
                  <a:lnTo>
                    <a:pt x="49586" y="10948"/>
                  </a:lnTo>
                  <a:lnTo>
                    <a:pt x="49090" y="10948"/>
                  </a:lnTo>
                  <a:lnTo>
                    <a:pt x="48760" y="10948"/>
                  </a:lnTo>
                  <a:lnTo>
                    <a:pt x="48760" y="10948"/>
                  </a:lnTo>
                  <a:lnTo>
                    <a:pt x="48760" y="10948"/>
                  </a:lnTo>
                  <a:lnTo>
                    <a:pt x="48760" y="11386"/>
                  </a:lnTo>
                  <a:lnTo>
                    <a:pt x="48429" y="11386"/>
                  </a:lnTo>
                  <a:lnTo>
                    <a:pt x="48429" y="11386"/>
                  </a:lnTo>
                  <a:lnTo>
                    <a:pt x="48429" y="11678"/>
                  </a:lnTo>
                  <a:lnTo>
                    <a:pt x="47933" y="11386"/>
                  </a:lnTo>
                  <a:lnTo>
                    <a:pt x="47933" y="11386"/>
                  </a:lnTo>
                  <a:lnTo>
                    <a:pt x="47933" y="11386"/>
                  </a:lnTo>
                  <a:lnTo>
                    <a:pt x="47603" y="11386"/>
                  </a:lnTo>
                  <a:lnTo>
                    <a:pt x="47603" y="11386"/>
                  </a:lnTo>
                  <a:lnTo>
                    <a:pt x="47603" y="11386"/>
                  </a:lnTo>
                  <a:lnTo>
                    <a:pt x="47603" y="11386"/>
                  </a:lnTo>
                  <a:lnTo>
                    <a:pt x="47107" y="11386"/>
                  </a:lnTo>
                  <a:lnTo>
                    <a:pt x="47107" y="11678"/>
                  </a:lnTo>
                  <a:lnTo>
                    <a:pt x="47107" y="11678"/>
                  </a:lnTo>
                  <a:lnTo>
                    <a:pt x="46776" y="11678"/>
                  </a:lnTo>
                  <a:lnTo>
                    <a:pt x="47107" y="11970"/>
                  </a:lnTo>
                  <a:lnTo>
                    <a:pt x="47107" y="11970"/>
                  </a:lnTo>
                  <a:lnTo>
                    <a:pt x="46776" y="12408"/>
                  </a:lnTo>
                  <a:lnTo>
                    <a:pt x="46776" y="12408"/>
                  </a:lnTo>
                  <a:lnTo>
                    <a:pt x="46446" y="12408"/>
                  </a:lnTo>
                  <a:lnTo>
                    <a:pt x="46446" y="12408"/>
                  </a:lnTo>
                  <a:lnTo>
                    <a:pt x="45950" y="12408"/>
                  </a:lnTo>
                  <a:lnTo>
                    <a:pt x="45950" y="12408"/>
                  </a:lnTo>
                  <a:lnTo>
                    <a:pt x="45950" y="12408"/>
                  </a:lnTo>
                  <a:lnTo>
                    <a:pt x="45619" y="12408"/>
                  </a:lnTo>
                  <a:lnTo>
                    <a:pt x="45619" y="11970"/>
                  </a:lnTo>
                  <a:lnTo>
                    <a:pt x="45289" y="11970"/>
                  </a:lnTo>
                  <a:lnTo>
                    <a:pt x="44793" y="11970"/>
                  </a:lnTo>
                  <a:lnTo>
                    <a:pt x="44462" y="11678"/>
                  </a:lnTo>
                  <a:lnTo>
                    <a:pt x="44462" y="11678"/>
                  </a:lnTo>
                  <a:lnTo>
                    <a:pt x="44462" y="11386"/>
                  </a:lnTo>
                  <a:lnTo>
                    <a:pt x="44132" y="10948"/>
                  </a:lnTo>
                  <a:lnTo>
                    <a:pt x="43636" y="10948"/>
                  </a:lnTo>
                  <a:lnTo>
                    <a:pt x="43636" y="10948"/>
                  </a:lnTo>
                  <a:lnTo>
                    <a:pt x="43305" y="10656"/>
                  </a:lnTo>
                  <a:lnTo>
                    <a:pt x="43305" y="10656"/>
                  </a:lnTo>
                  <a:lnTo>
                    <a:pt x="43305" y="10656"/>
                  </a:lnTo>
                  <a:lnTo>
                    <a:pt x="43305" y="10218"/>
                  </a:lnTo>
                  <a:lnTo>
                    <a:pt x="43305" y="10218"/>
                  </a:lnTo>
                  <a:lnTo>
                    <a:pt x="43305" y="10218"/>
                  </a:lnTo>
                  <a:lnTo>
                    <a:pt x="43305" y="10218"/>
                  </a:lnTo>
                  <a:lnTo>
                    <a:pt x="43305" y="9635"/>
                  </a:lnTo>
                  <a:lnTo>
                    <a:pt x="43305" y="9197"/>
                  </a:lnTo>
                  <a:lnTo>
                    <a:pt x="42975" y="8905"/>
                  </a:lnTo>
                  <a:lnTo>
                    <a:pt x="42975" y="8905"/>
                  </a:lnTo>
                  <a:lnTo>
                    <a:pt x="42479" y="8175"/>
                  </a:lnTo>
                  <a:lnTo>
                    <a:pt x="42479" y="7883"/>
                  </a:lnTo>
                  <a:lnTo>
                    <a:pt x="42479" y="7591"/>
                  </a:lnTo>
                  <a:lnTo>
                    <a:pt x="42479" y="6861"/>
                  </a:lnTo>
                  <a:lnTo>
                    <a:pt x="42479" y="6423"/>
                  </a:lnTo>
                  <a:lnTo>
                    <a:pt x="42975" y="6131"/>
                  </a:lnTo>
                  <a:lnTo>
                    <a:pt x="42975" y="5839"/>
                  </a:lnTo>
                  <a:lnTo>
                    <a:pt x="42975" y="5839"/>
                  </a:lnTo>
                  <a:lnTo>
                    <a:pt x="42975" y="5401"/>
                  </a:lnTo>
                  <a:lnTo>
                    <a:pt x="42975" y="5109"/>
                  </a:lnTo>
                  <a:lnTo>
                    <a:pt x="43305" y="4817"/>
                  </a:lnTo>
                  <a:lnTo>
                    <a:pt x="43636" y="4817"/>
                  </a:lnTo>
                  <a:lnTo>
                    <a:pt x="43636" y="4817"/>
                  </a:lnTo>
                  <a:lnTo>
                    <a:pt x="43636" y="4379"/>
                  </a:lnTo>
                  <a:lnTo>
                    <a:pt x="43636" y="4087"/>
                  </a:lnTo>
                  <a:lnTo>
                    <a:pt x="44132" y="4087"/>
                  </a:lnTo>
                  <a:lnTo>
                    <a:pt x="44132" y="4087"/>
                  </a:lnTo>
                  <a:lnTo>
                    <a:pt x="43636" y="4087"/>
                  </a:lnTo>
                  <a:lnTo>
                    <a:pt x="43636" y="3795"/>
                  </a:lnTo>
                  <a:lnTo>
                    <a:pt x="43636" y="3357"/>
                  </a:lnTo>
                  <a:lnTo>
                    <a:pt x="43305" y="3357"/>
                  </a:lnTo>
                  <a:lnTo>
                    <a:pt x="43305" y="3065"/>
                  </a:lnTo>
                  <a:lnTo>
                    <a:pt x="43305" y="3065"/>
                  </a:lnTo>
                  <a:lnTo>
                    <a:pt x="43636" y="2627"/>
                  </a:lnTo>
                  <a:lnTo>
                    <a:pt x="43636" y="2627"/>
                  </a:lnTo>
                  <a:lnTo>
                    <a:pt x="43305" y="2627"/>
                  </a:lnTo>
                  <a:lnTo>
                    <a:pt x="43305" y="2335"/>
                  </a:lnTo>
                  <a:lnTo>
                    <a:pt x="42975" y="2335"/>
                  </a:lnTo>
                  <a:lnTo>
                    <a:pt x="42975" y="2335"/>
                  </a:lnTo>
                  <a:lnTo>
                    <a:pt x="42479" y="2335"/>
                  </a:lnTo>
                  <a:lnTo>
                    <a:pt x="42148" y="2335"/>
                  </a:lnTo>
                  <a:lnTo>
                    <a:pt x="42148" y="2335"/>
                  </a:lnTo>
                  <a:lnTo>
                    <a:pt x="42148" y="2043"/>
                  </a:lnTo>
                  <a:lnTo>
                    <a:pt x="42148" y="2043"/>
                  </a:lnTo>
                  <a:lnTo>
                    <a:pt x="42479" y="1605"/>
                  </a:lnTo>
                  <a:lnTo>
                    <a:pt x="42479" y="1605"/>
                  </a:lnTo>
                  <a:lnTo>
                    <a:pt x="42479" y="1313"/>
                  </a:lnTo>
                  <a:lnTo>
                    <a:pt x="42479" y="1021"/>
                  </a:lnTo>
                  <a:lnTo>
                    <a:pt x="42479" y="583"/>
                  </a:lnTo>
                  <a:lnTo>
                    <a:pt x="42479" y="583"/>
                  </a:lnTo>
                  <a:lnTo>
                    <a:pt x="42479" y="291"/>
                  </a:lnTo>
                  <a:lnTo>
                    <a:pt x="42479" y="291"/>
                  </a:lnTo>
                  <a:lnTo>
                    <a:pt x="42148" y="0"/>
                  </a:lnTo>
                  <a:lnTo>
                    <a:pt x="42148" y="0"/>
                  </a:lnTo>
                  <a:lnTo>
                    <a:pt x="42148" y="0"/>
                  </a:lnTo>
                  <a:lnTo>
                    <a:pt x="41652" y="291"/>
                  </a:lnTo>
                  <a:lnTo>
                    <a:pt x="41322" y="291"/>
                  </a:lnTo>
                  <a:lnTo>
                    <a:pt x="41322" y="291"/>
                  </a:lnTo>
                  <a:lnTo>
                    <a:pt x="40991" y="291"/>
                  </a:lnTo>
                  <a:lnTo>
                    <a:pt x="40495" y="0"/>
                  </a:lnTo>
                  <a:lnTo>
                    <a:pt x="40495" y="291"/>
                  </a:lnTo>
                  <a:lnTo>
                    <a:pt x="40495" y="291"/>
                  </a:lnTo>
                  <a:lnTo>
                    <a:pt x="40495" y="291"/>
                  </a:lnTo>
                  <a:lnTo>
                    <a:pt x="40495" y="583"/>
                  </a:lnTo>
                  <a:lnTo>
                    <a:pt x="40991" y="583"/>
                  </a:lnTo>
                  <a:lnTo>
                    <a:pt x="40991" y="1021"/>
                  </a:lnTo>
                  <a:lnTo>
                    <a:pt x="40495" y="1021"/>
                  </a:lnTo>
                  <a:lnTo>
                    <a:pt x="40495" y="1313"/>
                  </a:lnTo>
                  <a:lnTo>
                    <a:pt x="40165" y="1313"/>
                  </a:lnTo>
                  <a:lnTo>
                    <a:pt x="40165" y="1605"/>
                  </a:lnTo>
                  <a:lnTo>
                    <a:pt x="39834" y="1605"/>
                  </a:lnTo>
                  <a:lnTo>
                    <a:pt x="39834" y="2043"/>
                  </a:lnTo>
                  <a:lnTo>
                    <a:pt x="39338" y="2335"/>
                  </a:lnTo>
                  <a:lnTo>
                    <a:pt x="39338" y="2335"/>
                  </a:lnTo>
                  <a:lnTo>
                    <a:pt x="39338" y="2335"/>
                  </a:lnTo>
                  <a:lnTo>
                    <a:pt x="39008" y="2335"/>
                  </a:lnTo>
                  <a:lnTo>
                    <a:pt x="38677" y="2335"/>
                  </a:lnTo>
                  <a:lnTo>
                    <a:pt x="38181" y="2335"/>
                  </a:lnTo>
                  <a:lnTo>
                    <a:pt x="38181" y="2627"/>
                  </a:lnTo>
                  <a:lnTo>
                    <a:pt x="37851" y="3065"/>
                  </a:lnTo>
                  <a:lnTo>
                    <a:pt x="37024" y="3357"/>
                  </a:lnTo>
                  <a:lnTo>
                    <a:pt x="36198" y="3357"/>
                  </a:lnTo>
                  <a:lnTo>
                    <a:pt x="35867" y="3357"/>
                  </a:lnTo>
                  <a:lnTo>
                    <a:pt x="35041" y="3357"/>
                  </a:lnTo>
                  <a:lnTo>
                    <a:pt x="35041" y="3357"/>
                  </a:lnTo>
                  <a:lnTo>
                    <a:pt x="34710" y="3795"/>
                  </a:lnTo>
                  <a:lnTo>
                    <a:pt x="34710" y="3795"/>
                  </a:lnTo>
                  <a:lnTo>
                    <a:pt x="34380" y="3795"/>
                  </a:lnTo>
                  <a:lnTo>
                    <a:pt x="34380" y="3795"/>
                  </a:lnTo>
                  <a:lnTo>
                    <a:pt x="34380" y="4087"/>
                  </a:lnTo>
                  <a:lnTo>
                    <a:pt x="33884" y="4817"/>
                  </a:lnTo>
                  <a:lnTo>
                    <a:pt x="33884" y="5109"/>
                  </a:lnTo>
                  <a:lnTo>
                    <a:pt x="33553" y="5109"/>
                  </a:lnTo>
                  <a:lnTo>
                    <a:pt x="33223" y="4817"/>
                  </a:lnTo>
                  <a:lnTo>
                    <a:pt x="32727" y="4379"/>
                  </a:lnTo>
                  <a:lnTo>
                    <a:pt x="32396" y="4087"/>
                  </a:lnTo>
                  <a:lnTo>
                    <a:pt x="32396" y="4087"/>
                  </a:lnTo>
                  <a:lnTo>
                    <a:pt x="32066" y="4087"/>
                  </a:lnTo>
                  <a:lnTo>
                    <a:pt x="31570" y="4087"/>
                  </a:lnTo>
                  <a:lnTo>
                    <a:pt x="31570" y="4087"/>
                  </a:lnTo>
                  <a:lnTo>
                    <a:pt x="31239" y="4087"/>
                  </a:lnTo>
                  <a:lnTo>
                    <a:pt x="31239" y="4087"/>
                  </a:lnTo>
                  <a:lnTo>
                    <a:pt x="30413" y="4087"/>
                  </a:lnTo>
                  <a:lnTo>
                    <a:pt x="30082" y="4087"/>
                  </a:lnTo>
                  <a:lnTo>
                    <a:pt x="30082" y="4087"/>
                  </a:lnTo>
                  <a:lnTo>
                    <a:pt x="30082" y="3795"/>
                  </a:lnTo>
                  <a:lnTo>
                    <a:pt x="29586" y="3357"/>
                  </a:lnTo>
                  <a:lnTo>
                    <a:pt x="29586" y="3357"/>
                  </a:lnTo>
                  <a:lnTo>
                    <a:pt x="29586" y="3357"/>
                  </a:lnTo>
                  <a:lnTo>
                    <a:pt x="28429" y="3357"/>
                  </a:lnTo>
                  <a:lnTo>
                    <a:pt x="28429" y="3357"/>
                  </a:lnTo>
                  <a:lnTo>
                    <a:pt x="28429" y="3357"/>
                  </a:lnTo>
                  <a:lnTo>
                    <a:pt x="28099" y="3065"/>
                  </a:lnTo>
                  <a:lnTo>
                    <a:pt x="28099" y="3065"/>
                  </a:lnTo>
                  <a:lnTo>
                    <a:pt x="27768" y="3065"/>
                  </a:lnTo>
                  <a:lnTo>
                    <a:pt x="27768" y="3065"/>
                  </a:lnTo>
                  <a:lnTo>
                    <a:pt x="28099" y="3795"/>
                  </a:lnTo>
                  <a:lnTo>
                    <a:pt x="28099" y="3795"/>
                  </a:lnTo>
                  <a:lnTo>
                    <a:pt x="28429" y="4087"/>
                  </a:lnTo>
                  <a:lnTo>
                    <a:pt x="29256" y="4817"/>
                  </a:lnTo>
                  <a:lnTo>
                    <a:pt x="29586" y="5109"/>
                  </a:lnTo>
                  <a:lnTo>
                    <a:pt x="29586" y="5401"/>
                  </a:lnTo>
                  <a:lnTo>
                    <a:pt x="29586" y="5839"/>
                  </a:lnTo>
                  <a:lnTo>
                    <a:pt x="29586" y="6131"/>
                  </a:lnTo>
                  <a:lnTo>
                    <a:pt x="29586" y="6861"/>
                  </a:lnTo>
                  <a:lnTo>
                    <a:pt x="30082" y="7591"/>
                  </a:lnTo>
                  <a:lnTo>
                    <a:pt x="30082" y="7883"/>
                  </a:lnTo>
                  <a:lnTo>
                    <a:pt x="30082" y="8175"/>
                  </a:lnTo>
                  <a:lnTo>
                    <a:pt x="30082" y="8175"/>
                  </a:lnTo>
                  <a:lnTo>
                    <a:pt x="30082" y="8613"/>
                  </a:lnTo>
                  <a:lnTo>
                    <a:pt x="30082" y="8613"/>
                  </a:lnTo>
                  <a:lnTo>
                    <a:pt x="30413" y="8613"/>
                  </a:lnTo>
                  <a:lnTo>
                    <a:pt x="31239" y="8613"/>
                  </a:lnTo>
                  <a:lnTo>
                    <a:pt x="31570" y="8613"/>
                  </a:lnTo>
                  <a:lnTo>
                    <a:pt x="32066" y="8613"/>
                  </a:lnTo>
                  <a:lnTo>
                    <a:pt x="32066" y="8905"/>
                  </a:lnTo>
                  <a:lnTo>
                    <a:pt x="32066" y="9197"/>
                  </a:lnTo>
                  <a:lnTo>
                    <a:pt x="32066" y="9635"/>
                  </a:lnTo>
                  <a:lnTo>
                    <a:pt x="31570" y="9635"/>
                  </a:lnTo>
                  <a:lnTo>
                    <a:pt x="31570" y="9635"/>
                  </a:lnTo>
                  <a:lnTo>
                    <a:pt x="31239" y="9927"/>
                  </a:lnTo>
                  <a:lnTo>
                    <a:pt x="30413" y="9927"/>
                  </a:lnTo>
                  <a:lnTo>
                    <a:pt x="30413" y="9927"/>
                  </a:lnTo>
                  <a:lnTo>
                    <a:pt x="30082" y="10218"/>
                  </a:lnTo>
                  <a:lnTo>
                    <a:pt x="30082" y="10218"/>
                  </a:lnTo>
                  <a:lnTo>
                    <a:pt x="30082" y="10218"/>
                  </a:lnTo>
                  <a:lnTo>
                    <a:pt x="30082" y="10656"/>
                  </a:lnTo>
                  <a:lnTo>
                    <a:pt x="29586" y="11386"/>
                  </a:lnTo>
                  <a:lnTo>
                    <a:pt x="29586" y="11386"/>
                  </a:lnTo>
                  <a:lnTo>
                    <a:pt x="29256" y="11678"/>
                  </a:lnTo>
                  <a:lnTo>
                    <a:pt x="28925" y="11678"/>
                  </a:lnTo>
                  <a:lnTo>
                    <a:pt x="28429" y="11678"/>
                  </a:lnTo>
                  <a:lnTo>
                    <a:pt x="28429" y="11678"/>
                  </a:lnTo>
                  <a:lnTo>
                    <a:pt x="28429" y="11970"/>
                  </a:lnTo>
                  <a:lnTo>
                    <a:pt x="28099" y="11970"/>
                  </a:lnTo>
                  <a:lnTo>
                    <a:pt x="27768" y="12408"/>
                  </a:lnTo>
                  <a:lnTo>
                    <a:pt x="27768" y="12408"/>
                  </a:lnTo>
                  <a:lnTo>
                    <a:pt x="27272" y="12408"/>
                  </a:lnTo>
                  <a:lnTo>
                    <a:pt x="26942" y="12700"/>
                  </a:lnTo>
                  <a:lnTo>
                    <a:pt x="26611" y="12700"/>
                  </a:lnTo>
                  <a:lnTo>
                    <a:pt x="26611" y="12992"/>
                  </a:lnTo>
                  <a:lnTo>
                    <a:pt x="26115" y="13430"/>
                  </a:lnTo>
                  <a:lnTo>
                    <a:pt x="25785" y="13430"/>
                  </a:lnTo>
                  <a:lnTo>
                    <a:pt x="25785" y="13722"/>
                  </a:lnTo>
                  <a:lnTo>
                    <a:pt x="25289" y="14014"/>
                  </a:lnTo>
                  <a:lnTo>
                    <a:pt x="25289" y="14014"/>
                  </a:lnTo>
                  <a:lnTo>
                    <a:pt x="25289" y="13722"/>
                  </a:lnTo>
                  <a:lnTo>
                    <a:pt x="25289" y="13722"/>
                  </a:lnTo>
                  <a:lnTo>
                    <a:pt x="25289" y="13430"/>
                  </a:lnTo>
                  <a:lnTo>
                    <a:pt x="24958" y="12992"/>
                  </a:lnTo>
                  <a:lnTo>
                    <a:pt x="24958" y="12992"/>
                  </a:lnTo>
                  <a:lnTo>
                    <a:pt x="24958" y="12992"/>
                  </a:lnTo>
                  <a:lnTo>
                    <a:pt x="24628" y="13430"/>
                  </a:lnTo>
                  <a:lnTo>
                    <a:pt x="24132" y="13430"/>
                  </a:lnTo>
                  <a:lnTo>
                    <a:pt x="23801" y="13722"/>
                  </a:lnTo>
                  <a:lnTo>
                    <a:pt x="23801" y="13722"/>
                  </a:lnTo>
                  <a:lnTo>
                    <a:pt x="23471" y="13722"/>
                  </a:lnTo>
                  <a:lnTo>
                    <a:pt x="22975" y="13722"/>
                  </a:lnTo>
                  <a:lnTo>
                    <a:pt x="22975" y="13722"/>
                  </a:lnTo>
                  <a:lnTo>
                    <a:pt x="22644" y="13722"/>
                  </a:lnTo>
                  <a:lnTo>
                    <a:pt x="21818" y="12992"/>
                  </a:lnTo>
                  <a:lnTo>
                    <a:pt x="21157" y="12408"/>
                  </a:lnTo>
                  <a:lnTo>
                    <a:pt x="20661" y="12700"/>
                  </a:lnTo>
                  <a:lnTo>
                    <a:pt x="20661" y="12408"/>
                  </a:lnTo>
                  <a:lnTo>
                    <a:pt x="20661" y="12408"/>
                  </a:lnTo>
                  <a:lnTo>
                    <a:pt x="20661" y="11970"/>
                  </a:lnTo>
                  <a:lnTo>
                    <a:pt x="20661" y="11386"/>
                  </a:lnTo>
                  <a:lnTo>
                    <a:pt x="20661" y="10948"/>
                  </a:lnTo>
                  <a:lnTo>
                    <a:pt x="20330" y="10656"/>
                  </a:lnTo>
                  <a:lnTo>
                    <a:pt x="19834" y="9927"/>
                  </a:lnTo>
                  <a:lnTo>
                    <a:pt x="19834" y="9635"/>
                  </a:lnTo>
                  <a:lnTo>
                    <a:pt x="19504" y="9635"/>
                  </a:lnTo>
                  <a:lnTo>
                    <a:pt x="19504" y="9635"/>
                  </a:lnTo>
                  <a:lnTo>
                    <a:pt x="19504" y="9635"/>
                  </a:lnTo>
                  <a:lnTo>
                    <a:pt x="19173" y="9927"/>
                  </a:lnTo>
                  <a:lnTo>
                    <a:pt x="19173" y="9927"/>
                  </a:lnTo>
                  <a:lnTo>
                    <a:pt x="18677" y="10218"/>
                  </a:lnTo>
                  <a:lnTo>
                    <a:pt x="18347" y="10656"/>
                  </a:lnTo>
                  <a:lnTo>
                    <a:pt x="18347" y="10656"/>
                  </a:lnTo>
                  <a:lnTo>
                    <a:pt x="18016" y="10656"/>
                  </a:lnTo>
                  <a:lnTo>
                    <a:pt x="18016" y="10656"/>
                  </a:lnTo>
                  <a:lnTo>
                    <a:pt x="17520" y="10656"/>
                  </a:lnTo>
                  <a:lnTo>
                    <a:pt x="17520" y="10218"/>
                  </a:lnTo>
                  <a:lnTo>
                    <a:pt x="17520" y="10218"/>
                  </a:lnTo>
                  <a:lnTo>
                    <a:pt x="17190" y="9927"/>
                  </a:lnTo>
                  <a:lnTo>
                    <a:pt x="17190" y="10218"/>
                  </a:lnTo>
                  <a:lnTo>
                    <a:pt x="17190" y="10218"/>
                  </a:lnTo>
                  <a:lnTo>
                    <a:pt x="17190" y="10656"/>
                  </a:lnTo>
                  <a:lnTo>
                    <a:pt x="17190" y="10656"/>
                  </a:lnTo>
                  <a:lnTo>
                    <a:pt x="17190" y="10948"/>
                  </a:lnTo>
                  <a:lnTo>
                    <a:pt x="17190" y="10948"/>
                  </a:lnTo>
                  <a:lnTo>
                    <a:pt x="16363" y="10948"/>
                  </a:lnTo>
                  <a:lnTo>
                    <a:pt x="15702" y="10948"/>
                  </a:lnTo>
                  <a:lnTo>
                    <a:pt x="14876" y="10948"/>
                  </a:lnTo>
                  <a:lnTo>
                    <a:pt x="14380" y="10948"/>
                  </a:lnTo>
                  <a:lnTo>
                    <a:pt x="13719" y="10948"/>
                  </a:lnTo>
                  <a:lnTo>
                    <a:pt x="13719" y="10948"/>
                  </a:lnTo>
                  <a:lnTo>
                    <a:pt x="13223" y="10656"/>
                  </a:lnTo>
                  <a:lnTo>
                    <a:pt x="12892" y="10656"/>
                  </a:lnTo>
                  <a:lnTo>
                    <a:pt x="12892" y="10656"/>
                  </a:lnTo>
                  <a:lnTo>
                    <a:pt x="12892" y="10948"/>
                  </a:lnTo>
                  <a:lnTo>
                    <a:pt x="12561" y="10948"/>
                  </a:lnTo>
                  <a:lnTo>
                    <a:pt x="12066" y="10948"/>
                  </a:lnTo>
                  <a:lnTo>
                    <a:pt x="12066" y="10948"/>
                  </a:lnTo>
                  <a:lnTo>
                    <a:pt x="12066" y="11386"/>
                  </a:lnTo>
                  <a:lnTo>
                    <a:pt x="12066" y="11970"/>
                  </a:lnTo>
                  <a:lnTo>
                    <a:pt x="12066" y="12992"/>
                  </a:lnTo>
                  <a:lnTo>
                    <a:pt x="12066" y="12700"/>
                  </a:lnTo>
                  <a:lnTo>
                    <a:pt x="12561" y="12700"/>
                  </a:lnTo>
                  <a:lnTo>
                    <a:pt x="12561" y="12992"/>
                  </a:lnTo>
                  <a:lnTo>
                    <a:pt x="12892" y="12700"/>
                  </a:lnTo>
                  <a:lnTo>
                    <a:pt x="12892" y="12992"/>
                  </a:lnTo>
                  <a:lnTo>
                    <a:pt x="13223" y="12992"/>
                  </a:lnTo>
                  <a:lnTo>
                    <a:pt x="13223" y="12992"/>
                  </a:lnTo>
                  <a:lnTo>
                    <a:pt x="13223" y="12992"/>
                  </a:lnTo>
                  <a:lnTo>
                    <a:pt x="13223" y="12992"/>
                  </a:lnTo>
                  <a:lnTo>
                    <a:pt x="13719" y="12992"/>
                  </a:lnTo>
                  <a:lnTo>
                    <a:pt x="13719" y="12992"/>
                  </a:lnTo>
                  <a:lnTo>
                    <a:pt x="14049" y="12992"/>
                  </a:lnTo>
                  <a:lnTo>
                    <a:pt x="14049" y="12992"/>
                  </a:lnTo>
                  <a:lnTo>
                    <a:pt x="14049" y="13430"/>
                  </a:lnTo>
                  <a:lnTo>
                    <a:pt x="14049" y="13430"/>
                  </a:lnTo>
                  <a:lnTo>
                    <a:pt x="14049" y="13722"/>
                  </a:lnTo>
                  <a:lnTo>
                    <a:pt x="14049" y="13722"/>
                  </a:lnTo>
                  <a:lnTo>
                    <a:pt x="14049" y="14014"/>
                  </a:lnTo>
                  <a:lnTo>
                    <a:pt x="14049" y="14014"/>
                  </a:lnTo>
                  <a:lnTo>
                    <a:pt x="14049" y="14014"/>
                  </a:lnTo>
                  <a:lnTo>
                    <a:pt x="14049" y="14014"/>
                  </a:lnTo>
                  <a:lnTo>
                    <a:pt x="14049" y="14014"/>
                  </a:lnTo>
                  <a:lnTo>
                    <a:pt x="14049" y="14014"/>
                  </a:lnTo>
                  <a:lnTo>
                    <a:pt x="14049" y="14014"/>
                  </a:lnTo>
                  <a:lnTo>
                    <a:pt x="13719" y="14014"/>
                  </a:lnTo>
                  <a:lnTo>
                    <a:pt x="13719" y="14014"/>
                  </a:lnTo>
                  <a:lnTo>
                    <a:pt x="13719" y="14014"/>
                  </a:lnTo>
                  <a:lnTo>
                    <a:pt x="13719" y="14014"/>
                  </a:lnTo>
                  <a:lnTo>
                    <a:pt x="13719" y="14014"/>
                  </a:lnTo>
                  <a:lnTo>
                    <a:pt x="13223" y="14014"/>
                  </a:lnTo>
                  <a:lnTo>
                    <a:pt x="13223" y="14014"/>
                  </a:lnTo>
                  <a:lnTo>
                    <a:pt x="12892" y="14014"/>
                  </a:lnTo>
                  <a:lnTo>
                    <a:pt x="12892" y="14014"/>
                  </a:lnTo>
                  <a:lnTo>
                    <a:pt x="12892" y="14014"/>
                  </a:lnTo>
                  <a:lnTo>
                    <a:pt x="12892" y="14014"/>
                  </a:lnTo>
                  <a:lnTo>
                    <a:pt x="12561" y="14014"/>
                  </a:lnTo>
                  <a:lnTo>
                    <a:pt x="12561" y="14014"/>
                  </a:lnTo>
                  <a:lnTo>
                    <a:pt x="12561" y="14014"/>
                  </a:lnTo>
                  <a:lnTo>
                    <a:pt x="12066" y="14452"/>
                  </a:lnTo>
                  <a:lnTo>
                    <a:pt x="12066" y="14452"/>
                  </a:lnTo>
                  <a:lnTo>
                    <a:pt x="11735" y="14452"/>
                  </a:lnTo>
                  <a:lnTo>
                    <a:pt x="11735" y="14452"/>
                  </a:lnTo>
                  <a:lnTo>
                    <a:pt x="11404" y="14452"/>
                  </a:lnTo>
                  <a:lnTo>
                    <a:pt x="11404" y="14744"/>
                  </a:lnTo>
                  <a:lnTo>
                    <a:pt x="11404" y="15474"/>
                  </a:lnTo>
                  <a:lnTo>
                    <a:pt x="11404" y="16204"/>
                  </a:lnTo>
                  <a:lnTo>
                    <a:pt x="11404" y="16496"/>
                  </a:lnTo>
                  <a:lnTo>
                    <a:pt x="11404" y="16788"/>
                  </a:lnTo>
                  <a:lnTo>
                    <a:pt x="11735" y="17226"/>
                  </a:lnTo>
                  <a:lnTo>
                    <a:pt x="12066" y="17226"/>
                  </a:lnTo>
                  <a:lnTo>
                    <a:pt x="12561" y="17518"/>
                  </a:lnTo>
                  <a:lnTo>
                    <a:pt x="12561" y="17518"/>
                  </a:lnTo>
                  <a:lnTo>
                    <a:pt x="12892" y="17810"/>
                  </a:lnTo>
                  <a:lnTo>
                    <a:pt x="12892" y="17810"/>
                  </a:lnTo>
                  <a:lnTo>
                    <a:pt x="12892" y="17810"/>
                  </a:lnTo>
                  <a:lnTo>
                    <a:pt x="12892" y="18248"/>
                  </a:lnTo>
                  <a:lnTo>
                    <a:pt x="12892" y="18248"/>
                  </a:lnTo>
                  <a:lnTo>
                    <a:pt x="12892" y="18248"/>
                  </a:lnTo>
                  <a:lnTo>
                    <a:pt x="12892" y="18540"/>
                  </a:lnTo>
                  <a:lnTo>
                    <a:pt x="12892" y="18540"/>
                  </a:lnTo>
                  <a:lnTo>
                    <a:pt x="12892" y="18978"/>
                  </a:lnTo>
                  <a:lnTo>
                    <a:pt x="12892" y="18978"/>
                  </a:lnTo>
                  <a:lnTo>
                    <a:pt x="12892" y="18978"/>
                  </a:lnTo>
                  <a:lnTo>
                    <a:pt x="13223" y="18978"/>
                  </a:lnTo>
                  <a:lnTo>
                    <a:pt x="13223" y="19270"/>
                  </a:lnTo>
                  <a:lnTo>
                    <a:pt x="13223" y="19270"/>
                  </a:lnTo>
                  <a:lnTo>
                    <a:pt x="13223" y="19270"/>
                  </a:lnTo>
                  <a:lnTo>
                    <a:pt x="13223" y="19562"/>
                  </a:lnTo>
                  <a:lnTo>
                    <a:pt x="13223" y="19562"/>
                  </a:lnTo>
                  <a:lnTo>
                    <a:pt x="13223" y="19562"/>
                  </a:lnTo>
                  <a:lnTo>
                    <a:pt x="13719" y="20000"/>
                  </a:lnTo>
                  <a:lnTo>
                    <a:pt x="13223" y="20000"/>
                  </a:lnTo>
                  <a:lnTo>
                    <a:pt x="13223" y="20583"/>
                  </a:lnTo>
                  <a:lnTo>
                    <a:pt x="13223" y="21313"/>
                  </a:lnTo>
                  <a:lnTo>
                    <a:pt x="13223" y="21751"/>
                  </a:lnTo>
                  <a:lnTo>
                    <a:pt x="12892" y="22335"/>
                  </a:lnTo>
                  <a:lnTo>
                    <a:pt x="12892" y="23357"/>
                  </a:lnTo>
                  <a:lnTo>
                    <a:pt x="12892" y="24379"/>
                  </a:lnTo>
                  <a:lnTo>
                    <a:pt x="12561" y="25547"/>
                  </a:lnTo>
                  <a:lnTo>
                    <a:pt x="12561" y="26569"/>
                  </a:lnTo>
                  <a:lnTo>
                    <a:pt x="12066" y="27591"/>
                  </a:lnTo>
                  <a:lnTo>
                    <a:pt x="12066" y="28613"/>
                  </a:lnTo>
                  <a:lnTo>
                    <a:pt x="12066" y="29343"/>
                  </a:lnTo>
                  <a:lnTo>
                    <a:pt x="12066" y="29343"/>
                  </a:lnTo>
                  <a:lnTo>
                    <a:pt x="12066" y="29343"/>
                  </a:lnTo>
                  <a:lnTo>
                    <a:pt x="11735" y="29635"/>
                  </a:lnTo>
                  <a:lnTo>
                    <a:pt x="11735" y="29635"/>
                  </a:lnTo>
                  <a:lnTo>
                    <a:pt x="11404" y="29343"/>
                  </a:lnTo>
                  <a:lnTo>
                    <a:pt x="11404" y="29343"/>
                  </a:lnTo>
                  <a:lnTo>
                    <a:pt x="11404" y="29343"/>
                  </a:lnTo>
                  <a:lnTo>
                    <a:pt x="10909" y="29343"/>
                  </a:lnTo>
                  <a:lnTo>
                    <a:pt x="10909" y="28905"/>
                  </a:lnTo>
                  <a:lnTo>
                    <a:pt x="10578" y="28905"/>
                  </a:lnTo>
                  <a:lnTo>
                    <a:pt x="10247" y="28905"/>
                  </a:lnTo>
                  <a:lnTo>
                    <a:pt x="9752" y="28905"/>
                  </a:lnTo>
                  <a:lnTo>
                    <a:pt x="9752" y="28905"/>
                  </a:lnTo>
                  <a:lnTo>
                    <a:pt x="9421" y="28905"/>
                  </a:lnTo>
                  <a:lnTo>
                    <a:pt x="9421" y="29343"/>
                  </a:lnTo>
                  <a:lnTo>
                    <a:pt x="8925" y="29343"/>
                  </a:lnTo>
                  <a:lnTo>
                    <a:pt x="8925" y="29635"/>
                  </a:lnTo>
                  <a:lnTo>
                    <a:pt x="8264" y="29635"/>
                  </a:lnTo>
                  <a:lnTo>
                    <a:pt x="8264" y="29635"/>
                  </a:lnTo>
                  <a:lnTo>
                    <a:pt x="7768" y="29927"/>
                  </a:lnTo>
                  <a:lnTo>
                    <a:pt x="7438" y="29927"/>
                  </a:lnTo>
                  <a:lnTo>
                    <a:pt x="7107" y="29927"/>
                  </a:lnTo>
                  <a:lnTo>
                    <a:pt x="6611" y="29927"/>
                  </a:lnTo>
                  <a:lnTo>
                    <a:pt x="6280" y="29927"/>
                  </a:lnTo>
                  <a:lnTo>
                    <a:pt x="5950" y="30364"/>
                  </a:lnTo>
                  <a:lnTo>
                    <a:pt x="5950" y="30364"/>
                  </a:lnTo>
                  <a:lnTo>
                    <a:pt x="5454" y="30364"/>
                  </a:lnTo>
                  <a:lnTo>
                    <a:pt x="5123" y="30656"/>
                  </a:lnTo>
                  <a:lnTo>
                    <a:pt x="4793" y="30948"/>
                  </a:lnTo>
                  <a:lnTo>
                    <a:pt x="4297" y="31386"/>
                  </a:lnTo>
                  <a:lnTo>
                    <a:pt x="3966" y="31678"/>
                  </a:lnTo>
                  <a:lnTo>
                    <a:pt x="3471" y="31678"/>
                  </a:lnTo>
                  <a:lnTo>
                    <a:pt x="3140" y="31970"/>
                  </a:lnTo>
                  <a:lnTo>
                    <a:pt x="3140" y="31970"/>
                  </a:lnTo>
                  <a:lnTo>
                    <a:pt x="3140" y="31970"/>
                  </a:lnTo>
                  <a:lnTo>
                    <a:pt x="3140" y="31970"/>
                  </a:lnTo>
                  <a:lnTo>
                    <a:pt x="3140" y="32408"/>
                  </a:lnTo>
                  <a:lnTo>
                    <a:pt x="2809" y="33138"/>
                  </a:lnTo>
                  <a:lnTo>
                    <a:pt x="2809" y="33430"/>
                  </a:lnTo>
                  <a:lnTo>
                    <a:pt x="2809" y="33430"/>
                  </a:lnTo>
                  <a:lnTo>
                    <a:pt x="2809" y="34160"/>
                  </a:lnTo>
                  <a:lnTo>
                    <a:pt x="2314" y="34452"/>
                  </a:lnTo>
                  <a:lnTo>
                    <a:pt x="2314" y="34744"/>
                  </a:lnTo>
                  <a:lnTo>
                    <a:pt x="1983" y="34744"/>
                  </a:lnTo>
                  <a:lnTo>
                    <a:pt x="2314" y="35182"/>
                  </a:lnTo>
                  <a:lnTo>
                    <a:pt x="2314" y="35474"/>
                  </a:lnTo>
                  <a:lnTo>
                    <a:pt x="2314" y="35766"/>
                  </a:lnTo>
                  <a:lnTo>
                    <a:pt x="2314" y="35766"/>
                  </a:lnTo>
                  <a:lnTo>
                    <a:pt x="2314" y="36204"/>
                  </a:lnTo>
                  <a:lnTo>
                    <a:pt x="2314" y="36204"/>
                  </a:lnTo>
                  <a:lnTo>
                    <a:pt x="2314" y="36496"/>
                  </a:lnTo>
                  <a:lnTo>
                    <a:pt x="1983" y="36496"/>
                  </a:lnTo>
                  <a:lnTo>
                    <a:pt x="1652" y="36934"/>
                  </a:lnTo>
                  <a:lnTo>
                    <a:pt x="826" y="37226"/>
                  </a:lnTo>
                  <a:lnTo>
                    <a:pt x="826" y="37518"/>
                  </a:lnTo>
                  <a:lnTo>
                    <a:pt x="826" y="37518"/>
                  </a:lnTo>
                  <a:lnTo>
                    <a:pt x="495" y="37956"/>
                  </a:lnTo>
                  <a:lnTo>
                    <a:pt x="495" y="38248"/>
                  </a:lnTo>
                  <a:lnTo>
                    <a:pt x="826" y="38248"/>
                  </a:lnTo>
                  <a:lnTo>
                    <a:pt x="826" y="38540"/>
                  </a:lnTo>
                  <a:lnTo>
                    <a:pt x="826" y="38540"/>
                  </a:lnTo>
                  <a:lnTo>
                    <a:pt x="826" y="38978"/>
                  </a:lnTo>
                  <a:lnTo>
                    <a:pt x="495" y="38978"/>
                  </a:lnTo>
                  <a:lnTo>
                    <a:pt x="495" y="38978"/>
                  </a:lnTo>
                  <a:lnTo>
                    <a:pt x="495" y="38978"/>
                  </a:lnTo>
                  <a:lnTo>
                    <a:pt x="495" y="38978"/>
                  </a:lnTo>
                  <a:lnTo>
                    <a:pt x="0" y="38978"/>
                  </a:lnTo>
                  <a:lnTo>
                    <a:pt x="0" y="38978"/>
                  </a:lnTo>
                  <a:lnTo>
                    <a:pt x="0" y="39270"/>
                  </a:lnTo>
                  <a:lnTo>
                    <a:pt x="0" y="39270"/>
                  </a:lnTo>
                  <a:lnTo>
                    <a:pt x="0" y="39270"/>
                  </a:lnTo>
                  <a:lnTo>
                    <a:pt x="0" y="39270"/>
                  </a:lnTo>
                  <a:lnTo>
                    <a:pt x="0" y="39562"/>
                  </a:lnTo>
                  <a:lnTo>
                    <a:pt x="0" y="39562"/>
                  </a:lnTo>
                  <a:lnTo>
                    <a:pt x="495" y="39562"/>
                  </a:lnTo>
                  <a:lnTo>
                    <a:pt x="826" y="40000"/>
                  </a:lnTo>
                  <a:lnTo>
                    <a:pt x="826" y="40000"/>
                  </a:lnTo>
                  <a:lnTo>
                    <a:pt x="826" y="40291"/>
                  </a:lnTo>
                  <a:lnTo>
                    <a:pt x="826" y="40291"/>
                  </a:lnTo>
                  <a:lnTo>
                    <a:pt x="826" y="40291"/>
                  </a:lnTo>
                  <a:lnTo>
                    <a:pt x="826" y="40729"/>
                  </a:lnTo>
                  <a:lnTo>
                    <a:pt x="826" y="40729"/>
                  </a:lnTo>
                  <a:lnTo>
                    <a:pt x="826" y="40729"/>
                  </a:lnTo>
                  <a:lnTo>
                    <a:pt x="1157" y="41021"/>
                  </a:lnTo>
                  <a:lnTo>
                    <a:pt x="1157" y="41021"/>
                  </a:lnTo>
                  <a:lnTo>
                    <a:pt x="1157" y="41313"/>
                  </a:lnTo>
                  <a:lnTo>
                    <a:pt x="1157" y="41313"/>
                  </a:lnTo>
                  <a:lnTo>
                    <a:pt x="1652" y="41751"/>
                  </a:lnTo>
                  <a:lnTo>
                    <a:pt x="1652" y="41751"/>
                  </a:lnTo>
                  <a:lnTo>
                    <a:pt x="1652" y="42043"/>
                  </a:lnTo>
                  <a:lnTo>
                    <a:pt x="1652" y="42043"/>
                  </a:lnTo>
                  <a:lnTo>
                    <a:pt x="1983" y="42043"/>
                  </a:lnTo>
                  <a:lnTo>
                    <a:pt x="1983" y="42335"/>
                  </a:lnTo>
                  <a:lnTo>
                    <a:pt x="1983" y="42335"/>
                  </a:lnTo>
                  <a:lnTo>
                    <a:pt x="2314" y="42335"/>
                  </a:lnTo>
                  <a:lnTo>
                    <a:pt x="2314" y="42773"/>
                  </a:lnTo>
                  <a:lnTo>
                    <a:pt x="2314" y="42773"/>
                  </a:lnTo>
                  <a:lnTo>
                    <a:pt x="2809" y="43065"/>
                  </a:lnTo>
                  <a:lnTo>
                    <a:pt x="3140" y="43357"/>
                  </a:lnTo>
                  <a:lnTo>
                    <a:pt x="3140" y="43357"/>
                  </a:lnTo>
                  <a:lnTo>
                    <a:pt x="3471" y="43795"/>
                  </a:lnTo>
                  <a:lnTo>
                    <a:pt x="3471" y="44087"/>
                  </a:lnTo>
                  <a:lnTo>
                    <a:pt x="3140" y="44817"/>
                  </a:lnTo>
                  <a:lnTo>
                    <a:pt x="2809" y="45109"/>
                  </a:lnTo>
                  <a:lnTo>
                    <a:pt x="3471" y="45109"/>
                  </a:lnTo>
                  <a:lnTo>
                    <a:pt x="3966" y="45109"/>
                  </a:lnTo>
                  <a:lnTo>
                    <a:pt x="4793" y="45109"/>
                  </a:lnTo>
                  <a:lnTo>
                    <a:pt x="5123" y="45547"/>
                  </a:lnTo>
                  <a:lnTo>
                    <a:pt x="5454" y="45547"/>
                  </a:lnTo>
                  <a:lnTo>
                    <a:pt x="5454" y="45547"/>
                  </a:lnTo>
                  <a:lnTo>
                    <a:pt x="5454" y="45839"/>
                  </a:lnTo>
                  <a:lnTo>
                    <a:pt x="5950" y="46131"/>
                  </a:lnTo>
                  <a:lnTo>
                    <a:pt x="5950" y="46131"/>
                  </a:lnTo>
                  <a:lnTo>
                    <a:pt x="6280" y="46569"/>
                  </a:lnTo>
                  <a:lnTo>
                    <a:pt x="5950" y="46861"/>
                  </a:lnTo>
                  <a:lnTo>
                    <a:pt x="6280" y="46861"/>
                  </a:lnTo>
                  <a:lnTo>
                    <a:pt x="6280" y="46861"/>
                  </a:lnTo>
                  <a:lnTo>
                    <a:pt x="7107" y="46861"/>
                  </a:lnTo>
                  <a:lnTo>
                    <a:pt x="7768" y="46861"/>
                  </a:lnTo>
                  <a:lnTo>
                    <a:pt x="8595" y="46861"/>
                  </a:lnTo>
                  <a:lnTo>
                    <a:pt x="8925" y="46861"/>
                  </a:lnTo>
                  <a:lnTo>
                    <a:pt x="9421" y="46569"/>
                  </a:lnTo>
                  <a:lnTo>
                    <a:pt x="9421" y="46569"/>
                  </a:lnTo>
                  <a:lnTo>
                    <a:pt x="9752" y="46131"/>
                  </a:lnTo>
                  <a:lnTo>
                    <a:pt x="10247" y="45839"/>
                  </a:lnTo>
                  <a:lnTo>
                    <a:pt x="10247" y="45839"/>
                  </a:lnTo>
                  <a:lnTo>
                    <a:pt x="10247" y="45547"/>
                  </a:lnTo>
                  <a:lnTo>
                    <a:pt x="10578" y="45547"/>
                  </a:lnTo>
                  <a:lnTo>
                    <a:pt x="10578" y="45547"/>
                  </a:lnTo>
                  <a:lnTo>
                    <a:pt x="10909" y="45547"/>
                  </a:lnTo>
                  <a:lnTo>
                    <a:pt x="10909" y="45109"/>
                  </a:lnTo>
                  <a:lnTo>
                    <a:pt x="10909" y="45547"/>
                  </a:lnTo>
                  <a:lnTo>
                    <a:pt x="10909" y="45547"/>
                  </a:lnTo>
                  <a:lnTo>
                    <a:pt x="10909" y="45839"/>
                  </a:lnTo>
                  <a:lnTo>
                    <a:pt x="10909" y="46131"/>
                  </a:lnTo>
                  <a:lnTo>
                    <a:pt x="10909" y="46131"/>
                  </a:lnTo>
                  <a:lnTo>
                    <a:pt x="10909" y="46569"/>
                  </a:lnTo>
                  <a:lnTo>
                    <a:pt x="10909" y="46861"/>
                  </a:lnTo>
                  <a:lnTo>
                    <a:pt x="10909" y="47591"/>
                  </a:lnTo>
                  <a:lnTo>
                    <a:pt x="10909" y="48321"/>
                  </a:lnTo>
                  <a:lnTo>
                    <a:pt x="10909" y="48905"/>
                  </a:lnTo>
                  <a:lnTo>
                    <a:pt x="10909" y="49635"/>
                  </a:lnTo>
                  <a:lnTo>
                    <a:pt x="10909" y="49927"/>
                  </a:lnTo>
                  <a:lnTo>
                    <a:pt x="11404" y="49927"/>
                  </a:lnTo>
                  <a:lnTo>
                    <a:pt x="11404" y="49927"/>
                  </a:lnTo>
                  <a:lnTo>
                    <a:pt x="11735" y="49927"/>
                  </a:lnTo>
                  <a:lnTo>
                    <a:pt x="11735" y="50364"/>
                  </a:lnTo>
                  <a:lnTo>
                    <a:pt x="12066" y="50364"/>
                  </a:lnTo>
                  <a:lnTo>
                    <a:pt x="12066" y="50364"/>
                  </a:lnTo>
                  <a:lnTo>
                    <a:pt x="12561" y="50364"/>
                  </a:lnTo>
                  <a:lnTo>
                    <a:pt x="12892" y="49927"/>
                  </a:lnTo>
                  <a:lnTo>
                    <a:pt x="12892" y="49927"/>
                  </a:lnTo>
                  <a:lnTo>
                    <a:pt x="13223" y="49927"/>
                  </a:lnTo>
                  <a:lnTo>
                    <a:pt x="14049" y="49927"/>
                  </a:lnTo>
                  <a:lnTo>
                    <a:pt x="14049" y="49927"/>
                  </a:lnTo>
                  <a:lnTo>
                    <a:pt x="14380" y="49927"/>
                  </a:lnTo>
                  <a:lnTo>
                    <a:pt x="15206" y="49927"/>
                  </a:lnTo>
                  <a:lnTo>
                    <a:pt x="16033" y="49927"/>
                  </a:lnTo>
                  <a:lnTo>
                    <a:pt x="16363" y="49927"/>
                  </a:lnTo>
                  <a:lnTo>
                    <a:pt x="16859" y="50364"/>
                  </a:lnTo>
                  <a:lnTo>
                    <a:pt x="16859" y="50364"/>
                  </a:lnTo>
                  <a:lnTo>
                    <a:pt x="16859" y="50364"/>
                  </a:lnTo>
                  <a:lnTo>
                    <a:pt x="17190" y="50364"/>
                  </a:lnTo>
                  <a:lnTo>
                    <a:pt x="17190" y="50364"/>
                  </a:lnTo>
                  <a:lnTo>
                    <a:pt x="17520" y="50364"/>
                  </a:lnTo>
                  <a:lnTo>
                    <a:pt x="18016" y="49927"/>
                  </a:lnTo>
                  <a:lnTo>
                    <a:pt x="18016" y="49927"/>
                  </a:lnTo>
                  <a:lnTo>
                    <a:pt x="18347" y="49927"/>
                  </a:lnTo>
                  <a:lnTo>
                    <a:pt x="18677" y="49343"/>
                  </a:lnTo>
                  <a:lnTo>
                    <a:pt x="18677" y="49343"/>
                  </a:lnTo>
                  <a:lnTo>
                    <a:pt x="19173" y="48905"/>
                  </a:lnTo>
                  <a:lnTo>
                    <a:pt x="19504" y="48905"/>
                  </a:lnTo>
                  <a:lnTo>
                    <a:pt x="19504" y="48905"/>
                  </a:lnTo>
                  <a:lnTo>
                    <a:pt x="19834" y="48905"/>
                  </a:lnTo>
                  <a:lnTo>
                    <a:pt x="19834" y="48905"/>
                  </a:lnTo>
                  <a:lnTo>
                    <a:pt x="20330" y="48613"/>
                  </a:lnTo>
                  <a:lnTo>
                    <a:pt x="20661" y="48321"/>
                  </a:lnTo>
                  <a:lnTo>
                    <a:pt x="21157" y="48321"/>
                  </a:lnTo>
                  <a:lnTo>
                    <a:pt x="21157" y="47883"/>
                  </a:lnTo>
                  <a:lnTo>
                    <a:pt x="21487" y="47883"/>
                  </a:lnTo>
                  <a:lnTo>
                    <a:pt x="21487" y="47883"/>
                  </a:lnTo>
                  <a:lnTo>
                    <a:pt x="22644" y="46861"/>
                  </a:lnTo>
                  <a:lnTo>
                    <a:pt x="22975" y="46569"/>
                  </a:lnTo>
                  <a:lnTo>
                    <a:pt x="23471" y="46569"/>
                  </a:lnTo>
                  <a:lnTo>
                    <a:pt x="23801" y="46569"/>
                  </a:lnTo>
                  <a:lnTo>
                    <a:pt x="24132" y="46569"/>
                  </a:lnTo>
                  <a:lnTo>
                    <a:pt x="25289" y="46131"/>
                  </a:lnTo>
                  <a:lnTo>
                    <a:pt x="25785" y="46131"/>
                  </a:lnTo>
                  <a:lnTo>
                    <a:pt x="26115" y="46569"/>
                  </a:lnTo>
                  <a:lnTo>
                    <a:pt x="26115" y="46569"/>
                  </a:lnTo>
                  <a:lnTo>
                    <a:pt x="26611" y="46131"/>
                  </a:lnTo>
                  <a:lnTo>
                    <a:pt x="26611" y="46131"/>
                  </a:lnTo>
                  <a:lnTo>
                    <a:pt x="26942" y="46131"/>
                  </a:lnTo>
                  <a:lnTo>
                    <a:pt x="26942" y="46131"/>
                  </a:lnTo>
                  <a:lnTo>
                    <a:pt x="26942" y="46569"/>
                  </a:lnTo>
                  <a:lnTo>
                    <a:pt x="26942" y="46861"/>
                  </a:lnTo>
                  <a:lnTo>
                    <a:pt x="26942" y="47153"/>
                  </a:lnTo>
                  <a:lnTo>
                    <a:pt x="27272" y="47591"/>
                  </a:lnTo>
                  <a:lnTo>
                    <a:pt x="27272" y="47883"/>
                  </a:lnTo>
                  <a:lnTo>
                    <a:pt x="26942" y="48321"/>
                  </a:lnTo>
                  <a:lnTo>
                    <a:pt x="26942" y="48321"/>
                  </a:lnTo>
                  <a:lnTo>
                    <a:pt x="26942" y="48613"/>
                  </a:lnTo>
                  <a:lnTo>
                    <a:pt x="26942" y="48905"/>
                  </a:lnTo>
                  <a:lnTo>
                    <a:pt x="26942" y="49343"/>
                  </a:lnTo>
                  <a:lnTo>
                    <a:pt x="27272" y="49635"/>
                  </a:lnTo>
                  <a:lnTo>
                    <a:pt x="27272" y="49927"/>
                  </a:lnTo>
                  <a:lnTo>
                    <a:pt x="27272" y="50364"/>
                  </a:lnTo>
                  <a:lnTo>
                    <a:pt x="26942" y="50656"/>
                  </a:lnTo>
                  <a:lnTo>
                    <a:pt x="27272" y="50656"/>
                  </a:lnTo>
                  <a:lnTo>
                    <a:pt x="27272" y="50948"/>
                  </a:lnTo>
                  <a:lnTo>
                    <a:pt x="27272" y="50948"/>
                  </a:lnTo>
                  <a:lnTo>
                    <a:pt x="27272" y="50948"/>
                  </a:lnTo>
                  <a:lnTo>
                    <a:pt x="27272" y="51386"/>
                  </a:lnTo>
                  <a:lnTo>
                    <a:pt x="27768" y="51678"/>
                  </a:lnTo>
                  <a:lnTo>
                    <a:pt x="27768" y="51678"/>
                  </a:lnTo>
                  <a:lnTo>
                    <a:pt x="27768" y="52116"/>
                  </a:lnTo>
                  <a:lnTo>
                    <a:pt x="27768" y="52408"/>
                  </a:lnTo>
                  <a:lnTo>
                    <a:pt x="27768" y="52408"/>
                  </a:lnTo>
                  <a:lnTo>
                    <a:pt x="28099" y="52408"/>
                  </a:lnTo>
                  <a:lnTo>
                    <a:pt x="28099" y="52408"/>
                  </a:lnTo>
                  <a:lnTo>
                    <a:pt x="28099" y="52408"/>
                  </a:lnTo>
                  <a:lnTo>
                    <a:pt x="28099" y="52408"/>
                  </a:lnTo>
                  <a:lnTo>
                    <a:pt x="28429" y="52700"/>
                  </a:lnTo>
                  <a:lnTo>
                    <a:pt x="28429" y="52700"/>
                  </a:lnTo>
                  <a:lnTo>
                    <a:pt x="28429" y="52700"/>
                  </a:lnTo>
                  <a:lnTo>
                    <a:pt x="28429" y="53138"/>
                  </a:lnTo>
                  <a:lnTo>
                    <a:pt x="28925" y="53138"/>
                  </a:lnTo>
                  <a:lnTo>
                    <a:pt x="28925" y="53138"/>
                  </a:lnTo>
                  <a:lnTo>
                    <a:pt x="29256" y="53430"/>
                  </a:lnTo>
                  <a:lnTo>
                    <a:pt x="29586" y="53430"/>
                  </a:lnTo>
                  <a:lnTo>
                    <a:pt x="29586" y="53722"/>
                  </a:lnTo>
                  <a:lnTo>
                    <a:pt x="30082" y="53722"/>
                  </a:lnTo>
                  <a:lnTo>
                    <a:pt x="30082" y="54160"/>
                  </a:lnTo>
                  <a:lnTo>
                    <a:pt x="30413" y="54452"/>
                  </a:lnTo>
                  <a:lnTo>
                    <a:pt x="30743" y="54452"/>
                  </a:lnTo>
                  <a:lnTo>
                    <a:pt x="31570" y="54744"/>
                  </a:lnTo>
                  <a:lnTo>
                    <a:pt x="32066" y="54744"/>
                  </a:lnTo>
                  <a:lnTo>
                    <a:pt x="32396" y="54452"/>
                  </a:lnTo>
                  <a:lnTo>
                    <a:pt x="32727" y="54452"/>
                  </a:lnTo>
                  <a:lnTo>
                    <a:pt x="32727" y="54744"/>
                  </a:lnTo>
                  <a:lnTo>
                    <a:pt x="33223" y="54744"/>
                  </a:lnTo>
                  <a:lnTo>
                    <a:pt x="33223" y="55182"/>
                  </a:lnTo>
                  <a:lnTo>
                    <a:pt x="33553" y="55182"/>
                  </a:lnTo>
                  <a:lnTo>
                    <a:pt x="33884" y="55182"/>
                  </a:lnTo>
                  <a:lnTo>
                    <a:pt x="34380" y="55182"/>
                  </a:lnTo>
                  <a:lnTo>
                    <a:pt x="34380" y="55182"/>
                  </a:lnTo>
                  <a:lnTo>
                    <a:pt x="34710" y="55182"/>
                  </a:lnTo>
                  <a:lnTo>
                    <a:pt x="34710" y="55474"/>
                  </a:lnTo>
                  <a:lnTo>
                    <a:pt x="34710" y="55474"/>
                  </a:lnTo>
                  <a:lnTo>
                    <a:pt x="35041" y="55912"/>
                  </a:lnTo>
                  <a:lnTo>
                    <a:pt x="35537" y="56204"/>
                  </a:lnTo>
                  <a:lnTo>
                    <a:pt x="35537" y="56204"/>
                  </a:lnTo>
                  <a:lnTo>
                    <a:pt x="35867" y="56204"/>
                  </a:lnTo>
                  <a:lnTo>
                    <a:pt x="36198" y="56496"/>
                  </a:lnTo>
                  <a:lnTo>
                    <a:pt x="36694" y="56496"/>
                  </a:lnTo>
                  <a:lnTo>
                    <a:pt x="37024" y="56496"/>
                  </a:lnTo>
                  <a:lnTo>
                    <a:pt x="37520" y="56496"/>
                  </a:lnTo>
                  <a:lnTo>
                    <a:pt x="37520" y="56934"/>
                  </a:lnTo>
                  <a:lnTo>
                    <a:pt x="37851" y="56934"/>
                  </a:lnTo>
                  <a:lnTo>
                    <a:pt x="38181" y="57518"/>
                  </a:lnTo>
                  <a:lnTo>
                    <a:pt x="38181" y="57518"/>
                  </a:lnTo>
                  <a:lnTo>
                    <a:pt x="38677" y="57956"/>
                  </a:lnTo>
                  <a:lnTo>
                    <a:pt x="39338" y="57956"/>
                  </a:lnTo>
                  <a:lnTo>
                    <a:pt x="39338" y="57956"/>
                  </a:lnTo>
                  <a:lnTo>
                    <a:pt x="39834" y="57956"/>
                  </a:lnTo>
                  <a:lnTo>
                    <a:pt x="40495" y="57956"/>
                  </a:lnTo>
                  <a:lnTo>
                    <a:pt x="40991" y="57518"/>
                  </a:lnTo>
                  <a:lnTo>
                    <a:pt x="41322" y="57956"/>
                  </a:lnTo>
                  <a:lnTo>
                    <a:pt x="42148" y="58248"/>
                  </a:lnTo>
                  <a:lnTo>
                    <a:pt x="42479" y="58686"/>
                  </a:lnTo>
                  <a:lnTo>
                    <a:pt x="42479" y="58686"/>
                  </a:lnTo>
                  <a:lnTo>
                    <a:pt x="42975" y="58978"/>
                  </a:lnTo>
                  <a:lnTo>
                    <a:pt x="42975" y="58978"/>
                  </a:lnTo>
                  <a:lnTo>
                    <a:pt x="42975" y="59270"/>
                  </a:lnTo>
                  <a:lnTo>
                    <a:pt x="42975" y="59708"/>
                  </a:lnTo>
                  <a:lnTo>
                    <a:pt x="42975" y="59708"/>
                  </a:lnTo>
                  <a:lnTo>
                    <a:pt x="42975" y="60000"/>
                  </a:lnTo>
                  <a:lnTo>
                    <a:pt x="42975" y="60000"/>
                  </a:lnTo>
                  <a:lnTo>
                    <a:pt x="43305" y="60291"/>
                  </a:lnTo>
                  <a:lnTo>
                    <a:pt x="43305" y="60729"/>
                  </a:lnTo>
                  <a:lnTo>
                    <a:pt x="43305" y="61021"/>
                  </a:lnTo>
                  <a:lnTo>
                    <a:pt x="43636" y="61313"/>
                  </a:lnTo>
                  <a:lnTo>
                    <a:pt x="43636" y="62773"/>
                  </a:lnTo>
                  <a:lnTo>
                    <a:pt x="43305" y="62773"/>
                  </a:lnTo>
                  <a:lnTo>
                    <a:pt x="42975" y="62773"/>
                  </a:lnTo>
                  <a:lnTo>
                    <a:pt x="42975" y="62773"/>
                  </a:lnTo>
                  <a:lnTo>
                    <a:pt x="43305" y="63503"/>
                  </a:lnTo>
                  <a:lnTo>
                    <a:pt x="44132" y="63795"/>
                  </a:lnTo>
                  <a:lnTo>
                    <a:pt x="44132" y="64817"/>
                  </a:lnTo>
                  <a:lnTo>
                    <a:pt x="44132" y="65109"/>
                  </a:lnTo>
                  <a:lnTo>
                    <a:pt x="44462" y="65839"/>
                  </a:lnTo>
                  <a:lnTo>
                    <a:pt x="44462" y="66277"/>
                  </a:lnTo>
                  <a:lnTo>
                    <a:pt x="45619" y="66277"/>
                  </a:lnTo>
                  <a:lnTo>
                    <a:pt x="46776" y="66569"/>
                  </a:lnTo>
                  <a:lnTo>
                    <a:pt x="47933" y="66569"/>
                  </a:lnTo>
                  <a:lnTo>
                    <a:pt x="49586" y="66569"/>
                  </a:lnTo>
                  <a:lnTo>
                    <a:pt x="49586" y="66569"/>
                  </a:lnTo>
                  <a:lnTo>
                    <a:pt x="49917" y="66569"/>
                  </a:lnTo>
                  <a:lnTo>
                    <a:pt x="49917" y="66277"/>
                  </a:lnTo>
                  <a:lnTo>
                    <a:pt x="49917" y="66277"/>
                  </a:lnTo>
                  <a:lnTo>
                    <a:pt x="49917" y="66569"/>
                  </a:lnTo>
                  <a:lnTo>
                    <a:pt x="49917" y="66861"/>
                  </a:lnTo>
                  <a:lnTo>
                    <a:pt x="49917" y="66861"/>
                  </a:lnTo>
                  <a:lnTo>
                    <a:pt x="49586" y="67591"/>
                  </a:lnTo>
                  <a:lnTo>
                    <a:pt x="49586" y="67591"/>
                  </a:lnTo>
                  <a:lnTo>
                    <a:pt x="49917" y="68321"/>
                  </a:lnTo>
                  <a:lnTo>
                    <a:pt x="49917" y="68905"/>
                  </a:lnTo>
                  <a:lnTo>
                    <a:pt x="50247" y="69343"/>
                  </a:lnTo>
                  <a:lnTo>
                    <a:pt x="50247" y="69343"/>
                  </a:lnTo>
                  <a:lnTo>
                    <a:pt x="50743" y="69635"/>
                  </a:lnTo>
                  <a:lnTo>
                    <a:pt x="51404" y="70072"/>
                  </a:lnTo>
                  <a:lnTo>
                    <a:pt x="51900" y="70364"/>
                  </a:lnTo>
                  <a:lnTo>
                    <a:pt x="51900" y="70072"/>
                  </a:lnTo>
                  <a:lnTo>
                    <a:pt x="52231" y="70364"/>
                  </a:lnTo>
                  <a:lnTo>
                    <a:pt x="52231" y="70656"/>
                  </a:lnTo>
                  <a:lnTo>
                    <a:pt x="52561" y="71386"/>
                  </a:lnTo>
                  <a:lnTo>
                    <a:pt x="53057" y="72116"/>
                  </a:lnTo>
                  <a:lnTo>
                    <a:pt x="53057" y="72116"/>
                  </a:lnTo>
                  <a:lnTo>
                    <a:pt x="53057" y="72408"/>
                  </a:lnTo>
                  <a:lnTo>
                    <a:pt x="53057" y="72408"/>
                  </a:lnTo>
                  <a:lnTo>
                    <a:pt x="53057" y="72408"/>
                  </a:lnTo>
                  <a:lnTo>
                    <a:pt x="53057" y="72408"/>
                  </a:lnTo>
                  <a:lnTo>
                    <a:pt x="52561" y="73138"/>
                  </a:lnTo>
                  <a:lnTo>
                    <a:pt x="52561" y="73868"/>
                  </a:lnTo>
                  <a:lnTo>
                    <a:pt x="52561" y="74452"/>
                  </a:lnTo>
                  <a:lnTo>
                    <a:pt x="52561" y="74452"/>
                  </a:lnTo>
                  <a:lnTo>
                    <a:pt x="52561" y="74452"/>
                  </a:lnTo>
                  <a:lnTo>
                    <a:pt x="52561" y="74890"/>
                  </a:lnTo>
                  <a:lnTo>
                    <a:pt x="52561" y="74890"/>
                  </a:lnTo>
                  <a:lnTo>
                    <a:pt x="52561" y="74890"/>
                  </a:lnTo>
                  <a:lnTo>
                    <a:pt x="52231" y="75474"/>
                  </a:lnTo>
                  <a:lnTo>
                    <a:pt x="52231" y="75912"/>
                  </a:lnTo>
                  <a:lnTo>
                    <a:pt x="51900" y="76496"/>
                  </a:lnTo>
                  <a:lnTo>
                    <a:pt x="51900" y="76934"/>
                  </a:lnTo>
                  <a:lnTo>
                    <a:pt x="52231" y="77226"/>
                  </a:lnTo>
                  <a:lnTo>
                    <a:pt x="52561" y="77664"/>
                  </a:lnTo>
                  <a:lnTo>
                    <a:pt x="52561" y="77956"/>
                  </a:lnTo>
                  <a:lnTo>
                    <a:pt x="52231" y="77956"/>
                  </a:lnTo>
                  <a:lnTo>
                    <a:pt x="52231" y="77956"/>
                  </a:lnTo>
                  <a:lnTo>
                    <a:pt x="52231" y="78248"/>
                  </a:lnTo>
                  <a:lnTo>
                    <a:pt x="51900" y="78248"/>
                  </a:lnTo>
                  <a:lnTo>
                    <a:pt x="51900" y="78248"/>
                  </a:lnTo>
                  <a:lnTo>
                    <a:pt x="51900" y="78686"/>
                  </a:lnTo>
                  <a:lnTo>
                    <a:pt x="51900" y="78686"/>
                  </a:lnTo>
                  <a:lnTo>
                    <a:pt x="52231" y="78978"/>
                  </a:lnTo>
                  <a:lnTo>
                    <a:pt x="52231" y="78978"/>
                  </a:lnTo>
                  <a:lnTo>
                    <a:pt x="52231" y="78978"/>
                  </a:lnTo>
                  <a:lnTo>
                    <a:pt x="52231" y="79270"/>
                  </a:lnTo>
                  <a:lnTo>
                    <a:pt x="52231" y="79270"/>
                  </a:lnTo>
                  <a:lnTo>
                    <a:pt x="52561" y="79708"/>
                  </a:lnTo>
                  <a:lnTo>
                    <a:pt x="52561" y="79708"/>
                  </a:lnTo>
                  <a:lnTo>
                    <a:pt x="52561" y="80000"/>
                  </a:lnTo>
                  <a:lnTo>
                    <a:pt x="52561" y="80000"/>
                  </a:lnTo>
                  <a:lnTo>
                    <a:pt x="53057" y="80000"/>
                  </a:lnTo>
                  <a:lnTo>
                    <a:pt x="52561" y="80291"/>
                  </a:lnTo>
                  <a:lnTo>
                    <a:pt x="53057" y="80291"/>
                  </a:lnTo>
                  <a:lnTo>
                    <a:pt x="53057" y="80291"/>
                  </a:lnTo>
                  <a:lnTo>
                    <a:pt x="53057" y="80291"/>
                  </a:lnTo>
                  <a:lnTo>
                    <a:pt x="53057" y="80729"/>
                  </a:lnTo>
                  <a:lnTo>
                    <a:pt x="53057" y="80729"/>
                  </a:lnTo>
                  <a:lnTo>
                    <a:pt x="53057" y="81021"/>
                  </a:lnTo>
                  <a:lnTo>
                    <a:pt x="53057" y="81459"/>
                  </a:lnTo>
                  <a:lnTo>
                    <a:pt x="53057" y="81459"/>
                  </a:lnTo>
                  <a:lnTo>
                    <a:pt x="53057" y="81751"/>
                  </a:lnTo>
                  <a:lnTo>
                    <a:pt x="53057" y="81751"/>
                  </a:lnTo>
                  <a:lnTo>
                    <a:pt x="53057" y="82043"/>
                  </a:lnTo>
                  <a:lnTo>
                    <a:pt x="53057" y="82043"/>
                  </a:lnTo>
                  <a:lnTo>
                    <a:pt x="53057" y="82481"/>
                  </a:lnTo>
                  <a:lnTo>
                    <a:pt x="53057" y="82481"/>
                  </a:lnTo>
                  <a:lnTo>
                    <a:pt x="53057" y="82773"/>
                  </a:lnTo>
                  <a:lnTo>
                    <a:pt x="53057" y="82773"/>
                  </a:lnTo>
                  <a:lnTo>
                    <a:pt x="53057" y="83065"/>
                  </a:lnTo>
                  <a:lnTo>
                    <a:pt x="53057" y="83065"/>
                  </a:lnTo>
                  <a:lnTo>
                    <a:pt x="53057" y="83503"/>
                  </a:lnTo>
                  <a:lnTo>
                    <a:pt x="53057" y="83503"/>
                  </a:lnTo>
                  <a:lnTo>
                    <a:pt x="53057" y="83795"/>
                  </a:lnTo>
                  <a:lnTo>
                    <a:pt x="53057" y="83795"/>
                  </a:lnTo>
                  <a:lnTo>
                    <a:pt x="53057" y="84087"/>
                  </a:lnTo>
                  <a:lnTo>
                    <a:pt x="53057" y="84087"/>
                  </a:lnTo>
                  <a:lnTo>
                    <a:pt x="53057" y="84087"/>
                  </a:lnTo>
                  <a:lnTo>
                    <a:pt x="53388" y="84525"/>
                  </a:lnTo>
                  <a:lnTo>
                    <a:pt x="53388" y="84525"/>
                  </a:lnTo>
                  <a:lnTo>
                    <a:pt x="53884" y="84087"/>
                  </a:lnTo>
                  <a:lnTo>
                    <a:pt x="53884" y="84087"/>
                  </a:lnTo>
                  <a:lnTo>
                    <a:pt x="54214" y="84525"/>
                  </a:lnTo>
                  <a:lnTo>
                    <a:pt x="54214" y="84525"/>
                  </a:lnTo>
                  <a:lnTo>
                    <a:pt x="54545" y="84525"/>
                  </a:lnTo>
                  <a:lnTo>
                    <a:pt x="55041" y="84525"/>
                  </a:lnTo>
                  <a:lnTo>
                    <a:pt x="55041" y="84525"/>
                  </a:lnTo>
                  <a:lnTo>
                    <a:pt x="55371" y="84525"/>
                  </a:lnTo>
                  <a:lnTo>
                    <a:pt x="55702" y="84525"/>
                  </a:lnTo>
                  <a:lnTo>
                    <a:pt x="56198" y="84817"/>
                  </a:lnTo>
                  <a:lnTo>
                    <a:pt x="56198" y="84817"/>
                  </a:lnTo>
                  <a:lnTo>
                    <a:pt x="56528" y="84817"/>
                  </a:lnTo>
                  <a:lnTo>
                    <a:pt x="56859" y="84817"/>
                  </a:lnTo>
                  <a:lnTo>
                    <a:pt x="56859" y="84817"/>
                  </a:lnTo>
                  <a:lnTo>
                    <a:pt x="57355" y="84817"/>
                  </a:lnTo>
                  <a:lnTo>
                    <a:pt x="57355" y="84525"/>
                  </a:lnTo>
                  <a:lnTo>
                    <a:pt x="57355" y="84525"/>
                  </a:lnTo>
                  <a:lnTo>
                    <a:pt x="57355" y="84087"/>
                  </a:lnTo>
                  <a:lnTo>
                    <a:pt x="57685" y="84087"/>
                  </a:lnTo>
                  <a:lnTo>
                    <a:pt x="57685" y="84087"/>
                  </a:lnTo>
                  <a:lnTo>
                    <a:pt x="58016" y="84525"/>
                  </a:lnTo>
                  <a:lnTo>
                    <a:pt x="58016" y="84525"/>
                  </a:lnTo>
                  <a:lnTo>
                    <a:pt x="58512" y="84817"/>
                  </a:lnTo>
                  <a:lnTo>
                    <a:pt x="58512" y="84817"/>
                  </a:lnTo>
                  <a:lnTo>
                    <a:pt x="58842" y="84817"/>
                  </a:lnTo>
                  <a:lnTo>
                    <a:pt x="59173" y="84817"/>
                  </a:lnTo>
                  <a:lnTo>
                    <a:pt x="59173" y="84817"/>
                  </a:lnTo>
                  <a:lnTo>
                    <a:pt x="59669" y="84817"/>
                  </a:lnTo>
                  <a:lnTo>
                    <a:pt x="59669" y="85255"/>
                  </a:lnTo>
                  <a:lnTo>
                    <a:pt x="60000" y="85255"/>
                  </a:lnTo>
                  <a:lnTo>
                    <a:pt x="60000" y="85547"/>
                  </a:lnTo>
                  <a:lnTo>
                    <a:pt x="60000" y="85839"/>
                  </a:lnTo>
                  <a:lnTo>
                    <a:pt x="60495" y="85839"/>
                  </a:lnTo>
                  <a:lnTo>
                    <a:pt x="60495" y="85839"/>
                  </a:lnTo>
                  <a:lnTo>
                    <a:pt x="60495" y="86277"/>
                  </a:lnTo>
                  <a:lnTo>
                    <a:pt x="60495" y="86569"/>
                  </a:lnTo>
                  <a:lnTo>
                    <a:pt x="60495" y="86569"/>
                  </a:lnTo>
                  <a:lnTo>
                    <a:pt x="60495" y="86861"/>
                  </a:lnTo>
                  <a:lnTo>
                    <a:pt x="60495" y="87299"/>
                  </a:lnTo>
                  <a:lnTo>
                    <a:pt x="60495" y="87299"/>
                  </a:lnTo>
                  <a:lnTo>
                    <a:pt x="60826" y="87591"/>
                  </a:lnTo>
                  <a:lnTo>
                    <a:pt x="60826" y="87883"/>
                  </a:lnTo>
                  <a:lnTo>
                    <a:pt x="60826" y="87883"/>
                  </a:lnTo>
                  <a:lnTo>
                    <a:pt x="60826" y="88321"/>
                  </a:lnTo>
                  <a:lnTo>
                    <a:pt x="60826" y="88321"/>
                  </a:lnTo>
                  <a:lnTo>
                    <a:pt x="60826" y="88321"/>
                  </a:lnTo>
                  <a:lnTo>
                    <a:pt x="60826" y="88613"/>
                  </a:lnTo>
                  <a:lnTo>
                    <a:pt x="60826" y="89051"/>
                  </a:lnTo>
                  <a:lnTo>
                    <a:pt x="61157" y="89051"/>
                  </a:lnTo>
                  <a:lnTo>
                    <a:pt x="61157" y="89343"/>
                  </a:lnTo>
                  <a:lnTo>
                    <a:pt x="61157" y="89343"/>
                  </a:lnTo>
                  <a:lnTo>
                    <a:pt x="61157" y="89635"/>
                  </a:lnTo>
                  <a:lnTo>
                    <a:pt x="61652" y="90072"/>
                  </a:lnTo>
                  <a:lnTo>
                    <a:pt x="61652" y="90072"/>
                  </a:lnTo>
                  <a:lnTo>
                    <a:pt x="61983" y="90072"/>
                  </a:lnTo>
                  <a:lnTo>
                    <a:pt x="62314" y="90072"/>
                  </a:lnTo>
                  <a:lnTo>
                    <a:pt x="62314" y="90072"/>
                  </a:lnTo>
                  <a:lnTo>
                    <a:pt x="62809" y="90072"/>
                  </a:lnTo>
                  <a:lnTo>
                    <a:pt x="63140" y="90072"/>
                  </a:lnTo>
                  <a:lnTo>
                    <a:pt x="63140" y="89635"/>
                  </a:lnTo>
                  <a:lnTo>
                    <a:pt x="63471" y="89635"/>
                  </a:lnTo>
                  <a:lnTo>
                    <a:pt x="63471" y="89635"/>
                  </a:lnTo>
                  <a:lnTo>
                    <a:pt x="63966" y="89635"/>
                  </a:lnTo>
                  <a:lnTo>
                    <a:pt x="63966" y="89635"/>
                  </a:lnTo>
                  <a:lnTo>
                    <a:pt x="64297" y="89635"/>
                  </a:lnTo>
                  <a:lnTo>
                    <a:pt x="64628" y="90072"/>
                  </a:lnTo>
                  <a:lnTo>
                    <a:pt x="65123" y="90364"/>
                  </a:lnTo>
                  <a:lnTo>
                    <a:pt x="65123" y="90364"/>
                  </a:lnTo>
                  <a:lnTo>
                    <a:pt x="64628" y="90364"/>
                  </a:lnTo>
                  <a:lnTo>
                    <a:pt x="64628" y="90656"/>
                  </a:lnTo>
                  <a:lnTo>
                    <a:pt x="65123" y="91094"/>
                  </a:lnTo>
                  <a:lnTo>
                    <a:pt x="65123" y="91678"/>
                  </a:lnTo>
                  <a:lnTo>
                    <a:pt x="64628" y="92846"/>
                  </a:lnTo>
                  <a:lnTo>
                    <a:pt x="64628" y="93430"/>
                  </a:lnTo>
                  <a:lnTo>
                    <a:pt x="65123" y="93430"/>
                  </a:lnTo>
                  <a:lnTo>
                    <a:pt x="64628" y="93868"/>
                  </a:lnTo>
                  <a:lnTo>
                    <a:pt x="64628" y="94452"/>
                  </a:lnTo>
                  <a:lnTo>
                    <a:pt x="64628" y="94890"/>
                  </a:lnTo>
                  <a:lnTo>
                    <a:pt x="64628" y="94890"/>
                  </a:lnTo>
                  <a:lnTo>
                    <a:pt x="65123" y="95182"/>
                  </a:lnTo>
                  <a:lnTo>
                    <a:pt x="65123" y="95182"/>
                  </a:lnTo>
                  <a:lnTo>
                    <a:pt x="65454" y="94890"/>
                  </a:lnTo>
                  <a:lnTo>
                    <a:pt x="65454" y="94890"/>
                  </a:lnTo>
                  <a:lnTo>
                    <a:pt x="65950" y="94890"/>
                  </a:lnTo>
                  <a:lnTo>
                    <a:pt x="65950" y="94890"/>
                  </a:lnTo>
                  <a:lnTo>
                    <a:pt x="65950" y="94890"/>
                  </a:lnTo>
                  <a:lnTo>
                    <a:pt x="65950" y="94890"/>
                  </a:lnTo>
                  <a:lnTo>
                    <a:pt x="66280" y="94890"/>
                  </a:lnTo>
                  <a:lnTo>
                    <a:pt x="66280" y="94890"/>
                  </a:lnTo>
                  <a:lnTo>
                    <a:pt x="66611" y="95182"/>
                  </a:lnTo>
                  <a:lnTo>
                    <a:pt x="66611" y="95182"/>
                  </a:lnTo>
                  <a:lnTo>
                    <a:pt x="67107" y="95620"/>
                  </a:lnTo>
                  <a:lnTo>
                    <a:pt x="67107" y="96204"/>
                  </a:lnTo>
                  <a:lnTo>
                    <a:pt x="67438" y="96642"/>
                  </a:lnTo>
                  <a:lnTo>
                    <a:pt x="67768" y="96934"/>
                  </a:lnTo>
                  <a:lnTo>
                    <a:pt x="67768" y="97226"/>
                  </a:lnTo>
                  <a:lnTo>
                    <a:pt x="67768" y="97226"/>
                  </a:lnTo>
                  <a:lnTo>
                    <a:pt x="67768" y="97664"/>
                  </a:lnTo>
                  <a:lnTo>
                    <a:pt x="67768" y="98248"/>
                  </a:lnTo>
                  <a:lnTo>
                    <a:pt x="67768" y="98686"/>
                  </a:lnTo>
                  <a:lnTo>
                    <a:pt x="67768" y="98686"/>
                  </a:lnTo>
                  <a:lnTo>
                    <a:pt x="67768" y="98978"/>
                  </a:lnTo>
                  <a:lnTo>
                    <a:pt x="67768" y="99416"/>
                  </a:lnTo>
                  <a:lnTo>
                    <a:pt x="67768" y="99708"/>
                  </a:lnTo>
                  <a:lnTo>
                    <a:pt x="67438" y="100000"/>
                  </a:lnTo>
                  <a:lnTo>
                    <a:pt x="67438" y="100000"/>
                  </a:lnTo>
                  <a:lnTo>
                    <a:pt x="67107" y="100000"/>
                  </a:lnTo>
                  <a:lnTo>
                    <a:pt x="67107" y="100437"/>
                  </a:lnTo>
                  <a:lnTo>
                    <a:pt x="66611" y="100000"/>
                  </a:lnTo>
                  <a:lnTo>
                    <a:pt x="66611" y="100437"/>
                  </a:lnTo>
                  <a:lnTo>
                    <a:pt x="66611" y="100729"/>
                  </a:lnTo>
                  <a:lnTo>
                    <a:pt x="66280" y="100729"/>
                  </a:lnTo>
                  <a:lnTo>
                    <a:pt x="65950" y="100729"/>
                  </a:lnTo>
                  <a:lnTo>
                    <a:pt x="65950" y="100729"/>
                  </a:lnTo>
                  <a:lnTo>
                    <a:pt x="65950" y="100729"/>
                  </a:lnTo>
                  <a:lnTo>
                    <a:pt x="65454" y="100729"/>
                  </a:lnTo>
                  <a:lnTo>
                    <a:pt x="65454" y="101021"/>
                  </a:lnTo>
                  <a:lnTo>
                    <a:pt x="65123" y="101021"/>
                  </a:lnTo>
                  <a:lnTo>
                    <a:pt x="65123" y="101021"/>
                  </a:lnTo>
                  <a:lnTo>
                    <a:pt x="65123" y="101021"/>
                  </a:lnTo>
                  <a:lnTo>
                    <a:pt x="64628" y="101021"/>
                  </a:lnTo>
                  <a:lnTo>
                    <a:pt x="64628" y="101459"/>
                  </a:lnTo>
                  <a:lnTo>
                    <a:pt x="64628" y="101459"/>
                  </a:lnTo>
                  <a:lnTo>
                    <a:pt x="64628" y="101751"/>
                  </a:lnTo>
                  <a:lnTo>
                    <a:pt x="64297" y="101751"/>
                  </a:lnTo>
                  <a:lnTo>
                    <a:pt x="64297" y="101751"/>
                  </a:lnTo>
                  <a:lnTo>
                    <a:pt x="64297" y="102043"/>
                  </a:lnTo>
                  <a:lnTo>
                    <a:pt x="64297" y="102043"/>
                  </a:lnTo>
                  <a:lnTo>
                    <a:pt x="63966" y="102043"/>
                  </a:lnTo>
                  <a:lnTo>
                    <a:pt x="63471" y="102481"/>
                  </a:lnTo>
                  <a:lnTo>
                    <a:pt x="63471" y="102481"/>
                  </a:lnTo>
                  <a:lnTo>
                    <a:pt x="63140" y="102773"/>
                  </a:lnTo>
                  <a:lnTo>
                    <a:pt x="63140" y="102773"/>
                  </a:lnTo>
                  <a:lnTo>
                    <a:pt x="62809" y="103211"/>
                  </a:lnTo>
                  <a:lnTo>
                    <a:pt x="62809" y="103211"/>
                  </a:lnTo>
                  <a:lnTo>
                    <a:pt x="62809" y="103503"/>
                  </a:lnTo>
                  <a:lnTo>
                    <a:pt x="62809" y="103503"/>
                  </a:lnTo>
                  <a:lnTo>
                    <a:pt x="62809" y="103503"/>
                  </a:lnTo>
                  <a:lnTo>
                    <a:pt x="62809" y="103503"/>
                  </a:lnTo>
                  <a:lnTo>
                    <a:pt x="62314" y="103503"/>
                  </a:lnTo>
                  <a:lnTo>
                    <a:pt x="62314" y="103503"/>
                  </a:lnTo>
                  <a:lnTo>
                    <a:pt x="62314" y="103503"/>
                  </a:lnTo>
                  <a:lnTo>
                    <a:pt x="62314" y="103795"/>
                  </a:lnTo>
                  <a:lnTo>
                    <a:pt x="62314" y="103795"/>
                  </a:lnTo>
                  <a:lnTo>
                    <a:pt x="61983" y="103795"/>
                  </a:lnTo>
                  <a:lnTo>
                    <a:pt x="61983" y="103795"/>
                  </a:lnTo>
                  <a:lnTo>
                    <a:pt x="61983" y="104233"/>
                  </a:lnTo>
                  <a:lnTo>
                    <a:pt x="61983" y="104233"/>
                  </a:lnTo>
                  <a:lnTo>
                    <a:pt x="61652" y="104525"/>
                  </a:lnTo>
                  <a:lnTo>
                    <a:pt x="61652" y="104817"/>
                  </a:lnTo>
                  <a:lnTo>
                    <a:pt x="61157" y="105255"/>
                  </a:lnTo>
                  <a:lnTo>
                    <a:pt x="61157" y="105547"/>
                  </a:lnTo>
                  <a:lnTo>
                    <a:pt x="60826" y="105839"/>
                  </a:lnTo>
                  <a:lnTo>
                    <a:pt x="60826" y="105839"/>
                  </a:lnTo>
                  <a:lnTo>
                    <a:pt x="60495" y="106277"/>
                  </a:lnTo>
                  <a:lnTo>
                    <a:pt x="60495" y="106569"/>
                  </a:lnTo>
                  <a:lnTo>
                    <a:pt x="60495" y="107007"/>
                  </a:lnTo>
                  <a:lnTo>
                    <a:pt x="60000" y="107299"/>
                  </a:lnTo>
                  <a:lnTo>
                    <a:pt x="59669" y="107591"/>
                  </a:lnTo>
                  <a:lnTo>
                    <a:pt x="59173" y="108029"/>
                  </a:lnTo>
                  <a:lnTo>
                    <a:pt x="58842" y="108321"/>
                  </a:lnTo>
                  <a:lnTo>
                    <a:pt x="58842" y="108321"/>
                  </a:lnTo>
                  <a:lnTo>
                    <a:pt x="58842" y="108613"/>
                  </a:lnTo>
                  <a:lnTo>
                    <a:pt x="58512" y="109051"/>
                  </a:lnTo>
                  <a:lnTo>
                    <a:pt x="58016" y="109343"/>
                  </a:lnTo>
                  <a:lnTo>
                    <a:pt x="58512" y="109343"/>
                  </a:lnTo>
                  <a:lnTo>
                    <a:pt x="58842" y="109343"/>
                  </a:lnTo>
                  <a:lnTo>
                    <a:pt x="59669" y="109343"/>
                  </a:lnTo>
                  <a:lnTo>
                    <a:pt x="59669" y="109343"/>
                  </a:lnTo>
                  <a:lnTo>
                    <a:pt x="59669" y="109051"/>
                  </a:lnTo>
                  <a:lnTo>
                    <a:pt x="60000" y="109051"/>
                  </a:lnTo>
                  <a:lnTo>
                    <a:pt x="60000" y="109051"/>
                  </a:lnTo>
                  <a:lnTo>
                    <a:pt x="60495" y="109051"/>
                  </a:lnTo>
                  <a:lnTo>
                    <a:pt x="60826" y="109343"/>
                  </a:lnTo>
                  <a:lnTo>
                    <a:pt x="61983" y="110072"/>
                  </a:lnTo>
                  <a:lnTo>
                    <a:pt x="62809" y="110364"/>
                  </a:lnTo>
                  <a:lnTo>
                    <a:pt x="63140" y="110802"/>
                  </a:lnTo>
                  <a:lnTo>
                    <a:pt x="63140" y="111094"/>
                  </a:lnTo>
                  <a:lnTo>
                    <a:pt x="63471" y="111094"/>
                  </a:lnTo>
                  <a:lnTo>
                    <a:pt x="63471" y="111824"/>
                  </a:lnTo>
                  <a:lnTo>
                    <a:pt x="63471" y="111824"/>
                  </a:lnTo>
                  <a:lnTo>
                    <a:pt x="63471" y="111824"/>
                  </a:lnTo>
                  <a:lnTo>
                    <a:pt x="63471" y="111824"/>
                  </a:lnTo>
                  <a:lnTo>
                    <a:pt x="63966" y="111824"/>
                  </a:lnTo>
                  <a:lnTo>
                    <a:pt x="63966" y="111824"/>
                  </a:lnTo>
                  <a:lnTo>
                    <a:pt x="64297" y="111824"/>
                  </a:lnTo>
                  <a:lnTo>
                    <a:pt x="64297" y="111386"/>
                  </a:lnTo>
                  <a:lnTo>
                    <a:pt x="64297" y="111386"/>
                  </a:lnTo>
                  <a:lnTo>
                    <a:pt x="64297" y="111386"/>
                  </a:lnTo>
                  <a:lnTo>
                    <a:pt x="64628" y="111386"/>
                  </a:lnTo>
                  <a:lnTo>
                    <a:pt x="64628" y="111094"/>
                  </a:lnTo>
                  <a:lnTo>
                    <a:pt x="64628" y="111386"/>
                  </a:lnTo>
                  <a:lnTo>
                    <a:pt x="65123" y="111386"/>
                  </a:lnTo>
                  <a:lnTo>
                    <a:pt x="65454" y="111824"/>
                  </a:lnTo>
                  <a:lnTo>
                    <a:pt x="65454" y="112116"/>
                  </a:lnTo>
                  <a:lnTo>
                    <a:pt x="65454" y="112116"/>
                  </a:lnTo>
                  <a:lnTo>
                    <a:pt x="65950" y="112116"/>
                  </a:lnTo>
                  <a:lnTo>
                    <a:pt x="65950" y="112408"/>
                  </a:lnTo>
                  <a:lnTo>
                    <a:pt x="66280" y="112408"/>
                  </a:lnTo>
                  <a:lnTo>
                    <a:pt x="66280" y="112846"/>
                  </a:lnTo>
                  <a:lnTo>
                    <a:pt x="66611" y="112408"/>
                  </a:lnTo>
                  <a:lnTo>
                    <a:pt x="67107" y="112846"/>
                  </a:lnTo>
                  <a:lnTo>
                    <a:pt x="67768" y="113138"/>
                  </a:lnTo>
                  <a:lnTo>
                    <a:pt x="68264" y="113430"/>
                  </a:lnTo>
                  <a:lnTo>
                    <a:pt x="68595" y="113430"/>
                  </a:lnTo>
                  <a:lnTo>
                    <a:pt x="68925" y="113868"/>
                  </a:lnTo>
                  <a:lnTo>
                    <a:pt x="69421" y="114160"/>
                  </a:lnTo>
                  <a:lnTo>
                    <a:pt x="69752" y="114598"/>
                  </a:lnTo>
                  <a:lnTo>
                    <a:pt x="70082" y="114598"/>
                  </a:lnTo>
                  <a:lnTo>
                    <a:pt x="70082" y="114598"/>
                  </a:lnTo>
                  <a:lnTo>
                    <a:pt x="70578" y="114890"/>
                  </a:lnTo>
                  <a:lnTo>
                    <a:pt x="70578" y="114890"/>
                  </a:lnTo>
                  <a:lnTo>
                    <a:pt x="70909" y="114890"/>
                  </a:lnTo>
                  <a:lnTo>
                    <a:pt x="70909" y="115182"/>
                  </a:lnTo>
                  <a:lnTo>
                    <a:pt x="70909" y="115182"/>
                  </a:lnTo>
                  <a:lnTo>
                    <a:pt x="71404" y="115620"/>
                  </a:lnTo>
                  <a:lnTo>
                    <a:pt x="71404" y="115912"/>
                  </a:lnTo>
                  <a:lnTo>
                    <a:pt x="71735" y="116204"/>
                  </a:lnTo>
                  <a:lnTo>
                    <a:pt x="72561" y="116642"/>
                  </a:lnTo>
                  <a:lnTo>
                    <a:pt x="72892" y="116642"/>
                  </a:lnTo>
                  <a:lnTo>
                    <a:pt x="72892" y="116934"/>
                  </a:lnTo>
                  <a:lnTo>
                    <a:pt x="73223" y="116934"/>
                  </a:lnTo>
                  <a:lnTo>
                    <a:pt x="72892" y="117226"/>
                  </a:lnTo>
                  <a:lnTo>
                    <a:pt x="72892" y="117664"/>
                  </a:lnTo>
                  <a:lnTo>
                    <a:pt x="72561" y="117956"/>
                  </a:lnTo>
                  <a:lnTo>
                    <a:pt x="72561" y="117956"/>
                  </a:lnTo>
                  <a:lnTo>
                    <a:pt x="72066" y="118394"/>
                  </a:lnTo>
                  <a:lnTo>
                    <a:pt x="72066" y="118394"/>
                  </a:lnTo>
                  <a:lnTo>
                    <a:pt x="72561" y="119416"/>
                  </a:lnTo>
                  <a:lnTo>
                    <a:pt x="72561" y="119708"/>
                  </a:lnTo>
                  <a:lnTo>
                    <a:pt x="72561" y="119708"/>
                  </a:lnTo>
                  <a:lnTo>
                    <a:pt x="72561" y="120000"/>
                  </a:lnTo>
                  <a:lnTo>
                    <a:pt x="72892" y="120000"/>
                  </a:lnTo>
                  <a:lnTo>
                    <a:pt x="72892" y="120000"/>
                  </a:lnTo>
                  <a:lnTo>
                    <a:pt x="73223" y="120000"/>
                  </a:lnTo>
                  <a:lnTo>
                    <a:pt x="74049" y="118978"/>
                  </a:lnTo>
                  <a:lnTo>
                    <a:pt x="74380" y="118686"/>
                  </a:lnTo>
                  <a:lnTo>
                    <a:pt x="74876" y="118394"/>
                  </a:lnTo>
                  <a:lnTo>
                    <a:pt x="74876" y="117226"/>
                  </a:lnTo>
                  <a:lnTo>
                    <a:pt x="75206" y="116204"/>
                  </a:lnTo>
                  <a:lnTo>
                    <a:pt x="75206" y="115912"/>
                  </a:lnTo>
                  <a:lnTo>
                    <a:pt x="75537" y="115620"/>
                  </a:lnTo>
                  <a:lnTo>
                    <a:pt x="75537" y="115182"/>
                  </a:lnTo>
                  <a:lnTo>
                    <a:pt x="75537" y="114890"/>
                  </a:lnTo>
                  <a:lnTo>
                    <a:pt x="75206" y="114598"/>
                  </a:lnTo>
                  <a:lnTo>
                    <a:pt x="75206" y="114598"/>
                  </a:lnTo>
                  <a:lnTo>
                    <a:pt x="75206" y="113868"/>
                  </a:lnTo>
                  <a:lnTo>
                    <a:pt x="75537" y="113430"/>
                  </a:lnTo>
                  <a:lnTo>
                    <a:pt x="75537" y="113138"/>
                  </a:lnTo>
                  <a:lnTo>
                    <a:pt x="75537" y="112846"/>
                  </a:lnTo>
                  <a:lnTo>
                    <a:pt x="75537" y="112846"/>
                  </a:lnTo>
                  <a:lnTo>
                    <a:pt x="76363" y="112408"/>
                  </a:lnTo>
                  <a:lnTo>
                    <a:pt x="76859" y="112116"/>
                  </a:lnTo>
                  <a:lnTo>
                    <a:pt x="76859" y="111824"/>
                  </a:lnTo>
                  <a:lnTo>
                    <a:pt x="76859" y="111824"/>
                  </a:lnTo>
                  <a:lnTo>
                    <a:pt x="76859" y="111386"/>
                  </a:lnTo>
                  <a:lnTo>
                    <a:pt x="77190" y="111094"/>
                  </a:lnTo>
                  <a:lnTo>
                    <a:pt x="76859" y="110802"/>
                  </a:lnTo>
                  <a:lnTo>
                    <a:pt x="77190" y="110802"/>
                  </a:lnTo>
                  <a:lnTo>
                    <a:pt x="77190" y="111094"/>
                  </a:lnTo>
                  <a:lnTo>
                    <a:pt x="77190" y="110364"/>
                  </a:lnTo>
                  <a:lnTo>
                    <a:pt x="77190" y="110072"/>
                  </a:lnTo>
                  <a:lnTo>
                    <a:pt x="77190" y="110072"/>
                  </a:lnTo>
                  <a:lnTo>
                    <a:pt x="77520" y="109635"/>
                  </a:lnTo>
                  <a:lnTo>
                    <a:pt x="76859" y="109343"/>
                  </a:lnTo>
                  <a:lnTo>
                    <a:pt x="76859" y="109051"/>
                  </a:lnTo>
                  <a:lnTo>
                    <a:pt x="76859" y="108613"/>
                  </a:lnTo>
                  <a:lnTo>
                    <a:pt x="76859" y="108613"/>
                  </a:lnTo>
                  <a:lnTo>
                    <a:pt x="77190" y="109051"/>
                  </a:lnTo>
                  <a:lnTo>
                    <a:pt x="77190" y="109343"/>
                  </a:lnTo>
                  <a:lnTo>
                    <a:pt x="77520" y="109343"/>
                  </a:lnTo>
                  <a:lnTo>
                    <a:pt x="78016" y="109635"/>
                  </a:lnTo>
                  <a:lnTo>
                    <a:pt x="78016" y="109635"/>
                  </a:lnTo>
                  <a:lnTo>
                    <a:pt x="78677" y="109343"/>
                  </a:lnTo>
                  <a:lnTo>
                    <a:pt x="79173" y="109343"/>
                  </a:lnTo>
                  <a:lnTo>
                    <a:pt x="79173" y="109635"/>
                  </a:lnTo>
                  <a:lnTo>
                    <a:pt x="79173" y="110072"/>
                  </a:lnTo>
                  <a:lnTo>
                    <a:pt x="79173" y="110072"/>
                  </a:lnTo>
                  <a:lnTo>
                    <a:pt x="78677" y="110072"/>
                  </a:lnTo>
                  <a:lnTo>
                    <a:pt x="78677" y="110072"/>
                  </a:lnTo>
                  <a:lnTo>
                    <a:pt x="79173" y="110802"/>
                  </a:lnTo>
                  <a:lnTo>
                    <a:pt x="78677" y="111094"/>
                  </a:lnTo>
                  <a:lnTo>
                    <a:pt x="78347" y="111386"/>
                  </a:lnTo>
                  <a:lnTo>
                    <a:pt x="78347" y="111824"/>
                  </a:lnTo>
                  <a:lnTo>
                    <a:pt x="78347" y="111824"/>
                  </a:lnTo>
                  <a:lnTo>
                    <a:pt x="78347" y="112116"/>
                  </a:lnTo>
                  <a:lnTo>
                    <a:pt x="78016" y="111824"/>
                  </a:lnTo>
                  <a:lnTo>
                    <a:pt x="78016" y="112116"/>
                  </a:lnTo>
                  <a:lnTo>
                    <a:pt x="78016" y="112408"/>
                  </a:lnTo>
                  <a:lnTo>
                    <a:pt x="78016" y="112846"/>
                  </a:lnTo>
                  <a:lnTo>
                    <a:pt x="77520" y="113138"/>
                  </a:lnTo>
                  <a:lnTo>
                    <a:pt x="77190" y="113430"/>
                  </a:lnTo>
                  <a:lnTo>
                    <a:pt x="76859" y="114160"/>
                  </a:lnTo>
                  <a:lnTo>
                    <a:pt x="76363" y="114160"/>
                  </a:lnTo>
                  <a:lnTo>
                    <a:pt x="76363" y="114160"/>
                  </a:lnTo>
                  <a:lnTo>
                    <a:pt x="76033" y="114160"/>
                  </a:lnTo>
                  <a:lnTo>
                    <a:pt x="76033" y="114160"/>
                  </a:lnTo>
                  <a:lnTo>
                    <a:pt x="75537" y="114160"/>
                  </a:lnTo>
                  <a:lnTo>
                    <a:pt x="75537" y="114598"/>
                  </a:lnTo>
                  <a:lnTo>
                    <a:pt x="75537" y="114598"/>
                  </a:lnTo>
                  <a:lnTo>
                    <a:pt x="75537" y="114890"/>
                  </a:lnTo>
                  <a:lnTo>
                    <a:pt x="76033" y="115182"/>
                  </a:lnTo>
                  <a:lnTo>
                    <a:pt x="76033" y="114890"/>
                  </a:lnTo>
                  <a:lnTo>
                    <a:pt x="76363" y="114598"/>
                  </a:lnTo>
                  <a:lnTo>
                    <a:pt x="77190" y="113868"/>
                  </a:lnTo>
                  <a:lnTo>
                    <a:pt x="78016" y="113138"/>
                  </a:lnTo>
                  <a:lnTo>
                    <a:pt x="78677" y="112408"/>
                  </a:lnTo>
                  <a:lnTo>
                    <a:pt x="79173" y="111824"/>
                  </a:lnTo>
                  <a:lnTo>
                    <a:pt x="79173" y="111386"/>
                  </a:lnTo>
                  <a:lnTo>
                    <a:pt x="79834" y="110072"/>
                  </a:lnTo>
                  <a:lnTo>
                    <a:pt x="80330" y="108029"/>
                  </a:lnTo>
                  <a:lnTo>
                    <a:pt x="80991" y="106569"/>
                  </a:lnTo>
                  <a:lnTo>
                    <a:pt x="81487" y="105839"/>
                  </a:lnTo>
                  <a:lnTo>
                    <a:pt x="82314" y="105255"/>
                  </a:lnTo>
                  <a:lnTo>
                    <a:pt x="82644" y="104525"/>
                  </a:lnTo>
                  <a:lnTo>
                    <a:pt x="83471" y="104233"/>
                  </a:lnTo>
                  <a:lnTo>
                    <a:pt x="83471" y="103795"/>
                  </a:lnTo>
                  <a:lnTo>
                    <a:pt x="83471" y="103503"/>
                  </a:lnTo>
                  <a:lnTo>
                    <a:pt x="83801" y="103211"/>
                  </a:lnTo>
                  <a:lnTo>
                    <a:pt x="83801" y="102773"/>
                  </a:lnTo>
                  <a:lnTo>
                    <a:pt x="83471" y="101751"/>
                  </a:lnTo>
                  <a:lnTo>
                    <a:pt x="83471" y="101021"/>
                  </a:lnTo>
                  <a:lnTo>
                    <a:pt x="83471" y="100437"/>
                  </a:lnTo>
                  <a:lnTo>
                    <a:pt x="83471" y="100000"/>
                  </a:lnTo>
                  <a:lnTo>
                    <a:pt x="83471" y="100000"/>
                  </a:lnTo>
                  <a:lnTo>
                    <a:pt x="83471" y="99708"/>
                  </a:lnTo>
                  <a:lnTo>
                    <a:pt x="83471" y="99708"/>
                  </a:lnTo>
                  <a:lnTo>
                    <a:pt x="82975" y="98978"/>
                  </a:lnTo>
                  <a:lnTo>
                    <a:pt x="82644" y="98248"/>
                  </a:lnTo>
                  <a:lnTo>
                    <a:pt x="82644" y="98248"/>
                  </a:lnTo>
                  <a:lnTo>
                    <a:pt x="82644" y="97956"/>
                  </a:lnTo>
                  <a:lnTo>
                    <a:pt x="82644" y="97664"/>
                  </a:lnTo>
                  <a:lnTo>
                    <a:pt x="82644" y="97226"/>
                  </a:lnTo>
                  <a:lnTo>
                    <a:pt x="82314" y="97226"/>
                  </a:lnTo>
                  <a:lnTo>
                    <a:pt x="82644" y="96934"/>
                  </a:lnTo>
                  <a:lnTo>
                    <a:pt x="82644" y="96934"/>
                  </a:lnTo>
                  <a:lnTo>
                    <a:pt x="82644" y="96934"/>
                  </a:lnTo>
                  <a:lnTo>
                    <a:pt x="82644" y="96204"/>
                  </a:lnTo>
                  <a:lnTo>
                    <a:pt x="82644" y="95912"/>
                  </a:lnTo>
                  <a:lnTo>
                    <a:pt x="82644" y="95912"/>
                  </a:lnTo>
                  <a:lnTo>
                    <a:pt x="82644" y="95912"/>
                  </a:lnTo>
                  <a:lnTo>
                    <a:pt x="82975" y="95912"/>
                  </a:lnTo>
                  <a:lnTo>
                    <a:pt x="82975" y="95182"/>
                  </a:lnTo>
                  <a:lnTo>
                    <a:pt x="82975" y="94890"/>
                  </a:lnTo>
                  <a:lnTo>
                    <a:pt x="82644" y="94890"/>
                  </a:lnTo>
                  <a:lnTo>
                    <a:pt x="82314" y="94890"/>
                  </a:lnTo>
                  <a:lnTo>
                    <a:pt x="82314" y="94452"/>
                  </a:lnTo>
                  <a:lnTo>
                    <a:pt x="82314" y="94452"/>
                  </a:lnTo>
                  <a:lnTo>
                    <a:pt x="82644" y="94452"/>
                  </a:lnTo>
                  <a:lnTo>
                    <a:pt x="82975" y="94452"/>
                  </a:lnTo>
                  <a:lnTo>
                    <a:pt x="82975" y="94452"/>
                  </a:lnTo>
                  <a:lnTo>
                    <a:pt x="82975" y="94160"/>
                  </a:lnTo>
                  <a:lnTo>
                    <a:pt x="82975" y="94160"/>
                  </a:lnTo>
                  <a:lnTo>
                    <a:pt x="83471" y="94160"/>
                  </a:lnTo>
                  <a:lnTo>
                    <a:pt x="83801" y="94160"/>
                  </a:lnTo>
                  <a:lnTo>
                    <a:pt x="83471" y="94452"/>
                  </a:lnTo>
                  <a:lnTo>
                    <a:pt x="83801" y="94452"/>
                  </a:lnTo>
                  <a:lnTo>
                    <a:pt x="84132" y="93868"/>
                  </a:lnTo>
                  <a:lnTo>
                    <a:pt x="84628" y="93868"/>
                  </a:lnTo>
                  <a:lnTo>
                    <a:pt x="84628" y="93430"/>
                  </a:lnTo>
                  <a:lnTo>
                    <a:pt x="84132" y="93430"/>
                  </a:lnTo>
                  <a:lnTo>
                    <a:pt x="84132" y="93430"/>
                  </a:lnTo>
                  <a:lnTo>
                    <a:pt x="84132" y="93138"/>
                  </a:lnTo>
                  <a:lnTo>
                    <a:pt x="84628" y="93138"/>
                  </a:lnTo>
                  <a:lnTo>
                    <a:pt x="84628" y="93138"/>
                  </a:lnTo>
                  <a:lnTo>
                    <a:pt x="85289" y="92408"/>
                  </a:lnTo>
                  <a:lnTo>
                    <a:pt x="86446" y="91678"/>
                  </a:lnTo>
                  <a:lnTo>
                    <a:pt x="87272" y="90656"/>
                  </a:lnTo>
                  <a:lnTo>
                    <a:pt x="88099" y="90364"/>
                  </a:lnTo>
                  <a:lnTo>
                    <a:pt x="89586" y="89343"/>
                  </a:lnTo>
                  <a:lnTo>
                    <a:pt x="90082" y="89343"/>
                  </a:lnTo>
                  <a:lnTo>
                    <a:pt x="90743" y="89343"/>
                  </a:lnTo>
                  <a:lnTo>
                    <a:pt x="91239" y="89635"/>
                  </a:lnTo>
                  <a:lnTo>
                    <a:pt x="91239" y="89635"/>
                  </a:lnTo>
                  <a:lnTo>
                    <a:pt x="91239" y="89343"/>
                  </a:lnTo>
                  <a:lnTo>
                    <a:pt x="91239" y="89051"/>
                  </a:lnTo>
                  <a:lnTo>
                    <a:pt x="91570" y="89051"/>
                  </a:lnTo>
                  <a:lnTo>
                    <a:pt x="91900" y="89051"/>
                  </a:lnTo>
                  <a:lnTo>
                    <a:pt x="92727" y="88321"/>
                  </a:lnTo>
                  <a:lnTo>
                    <a:pt x="93553" y="87883"/>
                  </a:lnTo>
                  <a:lnTo>
                    <a:pt x="93553" y="87883"/>
                  </a:lnTo>
                  <a:lnTo>
                    <a:pt x="93884" y="87883"/>
                  </a:lnTo>
                  <a:lnTo>
                    <a:pt x="93553" y="87591"/>
                  </a:lnTo>
                  <a:lnTo>
                    <a:pt x="93553" y="87591"/>
                  </a:lnTo>
                  <a:lnTo>
                    <a:pt x="93553" y="87299"/>
                  </a:lnTo>
                  <a:lnTo>
                    <a:pt x="93553" y="87299"/>
                  </a:lnTo>
                  <a:lnTo>
                    <a:pt x="94380" y="86861"/>
                  </a:lnTo>
                  <a:lnTo>
                    <a:pt x="95041" y="86861"/>
                  </a:lnTo>
                  <a:lnTo>
                    <a:pt x="95041" y="86861"/>
                  </a:lnTo>
                  <a:lnTo>
                    <a:pt x="95867" y="86861"/>
                  </a:lnTo>
                  <a:lnTo>
                    <a:pt x="96198" y="86861"/>
                  </a:lnTo>
                  <a:lnTo>
                    <a:pt x="96198" y="86861"/>
                  </a:lnTo>
                  <a:lnTo>
                    <a:pt x="95867" y="87299"/>
                  </a:lnTo>
                  <a:lnTo>
                    <a:pt x="95867" y="87299"/>
                  </a:lnTo>
                  <a:lnTo>
                    <a:pt x="95537" y="87299"/>
                  </a:lnTo>
                  <a:lnTo>
                    <a:pt x="95867" y="87299"/>
                  </a:lnTo>
                  <a:lnTo>
                    <a:pt x="96198" y="87299"/>
                  </a:lnTo>
                  <a:lnTo>
                    <a:pt x="96694" y="87299"/>
                  </a:lnTo>
                  <a:lnTo>
                    <a:pt x="97355" y="86861"/>
                  </a:lnTo>
                  <a:lnTo>
                    <a:pt x="97851" y="86861"/>
                  </a:lnTo>
                  <a:lnTo>
                    <a:pt x="97851" y="86861"/>
                  </a:lnTo>
                  <a:lnTo>
                    <a:pt x="97851" y="86569"/>
                  </a:lnTo>
                  <a:lnTo>
                    <a:pt x="97851" y="86569"/>
                  </a:lnTo>
                  <a:lnTo>
                    <a:pt x="97355" y="86569"/>
                  </a:lnTo>
                  <a:lnTo>
                    <a:pt x="97851" y="86277"/>
                  </a:lnTo>
                  <a:lnTo>
                    <a:pt x="97851" y="86277"/>
                  </a:lnTo>
                  <a:lnTo>
                    <a:pt x="98181" y="86277"/>
                  </a:lnTo>
                  <a:lnTo>
                    <a:pt x="98181" y="86277"/>
                  </a:lnTo>
                  <a:lnTo>
                    <a:pt x="98181" y="86569"/>
                  </a:lnTo>
                  <a:lnTo>
                    <a:pt x="98181" y="86861"/>
                  </a:lnTo>
                  <a:lnTo>
                    <a:pt x="98181" y="86861"/>
                  </a:lnTo>
                  <a:lnTo>
                    <a:pt x="98677" y="86861"/>
                  </a:lnTo>
                  <a:lnTo>
                    <a:pt x="99008" y="86861"/>
                  </a:lnTo>
                  <a:lnTo>
                    <a:pt x="99834" y="86861"/>
                  </a:lnTo>
                  <a:lnTo>
                    <a:pt x="100991" y="86861"/>
                  </a:lnTo>
                  <a:lnTo>
                    <a:pt x="101322" y="86861"/>
                  </a:lnTo>
                  <a:lnTo>
                    <a:pt x="101322" y="86569"/>
                  </a:lnTo>
                  <a:lnTo>
                    <a:pt x="101652" y="86277"/>
                  </a:lnTo>
                  <a:lnTo>
                    <a:pt x="101322" y="86277"/>
                  </a:lnTo>
                  <a:lnTo>
                    <a:pt x="101322" y="85839"/>
                  </a:lnTo>
                  <a:lnTo>
                    <a:pt x="101322" y="85839"/>
                  </a:lnTo>
                  <a:lnTo>
                    <a:pt x="102148" y="84817"/>
                  </a:lnTo>
                  <a:lnTo>
                    <a:pt x="102479" y="84817"/>
                  </a:lnTo>
                  <a:lnTo>
                    <a:pt x="103636" y="84087"/>
                  </a:lnTo>
                  <a:lnTo>
                    <a:pt x="104132" y="83795"/>
                  </a:lnTo>
                  <a:lnTo>
                    <a:pt x="104132" y="83795"/>
                  </a:lnTo>
                  <a:lnTo>
                    <a:pt x="104132" y="82773"/>
                  </a:lnTo>
                  <a:lnTo>
                    <a:pt x="104132" y="82773"/>
                  </a:lnTo>
                  <a:lnTo>
                    <a:pt x="103636" y="82481"/>
                  </a:lnTo>
                  <a:lnTo>
                    <a:pt x="104132" y="81751"/>
                  </a:lnTo>
                  <a:lnTo>
                    <a:pt x="104462" y="81021"/>
                  </a:lnTo>
                  <a:lnTo>
                    <a:pt x="104462" y="80729"/>
                  </a:lnTo>
                  <a:lnTo>
                    <a:pt x="104462" y="80291"/>
                  </a:lnTo>
                  <a:lnTo>
                    <a:pt x="104793" y="80291"/>
                  </a:lnTo>
                  <a:lnTo>
                    <a:pt x="105619" y="79708"/>
                  </a:lnTo>
                  <a:lnTo>
                    <a:pt x="105619" y="78978"/>
                  </a:lnTo>
                  <a:lnTo>
                    <a:pt x="105619" y="78686"/>
                  </a:lnTo>
                  <a:lnTo>
                    <a:pt x="105950" y="78248"/>
                  </a:lnTo>
                  <a:lnTo>
                    <a:pt x="105950" y="77664"/>
                  </a:lnTo>
                  <a:lnTo>
                    <a:pt x="106446" y="76934"/>
                  </a:lnTo>
                  <a:lnTo>
                    <a:pt x="107107" y="76496"/>
                  </a:lnTo>
                  <a:lnTo>
                    <a:pt x="107107" y="76496"/>
                  </a:lnTo>
                  <a:lnTo>
                    <a:pt x="107107" y="76204"/>
                  </a:lnTo>
                  <a:lnTo>
                    <a:pt x="107107" y="75474"/>
                  </a:lnTo>
                  <a:lnTo>
                    <a:pt x="107107" y="74160"/>
                  </a:lnTo>
                  <a:lnTo>
                    <a:pt x="107107" y="73430"/>
                  </a:lnTo>
                  <a:lnTo>
                    <a:pt x="107107" y="72408"/>
                  </a:lnTo>
                  <a:lnTo>
                    <a:pt x="107603" y="71678"/>
                  </a:lnTo>
                  <a:lnTo>
                    <a:pt x="107933" y="71386"/>
                  </a:lnTo>
                  <a:lnTo>
                    <a:pt x="108264" y="71094"/>
                  </a:lnTo>
                  <a:lnTo>
                    <a:pt x="108760" y="70656"/>
                  </a:lnTo>
                  <a:lnTo>
                    <a:pt x="108264" y="70656"/>
                  </a:lnTo>
                  <a:lnTo>
                    <a:pt x="108264" y="69635"/>
                  </a:lnTo>
                  <a:lnTo>
                    <a:pt x="108264" y="68905"/>
                  </a:lnTo>
                  <a:lnTo>
                    <a:pt x="108264" y="68613"/>
                  </a:lnTo>
                  <a:lnTo>
                    <a:pt x="108264" y="67883"/>
                  </a:lnTo>
                  <a:lnTo>
                    <a:pt x="108760" y="66861"/>
                  </a:lnTo>
                  <a:lnTo>
                    <a:pt x="108760" y="66277"/>
                  </a:lnTo>
                  <a:lnTo>
                    <a:pt x="109090" y="65109"/>
                  </a:lnTo>
                  <a:lnTo>
                    <a:pt x="109090" y="64817"/>
                  </a:lnTo>
                  <a:lnTo>
                    <a:pt x="108760" y="64087"/>
                  </a:lnTo>
                  <a:lnTo>
                    <a:pt x="108264" y="63065"/>
                  </a:lnTo>
                  <a:lnTo>
                    <a:pt x="108264" y="62043"/>
                  </a:lnTo>
                  <a:lnTo>
                    <a:pt x="108264" y="61313"/>
                  </a:lnTo>
                  <a:lnTo>
                    <a:pt x="108264" y="59270"/>
                  </a:lnTo>
                  <a:lnTo>
                    <a:pt x="108264" y="59270"/>
                  </a:lnTo>
                  <a:lnTo>
                    <a:pt x="108264" y="59708"/>
                  </a:lnTo>
                  <a:lnTo>
                    <a:pt x="107933" y="59270"/>
                  </a:lnTo>
                  <a:lnTo>
                    <a:pt x="107933" y="59270"/>
                  </a:lnTo>
                  <a:lnTo>
                    <a:pt x="107933" y="58686"/>
                  </a:lnTo>
                  <a:lnTo>
                    <a:pt x="108264" y="58248"/>
                  </a:lnTo>
                  <a:lnTo>
                    <a:pt x="108264" y="58248"/>
                  </a:lnTo>
                  <a:lnTo>
                    <a:pt x="107933" y="57956"/>
                  </a:lnTo>
                  <a:lnTo>
                    <a:pt x="107933" y="57956"/>
                  </a:lnTo>
                  <a:lnTo>
                    <a:pt x="107933" y="57956"/>
                  </a:lnTo>
                  <a:lnTo>
                    <a:pt x="107933" y="57518"/>
                  </a:lnTo>
                  <a:lnTo>
                    <a:pt x="107933" y="57226"/>
                  </a:lnTo>
                  <a:lnTo>
                    <a:pt x="108264" y="57226"/>
                  </a:lnTo>
                  <a:lnTo>
                    <a:pt x="108760" y="56496"/>
                  </a:lnTo>
                  <a:lnTo>
                    <a:pt x="108760" y="56204"/>
                  </a:lnTo>
                  <a:lnTo>
                    <a:pt x="108760" y="55912"/>
                  </a:lnTo>
                  <a:lnTo>
                    <a:pt x="108760" y="55912"/>
                  </a:lnTo>
                  <a:lnTo>
                    <a:pt x="108264" y="55474"/>
                  </a:lnTo>
                  <a:lnTo>
                    <a:pt x="108760" y="55474"/>
                  </a:lnTo>
                  <a:lnTo>
                    <a:pt x="108760" y="55474"/>
                  </a:lnTo>
                  <a:lnTo>
                    <a:pt x="108760" y="55182"/>
                  </a:lnTo>
                  <a:lnTo>
                    <a:pt x="109090" y="55182"/>
                  </a:lnTo>
                  <a:lnTo>
                    <a:pt x="109586" y="55474"/>
                  </a:lnTo>
                  <a:lnTo>
                    <a:pt x="109586" y="56204"/>
                  </a:lnTo>
                  <a:lnTo>
                    <a:pt x="109917" y="56204"/>
                  </a:lnTo>
                  <a:lnTo>
                    <a:pt x="109917" y="56204"/>
                  </a:lnTo>
                  <a:lnTo>
                    <a:pt x="110247" y="55912"/>
                  </a:lnTo>
                  <a:lnTo>
                    <a:pt x="111074" y="54744"/>
                  </a:lnTo>
                  <a:lnTo>
                    <a:pt x="111074" y="54452"/>
                  </a:lnTo>
                  <a:lnTo>
                    <a:pt x="111900" y="53430"/>
                  </a:lnTo>
                  <a:lnTo>
                    <a:pt x="112561" y="52116"/>
                  </a:lnTo>
                  <a:lnTo>
                    <a:pt x="112561" y="51678"/>
                  </a:lnTo>
                  <a:lnTo>
                    <a:pt x="112561" y="51386"/>
                  </a:lnTo>
                  <a:lnTo>
                    <a:pt x="112561" y="50656"/>
                  </a:lnTo>
                  <a:lnTo>
                    <a:pt x="113057" y="50656"/>
                  </a:lnTo>
                  <a:lnTo>
                    <a:pt x="113057" y="50948"/>
                  </a:lnTo>
                  <a:lnTo>
                    <a:pt x="113057" y="50948"/>
                  </a:lnTo>
                  <a:lnTo>
                    <a:pt x="112561" y="50948"/>
                  </a:lnTo>
                  <a:lnTo>
                    <a:pt x="112561" y="51386"/>
                  </a:lnTo>
                  <a:lnTo>
                    <a:pt x="113057" y="51386"/>
                  </a:lnTo>
                  <a:lnTo>
                    <a:pt x="113388" y="50656"/>
                  </a:lnTo>
                  <a:lnTo>
                    <a:pt x="113388" y="50364"/>
                  </a:lnTo>
                  <a:lnTo>
                    <a:pt x="113388" y="50364"/>
                  </a:lnTo>
                  <a:lnTo>
                    <a:pt x="113388" y="50364"/>
                  </a:lnTo>
                  <a:lnTo>
                    <a:pt x="114214" y="49635"/>
                  </a:lnTo>
                  <a:lnTo>
                    <a:pt x="114545" y="48905"/>
                  </a:lnTo>
                  <a:lnTo>
                    <a:pt x="115041" y="48905"/>
                  </a:lnTo>
                  <a:lnTo>
                    <a:pt x="115702" y="48613"/>
                  </a:lnTo>
                  <a:lnTo>
                    <a:pt x="115702" y="48613"/>
                  </a:lnTo>
                  <a:lnTo>
                    <a:pt x="116198" y="47591"/>
                  </a:lnTo>
                  <a:lnTo>
                    <a:pt x="116528" y="47153"/>
                  </a:lnTo>
                  <a:lnTo>
                    <a:pt x="116859" y="46569"/>
                  </a:lnTo>
                  <a:lnTo>
                    <a:pt x="117355" y="46131"/>
                  </a:lnTo>
                  <a:lnTo>
                    <a:pt x="116859" y="46131"/>
                  </a:lnTo>
                  <a:lnTo>
                    <a:pt x="117355" y="46131"/>
                  </a:lnTo>
                  <a:lnTo>
                    <a:pt x="117355" y="46131"/>
                  </a:lnTo>
                  <a:lnTo>
                    <a:pt x="118016" y="45547"/>
                  </a:lnTo>
                  <a:lnTo>
                    <a:pt x="118842" y="44525"/>
                  </a:lnTo>
                  <a:lnTo>
                    <a:pt x="119173" y="43795"/>
                  </a:lnTo>
                  <a:lnTo>
                    <a:pt x="119669" y="42043"/>
                  </a:lnTo>
                  <a:lnTo>
                    <a:pt x="120000" y="41021"/>
                  </a:lnTo>
                  <a:lnTo>
                    <a:pt x="120000" y="40729"/>
                  </a:lnTo>
                  <a:lnTo>
                    <a:pt x="120000" y="40291"/>
                  </a:lnTo>
                  <a:lnTo>
                    <a:pt x="120000" y="40000"/>
                  </a:lnTo>
                  <a:lnTo>
                    <a:pt x="120000" y="40000"/>
                  </a:lnTo>
                  <a:lnTo>
                    <a:pt x="120000" y="39562"/>
                  </a:lnTo>
                  <a:lnTo>
                    <a:pt x="120000" y="39562"/>
                  </a:lnTo>
                  <a:lnTo>
                    <a:pt x="120000" y="39270"/>
                  </a:lnTo>
                  <a:lnTo>
                    <a:pt x="120000" y="38978"/>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24" name="Shape 524"/>
            <p:cNvSpPr/>
            <p:nvPr/>
          </p:nvSpPr>
          <p:spPr>
            <a:xfrm>
              <a:off x="4021" y="3184"/>
              <a:ext cx="300" cy="300"/>
            </a:xfrm>
            <a:custGeom>
              <a:avLst/>
              <a:gdLst/>
              <a:ahLst/>
              <a:cxnLst/>
              <a:rect l="0" t="0" r="0" b="0"/>
              <a:pathLst>
                <a:path w="120000" h="120000" extrusionOk="0">
                  <a:moveTo>
                    <a:pt x="120000" y="57801"/>
                  </a:moveTo>
                  <a:lnTo>
                    <a:pt x="120000" y="55916"/>
                  </a:lnTo>
                  <a:lnTo>
                    <a:pt x="118579" y="55916"/>
                  </a:lnTo>
                  <a:lnTo>
                    <a:pt x="117159" y="55916"/>
                  </a:lnTo>
                  <a:lnTo>
                    <a:pt x="117159" y="55916"/>
                  </a:lnTo>
                  <a:lnTo>
                    <a:pt x="117159" y="54659"/>
                  </a:lnTo>
                  <a:lnTo>
                    <a:pt x="117159" y="54659"/>
                  </a:lnTo>
                  <a:lnTo>
                    <a:pt x="117159" y="53403"/>
                  </a:lnTo>
                  <a:lnTo>
                    <a:pt x="117159" y="53403"/>
                  </a:lnTo>
                  <a:lnTo>
                    <a:pt x="117159" y="51518"/>
                  </a:lnTo>
                  <a:lnTo>
                    <a:pt x="115029" y="51518"/>
                  </a:lnTo>
                  <a:lnTo>
                    <a:pt x="113609" y="51518"/>
                  </a:lnTo>
                  <a:lnTo>
                    <a:pt x="110059" y="50261"/>
                  </a:lnTo>
                  <a:lnTo>
                    <a:pt x="105088" y="50261"/>
                  </a:lnTo>
                  <a:lnTo>
                    <a:pt x="103668" y="50261"/>
                  </a:lnTo>
                  <a:lnTo>
                    <a:pt x="103668" y="49005"/>
                  </a:lnTo>
                  <a:lnTo>
                    <a:pt x="103668" y="49005"/>
                  </a:lnTo>
                  <a:lnTo>
                    <a:pt x="101538" y="47120"/>
                  </a:lnTo>
                  <a:lnTo>
                    <a:pt x="101538" y="45863"/>
                  </a:lnTo>
                  <a:lnTo>
                    <a:pt x="100118" y="44607"/>
                  </a:lnTo>
                  <a:lnTo>
                    <a:pt x="100118" y="42722"/>
                  </a:lnTo>
                  <a:lnTo>
                    <a:pt x="100118" y="41465"/>
                  </a:lnTo>
                  <a:lnTo>
                    <a:pt x="100118" y="39581"/>
                  </a:lnTo>
                  <a:lnTo>
                    <a:pt x="100118" y="38324"/>
                  </a:lnTo>
                  <a:lnTo>
                    <a:pt x="100118" y="38324"/>
                  </a:lnTo>
                  <a:lnTo>
                    <a:pt x="100118" y="37068"/>
                  </a:lnTo>
                  <a:lnTo>
                    <a:pt x="100118" y="35183"/>
                  </a:lnTo>
                  <a:lnTo>
                    <a:pt x="100118" y="35183"/>
                  </a:lnTo>
                  <a:lnTo>
                    <a:pt x="98698" y="35183"/>
                  </a:lnTo>
                  <a:lnTo>
                    <a:pt x="96568" y="35183"/>
                  </a:lnTo>
                  <a:lnTo>
                    <a:pt x="95147" y="35183"/>
                  </a:lnTo>
                  <a:lnTo>
                    <a:pt x="95147" y="33926"/>
                  </a:lnTo>
                  <a:lnTo>
                    <a:pt x="95147" y="32670"/>
                  </a:lnTo>
                  <a:lnTo>
                    <a:pt x="93727" y="30785"/>
                  </a:lnTo>
                  <a:lnTo>
                    <a:pt x="93727" y="29528"/>
                  </a:lnTo>
                  <a:lnTo>
                    <a:pt x="91597" y="29528"/>
                  </a:lnTo>
                  <a:lnTo>
                    <a:pt x="90177" y="29528"/>
                  </a:lnTo>
                  <a:lnTo>
                    <a:pt x="86627" y="28272"/>
                  </a:lnTo>
                  <a:lnTo>
                    <a:pt x="85207" y="25130"/>
                  </a:lnTo>
                  <a:lnTo>
                    <a:pt x="81656" y="23246"/>
                  </a:lnTo>
                  <a:lnTo>
                    <a:pt x="80236" y="21989"/>
                  </a:lnTo>
                  <a:lnTo>
                    <a:pt x="80236" y="20732"/>
                  </a:lnTo>
                  <a:lnTo>
                    <a:pt x="78106" y="16335"/>
                  </a:lnTo>
                  <a:lnTo>
                    <a:pt x="78106" y="16335"/>
                  </a:lnTo>
                  <a:lnTo>
                    <a:pt x="78106" y="14450"/>
                  </a:lnTo>
                  <a:lnTo>
                    <a:pt x="76686" y="13193"/>
                  </a:lnTo>
                  <a:lnTo>
                    <a:pt x="76686" y="11937"/>
                  </a:lnTo>
                  <a:lnTo>
                    <a:pt x="75266" y="11937"/>
                  </a:lnTo>
                  <a:lnTo>
                    <a:pt x="73136" y="8795"/>
                  </a:lnTo>
                  <a:lnTo>
                    <a:pt x="71715" y="6910"/>
                  </a:lnTo>
                  <a:lnTo>
                    <a:pt x="71715" y="5654"/>
                  </a:lnTo>
                  <a:lnTo>
                    <a:pt x="71715" y="4397"/>
                  </a:lnTo>
                  <a:lnTo>
                    <a:pt x="70295" y="4397"/>
                  </a:lnTo>
                  <a:lnTo>
                    <a:pt x="70295" y="2513"/>
                  </a:lnTo>
                  <a:lnTo>
                    <a:pt x="68165" y="1256"/>
                  </a:lnTo>
                  <a:lnTo>
                    <a:pt x="68165" y="1256"/>
                  </a:lnTo>
                  <a:lnTo>
                    <a:pt x="68165" y="0"/>
                  </a:lnTo>
                  <a:lnTo>
                    <a:pt x="70295" y="0"/>
                  </a:lnTo>
                  <a:lnTo>
                    <a:pt x="68165" y="0"/>
                  </a:lnTo>
                  <a:lnTo>
                    <a:pt x="65325" y="0"/>
                  </a:lnTo>
                  <a:lnTo>
                    <a:pt x="63195" y="1256"/>
                  </a:lnTo>
                  <a:lnTo>
                    <a:pt x="59644" y="2513"/>
                  </a:lnTo>
                  <a:lnTo>
                    <a:pt x="58224" y="2513"/>
                  </a:lnTo>
                  <a:lnTo>
                    <a:pt x="58224" y="2513"/>
                  </a:lnTo>
                  <a:lnTo>
                    <a:pt x="58224" y="2513"/>
                  </a:lnTo>
                  <a:lnTo>
                    <a:pt x="56804" y="2513"/>
                  </a:lnTo>
                  <a:lnTo>
                    <a:pt x="54674" y="2513"/>
                  </a:lnTo>
                  <a:lnTo>
                    <a:pt x="53254" y="4397"/>
                  </a:lnTo>
                  <a:lnTo>
                    <a:pt x="51834" y="5654"/>
                  </a:lnTo>
                  <a:lnTo>
                    <a:pt x="51834" y="5654"/>
                  </a:lnTo>
                  <a:lnTo>
                    <a:pt x="48284" y="8795"/>
                  </a:lnTo>
                  <a:lnTo>
                    <a:pt x="48284" y="8795"/>
                  </a:lnTo>
                  <a:lnTo>
                    <a:pt x="48284" y="8795"/>
                  </a:lnTo>
                  <a:lnTo>
                    <a:pt x="46863" y="8795"/>
                  </a:lnTo>
                  <a:lnTo>
                    <a:pt x="46863" y="6910"/>
                  </a:lnTo>
                  <a:lnTo>
                    <a:pt x="46863" y="5654"/>
                  </a:lnTo>
                  <a:lnTo>
                    <a:pt x="43313" y="2513"/>
                  </a:lnTo>
                  <a:lnTo>
                    <a:pt x="43313" y="2513"/>
                  </a:lnTo>
                  <a:lnTo>
                    <a:pt x="43313" y="2513"/>
                  </a:lnTo>
                  <a:lnTo>
                    <a:pt x="41893" y="2513"/>
                  </a:lnTo>
                  <a:lnTo>
                    <a:pt x="36213" y="2513"/>
                  </a:lnTo>
                  <a:lnTo>
                    <a:pt x="33372" y="4397"/>
                  </a:lnTo>
                  <a:lnTo>
                    <a:pt x="26272" y="5654"/>
                  </a:lnTo>
                  <a:lnTo>
                    <a:pt x="21301" y="5654"/>
                  </a:lnTo>
                  <a:lnTo>
                    <a:pt x="16331" y="5654"/>
                  </a:lnTo>
                  <a:lnTo>
                    <a:pt x="12781" y="6910"/>
                  </a:lnTo>
                  <a:lnTo>
                    <a:pt x="12781" y="8795"/>
                  </a:lnTo>
                  <a:lnTo>
                    <a:pt x="12781" y="14450"/>
                  </a:lnTo>
                  <a:lnTo>
                    <a:pt x="12781" y="20732"/>
                  </a:lnTo>
                  <a:lnTo>
                    <a:pt x="12781" y="25130"/>
                  </a:lnTo>
                  <a:lnTo>
                    <a:pt x="12781" y="30785"/>
                  </a:lnTo>
                  <a:lnTo>
                    <a:pt x="12781" y="37068"/>
                  </a:lnTo>
                  <a:lnTo>
                    <a:pt x="12781" y="41465"/>
                  </a:lnTo>
                  <a:lnTo>
                    <a:pt x="12781" y="47120"/>
                  </a:lnTo>
                  <a:lnTo>
                    <a:pt x="12781" y="53403"/>
                  </a:lnTo>
                  <a:lnTo>
                    <a:pt x="12781" y="54659"/>
                  </a:lnTo>
                  <a:lnTo>
                    <a:pt x="12781" y="54659"/>
                  </a:lnTo>
                  <a:lnTo>
                    <a:pt x="0" y="54659"/>
                  </a:lnTo>
                  <a:lnTo>
                    <a:pt x="0" y="59057"/>
                  </a:lnTo>
                  <a:lnTo>
                    <a:pt x="0" y="62198"/>
                  </a:lnTo>
                  <a:lnTo>
                    <a:pt x="0" y="66596"/>
                  </a:lnTo>
                  <a:lnTo>
                    <a:pt x="0" y="69738"/>
                  </a:lnTo>
                  <a:lnTo>
                    <a:pt x="0" y="74136"/>
                  </a:lnTo>
                  <a:lnTo>
                    <a:pt x="0" y="77277"/>
                  </a:lnTo>
                  <a:lnTo>
                    <a:pt x="0" y="81675"/>
                  </a:lnTo>
                  <a:lnTo>
                    <a:pt x="0" y="86073"/>
                  </a:lnTo>
                  <a:lnTo>
                    <a:pt x="0" y="88586"/>
                  </a:lnTo>
                  <a:lnTo>
                    <a:pt x="0" y="91727"/>
                  </a:lnTo>
                  <a:lnTo>
                    <a:pt x="0" y="91727"/>
                  </a:lnTo>
                  <a:lnTo>
                    <a:pt x="0" y="93612"/>
                  </a:lnTo>
                  <a:lnTo>
                    <a:pt x="2840" y="96125"/>
                  </a:lnTo>
                  <a:lnTo>
                    <a:pt x="4970" y="98010"/>
                  </a:lnTo>
                  <a:lnTo>
                    <a:pt x="4970" y="98010"/>
                  </a:lnTo>
                  <a:lnTo>
                    <a:pt x="6390" y="102408"/>
                  </a:lnTo>
                  <a:lnTo>
                    <a:pt x="7810" y="105549"/>
                  </a:lnTo>
                  <a:lnTo>
                    <a:pt x="9940" y="106806"/>
                  </a:lnTo>
                  <a:lnTo>
                    <a:pt x="9940" y="108062"/>
                  </a:lnTo>
                  <a:lnTo>
                    <a:pt x="9940" y="109947"/>
                  </a:lnTo>
                  <a:lnTo>
                    <a:pt x="9940" y="109947"/>
                  </a:lnTo>
                  <a:lnTo>
                    <a:pt x="9940" y="111204"/>
                  </a:lnTo>
                  <a:lnTo>
                    <a:pt x="7810" y="112460"/>
                  </a:lnTo>
                  <a:lnTo>
                    <a:pt x="7810" y="112460"/>
                  </a:lnTo>
                  <a:lnTo>
                    <a:pt x="6390" y="114345"/>
                  </a:lnTo>
                  <a:lnTo>
                    <a:pt x="6390" y="115602"/>
                  </a:lnTo>
                  <a:lnTo>
                    <a:pt x="6390" y="118743"/>
                  </a:lnTo>
                  <a:lnTo>
                    <a:pt x="7810" y="120000"/>
                  </a:lnTo>
                  <a:lnTo>
                    <a:pt x="7810" y="120000"/>
                  </a:lnTo>
                  <a:lnTo>
                    <a:pt x="9940" y="118743"/>
                  </a:lnTo>
                  <a:lnTo>
                    <a:pt x="11360" y="120000"/>
                  </a:lnTo>
                  <a:lnTo>
                    <a:pt x="12781" y="120000"/>
                  </a:lnTo>
                  <a:lnTo>
                    <a:pt x="18461" y="120000"/>
                  </a:lnTo>
                  <a:lnTo>
                    <a:pt x="18461" y="120000"/>
                  </a:lnTo>
                  <a:lnTo>
                    <a:pt x="19881" y="120000"/>
                  </a:lnTo>
                  <a:lnTo>
                    <a:pt x="19881" y="120000"/>
                  </a:lnTo>
                  <a:lnTo>
                    <a:pt x="21301" y="118743"/>
                  </a:lnTo>
                  <a:lnTo>
                    <a:pt x="21301" y="118743"/>
                  </a:lnTo>
                  <a:lnTo>
                    <a:pt x="23431" y="116858"/>
                  </a:lnTo>
                  <a:lnTo>
                    <a:pt x="23431" y="116858"/>
                  </a:lnTo>
                  <a:lnTo>
                    <a:pt x="24852" y="116858"/>
                  </a:lnTo>
                  <a:lnTo>
                    <a:pt x="26272" y="115602"/>
                  </a:lnTo>
                  <a:lnTo>
                    <a:pt x="28402" y="114345"/>
                  </a:lnTo>
                  <a:lnTo>
                    <a:pt x="31242" y="111204"/>
                  </a:lnTo>
                  <a:lnTo>
                    <a:pt x="31242" y="111204"/>
                  </a:lnTo>
                  <a:lnTo>
                    <a:pt x="33372" y="109947"/>
                  </a:lnTo>
                  <a:lnTo>
                    <a:pt x="33372" y="109947"/>
                  </a:lnTo>
                  <a:lnTo>
                    <a:pt x="34792" y="106806"/>
                  </a:lnTo>
                  <a:lnTo>
                    <a:pt x="34792" y="103664"/>
                  </a:lnTo>
                  <a:lnTo>
                    <a:pt x="34792" y="103664"/>
                  </a:lnTo>
                  <a:lnTo>
                    <a:pt x="36213" y="100523"/>
                  </a:lnTo>
                  <a:lnTo>
                    <a:pt x="36213" y="100523"/>
                  </a:lnTo>
                  <a:lnTo>
                    <a:pt x="38343" y="99267"/>
                  </a:lnTo>
                  <a:lnTo>
                    <a:pt x="38343" y="99267"/>
                  </a:lnTo>
                  <a:lnTo>
                    <a:pt x="39763" y="99267"/>
                  </a:lnTo>
                  <a:lnTo>
                    <a:pt x="41893" y="99267"/>
                  </a:lnTo>
                  <a:lnTo>
                    <a:pt x="43313" y="99267"/>
                  </a:lnTo>
                  <a:lnTo>
                    <a:pt x="44733" y="99267"/>
                  </a:lnTo>
                  <a:lnTo>
                    <a:pt x="46863" y="100523"/>
                  </a:lnTo>
                  <a:lnTo>
                    <a:pt x="48284" y="102408"/>
                  </a:lnTo>
                  <a:lnTo>
                    <a:pt x="49704" y="103664"/>
                  </a:lnTo>
                  <a:lnTo>
                    <a:pt x="49704" y="103664"/>
                  </a:lnTo>
                  <a:lnTo>
                    <a:pt x="51834" y="103664"/>
                  </a:lnTo>
                  <a:lnTo>
                    <a:pt x="53254" y="103664"/>
                  </a:lnTo>
                  <a:lnTo>
                    <a:pt x="54674" y="105549"/>
                  </a:lnTo>
                  <a:lnTo>
                    <a:pt x="54674" y="105549"/>
                  </a:lnTo>
                  <a:lnTo>
                    <a:pt x="58224" y="105549"/>
                  </a:lnTo>
                  <a:lnTo>
                    <a:pt x="59644" y="106806"/>
                  </a:lnTo>
                  <a:lnTo>
                    <a:pt x="61775" y="106806"/>
                  </a:lnTo>
                  <a:lnTo>
                    <a:pt x="63195" y="105549"/>
                  </a:lnTo>
                  <a:lnTo>
                    <a:pt x="65325" y="105549"/>
                  </a:lnTo>
                  <a:lnTo>
                    <a:pt x="66745" y="105549"/>
                  </a:lnTo>
                  <a:lnTo>
                    <a:pt x="68165" y="105549"/>
                  </a:lnTo>
                  <a:lnTo>
                    <a:pt x="68165" y="105549"/>
                  </a:lnTo>
                  <a:lnTo>
                    <a:pt x="70295" y="103664"/>
                  </a:lnTo>
                  <a:lnTo>
                    <a:pt x="71715" y="103664"/>
                  </a:lnTo>
                  <a:lnTo>
                    <a:pt x="71715" y="100523"/>
                  </a:lnTo>
                  <a:lnTo>
                    <a:pt x="71715" y="99267"/>
                  </a:lnTo>
                  <a:lnTo>
                    <a:pt x="73136" y="98010"/>
                  </a:lnTo>
                  <a:lnTo>
                    <a:pt x="75266" y="94869"/>
                  </a:lnTo>
                  <a:lnTo>
                    <a:pt x="75266" y="91727"/>
                  </a:lnTo>
                  <a:lnTo>
                    <a:pt x="75266" y="91727"/>
                  </a:lnTo>
                  <a:lnTo>
                    <a:pt x="76686" y="91727"/>
                  </a:lnTo>
                  <a:lnTo>
                    <a:pt x="78106" y="90471"/>
                  </a:lnTo>
                  <a:lnTo>
                    <a:pt x="81656" y="90471"/>
                  </a:lnTo>
                  <a:lnTo>
                    <a:pt x="81656" y="90471"/>
                  </a:lnTo>
                  <a:lnTo>
                    <a:pt x="83076" y="88586"/>
                  </a:lnTo>
                  <a:lnTo>
                    <a:pt x="85207" y="87329"/>
                  </a:lnTo>
                  <a:lnTo>
                    <a:pt x="86627" y="86073"/>
                  </a:lnTo>
                  <a:lnTo>
                    <a:pt x="86627" y="84188"/>
                  </a:lnTo>
                  <a:lnTo>
                    <a:pt x="90177" y="78534"/>
                  </a:lnTo>
                  <a:lnTo>
                    <a:pt x="90177" y="78534"/>
                  </a:lnTo>
                  <a:lnTo>
                    <a:pt x="91597" y="77277"/>
                  </a:lnTo>
                  <a:lnTo>
                    <a:pt x="91597" y="75392"/>
                  </a:lnTo>
                  <a:lnTo>
                    <a:pt x="91597" y="75392"/>
                  </a:lnTo>
                  <a:lnTo>
                    <a:pt x="93727" y="75392"/>
                  </a:lnTo>
                  <a:lnTo>
                    <a:pt x="93727" y="74136"/>
                  </a:lnTo>
                  <a:lnTo>
                    <a:pt x="95147" y="74136"/>
                  </a:lnTo>
                  <a:lnTo>
                    <a:pt x="96568" y="74136"/>
                  </a:lnTo>
                  <a:lnTo>
                    <a:pt x="96568" y="72251"/>
                  </a:lnTo>
                  <a:lnTo>
                    <a:pt x="98698" y="72251"/>
                  </a:lnTo>
                  <a:lnTo>
                    <a:pt x="98698" y="70994"/>
                  </a:lnTo>
                  <a:lnTo>
                    <a:pt x="100118" y="70994"/>
                  </a:lnTo>
                  <a:lnTo>
                    <a:pt x="100118" y="70994"/>
                  </a:lnTo>
                  <a:lnTo>
                    <a:pt x="100118" y="70994"/>
                  </a:lnTo>
                  <a:lnTo>
                    <a:pt x="100118" y="69738"/>
                  </a:lnTo>
                  <a:lnTo>
                    <a:pt x="101538" y="69738"/>
                  </a:lnTo>
                  <a:lnTo>
                    <a:pt x="101538" y="69738"/>
                  </a:lnTo>
                  <a:lnTo>
                    <a:pt x="101538" y="67853"/>
                  </a:lnTo>
                  <a:lnTo>
                    <a:pt x="103668" y="66596"/>
                  </a:lnTo>
                  <a:lnTo>
                    <a:pt x="105088" y="65340"/>
                  </a:lnTo>
                  <a:lnTo>
                    <a:pt x="108639" y="63455"/>
                  </a:lnTo>
                  <a:lnTo>
                    <a:pt x="110059" y="63455"/>
                  </a:lnTo>
                  <a:lnTo>
                    <a:pt x="111479" y="62198"/>
                  </a:lnTo>
                  <a:lnTo>
                    <a:pt x="113609" y="62198"/>
                  </a:lnTo>
                  <a:lnTo>
                    <a:pt x="115029" y="60942"/>
                  </a:lnTo>
                  <a:lnTo>
                    <a:pt x="117159" y="59057"/>
                  </a:lnTo>
                  <a:lnTo>
                    <a:pt x="118579" y="57801"/>
                  </a:lnTo>
                  <a:lnTo>
                    <a:pt x="120000" y="57801"/>
                  </a:lnTo>
                  <a:lnTo>
                    <a:pt x="120000" y="57801"/>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25" name="Shape 525"/>
            <p:cNvSpPr/>
            <p:nvPr/>
          </p:nvSpPr>
          <p:spPr>
            <a:xfrm>
              <a:off x="3936" y="1855"/>
              <a:ext cx="0" cy="0"/>
            </a:xfrm>
            <a:custGeom>
              <a:avLst/>
              <a:gdLst/>
              <a:ahLst/>
              <a:cxnLst/>
              <a:rect l="0" t="0" r="0" b="0"/>
              <a:pathLst>
                <a:path w="120000" h="120000" extrusionOk="0">
                  <a:moveTo>
                    <a:pt x="110909" y="54736"/>
                  </a:moveTo>
                  <a:lnTo>
                    <a:pt x="110909" y="54736"/>
                  </a:lnTo>
                  <a:lnTo>
                    <a:pt x="114545" y="54736"/>
                  </a:lnTo>
                  <a:lnTo>
                    <a:pt x="120000" y="54736"/>
                  </a:lnTo>
                  <a:lnTo>
                    <a:pt x="120000" y="54736"/>
                  </a:lnTo>
                  <a:lnTo>
                    <a:pt x="120000" y="54736"/>
                  </a:lnTo>
                  <a:lnTo>
                    <a:pt x="114545" y="54736"/>
                  </a:lnTo>
                  <a:lnTo>
                    <a:pt x="114545" y="48421"/>
                  </a:lnTo>
                  <a:lnTo>
                    <a:pt x="110909" y="44210"/>
                  </a:lnTo>
                  <a:lnTo>
                    <a:pt x="107272" y="44210"/>
                  </a:lnTo>
                  <a:lnTo>
                    <a:pt x="107272" y="44210"/>
                  </a:lnTo>
                  <a:lnTo>
                    <a:pt x="101818" y="40000"/>
                  </a:lnTo>
                  <a:lnTo>
                    <a:pt x="101818" y="40000"/>
                  </a:lnTo>
                  <a:lnTo>
                    <a:pt x="101818" y="40000"/>
                  </a:lnTo>
                  <a:lnTo>
                    <a:pt x="101818" y="33684"/>
                  </a:lnTo>
                  <a:lnTo>
                    <a:pt x="107272" y="33684"/>
                  </a:lnTo>
                  <a:lnTo>
                    <a:pt x="107272" y="29473"/>
                  </a:lnTo>
                  <a:lnTo>
                    <a:pt x="107272" y="25263"/>
                  </a:lnTo>
                  <a:lnTo>
                    <a:pt x="110909" y="25263"/>
                  </a:lnTo>
                  <a:lnTo>
                    <a:pt x="110909" y="18947"/>
                  </a:lnTo>
                  <a:lnTo>
                    <a:pt x="110909" y="18947"/>
                  </a:lnTo>
                  <a:lnTo>
                    <a:pt x="110909" y="18947"/>
                  </a:lnTo>
                  <a:lnTo>
                    <a:pt x="107272" y="14736"/>
                  </a:lnTo>
                  <a:lnTo>
                    <a:pt x="101818" y="14736"/>
                  </a:lnTo>
                  <a:lnTo>
                    <a:pt x="101818" y="18947"/>
                  </a:lnTo>
                  <a:lnTo>
                    <a:pt x="98181" y="18947"/>
                  </a:lnTo>
                  <a:lnTo>
                    <a:pt x="98181" y="18947"/>
                  </a:lnTo>
                  <a:lnTo>
                    <a:pt x="94545" y="18947"/>
                  </a:lnTo>
                  <a:lnTo>
                    <a:pt x="94545" y="14736"/>
                  </a:lnTo>
                  <a:lnTo>
                    <a:pt x="94545" y="14736"/>
                  </a:lnTo>
                  <a:lnTo>
                    <a:pt x="94545" y="14736"/>
                  </a:lnTo>
                  <a:lnTo>
                    <a:pt x="89090" y="10526"/>
                  </a:lnTo>
                  <a:lnTo>
                    <a:pt x="89090" y="4210"/>
                  </a:lnTo>
                  <a:lnTo>
                    <a:pt x="85454" y="4210"/>
                  </a:lnTo>
                  <a:lnTo>
                    <a:pt x="81818" y="4210"/>
                  </a:lnTo>
                  <a:lnTo>
                    <a:pt x="81818" y="4210"/>
                  </a:lnTo>
                  <a:lnTo>
                    <a:pt x="76363" y="4210"/>
                  </a:lnTo>
                  <a:lnTo>
                    <a:pt x="76363" y="4210"/>
                  </a:lnTo>
                  <a:lnTo>
                    <a:pt x="72727" y="4210"/>
                  </a:lnTo>
                  <a:lnTo>
                    <a:pt x="67272" y="4210"/>
                  </a:lnTo>
                  <a:lnTo>
                    <a:pt x="67272" y="4210"/>
                  </a:lnTo>
                  <a:lnTo>
                    <a:pt x="63636" y="4210"/>
                  </a:lnTo>
                  <a:lnTo>
                    <a:pt x="63636" y="4210"/>
                  </a:lnTo>
                  <a:lnTo>
                    <a:pt x="60000" y="4210"/>
                  </a:lnTo>
                  <a:lnTo>
                    <a:pt x="60000" y="0"/>
                  </a:lnTo>
                  <a:lnTo>
                    <a:pt x="54545" y="4210"/>
                  </a:lnTo>
                  <a:lnTo>
                    <a:pt x="54545" y="4210"/>
                  </a:lnTo>
                  <a:lnTo>
                    <a:pt x="50909" y="4210"/>
                  </a:lnTo>
                  <a:lnTo>
                    <a:pt x="47272" y="0"/>
                  </a:lnTo>
                  <a:lnTo>
                    <a:pt x="47272" y="0"/>
                  </a:lnTo>
                  <a:lnTo>
                    <a:pt x="47272" y="4210"/>
                  </a:lnTo>
                  <a:lnTo>
                    <a:pt x="41818" y="0"/>
                  </a:lnTo>
                  <a:lnTo>
                    <a:pt x="34545" y="0"/>
                  </a:lnTo>
                  <a:lnTo>
                    <a:pt x="34545" y="0"/>
                  </a:lnTo>
                  <a:lnTo>
                    <a:pt x="25454" y="0"/>
                  </a:lnTo>
                  <a:lnTo>
                    <a:pt x="21818" y="0"/>
                  </a:lnTo>
                  <a:lnTo>
                    <a:pt x="21818" y="4210"/>
                  </a:lnTo>
                  <a:lnTo>
                    <a:pt x="16363" y="10526"/>
                  </a:lnTo>
                  <a:lnTo>
                    <a:pt x="16363" y="10526"/>
                  </a:lnTo>
                  <a:lnTo>
                    <a:pt x="12727" y="4210"/>
                  </a:lnTo>
                  <a:lnTo>
                    <a:pt x="7272" y="0"/>
                  </a:lnTo>
                  <a:lnTo>
                    <a:pt x="7272" y="0"/>
                  </a:lnTo>
                  <a:lnTo>
                    <a:pt x="3636" y="0"/>
                  </a:lnTo>
                  <a:lnTo>
                    <a:pt x="3636" y="0"/>
                  </a:lnTo>
                  <a:lnTo>
                    <a:pt x="3636" y="0"/>
                  </a:lnTo>
                  <a:lnTo>
                    <a:pt x="0" y="10526"/>
                  </a:lnTo>
                  <a:lnTo>
                    <a:pt x="0" y="18947"/>
                  </a:lnTo>
                  <a:lnTo>
                    <a:pt x="0" y="25263"/>
                  </a:lnTo>
                  <a:lnTo>
                    <a:pt x="3636" y="25263"/>
                  </a:lnTo>
                  <a:lnTo>
                    <a:pt x="12727" y="33684"/>
                  </a:lnTo>
                  <a:lnTo>
                    <a:pt x="12727" y="33684"/>
                  </a:lnTo>
                  <a:lnTo>
                    <a:pt x="12727" y="33684"/>
                  </a:lnTo>
                  <a:lnTo>
                    <a:pt x="12727" y="40000"/>
                  </a:lnTo>
                  <a:lnTo>
                    <a:pt x="16363" y="44210"/>
                  </a:lnTo>
                  <a:lnTo>
                    <a:pt x="16363" y="48421"/>
                  </a:lnTo>
                  <a:lnTo>
                    <a:pt x="21818" y="54736"/>
                  </a:lnTo>
                  <a:lnTo>
                    <a:pt x="25454" y="54736"/>
                  </a:lnTo>
                  <a:lnTo>
                    <a:pt x="25454" y="58947"/>
                  </a:lnTo>
                  <a:lnTo>
                    <a:pt x="29090" y="65263"/>
                  </a:lnTo>
                  <a:lnTo>
                    <a:pt x="29090" y="65263"/>
                  </a:lnTo>
                  <a:lnTo>
                    <a:pt x="38181" y="69473"/>
                  </a:lnTo>
                  <a:lnTo>
                    <a:pt x="41818" y="73684"/>
                  </a:lnTo>
                  <a:lnTo>
                    <a:pt x="47272" y="80000"/>
                  </a:lnTo>
                  <a:lnTo>
                    <a:pt x="47272" y="80000"/>
                  </a:lnTo>
                  <a:lnTo>
                    <a:pt x="50909" y="84210"/>
                  </a:lnTo>
                  <a:lnTo>
                    <a:pt x="50909" y="84210"/>
                  </a:lnTo>
                  <a:lnTo>
                    <a:pt x="50909" y="88421"/>
                  </a:lnTo>
                  <a:lnTo>
                    <a:pt x="60000" y="98947"/>
                  </a:lnTo>
                  <a:lnTo>
                    <a:pt x="60000" y="98947"/>
                  </a:lnTo>
                  <a:lnTo>
                    <a:pt x="60000" y="98947"/>
                  </a:lnTo>
                  <a:lnTo>
                    <a:pt x="60000" y="98947"/>
                  </a:lnTo>
                  <a:lnTo>
                    <a:pt x="60000" y="98947"/>
                  </a:lnTo>
                  <a:lnTo>
                    <a:pt x="60000" y="103157"/>
                  </a:lnTo>
                  <a:lnTo>
                    <a:pt x="63636" y="103157"/>
                  </a:lnTo>
                  <a:lnTo>
                    <a:pt x="63636" y="103157"/>
                  </a:lnTo>
                  <a:lnTo>
                    <a:pt x="67272" y="103157"/>
                  </a:lnTo>
                  <a:lnTo>
                    <a:pt x="67272" y="109473"/>
                  </a:lnTo>
                  <a:lnTo>
                    <a:pt x="72727" y="109473"/>
                  </a:lnTo>
                  <a:lnTo>
                    <a:pt x="76363" y="113684"/>
                  </a:lnTo>
                  <a:lnTo>
                    <a:pt x="81818" y="113684"/>
                  </a:lnTo>
                  <a:lnTo>
                    <a:pt x="81818" y="113684"/>
                  </a:lnTo>
                  <a:lnTo>
                    <a:pt x="85454" y="119999"/>
                  </a:lnTo>
                  <a:lnTo>
                    <a:pt x="85454" y="119999"/>
                  </a:lnTo>
                  <a:lnTo>
                    <a:pt x="85454" y="119999"/>
                  </a:lnTo>
                  <a:lnTo>
                    <a:pt x="89090" y="113684"/>
                  </a:lnTo>
                  <a:lnTo>
                    <a:pt x="89090" y="113684"/>
                  </a:lnTo>
                  <a:lnTo>
                    <a:pt x="89090" y="113684"/>
                  </a:lnTo>
                  <a:lnTo>
                    <a:pt x="85454" y="109473"/>
                  </a:lnTo>
                  <a:lnTo>
                    <a:pt x="85454" y="103157"/>
                  </a:lnTo>
                  <a:lnTo>
                    <a:pt x="85454" y="98947"/>
                  </a:lnTo>
                  <a:lnTo>
                    <a:pt x="85454" y="98947"/>
                  </a:lnTo>
                  <a:lnTo>
                    <a:pt x="85454" y="98947"/>
                  </a:lnTo>
                  <a:lnTo>
                    <a:pt x="89090" y="98947"/>
                  </a:lnTo>
                  <a:lnTo>
                    <a:pt x="89090" y="94736"/>
                  </a:lnTo>
                  <a:lnTo>
                    <a:pt x="89090" y="94736"/>
                  </a:lnTo>
                  <a:lnTo>
                    <a:pt x="89090" y="88421"/>
                  </a:lnTo>
                  <a:lnTo>
                    <a:pt x="94545" y="88421"/>
                  </a:lnTo>
                  <a:lnTo>
                    <a:pt x="94545" y="84210"/>
                  </a:lnTo>
                  <a:lnTo>
                    <a:pt x="98181" y="84210"/>
                  </a:lnTo>
                  <a:lnTo>
                    <a:pt x="98181" y="84210"/>
                  </a:lnTo>
                  <a:lnTo>
                    <a:pt x="98181" y="84210"/>
                  </a:lnTo>
                  <a:lnTo>
                    <a:pt x="101818" y="84210"/>
                  </a:lnTo>
                  <a:lnTo>
                    <a:pt x="101818" y="84210"/>
                  </a:lnTo>
                  <a:lnTo>
                    <a:pt x="101818" y="84210"/>
                  </a:lnTo>
                  <a:lnTo>
                    <a:pt x="101818" y="80000"/>
                  </a:lnTo>
                  <a:lnTo>
                    <a:pt x="98181" y="80000"/>
                  </a:lnTo>
                  <a:lnTo>
                    <a:pt x="98181" y="73684"/>
                  </a:lnTo>
                  <a:lnTo>
                    <a:pt x="101818" y="73684"/>
                  </a:lnTo>
                  <a:lnTo>
                    <a:pt x="101818" y="73684"/>
                  </a:lnTo>
                  <a:lnTo>
                    <a:pt x="101818" y="73684"/>
                  </a:lnTo>
                  <a:lnTo>
                    <a:pt x="107272" y="73684"/>
                  </a:lnTo>
                  <a:lnTo>
                    <a:pt x="107272" y="73684"/>
                  </a:lnTo>
                  <a:lnTo>
                    <a:pt x="107272" y="73684"/>
                  </a:lnTo>
                  <a:lnTo>
                    <a:pt x="110909" y="73684"/>
                  </a:lnTo>
                  <a:lnTo>
                    <a:pt x="110909" y="73684"/>
                  </a:lnTo>
                  <a:lnTo>
                    <a:pt x="110909" y="73684"/>
                  </a:lnTo>
                  <a:lnTo>
                    <a:pt x="114545" y="73684"/>
                  </a:lnTo>
                  <a:lnTo>
                    <a:pt x="114545" y="73684"/>
                  </a:lnTo>
                  <a:lnTo>
                    <a:pt x="114545" y="73684"/>
                  </a:lnTo>
                  <a:lnTo>
                    <a:pt x="114545" y="69473"/>
                  </a:lnTo>
                  <a:lnTo>
                    <a:pt x="114545" y="69473"/>
                  </a:lnTo>
                  <a:lnTo>
                    <a:pt x="110909" y="65263"/>
                  </a:lnTo>
                  <a:lnTo>
                    <a:pt x="107272" y="58947"/>
                  </a:lnTo>
                  <a:lnTo>
                    <a:pt x="107272" y="58947"/>
                  </a:lnTo>
                  <a:lnTo>
                    <a:pt x="110909" y="54736"/>
                  </a:lnTo>
                  <a:lnTo>
                    <a:pt x="110909" y="54736"/>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26" name="Shape 526"/>
            <p:cNvSpPr/>
            <p:nvPr/>
          </p:nvSpPr>
          <p:spPr>
            <a:xfrm>
              <a:off x="2366" y="3013"/>
              <a:ext cx="300" cy="299"/>
            </a:xfrm>
            <a:custGeom>
              <a:avLst/>
              <a:gdLst/>
              <a:ahLst/>
              <a:cxnLst/>
              <a:rect l="0" t="0" r="0" b="0"/>
              <a:pathLst>
                <a:path w="120000" h="120000" extrusionOk="0">
                  <a:moveTo>
                    <a:pt x="120000" y="77111"/>
                  </a:moveTo>
                  <a:lnTo>
                    <a:pt x="120000" y="77111"/>
                  </a:lnTo>
                  <a:lnTo>
                    <a:pt x="118474" y="74945"/>
                  </a:lnTo>
                  <a:lnTo>
                    <a:pt x="117457" y="72779"/>
                  </a:lnTo>
                  <a:lnTo>
                    <a:pt x="117457" y="71913"/>
                  </a:lnTo>
                  <a:lnTo>
                    <a:pt x="116440" y="71046"/>
                  </a:lnTo>
                  <a:lnTo>
                    <a:pt x="116440" y="71913"/>
                  </a:lnTo>
                  <a:lnTo>
                    <a:pt x="114915" y="71046"/>
                  </a:lnTo>
                  <a:lnTo>
                    <a:pt x="112881" y="69747"/>
                  </a:lnTo>
                  <a:lnTo>
                    <a:pt x="111355" y="68880"/>
                  </a:lnTo>
                  <a:lnTo>
                    <a:pt x="111355" y="68880"/>
                  </a:lnTo>
                  <a:lnTo>
                    <a:pt x="110338" y="67581"/>
                  </a:lnTo>
                  <a:lnTo>
                    <a:pt x="110338" y="65848"/>
                  </a:lnTo>
                  <a:lnTo>
                    <a:pt x="109322" y="63682"/>
                  </a:lnTo>
                  <a:lnTo>
                    <a:pt x="109322" y="63682"/>
                  </a:lnTo>
                  <a:lnTo>
                    <a:pt x="110338" y="61516"/>
                  </a:lnTo>
                  <a:lnTo>
                    <a:pt x="110338" y="61516"/>
                  </a:lnTo>
                  <a:lnTo>
                    <a:pt x="110338" y="60649"/>
                  </a:lnTo>
                  <a:lnTo>
                    <a:pt x="110338" y="59783"/>
                  </a:lnTo>
                  <a:lnTo>
                    <a:pt x="110338" y="59783"/>
                  </a:lnTo>
                  <a:lnTo>
                    <a:pt x="110338" y="60649"/>
                  </a:lnTo>
                  <a:lnTo>
                    <a:pt x="109322" y="60649"/>
                  </a:lnTo>
                  <a:lnTo>
                    <a:pt x="109322" y="60649"/>
                  </a:lnTo>
                  <a:lnTo>
                    <a:pt x="104237" y="60649"/>
                  </a:lnTo>
                  <a:lnTo>
                    <a:pt x="100677" y="60649"/>
                  </a:lnTo>
                  <a:lnTo>
                    <a:pt x="97118" y="59783"/>
                  </a:lnTo>
                  <a:lnTo>
                    <a:pt x="93559" y="59783"/>
                  </a:lnTo>
                  <a:lnTo>
                    <a:pt x="93559" y="58483"/>
                  </a:lnTo>
                  <a:lnTo>
                    <a:pt x="92542" y="56317"/>
                  </a:lnTo>
                  <a:lnTo>
                    <a:pt x="92542" y="55451"/>
                  </a:lnTo>
                  <a:lnTo>
                    <a:pt x="92542" y="52418"/>
                  </a:lnTo>
                  <a:lnTo>
                    <a:pt x="90000" y="51552"/>
                  </a:lnTo>
                  <a:lnTo>
                    <a:pt x="88983" y="49386"/>
                  </a:lnTo>
                  <a:lnTo>
                    <a:pt x="88983" y="49386"/>
                  </a:lnTo>
                  <a:lnTo>
                    <a:pt x="90000" y="49386"/>
                  </a:lnTo>
                  <a:lnTo>
                    <a:pt x="91016" y="49386"/>
                  </a:lnTo>
                  <a:lnTo>
                    <a:pt x="91016" y="45054"/>
                  </a:lnTo>
                  <a:lnTo>
                    <a:pt x="90000" y="44187"/>
                  </a:lnTo>
                  <a:lnTo>
                    <a:pt x="90000" y="43321"/>
                  </a:lnTo>
                  <a:lnTo>
                    <a:pt x="90000" y="42021"/>
                  </a:lnTo>
                  <a:lnTo>
                    <a:pt x="88983" y="41155"/>
                  </a:lnTo>
                  <a:lnTo>
                    <a:pt x="88983" y="41155"/>
                  </a:lnTo>
                  <a:lnTo>
                    <a:pt x="88983" y="40288"/>
                  </a:lnTo>
                  <a:lnTo>
                    <a:pt x="88983" y="40288"/>
                  </a:lnTo>
                  <a:lnTo>
                    <a:pt x="88983" y="38989"/>
                  </a:lnTo>
                  <a:lnTo>
                    <a:pt x="88983" y="38122"/>
                  </a:lnTo>
                  <a:lnTo>
                    <a:pt x="88983" y="38122"/>
                  </a:lnTo>
                  <a:lnTo>
                    <a:pt x="87457" y="37256"/>
                  </a:lnTo>
                  <a:lnTo>
                    <a:pt x="87457" y="37256"/>
                  </a:lnTo>
                  <a:lnTo>
                    <a:pt x="86440" y="35956"/>
                  </a:lnTo>
                  <a:lnTo>
                    <a:pt x="83898" y="35090"/>
                  </a:lnTo>
                  <a:lnTo>
                    <a:pt x="82881" y="33790"/>
                  </a:lnTo>
                  <a:lnTo>
                    <a:pt x="81355" y="35090"/>
                  </a:lnTo>
                  <a:lnTo>
                    <a:pt x="79322" y="35090"/>
                  </a:lnTo>
                  <a:lnTo>
                    <a:pt x="77796" y="35090"/>
                  </a:lnTo>
                  <a:lnTo>
                    <a:pt x="77796" y="35090"/>
                  </a:lnTo>
                  <a:lnTo>
                    <a:pt x="75762" y="35090"/>
                  </a:lnTo>
                  <a:lnTo>
                    <a:pt x="74237" y="33790"/>
                  </a:lnTo>
                  <a:lnTo>
                    <a:pt x="74237" y="33790"/>
                  </a:lnTo>
                  <a:lnTo>
                    <a:pt x="73220" y="32057"/>
                  </a:lnTo>
                  <a:lnTo>
                    <a:pt x="72203" y="32057"/>
                  </a:lnTo>
                  <a:lnTo>
                    <a:pt x="72203" y="30758"/>
                  </a:lnTo>
                  <a:lnTo>
                    <a:pt x="70677" y="30758"/>
                  </a:lnTo>
                  <a:lnTo>
                    <a:pt x="69661" y="30758"/>
                  </a:lnTo>
                  <a:lnTo>
                    <a:pt x="68135" y="30758"/>
                  </a:lnTo>
                  <a:lnTo>
                    <a:pt x="67118" y="29891"/>
                  </a:lnTo>
                  <a:lnTo>
                    <a:pt x="66101" y="29891"/>
                  </a:lnTo>
                  <a:lnTo>
                    <a:pt x="66101" y="29891"/>
                  </a:lnTo>
                  <a:lnTo>
                    <a:pt x="64576" y="29025"/>
                  </a:lnTo>
                  <a:lnTo>
                    <a:pt x="63559" y="27725"/>
                  </a:lnTo>
                  <a:lnTo>
                    <a:pt x="63559" y="27725"/>
                  </a:lnTo>
                  <a:lnTo>
                    <a:pt x="63559" y="26859"/>
                  </a:lnTo>
                  <a:lnTo>
                    <a:pt x="62542" y="26859"/>
                  </a:lnTo>
                  <a:lnTo>
                    <a:pt x="62542" y="26859"/>
                  </a:lnTo>
                  <a:lnTo>
                    <a:pt x="61016" y="26859"/>
                  </a:lnTo>
                  <a:lnTo>
                    <a:pt x="60000" y="26859"/>
                  </a:lnTo>
                  <a:lnTo>
                    <a:pt x="58983" y="26859"/>
                  </a:lnTo>
                  <a:lnTo>
                    <a:pt x="58983" y="25559"/>
                  </a:lnTo>
                  <a:lnTo>
                    <a:pt x="57457" y="25559"/>
                  </a:lnTo>
                  <a:lnTo>
                    <a:pt x="57457" y="24693"/>
                  </a:lnTo>
                  <a:lnTo>
                    <a:pt x="56440" y="24693"/>
                  </a:lnTo>
                  <a:lnTo>
                    <a:pt x="55423" y="25559"/>
                  </a:lnTo>
                  <a:lnTo>
                    <a:pt x="53898" y="25559"/>
                  </a:lnTo>
                  <a:lnTo>
                    <a:pt x="51355" y="24693"/>
                  </a:lnTo>
                  <a:lnTo>
                    <a:pt x="50338" y="24693"/>
                  </a:lnTo>
                  <a:lnTo>
                    <a:pt x="49322" y="23826"/>
                  </a:lnTo>
                  <a:lnTo>
                    <a:pt x="49322" y="22527"/>
                  </a:lnTo>
                  <a:lnTo>
                    <a:pt x="47796" y="22527"/>
                  </a:lnTo>
                  <a:lnTo>
                    <a:pt x="47796" y="21660"/>
                  </a:lnTo>
                  <a:lnTo>
                    <a:pt x="46779" y="21660"/>
                  </a:lnTo>
                  <a:lnTo>
                    <a:pt x="45762" y="20794"/>
                  </a:lnTo>
                  <a:lnTo>
                    <a:pt x="45762" y="20794"/>
                  </a:lnTo>
                  <a:lnTo>
                    <a:pt x="44237" y="20794"/>
                  </a:lnTo>
                  <a:lnTo>
                    <a:pt x="44237" y="19494"/>
                  </a:lnTo>
                  <a:lnTo>
                    <a:pt x="44237" y="19494"/>
                  </a:lnTo>
                  <a:lnTo>
                    <a:pt x="44237" y="19494"/>
                  </a:lnTo>
                  <a:lnTo>
                    <a:pt x="43220" y="18628"/>
                  </a:lnTo>
                  <a:lnTo>
                    <a:pt x="43220" y="18628"/>
                  </a:lnTo>
                  <a:lnTo>
                    <a:pt x="43220" y="18628"/>
                  </a:lnTo>
                  <a:lnTo>
                    <a:pt x="43220" y="18628"/>
                  </a:lnTo>
                  <a:lnTo>
                    <a:pt x="42203" y="18628"/>
                  </a:lnTo>
                  <a:lnTo>
                    <a:pt x="42203" y="18628"/>
                  </a:lnTo>
                  <a:lnTo>
                    <a:pt x="42203" y="17761"/>
                  </a:lnTo>
                  <a:lnTo>
                    <a:pt x="42203" y="16462"/>
                  </a:lnTo>
                  <a:lnTo>
                    <a:pt x="42203" y="16462"/>
                  </a:lnTo>
                  <a:lnTo>
                    <a:pt x="40677" y="15595"/>
                  </a:lnTo>
                  <a:lnTo>
                    <a:pt x="40677" y="14296"/>
                  </a:lnTo>
                  <a:lnTo>
                    <a:pt x="40677" y="14296"/>
                  </a:lnTo>
                  <a:lnTo>
                    <a:pt x="40677" y="14296"/>
                  </a:lnTo>
                  <a:lnTo>
                    <a:pt x="40677" y="13429"/>
                  </a:lnTo>
                  <a:lnTo>
                    <a:pt x="39661" y="13429"/>
                  </a:lnTo>
                  <a:lnTo>
                    <a:pt x="40677" y="12563"/>
                  </a:lnTo>
                  <a:lnTo>
                    <a:pt x="40677" y="11263"/>
                  </a:lnTo>
                  <a:lnTo>
                    <a:pt x="40677" y="10397"/>
                  </a:lnTo>
                  <a:lnTo>
                    <a:pt x="39661" y="9530"/>
                  </a:lnTo>
                  <a:lnTo>
                    <a:pt x="39661" y="8231"/>
                  </a:lnTo>
                  <a:lnTo>
                    <a:pt x="39661" y="7364"/>
                  </a:lnTo>
                  <a:lnTo>
                    <a:pt x="39661" y="6498"/>
                  </a:lnTo>
                  <a:lnTo>
                    <a:pt x="39661" y="6498"/>
                  </a:lnTo>
                  <a:lnTo>
                    <a:pt x="40677" y="5198"/>
                  </a:lnTo>
                  <a:lnTo>
                    <a:pt x="40677" y="4332"/>
                  </a:lnTo>
                  <a:lnTo>
                    <a:pt x="39661" y="3032"/>
                  </a:lnTo>
                  <a:lnTo>
                    <a:pt x="39661" y="2166"/>
                  </a:lnTo>
                  <a:lnTo>
                    <a:pt x="39661" y="1299"/>
                  </a:lnTo>
                  <a:lnTo>
                    <a:pt x="39661" y="0"/>
                  </a:lnTo>
                  <a:lnTo>
                    <a:pt x="39661" y="0"/>
                  </a:lnTo>
                  <a:lnTo>
                    <a:pt x="38644" y="0"/>
                  </a:lnTo>
                  <a:lnTo>
                    <a:pt x="38644" y="0"/>
                  </a:lnTo>
                  <a:lnTo>
                    <a:pt x="37118" y="1299"/>
                  </a:lnTo>
                  <a:lnTo>
                    <a:pt x="37118" y="1299"/>
                  </a:lnTo>
                  <a:lnTo>
                    <a:pt x="36101" y="0"/>
                  </a:lnTo>
                  <a:lnTo>
                    <a:pt x="34576" y="0"/>
                  </a:lnTo>
                  <a:lnTo>
                    <a:pt x="31016" y="1299"/>
                  </a:lnTo>
                  <a:lnTo>
                    <a:pt x="30000" y="1299"/>
                  </a:lnTo>
                  <a:lnTo>
                    <a:pt x="28983" y="1299"/>
                  </a:lnTo>
                  <a:lnTo>
                    <a:pt x="27457" y="1299"/>
                  </a:lnTo>
                  <a:lnTo>
                    <a:pt x="26440" y="2166"/>
                  </a:lnTo>
                  <a:lnTo>
                    <a:pt x="22881" y="5198"/>
                  </a:lnTo>
                  <a:lnTo>
                    <a:pt x="22881" y="5198"/>
                  </a:lnTo>
                  <a:lnTo>
                    <a:pt x="21864" y="5198"/>
                  </a:lnTo>
                  <a:lnTo>
                    <a:pt x="21864" y="6498"/>
                  </a:lnTo>
                  <a:lnTo>
                    <a:pt x="20338" y="6498"/>
                  </a:lnTo>
                  <a:lnTo>
                    <a:pt x="19322" y="7364"/>
                  </a:lnTo>
                  <a:lnTo>
                    <a:pt x="17796" y="8231"/>
                  </a:lnTo>
                  <a:lnTo>
                    <a:pt x="17796" y="8231"/>
                  </a:lnTo>
                  <a:lnTo>
                    <a:pt x="16779" y="8231"/>
                  </a:lnTo>
                  <a:lnTo>
                    <a:pt x="16779" y="8231"/>
                  </a:lnTo>
                  <a:lnTo>
                    <a:pt x="15762" y="8231"/>
                  </a:lnTo>
                  <a:lnTo>
                    <a:pt x="14237" y="9530"/>
                  </a:lnTo>
                  <a:lnTo>
                    <a:pt x="14237" y="9530"/>
                  </a:lnTo>
                  <a:lnTo>
                    <a:pt x="13220" y="11263"/>
                  </a:lnTo>
                  <a:lnTo>
                    <a:pt x="12203" y="11263"/>
                  </a:lnTo>
                  <a:lnTo>
                    <a:pt x="12203" y="11263"/>
                  </a:lnTo>
                  <a:lnTo>
                    <a:pt x="10677" y="12563"/>
                  </a:lnTo>
                  <a:lnTo>
                    <a:pt x="9661" y="12563"/>
                  </a:lnTo>
                  <a:lnTo>
                    <a:pt x="9661" y="12563"/>
                  </a:lnTo>
                  <a:lnTo>
                    <a:pt x="8644" y="12563"/>
                  </a:lnTo>
                  <a:lnTo>
                    <a:pt x="8644" y="12563"/>
                  </a:lnTo>
                  <a:lnTo>
                    <a:pt x="8644" y="12563"/>
                  </a:lnTo>
                  <a:lnTo>
                    <a:pt x="7118" y="11263"/>
                  </a:lnTo>
                  <a:lnTo>
                    <a:pt x="6101" y="11263"/>
                  </a:lnTo>
                  <a:lnTo>
                    <a:pt x="3559" y="11263"/>
                  </a:lnTo>
                  <a:lnTo>
                    <a:pt x="1016" y="11263"/>
                  </a:lnTo>
                  <a:lnTo>
                    <a:pt x="0" y="11263"/>
                  </a:lnTo>
                  <a:lnTo>
                    <a:pt x="2542" y="13429"/>
                  </a:lnTo>
                  <a:lnTo>
                    <a:pt x="2542" y="14296"/>
                  </a:lnTo>
                  <a:lnTo>
                    <a:pt x="3559" y="16462"/>
                  </a:lnTo>
                  <a:lnTo>
                    <a:pt x="5084" y="17761"/>
                  </a:lnTo>
                  <a:lnTo>
                    <a:pt x="6101" y="19494"/>
                  </a:lnTo>
                  <a:lnTo>
                    <a:pt x="7118" y="21660"/>
                  </a:lnTo>
                  <a:lnTo>
                    <a:pt x="8644" y="23826"/>
                  </a:lnTo>
                  <a:lnTo>
                    <a:pt x="9661" y="25559"/>
                  </a:lnTo>
                  <a:lnTo>
                    <a:pt x="9661" y="25559"/>
                  </a:lnTo>
                  <a:lnTo>
                    <a:pt x="9661" y="26859"/>
                  </a:lnTo>
                  <a:lnTo>
                    <a:pt x="9661" y="26859"/>
                  </a:lnTo>
                  <a:lnTo>
                    <a:pt x="9661" y="27725"/>
                  </a:lnTo>
                  <a:lnTo>
                    <a:pt x="8644" y="27725"/>
                  </a:lnTo>
                  <a:lnTo>
                    <a:pt x="8644" y="29025"/>
                  </a:lnTo>
                  <a:lnTo>
                    <a:pt x="7118" y="29025"/>
                  </a:lnTo>
                  <a:lnTo>
                    <a:pt x="7118" y="29891"/>
                  </a:lnTo>
                  <a:lnTo>
                    <a:pt x="8644" y="33790"/>
                  </a:lnTo>
                  <a:lnTo>
                    <a:pt x="8644" y="35090"/>
                  </a:lnTo>
                  <a:lnTo>
                    <a:pt x="8644" y="35090"/>
                  </a:lnTo>
                  <a:lnTo>
                    <a:pt x="7118" y="35956"/>
                  </a:lnTo>
                  <a:lnTo>
                    <a:pt x="7118" y="35956"/>
                  </a:lnTo>
                  <a:lnTo>
                    <a:pt x="8644" y="37256"/>
                  </a:lnTo>
                  <a:lnTo>
                    <a:pt x="8644" y="38989"/>
                  </a:lnTo>
                  <a:lnTo>
                    <a:pt x="9661" y="38989"/>
                  </a:lnTo>
                  <a:lnTo>
                    <a:pt x="9661" y="40288"/>
                  </a:lnTo>
                  <a:lnTo>
                    <a:pt x="9661" y="41155"/>
                  </a:lnTo>
                  <a:lnTo>
                    <a:pt x="9661" y="41155"/>
                  </a:lnTo>
                  <a:lnTo>
                    <a:pt x="9661" y="41155"/>
                  </a:lnTo>
                  <a:lnTo>
                    <a:pt x="8644" y="41155"/>
                  </a:lnTo>
                  <a:lnTo>
                    <a:pt x="8644" y="42021"/>
                  </a:lnTo>
                  <a:lnTo>
                    <a:pt x="8644" y="43321"/>
                  </a:lnTo>
                  <a:lnTo>
                    <a:pt x="8644" y="43321"/>
                  </a:lnTo>
                  <a:lnTo>
                    <a:pt x="7118" y="44187"/>
                  </a:lnTo>
                  <a:lnTo>
                    <a:pt x="7118" y="44187"/>
                  </a:lnTo>
                  <a:lnTo>
                    <a:pt x="7118" y="44187"/>
                  </a:lnTo>
                  <a:lnTo>
                    <a:pt x="7118" y="45054"/>
                  </a:lnTo>
                  <a:lnTo>
                    <a:pt x="7118" y="46353"/>
                  </a:lnTo>
                  <a:lnTo>
                    <a:pt x="6101" y="46353"/>
                  </a:lnTo>
                  <a:lnTo>
                    <a:pt x="6101" y="47220"/>
                  </a:lnTo>
                  <a:lnTo>
                    <a:pt x="6101" y="48519"/>
                  </a:lnTo>
                  <a:lnTo>
                    <a:pt x="6101" y="48519"/>
                  </a:lnTo>
                  <a:lnTo>
                    <a:pt x="8644" y="50252"/>
                  </a:lnTo>
                  <a:lnTo>
                    <a:pt x="8644" y="50252"/>
                  </a:lnTo>
                  <a:lnTo>
                    <a:pt x="7118" y="51552"/>
                  </a:lnTo>
                  <a:lnTo>
                    <a:pt x="7118" y="52418"/>
                  </a:lnTo>
                  <a:lnTo>
                    <a:pt x="6101" y="53285"/>
                  </a:lnTo>
                  <a:lnTo>
                    <a:pt x="6101" y="54584"/>
                  </a:lnTo>
                  <a:lnTo>
                    <a:pt x="7118" y="55451"/>
                  </a:lnTo>
                  <a:lnTo>
                    <a:pt x="8644" y="58483"/>
                  </a:lnTo>
                  <a:lnTo>
                    <a:pt x="9661" y="59783"/>
                  </a:lnTo>
                  <a:lnTo>
                    <a:pt x="9661" y="59783"/>
                  </a:lnTo>
                  <a:lnTo>
                    <a:pt x="10677" y="59783"/>
                  </a:lnTo>
                  <a:lnTo>
                    <a:pt x="12203" y="59783"/>
                  </a:lnTo>
                  <a:lnTo>
                    <a:pt x="12203" y="60649"/>
                  </a:lnTo>
                  <a:lnTo>
                    <a:pt x="12203" y="60649"/>
                  </a:lnTo>
                  <a:lnTo>
                    <a:pt x="12203" y="60649"/>
                  </a:lnTo>
                  <a:lnTo>
                    <a:pt x="12203" y="60649"/>
                  </a:lnTo>
                  <a:lnTo>
                    <a:pt x="10677" y="61516"/>
                  </a:lnTo>
                  <a:lnTo>
                    <a:pt x="10677" y="61516"/>
                  </a:lnTo>
                  <a:lnTo>
                    <a:pt x="10677" y="62815"/>
                  </a:lnTo>
                  <a:lnTo>
                    <a:pt x="10677" y="63682"/>
                  </a:lnTo>
                  <a:lnTo>
                    <a:pt x="10677" y="63682"/>
                  </a:lnTo>
                  <a:lnTo>
                    <a:pt x="9661" y="63682"/>
                  </a:lnTo>
                  <a:lnTo>
                    <a:pt x="9661" y="64548"/>
                  </a:lnTo>
                  <a:lnTo>
                    <a:pt x="9661" y="65848"/>
                  </a:lnTo>
                  <a:lnTo>
                    <a:pt x="8644" y="66714"/>
                  </a:lnTo>
                  <a:lnTo>
                    <a:pt x="8644" y="66714"/>
                  </a:lnTo>
                  <a:lnTo>
                    <a:pt x="7118" y="67581"/>
                  </a:lnTo>
                  <a:lnTo>
                    <a:pt x="7118" y="67581"/>
                  </a:lnTo>
                  <a:lnTo>
                    <a:pt x="6101" y="68880"/>
                  </a:lnTo>
                  <a:lnTo>
                    <a:pt x="6101" y="68880"/>
                  </a:lnTo>
                  <a:lnTo>
                    <a:pt x="6101" y="68880"/>
                  </a:lnTo>
                  <a:lnTo>
                    <a:pt x="7118" y="69747"/>
                  </a:lnTo>
                  <a:lnTo>
                    <a:pt x="7118" y="69747"/>
                  </a:lnTo>
                  <a:lnTo>
                    <a:pt x="7118" y="71046"/>
                  </a:lnTo>
                  <a:lnTo>
                    <a:pt x="7118" y="71046"/>
                  </a:lnTo>
                  <a:lnTo>
                    <a:pt x="7118" y="71046"/>
                  </a:lnTo>
                  <a:lnTo>
                    <a:pt x="8644" y="71913"/>
                  </a:lnTo>
                  <a:lnTo>
                    <a:pt x="9661" y="74079"/>
                  </a:lnTo>
                  <a:lnTo>
                    <a:pt x="9661" y="74945"/>
                  </a:lnTo>
                  <a:lnTo>
                    <a:pt x="10677" y="74945"/>
                  </a:lnTo>
                  <a:lnTo>
                    <a:pt x="12203" y="75812"/>
                  </a:lnTo>
                  <a:lnTo>
                    <a:pt x="12203" y="75812"/>
                  </a:lnTo>
                  <a:lnTo>
                    <a:pt x="12203" y="77111"/>
                  </a:lnTo>
                  <a:lnTo>
                    <a:pt x="12203" y="77111"/>
                  </a:lnTo>
                  <a:lnTo>
                    <a:pt x="12203" y="77978"/>
                  </a:lnTo>
                  <a:lnTo>
                    <a:pt x="12203" y="77978"/>
                  </a:lnTo>
                  <a:lnTo>
                    <a:pt x="12203" y="78844"/>
                  </a:lnTo>
                  <a:lnTo>
                    <a:pt x="13220" y="80144"/>
                  </a:lnTo>
                  <a:lnTo>
                    <a:pt x="13220" y="81010"/>
                  </a:lnTo>
                  <a:lnTo>
                    <a:pt x="13220" y="82310"/>
                  </a:lnTo>
                  <a:lnTo>
                    <a:pt x="14237" y="83176"/>
                  </a:lnTo>
                  <a:lnTo>
                    <a:pt x="14237" y="84043"/>
                  </a:lnTo>
                  <a:lnTo>
                    <a:pt x="14237" y="84043"/>
                  </a:lnTo>
                  <a:lnTo>
                    <a:pt x="14237" y="85342"/>
                  </a:lnTo>
                  <a:lnTo>
                    <a:pt x="15762" y="86209"/>
                  </a:lnTo>
                  <a:lnTo>
                    <a:pt x="16779" y="86209"/>
                  </a:lnTo>
                  <a:lnTo>
                    <a:pt x="17796" y="87075"/>
                  </a:lnTo>
                  <a:lnTo>
                    <a:pt x="17796" y="87075"/>
                  </a:lnTo>
                  <a:lnTo>
                    <a:pt x="19322" y="88375"/>
                  </a:lnTo>
                  <a:lnTo>
                    <a:pt x="19322" y="88375"/>
                  </a:lnTo>
                  <a:lnTo>
                    <a:pt x="19322" y="88375"/>
                  </a:lnTo>
                  <a:lnTo>
                    <a:pt x="19322" y="89241"/>
                  </a:lnTo>
                  <a:lnTo>
                    <a:pt x="19322" y="89241"/>
                  </a:lnTo>
                  <a:lnTo>
                    <a:pt x="19322" y="90108"/>
                  </a:lnTo>
                  <a:lnTo>
                    <a:pt x="17796" y="91407"/>
                  </a:lnTo>
                  <a:lnTo>
                    <a:pt x="17796" y="91407"/>
                  </a:lnTo>
                  <a:lnTo>
                    <a:pt x="19322" y="92274"/>
                  </a:lnTo>
                  <a:lnTo>
                    <a:pt x="19322" y="93574"/>
                  </a:lnTo>
                  <a:lnTo>
                    <a:pt x="19322" y="93574"/>
                  </a:lnTo>
                  <a:lnTo>
                    <a:pt x="19322" y="94440"/>
                  </a:lnTo>
                  <a:lnTo>
                    <a:pt x="17796" y="94440"/>
                  </a:lnTo>
                  <a:lnTo>
                    <a:pt x="17796" y="94440"/>
                  </a:lnTo>
                  <a:lnTo>
                    <a:pt x="17796" y="95306"/>
                  </a:lnTo>
                  <a:lnTo>
                    <a:pt x="17796" y="95306"/>
                  </a:lnTo>
                  <a:lnTo>
                    <a:pt x="17796" y="96606"/>
                  </a:lnTo>
                  <a:lnTo>
                    <a:pt x="19322" y="96606"/>
                  </a:lnTo>
                  <a:lnTo>
                    <a:pt x="17796" y="97472"/>
                  </a:lnTo>
                  <a:lnTo>
                    <a:pt x="17796" y="97472"/>
                  </a:lnTo>
                  <a:lnTo>
                    <a:pt x="17796" y="97472"/>
                  </a:lnTo>
                  <a:lnTo>
                    <a:pt x="17796" y="98339"/>
                  </a:lnTo>
                  <a:lnTo>
                    <a:pt x="19322" y="98339"/>
                  </a:lnTo>
                  <a:lnTo>
                    <a:pt x="20338" y="99638"/>
                  </a:lnTo>
                  <a:lnTo>
                    <a:pt x="20338" y="99638"/>
                  </a:lnTo>
                  <a:lnTo>
                    <a:pt x="20338" y="99638"/>
                  </a:lnTo>
                  <a:lnTo>
                    <a:pt x="20338" y="100505"/>
                  </a:lnTo>
                  <a:lnTo>
                    <a:pt x="20338" y="100505"/>
                  </a:lnTo>
                  <a:lnTo>
                    <a:pt x="20338" y="101371"/>
                  </a:lnTo>
                  <a:lnTo>
                    <a:pt x="20338" y="102671"/>
                  </a:lnTo>
                  <a:lnTo>
                    <a:pt x="20338" y="102671"/>
                  </a:lnTo>
                  <a:lnTo>
                    <a:pt x="21864" y="102671"/>
                  </a:lnTo>
                  <a:lnTo>
                    <a:pt x="22881" y="104837"/>
                  </a:lnTo>
                  <a:lnTo>
                    <a:pt x="23898" y="105703"/>
                  </a:lnTo>
                  <a:lnTo>
                    <a:pt x="25423" y="107870"/>
                  </a:lnTo>
                  <a:lnTo>
                    <a:pt x="25423" y="108736"/>
                  </a:lnTo>
                  <a:lnTo>
                    <a:pt x="26440" y="109602"/>
                  </a:lnTo>
                  <a:lnTo>
                    <a:pt x="26440" y="110902"/>
                  </a:lnTo>
                  <a:lnTo>
                    <a:pt x="26440" y="111768"/>
                  </a:lnTo>
                  <a:lnTo>
                    <a:pt x="27457" y="112635"/>
                  </a:lnTo>
                  <a:lnTo>
                    <a:pt x="27457" y="113935"/>
                  </a:lnTo>
                  <a:lnTo>
                    <a:pt x="27457" y="114801"/>
                  </a:lnTo>
                  <a:lnTo>
                    <a:pt x="27457" y="114801"/>
                  </a:lnTo>
                  <a:lnTo>
                    <a:pt x="28983" y="116967"/>
                  </a:lnTo>
                  <a:lnTo>
                    <a:pt x="28983" y="117833"/>
                  </a:lnTo>
                  <a:lnTo>
                    <a:pt x="28983" y="119133"/>
                  </a:lnTo>
                  <a:lnTo>
                    <a:pt x="28983" y="119133"/>
                  </a:lnTo>
                  <a:lnTo>
                    <a:pt x="30000" y="120000"/>
                  </a:lnTo>
                  <a:lnTo>
                    <a:pt x="30000" y="120000"/>
                  </a:lnTo>
                  <a:lnTo>
                    <a:pt x="30000" y="120000"/>
                  </a:lnTo>
                  <a:lnTo>
                    <a:pt x="31016" y="120000"/>
                  </a:lnTo>
                  <a:lnTo>
                    <a:pt x="32542" y="120000"/>
                  </a:lnTo>
                  <a:lnTo>
                    <a:pt x="34576" y="120000"/>
                  </a:lnTo>
                  <a:lnTo>
                    <a:pt x="36101" y="120000"/>
                  </a:lnTo>
                  <a:lnTo>
                    <a:pt x="36101" y="119133"/>
                  </a:lnTo>
                  <a:lnTo>
                    <a:pt x="37118" y="117833"/>
                  </a:lnTo>
                  <a:lnTo>
                    <a:pt x="37118" y="116967"/>
                  </a:lnTo>
                  <a:lnTo>
                    <a:pt x="37118" y="116967"/>
                  </a:lnTo>
                  <a:lnTo>
                    <a:pt x="38644" y="116101"/>
                  </a:lnTo>
                  <a:lnTo>
                    <a:pt x="39661" y="116101"/>
                  </a:lnTo>
                  <a:lnTo>
                    <a:pt x="39661" y="114801"/>
                  </a:lnTo>
                  <a:lnTo>
                    <a:pt x="39661" y="113935"/>
                  </a:lnTo>
                  <a:lnTo>
                    <a:pt x="39661" y="113935"/>
                  </a:lnTo>
                  <a:lnTo>
                    <a:pt x="40677" y="113935"/>
                  </a:lnTo>
                  <a:lnTo>
                    <a:pt x="42203" y="112635"/>
                  </a:lnTo>
                  <a:lnTo>
                    <a:pt x="43220" y="112635"/>
                  </a:lnTo>
                  <a:lnTo>
                    <a:pt x="43220" y="111768"/>
                  </a:lnTo>
                  <a:lnTo>
                    <a:pt x="43220" y="110902"/>
                  </a:lnTo>
                  <a:lnTo>
                    <a:pt x="43220" y="110902"/>
                  </a:lnTo>
                  <a:lnTo>
                    <a:pt x="44237" y="110902"/>
                  </a:lnTo>
                  <a:lnTo>
                    <a:pt x="44237" y="110902"/>
                  </a:lnTo>
                  <a:lnTo>
                    <a:pt x="45762" y="110902"/>
                  </a:lnTo>
                  <a:lnTo>
                    <a:pt x="46779" y="112635"/>
                  </a:lnTo>
                  <a:lnTo>
                    <a:pt x="47796" y="112635"/>
                  </a:lnTo>
                  <a:lnTo>
                    <a:pt x="49322" y="112635"/>
                  </a:lnTo>
                  <a:lnTo>
                    <a:pt x="50338" y="112635"/>
                  </a:lnTo>
                  <a:lnTo>
                    <a:pt x="50338" y="112635"/>
                  </a:lnTo>
                  <a:lnTo>
                    <a:pt x="55423" y="112635"/>
                  </a:lnTo>
                  <a:lnTo>
                    <a:pt x="55423" y="112635"/>
                  </a:lnTo>
                  <a:lnTo>
                    <a:pt x="56440" y="113935"/>
                  </a:lnTo>
                  <a:lnTo>
                    <a:pt x="57457" y="113935"/>
                  </a:lnTo>
                  <a:lnTo>
                    <a:pt x="57457" y="113935"/>
                  </a:lnTo>
                  <a:lnTo>
                    <a:pt x="58983" y="113935"/>
                  </a:lnTo>
                  <a:lnTo>
                    <a:pt x="60000" y="116101"/>
                  </a:lnTo>
                  <a:lnTo>
                    <a:pt x="60000" y="116967"/>
                  </a:lnTo>
                  <a:lnTo>
                    <a:pt x="61016" y="117833"/>
                  </a:lnTo>
                  <a:lnTo>
                    <a:pt x="62542" y="119133"/>
                  </a:lnTo>
                  <a:lnTo>
                    <a:pt x="62542" y="120000"/>
                  </a:lnTo>
                  <a:lnTo>
                    <a:pt x="62542" y="120000"/>
                  </a:lnTo>
                  <a:lnTo>
                    <a:pt x="62542" y="117833"/>
                  </a:lnTo>
                  <a:lnTo>
                    <a:pt x="63559" y="116967"/>
                  </a:lnTo>
                  <a:lnTo>
                    <a:pt x="63559" y="116101"/>
                  </a:lnTo>
                  <a:lnTo>
                    <a:pt x="64576" y="112635"/>
                  </a:lnTo>
                  <a:lnTo>
                    <a:pt x="64576" y="112635"/>
                  </a:lnTo>
                  <a:lnTo>
                    <a:pt x="66101" y="112635"/>
                  </a:lnTo>
                  <a:lnTo>
                    <a:pt x="66101" y="111768"/>
                  </a:lnTo>
                  <a:lnTo>
                    <a:pt x="66101" y="112635"/>
                  </a:lnTo>
                  <a:lnTo>
                    <a:pt x="67118" y="112635"/>
                  </a:lnTo>
                  <a:lnTo>
                    <a:pt x="67118" y="111768"/>
                  </a:lnTo>
                  <a:lnTo>
                    <a:pt x="70677" y="111768"/>
                  </a:lnTo>
                  <a:lnTo>
                    <a:pt x="75762" y="111768"/>
                  </a:lnTo>
                  <a:lnTo>
                    <a:pt x="75762" y="111768"/>
                  </a:lnTo>
                  <a:lnTo>
                    <a:pt x="75762" y="112635"/>
                  </a:lnTo>
                  <a:lnTo>
                    <a:pt x="75762" y="113935"/>
                  </a:lnTo>
                  <a:lnTo>
                    <a:pt x="76779" y="113935"/>
                  </a:lnTo>
                  <a:lnTo>
                    <a:pt x="76779" y="114801"/>
                  </a:lnTo>
                  <a:lnTo>
                    <a:pt x="76779" y="113935"/>
                  </a:lnTo>
                  <a:lnTo>
                    <a:pt x="77796" y="111768"/>
                  </a:lnTo>
                  <a:lnTo>
                    <a:pt x="77796" y="109602"/>
                  </a:lnTo>
                  <a:lnTo>
                    <a:pt x="77796" y="106570"/>
                  </a:lnTo>
                  <a:lnTo>
                    <a:pt x="79322" y="103537"/>
                  </a:lnTo>
                  <a:lnTo>
                    <a:pt x="79322" y="101371"/>
                  </a:lnTo>
                  <a:lnTo>
                    <a:pt x="77796" y="99638"/>
                  </a:lnTo>
                  <a:lnTo>
                    <a:pt x="79322" y="97472"/>
                  </a:lnTo>
                  <a:lnTo>
                    <a:pt x="80338" y="95306"/>
                  </a:lnTo>
                  <a:lnTo>
                    <a:pt x="81355" y="94440"/>
                  </a:lnTo>
                  <a:lnTo>
                    <a:pt x="81355" y="92274"/>
                  </a:lnTo>
                  <a:lnTo>
                    <a:pt x="82881" y="90108"/>
                  </a:lnTo>
                  <a:lnTo>
                    <a:pt x="83898" y="90108"/>
                  </a:lnTo>
                  <a:lnTo>
                    <a:pt x="88983" y="89241"/>
                  </a:lnTo>
                  <a:lnTo>
                    <a:pt x="90000" y="89241"/>
                  </a:lnTo>
                  <a:lnTo>
                    <a:pt x="93559" y="88375"/>
                  </a:lnTo>
                  <a:lnTo>
                    <a:pt x="98135" y="87075"/>
                  </a:lnTo>
                  <a:lnTo>
                    <a:pt x="101694" y="87075"/>
                  </a:lnTo>
                  <a:lnTo>
                    <a:pt x="106779" y="87075"/>
                  </a:lnTo>
                  <a:lnTo>
                    <a:pt x="110338" y="89241"/>
                  </a:lnTo>
                  <a:lnTo>
                    <a:pt x="112881" y="90108"/>
                  </a:lnTo>
                  <a:lnTo>
                    <a:pt x="116440" y="92274"/>
                  </a:lnTo>
                  <a:lnTo>
                    <a:pt x="116440" y="92274"/>
                  </a:lnTo>
                  <a:lnTo>
                    <a:pt x="116440" y="94440"/>
                  </a:lnTo>
                  <a:lnTo>
                    <a:pt x="116440" y="95306"/>
                  </a:lnTo>
                  <a:lnTo>
                    <a:pt x="116440" y="95306"/>
                  </a:lnTo>
                  <a:lnTo>
                    <a:pt x="117457" y="95306"/>
                  </a:lnTo>
                  <a:lnTo>
                    <a:pt x="117457" y="94440"/>
                  </a:lnTo>
                  <a:lnTo>
                    <a:pt x="117457" y="94440"/>
                  </a:lnTo>
                  <a:lnTo>
                    <a:pt x="118474" y="94440"/>
                  </a:lnTo>
                  <a:lnTo>
                    <a:pt x="118474" y="93574"/>
                  </a:lnTo>
                  <a:lnTo>
                    <a:pt x="117457" y="92274"/>
                  </a:lnTo>
                  <a:lnTo>
                    <a:pt x="116440" y="91407"/>
                  </a:lnTo>
                  <a:lnTo>
                    <a:pt x="116440" y="90108"/>
                  </a:lnTo>
                  <a:lnTo>
                    <a:pt x="117457" y="88375"/>
                  </a:lnTo>
                  <a:lnTo>
                    <a:pt x="117457" y="87075"/>
                  </a:lnTo>
                  <a:lnTo>
                    <a:pt x="118474" y="85342"/>
                  </a:lnTo>
                  <a:lnTo>
                    <a:pt x="118474" y="85342"/>
                  </a:lnTo>
                  <a:lnTo>
                    <a:pt x="118474" y="85342"/>
                  </a:lnTo>
                  <a:lnTo>
                    <a:pt x="118474" y="84043"/>
                  </a:lnTo>
                  <a:lnTo>
                    <a:pt x="118474" y="84043"/>
                  </a:lnTo>
                  <a:lnTo>
                    <a:pt x="118474" y="84043"/>
                  </a:lnTo>
                  <a:lnTo>
                    <a:pt x="118474" y="82310"/>
                  </a:lnTo>
                  <a:lnTo>
                    <a:pt x="118474" y="80144"/>
                  </a:lnTo>
                  <a:lnTo>
                    <a:pt x="120000" y="77978"/>
                  </a:lnTo>
                  <a:lnTo>
                    <a:pt x="120000" y="77978"/>
                  </a:lnTo>
                  <a:lnTo>
                    <a:pt x="120000" y="77978"/>
                  </a:lnTo>
                  <a:lnTo>
                    <a:pt x="120000" y="77978"/>
                  </a:lnTo>
                  <a:lnTo>
                    <a:pt x="120000" y="77111"/>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27" name="Shape 527"/>
            <p:cNvSpPr/>
            <p:nvPr/>
          </p:nvSpPr>
          <p:spPr>
            <a:xfrm>
              <a:off x="5256" y="2209"/>
              <a:ext cx="0" cy="0"/>
            </a:xfrm>
            <a:custGeom>
              <a:avLst/>
              <a:gdLst/>
              <a:ahLst/>
              <a:cxnLst/>
              <a:rect l="0" t="0" r="0" b="0"/>
              <a:pathLst>
                <a:path w="120000" h="120000" extrusionOk="0">
                  <a:moveTo>
                    <a:pt x="120000" y="96666"/>
                  </a:moveTo>
                  <a:lnTo>
                    <a:pt x="120000" y="96666"/>
                  </a:lnTo>
                  <a:lnTo>
                    <a:pt x="114098" y="86666"/>
                  </a:lnTo>
                  <a:lnTo>
                    <a:pt x="114098" y="86666"/>
                  </a:lnTo>
                  <a:lnTo>
                    <a:pt x="114098" y="86666"/>
                  </a:lnTo>
                  <a:lnTo>
                    <a:pt x="114098" y="80000"/>
                  </a:lnTo>
                  <a:lnTo>
                    <a:pt x="120000" y="73333"/>
                  </a:lnTo>
                  <a:lnTo>
                    <a:pt x="114098" y="73333"/>
                  </a:lnTo>
                  <a:lnTo>
                    <a:pt x="114098" y="63333"/>
                  </a:lnTo>
                  <a:lnTo>
                    <a:pt x="110163" y="63333"/>
                  </a:lnTo>
                  <a:lnTo>
                    <a:pt x="110163" y="63333"/>
                  </a:lnTo>
                  <a:lnTo>
                    <a:pt x="106229" y="63333"/>
                  </a:lnTo>
                  <a:lnTo>
                    <a:pt x="100327" y="63333"/>
                  </a:lnTo>
                  <a:lnTo>
                    <a:pt x="96393" y="56666"/>
                  </a:lnTo>
                  <a:lnTo>
                    <a:pt x="96393" y="50000"/>
                  </a:lnTo>
                  <a:lnTo>
                    <a:pt x="96393" y="50000"/>
                  </a:lnTo>
                  <a:lnTo>
                    <a:pt x="96393" y="40000"/>
                  </a:lnTo>
                  <a:lnTo>
                    <a:pt x="96393" y="40000"/>
                  </a:lnTo>
                  <a:lnTo>
                    <a:pt x="96393" y="40000"/>
                  </a:lnTo>
                  <a:lnTo>
                    <a:pt x="96393" y="33333"/>
                  </a:lnTo>
                  <a:lnTo>
                    <a:pt x="96393" y="26666"/>
                  </a:lnTo>
                  <a:lnTo>
                    <a:pt x="92459" y="26666"/>
                  </a:lnTo>
                  <a:lnTo>
                    <a:pt x="86557" y="26666"/>
                  </a:lnTo>
                  <a:lnTo>
                    <a:pt x="82622" y="16666"/>
                  </a:lnTo>
                  <a:lnTo>
                    <a:pt x="82622" y="16666"/>
                  </a:lnTo>
                  <a:lnTo>
                    <a:pt x="82622" y="16666"/>
                  </a:lnTo>
                  <a:lnTo>
                    <a:pt x="78688" y="26666"/>
                  </a:lnTo>
                  <a:lnTo>
                    <a:pt x="78688" y="26666"/>
                  </a:lnTo>
                  <a:lnTo>
                    <a:pt x="72786" y="26666"/>
                  </a:lnTo>
                  <a:lnTo>
                    <a:pt x="72786" y="26666"/>
                  </a:lnTo>
                  <a:lnTo>
                    <a:pt x="68852" y="26666"/>
                  </a:lnTo>
                  <a:lnTo>
                    <a:pt x="64918" y="16666"/>
                  </a:lnTo>
                  <a:lnTo>
                    <a:pt x="59016" y="16666"/>
                  </a:lnTo>
                  <a:lnTo>
                    <a:pt x="55081" y="16666"/>
                  </a:lnTo>
                  <a:lnTo>
                    <a:pt x="49180" y="16666"/>
                  </a:lnTo>
                  <a:lnTo>
                    <a:pt x="49180" y="16666"/>
                  </a:lnTo>
                  <a:lnTo>
                    <a:pt x="49180" y="16666"/>
                  </a:lnTo>
                  <a:lnTo>
                    <a:pt x="49180" y="16666"/>
                  </a:lnTo>
                  <a:lnTo>
                    <a:pt x="49180" y="10000"/>
                  </a:lnTo>
                  <a:lnTo>
                    <a:pt x="49180" y="10000"/>
                  </a:lnTo>
                  <a:lnTo>
                    <a:pt x="45245" y="10000"/>
                  </a:lnTo>
                  <a:lnTo>
                    <a:pt x="41311" y="0"/>
                  </a:lnTo>
                  <a:lnTo>
                    <a:pt x="35409" y="0"/>
                  </a:lnTo>
                  <a:lnTo>
                    <a:pt x="31475" y="0"/>
                  </a:lnTo>
                  <a:lnTo>
                    <a:pt x="31475" y="10000"/>
                  </a:lnTo>
                  <a:lnTo>
                    <a:pt x="27540" y="10000"/>
                  </a:lnTo>
                  <a:lnTo>
                    <a:pt x="27540" y="16666"/>
                  </a:lnTo>
                  <a:lnTo>
                    <a:pt x="21639" y="16666"/>
                  </a:lnTo>
                  <a:lnTo>
                    <a:pt x="21639" y="16666"/>
                  </a:lnTo>
                  <a:lnTo>
                    <a:pt x="17704" y="26666"/>
                  </a:lnTo>
                  <a:lnTo>
                    <a:pt x="13770" y="40000"/>
                  </a:lnTo>
                  <a:lnTo>
                    <a:pt x="13770" y="50000"/>
                  </a:lnTo>
                  <a:lnTo>
                    <a:pt x="7868" y="56666"/>
                  </a:lnTo>
                  <a:lnTo>
                    <a:pt x="7868" y="56666"/>
                  </a:lnTo>
                  <a:lnTo>
                    <a:pt x="3934" y="63333"/>
                  </a:lnTo>
                  <a:lnTo>
                    <a:pt x="3934" y="73333"/>
                  </a:lnTo>
                  <a:lnTo>
                    <a:pt x="3934" y="73333"/>
                  </a:lnTo>
                  <a:lnTo>
                    <a:pt x="0" y="80000"/>
                  </a:lnTo>
                  <a:lnTo>
                    <a:pt x="0" y="80000"/>
                  </a:lnTo>
                  <a:lnTo>
                    <a:pt x="3934" y="86666"/>
                  </a:lnTo>
                  <a:lnTo>
                    <a:pt x="3934" y="86666"/>
                  </a:lnTo>
                  <a:lnTo>
                    <a:pt x="3934" y="86666"/>
                  </a:lnTo>
                  <a:lnTo>
                    <a:pt x="7868" y="96666"/>
                  </a:lnTo>
                  <a:lnTo>
                    <a:pt x="7868" y="103333"/>
                  </a:lnTo>
                  <a:lnTo>
                    <a:pt x="13770" y="103333"/>
                  </a:lnTo>
                  <a:lnTo>
                    <a:pt x="17704" y="113333"/>
                  </a:lnTo>
                  <a:lnTo>
                    <a:pt x="21639" y="103333"/>
                  </a:lnTo>
                  <a:lnTo>
                    <a:pt x="27540" y="103333"/>
                  </a:lnTo>
                  <a:lnTo>
                    <a:pt x="31475" y="113333"/>
                  </a:lnTo>
                  <a:lnTo>
                    <a:pt x="31475" y="113333"/>
                  </a:lnTo>
                  <a:lnTo>
                    <a:pt x="31475" y="113333"/>
                  </a:lnTo>
                  <a:lnTo>
                    <a:pt x="35409" y="113333"/>
                  </a:lnTo>
                  <a:lnTo>
                    <a:pt x="35409" y="113333"/>
                  </a:lnTo>
                  <a:lnTo>
                    <a:pt x="35409" y="113333"/>
                  </a:lnTo>
                  <a:lnTo>
                    <a:pt x="35409" y="120000"/>
                  </a:lnTo>
                  <a:lnTo>
                    <a:pt x="41311" y="120000"/>
                  </a:lnTo>
                  <a:lnTo>
                    <a:pt x="45245" y="113333"/>
                  </a:lnTo>
                  <a:lnTo>
                    <a:pt x="55081" y="113333"/>
                  </a:lnTo>
                  <a:lnTo>
                    <a:pt x="55081" y="103333"/>
                  </a:lnTo>
                  <a:lnTo>
                    <a:pt x="55081" y="103333"/>
                  </a:lnTo>
                  <a:lnTo>
                    <a:pt x="59016" y="103333"/>
                  </a:lnTo>
                  <a:lnTo>
                    <a:pt x="64918" y="103333"/>
                  </a:lnTo>
                  <a:lnTo>
                    <a:pt x="68852" y="113333"/>
                  </a:lnTo>
                  <a:lnTo>
                    <a:pt x="68852" y="113333"/>
                  </a:lnTo>
                  <a:lnTo>
                    <a:pt x="72786" y="113333"/>
                  </a:lnTo>
                  <a:lnTo>
                    <a:pt x="78688" y="113333"/>
                  </a:lnTo>
                  <a:lnTo>
                    <a:pt x="86557" y="113333"/>
                  </a:lnTo>
                  <a:lnTo>
                    <a:pt x="92459" y="113333"/>
                  </a:lnTo>
                  <a:lnTo>
                    <a:pt x="96393" y="103333"/>
                  </a:lnTo>
                  <a:lnTo>
                    <a:pt x="100327" y="103333"/>
                  </a:lnTo>
                  <a:lnTo>
                    <a:pt x="100327" y="113333"/>
                  </a:lnTo>
                  <a:lnTo>
                    <a:pt x="106229" y="113333"/>
                  </a:lnTo>
                  <a:lnTo>
                    <a:pt x="110163" y="103333"/>
                  </a:lnTo>
                  <a:lnTo>
                    <a:pt x="114098" y="103333"/>
                  </a:lnTo>
                  <a:lnTo>
                    <a:pt x="114098" y="103333"/>
                  </a:lnTo>
                  <a:lnTo>
                    <a:pt x="114098" y="103333"/>
                  </a:lnTo>
                  <a:lnTo>
                    <a:pt x="120000" y="103333"/>
                  </a:lnTo>
                  <a:lnTo>
                    <a:pt x="120000" y="103333"/>
                  </a:lnTo>
                  <a:lnTo>
                    <a:pt x="120000" y="103333"/>
                  </a:lnTo>
                  <a:lnTo>
                    <a:pt x="120000" y="96666"/>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28" name="Shape 528"/>
            <p:cNvSpPr/>
            <p:nvPr/>
          </p:nvSpPr>
          <p:spPr>
            <a:xfrm>
              <a:off x="3667" y="2545"/>
              <a:ext cx="0" cy="0"/>
            </a:xfrm>
            <a:custGeom>
              <a:avLst/>
              <a:gdLst/>
              <a:ahLst/>
              <a:cxnLst/>
              <a:rect l="0" t="0" r="0" b="0"/>
              <a:pathLst>
                <a:path w="120000" h="120000" extrusionOk="0">
                  <a:moveTo>
                    <a:pt x="119999" y="34285"/>
                  </a:moveTo>
                  <a:lnTo>
                    <a:pt x="119999" y="32481"/>
                  </a:lnTo>
                  <a:lnTo>
                    <a:pt x="119999" y="29774"/>
                  </a:lnTo>
                  <a:lnTo>
                    <a:pt x="119999" y="27969"/>
                  </a:lnTo>
                  <a:lnTo>
                    <a:pt x="119999" y="26165"/>
                  </a:lnTo>
                  <a:lnTo>
                    <a:pt x="113684" y="26165"/>
                  </a:lnTo>
                  <a:lnTo>
                    <a:pt x="113684" y="23458"/>
                  </a:lnTo>
                  <a:lnTo>
                    <a:pt x="113684" y="23458"/>
                  </a:lnTo>
                  <a:lnTo>
                    <a:pt x="109473" y="18947"/>
                  </a:lnTo>
                  <a:lnTo>
                    <a:pt x="109473" y="17142"/>
                  </a:lnTo>
                  <a:lnTo>
                    <a:pt x="109473" y="15338"/>
                  </a:lnTo>
                  <a:lnTo>
                    <a:pt x="113684" y="15338"/>
                  </a:lnTo>
                  <a:lnTo>
                    <a:pt x="109473" y="12631"/>
                  </a:lnTo>
                  <a:lnTo>
                    <a:pt x="109473" y="10827"/>
                  </a:lnTo>
                  <a:lnTo>
                    <a:pt x="105263" y="10827"/>
                  </a:lnTo>
                  <a:lnTo>
                    <a:pt x="98947" y="10827"/>
                  </a:lnTo>
                  <a:lnTo>
                    <a:pt x="98947" y="9022"/>
                  </a:lnTo>
                  <a:lnTo>
                    <a:pt x="94736" y="6315"/>
                  </a:lnTo>
                  <a:lnTo>
                    <a:pt x="84210" y="2706"/>
                  </a:lnTo>
                  <a:lnTo>
                    <a:pt x="84210" y="2706"/>
                  </a:lnTo>
                  <a:lnTo>
                    <a:pt x="84210" y="0"/>
                  </a:lnTo>
                  <a:lnTo>
                    <a:pt x="80000" y="2706"/>
                  </a:lnTo>
                  <a:lnTo>
                    <a:pt x="80000" y="2706"/>
                  </a:lnTo>
                  <a:lnTo>
                    <a:pt x="73684" y="2706"/>
                  </a:lnTo>
                  <a:lnTo>
                    <a:pt x="73684" y="2706"/>
                  </a:lnTo>
                  <a:lnTo>
                    <a:pt x="69473" y="4511"/>
                  </a:lnTo>
                  <a:lnTo>
                    <a:pt x="65263" y="4511"/>
                  </a:lnTo>
                  <a:lnTo>
                    <a:pt x="65263" y="4511"/>
                  </a:lnTo>
                  <a:lnTo>
                    <a:pt x="65263" y="9022"/>
                  </a:lnTo>
                  <a:lnTo>
                    <a:pt x="65263" y="10827"/>
                  </a:lnTo>
                  <a:lnTo>
                    <a:pt x="65263" y="10827"/>
                  </a:lnTo>
                  <a:lnTo>
                    <a:pt x="58947" y="15338"/>
                  </a:lnTo>
                  <a:lnTo>
                    <a:pt x="58947" y="15338"/>
                  </a:lnTo>
                  <a:lnTo>
                    <a:pt x="50526" y="18947"/>
                  </a:lnTo>
                  <a:lnTo>
                    <a:pt x="44210" y="18947"/>
                  </a:lnTo>
                  <a:lnTo>
                    <a:pt x="35789" y="18947"/>
                  </a:lnTo>
                  <a:lnTo>
                    <a:pt x="35789" y="18947"/>
                  </a:lnTo>
                  <a:lnTo>
                    <a:pt x="29473" y="18947"/>
                  </a:lnTo>
                  <a:lnTo>
                    <a:pt x="29473" y="18947"/>
                  </a:lnTo>
                  <a:lnTo>
                    <a:pt x="25263" y="18947"/>
                  </a:lnTo>
                  <a:lnTo>
                    <a:pt x="25263" y="18947"/>
                  </a:lnTo>
                  <a:lnTo>
                    <a:pt x="25263" y="18947"/>
                  </a:lnTo>
                  <a:lnTo>
                    <a:pt x="25263" y="21654"/>
                  </a:lnTo>
                  <a:lnTo>
                    <a:pt x="18947" y="21654"/>
                  </a:lnTo>
                  <a:lnTo>
                    <a:pt x="18947" y="21654"/>
                  </a:lnTo>
                  <a:lnTo>
                    <a:pt x="18947" y="21654"/>
                  </a:lnTo>
                  <a:lnTo>
                    <a:pt x="14736" y="23458"/>
                  </a:lnTo>
                  <a:lnTo>
                    <a:pt x="14736" y="23458"/>
                  </a:lnTo>
                  <a:lnTo>
                    <a:pt x="14736" y="23458"/>
                  </a:lnTo>
                  <a:lnTo>
                    <a:pt x="14736" y="23458"/>
                  </a:lnTo>
                  <a:lnTo>
                    <a:pt x="14736" y="26165"/>
                  </a:lnTo>
                  <a:lnTo>
                    <a:pt x="14736" y="26165"/>
                  </a:lnTo>
                  <a:lnTo>
                    <a:pt x="14736" y="26165"/>
                  </a:lnTo>
                  <a:lnTo>
                    <a:pt x="10526" y="26165"/>
                  </a:lnTo>
                  <a:lnTo>
                    <a:pt x="10526" y="26165"/>
                  </a:lnTo>
                  <a:lnTo>
                    <a:pt x="10526" y="27969"/>
                  </a:lnTo>
                  <a:lnTo>
                    <a:pt x="10526" y="27969"/>
                  </a:lnTo>
                  <a:lnTo>
                    <a:pt x="4210" y="27969"/>
                  </a:lnTo>
                  <a:lnTo>
                    <a:pt x="4210" y="29774"/>
                  </a:lnTo>
                  <a:lnTo>
                    <a:pt x="4210" y="32481"/>
                  </a:lnTo>
                  <a:lnTo>
                    <a:pt x="4210" y="32481"/>
                  </a:lnTo>
                  <a:lnTo>
                    <a:pt x="0" y="38796"/>
                  </a:lnTo>
                  <a:lnTo>
                    <a:pt x="0" y="40601"/>
                  </a:lnTo>
                  <a:lnTo>
                    <a:pt x="4210" y="40601"/>
                  </a:lnTo>
                  <a:lnTo>
                    <a:pt x="10526" y="43308"/>
                  </a:lnTo>
                  <a:lnTo>
                    <a:pt x="18947" y="45112"/>
                  </a:lnTo>
                  <a:lnTo>
                    <a:pt x="25263" y="46917"/>
                  </a:lnTo>
                  <a:lnTo>
                    <a:pt x="25263" y="46917"/>
                  </a:lnTo>
                  <a:lnTo>
                    <a:pt x="25263" y="51428"/>
                  </a:lnTo>
                  <a:lnTo>
                    <a:pt x="25263" y="55939"/>
                  </a:lnTo>
                  <a:lnTo>
                    <a:pt x="25263" y="57744"/>
                  </a:lnTo>
                  <a:lnTo>
                    <a:pt x="25263" y="57744"/>
                  </a:lnTo>
                  <a:lnTo>
                    <a:pt x="25263" y="59548"/>
                  </a:lnTo>
                  <a:lnTo>
                    <a:pt x="35789" y="62255"/>
                  </a:lnTo>
                  <a:lnTo>
                    <a:pt x="35789" y="64060"/>
                  </a:lnTo>
                  <a:lnTo>
                    <a:pt x="35789" y="70375"/>
                  </a:lnTo>
                  <a:lnTo>
                    <a:pt x="35789" y="74887"/>
                  </a:lnTo>
                  <a:lnTo>
                    <a:pt x="35789" y="79398"/>
                  </a:lnTo>
                  <a:lnTo>
                    <a:pt x="35789" y="83007"/>
                  </a:lnTo>
                  <a:lnTo>
                    <a:pt x="35789" y="90225"/>
                  </a:lnTo>
                  <a:lnTo>
                    <a:pt x="35789" y="96541"/>
                  </a:lnTo>
                  <a:lnTo>
                    <a:pt x="35789" y="104661"/>
                  </a:lnTo>
                  <a:lnTo>
                    <a:pt x="29473" y="104661"/>
                  </a:lnTo>
                  <a:lnTo>
                    <a:pt x="35789" y="106466"/>
                  </a:lnTo>
                  <a:lnTo>
                    <a:pt x="35789" y="109172"/>
                  </a:lnTo>
                  <a:lnTo>
                    <a:pt x="35789" y="109172"/>
                  </a:lnTo>
                  <a:lnTo>
                    <a:pt x="35789" y="109172"/>
                  </a:lnTo>
                  <a:lnTo>
                    <a:pt x="35789" y="110977"/>
                  </a:lnTo>
                  <a:lnTo>
                    <a:pt x="35789" y="110977"/>
                  </a:lnTo>
                  <a:lnTo>
                    <a:pt x="40000" y="115488"/>
                  </a:lnTo>
                  <a:lnTo>
                    <a:pt x="40000" y="117293"/>
                  </a:lnTo>
                  <a:lnTo>
                    <a:pt x="35789" y="117293"/>
                  </a:lnTo>
                  <a:lnTo>
                    <a:pt x="35789" y="120000"/>
                  </a:lnTo>
                  <a:lnTo>
                    <a:pt x="40000" y="117293"/>
                  </a:lnTo>
                  <a:lnTo>
                    <a:pt x="58947" y="117293"/>
                  </a:lnTo>
                  <a:lnTo>
                    <a:pt x="73684" y="115488"/>
                  </a:lnTo>
                  <a:lnTo>
                    <a:pt x="73684" y="115488"/>
                  </a:lnTo>
                  <a:lnTo>
                    <a:pt x="80000" y="110977"/>
                  </a:lnTo>
                  <a:lnTo>
                    <a:pt x="80000" y="110977"/>
                  </a:lnTo>
                  <a:lnTo>
                    <a:pt x="80000" y="109172"/>
                  </a:lnTo>
                  <a:lnTo>
                    <a:pt x="80000" y="109172"/>
                  </a:lnTo>
                  <a:lnTo>
                    <a:pt x="80000" y="106466"/>
                  </a:lnTo>
                  <a:lnTo>
                    <a:pt x="80000" y="104661"/>
                  </a:lnTo>
                  <a:lnTo>
                    <a:pt x="80000" y="102857"/>
                  </a:lnTo>
                  <a:lnTo>
                    <a:pt x="80000" y="102857"/>
                  </a:lnTo>
                  <a:lnTo>
                    <a:pt x="80000" y="100150"/>
                  </a:lnTo>
                  <a:lnTo>
                    <a:pt x="80000" y="96541"/>
                  </a:lnTo>
                  <a:lnTo>
                    <a:pt x="80000" y="96541"/>
                  </a:lnTo>
                  <a:lnTo>
                    <a:pt x="80000" y="96541"/>
                  </a:lnTo>
                  <a:lnTo>
                    <a:pt x="80000" y="93834"/>
                  </a:lnTo>
                  <a:lnTo>
                    <a:pt x="80000" y="93834"/>
                  </a:lnTo>
                  <a:lnTo>
                    <a:pt x="80000" y="92030"/>
                  </a:lnTo>
                  <a:lnTo>
                    <a:pt x="80000" y="90225"/>
                  </a:lnTo>
                  <a:lnTo>
                    <a:pt x="73684" y="87518"/>
                  </a:lnTo>
                  <a:lnTo>
                    <a:pt x="73684" y="87518"/>
                  </a:lnTo>
                  <a:lnTo>
                    <a:pt x="73684" y="83007"/>
                  </a:lnTo>
                  <a:lnTo>
                    <a:pt x="80000" y="79398"/>
                  </a:lnTo>
                  <a:lnTo>
                    <a:pt x="73684" y="76691"/>
                  </a:lnTo>
                  <a:lnTo>
                    <a:pt x="80000" y="76691"/>
                  </a:lnTo>
                  <a:lnTo>
                    <a:pt x="80000" y="73082"/>
                  </a:lnTo>
                  <a:lnTo>
                    <a:pt x="80000" y="70375"/>
                  </a:lnTo>
                  <a:lnTo>
                    <a:pt x="80000" y="64060"/>
                  </a:lnTo>
                  <a:lnTo>
                    <a:pt x="84210" y="64060"/>
                  </a:lnTo>
                  <a:lnTo>
                    <a:pt x="88421" y="64060"/>
                  </a:lnTo>
                  <a:lnTo>
                    <a:pt x="94736" y="62255"/>
                  </a:lnTo>
                  <a:lnTo>
                    <a:pt x="94736" y="59548"/>
                  </a:lnTo>
                  <a:lnTo>
                    <a:pt x="94736" y="57744"/>
                  </a:lnTo>
                  <a:lnTo>
                    <a:pt x="94736" y="55939"/>
                  </a:lnTo>
                  <a:lnTo>
                    <a:pt x="98947" y="55939"/>
                  </a:lnTo>
                  <a:lnTo>
                    <a:pt x="98947" y="53233"/>
                  </a:lnTo>
                  <a:lnTo>
                    <a:pt x="98947" y="51428"/>
                  </a:lnTo>
                  <a:lnTo>
                    <a:pt x="105263" y="49624"/>
                  </a:lnTo>
                  <a:lnTo>
                    <a:pt x="105263" y="49624"/>
                  </a:lnTo>
                  <a:lnTo>
                    <a:pt x="109473" y="49624"/>
                  </a:lnTo>
                  <a:lnTo>
                    <a:pt x="109473" y="49624"/>
                  </a:lnTo>
                  <a:lnTo>
                    <a:pt x="113684" y="46917"/>
                  </a:lnTo>
                  <a:lnTo>
                    <a:pt x="113684" y="43308"/>
                  </a:lnTo>
                  <a:lnTo>
                    <a:pt x="109473" y="40601"/>
                  </a:lnTo>
                  <a:lnTo>
                    <a:pt x="109473" y="40601"/>
                  </a:lnTo>
                  <a:lnTo>
                    <a:pt x="113684" y="40601"/>
                  </a:lnTo>
                  <a:lnTo>
                    <a:pt x="113684" y="38796"/>
                  </a:lnTo>
                  <a:lnTo>
                    <a:pt x="113684" y="38796"/>
                  </a:lnTo>
                  <a:lnTo>
                    <a:pt x="119999" y="38796"/>
                  </a:lnTo>
                  <a:lnTo>
                    <a:pt x="119999" y="38796"/>
                  </a:lnTo>
                  <a:lnTo>
                    <a:pt x="119999" y="38796"/>
                  </a:lnTo>
                  <a:lnTo>
                    <a:pt x="119999" y="34285"/>
                  </a:lnTo>
                  <a:lnTo>
                    <a:pt x="119999" y="34285"/>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29" name="Shape 529"/>
            <p:cNvSpPr/>
            <p:nvPr/>
          </p:nvSpPr>
          <p:spPr>
            <a:xfrm>
              <a:off x="2015" y="2418"/>
              <a:ext cx="0" cy="0"/>
            </a:xfrm>
            <a:custGeom>
              <a:avLst/>
              <a:gdLst/>
              <a:ahLst/>
              <a:cxnLst/>
              <a:rect l="0" t="0" r="0" b="0"/>
              <a:pathLst>
                <a:path w="120000" h="120000" extrusionOk="0">
                  <a:moveTo>
                    <a:pt x="111428" y="4444"/>
                  </a:moveTo>
                  <a:lnTo>
                    <a:pt x="102857" y="4444"/>
                  </a:lnTo>
                  <a:lnTo>
                    <a:pt x="102857" y="4444"/>
                  </a:lnTo>
                  <a:lnTo>
                    <a:pt x="102857" y="0"/>
                  </a:lnTo>
                  <a:lnTo>
                    <a:pt x="102857" y="0"/>
                  </a:lnTo>
                  <a:lnTo>
                    <a:pt x="89999" y="0"/>
                  </a:lnTo>
                  <a:lnTo>
                    <a:pt x="89999" y="0"/>
                  </a:lnTo>
                  <a:lnTo>
                    <a:pt x="81428" y="8888"/>
                  </a:lnTo>
                  <a:lnTo>
                    <a:pt x="59999" y="20000"/>
                  </a:lnTo>
                  <a:lnTo>
                    <a:pt x="59999" y="24444"/>
                  </a:lnTo>
                  <a:lnTo>
                    <a:pt x="51428" y="24444"/>
                  </a:lnTo>
                  <a:lnTo>
                    <a:pt x="51428" y="24444"/>
                  </a:lnTo>
                  <a:lnTo>
                    <a:pt x="51428" y="24444"/>
                  </a:lnTo>
                  <a:lnTo>
                    <a:pt x="38571" y="20000"/>
                  </a:lnTo>
                  <a:lnTo>
                    <a:pt x="29999" y="24444"/>
                  </a:lnTo>
                  <a:lnTo>
                    <a:pt x="29999" y="24444"/>
                  </a:lnTo>
                  <a:lnTo>
                    <a:pt x="29999" y="31111"/>
                  </a:lnTo>
                  <a:lnTo>
                    <a:pt x="21428" y="40000"/>
                  </a:lnTo>
                  <a:lnTo>
                    <a:pt x="21428" y="57777"/>
                  </a:lnTo>
                  <a:lnTo>
                    <a:pt x="21428" y="62222"/>
                  </a:lnTo>
                  <a:lnTo>
                    <a:pt x="8571" y="77777"/>
                  </a:lnTo>
                  <a:lnTo>
                    <a:pt x="8571" y="88888"/>
                  </a:lnTo>
                  <a:lnTo>
                    <a:pt x="0" y="108888"/>
                  </a:lnTo>
                  <a:lnTo>
                    <a:pt x="0" y="120000"/>
                  </a:lnTo>
                  <a:lnTo>
                    <a:pt x="0" y="120000"/>
                  </a:lnTo>
                  <a:lnTo>
                    <a:pt x="8571" y="120000"/>
                  </a:lnTo>
                  <a:lnTo>
                    <a:pt x="21428" y="120000"/>
                  </a:lnTo>
                  <a:lnTo>
                    <a:pt x="29999" y="120000"/>
                  </a:lnTo>
                  <a:lnTo>
                    <a:pt x="21428" y="120000"/>
                  </a:lnTo>
                  <a:lnTo>
                    <a:pt x="29999" y="115555"/>
                  </a:lnTo>
                  <a:lnTo>
                    <a:pt x="38571" y="104444"/>
                  </a:lnTo>
                  <a:lnTo>
                    <a:pt x="59999" y="104444"/>
                  </a:lnTo>
                  <a:lnTo>
                    <a:pt x="68571" y="93333"/>
                  </a:lnTo>
                  <a:lnTo>
                    <a:pt x="68571" y="93333"/>
                  </a:lnTo>
                  <a:lnTo>
                    <a:pt x="81428" y="88888"/>
                  </a:lnTo>
                  <a:lnTo>
                    <a:pt x="89999" y="73333"/>
                  </a:lnTo>
                  <a:lnTo>
                    <a:pt x="89999" y="62222"/>
                  </a:lnTo>
                  <a:lnTo>
                    <a:pt x="89999" y="51111"/>
                  </a:lnTo>
                  <a:lnTo>
                    <a:pt x="89999" y="51111"/>
                  </a:lnTo>
                  <a:lnTo>
                    <a:pt x="102857" y="46666"/>
                  </a:lnTo>
                  <a:lnTo>
                    <a:pt x="89999" y="40000"/>
                  </a:lnTo>
                  <a:lnTo>
                    <a:pt x="102857" y="35555"/>
                  </a:lnTo>
                  <a:lnTo>
                    <a:pt x="102857" y="31111"/>
                  </a:lnTo>
                  <a:lnTo>
                    <a:pt x="111428" y="15555"/>
                  </a:lnTo>
                  <a:lnTo>
                    <a:pt x="119999" y="8888"/>
                  </a:lnTo>
                  <a:lnTo>
                    <a:pt x="111428" y="4444"/>
                  </a:lnTo>
                  <a:lnTo>
                    <a:pt x="111428" y="4444"/>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30" name="Shape 530"/>
            <p:cNvSpPr/>
            <p:nvPr/>
          </p:nvSpPr>
          <p:spPr>
            <a:xfrm>
              <a:off x="3721" y="1725"/>
              <a:ext cx="0" cy="0"/>
            </a:xfrm>
            <a:custGeom>
              <a:avLst/>
              <a:gdLst/>
              <a:ahLst/>
              <a:cxnLst/>
              <a:rect l="0" t="0" r="0" b="0"/>
              <a:pathLst>
                <a:path w="120000" h="120000" extrusionOk="0">
                  <a:moveTo>
                    <a:pt x="120000" y="65714"/>
                  </a:moveTo>
                  <a:lnTo>
                    <a:pt x="120000" y="60000"/>
                  </a:lnTo>
                  <a:lnTo>
                    <a:pt x="120000" y="60000"/>
                  </a:lnTo>
                  <a:lnTo>
                    <a:pt x="114193" y="60000"/>
                  </a:lnTo>
                  <a:lnTo>
                    <a:pt x="114193" y="60000"/>
                  </a:lnTo>
                  <a:lnTo>
                    <a:pt x="114193" y="60000"/>
                  </a:lnTo>
                  <a:lnTo>
                    <a:pt x="114193" y="54285"/>
                  </a:lnTo>
                  <a:lnTo>
                    <a:pt x="114193" y="54285"/>
                  </a:lnTo>
                  <a:lnTo>
                    <a:pt x="110322" y="45714"/>
                  </a:lnTo>
                  <a:lnTo>
                    <a:pt x="110322" y="45714"/>
                  </a:lnTo>
                  <a:lnTo>
                    <a:pt x="110322" y="45714"/>
                  </a:lnTo>
                  <a:lnTo>
                    <a:pt x="104516" y="45714"/>
                  </a:lnTo>
                  <a:lnTo>
                    <a:pt x="104516" y="40000"/>
                  </a:lnTo>
                  <a:lnTo>
                    <a:pt x="100645" y="45714"/>
                  </a:lnTo>
                  <a:lnTo>
                    <a:pt x="100645" y="45714"/>
                  </a:lnTo>
                  <a:lnTo>
                    <a:pt x="96774" y="40000"/>
                  </a:lnTo>
                  <a:lnTo>
                    <a:pt x="96774" y="40000"/>
                  </a:lnTo>
                  <a:lnTo>
                    <a:pt x="96774" y="40000"/>
                  </a:lnTo>
                  <a:lnTo>
                    <a:pt x="100645" y="34285"/>
                  </a:lnTo>
                  <a:lnTo>
                    <a:pt x="100645" y="34285"/>
                  </a:lnTo>
                  <a:lnTo>
                    <a:pt x="100645" y="34285"/>
                  </a:lnTo>
                  <a:lnTo>
                    <a:pt x="100645" y="34285"/>
                  </a:lnTo>
                  <a:lnTo>
                    <a:pt x="104516" y="25714"/>
                  </a:lnTo>
                  <a:lnTo>
                    <a:pt x="104516" y="25714"/>
                  </a:lnTo>
                  <a:lnTo>
                    <a:pt x="100645" y="20000"/>
                  </a:lnTo>
                  <a:lnTo>
                    <a:pt x="100645" y="20000"/>
                  </a:lnTo>
                  <a:lnTo>
                    <a:pt x="96774" y="20000"/>
                  </a:lnTo>
                  <a:lnTo>
                    <a:pt x="96774" y="20000"/>
                  </a:lnTo>
                  <a:lnTo>
                    <a:pt x="90967" y="11428"/>
                  </a:lnTo>
                  <a:lnTo>
                    <a:pt x="90967" y="11428"/>
                  </a:lnTo>
                  <a:lnTo>
                    <a:pt x="90967" y="11428"/>
                  </a:lnTo>
                  <a:lnTo>
                    <a:pt x="87096" y="11428"/>
                  </a:lnTo>
                  <a:lnTo>
                    <a:pt x="83225" y="11428"/>
                  </a:lnTo>
                  <a:lnTo>
                    <a:pt x="83225" y="11428"/>
                  </a:lnTo>
                  <a:lnTo>
                    <a:pt x="83225" y="5714"/>
                  </a:lnTo>
                  <a:lnTo>
                    <a:pt x="77419" y="5714"/>
                  </a:lnTo>
                  <a:lnTo>
                    <a:pt x="77419" y="5714"/>
                  </a:lnTo>
                  <a:lnTo>
                    <a:pt x="77419" y="5714"/>
                  </a:lnTo>
                  <a:lnTo>
                    <a:pt x="77419" y="5714"/>
                  </a:lnTo>
                  <a:lnTo>
                    <a:pt x="73548" y="5714"/>
                  </a:lnTo>
                  <a:lnTo>
                    <a:pt x="73548" y="5714"/>
                  </a:lnTo>
                  <a:lnTo>
                    <a:pt x="73548" y="5714"/>
                  </a:lnTo>
                  <a:lnTo>
                    <a:pt x="73548" y="5714"/>
                  </a:lnTo>
                  <a:lnTo>
                    <a:pt x="73548" y="5714"/>
                  </a:lnTo>
                  <a:lnTo>
                    <a:pt x="69677" y="0"/>
                  </a:lnTo>
                  <a:lnTo>
                    <a:pt x="69677" y="5714"/>
                  </a:lnTo>
                  <a:lnTo>
                    <a:pt x="63870" y="5714"/>
                  </a:lnTo>
                  <a:lnTo>
                    <a:pt x="63870" y="5714"/>
                  </a:lnTo>
                  <a:lnTo>
                    <a:pt x="63870" y="5714"/>
                  </a:lnTo>
                  <a:lnTo>
                    <a:pt x="60000" y="5714"/>
                  </a:lnTo>
                  <a:lnTo>
                    <a:pt x="60000" y="5714"/>
                  </a:lnTo>
                  <a:lnTo>
                    <a:pt x="60000" y="11428"/>
                  </a:lnTo>
                  <a:lnTo>
                    <a:pt x="60000" y="11428"/>
                  </a:lnTo>
                  <a:lnTo>
                    <a:pt x="56129" y="11428"/>
                  </a:lnTo>
                  <a:lnTo>
                    <a:pt x="56129" y="5714"/>
                  </a:lnTo>
                  <a:lnTo>
                    <a:pt x="56129" y="11428"/>
                  </a:lnTo>
                  <a:lnTo>
                    <a:pt x="50322" y="11428"/>
                  </a:lnTo>
                  <a:lnTo>
                    <a:pt x="46451" y="20000"/>
                  </a:lnTo>
                  <a:lnTo>
                    <a:pt x="46451" y="20000"/>
                  </a:lnTo>
                  <a:lnTo>
                    <a:pt x="40645" y="20000"/>
                  </a:lnTo>
                  <a:lnTo>
                    <a:pt x="40645" y="20000"/>
                  </a:lnTo>
                  <a:lnTo>
                    <a:pt x="40645" y="20000"/>
                  </a:lnTo>
                  <a:lnTo>
                    <a:pt x="36774" y="11428"/>
                  </a:lnTo>
                  <a:lnTo>
                    <a:pt x="32903" y="11428"/>
                  </a:lnTo>
                  <a:lnTo>
                    <a:pt x="32903" y="11428"/>
                  </a:lnTo>
                  <a:lnTo>
                    <a:pt x="32903" y="20000"/>
                  </a:lnTo>
                  <a:lnTo>
                    <a:pt x="27096" y="20000"/>
                  </a:lnTo>
                  <a:lnTo>
                    <a:pt x="27096" y="11428"/>
                  </a:lnTo>
                  <a:lnTo>
                    <a:pt x="27096" y="11428"/>
                  </a:lnTo>
                  <a:lnTo>
                    <a:pt x="27096" y="5714"/>
                  </a:lnTo>
                  <a:lnTo>
                    <a:pt x="23225" y="11428"/>
                  </a:lnTo>
                  <a:lnTo>
                    <a:pt x="13548" y="11428"/>
                  </a:lnTo>
                  <a:lnTo>
                    <a:pt x="0" y="25714"/>
                  </a:lnTo>
                  <a:lnTo>
                    <a:pt x="0" y="25714"/>
                  </a:lnTo>
                  <a:lnTo>
                    <a:pt x="0" y="34285"/>
                  </a:lnTo>
                  <a:lnTo>
                    <a:pt x="5806" y="34285"/>
                  </a:lnTo>
                  <a:lnTo>
                    <a:pt x="0" y="34285"/>
                  </a:lnTo>
                  <a:lnTo>
                    <a:pt x="5806" y="40000"/>
                  </a:lnTo>
                  <a:lnTo>
                    <a:pt x="5806" y="40000"/>
                  </a:lnTo>
                  <a:lnTo>
                    <a:pt x="9677" y="45714"/>
                  </a:lnTo>
                  <a:lnTo>
                    <a:pt x="9677" y="45714"/>
                  </a:lnTo>
                  <a:lnTo>
                    <a:pt x="9677" y="45714"/>
                  </a:lnTo>
                  <a:lnTo>
                    <a:pt x="13548" y="45714"/>
                  </a:lnTo>
                  <a:lnTo>
                    <a:pt x="13548" y="45714"/>
                  </a:lnTo>
                  <a:lnTo>
                    <a:pt x="19354" y="45714"/>
                  </a:lnTo>
                  <a:lnTo>
                    <a:pt x="19354" y="45714"/>
                  </a:lnTo>
                  <a:lnTo>
                    <a:pt x="19354" y="45714"/>
                  </a:lnTo>
                  <a:lnTo>
                    <a:pt x="23225" y="54285"/>
                  </a:lnTo>
                  <a:lnTo>
                    <a:pt x="23225" y="54285"/>
                  </a:lnTo>
                  <a:lnTo>
                    <a:pt x="23225" y="60000"/>
                  </a:lnTo>
                  <a:lnTo>
                    <a:pt x="23225" y="60000"/>
                  </a:lnTo>
                  <a:lnTo>
                    <a:pt x="27096" y="60000"/>
                  </a:lnTo>
                  <a:lnTo>
                    <a:pt x="32903" y="60000"/>
                  </a:lnTo>
                  <a:lnTo>
                    <a:pt x="32903" y="60000"/>
                  </a:lnTo>
                  <a:lnTo>
                    <a:pt x="36774" y="74285"/>
                  </a:lnTo>
                  <a:lnTo>
                    <a:pt x="36774" y="74285"/>
                  </a:lnTo>
                  <a:lnTo>
                    <a:pt x="36774" y="74285"/>
                  </a:lnTo>
                  <a:lnTo>
                    <a:pt x="36774" y="65714"/>
                  </a:lnTo>
                  <a:lnTo>
                    <a:pt x="36774" y="65714"/>
                  </a:lnTo>
                  <a:lnTo>
                    <a:pt x="40645" y="65714"/>
                  </a:lnTo>
                  <a:lnTo>
                    <a:pt x="46451" y="65714"/>
                  </a:lnTo>
                  <a:lnTo>
                    <a:pt x="46451" y="74285"/>
                  </a:lnTo>
                  <a:lnTo>
                    <a:pt x="50322" y="74285"/>
                  </a:lnTo>
                  <a:lnTo>
                    <a:pt x="50322" y="74285"/>
                  </a:lnTo>
                  <a:lnTo>
                    <a:pt x="50322" y="80000"/>
                  </a:lnTo>
                  <a:lnTo>
                    <a:pt x="50322" y="80000"/>
                  </a:lnTo>
                  <a:lnTo>
                    <a:pt x="50322" y="80000"/>
                  </a:lnTo>
                  <a:lnTo>
                    <a:pt x="50322" y="85714"/>
                  </a:lnTo>
                  <a:lnTo>
                    <a:pt x="50322" y="85714"/>
                  </a:lnTo>
                  <a:lnTo>
                    <a:pt x="50322" y="85714"/>
                  </a:lnTo>
                  <a:lnTo>
                    <a:pt x="50322" y="85714"/>
                  </a:lnTo>
                  <a:lnTo>
                    <a:pt x="50322" y="85714"/>
                  </a:lnTo>
                  <a:lnTo>
                    <a:pt x="50322" y="94285"/>
                  </a:lnTo>
                  <a:lnTo>
                    <a:pt x="50322" y="94285"/>
                  </a:lnTo>
                  <a:lnTo>
                    <a:pt x="56129" y="94285"/>
                  </a:lnTo>
                  <a:lnTo>
                    <a:pt x="63870" y="94285"/>
                  </a:lnTo>
                  <a:lnTo>
                    <a:pt x="63870" y="85714"/>
                  </a:lnTo>
                  <a:lnTo>
                    <a:pt x="63870" y="85714"/>
                  </a:lnTo>
                  <a:lnTo>
                    <a:pt x="69677" y="85714"/>
                  </a:lnTo>
                  <a:lnTo>
                    <a:pt x="69677" y="80000"/>
                  </a:lnTo>
                  <a:lnTo>
                    <a:pt x="69677" y="80000"/>
                  </a:lnTo>
                  <a:lnTo>
                    <a:pt x="73548" y="80000"/>
                  </a:lnTo>
                  <a:lnTo>
                    <a:pt x="69677" y="94285"/>
                  </a:lnTo>
                  <a:lnTo>
                    <a:pt x="73548" y="94285"/>
                  </a:lnTo>
                  <a:lnTo>
                    <a:pt x="73548" y="100000"/>
                  </a:lnTo>
                  <a:lnTo>
                    <a:pt x="73548" y="100000"/>
                  </a:lnTo>
                  <a:lnTo>
                    <a:pt x="73548" y="100000"/>
                  </a:lnTo>
                  <a:lnTo>
                    <a:pt x="77419" y="100000"/>
                  </a:lnTo>
                  <a:lnTo>
                    <a:pt x="77419" y="100000"/>
                  </a:lnTo>
                  <a:lnTo>
                    <a:pt x="77419" y="108571"/>
                  </a:lnTo>
                  <a:lnTo>
                    <a:pt x="83225" y="108571"/>
                  </a:lnTo>
                  <a:lnTo>
                    <a:pt x="83225" y="108571"/>
                  </a:lnTo>
                  <a:lnTo>
                    <a:pt x="87096" y="108571"/>
                  </a:lnTo>
                  <a:lnTo>
                    <a:pt x="87096" y="114285"/>
                  </a:lnTo>
                  <a:lnTo>
                    <a:pt x="87096" y="114285"/>
                  </a:lnTo>
                  <a:lnTo>
                    <a:pt x="90967" y="120000"/>
                  </a:lnTo>
                  <a:lnTo>
                    <a:pt x="90967" y="120000"/>
                  </a:lnTo>
                  <a:lnTo>
                    <a:pt x="96774" y="114285"/>
                  </a:lnTo>
                  <a:lnTo>
                    <a:pt x="96774" y="114285"/>
                  </a:lnTo>
                  <a:lnTo>
                    <a:pt x="100645" y="114285"/>
                  </a:lnTo>
                  <a:lnTo>
                    <a:pt x="100645" y="114285"/>
                  </a:lnTo>
                  <a:lnTo>
                    <a:pt x="100645" y="114285"/>
                  </a:lnTo>
                  <a:lnTo>
                    <a:pt x="100645" y="114285"/>
                  </a:lnTo>
                  <a:lnTo>
                    <a:pt x="104516" y="108571"/>
                  </a:lnTo>
                  <a:lnTo>
                    <a:pt x="100645" y="108571"/>
                  </a:lnTo>
                  <a:lnTo>
                    <a:pt x="100645" y="100000"/>
                  </a:lnTo>
                  <a:lnTo>
                    <a:pt x="100645" y="100000"/>
                  </a:lnTo>
                  <a:lnTo>
                    <a:pt x="100645" y="100000"/>
                  </a:lnTo>
                  <a:lnTo>
                    <a:pt x="100645" y="100000"/>
                  </a:lnTo>
                  <a:lnTo>
                    <a:pt x="100645" y="94285"/>
                  </a:lnTo>
                  <a:lnTo>
                    <a:pt x="100645" y="94285"/>
                  </a:lnTo>
                  <a:lnTo>
                    <a:pt x="100645" y="94285"/>
                  </a:lnTo>
                  <a:lnTo>
                    <a:pt x="100645" y="85714"/>
                  </a:lnTo>
                  <a:lnTo>
                    <a:pt x="104516" y="85714"/>
                  </a:lnTo>
                  <a:lnTo>
                    <a:pt x="104516" y="80000"/>
                  </a:lnTo>
                  <a:lnTo>
                    <a:pt x="110322" y="80000"/>
                  </a:lnTo>
                  <a:lnTo>
                    <a:pt x="110322" y="80000"/>
                  </a:lnTo>
                  <a:lnTo>
                    <a:pt x="110322" y="80000"/>
                  </a:lnTo>
                  <a:lnTo>
                    <a:pt x="110322" y="80000"/>
                  </a:lnTo>
                  <a:lnTo>
                    <a:pt x="110322" y="80000"/>
                  </a:lnTo>
                  <a:lnTo>
                    <a:pt x="114193" y="74285"/>
                  </a:lnTo>
                  <a:lnTo>
                    <a:pt x="120000" y="74285"/>
                  </a:lnTo>
                  <a:lnTo>
                    <a:pt x="120000" y="65714"/>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31" name="Shape 531"/>
            <p:cNvSpPr/>
            <p:nvPr/>
          </p:nvSpPr>
          <p:spPr>
            <a:xfrm>
              <a:off x="4051" y="1632"/>
              <a:ext cx="0" cy="0"/>
            </a:xfrm>
            <a:custGeom>
              <a:avLst/>
              <a:gdLst/>
              <a:ahLst/>
              <a:cxnLst/>
              <a:rect l="0" t="0" r="0" b="0"/>
              <a:pathLst>
                <a:path w="120000" h="120000" extrusionOk="0">
                  <a:moveTo>
                    <a:pt x="120000" y="67500"/>
                  </a:moveTo>
                  <a:lnTo>
                    <a:pt x="120000" y="67500"/>
                  </a:lnTo>
                  <a:lnTo>
                    <a:pt x="117583" y="67500"/>
                  </a:lnTo>
                  <a:lnTo>
                    <a:pt x="115973" y="65000"/>
                  </a:lnTo>
                  <a:lnTo>
                    <a:pt x="115973" y="65000"/>
                  </a:lnTo>
                  <a:lnTo>
                    <a:pt x="114362" y="61250"/>
                  </a:lnTo>
                  <a:lnTo>
                    <a:pt x="115973" y="61250"/>
                  </a:lnTo>
                  <a:lnTo>
                    <a:pt x="115973" y="61250"/>
                  </a:lnTo>
                  <a:lnTo>
                    <a:pt x="111946" y="58750"/>
                  </a:lnTo>
                  <a:lnTo>
                    <a:pt x="108724" y="58750"/>
                  </a:lnTo>
                  <a:lnTo>
                    <a:pt x="106308" y="58750"/>
                  </a:lnTo>
                  <a:lnTo>
                    <a:pt x="106308" y="58750"/>
                  </a:lnTo>
                  <a:lnTo>
                    <a:pt x="106308" y="55000"/>
                  </a:lnTo>
                  <a:lnTo>
                    <a:pt x="106308" y="55000"/>
                  </a:lnTo>
                  <a:lnTo>
                    <a:pt x="106308" y="52500"/>
                  </a:lnTo>
                  <a:lnTo>
                    <a:pt x="106308" y="52500"/>
                  </a:lnTo>
                  <a:lnTo>
                    <a:pt x="106308" y="52500"/>
                  </a:lnTo>
                  <a:lnTo>
                    <a:pt x="104697" y="50000"/>
                  </a:lnTo>
                  <a:lnTo>
                    <a:pt x="100671" y="46250"/>
                  </a:lnTo>
                  <a:lnTo>
                    <a:pt x="99060" y="46250"/>
                  </a:lnTo>
                  <a:lnTo>
                    <a:pt x="99060" y="43750"/>
                  </a:lnTo>
                  <a:lnTo>
                    <a:pt x="96644" y="41250"/>
                  </a:lnTo>
                  <a:lnTo>
                    <a:pt x="96644" y="41250"/>
                  </a:lnTo>
                  <a:lnTo>
                    <a:pt x="96644" y="41250"/>
                  </a:lnTo>
                  <a:lnTo>
                    <a:pt x="96644" y="37500"/>
                  </a:lnTo>
                  <a:lnTo>
                    <a:pt x="96644" y="37500"/>
                  </a:lnTo>
                  <a:lnTo>
                    <a:pt x="96644" y="37500"/>
                  </a:lnTo>
                  <a:lnTo>
                    <a:pt x="95033" y="35000"/>
                  </a:lnTo>
                  <a:lnTo>
                    <a:pt x="91006" y="32500"/>
                  </a:lnTo>
                  <a:lnTo>
                    <a:pt x="91006" y="32500"/>
                  </a:lnTo>
                  <a:lnTo>
                    <a:pt x="91006" y="32500"/>
                  </a:lnTo>
                  <a:lnTo>
                    <a:pt x="91006" y="28750"/>
                  </a:lnTo>
                  <a:lnTo>
                    <a:pt x="93422" y="28750"/>
                  </a:lnTo>
                  <a:lnTo>
                    <a:pt x="93422" y="26250"/>
                  </a:lnTo>
                  <a:lnTo>
                    <a:pt x="93422" y="26250"/>
                  </a:lnTo>
                  <a:lnTo>
                    <a:pt x="93422" y="22500"/>
                  </a:lnTo>
                  <a:lnTo>
                    <a:pt x="91006" y="22500"/>
                  </a:lnTo>
                  <a:lnTo>
                    <a:pt x="91006" y="20000"/>
                  </a:lnTo>
                  <a:lnTo>
                    <a:pt x="91006" y="20000"/>
                  </a:lnTo>
                  <a:lnTo>
                    <a:pt x="91006" y="20000"/>
                  </a:lnTo>
                  <a:lnTo>
                    <a:pt x="91006" y="20000"/>
                  </a:lnTo>
                  <a:lnTo>
                    <a:pt x="91006" y="17500"/>
                  </a:lnTo>
                  <a:lnTo>
                    <a:pt x="91006" y="13750"/>
                  </a:lnTo>
                  <a:lnTo>
                    <a:pt x="91006" y="13750"/>
                  </a:lnTo>
                  <a:lnTo>
                    <a:pt x="91006" y="13750"/>
                  </a:lnTo>
                  <a:lnTo>
                    <a:pt x="91006" y="13750"/>
                  </a:lnTo>
                  <a:lnTo>
                    <a:pt x="89395" y="13750"/>
                  </a:lnTo>
                  <a:lnTo>
                    <a:pt x="89395" y="11250"/>
                  </a:lnTo>
                  <a:lnTo>
                    <a:pt x="89395" y="11250"/>
                  </a:lnTo>
                  <a:lnTo>
                    <a:pt x="87785" y="11250"/>
                  </a:lnTo>
                  <a:lnTo>
                    <a:pt x="87785" y="11250"/>
                  </a:lnTo>
                  <a:lnTo>
                    <a:pt x="85369" y="8750"/>
                  </a:lnTo>
                  <a:lnTo>
                    <a:pt x="85369" y="8750"/>
                  </a:lnTo>
                  <a:lnTo>
                    <a:pt x="83758" y="8750"/>
                  </a:lnTo>
                  <a:lnTo>
                    <a:pt x="79731" y="8750"/>
                  </a:lnTo>
                  <a:lnTo>
                    <a:pt x="79731" y="8750"/>
                  </a:lnTo>
                  <a:lnTo>
                    <a:pt x="78120" y="8750"/>
                  </a:lnTo>
                  <a:lnTo>
                    <a:pt x="78120" y="8750"/>
                  </a:lnTo>
                  <a:lnTo>
                    <a:pt x="75704" y="8750"/>
                  </a:lnTo>
                  <a:lnTo>
                    <a:pt x="75704" y="8750"/>
                  </a:lnTo>
                  <a:lnTo>
                    <a:pt x="75704" y="8750"/>
                  </a:lnTo>
                  <a:lnTo>
                    <a:pt x="74093" y="11250"/>
                  </a:lnTo>
                  <a:lnTo>
                    <a:pt x="72483" y="11250"/>
                  </a:lnTo>
                  <a:lnTo>
                    <a:pt x="72483" y="8750"/>
                  </a:lnTo>
                  <a:lnTo>
                    <a:pt x="72483" y="8750"/>
                  </a:lnTo>
                  <a:lnTo>
                    <a:pt x="72483" y="5000"/>
                  </a:lnTo>
                  <a:lnTo>
                    <a:pt x="72483" y="5000"/>
                  </a:lnTo>
                  <a:lnTo>
                    <a:pt x="72483" y="5000"/>
                  </a:lnTo>
                  <a:lnTo>
                    <a:pt x="70067" y="5000"/>
                  </a:lnTo>
                  <a:lnTo>
                    <a:pt x="68456" y="2500"/>
                  </a:lnTo>
                  <a:lnTo>
                    <a:pt x="66845" y="2500"/>
                  </a:lnTo>
                  <a:lnTo>
                    <a:pt x="66845" y="2500"/>
                  </a:lnTo>
                  <a:lnTo>
                    <a:pt x="64429" y="5000"/>
                  </a:lnTo>
                  <a:lnTo>
                    <a:pt x="64429" y="5000"/>
                  </a:lnTo>
                  <a:lnTo>
                    <a:pt x="62818" y="2500"/>
                  </a:lnTo>
                  <a:lnTo>
                    <a:pt x="62818" y="2500"/>
                  </a:lnTo>
                  <a:lnTo>
                    <a:pt x="61208" y="0"/>
                  </a:lnTo>
                  <a:lnTo>
                    <a:pt x="58791" y="0"/>
                  </a:lnTo>
                  <a:lnTo>
                    <a:pt x="58791" y="2500"/>
                  </a:lnTo>
                  <a:lnTo>
                    <a:pt x="58791" y="2500"/>
                  </a:lnTo>
                  <a:lnTo>
                    <a:pt x="58791" y="2500"/>
                  </a:lnTo>
                  <a:lnTo>
                    <a:pt x="57181" y="0"/>
                  </a:lnTo>
                  <a:lnTo>
                    <a:pt x="55570" y="0"/>
                  </a:lnTo>
                  <a:lnTo>
                    <a:pt x="55570" y="0"/>
                  </a:lnTo>
                  <a:lnTo>
                    <a:pt x="53154" y="2500"/>
                  </a:lnTo>
                  <a:lnTo>
                    <a:pt x="51543" y="5000"/>
                  </a:lnTo>
                  <a:lnTo>
                    <a:pt x="51543" y="5000"/>
                  </a:lnTo>
                  <a:lnTo>
                    <a:pt x="49932" y="8750"/>
                  </a:lnTo>
                  <a:lnTo>
                    <a:pt x="49932" y="8750"/>
                  </a:lnTo>
                  <a:lnTo>
                    <a:pt x="47516" y="8750"/>
                  </a:lnTo>
                  <a:lnTo>
                    <a:pt x="47516" y="8750"/>
                  </a:lnTo>
                  <a:lnTo>
                    <a:pt x="45906" y="8750"/>
                  </a:lnTo>
                  <a:lnTo>
                    <a:pt x="43489" y="8750"/>
                  </a:lnTo>
                  <a:lnTo>
                    <a:pt x="41879" y="8750"/>
                  </a:lnTo>
                  <a:lnTo>
                    <a:pt x="40268" y="11250"/>
                  </a:lnTo>
                  <a:lnTo>
                    <a:pt x="40268" y="11250"/>
                  </a:lnTo>
                  <a:lnTo>
                    <a:pt x="37852" y="11250"/>
                  </a:lnTo>
                  <a:lnTo>
                    <a:pt x="37852" y="11250"/>
                  </a:lnTo>
                  <a:lnTo>
                    <a:pt x="37852" y="11250"/>
                  </a:lnTo>
                  <a:lnTo>
                    <a:pt x="37852" y="13750"/>
                  </a:lnTo>
                  <a:lnTo>
                    <a:pt x="37852" y="17500"/>
                  </a:lnTo>
                  <a:lnTo>
                    <a:pt x="36241" y="20000"/>
                  </a:lnTo>
                  <a:lnTo>
                    <a:pt x="36241" y="20000"/>
                  </a:lnTo>
                  <a:lnTo>
                    <a:pt x="37852" y="20000"/>
                  </a:lnTo>
                  <a:lnTo>
                    <a:pt x="40268" y="20000"/>
                  </a:lnTo>
                  <a:lnTo>
                    <a:pt x="40268" y="20000"/>
                  </a:lnTo>
                  <a:lnTo>
                    <a:pt x="40268" y="20000"/>
                  </a:lnTo>
                  <a:lnTo>
                    <a:pt x="40268" y="22500"/>
                  </a:lnTo>
                  <a:lnTo>
                    <a:pt x="40268" y="22500"/>
                  </a:lnTo>
                  <a:lnTo>
                    <a:pt x="40268" y="22500"/>
                  </a:lnTo>
                  <a:lnTo>
                    <a:pt x="37852" y="26250"/>
                  </a:lnTo>
                  <a:lnTo>
                    <a:pt x="34630" y="22500"/>
                  </a:lnTo>
                  <a:lnTo>
                    <a:pt x="34630" y="26250"/>
                  </a:lnTo>
                  <a:lnTo>
                    <a:pt x="34630" y="26250"/>
                  </a:lnTo>
                  <a:lnTo>
                    <a:pt x="34630" y="26250"/>
                  </a:lnTo>
                  <a:lnTo>
                    <a:pt x="34630" y="28750"/>
                  </a:lnTo>
                  <a:lnTo>
                    <a:pt x="32214" y="28750"/>
                  </a:lnTo>
                  <a:lnTo>
                    <a:pt x="30604" y="28750"/>
                  </a:lnTo>
                  <a:lnTo>
                    <a:pt x="30604" y="28750"/>
                  </a:lnTo>
                  <a:lnTo>
                    <a:pt x="28993" y="32500"/>
                  </a:lnTo>
                  <a:lnTo>
                    <a:pt x="28993" y="35000"/>
                  </a:lnTo>
                  <a:lnTo>
                    <a:pt x="28993" y="37500"/>
                  </a:lnTo>
                  <a:lnTo>
                    <a:pt x="28993" y="37500"/>
                  </a:lnTo>
                  <a:lnTo>
                    <a:pt x="28993" y="37500"/>
                  </a:lnTo>
                  <a:lnTo>
                    <a:pt x="28993" y="41250"/>
                  </a:lnTo>
                  <a:lnTo>
                    <a:pt x="26577" y="41250"/>
                  </a:lnTo>
                  <a:lnTo>
                    <a:pt x="26577" y="43750"/>
                  </a:lnTo>
                  <a:lnTo>
                    <a:pt x="26577" y="43750"/>
                  </a:lnTo>
                  <a:lnTo>
                    <a:pt x="26577" y="43750"/>
                  </a:lnTo>
                  <a:lnTo>
                    <a:pt x="28993" y="43750"/>
                  </a:lnTo>
                  <a:lnTo>
                    <a:pt x="28993" y="46250"/>
                  </a:lnTo>
                  <a:lnTo>
                    <a:pt x="28993" y="46250"/>
                  </a:lnTo>
                  <a:lnTo>
                    <a:pt x="30604" y="46250"/>
                  </a:lnTo>
                  <a:lnTo>
                    <a:pt x="30604" y="50000"/>
                  </a:lnTo>
                  <a:lnTo>
                    <a:pt x="30604" y="50000"/>
                  </a:lnTo>
                  <a:lnTo>
                    <a:pt x="28993" y="50000"/>
                  </a:lnTo>
                  <a:lnTo>
                    <a:pt x="26577" y="50000"/>
                  </a:lnTo>
                  <a:lnTo>
                    <a:pt x="26577" y="50000"/>
                  </a:lnTo>
                  <a:lnTo>
                    <a:pt x="26577" y="50000"/>
                  </a:lnTo>
                  <a:lnTo>
                    <a:pt x="26577" y="46250"/>
                  </a:lnTo>
                  <a:lnTo>
                    <a:pt x="26577" y="46250"/>
                  </a:lnTo>
                  <a:lnTo>
                    <a:pt x="26577" y="46250"/>
                  </a:lnTo>
                  <a:lnTo>
                    <a:pt x="24966" y="46250"/>
                  </a:lnTo>
                  <a:lnTo>
                    <a:pt x="23355" y="46250"/>
                  </a:lnTo>
                  <a:lnTo>
                    <a:pt x="23355" y="46250"/>
                  </a:lnTo>
                  <a:lnTo>
                    <a:pt x="20939" y="50000"/>
                  </a:lnTo>
                  <a:lnTo>
                    <a:pt x="20939" y="50000"/>
                  </a:lnTo>
                  <a:lnTo>
                    <a:pt x="19328" y="50000"/>
                  </a:lnTo>
                  <a:lnTo>
                    <a:pt x="16912" y="50000"/>
                  </a:lnTo>
                  <a:lnTo>
                    <a:pt x="16912" y="52500"/>
                  </a:lnTo>
                  <a:lnTo>
                    <a:pt x="16912" y="52500"/>
                  </a:lnTo>
                  <a:lnTo>
                    <a:pt x="15302" y="52500"/>
                  </a:lnTo>
                  <a:lnTo>
                    <a:pt x="13691" y="55000"/>
                  </a:lnTo>
                  <a:lnTo>
                    <a:pt x="11275" y="55000"/>
                  </a:lnTo>
                  <a:lnTo>
                    <a:pt x="11275" y="55000"/>
                  </a:lnTo>
                  <a:lnTo>
                    <a:pt x="9664" y="55000"/>
                  </a:lnTo>
                  <a:lnTo>
                    <a:pt x="9664" y="55000"/>
                  </a:lnTo>
                  <a:lnTo>
                    <a:pt x="8053" y="55000"/>
                  </a:lnTo>
                  <a:lnTo>
                    <a:pt x="8053" y="55000"/>
                  </a:lnTo>
                  <a:lnTo>
                    <a:pt x="5637" y="55000"/>
                  </a:lnTo>
                  <a:lnTo>
                    <a:pt x="4026" y="55000"/>
                  </a:lnTo>
                  <a:lnTo>
                    <a:pt x="2416" y="55000"/>
                  </a:lnTo>
                  <a:lnTo>
                    <a:pt x="2416" y="55000"/>
                  </a:lnTo>
                  <a:lnTo>
                    <a:pt x="4026" y="61250"/>
                  </a:lnTo>
                  <a:lnTo>
                    <a:pt x="5637" y="70000"/>
                  </a:lnTo>
                  <a:lnTo>
                    <a:pt x="8053" y="76250"/>
                  </a:lnTo>
                  <a:lnTo>
                    <a:pt x="8053" y="76250"/>
                  </a:lnTo>
                  <a:lnTo>
                    <a:pt x="8053" y="78750"/>
                  </a:lnTo>
                  <a:lnTo>
                    <a:pt x="8053" y="82500"/>
                  </a:lnTo>
                  <a:lnTo>
                    <a:pt x="8053" y="85000"/>
                  </a:lnTo>
                  <a:lnTo>
                    <a:pt x="8053" y="85000"/>
                  </a:lnTo>
                  <a:lnTo>
                    <a:pt x="8053" y="85000"/>
                  </a:lnTo>
                  <a:lnTo>
                    <a:pt x="4026" y="87500"/>
                  </a:lnTo>
                  <a:lnTo>
                    <a:pt x="2416" y="91250"/>
                  </a:lnTo>
                  <a:lnTo>
                    <a:pt x="0" y="91250"/>
                  </a:lnTo>
                  <a:lnTo>
                    <a:pt x="0" y="93750"/>
                  </a:lnTo>
                  <a:lnTo>
                    <a:pt x="0" y="93750"/>
                  </a:lnTo>
                  <a:lnTo>
                    <a:pt x="0" y="97500"/>
                  </a:lnTo>
                  <a:lnTo>
                    <a:pt x="0" y="97500"/>
                  </a:lnTo>
                  <a:lnTo>
                    <a:pt x="2416" y="97500"/>
                  </a:lnTo>
                  <a:lnTo>
                    <a:pt x="4026" y="100000"/>
                  </a:lnTo>
                  <a:lnTo>
                    <a:pt x="4026" y="100000"/>
                  </a:lnTo>
                  <a:lnTo>
                    <a:pt x="5637" y="100000"/>
                  </a:lnTo>
                  <a:lnTo>
                    <a:pt x="5637" y="102500"/>
                  </a:lnTo>
                  <a:lnTo>
                    <a:pt x="5637" y="102500"/>
                  </a:lnTo>
                  <a:lnTo>
                    <a:pt x="5637" y="102500"/>
                  </a:lnTo>
                  <a:lnTo>
                    <a:pt x="5637" y="106250"/>
                  </a:lnTo>
                  <a:lnTo>
                    <a:pt x="5637" y="108750"/>
                  </a:lnTo>
                  <a:lnTo>
                    <a:pt x="5637" y="108750"/>
                  </a:lnTo>
                  <a:lnTo>
                    <a:pt x="5637" y="111250"/>
                  </a:lnTo>
                  <a:lnTo>
                    <a:pt x="5637" y="111250"/>
                  </a:lnTo>
                  <a:lnTo>
                    <a:pt x="5637" y="115000"/>
                  </a:lnTo>
                  <a:lnTo>
                    <a:pt x="5637" y="115000"/>
                  </a:lnTo>
                  <a:lnTo>
                    <a:pt x="5637" y="111250"/>
                  </a:lnTo>
                  <a:lnTo>
                    <a:pt x="5637" y="111250"/>
                  </a:lnTo>
                  <a:lnTo>
                    <a:pt x="8053" y="111250"/>
                  </a:lnTo>
                  <a:lnTo>
                    <a:pt x="8053" y="111250"/>
                  </a:lnTo>
                  <a:lnTo>
                    <a:pt x="9664" y="111250"/>
                  </a:lnTo>
                  <a:lnTo>
                    <a:pt x="9664" y="115000"/>
                  </a:lnTo>
                  <a:lnTo>
                    <a:pt x="11275" y="115000"/>
                  </a:lnTo>
                  <a:lnTo>
                    <a:pt x="13691" y="111250"/>
                  </a:lnTo>
                  <a:lnTo>
                    <a:pt x="13691" y="108750"/>
                  </a:lnTo>
                  <a:lnTo>
                    <a:pt x="15302" y="108750"/>
                  </a:lnTo>
                  <a:lnTo>
                    <a:pt x="15302" y="106250"/>
                  </a:lnTo>
                  <a:lnTo>
                    <a:pt x="16912" y="106250"/>
                  </a:lnTo>
                  <a:lnTo>
                    <a:pt x="19328" y="106250"/>
                  </a:lnTo>
                  <a:lnTo>
                    <a:pt x="19328" y="106250"/>
                  </a:lnTo>
                  <a:lnTo>
                    <a:pt x="20939" y="106250"/>
                  </a:lnTo>
                  <a:lnTo>
                    <a:pt x="23355" y="106250"/>
                  </a:lnTo>
                  <a:lnTo>
                    <a:pt x="24966" y="106250"/>
                  </a:lnTo>
                  <a:lnTo>
                    <a:pt x="26577" y="106250"/>
                  </a:lnTo>
                  <a:lnTo>
                    <a:pt x="30604" y="106250"/>
                  </a:lnTo>
                  <a:lnTo>
                    <a:pt x="34630" y="106250"/>
                  </a:lnTo>
                  <a:lnTo>
                    <a:pt x="34630" y="106250"/>
                  </a:lnTo>
                  <a:lnTo>
                    <a:pt x="40268" y="106250"/>
                  </a:lnTo>
                  <a:lnTo>
                    <a:pt x="41879" y="106250"/>
                  </a:lnTo>
                  <a:lnTo>
                    <a:pt x="41879" y="108750"/>
                  </a:lnTo>
                  <a:lnTo>
                    <a:pt x="43489" y="108750"/>
                  </a:lnTo>
                  <a:lnTo>
                    <a:pt x="45906" y="108750"/>
                  </a:lnTo>
                  <a:lnTo>
                    <a:pt x="49932" y="108750"/>
                  </a:lnTo>
                  <a:lnTo>
                    <a:pt x="49932" y="108750"/>
                  </a:lnTo>
                  <a:lnTo>
                    <a:pt x="51543" y="108750"/>
                  </a:lnTo>
                  <a:lnTo>
                    <a:pt x="53154" y="111250"/>
                  </a:lnTo>
                  <a:lnTo>
                    <a:pt x="53154" y="115000"/>
                  </a:lnTo>
                  <a:lnTo>
                    <a:pt x="53154" y="115000"/>
                  </a:lnTo>
                  <a:lnTo>
                    <a:pt x="55570" y="111250"/>
                  </a:lnTo>
                  <a:lnTo>
                    <a:pt x="57181" y="115000"/>
                  </a:lnTo>
                  <a:lnTo>
                    <a:pt x="58791" y="115000"/>
                  </a:lnTo>
                  <a:lnTo>
                    <a:pt x="58791" y="115000"/>
                  </a:lnTo>
                  <a:lnTo>
                    <a:pt x="58791" y="117500"/>
                  </a:lnTo>
                  <a:lnTo>
                    <a:pt x="58791" y="117500"/>
                  </a:lnTo>
                  <a:lnTo>
                    <a:pt x="58791" y="115000"/>
                  </a:lnTo>
                  <a:lnTo>
                    <a:pt x="61208" y="115000"/>
                  </a:lnTo>
                  <a:lnTo>
                    <a:pt x="61208" y="115000"/>
                  </a:lnTo>
                  <a:lnTo>
                    <a:pt x="62818" y="115000"/>
                  </a:lnTo>
                  <a:lnTo>
                    <a:pt x="62818" y="115000"/>
                  </a:lnTo>
                  <a:lnTo>
                    <a:pt x="64429" y="115000"/>
                  </a:lnTo>
                  <a:lnTo>
                    <a:pt x="64429" y="111250"/>
                  </a:lnTo>
                  <a:lnTo>
                    <a:pt x="66845" y="115000"/>
                  </a:lnTo>
                  <a:lnTo>
                    <a:pt x="68456" y="115000"/>
                  </a:lnTo>
                  <a:lnTo>
                    <a:pt x="68456" y="115000"/>
                  </a:lnTo>
                  <a:lnTo>
                    <a:pt x="70067" y="115000"/>
                  </a:lnTo>
                  <a:lnTo>
                    <a:pt x="70067" y="117500"/>
                  </a:lnTo>
                  <a:lnTo>
                    <a:pt x="72483" y="117500"/>
                  </a:lnTo>
                  <a:lnTo>
                    <a:pt x="72483" y="117500"/>
                  </a:lnTo>
                  <a:lnTo>
                    <a:pt x="72483" y="115000"/>
                  </a:lnTo>
                  <a:lnTo>
                    <a:pt x="74093" y="115000"/>
                  </a:lnTo>
                  <a:lnTo>
                    <a:pt x="74093" y="115000"/>
                  </a:lnTo>
                  <a:lnTo>
                    <a:pt x="74093" y="115000"/>
                  </a:lnTo>
                  <a:lnTo>
                    <a:pt x="75704" y="115000"/>
                  </a:lnTo>
                  <a:lnTo>
                    <a:pt x="75704" y="111250"/>
                  </a:lnTo>
                  <a:lnTo>
                    <a:pt x="75704" y="111250"/>
                  </a:lnTo>
                  <a:lnTo>
                    <a:pt x="75704" y="111250"/>
                  </a:lnTo>
                  <a:lnTo>
                    <a:pt x="78120" y="115000"/>
                  </a:lnTo>
                  <a:lnTo>
                    <a:pt x="78120" y="115000"/>
                  </a:lnTo>
                  <a:lnTo>
                    <a:pt x="79731" y="117500"/>
                  </a:lnTo>
                  <a:lnTo>
                    <a:pt x="79731" y="117500"/>
                  </a:lnTo>
                  <a:lnTo>
                    <a:pt x="82147" y="117500"/>
                  </a:lnTo>
                  <a:lnTo>
                    <a:pt x="82147" y="117500"/>
                  </a:lnTo>
                  <a:lnTo>
                    <a:pt x="83758" y="117500"/>
                  </a:lnTo>
                  <a:lnTo>
                    <a:pt x="87785" y="117500"/>
                  </a:lnTo>
                  <a:lnTo>
                    <a:pt x="89395" y="117500"/>
                  </a:lnTo>
                  <a:lnTo>
                    <a:pt x="91006" y="117500"/>
                  </a:lnTo>
                  <a:lnTo>
                    <a:pt x="91006" y="117500"/>
                  </a:lnTo>
                  <a:lnTo>
                    <a:pt x="93422" y="117500"/>
                  </a:lnTo>
                  <a:lnTo>
                    <a:pt x="93422" y="120000"/>
                  </a:lnTo>
                  <a:lnTo>
                    <a:pt x="95033" y="120000"/>
                  </a:lnTo>
                  <a:lnTo>
                    <a:pt x="95033" y="120000"/>
                  </a:lnTo>
                  <a:lnTo>
                    <a:pt x="95033" y="120000"/>
                  </a:lnTo>
                  <a:lnTo>
                    <a:pt x="96644" y="120000"/>
                  </a:lnTo>
                  <a:lnTo>
                    <a:pt x="96644" y="117500"/>
                  </a:lnTo>
                  <a:lnTo>
                    <a:pt x="96644" y="117500"/>
                  </a:lnTo>
                  <a:lnTo>
                    <a:pt x="95033" y="115000"/>
                  </a:lnTo>
                  <a:lnTo>
                    <a:pt x="95033" y="115000"/>
                  </a:lnTo>
                  <a:lnTo>
                    <a:pt x="95033" y="111250"/>
                  </a:lnTo>
                  <a:lnTo>
                    <a:pt x="95033" y="108750"/>
                  </a:lnTo>
                  <a:lnTo>
                    <a:pt x="96644" y="108750"/>
                  </a:lnTo>
                  <a:lnTo>
                    <a:pt x="96644" y="106250"/>
                  </a:lnTo>
                  <a:lnTo>
                    <a:pt x="99060" y="106250"/>
                  </a:lnTo>
                  <a:lnTo>
                    <a:pt x="99060" y="102500"/>
                  </a:lnTo>
                  <a:lnTo>
                    <a:pt x="100671" y="100000"/>
                  </a:lnTo>
                  <a:lnTo>
                    <a:pt x="102281" y="102500"/>
                  </a:lnTo>
                  <a:lnTo>
                    <a:pt x="102281" y="102500"/>
                  </a:lnTo>
                  <a:lnTo>
                    <a:pt x="104697" y="100000"/>
                  </a:lnTo>
                  <a:lnTo>
                    <a:pt x="106308" y="100000"/>
                  </a:lnTo>
                  <a:lnTo>
                    <a:pt x="110335" y="100000"/>
                  </a:lnTo>
                  <a:lnTo>
                    <a:pt x="110335" y="100000"/>
                  </a:lnTo>
                  <a:lnTo>
                    <a:pt x="108724" y="97500"/>
                  </a:lnTo>
                  <a:lnTo>
                    <a:pt x="108724" y="97500"/>
                  </a:lnTo>
                  <a:lnTo>
                    <a:pt x="106308" y="97500"/>
                  </a:lnTo>
                  <a:lnTo>
                    <a:pt x="106308" y="93750"/>
                  </a:lnTo>
                  <a:lnTo>
                    <a:pt x="106308" y="91250"/>
                  </a:lnTo>
                  <a:lnTo>
                    <a:pt x="106308" y="91250"/>
                  </a:lnTo>
                  <a:lnTo>
                    <a:pt x="106308" y="87500"/>
                  </a:lnTo>
                  <a:lnTo>
                    <a:pt x="106308" y="87500"/>
                  </a:lnTo>
                  <a:lnTo>
                    <a:pt x="104697" y="85000"/>
                  </a:lnTo>
                  <a:lnTo>
                    <a:pt x="106308" y="85000"/>
                  </a:lnTo>
                  <a:lnTo>
                    <a:pt x="106308" y="85000"/>
                  </a:lnTo>
                  <a:lnTo>
                    <a:pt x="104697" y="82500"/>
                  </a:lnTo>
                  <a:lnTo>
                    <a:pt x="104697" y="82500"/>
                  </a:lnTo>
                  <a:lnTo>
                    <a:pt x="102281" y="78750"/>
                  </a:lnTo>
                  <a:lnTo>
                    <a:pt x="102281" y="78750"/>
                  </a:lnTo>
                  <a:lnTo>
                    <a:pt x="100671" y="76250"/>
                  </a:lnTo>
                  <a:lnTo>
                    <a:pt x="102281" y="76250"/>
                  </a:lnTo>
                  <a:lnTo>
                    <a:pt x="102281" y="73750"/>
                  </a:lnTo>
                  <a:lnTo>
                    <a:pt x="102281" y="73750"/>
                  </a:lnTo>
                  <a:lnTo>
                    <a:pt x="102281" y="73750"/>
                  </a:lnTo>
                  <a:lnTo>
                    <a:pt x="104697" y="73750"/>
                  </a:lnTo>
                  <a:lnTo>
                    <a:pt x="106308" y="73750"/>
                  </a:lnTo>
                  <a:lnTo>
                    <a:pt x="106308" y="73750"/>
                  </a:lnTo>
                  <a:lnTo>
                    <a:pt x="108724" y="73750"/>
                  </a:lnTo>
                  <a:lnTo>
                    <a:pt x="108724" y="76250"/>
                  </a:lnTo>
                  <a:lnTo>
                    <a:pt x="111946" y="76250"/>
                  </a:lnTo>
                  <a:lnTo>
                    <a:pt x="111946" y="76250"/>
                  </a:lnTo>
                  <a:lnTo>
                    <a:pt x="114362" y="73750"/>
                  </a:lnTo>
                  <a:lnTo>
                    <a:pt x="115973" y="73750"/>
                  </a:lnTo>
                  <a:lnTo>
                    <a:pt x="115973" y="70000"/>
                  </a:lnTo>
                  <a:lnTo>
                    <a:pt x="117583" y="70000"/>
                  </a:lnTo>
                  <a:lnTo>
                    <a:pt x="117583" y="70000"/>
                  </a:lnTo>
                  <a:lnTo>
                    <a:pt x="120000" y="70000"/>
                  </a:lnTo>
                  <a:lnTo>
                    <a:pt x="120000" y="6750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32" name="Shape 532"/>
            <p:cNvSpPr/>
            <p:nvPr/>
          </p:nvSpPr>
          <p:spPr>
            <a:xfrm>
              <a:off x="2555" y="2526"/>
              <a:ext cx="0" cy="0"/>
            </a:xfrm>
            <a:custGeom>
              <a:avLst/>
              <a:gdLst/>
              <a:ahLst/>
              <a:cxnLst/>
              <a:rect l="0" t="0" r="0" b="0"/>
              <a:pathLst>
                <a:path w="120000" h="120000" extrusionOk="0">
                  <a:moveTo>
                    <a:pt x="120000" y="72000"/>
                  </a:moveTo>
                  <a:lnTo>
                    <a:pt x="0" y="0"/>
                  </a:lnTo>
                  <a:lnTo>
                    <a:pt x="0" y="0"/>
                  </a:lnTo>
                  <a:lnTo>
                    <a:pt x="0" y="120000"/>
                  </a:lnTo>
                  <a:lnTo>
                    <a:pt x="0" y="120000"/>
                  </a:lnTo>
                  <a:lnTo>
                    <a:pt x="120000" y="120000"/>
                  </a:lnTo>
                  <a:lnTo>
                    <a:pt x="120000" y="120000"/>
                  </a:lnTo>
                  <a:lnTo>
                    <a:pt x="120000" y="120000"/>
                  </a:lnTo>
                  <a:lnTo>
                    <a:pt x="120000" y="7200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33" name="Shape 533"/>
            <p:cNvSpPr/>
            <p:nvPr/>
          </p:nvSpPr>
          <p:spPr>
            <a:xfrm>
              <a:off x="5248" y="2247"/>
              <a:ext cx="0" cy="0"/>
            </a:xfrm>
            <a:custGeom>
              <a:avLst/>
              <a:gdLst/>
              <a:ahLst/>
              <a:cxnLst/>
              <a:rect l="0" t="0" r="0" b="0"/>
              <a:pathLst>
                <a:path w="120000" h="120000" extrusionOk="0">
                  <a:moveTo>
                    <a:pt x="79175" y="84297"/>
                  </a:moveTo>
                  <a:lnTo>
                    <a:pt x="81649" y="94214"/>
                  </a:lnTo>
                  <a:lnTo>
                    <a:pt x="81649" y="92231"/>
                  </a:lnTo>
                  <a:lnTo>
                    <a:pt x="85360" y="89256"/>
                  </a:lnTo>
                  <a:lnTo>
                    <a:pt x="81649" y="87272"/>
                  </a:lnTo>
                  <a:lnTo>
                    <a:pt x="79175" y="84297"/>
                  </a:lnTo>
                  <a:close/>
                  <a:moveTo>
                    <a:pt x="91546" y="84297"/>
                  </a:moveTo>
                  <a:lnTo>
                    <a:pt x="91546" y="82314"/>
                  </a:lnTo>
                  <a:lnTo>
                    <a:pt x="87835" y="82314"/>
                  </a:lnTo>
                  <a:lnTo>
                    <a:pt x="87835" y="82314"/>
                  </a:lnTo>
                  <a:lnTo>
                    <a:pt x="87835" y="84297"/>
                  </a:lnTo>
                  <a:lnTo>
                    <a:pt x="91546" y="87272"/>
                  </a:lnTo>
                  <a:lnTo>
                    <a:pt x="91546" y="87272"/>
                  </a:lnTo>
                  <a:lnTo>
                    <a:pt x="91546" y="87272"/>
                  </a:lnTo>
                  <a:lnTo>
                    <a:pt x="91546" y="87272"/>
                  </a:lnTo>
                  <a:lnTo>
                    <a:pt x="91546" y="84297"/>
                  </a:lnTo>
                  <a:close/>
                  <a:moveTo>
                    <a:pt x="72989" y="82314"/>
                  </a:moveTo>
                  <a:lnTo>
                    <a:pt x="70515" y="80330"/>
                  </a:lnTo>
                  <a:lnTo>
                    <a:pt x="70515" y="80330"/>
                  </a:lnTo>
                  <a:lnTo>
                    <a:pt x="70515" y="77355"/>
                  </a:lnTo>
                  <a:lnTo>
                    <a:pt x="68041" y="77355"/>
                  </a:lnTo>
                  <a:lnTo>
                    <a:pt x="68041" y="77355"/>
                  </a:lnTo>
                  <a:lnTo>
                    <a:pt x="68041" y="80330"/>
                  </a:lnTo>
                  <a:lnTo>
                    <a:pt x="68041" y="82314"/>
                  </a:lnTo>
                  <a:lnTo>
                    <a:pt x="68041" y="82314"/>
                  </a:lnTo>
                  <a:lnTo>
                    <a:pt x="70515" y="84297"/>
                  </a:lnTo>
                  <a:lnTo>
                    <a:pt x="70515" y="87272"/>
                  </a:lnTo>
                  <a:lnTo>
                    <a:pt x="72989" y="89256"/>
                  </a:lnTo>
                  <a:lnTo>
                    <a:pt x="70515" y="94214"/>
                  </a:lnTo>
                  <a:lnTo>
                    <a:pt x="70515" y="94214"/>
                  </a:lnTo>
                  <a:lnTo>
                    <a:pt x="76701" y="94214"/>
                  </a:lnTo>
                  <a:lnTo>
                    <a:pt x="76701" y="92231"/>
                  </a:lnTo>
                  <a:lnTo>
                    <a:pt x="76701" y="87272"/>
                  </a:lnTo>
                  <a:lnTo>
                    <a:pt x="76701" y="84297"/>
                  </a:lnTo>
                  <a:lnTo>
                    <a:pt x="72989" y="82314"/>
                  </a:lnTo>
                  <a:close/>
                  <a:moveTo>
                    <a:pt x="70515" y="75371"/>
                  </a:moveTo>
                  <a:lnTo>
                    <a:pt x="68041" y="73388"/>
                  </a:lnTo>
                  <a:lnTo>
                    <a:pt x="68041" y="75371"/>
                  </a:lnTo>
                  <a:lnTo>
                    <a:pt x="68041" y="75371"/>
                  </a:lnTo>
                  <a:lnTo>
                    <a:pt x="68041" y="75371"/>
                  </a:lnTo>
                  <a:lnTo>
                    <a:pt x="70515" y="75371"/>
                  </a:lnTo>
                  <a:lnTo>
                    <a:pt x="70515" y="75371"/>
                  </a:lnTo>
                  <a:close/>
                  <a:moveTo>
                    <a:pt x="120000" y="108099"/>
                  </a:moveTo>
                  <a:lnTo>
                    <a:pt x="117525" y="106115"/>
                  </a:lnTo>
                  <a:lnTo>
                    <a:pt x="117525" y="103140"/>
                  </a:lnTo>
                  <a:lnTo>
                    <a:pt x="117525" y="96198"/>
                  </a:lnTo>
                  <a:lnTo>
                    <a:pt x="117525" y="96198"/>
                  </a:lnTo>
                  <a:lnTo>
                    <a:pt x="113814" y="94214"/>
                  </a:lnTo>
                  <a:lnTo>
                    <a:pt x="113814" y="87272"/>
                  </a:lnTo>
                  <a:lnTo>
                    <a:pt x="113814" y="84297"/>
                  </a:lnTo>
                  <a:lnTo>
                    <a:pt x="111340" y="80330"/>
                  </a:lnTo>
                  <a:lnTo>
                    <a:pt x="111340" y="80330"/>
                  </a:lnTo>
                  <a:lnTo>
                    <a:pt x="111340" y="77355"/>
                  </a:lnTo>
                  <a:lnTo>
                    <a:pt x="108865" y="77355"/>
                  </a:lnTo>
                  <a:lnTo>
                    <a:pt x="108865" y="75371"/>
                  </a:lnTo>
                  <a:lnTo>
                    <a:pt x="108865" y="73388"/>
                  </a:lnTo>
                  <a:lnTo>
                    <a:pt x="105154" y="70413"/>
                  </a:lnTo>
                  <a:lnTo>
                    <a:pt x="105154" y="68429"/>
                  </a:lnTo>
                  <a:lnTo>
                    <a:pt x="105154" y="63471"/>
                  </a:lnTo>
                  <a:lnTo>
                    <a:pt x="102680" y="61487"/>
                  </a:lnTo>
                  <a:lnTo>
                    <a:pt x="102680" y="61487"/>
                  </a:lnTo>
                  <a:lnTo>
                    <a:pt x="100206" y="58512"/>
                  </a:lnTo>
                  <a:lnTo>
                    <a:pt x="100206" y="58512"/>
                  </a:lnTo>
                  <a:lnTo>
                    <a:pt x="100206" y="61487"/>
                  </a:lnTo>
                  <a:lnTo>
                    <a:pt x="96494" y="61487"/>
                  </a:lnTo>
                  <a:lnTo>
                    <a:pt x="96494" y="61487"/>
                  </a:lnTo>
                  <a:lnTo>
                    <a:pt x="96494" y="61487"/>
                  </a:lnTo>
                  <a:lnTo>
                    <a:pt x="96494" y="63471"/>
                  </a:lnTo>
                  <a:lnTo>
                    <a:pt x="96494" y="63471"/>
                  </a:lnTo>
                  <a:lnTo>
                    <a:pt x="94020" y="65454"/>
                  </a:lnTo>
                  <a:lnTo>
                    <a:pt x="94020" y="68429"/>
                  </a:lnTo>
                  <a:lnTo>
                    <a:pt x="94020" y="70413"/>
                  </a:lnTo>
                  <a:lnTo>
                    <a:pt x="94020" y="73388"/>
                  </a:lnTo>
                  <a:lnTo>
                    <a:pt x="94020" y="73388"/>
                  </a:lnTo>
                  <a:lnTo>
                    <a:pt x="94020" y="75371"/>
                  </a:lnTo>
                  <a:lnTo>
                    <a:pt x="91546" y="75371"/>
                  </a:lnTo>
                  <a:lnTo>
                    <a:pt x="91546" y="75371"/>
                  </a:lnTo>
                  <a:lnTo>
                    <a:pt x="87835" y="73388"/>
                  </a:lnTo>
                  <a:lnTo>
                    <a:pt x="87835" y="70413"/>
                  </a:lnTo>
                  <a:lnTo>
                    <a:pt x="85360" y="70413"/>
                  </a:lnTo>
                  <a:lnTo>
                    <a:pt x="85360" y="70413"/>
                  </a:lnTo>
                  <a:lnTo>
                    <a:pt x="85360" y="70413"/>
                  </a:lnTo>
                  <a:lnTo>
                    <a:pt x="85360" y="73388"/>
                  </a:lnTo>
                  <a:lnTo>
                    <a:pt x="85360" y="73388"/>
                  </a:lnTo>
                  <a:lnTo>
                    <a:pt x="85360" y="73388"/>
                  </a:lnTo>
                  <a:lnTo>
                    <a:pt x="85360" y="73388"/>
                  </a:lnTo>
                  <a:lnTo>
                    <a:pt x="85360" y="73388"/>
                  </a:lnTo>
                  <a:lnTo>
                    <a:pt x="81649" y="65454"/>
                  </a:lnTo>
                  <a:lnTo>
                    <a:pt x="79175" y="61487"/>
                  </a:lnTo>
                  <a:lnTo>
                    <a:pt x="79175" y="61487"/>
                  </a:lnTo>
                  <a:lnTo>
                    <a:pt x="79175" y="58512"/>
                  </a:lnTo>
                  <a:lnTo>
                    <a:pt x="79175" y="54545"/>
                  </a:lnTo>
                  <a:lnTo>
                    <a:pt x="81649" y="54545"/>
                  </a:lnTo>
                  <a:lnTo>
                    <a:pt x="81649" y="51570"/>
                  </a:lnTo>
                  <a:lnTo>
                    <a:pt x="81649" y="51570"/>
                  </a:lnTo>
                  <a:lnTo>
                    <a:pt x="81649" y="51570"/>
                  </a:lnTo>
                  <a:lnTo>
                    <a:pt x="85360" y="51570"/>
                  </a:lnTo>
                  <a:lnTo>
                    <a:pt x="85360" y="51570"/>
                  </a:lnTo>
                  <a:lnTo>
                    <a:pt x="87835" y="49586"/>
                  </a:lnTo>
                  <a:lnTo>
                    <a:pt x="87835" y="49586"/>
                  </a:lnTo>
                  <a:lnTo>
                    <a:pt x="87835" y="49586"/>
                  </a:lnTo>
                  <a:lnTo>
                    <a:pt x="91546" y="49586"/>
                  </a:lnTo>
                  <a:lnTo>
                    <a:pt x="91546" y="49586"/>
                  </a:lnTo>
                  <a:lnTo>
                    <a:pt x="94020" y="49586"/>
                  </a:lnTo>
                  <a:lnTo>
                    <a:pt x="94020" y="47603"/>
                  </a:lnTo>
                  <a:lnTo>
                    <a:pt x="94020" y="47603"/>
                  </a:lnTo>
                  <a:lnTo>
                    <a:pt x="94020" y="47603"/>
                  </a:lnTo>
                  <a:lnTo>
                    <a:pt x="94020" y="44628"/>
                  </a:lnTo>
                  <a:lnTo>
                    <a:pt x="96494" y="44628"/>
                  </a:lnTo>
                  <a:lnTo>
                    <a:pt x="96494" y="44628"/>
                  </a:lnTo>
                  <a:lnTo>
                    <a:pt x="96494" y="44628"/>
                  </a:lnTo>
                  <a:lnTo>
                    <a:pt x="96494" y="42644"/>
                  </a:lnTo>
                  <a:lnTo>
                    <a:pt x="96494" y="39669"/>
                  </a:lnTo>
                  <a:lnTo>
                    <a:pt x="100206" y="37685"/>
                  </a:lnTo>
                  <a:lnTo>
                    <a:pt x="100206" y="37685"/>
                  </a:lnTo>
                  <a:lnTo>
                    <a:pt x="96494" y="35702"/>
                  </a:lnTo>
                  <a:lnTo>
                    <a:pt x="100206" y="35702"/>
                  </a:lnTo>
                  <a:lnTo>
                    <a:pt x="102680" y="35702"/>
                  </a:lnTo>
                  <a:lnTo>
                    <a:pt x="102680" y="35702"/>
                  </a:lnTo>
                  <a:lnTo>
                    <a:pt x="102680" y="35702"/>
                  </a:lnTo>
                  <a:lnTo>
                    <a:pt x="102680" y="35702"/>
                  </a:lnTo>
                  <a:lnTo>
                    <a:pt x="102680" y="32727"/>
                  </a:lnTo>
                  <a:lnTo>
                    <a:pt x="100206" y="32727"/>
                  </a:lnTo>
                  <a:lnTo>
                    <a:pt x="96494" y="30743"/>
                  </a:lnTo>
                  <a:lnTo>
                    <a:pt x="94020" y="28760"/>
                  </a:lnTo>
                  <a:lnTo>
                    <a:pt x="85360" y="28760"/>
                  </a:lnTo>
                  <a:lnTo>
                    <a:pt x="79175" y="30743"/>
                  </a:lnTo>
                  <a:lnTo>
                    <a:pt x="79175" y="28760"/>
                  </a:lnTo>
                  <a:lnTo>
                    <a:pt x="76701" y="28760"/>
                  </a:lnTo>
                  <a:lnTo>
                    <a:pt x="70515" y="28760"/>
                  </a:lnTo>
                  <a:lnTo>
                    <a:pt x="64329" y="28760"/>
                  </a:lnTo>
                  <a:lnTo>
                    <a:pt x="61855" y="28760"/>
                  </a:lnTo>
                  <a:lnTo>
                    <a:pt x="59381" y="28760"/>
                  </a:lnTo>
                  <a:lnTo>
                    <a:pt x="55670" y="28760"/>
                  </a:lnTo>
                  <a:lnTo>
                    <a:pt x="53195" y="28760"/>
                  </a:lnTo>
                  <a:lnTo>
                    <a:pt x="50721" y="28760"/>
                  </a:lnTo>
                  <a:lnTo>
                    <a:pt x="47010" y="28760"/>
                  </a:lnTo>
                  <a:lnTo>
                    <a:pt x="44536" y="25785"/>
                  </a:lnTo>
                  <a:lnTo>
                    <a:pt x="40824" y="25785"/>
                  </a:lnTo>
                  <a:lnTo>
                    <a:pt x="40824" y="25785"/>
                  </a:lnTo>
                  <a:lnTo>
                    <a:pt x="40824" y="25785"/>
                  </a:lnTo>
                  <a:lnTo>
                    <a:pt x="40824" y="23801"/>
                  </a:lnTo>
                  <a:lnTo>
                    <a:pt x="40824" y="21818"/>
                  </a:lnTo>
                  <a:lnTo>
                    <a:pt x="38350" y="13884"/>
                  </a:lnTo>
                  <a:lnTo>
                    <a:pt x="38350" y="11900"/>
                  </a:lnTo>
                  <a:lnTo>
                    <a:pt x="35876" y="6942"/>
                  </a:lnTo>
                  <a:lnTo>
                    <a:pt x="35876" y="6942"/>
                  </a:lnTo>
                  <a:lnTo>
                    <a:pt x="32164" y="6942"/>
                  </a:lnTo>
                  <a:lnTo>
                    <a:pt x="32164" y="6942"/>
                  </a:lnTo>
                  <a:lnTo>
                    <a:pt x="32164" y="9917"/>
                  </a:lnTo>
                  <a:lnTo>
                    <a:pt x="32164" y="9917"/>
                  </a:lnTo>
                  <a:lnTo>
                    <a:pt x="32164" y="11900"/>
                  </a:lnTo>
                  <a:lnTo>
                    <a:pt x="32164" y="11900"/>
                  </a:lnTo>
                  <a:lnTo>
                    <a:pt x="29690" y="11900"/>
                  </a:lnTo>
                  <a:lnTo>
                    <a:pt x="27216" y="11900"/>
                  </a:lnTo>
                  <a:lnTo>
                    <a:pt x="23505" y="9917"/>
                  </a:lnTo>
                  <a:lnTo>
                    <a:pt x="23505" y="6942"/>
                  </a:lnTo>
                  <a:lnTo>
                    <a:pt x="21030" y="4958"/>
                  </a:lnTo>
                  <a:lnTo>
                    <a:pt x="21030" y="4958"/>
                  </a:lnTo>
                  <a:lnTo>
                    <a:pt x="21030" y="2975"/>
                  </a:lnTo>
                  <a:lnTo>
                    <a:pt x="18556" y="2975"/>
                  </a:lnTo>
                  <a:lnTo>
                    <a:pt x="18556" y="2975"/>
                  </a:lnTo>
                  <a:lnTo>
                    <a:pt x="18556" y="4958"/>
                  </a:lnTo>
                  <a:lnTo>
                    <a:pt x="18556" y="4958"/>
                  </a:lnTo>
                  <a:lnTo>
                    <a:pt x="21030" y="4958"/>
                  </a:lnTo>
                  <a:lnTo>
                    <a:pt x="18556" y="6942"/>
                  </a:lnTo>
                  <a:lnTo>
                    <a:pt x="18556" y="6942"/>
                  </a:lnTo>
                  <a:lnTo>
                    <a:pt x="18556" y="6942"/>
                  </a:lnTo>
                  <a:lnTo>
                    <a:pt x="14845" y="6942"/>
                  </a:lnTo>
                  <a:lnTo>
                    <a:pt x="14845" y="4958"/>
                  </a:lnTo>
                  <a:lnTo>
                    <a:pt x="14845" y="4958"/>
                  </a:lnTo>
                  <a:lnTo>
                    <a:pt x="12371" y="4958"/>
                  </a:lnTo>
                  <a:lnTo>
                    <a:pt x="12371" y="4958"/>
                  </a:lnTo>
                  <a:lnTo>
                    <a:pt x="12371" y="2975"/>
                  </a:lnTo>
                  <a:lnTo>
                    <a:pt x="9896" y="0"/>
                  </a:lnTo>
                  <a:lnTo>
                    <a:pt x="6185" y="0"/>
                  </a:lnTo>
                  <a:lnTo>
                    <a:pt x="3711" y="0"/>
                  </a:lnTo>
                  <a:lnTo>
                    <a:pt x="3711" y="0"/>
                  </a:lnTo>
                  <a:lnTo>
                    <a:pt x="3711" y="2975"/>
                  </a:lnTo>
                  <a:lnTo>
                    <a:pt x="6185" y="2975"/>
                  </a:lnTo>
                  <a:lnTo>
                    <a:pt x="6185" y="2975"/>
                  </a:lnTo>
                  <a:lnTo>
                    <a:pt x="6185" y="2975"/>
                  </a:lnTo>
                  <a:lnTo>
                    <a:pt x="6185" y="4958"/>
                  </a:lnTo>
                  <a:lnTo>
                    <a:pt x="6185" y="4958"/>
                  </a:lnTo>
                  <a:lnTo>
                    <a:pt x="6185" y="6942"/>
                  </a:lnTo>
                  <a:lnTo>
                    <a:pt x="3711" y="6942"/>
                  </a:lnTo>
                  <a:lnTo>
                    <a:pt x="0" y="9917"/>
                  </a:lnTo>
                  <a:lnTo>
                    <a:pt x="0" y="11900"/>
                  </a:lnTo>
                  <a:lnTo>
                    <a:pt x="0" y="11900"/>
                  </a:lnTo>
                  <a:lnTo>
                    <a:pt x="0" y="13884"/>
                  </a:lnTo>
                  <a:lnTo>
                    <a:pt x="0" y="13884"/>
                  </a:lnTo>
                  <a:lnTo>
                    <a:pt x="3711" y="16859"/>
                  </a:lnTo>
                  <a:lnTo>
                    <a:pt x="6185" y="16859"/>
                  </a:lnTo>
                  <a:lnTo>
                    <a:pt x="9896" y="18842"/>
                  </a:lnTo>
                  <a:lnTo>
                    <a:pt x="9896" y="21818"/>
                  </a:lnTo>
                  <a:lnTo>
                    <a:pt x="12371" y="21818"/>
                  </a:lnTo>
                  <a:lnTo>
                    <a:pt x="14845" y="21818"/>
                  </a:lnTo>
                  <a:lnTo>
                    <a:pt x="18556" y="21818"/>
                  </a:lnTo>
                  <a:lnTo>
                    <a:pt x="18556" y="23801"/>
                  </a:lnTo>
                  <a:lnTo>
                    <a:pt x="21030" y="25785"/>
                  </a:lnTo>
                  <a:lnTo>
                    <a:pt x="21030" y="25785"/>
                  </a:lnTo>
                  <a:lnTo>
                    <a:pt x="23505" y="25785"/>
                  </a:lnTo>
                  <a:lnTo>
                    <a:pt x="23505" y="28760"/>
                  </a:lnTo>
                  <a:lnTo>
                    <a:pt x="23505" y="28760"/>
                  </a:lnTo>
                  <a:lnTo>
                    <a:pt x="21030" y="28760"/>
                  </a:lnTo>
                  <a:lnTo>
                    <a:pt x="21030" y="28760"/>
                  </a:lnTo>
                  <a:lnTo>
                    <a:pt x="18556" y="28760"/>
                  </a:lnTo>
                  <a:lnTo>
                    <a:pt x="18556" y="28760"/>
                  </a:lnTo>
                  <a:lnTo>
                    <a:pt x="14845" y="28760"/>
                  </a:lnTo>
                  <a:lnTo>
                    <a:pt x="12371" y="28760"/>
                  </a:lnTo>
                  <a:lnTo>
                    <a:pt x="12371" y="32727"/>
                  </a:lnTo>
                  <a:lnTo>
                    <a:pt x="9896" y="35702"/>
                  </a:lnTo>
                  <a:lnTo>
                    <a:pt x="9896" y="35702"/>
                  </a:lnTo>
                  <a:lnTo>
                    <a:pt x="6185" y="35702"/>
                  </a:lnTo>
                  <a:lnTo>
                    <a:pt x="6185" y="35702"/>
                  </a:lnTo>
                  <a:lnTo>
                    <a:pt x="3711" y="37685"/>
                  </a:lnTo>
                  <a:lnTo>
                    <a:pt x="3711" y="39669"/>
                  </a:lnTo>
                  <a:lnTo>
                    <a:pt x="3711" y="39669"/>
                  </a:lnTo>
                  <a:lnTo>
                    <a:pt x="6185" y="42644"/>
                  </a:lnTo>
                  <a:lnTo>
                    <a:pt x="9896" y="42644"/>
                  </a:lnTo>
                  <a:lnTo>
                    <a:pt x="9896" y="44628"/>
                  </a:lnTo>
                  <a:lnTo>
                    <a:pt x="12371" y="42644"/>
                  </a:lnTo>
                  <a:lnTo>
                    <a:pt x="12371" y="44628"/>
                  </a:lnTo>
                  <a:lnTo>
                    <a:pt x="14845" y="44628"/>
                  </a:lnTo>
                  <a:lnTo>
                    <a:pt x="14845" y="47603"/>
                  </a:lnTo>
                  <a:lnTo>
                    <a:pt x="21030" y="47603"/>
                  </a:lnTo>
                  <a:lnTo>
                    <a:pt x="21030" y="47603"/>
                  </a:lnTo>
                  <a:lnTo>
                    <a:pt x="21030" y="49586"/>
                  </a:lnTo>
                  <a:lnTo>
                    <a:pt x="21030" y="49586"/>
                  </a:lnTo>
                  <a:lnTo>
                    <a:pt x="21030" y="51570"/>
                  </a:lnTo>
                  <a:lnTo>
                    <a:pt x="21030" y="54545"/>
                  </a:lnTo>
                  <a:lnTo>
                    <a:pt x="21030" y="56528"/>
                  </a:lnTo>
                  <a:lnTo>
                    <a:pt x="21030" y="61487"/>
                  </a:lnTo>
                  <a:lnTo>
                    <a:pt x="21030" y="61487"/>
                  </a:lnTo>
                  <a:lnTo>
                    <a:pt x="21030" y="63471"/>
                  </a:lnTo>
                  <a:lnTo>
                    <a:pt x="21030" y="63471"/>
                  </a:lnTo>
                  <a:lnTo>
                    <a:pt x="23505" y="63471"/>
                  </a:lnTo>
                  <a:lnTo>
                    <a:pt x="23505" y="65454"/>
                  </a:lnTo>
                  <a:lnTo>
                    <a:pt x="23505" y="68429"/>
                  </a:lnTo>
                  <a:lnTo>
                    <a:pt x="23505" y="68429"/>
                  </a:lnTo>
                  <a:lnTo>
                    <a:pt x="27216" y="70413"/>
                  </a:lnTo>
                  <a:lnTo>
                    <a:pt x="29690" y="70413"/>
                  </a:lnTo>
                  <a:lnTo>
                    <a:pt x="29690" y="70413"/>
                  </a:lnTo>
                  <a:lnTo>
                    <a:pt x="29690" y="73388"/>
                  </a:lnTo>
                  <a:lnTo>
                    <a:pt x="29690" y="75371"/>
                  </a:lnTo>
                  <a:lnTo>
                    <a:pt x="29690" y="77355"/>
                  </a:lnTo>
                  <a:lnTo>
                    <a:pt x="32164" y="80330"/>
                  </a:lnTo>
                  <a:lnTo>
                    <a:pt x="32164" y="82314"/>
                  </a:lnTo>
                  <a:lnTo>
                    <a:pt x="32164" y="82314"/>
                  </a:lnTo>
                  <a:lnTo>
                    <a:pt x="32164" y="84297"/>
                  </a:lnTo>
                  <a:lnTo>
                    <a:pt x="35876" y="89256"/>
                  </a:lnTo>
                  <a:lnTo>
                    <a:pt x="35876" y="92231"/>
                  </a:lnTo>
                  <a:lnTo>
                    <a:pt x="35876" y="94214"/>
                  </a:lnTo>
                  <a:lnTo>
                    <a:pt x="38350" y="94214"/>
                  </a:lnTo>
                  <a:lnTo>
                    <a:pt x="38350" y="99173"/>
                  </a:lnTo>
                  <a:lnTo>
                    <a:pt x="40824" y="101157"/>
                  </a:lnTo>
                  <a:lnTo>
                    <a:pt x="40824" y="101157"/>
                  </a:lnTo>
                  <a:lnTo>
                    <a:pt x="40824" y="101157"/>
                  </a:lnTo>
                  <a:lnTo>
                    <a:pt x="44536" y="101157"/>
                  </a:lnTo>
                  <a:lnTo>
                    <a:pt x="47010" y="99173"/>
                  </a:lnTo>
                  <a:lnTo>
                    <a:pt x="47010" y="96198"/>
                  </a:lnTo>
                  <a:lnTo>
                    <a:pt x="47010" y="94214"/>
                  </a:lnTo>
                  <a:lnTo>
                    <a:pt x="44536" y="92231"/>
                  </a:lnTo>
                  <a:lnTo>
                    <a:pt x="44536" y="89256"/>
                  </a:lnTo>
                  <a:lnTo>
                    <a:pt x="47010" y="96198"/>
                  </a:lnTo>
                  <a:lnTo>
                    <a:pt x="50721" y="99173"/>
                  </a:lnTo>
                  <a:lnTo>
                    <a:pt x="50721" y="101157"/>
                  </a:lnTo>
                  <a:lnTo>
                    <a:pt x="50721" y="99173"/>
                  </a:lnTo>
                  <a:lnTo>
                    <a:pt x="50721" y="99173"/>
                  </a:lnTo>
                  <a:lnTo>
                    <a:pt x="53195" y="96198"/>
                  </a:lnTo>
                  <a:lnTo>
                    <a:pt x="53195" y="96198"/>
                  </a:lnTo>
                  <a:lnTo>
                    <a:pt x="53195" y="94214"/>
                  </a:lnTo>
                  <a:lnTo>
                    <a:pt x="53195" y="92231"/>
                  </a:lnTo>
                  <a:lnTo>
                    <a:pt x="53195" y="89256"/>
                  </a:lnTo>
                  <a:lnTo>
                    <a:pt x="53195" y="87272"/>
                  </a:lnTo>
                  <a:lnTo>
                    <a:pt x="55670" y="84297"/>
                  </a:lnTo>
                  <a:lnTo>
                    <a:pt x="55670" y="89256"/>
                  </a:lnTo>
                  <a:lnTo>
                    <a:pt x="55670" y="92231"/>
                  </a:lnTo>
                  <a:lnTo>
                    <a:pt x="55670" y="94214"/>
                  </a:lnTo>
                  <a:lnTo>
                    <a:pt x="55670" y="94214"/>
                  </a:lnTo>
                  <a:lnTo>
                    <a:pt x="59381" y="94214"/>
                  </a:lnTo>
                  <a:lnTo>
                    <a:pt x="61855" y="92231"/>
                  </a:lnTo>
                  <a:lnTo>
                    <a:pt x="61855" y="92231"/>
                  </a:lnTo>
                  <a:lnTo>
                    <a:pt x="59381" y="94214"/>
                  </a:lnTo>
                  <a:lnTo>
                    <a:pt x="59381" y="96198"/>
                  </a:lnTo>
                  <a:lnTo>
                    <a:pt x="59381" y="99173"/>
                  </a:lnTo>
                  <a:lnTo>
                    <a:pt x="61855" y="99173"/>
                  </a:lnTo>
                  <a:lnTo>
                    <a:pt x="61855" y="99173"/>
                  </a:lnTo>
                  <a:lnTo>
                    <a:pt x="64329" y="99173"/>
                  </a:lnTo>
                  <a:lnTo>
                    <a:pt x="64329" y="99173"/>
                  </a:lnTo>
                  <a:lnTo>
                    <a:pt x="64329" y="94214"/>
                  </a:lnTo>
                  <a:lnTo>
                    <a:pt x="68041" y="92231"/>
                  </a:lnTo>
                  <a:lnTo>
                    <a:pt x="70515" y="92231"/>
                  </a:lnTo>
                  <a:lnTo>
                    <a:pt x="70515" y="89256"/>
                  </a:lnTo>
                  <a:lnTo>
                    <a:pt x="70515" y="87272"/>
                  </a:lnTo>
                  <a:lnTo>
                    <a:pt x="70515" y="87272"/>
                  </a:lnTo>
                  <a:lnTo>
                    <a:pt x="68041" y="84297"/>
                  </a:lnTo>
                  <a:lnTo>
                    <a:pt x="68041" y="82314"/>
                  </a:lnTo>
                  <a:lnTo>
                    <a:pt x="68041" y="82314"/>
                  </a:lnTo>
                  <a:lnTo>
                    <a:pt x="68041" y="82314"/>
                  </a:lnTo>
                  <a:lnTo>
                    <a:pt x="64329" y="80330"/>
                  </a:lnTo>
                  <a:lnTo>
                    <a:pt x="64329" y="77355"/>
                  </a:lnTo>
                  <a:lnTo>
                    <a:pt x="64329" y="77355"/>
                  </a:lnTo>
                  <a:lnTo>
                    <a:pt x="68041" y="77355"/>
                  </a:lnTo>
                  <a:lnTo>
                    <a:pt x="64329" y="75371"/>
                  </a:lnTo>
                  <a:lnTo>
                    <a:pt x="64329" y="73388"/>
                  </a:lnTo>
                  <a:lnTo>
                    <a:pt x="68041" y="73388"/>
                  </a:lnTo>
                  <a:lnTo>
                    <a:pt x="68041" y="70413"/>
                  </a:lnTo>
                  <a:lnTo>
                    <a:pt x="68041" y="70413"/>
                  </a:lnTo>
                  <a:lnTo>
                    <a:pt x="68041" y="68429"/>
                  </a:lnTo>
                  <a:lnTo>
                    <a:pt x="64329" y="68429"/>
                  </a:lnTo>
                  <a:lnTo>
                    <a:pt x="61855" y="65454"/>
                  </a:lnTo>
                  <a:lnTo>
                    <a:pt x="59381" y="65454"/>
                  </a:lnTo>
                  <a:lnTo>
                    <a:pt x="61855" y="65454"/>
                  </a:lnTo>
                  <a:lnTo>
                    <a:pt x="64329" y="65454"/>
                  </a:lnTo>
                  <a:lnTo>
                    <a:pt x="64329" y="63471"/>
                  </a:lnTo>
                  <a:lnTo>
                    <a:pt x="64329" y="63471"/>
                  </a:lnTo>
                  <a:lnTo>
                    <a:pt x="64329" y="63471"/>
                  </a:lnTo>
                  <a:lnTo>
                    <a:pt x="68041" y="61487"/>
                  </a:lnTo>
                  <a:lnTo>
                    <a:pt x="68041" y="63471"/>
                  </a:lnTo>
                  <a:lnTo>
                    <a:pt x="68041" y="65454"/>
                  </a:lnTo>
                  <a:lnTo>
                    <a:pt x="68041" y="68429"/>
                  </a:lnTo>
                  <a:lnTo>
                    <a:pt x="68041" y="73388"/>
                  </a:lnTo>
                  <a:lnTo>
                    <a:pt x="70515" y="73388"/>
                  </a:lnTo>
                  <a:lnTo>
                    <a:pt x="72989" y="80330"/>
                  </a:lnTo>
                  <a:lnTo>
                    <a:pt x="76701" y="82314"/>
                  </a:lnTo>
                  <a:lnTo>
                    <a:pt x="81649" y="82314"/>
                  </a:lnTo>
                  <a:lnTo>
                    <a:pt x="81649" y="82314"/>
                  </a:lnTo>
                  <a:lnTo>
                    <a:pt x="85360" y="80330"/>
                  </a:lnTo>
                  <a:lnTo>
                    <a:pt x="87835" y="77355"/>
                  </a:lnTo>
                  <a:lnTo>
                    <a:pt x="87835" y="77355"/>
                  </a:lnTo>
                  <a:lnTo>
                    <a:pt x="87835" y="77355"/>
                  </a:lnTo>
                  <a:lnTo>
                    <a:pt x="91546" y="80330"/>
                  </a:lnTo>
                  <a:lnTo>
                    <a:pt x="94020" y="84297"/>
                  </a:lnTo>
                  <a:lnTo>
                    <a:pt x="96494" y="87272"/>
                  </a:lnTo>
                  <a:lnTo>
                    <a:pt x="96494" y="89256"/>
                  </a:lnTo>
                  <a:lnTo>
                    <a:pt x="100206" y="89256"/>
                  </a:lnTo>
                  <a:lnTo>
                    <a:pt x="100206" y="87272"/>
                  </a:lnTo>
                  <a:lnTo>
                    <a:pt x="100206" y="89256"/>
                  </a:lnTo>
                  <a:lnTo>
                    <a:pt x="100206" y="92231"/>
                  </a:lnTo>
                  <a:lnTo>
                    <a:pt x="100206" y="92231"/>
                  </a:lnTo>
                  <a:lnTo>
                    <a:pt x="102680" y="99173"/>
                  </a:lnTo>
                  <a:lnTo>
                    <a:pt x="105154" y="101157"/>
                  </a:lnTo>
                  <a:lnTo>
                    <a:pt x="105154" y="106115"/>
                  </a:lnTo>
                  <a:lnTo>
                    <a:pt x="108865" y="113057"/>
                  </a:lnTo>
                  <a:lnTo>
                    <a:pt x="111340" y="118016"/>
                  </a:lnTo>
                  <a:lnTo>
                    <a:pt x="111340" y="120000"/>
                  </a:lnTo>
                  <a:lnTo>
                    <a:pt x="113814" y="120000"/>
                  </a:lnTo>
                  <a:lnTo>
                    <a:pt x="113814" y="120000"/>
                  </a:lnTo>
                  <a:lnTo>
                    <a:pt x="113814" y="120000"/>
                  </a:lnTo>
                  <a:lnTo>
                    <a:pt x="113814" y="118016"/>
                  </a:lnTo>
                  <a:lnTo>
                    <a:pt x="111340" y="115041"/>
                  </a:lnTo>
                  <a:lnTo>
                    <a:pt x="111340" y="115041"/>
                  </a:lnTo>
                  <a:lnTo>
                    <a:pt x="111340" y="115041"/>
                  </a:lnTo>
                  <a:lnTo>
                    <a:pt x="111340" y="113057"/>
                  </a:lnTo>
                  <a:lnTo>
                    <a:pt x="108865" y="110082"/>
                  </a:lnTo>
                  <a:lnTo>
                    <a:pt x="108865" y="108099"/>
                  </a:lnTo>
                  <a:lnTo>
                    <a:pt x="111340" y="108099"/>
                  </a:lnTo>
                  <a:lnTo>
                    <a:pt x="111340" y="108099"/>
                  </a:lnTo>
                  <a:lnTo>
                    <a:pt x="113814" y="108099"/>
                  </a:lnTo>
                  <a:lnTo>
                    <a:pt x="117525" y="108099"/>
                  </a:lnTo>
                  <a:lnTo>
                    <a:pt x="117525" y="110082"/>
                  </a:lnTo>
                  <a:lnTo>
                    <a:pt x="117525" y="110082"/>
                  </a:lnTo>
                  <a:lnTo>
                    <a:pt x="120000" y="110082"/>
                  </a:lnTo>
                  <a:lnTo>
                    <a:pt x="120000" y="110082"/>
                  </a:lnTo>
                  <a:lnTo>
                    <a:pt x="120000" y="108099"/>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34" name="Shape 534"/>
            <p:cNvSpPr/>
            <p:nvPr/>
          </p:nvSpPr>
          <p:spPr>
            <a:xfrm>
              <a:off x="4570" y="2254"/>
              <a:ext cx="0" cy="0"/>
            </a:xfrm>
            <a:custGeom>
              <a:avLst/>
              <a:gdLst/>
              <a:ahLst/>
              <a:cxnLst/>
              <a:rect l="0" t="0" r="0" b="0"/>
              <a:pathLst>
                <a:path w="120000" h="120000" extrusionOk="0">
                  <a:moveTo>
                    <a:pt x="120000" y="60000"/>
                  </a:moveTo>
                  <a:lnTo>
                    <a:pt x="120000" y="36000"/>
                  </a:lnTo>
                  <a:lnTo>
                    <a:pt x="120000" y="0"/>
                  </a:lnTo>
                  <a:lnTo>
                    <a:pt x="120000" y="0"/>
                  </a:lnTo>
                  <a:lnTo>
                    <a:pt x="120000" y="0"/>
                  </a:lnTo>
                  <a:lnTo>
                    <a:pt x="0" y="0"/>
                  </a:lnTo>
                  <a:lnTo>
                    <a:pt x="0" y="0"/>
                  </a:lnTo>
                  <a:lnTo>
                    <a:pt x="0" y="36000"/>
                  </a:lnTo>
                  <a:lnTo>
                    <a:pt x="0" y="60000"/>
                  </a:lnTo>
                  <a:lnTo>
                    <a:pt x="120000" y="84000"/>
                  </a:lnTo>
                  <a:lnTo>
                    <a:pt x="120000" y="120000"/>
                  </a:lnTo>
                  <a:lnTo>
                    <a:pt x="120000" y="84000"/>
                  </a:lnTo>
                  <a:lnTo>
                    <a:pt x="120000" y="6000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35" name="Shape 535"/>
            <p:cNvSpPr/>
            <p:nvPr/>
          </p:nvSpPr>
          <p:spPr>
            <a:xfrm>
              <a:off x="4435" y="1923"/>
              <a:ext cx="0" cy="0"/>
            </a:xfrm>
            <a:custGeom>
              <a:avLst/>
              <a:gdLst/>
              <a:ahLst/>
              <a:cxnLst/>
              <a:rect l="0" t="0" r="0" b="0"/>
              <a:pathLst>
                <a:path w="120000" h="120000" extrusionOk="0">
                  <a:moveTo>
                    <a:pt x="32164" y="95675"/>
                  </a:moveTo>
                  <a:lnTo>
                    <a:pt x="29690" y="92432"/>
                  </a:lnTo>
                  <a:lnTo>
                    <a:pt x="29690" y="89189"/>
                  </a:lnTo>
                  <a:lnTo>
                    <a:pt x="29690" y="89189"/>
                  </a:lnTo>
                  <a:lnTo>
                    <a:pt x="27216" y="84324"/>
                  </a:lnTo>
                  <a:lnTo>
                    <a:pt x="23505" y="84324"/>
                  </a:lnTo>
                  <a:lnTo>
                    <a:pt x="23505" y="84324"/>
                  </a:lnTo>
                  <a:lnTo>
                    <a:pt x="23505" y="81081"/>
                  </a:lnTo>
                  <a:lnTo>
                    <a:pt x="23505" y="77837"/>
                  </a:lnTo>
                  <a:lnTo>
                    <a:pt x="23505" y="77837"/>
                  </a:lnTo>
                  <a:lnTo>
                    <a:pt x="21030" y="77837"/>
                  </a:lnTo>
                  <a:lnTo>
                    <a:pt x="21030" y="77837"/>
                  </a:lnTo>
                  <a:lnTo>
                    <a:pt x="18556" y="81081"/>
                  </a:lnTo>
                  <a:lnTo>
                    <a:pt x="14845" y="81081"/>
                  </a:lnTo>
                  <a:lnTo>
                    <a:pt x="14845" y="77837"/>
                  </a:lnTo>
                  <a:lnTo>
                    <a:pt x="12371" y="77837"/>
                  </a:lnTo>
                  <a:lnTo>
                    <a:pt x="12371" y="77837"/>
                  </a:lnTo>
                  <a:lnTo>
                    <a:pt x="12371" y="77837"/>
                  </a:lnTo>
                  <a:lnTo>
                    <a:pt x="8659" y="72972"/>
                  </a:lnTo>
                  <a:lnTo>
                    <a:pt x="8659" y="72972"/>
                  </a:lnTo>
                  <a:lnTo>
                    <a:pt x="8659" y="72972"/>
                  </a:lnTo>
                  <a:lnTo>
                    <a:pt x="6185" y="69729"/>
                  </a:lnTo>
                  <a:lnTo>
                    <a:pt x="3711" y="72972"/>
                  </a:lnTo>
                  <a:lnTo>
                    <a:pt x="3711" y="72972"/>
                  </a:lnTo>
                  <a:lnTo>
                    <a:pt x="3711" y="72972"/>
                  </a:lnTo>
                  <a:lnTo>
                    <a:pt x="3711" y="72972"/>
                  </a:lnTo>
                  <a:lnTo>
                    <a:pt x="3711" y="77837"/>
                  </a:lnTo>
                  <a:lnTo>
                    <a:pt x="8659" y="81081"/>
                  </a:lnTo>
                  <a:lnTo>
                    <a:pt x="8659" y="84324"/>
                  </a:lnTo>
                  <a:lnTo>
                    <a:pt x="12371" y="84324"/>
                  </a:lnTo>
                  <a:lnTo>
                    <a:pt x="12371" y="89189"/>
                  </a:lnTo>
                  <a:lnTo>
                    <a:pt x="12371" y="89189"/>
                  </a:lnTo>
                  <a:lnTo>
                    <a:pt x="14845" y="92432"/>
                  </a:lnTo>
                  <a:lnTo>
                    <a:pt x="14845" y="92432"/>
                  </a:lnTo>
                  <a:lnTo>
                    <a:pt x="18556" y="92432"/>
                  </a:lnTo>
                  <a:lnTo>
                    <a:pt x="21030" y="95675"/>
                  </a:lnTo>
                  <a:lnTo>
                    <a:pt x="21030" y="100540"/>
                  </a:lnTo>
                  <a:lnTo>
                    <a:pt x="29690" y="100540"/>
                  </a:lnTo>
                  <a:lnTo>
                    <a:pt x="32164" y="100540"/>
                  </a:lnTo>
                  <a:lnTo>
                    <a:pt x="32164" y="100540"/>
                  </a:lnTo>
                  <a:lnTo>
                    <a:pt x="32164" y="95675"/>
                  </a:lnTo>
                  <a:close/>
                  <a:moveTo>
                    <a:pt x="3711" y="30810"/>
                  </a:moveTo>
                  <a:lnTo>
                    <a:pt x="3711" y="30810"/>
                  </a:lnTo>
                  <a:lnTo>
                    <a:pt x="3711" y="30810"/>
                  </a:lnTo>
                  <a:lnTo>
                    <a:pt x="0" y="27567"/>
                  </a:lnTo>
                  <a:lnTo>
                    <a:pt x="0" y="30810"/>
                  </a:lnTo>
                  <a:lnTo>
                    <a:pt x="0" y="30810"/>
                  </a:lnTo>
                  <a:lnTo>
                    <a:pt x="0" y="30810"/>
                  </a:lnTo>
                  <a:lnTo>
                    <a:pt x="3711" y="30810"/>
                  </a:lnTo>
                  <a:lnTo>
                    <a:pt x="3711" y="30810"/>
                  </a:lnTo>
                  <a:close/>
                  <a:moveTo>
                    <a:pt x="18556" y="66486"/>
                  </a:moveTo>
                  <a:lnTo>
                    <a:pt x="18556" y="66486"/>
                  </a:lnTo>
                  <a:lnTo>
                    <a:pt x="18556" y="61621"/>
                  </a:lnTo>
                  <a:lnTo>
                    <a:pt x="18556" y="66486"/>
                  </a:lnTo>
                  <a:close/>
                  <a:moveTo>
                    <a:pt x="18556" y="66486"/>
                  </a:moveTo>
                  <a:lnTo>
                    <a:pt x="18556" y="66486"/>
                  </a:lnTo>
                  <a:lnTo>
                    <a:pt x="18556" y="66486"/>
                  </a:lnTo>
                  <a:lnTo>
                    <a:pt x="21030" y="66486"/>
                  </a:lnTo>
                  <a:lnTo>
                    <a:pt x="21030" y="66486"/>
                  </a:lnTo>
                  <a:lnTo>
                    <a:pt x="18556" y="66486"/>
                  </a:lnTo>
                  <a:close/>
                  <a:moveTo>
                    <a:pt x="117525" y="50270"/>
                  </a:moveTo>
                  <a:lnTo>
                    <a:pt x="113814" y="50270"/>
                  </a:lnTo>
                  <a:lnTo>
                    <a:pt x="113814" y="50270"/>
                  </a:lnTo>
                  <a:lnTo>
                    <a:pt x="111340" y="47027"/>
                  </a:lnTo>
                  <a:lnTo>
                    <a:pt x="108865" y="47027"/>
                  </a:lnTo>
                  <a:lnTo>
                    <a:pt x="105154" y="47027"/>
                  </a:lnTo>
                  <a:lnTo>
                    <a:pt x="105154" y="47027"/>
                  </a:lnTo>
                  <a:lnTo>
                    <a:pt x="102680" y="47027"/>
                  </a:lnTo>
                  <a:lnTo>
                    <a:pt x="100206" y="42162"/>
                  </a:lnTo>
                  <a:lnTo>
                    <a:pt x="96494" y="38918"/>
                  </a:lnTo>
                  <a:lnTo>
                    <a:pt x="90309" y="30810"/>
                  </a:lnTo>
                  <a:lnTo>
                    <a:pt x="90309" y="27567"/>
                  </a:lnTo>
                  <a:lnTo>
                    <a:pt x="87835" y="24324"/>
                  </a:lnTo>
                  <a:lnTo>
                    <a:pt x="87835" y="24324"/>
                  </a:lnTo>
                  <a:lnTo>
                    <a:pt x="85360" y="19459"/>
                  </a:lnTo>
                  <a:lnTo>
                    <a:pt x="79175" y="11351"/>
                  </a:lnTo>
                  <a:lnTo>
                    <a:pt x="76701" y="4864"/>
                  </a:lnTo>
                  <a:lnTo>
                    <a:pt x="72989" y="4864"/>
                  </a:lnTo>
                  <a:lnTo>
                    <a:pt x="72989" y="4864"/>
                  </a:lnTo>
                  <a:lnTo>
                    <a:pt x="70515" y="8108"/>
                  </a:lnTo>
                  <a:lnTo>
                    <a:pt x="70515" y="11351"/>
                  </a:lnTo>
                  <a:lnTo>
                    <a:pt x="70515" y="11351"/>
                  </a:lnTo>
                  <a:lnTo>
                    <a:pt x="68041" y="16216"/>
                  </a:lnTo>
                  <a:lnTo>
                    <a:pt x="64329" y="16216"/>
                  </a:lnTo>
                  <a:lnTo>
                    <a:pt x="64329" y="19459"/>
                  </a:lnTo>
                  <a:lnTo>
                    <a:pt x="61855" y="24324"/>
                  </a:lnTo>
                  <a:lnTo>
                    <a:pt x="61855" y="24324"/>
                  </a:lnTo>
                  <a:lnTo>
                    <a:pt x="55670" y="24324"/>
                  </a:lnTo>
                  <a:lnTo>
                    <a:pt x="55670" y="24324"/>
                  </a:lnTo>
                  <a:lnTo>
                    <a:pt x="49484" y="24324"/>
                  </a:lnTo>
                  <a:lnTo>
                    <a:pt x="49484" y="19459"/>
                  </a:lnTo>
                  <a:lnTo>
                    <a:pt x="47010" y="16216"/>
                  </a:lnTo>
                  <a:lnTo>
                    <a:pt x="44536" y="16216"/>
                  </a:lnTo>
                  <a:lnTo>
                    <a:pt x="44536" y="11351"/>
                  </a:lnTo>
                  <a:lnTo>
                    <a:pt x="40824" y="11351"/>
                  </a:lnTo>
                  <a:lnTo>
                    <a:pt x="40824" y="11351"/>
                  </a:lnTo>
                  <a:lnTo>
                    <a:pt x="40824" y="8108"/>
                  </a:lnTo>
                  <a:lnTo>
                    <a:pt x="38350" y="8108"/>
                  </a:lnTo>
                  <a:lnTo>
                    <a:pt x="35876" y="4864"/>
                  </a:lnTo>
                  <a:lnTo>
                    <a:pt x="35876" y="4864"/>
                  </a:lnTo>
                  <a:lnTo>
                    <a:pt x="32164" y="4864"/>
                  </a:lnTo>
                  <a:lnTo>
                    <a:pt x="32164" y="4864"/>
                  </a:lnTo>
                  <a:lnTo>
                    <a:pt x="32164" y="4864"/>
                  </a:lnTo>
                  <a:lnTo>
                    <a:pt x="32164" y="4864"/>
                  </a:lnTo>
                  <a:lnTo>
                    <a:pt x="29690" y="0"/>
                  </a:lnTo>
                  <a:lnTo>
                    <a:pt x="29690" y="4864"/>
                  </a:lnTo>
                  <a:lnTo>
                    <a:pt x="27216" y="4864"/>
                  </a:lnTo>
                  <a:lnTo>
                    <a:pt x="27216" y="8108"/>
                  </a:lnTo>
                  <a:lnTo>
                    <a:pt x="27216" y="8108"/>
                  </a:lnTo>
                  <a:lnTo>
                    <a:pt x="23505" y="8108"/>
                  </a:lnTo>
                  <a:lnTo>
                    <a:pt x="23505" y="8108"/>
                  </a:lnTo>
                  <a:lnTo>
                    <a:pt x="23505" y="11351"/>
                  </a:lnTo>
                  <a:lnTo>
                    <a:pt x="23505" y="11351"/>
                  </a:lnTo>
                  <a:lnTo>
                    <a:pt x="23505" y="11351"/>
                  </a:lnTo>
                  <a:lnTo>
                    <a:pt x="27216" y="11351"/>
                  </a:lnTo>
                  <a:lnTo>
                    <a:pt x="27216" y="16216"/>
                  </a:lnTo>
                  <a:lnTo>
                    <a:pt x="29690" y="16216"/>
                  </a:lnTo>
                  <a:lnTo>
                    <a:pt x="32164" y="19459"/>
                  </a:lnTo>
                  <a:lnTo>
                    <a:pt x="35876" y="19459"/>
                  </a:lnTo>
                  <a:lnTo>
                    <a:pt x="35876" y="24324"/>
                  </a:lnTo>
                  <a:lnTo>
                    <a:pt x="35876" y="24324"/>
                  </a:lnTo>
                  <a:lnTo>
                    <a:pt x="35876" y="27567"/>
                  </a:lnTo>
                  <a:lnTo>
                    <a:pt x="35876" y="27567"/>
                  </a:lnTo>
                  <a:lnTo>
                    <a:pt x="32164" y="30810"/>
                  </a:lnTo>
                  <a:lnTo>
                    <a:pt x="32164" y="30810"/>
                  </a:lnTo>
                  <a:lnTo>
                    <a:pt x="29690" y="27567"/>
                  </a:lnTo>
                  <a:lnTo>
                    <a:pt x="29690" y="27567"/>
                  </a:lnTo>
                  <a:lnTo>
                    <a:pt x="27216" y="27567"/>
                  </a:lnTo>
                  <a:lnTo>
                    <a:pt x="23505" y="27567"/>
                  </a:lnTo>
                  <a:lnTo>
                    <a:pt x="23505" y="27567"/>
                  </a:lnTo>
                  <a:lnTo>
                    <a:pt x="21030" y="27567"/>
                  </a:lnTo>
                  <a:lnTo>
                    <a:pt x="18556" y="24324"/>
                  </a:lnTo>
                  <a:lnTo>
                    <a:pt x="18556" y="24324"/>
                  </a:lnTo>
                  <a:lnTo>
                    <a:pt x="14845" y="24324"/>
                  </a:lnTo>
                  <a:lnTo>
                    <a:pt x="14845" y="19459"/>
                  </a:lnTo>
                  <a:lnTo>
                    <a:pt x="8659" y="19459"/>
                  </a:lnTo>
                  <a:lnTo>
                    <a:pt x="6185" y="16216"/>
                  </a:lnTo>
                  <a:lnTo>
                    <a:pt x="6185" y="19459"/>
                  </a:lnTo>
                  <a:lnTo>
                    <a:pt x="0" y="24324"/>
                  </a:lnTo>
                  <a:lnTo>
                    <a:pt x="0" y="24324"/>
                  </a:lnTo>
                  <a:lnTo>
                    <a:pt x="3711" y="27567"/>
                  </a:lnTo>
                  <a:lnTo>
                    <a:pt x="6185" y="27567"/>
                  </a:lnTo>
                  <a:lnTo>
                    <a:pt x="6185" y="27567"/>
                  </a:lnTo>
                  <a:lnTo>
                    <a:pt x="6185" y="27567"/>
                  </a:lnTo>
                  <a:lnTo>
                    <a:pt x="3711" y="27567"/>
                  </a:lnTo>
                  <a:lnTo>
                    <a:pt x="3711" y="27567"/>
                  </a:lnTo>
                  <a:lnTo>
                    <a:pt x="3711" y="30810"/>
                  </a:lnTo>
                  <a:lnTo>
                    <a:pt x="3711" y="30810"/>
                  </a:lnTo>
                  <a:lnTo>
                    <a:pt x="8659" y="30810"/>
                  </a:lnTo>
                  <a:lnTo>
                    <a:pt x="8659" y="30810"/>
                  </a:lnTo>
                  <a:lnTo>
                    <a:pt x="12371" y="30810"/>
                  </a:lnTo>
                  <a:lnTo>
                    <a:pt x="12371" y="35675"/>
                  </a:lnTo>
                  <a:lnTo>
                    <a:pt x="14845" y="35675"/>
                  </a:lnTo>
                  <a:lnTo>
                    <a:pt x="14845" y="38918"/>
                  </a:lnTo>
                  <a:lnTo>
                    <a:pt x="14845" y="38918"/>
                  </a:lnTo>
                  <a:lnTo>
                    <a:pt x="14845" y="38918"/>
                  </a:lnTo>
                  <a:lnTo>
                    <a:pt x="12371" y="42162"/>
                  </a:lnTo>
                  <a:lnTo>
                    <a:pt x="12371" y="42162"/>
                  </a:lnTo>
                  <a:lnTo>
                    <a:pt x="12371" y="42162"/>
                  </a:lnTo>
                  <a:lnTo>
                    <a:pt x="14845" y="47027"/>
                  </a:lnTo>
                  <a:lnTo>
                    <a:pt x="18556" y="50270"/>
                  </a:lnTo>
                  <a:lnTo>
                    <a:pt x="21030" y="53513"/>
                  </a:lnTo>
                  <a:lnTo>
                    <a:pt x="27216" y="58378"/>
                  </a:lnTo>
                  <a:lnTo>
                    <a:pt x="27216" y="58378"/>
                  </a:lnTo>
                  <a:lnTo>
                    <a:pt x="27216" y="61621"/>
                  </a:lnTo>
                  <a:lnTo>
                    <a:pt x="23505" y="66486"/>
                  </a:lnTo>
                  <a:lnTo>
                    <a:pt x="23505" y="66486"/>
                  </a:lnTo>
                  <a:lnTo>
                    <a:pt x="23505" y="66486"/>
                  </a:lnTo>
                  <a:lnTo>
                    <a:pt x="21030" y="66486"/>
                  </a:lnTo>
                  <a:lnTo>
                    <a:pt x="23505" y="66486"/>
                  </a:lnTo>
                  <a:lnTo>
                    <a:pt x="23505" y="69729"/>
                  </a:lnTo>
                  <a:lnTo>
                    <a:pt x="27216" y="69729"/>
                  </a:lnTo>
                  <a:lnTo>
                    <a:pt x="29690" y="72972"/>
                  </a:lnTo>
                  <a:lnTo>
                    <a:pt x="29690" y="72972"/>
                  </a:lnTo>
                  <a:lnTo>
                    <a:pt x="32164" y="77837"/>
                  </a:lnTo>
                  <a:lnTo>
                    <a:pt x="35876" y="77837"/>
                  </a:lnTo>
                  <a:lnTo>
                    <a:pt x="38350" y="77837"/>
                  </a:lnTo>
                  <a:lnTo>
                    <a:pt x="38350" y="81081"/>
                  </a:lnTo>
                  <a:lnTo>
                    <a:pt x="38350" y="81081"/>
                  </a:lnTo>
                  <a:lnTo>
                    <a:pt x="38350" y="81081"/>
                  </a:lnTo>
                  <a:lnTo>
                    <a:pt x="38350" y="84324"/>
                  </a:lnTo>
                  <a:lnTo>
                    <a:pt x="38350" y="84324"/>
                  </a:lnTo>
                  <a:lnTo>
                    <a:pt x="38350" y="84324"/>
                  </a:lnTo>
                  <a:lnTo>
                    <a:pt x="38350" y="84324"/>
                  </a:lnTo>
                  <a:lnTo>
                    <a:pt x="40824" y="89189"/>
                  </a:lnTo>
                  <a:lnTo>
                    <a:pt x="40824" y="89189"/>
                  </a:lnTo>
                  <a:lnTo>
                    <a:pt x="40824" y="89189"/>
                  </a:lnTo>
                  <a:lnTo>
                    <a:pt x="40824" y="89189"/>
                  </a:lnTo>
                  <a:lnTo>
                    <a:pt x="38350" y="89189"/>
                  </a:lnTo>
                  <a:lnTo>
                    <a:pt x="38350" y="92432"/>
                  </a:lnTo>
                  <a:lnTo>
                    <a:pt x="38350" y="92432"/>
                  </a:lnTo>
                  <a:lnTo>
                    <a:pt x="40824" y="92432"/>
                  </a:lnTo>
                  <a:lnTo>
                    <a:pt x="40824" y="95675"/>
                  </a:lnTo>
                  <a:lnTo>
                    <a:pt x="40824" y="95675"/>
                  </a:lnTo>
                  <a:lnTo>
                    <a:pt x="40824" y="100540"/>
                  </a:lnTo>
                  <a:lnTo>
                    <a:pt x="44536" y="100540"/>
                  </a:lnTo>
                  <a:lnTo>
                    <a:pt x="47010" y="92432"/>
                  </a:lnTo>
                  <a:lnTo>
                    <a:pt x="47010" y="92432"/>
                  </a:lnTo>
                  <a:lnTo>
                    <a:pt x="49484" y="92432"/>
                  </a:lnTo>
                  <a:lnTo>
                    <a:pt x="53195" y="89189"/>
                  </a:lnTo>
                  <a:lnTo>
                    <a:pt x="55670" y="84324"/>
                  </a:lnTo>
                  <a:lnTo>
                    <a:pt x="59381" y="81081"/>
                  </a:lnTo>
                  <a:lnTo>
                    <a:pt x="61855" y="81081"/>
                  </a:lnTo>
                  <a:lnTo>
                    <a:pt x="61855" y="77837"/>
                  </a:lnTo>
                  <a:lnTo>
                    <a:pt x="68041" y="72972"/>
                  </a:lnTo>
                  <a:lnTo>
                    <a:pt x="68041" y="72972"/>
                  </a:lnTo>
                  <a:lnTo>
                    <a:pt x="70515" y="72972"/>
                  </a:lnTo>
                  <a:lnTo>
                    <a:pt x="72989" y="77837"/>
                  </a:lnTo>
                  <a:lnTo>
                    <a:pt x="79175" y="81081"/>
                  </a:lnTo>
                  <a:lnTo>
                    <a:pt x="79175" y="84324"/>
                  </a:lnTo>
                  <a:lnTo>
                    <a:pt x="76701" y="84324"/>
                  </a:lnTo>
                  <a:lnTo>
                    <a:pt x="76701" y="84324"/>
                  </a:lnTo>
                  <a:lnTo>
                    <a:pt x="76701" y="89189"/>
                  </a:lnTo>
                  <a:lnTo>
                    <a:pt x="76701" y="89189"/>
                  </a:lnTo>
                  <a:lnTo>
                    <a:pt x="76701" y="89189"/>
                  </a:lnTo>
                  <a:lnTo>
                    <a:pt x="76701" y="92432"/>
                  </a:lnTo>
                  <a:lnTo>
                    <a:pt x="79175" y="92432"/>
                  </a:lnTo>
                  <a:lnTo>
                    <a:pt x="79175" y="95675"/>
                  </a:lnTo>
                  <a:lnTo>
                    <a:pt x="79175" y="95675"/>
                  </a:lnTo>
                  <a:lnTo>
                    <a:pt x="79175" y="95675"/>
                  </a:lnTo>
                  <a:lnTo>
                    <a:pt x="79175" y="95675"/>
                  </a:lnTo>
                  <a:lnTo>
                    <a:pt x="76701" y="100540"/>
                  </a:lnTo>
                  <a:lnTo>
                    <a:pt x="76701" y="100540"/>
                  </a:lnTo>
                  <a:lnTo>
                    <a:pt x="72989" y="100540"/>
                  </a:lnTo>
                  <a:lnTo>
                    <a:pt x="72989" y="100540"/>
                  </a:lnTo>
                  <a:lnTo>
                    <a:pt x="72989" y="103783"/>
                  </a:lnTo>
                  <a:lnTo>
                    <a:pt x="72989" y="103783"/>
                  </a:lnTo>
                  <a:lnTo>
                    <a:pt x="79175" y="108648"/>
                  </a:lnTo>
                  <a:lnTo>
                    <a:pt x="79175" y="108648"/>
                  </a:lnTo>
                  <a:lnTo>
                    <a:pt x="79175" y="108648"/>
                  </a:lnTo>
                  <a:lnTo>
                    <a:pt x="81649" y="111891"/>
                  </a:lnTo>
                  <a:lnTo>
                    <a:pt x="81649" y="111891"/>
                  </a:lnTo>
                  <a:lnTo>
                    <a:pt x="85360" y="111891"/>
                  </a:lnTo>
                  <a:lnTo>
                    <a:pt x="87835" y="120000"/>
                  </a:lnTo>
                  <a:lnTo>
                    <a:pt x="87835" y="120000"/>
                  </a:lnTo>
                  <a:lnTo>
                    <a:pt x="94020" y="115135"/>
                  </a:lnTo>
                  <a:lnTo>
                    <a:pt x="94020" y="115135"/>
                  </a:lnTo>
                  <a:lnTo>
                    <a:pt x="94020" y="103783"/>
                  </a:lnTo>
                  <a:lnTo>
                    <a:pt x="94020" y="103783"/>
                  </a:lnTo>
                  <a:lnTo>
                    <a:pt x="94020" y="100540"/>
                  </a:lnTo>
                  <a:lnTo>
                    <a:pt x="94020" y="95675"/>
                  </a:lnTo>
                  <a:lnTo>
                    <a:pt x="94020" y="92432"/>
                  </a:lnTo>
                  <a:lnTo>
                    <a:pt x="96494" y="92432"/>
                  </a:lnTo>
                  <a:lnTo>
                    <a:pt x="96494" y="95675"/>
                  </a:lnTo>
                  <a:lnTo>
                    <a:pt x="96494" y="95675"/>
                  </a:lnTo>
                  <a:lnTo>
                    <a:pt x="100206" y="95675"/>
                  </a:lnTo>
                  <a:lnTo>
                    <a:pt x="100206" y="95675"/>
                  </a:lnTo>
                  <a:lnTo>
                    <a:pt x="100206" y="89189"/>
                  </a:lnTo>
                  <a:lnTo>
                    <a:pt x="100206" y="84324"/>
                  </a:lnTo>
                  <a:lnTo>
                    <a:pt x="102680" y="84324"/>
                  </a:lnTo>
                  <a:lnTo>
                    <a:pt x="102680" y="84324"/>
                  </a:lnTo>
                  <a:lnTo>
                    <a:pt x="100206" y="81081"/>
                  </a:lnTo>
                  <a:lnTo>
                    <a:pt x="100206" y="77837"/>
                  </a:lnTo>
                  <a:lnTo>
                    <a:pt x="100206" y="69729"/>
                  </a:lnTo>
                  <a:lnTo>
                    <a:pt x="100206" y="61621"/>
                  </a:lnTo>
                  <a:lnTo>
                    <a:pt x="102680" y="58378"/>
                  </a:lnTo>
                  <a:lnTo>
                    <a:pt x="105154" y="58378"/>
                  </a:lnTo>
                  <a:lnTo>
                    <a:pt x="105154" y="53513"/>
                  </a:lnTo>
                  <a:lnTo>
                    <a:pt x="108865" y="53513"/>
                  </a:lnTo>
                  <a:lnTo>
                    <a:pt x="113814" y="53513"/>
                  </a:lnTo>
                  <a:lnTo>
                    <a:pt x="120000" y="58378"/>
                  </a:lnTo>
                  <a:lnTo>
                    <a:pt x="117525" y="50270"/>
                  </a:lnTo>
                  <a:close/>
                  <a:moveTo>
                    <a:pt x="14845" y="47027"/>
                  </a:moveTo>
                  <a:lnTo>
                    <a:pt x="14845" y="47027"/>
                  </a:lnTo>
                  <a:lnTo>
                    <a:pt x="14845" y="47027"/>
                  </a:lnTo>
                  <a:lnTo>
                    <a:pt x="14845" y="42162"/>
                  </a:lnTo>
                  <a:lnTo>
                    <a:pt x="14845" y="42162"/>
                  </a:lnTo>
                  <a:lnTo>
                    <a:pt x="14845" y="42162"/>
                  </a:lnTo>
                  <a:lnTo>
                    <a:pt x="14845" y="42162"/>
                  </a:lnTo>
                  <a:lnTo>
                    <a:pt x="14845" y="47027"/>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36" name="Shape 536"/>
            <p:cNvSpPr/>
            <p:nvPr/>
          </p:nvSpPr>
          <p:spPr>
            <a:xfrm>
              <a:off x="3832" y="1777"/>
              <a:ext cx="0" cy="0"/>
            </a:xfrm>
            <a:custGeom>
              <a:avLst/>
              <a:gdLst/>
              <a:ahLst/>
              <a:cxnLst/>
              <a:rect l="0" t="0" r="0" b="0"/>
              <a:pathLst>
                <a:path w="120000" h="120000" extrusionOk="0">
                  <a:moveTo>
                    <a:pt x="120000" y="42222"/>
                  </a:moveTo>
                  <a:lnTo>
                    <a:pt x="120000" y="42222"/>
                  </a:lnTo>
                  <a:lnTo>
                    <a:pt x="118080" y="35555"/>
                  </a:lnTo>
                  <a:lnTo>
                    <a:pt x="115200" y="26666"/>
                  </a:lnTo>
                  <a:lnTo>
                    <a:pt x="115200" y="26666"/>
                  </a:lnTo>
                  <a:lnTo>
                    <a:pt x="118080" y="20000"/>
                  </a:lnTo>
                  <a:lnTo>
                    <a:pt x="118080" y="20000"/>
                  </a:lnTo>
                  <a:lnTo>
                    <a:pt x="118080" y="20000"/>
                  </a:lnTo>
                  <a:lnTo>
                    <a:pt x="118080" y="20000"/>
                  </a:lnTo>
                  <a:lnTo>
                    <a:pt x="118080" y="15555"/>
                  </a:lnTo>
                  <a:lnTo>
                    <a:pt x="115200" y="15555"/>
                  </a:lnTo>
                  <a:lnTo>
                    <a:pt x="115200" y="15555"/>
                  </a:lnTo>
                  <a:lnTo>
                    <a:pt x="115200" y="8888"/>
                  </a:lnTo>
                  <a:lnTo>
                    <a:pt x="113280" y="8888"/>
                  </a:lnTo>
                  <a:lnTo>
                    <a:pt x="111360" y="8888"/>
                  </a:lnTo>
                  <a:lnTo>
                    <a:pt x="111360" y="8888"/>
                  </a:lnTo>
                  <a:lnTo>
                    <a:pt x="111360" y="8888"/>
                  </a:lnTo>
                  <a:lnTo>
                    <a:pt x="108480" y="8888"/>
                  </a:lnTo>
                  <a:lnTo>
                    <a:pt x="108480" y="8888"/>
                  </a:lnTo>
                  <a:lnTo>
                    <a:pt x="106560" y="8888"/>
                  </a:lnTo>
                  <a:lnTo>
                    <a:pt x="103680" y="8888"/>
                  </a:lnTo>
                  <a:lnTo>
                    <a:pt x="99840" y="4444"/>
                  </a:lnTo>
                  <a:lnTo>
                    <a:pt x="99840" y="4444"/>
                  </a:lnTo>
                  <a:lnTo>
                    <a:pt x="96960" y="4444"/>
                  </a:lnTo>
                  <a:lnTo>
                    <a:pt x="95040" y="4444"/>
                  </a:lnTo>
                  <a:lnTo>
                    <a:pt x="93120" y="0"/>
                  </a:lnTo>
                  <a:lnTo>
                    <a:pt x="90240" y="0"/>
                  </a:lnTo>
                  <a:lnTo>
                    <a:pt x="90240" y="0"/>
                  </a:lnTo>
                  <a:lnTo>
                    <a:pt x="90240" y="0"/>
                  </a:lnTo>
                  <a:lnTo>
                    <a:pt x="88320" y="4444"/>
                  </a:lnTo>
                  <a:lnTo>
                    <a:pt x="88320" y="0"/>
                  </a:lnTo>
                  <a:lnTo>
                    <a:pt x="88320" y="0"/>
                  </a:lnTo>
                  <a:lnTo>
                    <a:pt x="86400" y="0"/>
                  </a:lnTo>
                  <a:lnTo>
                    <a:pt x="86400" y="0"/>
                  </a:lnTo>
                  <a:lnTo>
                    <a:pt x="86400" y="8888"/>
                  </a:lnTo>
                  <a:lnTo>
                    <a:pt x="86400" y="8888"/>
                  </a:lnTo>
                  <a:lnTo>
                    <a:pt x="83520" y="8888"/>
                  </a:lnTo>
                  <a:lnTo>
                    <a:pt x="83520" y="8888"/>
                  </a:lnTo>
                  <a:lnTo>
                    <a:pt x="81600" y="15555"/>
                  </a:lnTo>
                  <a:lnTo>
                    <a:pt x="81600" y="20000"/>
                  </a:lnTo>
                  <a:lnTo>
                    <a:pt x="79680" y="15555"/>
                  </a:lnTo>
                  <a:lnTo>
                    <a:pt x="79680" y="15555"/>
                  </a:lnTo>
                  <a:lnTo>
                    <a:pt x="76800" y="15555"/>
                  </a:lnTo>
                  <a:lnTo>
                    <a:pt x="76800" y="20000"/>
                  </a:lnTo>
                  <a:lnTo>
                    <a:pt x="74880" y="20000"/>
                  </a:lnTo>
                  <a:lnTo>
                    <a:pt x="72000" y="15555"/>
                  </a:lnTo>
                  <a:lnTo>
                    <a:pt x="70080" y="15555"/>
                  </a:lnTo>
                  <a:lnTo>
                    <a:pt x="70080" y="8888"/>
                  </a:lnTo>
                  <a:lnTo>
                    <a:pt x="68160" y="8888"/>
                  </a:lnTo>
                  <a:lnTo>
                    <a:pt x="68160" y="8888"/>
                  </a:lnTo>
                  <a:lnTo>
                    <a:pt x="68160" y="8888"/>
                  </a:lnTo>
                  <a:lnTo>
                    <a:pt x="68160" y="15555"/>
                  </a:lnTo>
                  <a:lnTo>
                    <a:pt x="68160" y="15555"/>
                  </a:lnTo>
                  <a:lnTo>
                    <a:pt x="68160" y="20000"/>
                  </a:lnTo>
                  <a:lnTo>
                    <a:pt x="68160" y="20000"/>
                  </a:lnTo>
                  <a:lnTo>
                    <a:pt x="65280" y="20000"/>
                  </a:lnTo>
                  <a:lnTo>
                    <a:pt x="65280" y="20000"/>
                  </a:lnTo>
                  <a:lnTo>
                    <a:pt x="63360" y="20000"/>
                  </a:lnTo>
                  <a:lnTo>
                    <a:pt x="63360" y="20000"/>
                  </a:lnTo>
                  <a:lnTo>
                    <a:pt x="63360" y="20000"/>
                  </a:lnTo>
                  <a:lnTo>
                    <a:pt x="61440" y="26666"/>
                  </a:lnTo>
                  <a:lnTo>
                    <a:pt x="61440" y="31111"/>
                  </a:lnTo>
                  <a:lnTo>
                    <a:pt x="61440" y="31111"/>
                  </a:lnTo>
                  <a:lnTo>
                    <a:pt x="58560" y="31111"/>
                  </a:lnTo>
                  <a:lnTo>
                    <a:pt x="58560" y="31111"/>
                  </a:lnTo>
                  <a:lnTo>
                    <a:pt x="56640" y="31111"/>
                  </a:lnTo>
                  <a:lnTo>
                    <a:pt x="54720" y="35555"/>
                  </a:lnTo>
                  <a:lnTo>
                    <a:pt x="51840" y="35555"/>
                  </a:lnTo>
                  <a:lnTo>
                    <a:pt x="51840" y="42222"/>
                  </a:lnTo>
                  <a:lnTo>
                    <a:pt x="51840" y="42222"/>
                  </a:lnTo>
                  <a:lnTo>
                    <a:pt x="54720" y="46666"/>
                  </a:lnTo>
                  <a:lnTo>
                    <a:pt x="54720" y="51111"/>
                  </a:lnTo>
                  <a:lnTo>
                    <a:pt x="54720" y="51111"/>
                  </a:lnTo>
                  <a:lnTo>
                    <a:pt x="54720" y="57777"/>
                  </a:lnTo>
                  <a:lnTo>
                    <a:pt x="54720" y="57777"/>
                  </a:lnTo>
                  <a:lnTo>
                    <a:pt x="54720" y="57777"/>
                  </a:lnTo>
                  <a:lnTo>
                    <a:pt x="56640" y="57777"/>
                  </a:lnTo>
                  <a:lnTo>
                    <a:pt x="56640" y="57777"/>
                  </a:lnTo>
                  <a:lnTo>
                    <a:pt x="56640" y="62222"/>
                  </a:lnTo>
                  <a:lnTo>
                    <a:pt x="56640" y="62222"/>
                  </a:lnTo>
                  <a:lnTo>
                    <a:pt x="56640" y="68888"/>
                  </a:lnTo>
                  <a:lnTo>
                    <a:pt x="56640" y="68888"/>
                  </a:lnTo>
                  <a:lnTo>
                    <a:pt x="54720" y="68888"/>
                  </a:lnTo>
                  <a:lnTo>
                    <a:pt x="54720" y="68888"/>
                  </a:lnTo>
                  <a:lnTo>
                    <a:pt x="51840" y="68888"/>
                  </a:lnTo>
                  <a:lnTo>
                    <a:pt x="51840" y="68888"/>
                  </a:lnTo>
                  <a:lnTo>
                    <a:pt x="51840" y="62222"/>
                  </a:lnTo>
                  <a:lnTo>
                    <a:pt x="51840" y="62222"/>
                  </a:lnTo>
                  <a:lnTo>
                    <a:pt x="51840" y="62222"/>
                  </a:lnTo>
                  <a:lnTo>
                    <a:pt x="49920" y="62222"/>
                  </a:lnTo>
                  <a:lnTo>
                    <a:pt x="49920" y="62222"/>
                  </a:lnTo>
                  <a:lnTo>
                    <a:pt x="48000" y="62222"/>
                  </a:lnTo>
                  <a:lnTo>
                    <a:pt x="48000" y="62222"/>
                  </a:lnTo>
                  <a:lnTo>
                    <a:pt x="48000" y="62222"/>
                  </a:lnTo>
                  <a:lnTo>
                    <a:pt x="45120" y="57777"/>
                  </a:lnTo>
                  <a:lnTo>
                    <a:pt x="45120" y="57777"/>
                  </a:lnTo>
                  <a:lnTo>
                    <a:pt x="43200" y="57777"/>
                  </a:lnTo>
                  <a:lnTo>
                    <a:pt x="43200" y="57777"/>
                  </a:lnTo>
                  <a:lnTo>
                    <a:pt x="43200" y="62222"/>
                  </a:lnTo>
                  <a:lnTo>
                    <a:pt x="43200" y="62222"/>
                  </a:lnTo>
                  <a:lnTo>
                    <a:pt x="36480" y="62222"/>
                  </a:lnTo>
                  <a:lnTo>
                    <a:pt x="33600" y="68888"/>
                  </a:lnTo>
                  <a:lnTo>
                    <a:pt x="31680" y="68888"/>
                  </a:lnTo>
                  <a:lnTo>
                    <a:pt x="29760" y="68888"/>
                  </a:lnTo>
                  <a:lnTo>
                    <a:pt x="29760" y="68888"/>
                  </a:lnTo>
                  <a:lnTo>
                    <a:pt x="29760" y="73333"/>
                  </a:lnTo>
                  <a:lnTo>
                    <a:pt x="26880" y="73333"/>
                  </a:lnTo>
                  <a:lnTo>
                    <a:pt x="26880" y="73333"/>
                  </a:lnTo>
                  <a:lnTo>
                    <a:pt x="26880" y="73333"/>
                  </a:lnTo>
                  <a:lnTo>
                    <a:pt x="24960" y="73333"/>
                  </a:lnTo>
                  <a:lnTo>
                    <a:pt x="24960" y="73333"/>
                  </a:lnTo>
                  <a:lnTo>
                    <a:pt x="23040" y="73333"/>
                  </a:lnTo>
                  <a:lnTo>
                    <a:pt x="23040" y="68888"/>
                  </a:lnTo>
                  <a:lnTo>
                    <a:pt x="23040" y="68888"/>
                  </a:lnTo>
                  <a:lnTo>
                    <a:pt x="23040" y="68888"/>
                  </a:lnTo>
                  <a:lnTo>
                    <a:pt x="20160" y="68888"/>
                  </a:lnTo>
                  <a:lnTo>
                    <a:pt x="18240" y="68888"/>
                  </a:lnTo>
                  <a:lnTo>
                    <a:pt x="16320" y="68888"/>
                  </a:lnTo>
                  <a:lnTo>
                    <a:pt x="16320" y="68888"/>
                  </a:lnTo>
                  <a:lnTo>
                    <a:pt x="16320" y="68888"/>
                  </a:lnTo>
                  <a:lnTo>
                    <a:pt x="16320" y="73333"/>
                  </a:lnTo>
                  <a:lnTo>
                    <a:pt x="13440" y="73333"/>
                  </a:lnTo>
                  <a:lnTo>
                    <a:pt x="13440" y="77777"/>
                  </a:lnTo>
                  <a:lnTo>
                    <a:pt x="11520" y="77777"/>
                  </a:lnTo>
                  <a:lnTo>
                    <a:pt x="11520" y="77777"/>
                  </a:lnTo>
                  <a:lnTo>
                    <a:pt x="11520" y="77777"/>
                  </a:lnTo>
                  <a:lnTo>
                    <a:pt x="11520" y="73333"/>
                  </a:lnTo>
                  <a:lnTo>
                    <a:pt x="11520" y="73333"/>
                  </a:lnTo>
                  <a:lnTo>
                    <a:pt x="8640" y="73333"/>
                  </a:lnTo>
                  <a:lnTo>
                    <a:pt x="8640" y="73333"/>
                  </a:lnTo>
                  <a:lnTo>
                    <a:pt x="8640" y="73333"/>
                  </a:lnTo>
                  <a:lnTo>
                    <a:pt x="8640" y="73333"/>
                  </a:lnTo>
                  <a:lnTo>
                    <a:pt x="8640" y="68888"/>
                  </a:lnTo>
                  <a:lnTo>
                    <a:pt x="8640" y="68888"/>
                  </a:lnTo>
                  <a:lnTo>
                    <a:pt x="6720" y="68888"/>
                  </a:lnTo>
                  <a:lnTo>
                    <a:pt x="4800" y="62222"/>
                  </a:lnTo>
                  <a:lnTo>
                    <a:pt x="4800" y="68888"/>
                  </a:lnTo>
                  <a:lnTo>
                    <a:pt x="1920" y="68888"/>
                  </a:lnTo>
                  <a:lnTo>
                    <a:pt x="1920" y="68888"/>
                  </a:lnTo>
                  <a:lnTo>
                    <a:pt x="0" y="68888"/>
                  </a:lnTo>
                  <a:lnTo>
                    <a:pt x="1920" y="68888"/>
                  </a:lnTo>
                  <a:lnTo>
                    <a:pt x="1920" y="68888"/>
                  </a:lnTo>
                  <a:lnTo>
                    <a:pt x="1920" y="73333"/>
                  </a:lnTo>
                  <a:lnTo>
                    <a:pt x="0" y="77777"/>
                  </a:lnTo>
                  <a:lnTo>
                    <a:pt x="1920" y="77777"/>
                  </a:lnTo>
                  <a:lnTo>
                    <a:pt x="1920" y="77777"/>
                  </a:lnTo>
                  <a:lnTo>
                    <a:pt x="1920" y="84444"/>
                  </a:lnTo>
                  <a:lnTo>
                    <a:pt x="1920" y="84444"/>
                  </a:lnTo>
                  <a:lnTo>
                    <a:pt x="1920" y="84444"/>
                  </a:lnTo>
                  <a:lnTo>
                    <a:pt x="1920" y="84444"/>
                  </a:lnTo>
                  <a:lnTo>
                    <a:pt x="1920" y="88888"/>
                  </a:lnTo>
                  <a:lnTo>
                    <a:pt x="1920" y="88888"/>
                  </a:lnTo>
                  <a:lnTo>
                    <a:pt x="1920" y="88888"/>
                  </a:lnTo>
                  <a:lnTo>
                    <a:pt x="1920" y="88888"/>
                  </a:lnTo>
                  <a:lnTo>
                    <a:pt x="4800" y="88888"/>
                  </a:lnTo>
                  <a:lnTo>
                    <a:pt x="6720" y="88888"/>
                  </a:lnTo>
                  <a:lnTo>
                    <a:pt x="6720" y="93333"/>
                  </a:lnTo>
                  <a:lnTo>
                    <a:pt x="6720" y="93333"/>
                  </a:lnTo>
                  <a:lnTo>
                    <a:pt x="8640" y="93333"/>
                  </a:lnTo>
                  <a:lnTo>
                    <a:pt x="11520" y="100000"/>
                  </a:lnTo>
                  <a:lnTo>
                    <a:pt x="11520" y="100000"/>
                  </a:lnTo>
                  <a:lnTo>
                    <a:pt x="13440" y="93333"/>
                  </a:lnTo>
                  <a:lnTo>
                    <a:pt x="16320" y="93333"/>
                  </a:lnTo>
                  <a:lnTo>
                    <a:pt x="16320" y="93333"/>
                  </a:lnTo>
                  <a:lnTo>
                    <a:pt x="16320" y="100000"/>
                  </a:lnTo>
                  <a:lnTo>
                    <a:pt x="16320" y="100000"/>
                  </a:lnTo>
                  <a:lnTo>
                    <a:pt x="18240" y="100000"/>
                  </a:lnTo>
                  <a:lnTo>
                    <a:pt x="20160" y="100000"/>
                  </a:lnTo>
                  <a:lnTo>
                    <a:pt x="20160" y="100000"/>
                  </a:lnTo>
                  <a:lnTo>
                    <a:pt x="23040" y="100000"/>
                  </a:lnTo>
                  <a:lnTo>
                    <a:pt x="23040" y="104444"/>
                  </a:lnTo>
                  <a:lnTo>
                    <a:pt x="24960" y="100000"/>
                  </a:lnTo>
                  <a:lnTo>
                    <a:pt x="24960" y="100000"/>
                  </a:lnTo>
                  <a:lnTo>
                    <a:pt x="24960" y="100000"/>
                  </a:lnTo>
                  <a:lnTo>
                    <a:pt x="26880" y="93333"/>
                  </a:lnTo>
                  <a:lnTo>
                    <a:pt x="26880" y="93333"/>
                  </a:lnTo>
                  <a:lnTo>
                    <a:pt x="31680" y="93333"/>
                  </a:lnTo>
                  <a:lnTo>
                    <a:pt x="31680" y="93333"/>
                  </a:lnTo>
                  <a:lnTo>
                    <a:pt x="33600" y="93333"/>
                  </a:lnTo>
                  <a:lnTo>
                    <a:pt x="36480" y="93333"/>
                  </a:lnTo>
                  <a:lnTo>
                    <a:pt x="36480" y="93333"/>
                  </a:lnTo>
                  <a:lnTo>
                    <a:pt x="38400" y="88888"/>
                  </a:lnTo>
                  <a:lnTo>
                    <a:pt x="43200" y="88888"/>
                  </a:lnTo>
                  <a:lnTo>
                    <a:pt x="43200" y="88888"/>
                  </a:lnTo>
                  <a:lnTo>
                    <a:pt x="43200" y="88888"/>
                  </a:lnTo>
                  <a:lnTo>
                    <a:pt x="43200" y="88888"/>
                  </a:lnTo>
                  <a:lnTo>
                    <a:pt x="43200" y="93333"/>
                  </a:lnTo>
                  <a:lnTo>
                    <a:pt x="43200" y="93333"/>
                  </a:lnTo>
                  <a:lnTo>
                    <a:pt x="45120" y="100000"/>
                  </a:lnTo>
                  <a:lnTo>
                    <a:pt x="45120" y="104444"/>
                  </a:lnTo>
                  <a:lnTo>
                    <a:pt x="45120" y="104444"/>
                  </a:lnTo>
                  <a:lnTo>
                    <a:pt x="48000" y="104444"/>
                  </a:lnTo>
                  <a:lnTo>
                    <a:pt x="49920" y="108888"/>
                  </a:lnTo>
                  <a:lnTo>
                    <a:pt x="51840" y="108888"/>
                  </a:lnTo>
                  <a:lnTo>
                    <a:pt x="51840" y="108888"/>
                  </a:lnTo>
                  <a:lnTo>
                    <a:pt x="58560" y="108888"/>
                  </a:lnTo>
                  <a:lnTo>
                    <a:pt x="61440" y="108888"/>
                  </a:lnTo>
                  <a:lnTo>
                    <a:pt x="63360" y="108888"/>
                  </a:lnTo>
                  <a:lnTo>
                    <a:pt x="68160" y="115555"/>
                  </a:lnTo>
                  <a:lnTo>
                    <a:pt x="68160" y="115555"/>
                  </a:lnTo>
                  <a:lnTo>
                    <a:pt x="70080" y="115555"/>
                  </a:lnTo>
                  <a:lnTo>
                    <a:pt x="70080" y="115555"/>
                  </a:lnTo>
                  <a:lnTo>
                    <a:pt x="72000" y="115555"/>
                  </a:lnTo>
                  <a:lnTo>
                    <a:pt x="72000" y="115555"/>
                  </a:lnTo>
                  <a:lnTo>
                    <a:pt x="76800" y="115555"/>
                  </a:lnTo>
                  <a:lnTo>
                    <a:pt x="79680" y="115555"/>
                  </a:lnTo>
                  <a:lnTo>
                    <a:pt x="79680" y="120000"/>
                  </a:lnTo>
                  <a:lnTo>
                    <a:pt x="79680" y="120000"/>
                  </a:lnTo>
                  <a:lnTo>
                    <a:pt x="81600" y="120000"/>
                  </a:lnTo>
                  <a:lnTo>
                    <a:pt x="81600" y="120000"/>
                  </a:lnTo>
                  <a:lnTo>
                    <a:pt x="81600" y="115555"/>
                  </a:lnTo>
                  <a:lnTo>
                    <a:pt x="83520" y="115555"/>
                  </a:lnTo>
                  <a:lnTo>
                    <a:pt x="83520" y="115555"/>
                  </a:lnTo>
                  <a:lnTo>
                    <a:pt x="83520" y="108888"/>
                  </a:lnTo>
                  <a:lnTo>
                    <a:pt x="86400" y="108888"/>
                  </a:lnTo>
                  <a:lnTo>
                    <a:pt x="86400" y="108888"/>
                  </a:lnTo>
                  <a:lnTo>
                    <a:pt x="86400" y="108888"/>
                  </a:lnTo>
                  <a:lnTo>
                    <a:pt x="88320" y="108888"/>
                  </a:lnTo>
                  <a:lnTo>
                    <a:pt x="90240" y="108888"/>
                  </a:lnTo>
                  <a:lnTo>
                    <a:pt x="95040" y="108888"/>
                  </a:lnTo>
                  <a:lnTo>
                    <a:pt x="96960" y="108888"/>
                  </a:lnTo>
                  <a:lnTo>
                    <a:pt x="96960" y="104444"/>
                  </a:lnTo>
                  <a:lnTo>
                    <a:pt x="99840" y="104444"/>
                  </a:lnTo>
                  <a:lnTo>
                    <a:pt x="99840" y="104444"/>
                  </a:lnTo>
                  <a:lnTo>
                    <a:pt x="101760" y="104444"/>
                  </a:lnTo>
                  <a:lnTo>
                    <a:pt x="103680" y="104444"/>
                  </a:lnTo>
                  <a:lnTo>
                    <a:pt x="103680" y="104444"/>
                  </a:lnTo>
                  <a:lnTo>
                    <a:pt x="103680" y="100000"/>
                  </a:lnTo>
                  <a:lnTo>
                    <a:pt x="103680" y="100000"/>
                  </a:lnTo>
                  <a:lnTo>
                    <a:pt x="103680" y="100000"/>
                  </a:lnTo>
                  <a:lnTo>
                    <a:pt x="106560" y="93333"/>
                  </a:lnTo>
                  <a:lnTo>
                    <a:pt x="108480" y="88888"/>
                  </a:lnTo>
                  <a:lnTo>
                    <a:pt x="111360" y="93333"/>
                  </a:lnTo>
                  <a:lnTo>
                    <a:pt x="111360" y="88888"/>
                  </a:lnTo>
                  <a:lnTo>
                    <a:pt x="111360" y="88888"/>
                  </a:lnTo>
                  <a:lnTo>
                    <a:pt x="111360" y="88888"/>
                  </a:lnTo>
                  <a:lnTo>
                    <a:pt x="111360" y="88888"/>
                  </a:lnTo>
                  <a:lnTo>
                    <a:pt x="111360" y="84444"/>
                  </a:lnTo>
                  <a:lnTo>
                    <a:pt x="111360" y="84444"/>
                  </a:lnTo>
                  <a:lnTo>
                    <a:pt x="111360" y="84444"/>
                  </a:lnTo>
                  <a:lnTo>
                    <a:pt x="108480" y="84444"/>
                  </a:lnTo>
                  <a:lnTo>
                    <a:pt x="111360" y="77777"/>
                  </a:lnTo>
                  <a:lnTo>
                    <a:pt x="111360" y="77777"/>
                  </a:lnTo>
                  <a:lnTo>
                    <a:pt x="111360" y="73333"/>
                  </a:lnTo>
                  <a:lnTo>
                    <a:pt x="111360" y="73333"/>
                  </a:lnTo>
                  <a:lnTo>
                    <a:pt x="111360" y="73333"/>
                  </a:lnTo>
                  <a:lnTo>
                    <a:pt x="113280" y="73333"/>
                  </a:lnTo>
                  <a:lnTo>
                    <a:pt x="113280" y="73333"/>
                  </a:lnTo>
                  <a:lnTo>
                    <a:pt x="113280" y="68888"/>
                  </a:lnTo>
                  <a:lnTo>
                    <a:pt x="113280" y="68888"/>
                  </a:lnTo>
                  <a:lnTo>
                    <a:pt x="113280" y="62222"/>
                  </a:lnTo>
                  <a:lnTo>
                    <a:pt x="108480" y="62222"/>
                  </a:lnTo>
                  <a:lnTo>
                    <a:pt x="108480" y="62222"/>
                  </a:lnTo>
                  <a:lnTo>
                    <a:pt x="111360" y="57777"/>
                  </a:lnTo>
                  <a:lnTo>
                    <a:pt x="111360" y="57777"/>
                  </a:lnTo>
                  <a:lnTo>
                    <a:pt x="111360" y="57777"/>
                  </a:lnTo>
                  <a:lnTo>
                    <a:pt x="113280" y="57777"/>
                  </a:lnTo>
                  <a:lnTo>
                    <a:pt x="113280" y="57777"/>
                  </a:lnTo>
                  <a:lnTo>
                    <a:pt x="115200" y="57777"/>
                  </a:lnTo>
                  <a:lnTo>
                    <a:pt x="115200" y="62222"/>
                  </a:lnTo>
                  <a:lnTo>
                    <a:pt x="115200" y="57777"/>
                  </a:lnTo>
                  <a:lnTo>
                    <a:pt x="115200" y="57777"/>
                  </a:lnTo>
                  <a:lnTo>
                    <a:pt x="118080" y="57777"/>
                  </a:lnTo>
                  <a:lnTo>
                    <a:pt x="120000" y="57777"/>
                  </a:lnTo>
                  <a:lnTo>
                    <a:pt x="120000" y="57777"/>
                  </a:lnTo>
                  <a:lnTo>
                    <a:pt x="120000" y="51111"/>
                  </a:lnTo>
                  <a:lnTo>
                    <a:pt x="120000" y="51111"/>
                  </a:lnTo>
                  <a:lnTo>
                    <a:pt x="120000" y="51111"/>
                  </a:lnTo>
                  <a:lnTo>
                    <a:pt x="120000" y="51111"/>
                  </a:lnTo>
                  <a:lnTo>
                    <a:pt x="120000" y="46666"/>
                  </a:lnTo>
                  <a:lnTo>
                    <a:pt x="120000" y="46666"/>
                  </a:lnTo>
                  <a:lnTo>
                    <a:pt x="120000" y="42222"/>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37" name="Shape 537"/>
            <p:cNvSpPr/>
            <p:nvPr/>
          </p:nvSpPr>
          <p:spPr>
            <a:xfrm>
              <a:off x="5687" y="3035"/>
              <a:ext cx="600" cy="600"/>
            </a:xfrm>
            <a:custGeom>
              <a:avLst/>
              <a:gdLst/>
              <a:ahLst/>
              <a:cxnLst/>
              <a:rect l="0" t="0" r="0" b="0"/>
              <a:pathLst>
                <a:path w="120000" h="120000" extrusionOk="0">
                  <a:moveTo>
                    <a:pt x="75121" y="118786"/>
                  </a:moveTo>
                  <a:lnTo>
                    <a:pt x="75121" y="118786"/>
                  </a:lnTo>
                  <a:lnTo>
                    <a:pt x="75121" y="118786"/>
                  </a:lnTo>
                  <a:lnTo>
                    <a:pt x="75121" y="119306"/>
                  </a:lnTo>
                  <a:lnTo>
                    <a:pt x="74634" y="119306"/>
                  </a:lnTo>
                  <a:lnTo>
                    <a:pt x="74634" y="119306"/>
                  </a:lnTo>
                  <a:lnTo>
                    <a:pt x="74634" y="119306"/>
                  </a:lnTo>
                  <a:lnTo>
                    <a:pt x="74634" y="119306"/>
                  </a:lnTo>
                  <a:lnTo>
                    <a:pt x="75121" y="119306"/>
                  </a:lnTo>
                  <a:lnTo>
                    <a:pt x="75121" y="119306"/>
                  </a:lnTo>
                  <a:lnTo>
                    <a:pt x="75447" y="119306"/>
                  </a:lnTo>
                  <a:lnTo>
                    <a:pt x="75447" y="118786"/>
                  </a:lnTo>
                  <a:lnTo>
                    <a:pt x="75447" y="118786"/>
                  </a:lnTo>
                  <a:lnTo>
                    <a:pt x="75447" y="118786"/>
                  </a:lnTo>
                  <a:lnTo>
                    <a:pt x="75121" y="118786"/>
                  </a:lnTo>
                  <a:close/>
                  <a:moveTo>
                    <a:pt x="75934" y="118092"/>
                  </a:moveTo>
                  <a:lnTo>
                    <a:pt x="75934" y="118092"/>
                  </a:lnTo>
                  <a:lnTo>
                    <a:pt x="75934" y="118439"/>
                  </a:lnTo>
                  <a:lnTo>
                    <a:pt x="75934" y="118439"/>
                  </a:lnTo>
                  <a:lnTo>
                    <a:pt x="75934" y="118439"/>
                  </a:lnTo>
                  <a:lnTo>
                    <a:pt x="75934" y="118439"/>
                  </a:lnTo>
                  <a:lnTo>
                    <a:pt x="75934" y="118439"/>
                  </a:lnTo>
                  <a:lnTo>
                    <a:pt x="76260" y="118092"/>
                  </a:lnTo>
                  <a:lnTo>
                    <a:pt x="76260" y="118092"/>
                  </a:lnTo>
                  <a:lnTo>
                    <a:pt x="75934" y="118092"/>
                  </a:lnTo>
                  <a:close/>
                  <a:moveTo>
                    <a:pt x="78861" y="116358"/>
                  </a:moveTo>
                  <a:lnTo>
                    <a:pt x="78861" y="116358"/>
                  </a:lnTo>
                  <a:lnTo>
                    <a:pt x="78861" y="116878"/>
                  </a:lnTo>
                  <a:lnTo>
                    <a:pt x="78861" y="116878"/>
                  </a:lnTo>
                  <a:lnTo>
                    <a:pt x="78861" y="116878"/>
                  </a:lnTo>
                  <a:lnTo>
                    <a:pt x="78861" y="116358"/>
                  </a:lnTo>
                  <a:lnTo>
                    <a:pt x="79349" y="116358"/>
                  </a:lnTo>
                  <a:lnTo>
                    <a:pt x="79349" y="116358"/>
                  </a:lnTo>
                  <a:lnTo>
                    <a:pt x="79349" y="116358"/>
                  </a:lnTo>
                  <a:lnTo>
                    <a:pt x="78861" y="116358"/>
                  </a:lnTo>
                  <a:close/>
                  <a:moveTo>
                    <a:pt x="82764" y="109768"/>
                  </a:moveTo>
                  <a:lnTo>
                    <a:pt x="82764" y="109768"/>
                  </a:lnTo>
                  <a:lnTo>
                    <a:pt x="81951" y="110289"/>
                  </a:lnTo>
                  <a:lnTo>
                    <a:pt x="81951" y="110289"/>
                  </a:lnTo>
                  <a:lnTo>
                    <a:pt x="81626" y="109768"/>
                  </a:lnTo>
                  <a:lnTo>
                    <a:pt x="81138" y="110289"/>
                  </a:lnTo>
                  <a:lnTo>
                    <a:pt x="80813" y="110635"/>
                  </a:lnTo>
                  <a:lnTo>
                    <a:pt x="80813" y="110635"/>
                  </a:lnTo>
                  <a:lnTo>
                    <a:pt x="80487" y="110635"/>
                  </a:lnTo>
                  <a:lnTo>
                    <a:pt x="80487" y="110289"/>
                  </a:lnTo>
                  <a:lnTo>
                    <a:pt x="80487" y="110289"/>
                  </a:lnTo>
                  <a:lnTo>
                    <a:pt x="80000" y="110635"/>
                  </a:lnTo>
                  <a:lnTo>
                    <a:pt x="79674" y="110635"/>
                  </a:lnTo>
                  <a:lnTo>
                    <a:pt x="79349" y="110635"/>
                  </a:lnTo>
                  <a:lnTo>
                    <a:pt x="79349" y="110635"/>
                  </a:lnTo>
                  <a:lnTo>
                    <a:pt x="78861" y="110635"/>
                  </a:lnTo>
                  <a:lnTo>
                    <a:pt x="78861" y="110982"/>
                  </a:lnTo>
                  <a:lnTo>
                    <a:pt x="78536" y="110982"/>
                  </a:lnTo>
                  <a:lnTo>
                    <a:pt x="78536" y="110982"/>
                  </a:lnTo>
                  <a:lnTo>
                    <a:pt x="78536" y="110982"/>
                  </a:lnTo>
                  <a:lnTo>
                    <a:pt x="78211" y="110982"/>
                  </a:lnTo>
                  <a:lnTo>
                    <a:pt x="78211" y="110982"/>
                  </a:lnTo>
                  <a:lnTo>
                    <a:pt x="77398" y="110982"/>
                  </a:lnTo>
                  <a:lnTo>
                    <a:pt x="76585" y="110982"/>
                  </a:lnTo>
                  <a:lnTo>
                    <a:pt x="76260" y="110635"/>
                  </a:lnTo>
                  <a:lnTo>
                    <a:pt x="76260" y="110635"/>
                  </a:lnTo>
                  <a:lnTo>
                    <a:pt x="75934" y="110289"/>
                  </a:lnTo>
                  <a:lnTo>
                    <a:pt x="75934" y="110289"/>
                  </a:lnTo>
                  <a:lnTo>
                    <a:pt x="75934" y="110289"/>
                  </a:lnTo>
                  <a:lnTo>
                    <a:pt x="75447" y="110289"/>
                  </a:lnTo>
                  <a:lnTo>
                    <a:pt x="75447" y="110289"/>
                  </a:lnTo>
                  <a:lnTo>
                    <a:pt x="75447" y="110289"/>
                  </a:lnTo>
                  <a:lnTo>
                    <a:pt x="75121" y="109768"/>
                  </a:lnTo>
                  <a:lnTo>
                    <a:pt x="75121" y="109768"/>
                  </a:lnTo>
                  <a:lnTo>
                    <a:pt x="75121" y="109768"/>
                  </a:lnTo>
                  <a:lnTo>
                    <a:pt x="74634" y="109768"/>
                  </a:lnTo>
                  <a:lnTo>
                    <a:pt x="74308" y="109768"/>
                  </a:lnTo>
                  <a:lnTo>
                    <a:pt x="73983" y="109421"/>
                  </a:lnTo>
                  <a:lnTo>
                    <a:pt x="73983" y="109421"/>
                  </a:lnTo>
                  <a:lnTo>
                    <a:pt x="73495" y="109768"/>
                  </a:lnTo>
                  <a:lnTo>
                    <a:pt x="72845" y="110635"/>
                  </a:lnTo>
                  <a:lnTo>
                    <a:pt x="72845" y="110982"/>
                  </a:lnTo>
                  <a:lnTo>
                    <a:pt x="72845" y="110982"/>
                  </a:lnTo>
                  <a:lnTo>
                    <a:pt x="72357" y="111849"/>
                  </a:lnTo>
                  <a:lnTo>
                    <a:pt x="72357" y="111849"/>
                  </a:lnTo>
                  <a:lnTo>
                    <a:pt x="72357" y="111849"/>
                  </a:lnTo>
                  <a:lnTo>
                    <a:pt x="72357" y="112716"/>
                  </a:lnTo>
                  <a:lnTo>
                    <a:pt x="72357" y="113583"/>
                  </a:lnTo>
                  <a:lnTo>
                    <a:pt x="72357" y="114277"/>
                  </a:lnTo>
                  <a:lnTo>
                    <a:pt x="72357" y="114277"/>
                  </a:lnTo>
                  <a:lnTo>
                    <a:pt x="72032" y="114797"/>
                  </a:lnTo>
                  <a:lnTo>
                    <a:pt x="72357" y="114797"/>
                  </a:lnTo>
                  <a:lnTo>
                    <a:pt x="72357" y="114797"/>
                  </a:lnTo>
                  <a:lnTo>
                    <a:pt x="72357" y="114797"/>
                  </a:lnTo>
                  <a:lnTo>
                    <a:pt x="72357" y="115144"/>
                  </a:lnTo>
                  <a:lnTo>
                    <a:pt x="72357" y="115491"/>
                  </a:lnTo>
                  <a:lnTo>
                    <a:pt x="72357" y="115491"/>
                  </a:lnTo>
                  <a:lnTo>
                    <a:pt x="72032" y="116011"/>
                  </a:lnTo>
                  <a:lnTo>
                    <a:pt x="72357" y="115491"/>
                  </a:lnTo>
                  <a:lnTo>
                    <a:pt x="72357" y="115144"/>
                  </a:lnTo>
                  <a:lnTo>
                    <a:pt x="72032" y="115144"/>
                  </a:lnTo>
                  <a:lnTo>
                    <a:pt x="71707" y="115491"/>
                  </a:lnTo>
                  <a:lnTo>
                    <a:pt x="71707" y="116011"/>
                  </a:lnTo>
                  <a:lnTo>
                    <a:pt x="71219" y="117572"/>
                  </a:lnTo>
                  <a:lnTo>
                    <a:pt x="71219" y="117572"/>
                  </a:lnTo>
                  <a:lnTo>
                    <a:pt x="71707" y="117572"/>
                  </a:lnTo>
                  <a:lnTo>
                    <a:pt x="71707" y="117572"/>
                  </a:lnTo>
                  <a:lnTo>
                    <a:pt x="71707" y="118092"/>
                  </a:lnTo>
                  <a:lnTo>
                    <a:pt x="71707" y="118439"/>
                  </a:lnTo>
                  <a:lnTo>
                    <a:pt x="71707" y="118786"/>
                  </a:lnTo>
                  <a:lnTo>
                    <a:pt x="72032" y="118786"/>
                  </a:lnTo>
                  <a:lnTo>
                    <a:pt x="72357" y="118786"/>
                  </a:lnTo>
                  <a:lnTo>
                    <a:pt x="72357" y="118786"/>
                  </a:lnTo>
                  <a:lnTo>
                    <a:pt x="72357" y="118786"/>
                  </a:lnTo>
                  <a:lnTo>
                    <a:pt x="72357" y="118786"/>
                  </a:lnTo>
                  <a:lnTo>
                    <a:pt x="72032" y="118786"/>
                  </a:lnTo>
                  <a:lnTo>
                    <a:pt x="71707" y="118786"/>
                  </a:lnTo>
                  <a:lnTo>
                    <a:pt x="71707" y="119306"/>
                  </a:lnTo>
                  <a:lnTo>
                    <a:pt x="71707" y="119306"/>
                  </a:lnTo>
                  <a:lnTo>
                    <a:pt x="71707" y="119653"/>
                  </a:lnTo>
                  <a:lnTo>
                    <a:pt x="72032" y="119653"/>
                  </a:lnTo>
                  <a:lnTo>
                    <a:pt x="72357" y="119653"/>
                  </a:lnTo>
                  <a:lnTo>
                    <a:pt x="73170" y="119653"/>
                  </a:lnTo>
                  <a:lnTo>
                    <a:pt x="73170" y="119653"/>
                  </a:lnTo>
                  <a:lnTo>
                    <a:pt x="73495" y="120000"/>
                  </a:lnTo>
                  <a:lnTo>
                    <a:pt x="73495" y="119653"/>
                  </a:lnTo>
                  <a:lnTo>
                    <a:pt x="73983" y="119653"/>
                  </a:lnTo>
                  <a:lnTo>
                    <a:pt x="74634" y="118786"/>
                  </a:lnTo>
                  <a:lnTo>
                    <a:pt x="74634" y="118786"/>
                  </a:lnTo>
                  <a:lnTo>
                    <a:pt x="75121" y="118786"/>
                  </a:lnTo>
                  <a:lnTo>
                    <a:pt x="74634" y="118439"/>
                  </a:lnTo>
                  <a:lnTo>
                    <a:pt x="74634" y="118439"/>
                  </a:lnTo>
                  <a:lnTo>
                    <a:pt x="75121" y="118439"/>
                  </a:lnTo>
                  <a:lnTo>
                    <a:pt x="75121" y="118439"/>
                  </a:lnTo>
                  <a:lnTo>
                    <a:pt x="75447" y="118439"/>
                  </a:lnTo>
                  <a:lnTo>
                    <a:pt x="75934" y="118092"/>
                  </a:lnTo>
                  <a:lnTo>
                    <a:pt x="75934" y="118092"/>
                  </a:lnTo>
                  <a:lnTo>
                    <a:pt x="75934" y="117572"/>
                  </a:lnTo>
                  <a:lnTo>
                    <a:pt x="76260" y="117572"/>
                  </a:lnTo>
                  <a:lnTo>
                    <a:pt x="76260" y="117572"/>
                  </a:lnTo>
                  <a:lnTo>
                    <a:pt x="76260" y="117572"/>
                  </a:lnTo>
                  <a:lnTo>
                    <a:pt x="76585" y="117225"/>
                  </a:lnTo>
                  <a:lnTo>
                    <a:pt x="76585" y="116878"/>
                  </a:lnTo>
                  <a:lnTo>
                    <a:pt x="76585" y="117225"/>
                  </a:lnTo>
                  <a:lnTo>
                    <a:pt x="76585" y="117572"/>
                  </a:lnTo>
                  <a:lnTo>
                    <a:pt x="76585" y="117572"/>
                  </a:lnTo>
                  <a:lnTo>
                    <a:pt x="77073" y="117572"/>
                  </a:lnTo>
                  <a:lnTo>
                    <a:pt x="77073" y="117225"/>
                  </a:lnTo>
                  <a:lnTo>
                    <a:pt x="77398" y="117225"/>
                  </a:lnTo>
                  <a:lnTo>
                    <a:pt x="77398" y="117225"/>
                  </a:lnTo>
                  <a:lnTo>
                    <a:pt x="77723" y="117572"/>
                  </a:lnTo>
                  <a:lnTo>
                    <a:pt x="77723" y="117572"/>
                  </a:lnTo>
                  <a:lnTo>
                    <a:pt x="77398" y="117572"/>
                  </a:lnTo>
                  <a:lnTo>
                    <a:pt x="77398" y="117572"/>
                  </a:lnTo>
                  <a:lnTo>
                    <a:pt x="77398" y="117572"/>
                  </a:lnTo>
                  <a:lnTo>
                    <a:pt x="77073" y="117572"/>
                  </a:lnTo>
                  <a:lnTo>
                    <a:pt x="77073" y="118092"/>
                  </a:lnTo>
                  <a:lnTo>
                    <a:pt x="77073" y="118439"/>
                  </a:lnTo>
                  <a:lnTo>
                    <a:pt x="77073" y="118439"/>
                  </a:lnTo>
                  <a:lnTo>
                    <a:pt x="77398" y="118439"/>
                  </a:lnTo>
                  <a:lnTo>
                    <a:pt x="77723" y="118439"/>
                  </a:lnTo>
                  <a:lnTo>
                    <a:pt x="78211" y="117572"/>
                  </a:lnTo>
                  <a:lnTo>
                    <a:pt x="78211" y="117225"/>
                  </a:lnTo>
                  <a:lnTo>
                    <a:pt x="78536" y="116358"/>
                  </a:lnTo>
                  <a:lnTo>
                    <a:pt x="78861" y="116011"/>
                  </a:lnTo>
                  <a:lnTo>
                    <a:pt x="78861" y="116011"/>
                  </a:lnTo>
                  <a:lnTo>
                    <a:pt x="79349" y="115491"/>
                  </a:lnTo>
                  <a:lnTo>
                    <a:pt x="79349" y="115491"/>
                  </a:lnTo>
                  <a:lnTo>
                    <a:pt x="79674" y="115144"/>
                  </a:lnTo>
                  <a:lnTo>
                    <a:pt x="80000" y="114797"/>
                  </a:lnTo>
                  <a:lnTo>
                    <a:pt x="80487" y="114277"/>
                  </a:lnTo>
                  <a:lnTo>
                    <a:pt x="80487" y="114277"/>
                  </a:lnTo>
                  <a:lnTo>
                    <a:pt x="80487" y="114277"/>
                  </a:lnTo>
                  <a:lnTo>
                    <a:pt x="80487" y="114277"/>
                  </a:lnTo>
                  <a:lnTo>
                    <a:pt x="80813" y="113930"/>
                  </a:lnTo>
                  <a:lnTo>
                    <a:pt x="80813" y="114277"/>
                  </a:lnTo>
                  <a:lnTo>
                    <a:pt x="80487" y="114277"/>
                  </a:lnTo>
                  <a:lnTo>
                    <a:pt x="80487" y="114277"/>
                  </a:lnTo>
                  <a:lnTo>
                    <a:pt x="80813" y="114277"/>
                  </a:lnTo>
                  <a:lnTo>
                    <a:pt x="80487" y="114797"/>
                  </a:lnTo>
                  <a:lnTo>
                    <a:pt x="80487" y="114797"/>
                  </a:lnTo>
                  <a:lnTo>
                    <a:pt x="80487" y="114797"/>
                  </a:lnTo>
                  <a:lnTo>
                    <a:pt x="80487" y="115144"/>
                  </a:lnTo>
                  <a:lnTo>
                    <a:pt x="80487" y="115144"/>
                  </a:lnTo>
                  <a:lnTo>
                    <a:pt x="80813" y="114797"/>
                  </a:lnTo>
                  <a:lnTo>
                    <a:pt x="80813" y="114797"/>
                  </a:lnTo>
                  <a:lnTo>
                    <a:pt x="80813" y="114277"/>
                  </a:lnTo>
                  <a:lnTo>
                    <a:pt x="80813" y="114277"/>
                  </a:lnTo>
                  <a:lnTo>
                    <a:pt x="80813" y="114277"/>
                  </a:lnTo>
                  <a:lnTo>
                    <a:pt x="80813" y="114277"/>
                  </a:lnTo>
                  <a:lnTo>
                    <a:pt x="81138" y="113930"/>
                  </a:lnTo>
                  <a:lnTo>
                    <a:pt x="81138" y="113583"/>
                  </a:lnTo>
                  <a:lnTo>
                    <a:pt x="81626" y="112716"/>
                  </a:lnTo>
                  <a:lnTo>
                    <a:pt x="81951" y="112716"/>
                  </a:lnTo>
                  <a:lnTo>
                    <a:pt x="81951" y="112369"/>
                  </a:lnTo>
                  <a:lnTo>
                    <a:pt x="82439" y="111849"/>
                  </a:lnTo>
                  <a:lnTo>
                    <a:pt x="82764" y="111502"/>
                  </a:lnTo>
                  <a:lnTo>
                    <a:pt x="82764" y="110982"/>
                  </a:lnTo>
                  <a:lnTo>
                    <a:pt x="82764" y="110982"/>
                  </a:lnTo>
                  <a:lnTo>
                    <a:pt x="83089" y="110289"/>
                  </a:lnTo>
                  <a:lnTo>
                    <a:pt x="83089" y="110289"/>
                  </a:lnTo>
                  <a:lnTo>
                    <a:pt x="82764" y="109768"/>
                  </a:lnTo>
                  <a:close/>
                  <a:moveTo>
                    <a:pt x="79349" y="101965"/>
                  </a:moveTo>
                  <a:lnTo>
                    <a:pt x="79674" y="101965"/>
                  </a:lnTo>
                  <a:lnTo>
                    <a:pt x="79349" y="101618"/>
                  </a:lnTo>
                  <a:lnTo>
                    <a:pt x="79349" y="101618"/>
                  </a:lnTo>
                  <a:lnTo>
                    <a:pt x="79349" y="101618"/>
                  </a:lnTo>
                  <a:lnTo>
                    <a:pt x="78861" y="101965"/>
                  </a:lnTo>
                  <a:lnTo>
                    <a:pt x="79349" y="101618"/>
                  </a:lnTo>
                  <a:lnTo>
                    <a:pt x="79349" y="101965"/>
                  </a:lnTo>
                  <a:close/>
                  <a:moveTo>
                    <a:pt x="80000" y="101271"/>
                  </a:moveTo>
                  <a:lnTo>
                    <a:pt x="80000" y="101271"/>
                  </a:lnTo>
                  <a:lnTo>
                    <a:pt x="79674" y="101271"/>
                  </a:lnTo>
                  <a:lnTo>
                    <a:pt x="79674" y="101271"/>
                  </a:lnTo>
                  <a:lnTo>
                    <a:pt x="79674" y="101271"/>
                  </a:lnTo>
                  <a:lnTo>
                    <a:pt x="79674" y="101618"/>
                  </a:lnTo>
                  <a:lnTo>
                    <a:pt x="80000" y="101271"/>
                  </a:lnTo>
                  <a:close/>
                  <a:moveTo>
                    <a:pt x="63252" y="91387"/>
                  </a:moveTo>
                  <a:lnTo>
                    <a:pt x="62764" y="91387"/>
                  </a:lnTo>
                  <a:lnTo>
                    <a:pt x="62113" y="91387"/>
                  </a:lnTo>
                  <a:lnTo>
                    <a:pt x="62113" y="91387"/>
                  </a:lnTo>
                  <a:lnTo>
                    <a:pt x="62439" y="91040"/>
                  </a:lnTo>
                  <a:lnTo>
                    <a:pt x="62439" y="91040"/>
                  </a:lnTo>
                  <a:lnTo>
                    <a:pt x="62113" y="91040"/>
                  </a:lnTo>
                  <a:lnTo>
                    <a:pt x="61626" y="91040"/>
                  </a:lnTo>
                  <a:lnTo>
                    <a:pt x="60975" y="91387"/>
                  </a:lnTo>
                  <a:lnTo>
                    <a:pt x="59349" y="91387"/>
                  </a:lnTo>
                  <a:lnTo>
                    <a:pt x="59349" y="91734"/>
                  </a:lnTo>
                  <a:lnTo>
                    <a:pt x="59024" y="92254"/>
                  </a:lnTo>
                  <a:lnTo>
                    <a:pt x="59024" y="92254"/>
                  </a:lnTo>
                  <a:lnTo>
                    <a:pt x="59349" y="92601"/>
                  </a:lnTo>
                  <a:lnTo>
                    <a:pt x="59837" y="92601"/>
                  </a:lnTo>
                  <a:lnTo>
                    <a:pt x="60162" y="92601"/>
                  </a:lnTo>
                  <a:lnTo>
                    <a:pt x="60487" y="92601"/>
                  </a:lnTo>
                  <a:lnTo>
                    <a:pt x="60975" y="92254"/>
                  </a:lnTo>
                  <a:lnTo>
                    <a:pt x="61300" y="92601"/>
                  </a:lnTo>
                  <a:lnTo>
                    <a:pt x="61300" y="92601"/>
                  </a:lnTo>
                  <a:lnTo>
                    <a:pt x="61626" y="92601"/>
                  </a:lnTo>
                  <a:lnTo>
                    <a:pt x="62113" y="92254"/>
                  </a:lnTo>
                  <a:lnTo>
                    <a:pt x="62113" y="92254"/>
                  </a:lnTo>
                  <a:lnTo>
                    <a:pt x="62764" y="91734"/>
                  </a:lnTo>
                  <a:lnTo>
                    <a:pt x="63252" y="92254"/>
                  </a:lnTo>
                  <a:lnTo>
                    <a:pt x="63252" y="92254"/>
                  </a:lnTo>
                  <a:lnTo>
                    <a:pt x="63577" y="91734"/>
                  </a:lnTo>
                  <a:lnTo>
                    <a:pt x="63577" y="91387"/>
                  </a:lnTo>
                  <a:lnTo>
                    <a:pt x="63252" y="91387"/>
                  </a:lnTo>
                  <a:close/>
                  <a:moveTo>
                    <a:pt x="85365" y="21676"/>
                  </a:moveTo>
                  <a:lnTo>
                    <a:pt x="85365" y="21676"/>
                  </a:lnTo>
                  <a:lnTo>
                    <a:pt x="85853" y="21676"/>
                  </a:lnTo>
                  <a:lnTo>
                    <a:pt x="85853" y="21676"/>
                  </a:lnTo>
                  <a:lnTo>
                    <a:pt x="85853" y="21676"/>
                  </a:lnTo>
                  <a:lnTo>
                    <a:pt x="86178" y="21329"/>
                  </a:lnTo>
                  <a:lnTo>
                    <a:pt x="86504" y="21329"/>
                  </a:lnTo>
                  <a:lnTo>
                    <a:pt x="86991" y="20809"/>
                  </a:lnTo>
                  <a:lnTo>
                    <a:pt x="86504" y="20462"/>
                  </a:lnTo>
                  <a:lnTo>
                    <a:pt x="86504" y="20462"/>
                  </a:lnTo>
                  <a:lnTo>
                    <a:pt x="86178" y="20809"/>
                  </a:lnTo>
                  <a:lnTo>
                    <a:pt x="85853" y="20809"/>
                  </a:lnTo>
                  <a:lnTo>
                    <a:pt x="85365" y="21329"/>
                  </a:lnTo>
                  <a:lnTo>
                    <a:pt x="85040" y="21329"/>
                  </a:lnTo>
                  <a:lnTo>
                    <a:pt x="85040" y="21676"/>
                  </a:lnTo>
                  <a:lnTo>
                    <a:pt x="85040" y="22023"/>
                  </a:lnTo>
                  <a:lnTo>
                    <a:pt x="85365" y="21676"/>
                  </a:lnTo>
                  <a:close/>
                  <a:moveTo>
                    <a:pt x="42113" y="17167"/>
                  </a:moveTo>
                  <a:lnTo>
                    <a:pt x="42113" y="17167"/>
                  </a:lnTo>
                  <a:lnTo>
                    <a:pt x="42113" y="17167"/>
                  </a:lnTo>
                  <a:lnTo>
                    <a:pt x="42439" y="16820"/>
                  </a:lnTo>
                  <a:lnTo>
                    <a:pt x="42113" y="16820"/>
                  </a:lnTo>
                  <a:lnTo>
                    <a:pt x="42113" y="16300"/>
                  </a:lnTo>
                  <a:lnTo>
                    <a:pt x="42113" y="16300"/>
                  </a:lnTo>
                  <a:lnTo>
                    <a:pt x="42113" y="16820"/>
                  </a:lnTo>
                  <a:lnTo>
                    <a:pt x="42113" y="16820"/>
                  </a:lnTo>
                  <a:lnTo>
                    <a:pt x="42113" y="16820"/>
                  </a:lnTo>
                  <a:lnTo>
                    <a:pt x="42113" y="17167"/>
                  </a:lnTo>
                  <a:close/>
                  <a:moveTo>
                    <a:pt x="44390" y="13872"/>
                  </a:moveTo>
                  <a:lnTo>
                    <a:pt x="44390" y="13872"/>
                  </a:lnTo>
                  <a:lnTo>
                    <a:pt x="44390" y="13526"/>
                  </a:lnTo>
                  <a:lnTo>
                    <a:pt x="44390" y="13526"/>
                  </a:lnTo>
                  <a:lnTo>
                    <a:pt x="44390" y="13526"/>
                  </a:lnTo>
                  <a:lnTo>
                    <a:pt x="44065" y="13872"/>
                  </a:lnTo>
                  <a:lnTo>
                    <a:pt x="44390" y="14219"/>
                  </a:lnTo>
                  <a:lnTo>
                    <a:pt x="44390" y="13872"/>
                  </a:lnTo>
                  <a:close/>
                  <a:moveTo>
                    <a:pt x="79349" y="11791"/>
                  </a:moveTo>
                  <a:lnTo>
                    <a:pt x="79674" y="11445"/>
                  </a:lnTo>
                  <a:lnTo>
                    <a:pt x="79674" y="11445"/>
                  </a:lnTo>
                  <a:lnTo>
                    <a:pt x="80000" y="11098"/>
                  </a:lnTo>
                  <a:lnTo>
                    <a:pt x="79674" y="11098"/>
                  </a:lnTo>
                  <a:lnTo>
                    <a:pt x="79674" y="11098"/>
                  </a:lnTo>
                  <a:lnTo>
                    <a:pt x="79674" y="11098"/>
                  </a:lnTo>
                  <a:lnTo>
                    <a:pt x="79674" y="11445"/>
                  </a:lnTo>
                  <a:lnTo>
                    <a:pt x="79349" y="11445"/>
                  </a:lnTo>
                  <a:lnTo>
                    <a:pt x="79349" y="11098"/>
                  </a:lnTo>
                  <a:lnTo>
                    <a:pt x="79349" y="11098"/>
                  </a:lnTo>
                  <a:lnTo>
                    <a:pt x="79349" y="10578"/>
                  </a:lnTo>
                  <a:lnTo>
                    <a:pt x="79349" y="10578"/>
                  </a:lnTo>
                  <a:lnTo>
                    <a:pt x="78861" y="11098"/>
                  </a:lnTo>
                  <a:lnTo>
                    <a:pt x="78861" y="11098"/>
                  </a:lnTo>
                  <a:lnTo>
                    <a:pt x="78536" y="11445"/>
                  </a:lnTo>
                  <a:lnTo>
                    <a:pt x="78211" y="11791"/>
                  </a:lnTo>
                  <a:lnTo>
                    <a:pt x="78211" y="12312"/>
                  </a:lnTo>
                  <a:lnTo>
                    <a:pt x="78211" y="12658"/>
                  </a:lnTo>
                  <a:lnTo>
                    <a:pt x="78211" y="12658"/>
                  </a:lnTo>
                  <a:lnTo>
                    <a:pt x="78211" y="12658"/>
                  </a:lnTo>
                  <a:lnTo>
                    <a:pt x="78536" y="12658"/>
                  </a:lnTo>
                  <a:lnTo>
                    <a:pt x="78861" y="13005"/>
                  </a:lnTo>
                  <a:lnTo>
                    <a:pt x="79349" y="12658"/>
                  </a:lnTo>
                  <a:lnTo>
                    <a:pt x="79674" y="13005"/>
                  </a:lnTo>
                  <a:lnTo>
                    <a:pt x="79674" y="12658"/>
                  </a:lnTo>
                  <a:lnTo>
                    <a:pt x="79674" y="12658"/>
                  </a:lnTo>
                  <a:lnTo>
                    <a:pt x="79674" y="12658"/>
                  </a:lnTo>
                  <a:lnTo>
                    <a:pt x="79674" y="12658"/>
                  </a:lnTo>
                  <a:lnTo>
                    <a:pt x="79349" y="12312"/>
                  </a:lnTo>
                  <a:lnTo>
                    <a:pt x="79349" y="12312"/>
                  </a:lnTo>
                  <a:lnTo>
                    <a:pt x="79349" y="12312"/>
                  </a:lnTo>
                  <a:lnTo>
                    <a:pt x="79349" y="11791"/>
                  </a:lnTo>
                  <a:close/>
                  <a:moveTo>
                    <a:pt x="60487" y="3988"/>
                  </a:moveTo>
                  <a:lnTo>
                    <a:pt x="60975" y="3641"/>
                  </a:lnTo>
                  <a:lnTo>
                    <a:pt x="61626" y="3988"/>
                  </a:lnTo>
                  <a:lnTo>
                    <a:pt x="61626" y="3988"/>
                  </a:lnTo>
                  <a:lnTo>
                    <a:pt x="61626" y="3641"/>
                  </a:lnTo>
                  <a:lnTo>
                    <a:pt x="61626" y="3641"/>
                  </a:lnTo>
                  <a:lnTo>
                    <a:pt x="61626" y="3641"/>
                  </a:lnTo>
                  <a:lnTo>
                    <a:pt x="61300" y="3294"/>
                  </a:lnTo>
                  <a:lnTo>
                    <a:pt x="61300" y="3294"/>
                  </a:lnTo>
                  <a:lnTo>
                    <a:pt x="61300" y="2774"/>
                  </a:lnTo>
                  <a:lnTo>
                    <a:pt x="61300" y="2427"/>
                  </a:lnTo>
                  <a:lnTo>
                    <a:pt x="61300" y="1907"/>
                  </a:lnTo>
                  <a:lnTo>
                    <a:pt x="60975" y="1907"/>
                  </a:lnTo>
                  <a:lnTo>
                    <a:pt x="60975" y="1907"/>
                  </a:lnTo>
                  <a:lnTo>
                    <a:pt x="60487" y="2774"/>
                  </a:lnTo>
                  <a:lnTo>
                    <a:pt x="60487" y="2774"/>
                  </a:lnTo>
                  <a:lnTo>
                    <a:pt x="60487" y="3294"/>
                  </a:lnTo>
                  <a:lnTo>
                    <a:pt x="60487" y="3294"/>
                  </a:lnTo>
                  <a:lnTo>
                    <a:pt x="60162" y="3294"/>
                  </a:lnTo>
                  <a:lnTo>
                    <a:pt x="60162" y="3641"/>
                  </a:lnTo>
                  <a:lnTo>
                    <a:pt x="60162" y="3988"/>
                  </a:lnTo>
                  <a:lnTo>
                    <a:pt x="60487" y="3988"/>
                  </a:lnTo>
                  <a:close/>
                  <a:moveTo>
                    <a:pt x="61300" y="2427"/>
                  </a:moveTo>
                  <a:lnTo>
                    <a:pt x="61626" y="3294"/>
                  </a:lnTo>
                  <a:lnTo>
                    <a:pt x="62113" y="3641"/>
                  </a:lnTo>
                  <a:lnTo>
                    <a:pt x="62764" y="4508"/>
                  </a:lnTo>
                  <a:lnTo>
                    <a:pt x="63902" y="3641"/>
                  </a:lnTo>
                  <a:lnTo>
                    <a:pt x="64390" y="2774"/>
                  </a:lnTo>
                  <a:lnTo>
                    <a:pt x="64390" y="2774"/>
                  </a:lnTo>
                  <a:lnTo>
                    <a:pt x="64390" y="2774"/>
                  </a:lnTo>
                  <a:lnTo>
                    <a:pt x="64715" y="2427"/>
                  </a:lnTo>
                  <a:lnTo>
                    <a:pt x="64715" y="2427"/>
                  </a:lnTo>
                  <a:lnTo>
                    <a:pt x="64715" y="2427"/>
                  </a:lnTo>
                  <a:lnTo>
                    <a:pt x="64390" y="1907"/>
                  </a:lnTo>
                  <a:lnTo>
                    <a:pt x="64390" y="1560"/>
                  </a:lnTo>
                  <a:lnTo>
                    <a:pt x="63902" y="1560"/>
                  </a:lnTo>
                  <a:lnTo>
                    <a:pt x="63902" y="1560"/>
                  </a:lnTo>
                  <a:lnTo>
                    <a:pt x="63577" y="1907"/>
                  </a:lnTo>
                  <a:lnTo>
                    <a:pt x="63252" y="1907"/>
                  </a:lnTo>
                  <a:lnTo>
                    <a:pt x="63252" y="1907"/>
                  </a:lnTo>
                  <a:lnTo>
                    <a:pt x="62764" y="1907"/>
                  </a:lnTo>
                  <a:lnTo>
                    <a:pt x="62439" y="2427"/>
                  </a:lnTo>
                  <a:lnTo>
                    <a:pt x="62113" y="2427"/>
                  </a:lnTo>
                  <a:lnTo>
                    <a:pt x="61626" y="1907"/>
                  </a:lnTo>
                  <a:lnTo>
                    <a:pt x="61626" y="1907"/>
                  </a:lnTo>
                  <a:lnTo>
                    <a:pt x="61626" y="1560"/>
                  </a:lnTo>
                  <a:lnTo>
                    <a:pt x="61300" y="1560"/>
                  </a:lnTo>
                  <a:lnTo>
                    <a:pt x="61300" y="1560"/>
                  </a:lnTo>
                  <a:lnTo>
                    <a:pt x="61300" y="1560"/>
                  </a:lnTo>
                  <a:lnTo>
                    <a:pt x="61300" y="1907"/>
                  </a:lnTo>
                  <a:lnTo>
                    <a:pt x="61300" y="2427"/>
                  </a:lnTo>
                  <a:close/>
                  <a:moveTo>
                    <a:pt x="119512" y="55317"/>
                  </a:moveTo>
                  <a:lnTo>
                    <a:pt x="119512" y="55317"/>
                  </a:lnTo>
                  <a:lnTo>
                    <a:pt x="119186" y="54450"/>
                  </a:lnTo>
                  <a:lnTo>
                    <a:pt x="119512" y="53583"/>
                  </a:lnTo>
                  <a:lnTo>
                    <a:pt x="119186" y="53236"/>
                  </a:lnTo>
                  <a:lnTo>
                    <a:pt x="119186" y="52890"/>
                  </a:lnTo>
                  <a:lnTo>
                    <a:pt x="118699" y="52369"/>
                  </a:lnTo>
                  <a:lnTo>
                    <a:pt x="118699" y="52023"/>
                  </a:lnTo>
                  <a:lnTo>
                    <a:pt x="118699" y="51676"/>
                  </a:lnTo>
                  <a:lnTo>
                    <a:pt x="118699" y="51156"/>
                  </a:lnTo>
                  <a:lnTo>
                    <a:pt x="118373" y="51156"/>
                  </a:lnTo>
                  <a:lnTo>
                    <a:pt x="118373" y="51156"/>
                  </a:lnTo>
                  <a:lnTo>
                    <a:pt x="118048" y="50809"/>
                  </a:lnTo>
                  <a:lnTo>
                    <a:pt x="118048" y="50289"/>
                  </a:lnTo>
                  <a:lnTo>
                    <a:pt x="117560" y="49075"/>
                  </a:lnTo>
                  <a:lnTo>
                    <a:pt x="117560" y="48728"/>
                  </a:lnTo>
                  <a:lnTo>
                    <a:pt x="117235" y="48728"/>
                  </a:lnTo>
                  <a:lnTo>
                    <a:pt x="116910" y="48728"/>
                  </a:lnTo>
                  <a:lnTo>
                    <a:pt x="116422" y="48381"/>
                  </a:lnTo>
                  <a:lnTo>
                    <a:pt x="116097" y="47861"/>
                  </a:lnTo>
                  <a:lnTo>
                    <a:pt x="115772" y="47514"/>
                  </a:lnTo>
                  <a:lnTo>
                    <a:pt x="115772" y="47514"/>
                  </a:lnTo>
                  <a:lnTo>
                    <a:pt x="115284" y="47167"/>
                  </a:lnTo>
                  <a:lnTo>
                    <a:pt x="115284" y="46647"/>
                  </a:lnTo>
                  <a:lnTo>
                    <a:pt x="115284" y="46300"/>
                  </a:lnTo>
                  <a:lnTo>
                    <a:pt x="115284" y="45433"/>
                  </a:lnTo>
                  <a:lnTo>
                    <a:pt x="115284" y="44566"/>
                  </a:lnTo>
                  <a:lnTo>
                    <a:pt x="115772" y="43352"/>
                  </a:lnTo>
                  <a:lnTo>
                    <a:pt x="115284" y="42658"/>
                  </a:lnTo>
                  <a:lnTo>
                    <a:pt x="115284" y="42658"/>
                  </a:lnTo>
                  <a:lnTo>
                    <a:pt x="115284" y="42658"/>
                  </a:lnTo>
                  <a:lnTo>
                    <a:pt x="114959" y="43005"/>
                  </a:lnTo>
                  <a:lnTo>
                    <a:pt x="114959" y="43005"/>
                  </a:lnTo>
                  <a:lnTo>
                    <a:pt x="114959" y="43005"/>
                  </a:lnTo>
                  <a:lnTo>
                    <a:pt x="114634" y="43005"/>
                  </a:lnTo>
                  <a:lnTo>
                    <a:pt x="114146" y="42658"/>
                  </a:lnTo>
                  <a:lnTo>
                    <a:pt x="114146" y="42138"/>
                  </a:lnTo>
                  <a:lnTo>
                    <a:pt x="113821" y="41791"/>
                  </a:lnTo>
                  <a:lnTo>
                    <a:pt x="113821" y="41791"/>
                  </a:lnTo>
                  <a:lnTo>
                    <a:pt x="113821" y="41791"/>
                  </a:lnTo>
                  <a:lnTo>
                    <a:pt x="113333" y="42138"/>
                  </a:lnTo>
                  <a:lnTo>
                    <a:pt x="113333" y="43005"/>
                  </a:lnTo>
                  <a:lnTo>
                    <a:pt x="113333" y="43005"/>
                  </a:lnTo>
                  <a:lnTo>
                    <a:pt x="113008" y="43005"/>
                  </a:lnTo>
                  <a:lnTo>
                    <a:pt x="113008" y="42658"/>
                  </a:lnTo>
                  <a:lnTo>
                    <a:pt x="112682" y="42658"/>
                  </a:lnTo>
                  <a:lnTo>
                    <a:pt x="112682" y="42658"/>
                  </a:lnTo>
                  <a:lnTo>
                    <a:pt x="112682" y="42138"/>
                  </a:lnTo>
                  <a:lnTo>
                    <a:pt x="112195" y="42138"/>
                  </a:lnTo>
                  <a:lnTo>
                    <a:pt x="112195" y="41271"/>
                  </a:lnTo>
                  <a:lnTo>
                    <a:pt x="112195" y="40057"/>
                  </a:lnTo>
                  <a:lnTo>
                    <a:pt x="112682" y="39710"/>
                  </a:lnTo>
                  <a:lnTo>
                    <a:pt x="112195" y="39364"/>
                  </a:lnTo>
                  <a:lnTo>
                    <a:pt x="112195" y="38497"/>
                  </a:lnTo>
                  <a:lnTo>
                    <a:pt x="112195" y="38497"/>
                  </a:lnTo>
                  <a:lnTo>
                    <a:pt x="112195" y="38150"/>
                  </a:lnTo>
                  <a:lnTo>
                    <a:pt x="111869" y="37283"/>
                  </a:lnTo>
                  <a:lnTo>
                    <a:pt x="111544" y="36763"/>
                  </a:lnTo>
                  <a:lnTo>
                    <a:pt x="111056" y="36416"/>
                  </a:lnTo>
                  <a:lnTo>
                    <a:pt x="111056" y="36069"/>
                  </a:lnTo>
                  <a:lnTo>
                    <a:pt x="111056" y="35549"/>
                  </a:lnTo>
                  <a:lnTo>
                    <a:pt x="111544" y="35549"/>
                  </a:lnTo>
                  <a:lnTo>
                    <a:pt x="111544" y="35549"/>
                  </a:lnTo>
                  <a:lnTo>
                    <a:pt x="111544" y="35202"/>
                  </a:lnTo>
                  <a:lnTo>
                    <a:pt x="111544" y="34855"/>
                  </a:lnTo>
                  <a:lnTo>
                    <a:pt x="111056" y="34335"/>
                  </a:lnTo>
                  <a:lnTo>
                    <a:pt x="110731" y="34335"/>
                  </a:lnTo>
                  <a:lnTo>
                    <a:pt x="110406" y="33988"/>
                  </a:lnTo>
                  <a:lnTo>
                    <a:pt x="109918" y="33641"/>
                  </a:lnTo>
                  <a:lnTo>
                    <a:pt x="109593" y="33641"/>
                  </a:lnTo>
                  <a:lnTo>
                    <a:pt x="109593" y="33641"/>
                  </a:lnTo>
                  <a:lnTo>
                    <a:pt x="109268" y="33121"/>
                  </a:lnTo>
                  <a:lnTo>
                    <a:pt x="109268" y="33121"/>
                  </a:lnTo>
                  <a:lnTo>
                    <a:pt x="108780" y="33121"/>
                  </a:lnTo>
                  <a:lnTo>
                    <a:pt x="108455" y="32254"/>
                  </a:lnTo>
                  <a:lnTo>
                    <a:pt x="107967" y="31907"/>
                  </a:lnTo>
                  <a:lnTo>
                    <a:pt x="107967" y="31560"/>
                  </a:lnTo>
                  <a:lnTo>
                    <a:pt x="107967" y="31560"/>
                  </a:lnTo>
                  <a:lnTo>
                    <a:pt x="107642" y="31560"/>
                  </a:lnTo>
                  <a:lnTo>
                    <a:pt x="107642" y="31560"/>
                  </a:lnTo>
                  <a:lnTo>
                    <a:pt x="107317" y="31560"/>
                  </a:lnTo>
                  <a:lnTo>
                    <a:pt x="106829" y="31560"/>
                  </a:lnTo>
                  <a:lnTo>
                    <a:pt x="106829" y="31040"/>
                  </a:lnTo>
                  <a:lnTo>
                    <a:pt x="106504" y="31040"/>
                  </a:lnTo>
                  <a:lnTo>
                    <a:pt x="106178" y="30693"/>
                  </a:lnTo>
                  <a:lnTo>
                    <a:pt x="105691" y="30693"/>
                  </a:lnTo>
                  <a:lnTo>
                    <a:pt x="105365" y="30346"/>
                  </a:lnTo>
                  <a:lnTo>
                    <a:pt x="105365" y="29826"/>
                  </a:lnTo>
                  <a:lnTo>
                    <a:pt x="105040" y="29479"/>
                  </a:lnTo>
                  <a:lnTo>
                    <a:pt x="105365" y="29132"/>
                  </a:lnTo>
                  <a:lnTo>
                    <a:pt x="105365" y="28612"/>
                  </a:lnTo>
                  <a:lnTo>
                    <a:pt x="105040" y="28265"/>
                  </a:lnTo>
                  <a:lnTo>
                    <a:pt x="104552" y="27398"/>
                  </a:lnTo>
                  <a:lnTo>
                    <a:pt x="104552" y="27052"/>
                  </a:lnTo>
                  <a:lnTo>
                    <a:pt x="105040" y="26531"/>
                  </a:lnTo>
                  <a:lnTo>
                    <a:pt x="105365" y="24971"/>
                  </a:lnTo>
                  <a:lnTo>
                    <a:pt x="105365" y="24104"/>
                  </a:lnTo>
                  <a:lnTo>
                    <a:pt x="105040" y="22890"/>
                  </a:lnTo>
                  <a:lnTo>
                    <a:pt x="105040" y="22543"/>
                  </a:lnTo>
                  <a:lnTo>
                    <a:pt x="105040" y="22543"/>
                  </a:lnTo>
                  <a:lnTo>
                    <a:pt x="104552" y="22543"/>
                  </a:lnTo>
                  <a:lnTo>
                    <a:pt x="104552" y="21676"/>
                  </a:lnTo>
                  <a:lnTo>
                    <a:pt x="104227" y="21329"/>
                  </a:lnTo>
                  <a:lnTo>
                    <a:pt x="104227" y="21329"/>
                  </a:lnTo>
                  <a:lnTo>
                    <a:pt x="103902" y="20809"/>
                  </a:lnTo>
                  <a:lnTo>
                    <a:pt x="104227" y="20462"/>
                  </a:lnTo>
                  <a:lnTo>
                    <a:pt x="104227" y="20115"/>
                  </a:lnTo>
                  <a:lnTo>
                    <a:pt x="104227" y="19248"/>
                  </a:lnTo>
                  <a:lnTo>
                    <a:pt x="104227" y="18728"/>
                  </a:lnTo>
                  <a:lnTo>
                    <a:pt x="104227" y="18034"/>
                  </a:lnTo>
                  <a:lnTo>
                    <a:pt x="104227" y="17167"/>
                  </a:lnTo>
                  <a:lnTo>
                    <a:pt x="104227" y="16820"/>
                  </a:lnTo>
                  <a:lnTo>
                    <a:pt x="104227" y="16300"/>
                  </a:lnTo>
                  <a:lnTo>
                    <a:pt x="104227" y="15953"/>
                  </a:lnTo>
                  <a:lnTo>
                    <a:pt x="104227" y="15606"/>
                  </a:lnTo>
                  <a:lnTo>
                    <a:pt x="104552" y="15086"/>
                  </a:lnTo>
                  <a:lnTo>
                    <a:pt x="104227" y="15086"/>
                  </a:lnTo>
                  <a:lnTo>
                    <a:pt x="103902" y="14739"/>
                  </a:lnTo>
                  <a:lnTo>
                    <a:pt x="103414" y="14219"/>
                  </a:lnTo>
                  <a:lnTo>
                    <a:pt x="102601" y="13526"/>
                  </a:lnTo>
                  <a:lnTo>
                    <a:pt x="102601" y="13005"/>
                  </a:lnTo>
                  <a:lnTo>
                    <a:pt x="102276" y="12658"/>
                  </a:lnTo>
                  <a:lnTo>
                    <a:pt x="101951" y="13005"/>
                  </a:lnTo>
                  <a:lnTo>
                    <a:pt x="101463" y="13005"/>
                  </a:lnTo>
                  <a:lnTo>
                    <a:pt x="101138" y="13526"/>
                  </a:lnTo>
                  <a:lnTo>
                    <a:pt x="100813" y="13526"/>
                  </a:lnTo>
                  <a:lnTo>
                    <a:pt x="100325" y="13526"/>
                  </a:lnTo>
                  <a:lnTo>
                    <a:pt x="100000" y="13005"/>
                  </a:lnTo>
                  <a:lnTo>
                    <a:pt x="100000" y="12312"/>
                  </a:lnTo>
                  <a:lnTo>
                    <a:pt x="100000" y="11791"/>
                  </a:lnTo>
                  <a:lnTo>
                    <a:pt x="100000" y="11445"/>
                  </a:lnTo>
                  <a:lnTo>
                    <a:pt x="100000" y="11098"/>
                  </a:lnTo>
                  <a:lnTo>
                    <a:pt x="100000" y="9710"/>
                  </a:lnTo>
                  <a:lnTo>
                    <a:pt x="100000" y="9364"/>
                  </a:lnTo>
                  <a:lnTo>
                    <a:pt x="100000" y="8497"/>
                  </a:lnTo>
                  <a:lnTo>
                    <a:pt x="100000" y="7803"/>
                  </a:lnTo>
                  <a:lnTo>
                    <a:pt x="100000" y="7283"/>
                  </a:lnTo>
                  <a:lnTo>
                    <a:pt x="100000" y="6936"/>
                  </a:lnTo>
                  <a:lnTo>
                    <a:pt x="99674" y="6416"/>
                  </a:lnTo>
                  <a:lnTo>
                    <a:pt x="99674" y="6069"/>
                  </a:lnTo>
                  <a:lnTo>
                    <a:pt x="99186" y="5722"/>
                  </a:lnTo>
                  <a:lnTo>
                    <a:pt x="99186" y="5722"/>
                  </a:lnTo>
                  <a:lnTo>
                    <a:pt x="99186" y="5202"/>
                  </a:lnTo>
                  <a:lnTo>
                    <a:pt x="99186" y="5202"/>
                  </a:lnTo>
                  <a:lnTo>
                    <a:pt x="99186" y="4855"/>
                  </a:lnTo>
                  <a:lnTo>
                    <a:pt x="99674" y="4508"/>
                  </a:lnTo>
                  <a:lnTo>
                    <a:pt x="99186" y="3988"/>
                  </a:lnTo>
                  <a:lnTo>
                    <a:pt x="98861" y="3988"/>
                  </a:lnTo>
                  <a:lnTo>
                    <a:pt x="98861" y="3988"/>
                  </a:lnTo>
                  <a:lnTo>
                    <a:pt x="98861" y="3988"/>
                  </a:lnTo>
                  <a:lnTo>
                    <a:pt x="98861" y="3294"/>
                  </a:lnTo>
                  <a:lnTo>
                    <a:pt x="98861" y="2427"/>
                  </a:lnTo>
                  <a:lnTo>
                    <a:pt x="98861" y="1907"/>
                  </a:lnTo>
                  <a:lnTo>
                    <a:pt x="98861" y="1560"/>
                  </a:lnTo>
                  <a:lnTo>
                    <a:pt x="98861" y="1213"/>
                  </a:lnTo>
                  <a:lnTo>
                    <a:pt x="98536" y="693"/>
                  </a:lnTo>
                  <a:lnTo>
                    <a:pt x="98048" y="346"/>
                  </a:lnTo>
                  <a:lnTo>
                    <a:pt x="98048" y="346"/>
                  </a:lnTo>
                  <a:lnTo>
                    <a:pt x="98048" y="0"/>
                  </a:lnTo>
                  <a:lnTo>
                    <a:pt x="98048" y="0"/>
                  </a:lnTo>
                  <a:lnTo>
                    <a:pt x="97723" y="0"/>
                  </a:lnTo>
                  <a:lnTo>
                    <a:pt x="97723" y="0"/>
                  </a:lnTo>
                  <a:lnTo>
                    <a:pt x="97235" y="346"/>
                  </a:lnTo>
                  <a:lnTo>
                    <a:pt x="96910" y="693"/>
                  </a:lnTo>
                  <a:lnTo>
                    <a:pt x="96585" y="1907"/>
                  </a:lnTo>
                  <a:lnTo>
                    <a:pt x="96097" y="3294"/>
                  </a:lnTo>
                  <a:lnTo>
                    <a:pt x="95772" y="3988"/>
                  </a:lnTo>
                  <a:lnTo>
                    <a:pt x="95772" y="4508"/>
                  </a:lnTo>
                  <a:lnTo>
                    <a:pt x="95772" y="4855"/>
                  </a:lnTo>
                  <a:lnTo>
                    <a:pt x="95772" y="4508"/>
                  </a:lnTo>
                  <a:lnTo>
                    <a:pt x="95772" y="4508"/>
                  </a:lnTo>
                  <a:lnTo>
                    <a:pt x="95447" y="4855"/>
                  </a:lnTo>
                  <a:lnTo>
                    <a:pt x="94959" y="5722"/>
                  </a:lnTo>
                  <a:lnTo>
                    <a:pt x="94634" y="6416"/>
                  </a:lnTo>
                  <a:lnTo>
                    <a:pt x="94959" y="6416"/>
                  </a:lnTo>
                  <a:lnTo>
                    <a:pt x="94959" y="6416"/>
                  </a:lnTo>
                  <a:lnTo>
                    <a:pt x="95447" y="6416"/>
                  </a:lnTo>
                  <a:lnTo>
                    <a:pt x="95447" y="6936"/>
                  </a:lnTo>
                  <a:lnTo>
                    <a:pt x="95447" y="6936"/>
                  </a:lnTo>
                  <a:lnTo>
                    <a:pt x="95447" y="7283"/>
                  </a:lnTo>
                  <a:lnTo>
                    <a:pt x="95447" y="7283"/>
                  </a:lnTo>
                  <a:lnTo>
                    <a:pt x="95447" y="7283"/>
                  </a:lnTo>
                  <a:lnTo>
                    <a:pt x="94959" y="7283"/>
                  </a:lnTo>
                  <a:lnTo>
                    <a:pt x="94959" y="7803"/>
                  </a:lnTo>
                  <a:lnTo>
                    <a:pt x="94308" y="8150"/>
                  </a:lnTo>
                  <a:lnTo>
                    <a:pt x="94308" y="9017"/>
                  </a:lnTo>
                  <a:lnTo>
                    <a:pt x="94308" y="9710"/>
                  </a:lnTo>
                  <a:lnTo>
                    <a:pt x="93821" y="10231"/>
                  </a:lnTo>
                  <a:lnTo>
                    <a:pt x="93495" y="11098"/>
                  </a:lnTo>
                  <a:lnTo>
                    <a:pt x="93495" y="11445"/>
                  </a:lnTo>
                  <a:lnTo>
                    <a:pt x="93821" y="11791"/>
                  </a:lnTo>
                  <a:lnTo>
                    <a:pt x="93821" y="12312"/>
                  </a:lnTo>
                  <a:lnTo>
                    <a:pt x="93495" y="13005"/>
                  </a:lnTo>
                  <a:lnTo>
                    <a:pt x="93495" y="13526"/>
                  </a:lnTo>
                  <a:lnTo>
                    <a:pt x="93495" y="15086"/>
                  </a:lnTo>
                  <a:lnTo>
                    <a:pt x="93495" y="15606"/>
                  </a:lnTo>
                  <a:lnTo>
                    <a:pt x="93170" y="16300"/>
                  </a:lnTo>
                  <a:lnTo>
                    <a:pt x="92682" y="17514"/>
                  </a:lnTo>
                  <a:lnTo>
                    <a:pt x="92357" y="18728"/>
                  </a:lnTo>
                  <a:lnTo>
                    <a:pt x="92357" y="19595"/>
                  </a:lnTo>
                  <a:lnTo>
                    <a:pt x="91869" y="20115"/>
                  </a:lnTo>
                  <a:lnTo>
                    <a:pt x="91544" y="20809"/>
                  </a:lnTo>
                  <a:lnTo>
                    <a:pt x="91219" y="21676"/>
                  </a:lnTo>
                  <a:lnTo>
                    <a:pt x="90406" y="22890"/>
                  </a:lnTo>
                  <a:lnTo>
                    <a:pt x="90081" y="23757"/>
                  </a:lnTo>
                  <a:lnTo>
                    <a:pt x="89593" y="24624"/>
                  </a:lnTo>
                  <a:lnTo>
                    <a:pt x="88943" y="24971"/>
                  </a:lnTo>
                  <a:lnTo>
                    <a:pt x="88455" y="24971"/>
                  </a:lnTo>
                  <a:lnTo>
                    <a:pt x="87804" y="25317"/>
                  </a:lnTo>
                  <a:lnTo>
                    <a:pt x="86991" y="25317"/>
                  </a:lnTo>
                  <a:lnTo>
                    <a:pt x="86991" y="25317"/>
                  </a:lnTo>
                  <a:lnTo>
                    <a:pt x="86504" y="24971"/>
                  </a:lnTo>
                  <a:lnTo>
                    <a:pt x="86178" y="24971"/>
                  </a:lnTo>
                  <a:lnTo>
                    <a:pt x="85365" y="24104"/>
                  </a:lnTo>
                  <a:lnTo>
                    <a:pt x="85040" y="24104"/>
                  </a:lnTo>
                  <a:lnTo>
                    <a:pt x="84715" y="23236"/>
                  </a:lnTo>
                  <a:lnTo>
                    <a:pt x="84715" y="23236"/>
                  </a:lnTo>
                  <a:lnTo>
                    <a:pt x="84715" y="22890"/>
                  </a:lnTo>
                  <a:lnTo>
                    <a:pt x="84715" y="22543"/>
                  </a:lnTo>
                  <a:lnTo>
                    <a:pt x="83902" y="22543"/>
                  </a:lnTo>
                  <a:lnTo>
                    <a:pt x="83577" y="22023"/>
                  </a:lnTo>
                  <a:lnTo>
                    <a:pt x="83089" y="22023"/>
                  </a:lnTo>
                  <a:lnTo>
                    <a:pt x="82439" y="21676"/>
                  </a:lnTo>
                  <a:lnTo>
                    <a:pt x="81951" y="21329"/>
                  </a:lnTo>
                  <a:lnTo>
                    <a:pt x="81626" y="20809"/>
                  </a:lnTo>
                  <a:lnTo>
                    <a:pt x="81138" y="20115"/>
                  </a:lnTo>
                  <a:lnTo>
                    <a:pt x="80487" y="19595"/>
                  </a:lnTo>
                  <a:lnTo>
                    <a:pt x="80000" y="19248"/>
                  </a:lnTo>
                  <a:lnTo>
                    <a:pt x="79674" y="19248"/>
                  </a:lnTo>
                  <a:lnTo>
                    <a:pt x="79349" y="18728"/>
                  </a:lnTo>
                  <a:lnTo>
                    <a:pt x="79349" y="18728"/>
                  </a:lnTo>
                  <a:lnTo>
                    <a:pt x="78861" y="18728"/>
                  </a:lnTo>
                  <a:lnTo>
                    <a:pt x="78536" y="18728"/>
                  </a:lnTo>
                  <a:lnTo>
                    <a:pt x="78211" y="18381"/>
                  </a:lnTo>
                  <a:lnTo>
                    <a:pt x="78211" y="18381"/>
                  </a:lnTo>
                  <a:lnTo>
                    <a:pt x="78211" y="18381"/>
                  </a:lnTo>
                  <a:lnTo>
                    <a:pt x="78536" y="18034"/>
                  </a:lnTo>
                  <a:lnTo>
                    <a:pt x="78211" y="18034"/>
                  </a:lnTo>
                  <a:lnTo>
                    <a:pt x="78211" y="18034"/>
                  </a:lnTo>
                  <a:lnTo>
                    <a:pt x="78211" y="18034"/>
                  </a:lnTo>
                  <a:lnTo>
                    <a:pt x="78211" y="18034"/>
                  </a:lnTo>
                  <a:lnTo>
                    <a:pt x="77723" y="18034"/>
                  </a:lnTo>
                  <a:lnTo>
                    <a:pt x="77073" y="17514"/>
                  </a:lnTo>
                  <a:lnTo>
                    <a:pt x="77073" y="17167"/>
                  </a:lnTo>
                  <a:lnTo>
                    <a:pt x="77073" y="17167"/>
                  </a:lnTo>
                  <a:lnTo>
                    <a:pt x="76260" y="16300"/>
                  </a:lnTo>
                  <a:lnTo>
                    <a:pt x="75934" y="15953"/>
                  </a:lnTo>
                  <a:lnTo>
                    <a:pt x="75121" y="15606"/>
                  </a:lnTo>
                  <a:lnTo>
                    <a:pt x="75121" y="15086"/>
                  </a:lnTo>
                  <a:lnTo>
                    <a:pt x="75121" y="15086"/>
                  </a:lnTo>
                  <a:lnTo>
                    <a:pt x="75121" y="14739"/>
                  </a:lnTo>
                  <a:lnTo>
                    <a:pt x="75121" y="14219"/>
                  </a:lnTo>
                  <a:lnTo>
                    <a:pt x="75447" y="13872"/>
                  </a:lnTo>
                  <a:lnTo>
                    <a:pt x="76260" y="13005"/>
                  </a:lnTo>
                  <a:lnTo>
                    <a:pt x="76260" y="12658"/>
                  </a:lnTo>
                  <a:lnTo>
                    <a:pt x="76585" y="12312"/>
                  </a:lnTo>
                  <a:lnTo>
                    <a:pt x="77073" y="11445"/>
                  </a:lnTo>
                  <a:lnTo>
                    <a:pt x="77073" y="11098"/>
                  </a:lnTo>
                  <a:lnTo>
                    <a:pt x="77073" y="10578"/>
                  </a:lnTo>
                  <a:lnTo>
                    <a:pt x="77398" y="9364"/>
                  </a:lnTo>
                  <a:lnTo>
                    <a:pt x="78211" y="9017"/>
                  </a:lnTo>
                  <a:lnTo>
                    <a:pt x="78211" y="9017"/>
                  </a:lnTo>
                  <a:lnTo>
                    <a:pt x="78536" y="8497"/>
                  </a:lnTo>
                  <a:lnTo>
                    <a:pt x="78536" y="9017"/>
                  </a:lnTo>
                  <a:lnTo>
                    <a:pt x="78536" y="9017"/>
                  </a:lnTo>
                  <a:lnTo>
                    <a:pt x="78861" y="9017"/>
                  </a:lnTo>
                  <a:lnTo>
                    <a:pt x="79349" y="8150"/>
                  </a:lnTo>
                  <a:lnTo>
                    <a:pt x="79349" y="7803"/>
                  </a:lnTo>
                  <a:lnTo>
                    <a:pt x="79349" y="7803"/>
                  </a:lnTo>
                  <a:lnTo>
                    <a:pt x="79349" y="7283"/>
                  </a:lnTo>
                  <a:lnTo>
                    <a:pt x="80813" y="5722"/>
                  </a:lnTo>
                  <a:lnTo>
                    <a:pt x="80487" y="5202"/>
                  </a:lnTo>
                  <a:lnTo>
                    <a:pt x="80487" y="5202"/>
                  </a:lnTo>
                  <a:lnTo>
                    <a:pt x="80000" y="5202"/>
                  </a:lnTo>
                  <a:lnTo>
                    <a:pt x="79674" y="4855"/>
                  </a:lnTo>
                  <a:lnTo>
                    <a:pt x="79674" y="4508"/>
                  </a:lnTo>
                  <a:lnTo>
                    <a:pt x="79349" y="4508"/>
                  </a:lnTo>
                  <a:lnTo>
                    <a:pt x="78536" y="4855"/>
                  </a:lnTo>
                  <a:lnTo>
                    <a:pt x="78536" y="5202"/>
                  </a:lnTo>
                  <a:lnTo>
                    <a:pt x="78861" y="5202"/>
                  </a:lnTo>
                  <a:lnTo>
                    <a:pt x="78861" y="5722"/>
                  </a:lnTo>
                  <a:lnTo>
                    <a:pt x="78536" y="6069"/>
                  </a:lnTo>
                  <a:lnTo>
                    <a:pt x="78536" y="6069"/>
                  </a:lnTo>
                  <a:lnTo>
                    <a:pt x="78211" y="6069"/>
                  </a:lnTo>
                  <a:lnTo>
                    <a:pt x="77723" y="5722"/>
                  </a:lnTo>
                  <a:lnTo>
                    <a:pt x="77723" y="5202"/>
                  </a:lnTo>
                  <a:lnTo>
                    <a:pt x="77723" y="5202"/>
                  </a:lnTo>
                  <a:lnTo>
                    <a:pt x="77398" y="5202"/>
                  </a:lnTo>
                  <a:lnTo>
                    <a:pt x="77398" y="5202"/>
                  </a:lnTo>
                  <a:lnTo>
                    <a:pt x="77073" y="5202"/>
                  </a:lnTo>
                  <a:lnTo>
                    <a:pt x="77073" y="5202"/>
                  </a:lnTo>
                  <a:lnTo>
                    <a:pt x="77073" y="5202"/>
                  </a:lnTo>
                  <a:lnTo>
                    <a:pt x="77398" y="4855"/>
                  </a:lnTo>
                  <a:lnTo>
                    <a:pt x="77723" y="4508"/>
                  </a:lnTo>
                  <a:lnTo>
                    <a:pt x="77723" y="4508"/>
                  </a:lnTo>
                  <a:lnTo>
                    <a:pt x="77398" y="4508"/>
                  </a:lnTo>
                  <a:lnTo>
                    <a:pt x="77398" y="3988"/>
                  </a:lnTo>
                  <a:lnTo>
                    <a:pt x="77723" y="3988"/>
                  </a:lnTo>
                  <a:lnTo>
                    <a:pt x="77723" y="3988"/>
                  </a:lnTo>
                  <a:lnTo>
                    <a:pt x="77398" y="3988"/>
                  </a:lnTo>
                  <a:lnTo>
                    <a:pt x="77073" y="4508"/>
                  </a:lnTo>
                  <a:lnTo>
                    <a:pt x="76585" y="4855"/>
                  </a:lnTo>
                  <a:lnTo>
                    <a:pt x="75934" y="4855"/>
                  </a:lnTo>
                  <a:lnTo>
                    <a:pt x="75447" y="5202"/>
                  </a:lnTo>
                  <a:lnTo>
                    <a:pt x="75121" y="5202"/>
                  </a:lnTo>
                  <a:lnTo>
                    <a:pt x="74308" y="4855"/>
                  </a:lnTo>
                  <a:lnTo>
                    <a:pt x="74308" y="4855"/>
                  </a:lnTo>
                  <a:lnTo>
                    <a:pt x="74308" y="4508"/>
                  </a:lnTo>
                  <a:lnTo>
                    <a:pt x="73495" y="4855"/>
                  </a:lnTo>
                  <a:lnTo>
                    <a:pt x="73170" y="4855"/>
                  </a:lnTo>
                  <a:lnTo>
                    <a:pt x="73170" y="4508"/>
                  </a:lnTo>
                  <a:lnTo>
                    <a:pt x="72845" y="4508"/>
                  </a:lnTo>
                  <a:lnTo>
                    <a:pt x="72357" y="4508"/>
                  </a:lnTo>
                  <a:lnTo>
                    <a:pt x="71707" y="3988"/>
                  </a:lnTo>
                  <a:lnTo>
                    <a:pt x="70894" y="3641"/>
                  </a:lnTo>
                  <a:lnTo>
                    <a:pt x="70569" y="3988"/>
                  </a:lnTo>
                  <a:lnTo>
                    <a:pt x="70569" y="3641"/>
                  </a:lnTo>
                  <a:lnTo>
                    <a:pt x="70081" y="3641"/>
                  </a:lnTo>
                  <a:lnTo>
                    <a:pt x="69756" y="3641"/>
                  </a:lnTo>
                  <a:lnTo>
                    <a:pt x="69268" y="3294"/>
                  </a:lnTo>
                  <a:lnTo>
                    <a:pt x="69268" y="2427"/>
                  </a:lnTo>
                  <a:lnTo>
                    <a:pt x="68943" y="2427"/>
                  </a:lnTo>
                  <a:lnTo>
                    <a:pt x="68617" y="2427"/>
                  </a:lnTo>
                  <a:lnTo>
                    <a:pt x="68130" y="2427"/>
                  </a:lnTo>
                  <a:lnTo>
                    <a:pt x="68130" y="2774"/>
                  </a:lnTo>
                  <a:lnTo>
                    <a:pt x="67804" y="2427"/>
                  </a:lnTo>
                  <a:lnTo>
                    <a:pt x="66991" y="1560"/>
                  </a:lnTo>
                  <a:lnTo>
                    <a:pt x="66991" y="1560"/>
                  </a:lnTo>
                  <a:lnTo>
                    <a:pt x="66991" y="1560"/>
                  </a:lnTo>
                  <a:lnTo>
                    <a:pt x="66666" y="1907"/>
                  </a:lnTo>
                  <a:lnTo>
                    <a:pt x="66666" y="1907"/>
                  </a:lnTo>
                  <a:lnTo>
                    <a:pt x="66666" y="1907"/>
                  </a:lnTo>
                  <a:lnTo>
                    <a:pt x="66341" y="1560"/>
                  </a:lnTo>
                  <a:lnTo>
                    <a:pt x="66341" y="1560"/>
                  </a:lnTo>
                  <a:lnTo>
                    <a:pt x="65528" y="1907"/>
                  </a:lnTo>
                  <a:lnTo>
                    <a:pt x="65528" y="1907"/>
                  </a:lnTo>
                  <a:lnTo>
                    <a:pt x="65853" y="1907"/>
                  </a:lnTo>
                  <a:lnTo>
                    <a:pt x="66341" y="2427"/>
                  </a:lnTo>
                  <a:lnTo>
                    <a:pt x="66666" y="2774"/>
                  </a:lnTo>
                  <a:lnTo>
                    <a:pt x="66991" y="2427"/>
                  </a:lnTo>
                  <a:lnTo>
                    <a:pt x="67479" y="2774"/>
                  </a:lnTo>
                  <a:lnTo>
                    <a:pt x="68130" y="3294"/>
                  </a:lnTo>
                  <a:lnTo>
                    <a:pt x="67804" y="3641"/>
                  </a:lnTo>
                  <a:lnTo>
                    <a:pt x="67804" y="3988"/>
                  </a:lnTo>
                  <a:lnTo>
                    <a:pt x="67804" y="4508"/>
                  </a:lnTo>
                  <a:lnTo>
                    <a:pt x="67804" y="4508"/>
                  </a:lnTo>
                  <a:lnTo>
                    <a:pt x="68130" y="4855"/>
                  </a:lnTo>
                  <a:lnTo>
                    <a:pt x="67804" y="4855"/>
                  </a:lnTo>
                  <a:lnTo>
                    <a:pt x="67804" y="4855"/>
                  </a:lnTo>
                  <a:lnTo>
                    <a:pt x="67479" y="4855"/>
                  </a:lnTo>
                  <a:lnTo>
                    <a:pt x="66991" y="5202"/>
                  </a:lnTo>
                  <a:lnTo>
                    <a:pt x="66991" y="5722"/>
                  </a:lnTo>
                  <a:lnTo>
                    <a:pt x="66991" y="5202"/>
                  </a:lnTo>
                  <a:lnTo>
                    <a:pt x="66666" y="5202"/>
                  </a:lnTo>
                  <a:lnTo>
                    <a:pt x="66341" y="5202"/>
                  </a:lnTo>
                  <a:lnTo>
                    <a:pt x="65853" y="5722"/>
                  </a:lnTo>
                  <a:lnTo>
                    <a:pt x="65853" y="5202"/>
                  </a:lnTo>
                  <a:lnTo>
                    <a:pt x="65528" y="5202"/>
                  </a:lnTo>
                  <a:lnTo>
                    <a:pt x="65203" y="5722"/>
                  </a:lnTo>
                  <a:lnTo>
                    <a:pt x="63902" y="5722"/>
                  </a:lnTo>
                  <a:lnTo>
                    <a:pt x="63902" y="5202"/>
                  </a:lnTo>
                  <a:lnTo>
                    <a:pt x="63902" y="4855"/>
                  </a:lnTo>
                  <a:lnTo>
                    <a:pt x="63902" y="4855"/>
                  </a:lnTo>
                  <a:lnTo>
                    <a:pt x="63577" y="4855"/>
                  </a:lnTo>
                  <a:lnTo>
                    <a:pt x="63577" y="5202"/>
                  </a:lnTo>
                  <a:lnTo>
                    <a:pt x="62764" y="5202"/>
                  </a:lnTo>
                  <a:lnTo>
                    <a:pt x="62764" y="5202"/>
                  </a:lnTo>
                  <a:lnTo>
                    <a:pt x="62764" y="5722"/>
                  </a:lnTo>
                  <a:lnTo>
                    <a:pt x="62764" y="5722"/>
                  </a:lnTo>
                  <a:lnTo>
                    <a:pt x="62764" y="5722"/>
                  </a:lnTo>
                  <a:lnTo>
                    <a:pt x="62439" y="5722"/>
                  </a:lnTo>
                  <a:lnTo>
                    <a:pt x="62439" y="6069"/>
                  </a:lnTo>
                  <a:lnTo>
                    <a:pt x="62439" y="6416"/>
                  </a:lnTo>
                  <a:lnTo>
                    <a:pt x="62439" y="6416"/>
                  </a:lnTo>
                  <a:lnTo>
                    <a:pt x="62113" y="6416"/>
                  </a:lnTo>
                  <a:lnTo>
                    <a:pt x="62113" y="6069"/>
                  </a:lnTo>
                  <a:lnTo>
                    <a:pt x="61626" y="6069"/>
                  </a:lnTo>
                  <a:lnTo>
                    <a:pt x="61626" y="6069"/>
                  </a:lnTo>
                  <a:lnTo>
                    <a:pt x="61626" y="6416"/>
                  </a:lnTo>
                  <a:lnTo>
                    <a:pt x="61626" y="6936"/>
                  </a:lnTo>
                  <a:lnTo>
                    <a:pt x="61300" y="6936"/>
                  </a:lnTo>
                  <a:lnTo>
                    <a:pt x="60975" y="6936"/>
                  </a:lnTo>
                  <a:lnTo>
                    <a:pt x="60975" y="6936"/>
                  </a:lnTo>
                  <a:lnTo>
                    <a:pt x="60487" y="7803"/>
                  </a:lnTo>
                  <a:lnTo>
                    <a:pt x="60162" y="8150"/>
                  </a:lnTo>
                  <a:lnTo>
                    <a:pt x="60162" y="8497"/>
                  </a:lnTo>
                  <a:lnTo>
                    <a:pt x="59837" y="8497"/>
                  </a:lnTo>
                  <a:lnTo>
                    <a:pt x="60162" y="9364"/>
                  </a:lnTo>
                  <a:lnTo>
                    <a:pt x="60162" y="9710"/>
                  </a:lnTo>
                  <a:lnTo>
                    <a:pt x="59837" y="9710"/>
                  </a:lnTo>
                  <a:lnTo>
                    <a:pt x="59349" y="9710"/>
                  </a:lnTo>
                  <a:lnTo>
                    <a:pt x="59024" y="10231"/>
                  </a:lnTo>
                  <a:lnTo>
                    <a:pt x="59024" y="10231"/>
                  </a:lnTo>
                  <a:lnTo>
                    <a:pt x="58536" y="10578"/>
                  </a:lnTo>
                  <a:lnTo>
                    <a:pt x="58536" y="11098"/>
                  </a:lnTo>
                  <a:lnTo>
                    <a:pt x="58536" y="11098"/>
                  </a:lnTo>
                  <a:lnTo>
                    <a:pt x="58211" y="11445"/>
                  </a:lnTo>
                  <a:lnTo>
                    <a:pt x="58211" y="11791"/>
                  </a:lnTo>
                  <a:lnTo>
                    <a:pt x="57886" y="11791"/>
                  </a:lnTo>
                  <a:lnTo>
                    <a:pt x="57398" y="12658"/>
                  </a:lnTo>
                  <a:lnTo>
                    <a:pt x="57073" y="13526"/>
                  </a:lnTo>
                  <a:lnTo>
                    <a:pt x="57398" y="13526"/>
                  </a:lnTo>
                  <a:lnTo>
                    <a:pt x="57886" y="13872"/>
                  </a:lnTo>
                  <a:lnTo>
                    <a:pt x="57886" y="13872"/>
                  </a:lnTo>
                  <a:lnTo>
                    <a:pt x="57886" y="13872"/>
                  </a:lnTo>
                  <a:lnTo>
                    <a:pt x="57398" y="14219"/>
                  </a:lnTo>
                  <a:lnTo>
                    <a:pt x="57886" y="14219"/>
                  </a:lnTo>
                  <a:lnTo>
                    <a:pt x="57886" y="14739"/>
                  </a:lnTo>
                  <a:lnTo>
                    <a:pt x="58211" y="14739"/>
                  </a:lnTo>
                  <a:lnTo>
                    <a:pt x="58211" y="14739"/>
                  </a:lnTo>
                  <a:lnTo>
                    <a:pt x="57886" y="15086"/>
                  </a:lnTo>
                  <a:lnTo>
                    <a:pt x="57398" y="15086"/>
                  </a:lnTo>
                  <a:lnTo>
                    <a:pt x="57398" y="15086"/>
                  </a:lnTo>
                  <a:lnTo>
                    <a:pt x="57398" y="15606"/>
                  </a:lnTo>
                  <a:lnTo>
                    <a:pt x="57398" y="15953"/>
                  </a:lnTo>
                  <a:lnTo>
                    <a:pt x="57398" y="15953"/>
                  </a:lnTo>
                  <a:lnTo>
                    <a:pt x="57398" y="15953"/>
                  </a:lnTo>
                  <a:lnTo>
                    <a:pt x="57398" y="15606"/>
                  </a:lnTo>
                  <a:lnTo>
                    <a:pt x="57073" y="15086"/>
                  </a:lnTo>
                  <a:lnTo>
                    <a:pt x="56747" y="15086"/>
                  </a:lnTo>
                  <a:lnTo>
                    <a:pt x="56747" y="15086"/>
                  </a:lnTo>
                  <a:lnTo>
                    <a:pt x="56260" y="15086"/>
                  </a:lnTo>
                  <a:lnTo>
                    <a:pt x="56260" y="15953"/>
                  </a:lnTo>
                  <a:lnTo>
                    <a:pt x="56260" y="15953"/>
                  </a:lnTo>
                  <a:lnTo>
                    <a:pt x="56260" y="15953"/>
                  </a:lnTo>
                  <a:lnTo>
                    <a:pt x="56260" y="15606"/>
                  </a:lnTo>
                  <a:lnTo>
                    <a:pt x="55934" y="15086"/>
                  </a:lnTo>
                  <a:lnTo>
                    <a:pt x="54796" y="14739"/>
                  </a:lnTo>
                  <a:lnTo>
                    <a:pt x="54471" y="14739"/>
                  </a:lnTo>
                  <a:lnTo>
                    <a:pt x="53983" y="14739"/>
                  </a:lnTo>
                  <a:lnTo>
                    <a:pt x="53983" y="14739"/>
                  </a:lnTo>
                  <a:lnTo>
                    <a:pt x="53983" y="15086"/>
                  </a:lnTo>
                  <a:lnTo>
                    <a:pt x="53658" y="15086"/>
                  </a:lnTo>
                  <a:lnTo>
                    <a:pt x="53658" y="15086"/>
                  </a:lnTo>
                  <a:lnTo>
                    <a:pt x="53170" y="15606"/>
                  </a:lnTo>
                  <a:lnTo>
                    <a:pt x="53170" y="15606"/>
                  </a:lnTo>
                  <a:lnTo>
                    <a:pt x="53170" y="15953"/>
                  </a:lnTo>
                  <a:lnTo>
                    <a:pt x="53170" y="16300"/>
                  </a:lnTo>
                  <a:lnTo>
                    <a:pt x="53170" y="16300"/>
                  </a:lnTo>
                  <a:lnTo>
                    <a:pt x="53170" y="16820"/>
                  </a:lnTo>
                  <a:lnTo>
                    <a:pt x="53170" y="16300"/>
                  </a:lnTo>
                  <a:lnTo>
                    <a:pt x="52845" y="16300"/>
                  </a:lnTo>
                  <a:lnTo>
                    <a:pt x="52845" y="16820"/>
                  </a:lnTo>
                  <a:lnTo>
                    <a:pt x="52845" y="16820"/>
                  </a:lnTo>
                  <a:lnTo>
                    <a:pt x="52845" y="15953"/>
                  </a:lnTo>
                  <a:lnTo>
                    <a:pt x="53170" y="15086"/>
                  </a:lnTo>
                  <a:lnTo>
                    <a:pt x="53170" y="14739"/>
                  </a:lnTo>
                  <a:lnTo>
                    <a:pt x="53170" y="14739"/>
                  </a:lnTo>
                  <a:lnTo>
                    <a:pt x="53170" y="14219"/>
                  </a:lnTo>
                  <a:lnTo>
                    <a:pt x="52520" y="13526"/>
                  </a:lnTo>
                  <a:lnTo>
                    <a:pt x="52032" y="13005"/>
                  </a:lnTo>
                  <a:lnTo>
                    <a:pt x="52032" y="12658"/>
                  </a:lnTo>
                  <a:lnTo>
                    <a:pt x="51707" y="12312"/>
                  </a:lnTo>
                  <a:lnTo>
                    <a:pt x="51382" y="11791"/>
                  </a:lnTo>
                  <a:lnTo>
                    <a:pt x="50894" y="11445"/>
                  </a:lnTo>
                  <a:lnTo>
                    <a:pt x="50569" y="11445"/>
                  </a:lnTo>
                  <a:lnTo>
                    <a:pt x="50243" y="11098"/>
                  </a:lnTo>
                  <a:lnTo>
                    <a:pt x="49756" y="11098"/>
                  </a:lnTo>
                  <a:lnTo>
                    <a:pt x="49430" y="11098"/>
                  </a:lnTo>
                  <a:lnTo>
                    <a:pt x="49430" y="11445"/>
                  </a:lnTo>
                  <a:lnTo>
                    <a:pt x="49430" y="11791"/>
                  </a:lnTo>
                  <a:lnTo>
                    <a:pt x="49105" y="12312"/>
                  </a:lnTo>
                  <a:lnTo>
                    <a:pt x="48617" y="12312"/>
                  </a:lnTo>
                  <a:lnTo>
                    <a:pt x="48617" y="12312"/>
                  </a:lnTo>
                  <a:lnTo>
                    <a:pt x="48292" y="11791"/>
                  </a:lnTo>
                  <a:lnTo>
                    <a:pt x="48292" y="12312"/>
                  </a:lnTo>
                  <a:lnTo>
                    <a:pt x="47804" y="12312"/>
                  </a:lnTo>
                  <a:lnTo>
                    <a:pt x="47804" y="12312"/>
                  </a:lnTo>
                  <a:lnTo>
                    <a:pt x="47804" y="12312"/>
                  </a:lnTo>
                  <a:lnTo>
                    <a:pt x="47479" y="11791"/>
                  </a:lnTo>
                  <a:lnTo>
                    <a:pt x="47479" y="11791"/>
                  </a:lnTo>
                  <a:lnTo>
                    <a:pt x="47154" y="11791"/>
                  </a:lnTo>
                  <a:lnTo>
                    <a:pt x="47479" y="12312"/>
                  </a:lnTo>
                  <a:lnTo>
                    <a:pt x="47479" y="12312"/>
                  </a:lnTo>
                  <a:lnTo>
                    <a:pt x="47479" y="12658"/>
                  </a:lnTo>
                  <a:lnTo>
                    <a:pt x="47154" y="12658"/>
                  </a:lnTo>
                  <a:lnTo>
                    <a:pt x="47154" y="13005"/>
                  </a:lnTo>
                  <a:lnTo>
                    <a:pt x="47154" y="13005"/>
                  </a:lnTo>
                  <a:lnTo>
                    <a:pt x="47154" y="13526"/>
                  </a:lnTo>
                  <a:lnTo>
                    <a:pt x="46666" y="13872"/>
                  </a:lnTo>
                  <a:lnTo>
                    <a:pt x="46341" y="14219"/>
                  </a:lnTo>
                  <a:lnTo>
                    <a:pt x="46341" y="13872"/>
                  </a:lnTo>
                  <a:lnTo>
                    <a:pt x="46341" y="13872"/>
                  </a:lnTo>
                  <a:lnTo>
                    <a:pt x="46341" y="13526"/>
                  </a:lnTo>
                  <a:lnTo>
                    <a:pt x="46016" y="13526"/>
                  </a:lnTo>
                  <a:lnTo>
                    <a:pt x="46016" y="13872"/>
                  </a:lnTo>
                  <a:lnTo>
                    <a:pt x="46016" y="13872"/>
                  </a:lnTo>
                  <a:lnTo>
                    <a:pt x="46016" y="13872"/>
                  </a:lnTo>
                  <a:lnTo>
                    <a:pt x="46016" y="13526"/>
                  </a:lnTo>
                  <a:lnTo>
                    <a:pt x="46016" y="13005"/>
                  </a:lnTo>
                  <a:lnTo>
                    <a:pt x="46016" y="13005"/>
                  </a:lnTo>
                  <a:lnTo>
                    <a:pt x="46016" y="12658"/>
                  </a:lnTo>
                  <a:lnTo>
                    <a:pt x="46016" y="13005"/>
                  </a:lnTo>
                  <a:lnTo>
                    <a:pt x="45528" y="13005"/>
                  </a:lnTo>
                  <a:lnTo>
                    <a:pt x="45528" y="13526"/>
                  </a:lnTo>
                  <a:lnTo>
                    <a:pt x="45528" y="13872"/>
                  </a:lnTo>
                  <a:lnTo>
                    <a:pt x="45203" y="13872"/>
                  </a:lnTo>
                  <a:lnTo>
                    <a:pt x="44878" y="13872"/>
                  </a:lnTo>
                  <a:lnTo>
                    <a:pt x="44878" y="13872"/>
                  </a:lnTo>
                  <a:lnTo>
                    <a:pt x="44878" y="14219"/>
                  </a:lnTo>
                  <a:lnTo>
                    <a:pt x="44390" y="14219"/>
                  </a:lnTo>
                  <a:lnTo>
                    <a:pt x="44390" y="14739"/>
                  </a:lnTo>
                  <a:lnTo>
                    <a:pt x="44390" y="15086"/>
                  </a:lnTo>
                  <a:lnTo>
                    <a:pt x="44390" y="15086"/>
                  </a:lnTo>
                  <a:lnTo>
                    <a:pt x="44878" y="15606"/>
                  </a:lnTo>
                  <a:lnTo>
                    <a:pt x="44878" y="15953"/>
                  </a:lnTo>
                  <a:lnTo>
                    <a:pt x="44878" y="15953"/>
                  </a:lnTo>
                  <a:lnTo>
                    <a:pt x="44390" y="15953"/>
                  </a:lnTo>
                  <a:lnTo>
                    <a:pt x="44065" y="15606"/>
                  </a:lnTo>
                  <a:lnTo>
                    <a:pt x="44065" y="15606"/>
                  </a:lnTo>
                  <a:lnTo>
                    <a:pt x="43739" y="15606"/>
                  </a:lnTo>
                  <a:lnTo>
                    <a:pt x="43739" y="15606"/>
                  </a:lnTo>
                  <a:lnTo>
                    <a:pt x="43739" y="15953"/>
                  </a:lnTo>
                  <a:lnTo>
                    <a:pt x="43739" y="15953"/>
                  </a:lnTo>
                  <a:lnTo>
                    <a:pt x="43252" y="15953"/>
                  </a:lnTo>
                  <a:lnTo>
                    <a:pt x="43252" y="15953"/>
                  </a:lnTo>
                  <a:lnTo>
                    <a:pt x="43252" y="16300"/>
                  </a:lnTo>
                  <a:lnTo>
                    <a:pt x="43252" y="16300"/>
                  </a:lnTo>
                  <a:lnTo>
                    <a:pt x="43252" y="16820"/>
                  </a:lnTo>
                  <a:lnTo>
                    <a:pt x="43739" y="16820"/>
                  </a:lnTo>
                  <a:lnTo>
                    <a:pt x="43739" y="16820"/>
                  </a:lnTo>
                  <a:lnTo>
                    <a:pt x="43739" y="16820"/>
                  </a:lnTo>
                  <a:lnTo>
                    <a:pt x="43739" y="17167"/>
                  </a:lnTo>
                  <a:lnTo>
                    <a:pt x="43739" y="17167"/>
                  </a:lnTo>
                  <a:lnTo>
                    <a:pt x="43252" y="17167"/>
                  </a:lnTo>
                  <a:lnTo>
                    <a:pt x="42926" y="16820"/>
                  </a:lnTo>
                  <a:lnTo>
                    <a:pt x="42439" y="16300"/>
                  </a:lnTo>
                  <a:lnTo>
                    <a:pt x="42439" y="16820"/>
                  </a:lnTo>
                  <a:lnTo>
                    <a:pt x="42439" y="16820"/>
                  </a:lnTo>
                  <a:lnTo>
                    <a:pt x="42439" y="17167"/>
                  </a:lnTo>
                  <a:lnTo>
                    <a:pt x="42113" y="17167"/>
                  </a:lnTo>
                  <a:lnTo>
                    <a:pt x="42113" y="17167"/>
                  </a:lnTo>
                  <a:lnTo>
                    <a:pt x="41788" y="17167"/>
                  </a:lnTo>
                  <a:lnTo>
                    <a:pt x="41788" y="18034"/>
                  </a:lnTo>
                  <a:lnTo>
                    <a:pt x="41300" y="18381"/>
                  </a:lnTo>
                  <a:lnTo>
                    <a:pt x="41788" y="18728"/>
                  </a:lnTo>
                  <a:lnTo>
                    <a:pt x="41788" y="19248"/>
                  </a:lnTo>
                  <a:lnTo>
                    <a:pt x="42113" y="18381"/>
                  </a:lnTo>
                  <a:lnTo>
                    <a:pt x="42113" y="18381"/>
                  </a:lnTo>
                  <a:lnTo>
                    <a:pt x="42113" y="18728"/>
                  </a:lnTo>
                  <a:lnTo>
                    <a:pt x="42113" y="18728"/>
                  </a:lnTo>
                  <a:lnTo>
                    <a:pt x="42113" y="19248"/>
                  </a:lnTo>
                  <a:lnTo>
                    <a:pt x="41788" y="19595"/>
                  </a:lnTo>
                  <a:lnTo>
                    <a:pt x="41788" y="19595"/>
                  </a:lnTo>
                  <a:lnTo>
                    <a:pt x="41300" y="19595"/>
                  </a:lnTo>
                  <a:lnTo>
                    <a:pt x="41300" y="19595"/>
                  </a:lnTo>
                  <a:lnTo>
                    <a:pt x="41300" y="20115"/>
                  </a:lnTo>
                  <a:lnTo>
                    <a:pt x="41300" y="20462"/>
                  </a:lnTo>
                  <a:lnTo>
                    <a:pt x="41300" y="20462"/>
                  </a:lnTo>
                  <a:lnTo>
                    <a:pt x="41788" y="20462"/>
                  </a:lnTo>
                  <a:lnTo>
                    <a:pt x="42113" y="20462"/>
                  </a:lnTo>
                  <a:lnTo>
                    <a:pt x="42113" y="20462"/>
                  </a:lnTo>
                  <a:lnTo>
                    <a:pt x="42113" y="20462"/>
                  </a:lnTo>
                  <a:lnTo>
                    <a:pt x="42113" y="20462"/>
                  </a:lnTo>
                  <a:lnTo>
                    <a:pt x="41788" y="20462"/>
                  </a:lnTo>
                  <a:lnTo>
                    <a:pt x="41300" y="20462"/>
                  </a:lnTo>
                  <a:lnTo>
                    <a:pt x="40975" y="20462"/>
                  </a:lnTo>
                  <a:lnTo>
                    <a:pt x="40650" y="20462"/>
                  </a:lnTo>
                  <a:lnTo>
                    <a:pt x="40650" y="20115"/>
                  </a:lnTo>
                  <a:lnTo>
                    <a:pt x="40162" y="20115"/>
                  </a:lnTo>
                  <a:lnTo>
                    <a:pt x="39837" y="20115"/>
                  </a:lnTo>
                  <a:lnTo>
                    <a:pt x="39837" y="20462"/>
                  </a:lnTo>
                  <a:lnTo>
                    <a:pt x="39512" y="20462"/>
                  </a:lnTo>
                  <a:lnTo>
                    <a:pt x="39512" y="20115"/>
                  </a:lnTo>
                  <a:lnTo>
                    <a:pt x="39024" y="19595"/>
                  </a:lnTo>
                  <a:lnTo>
                    <a:pt x="39024" y="20115"/>
                  </a:lnTo>
                  <a:lnTo>
                    <a:pt x="39024" y="20462"/>
                  </a:lnTo>
                  <a:lnTo>
                    <a:pt x="39024" y="20809"/>
                  </a:lnTo>
                  <a:lnTo>
                    <a:pt x="38699" y="20809"/>
                  </a:lnTo>
                  <a:lnTo>
                    <a:pt x="38699" y="20809"/>
                  </a:lnTo>
                  <a:lnTo>
                    <a:pt x="38373" y="20809"/>
                  </a:lnTo>
                  <a:lnTo>
                    <a:pt x="38699" y="21329"/>
                  </a:lnTo>
                  <a:lnTo>
                    <a:pt x="38699" y="21676"/>
                  </a:lnTo>
                  <a:lnTo>
                    <a:pt x="39024" y="21676"/>
                  </a:lnTo>
                  <a:lnTo>
                    <a:pt x="39024" y="22023"/>
                  </a:lnTo>
                  <a:lnTo>
                    <a:pt x="39024" y="22543"/>
                  </a:lnTo>
                  <a:lnTo>
                    <a:pt x="39512" y="22543"/>
                  </a:lnTo>
                  <a:lnTo>
                    <a:pt x="39512" y="22543"/>
                  </a:lnTo>
                  <a:lnTo>
                    <a:pt x="39024" y="22890"/>
                  </a:lnTo>
                  <a:lnTo>
                    <a:pt x="39024" y="23236"/>
                  </a:lnTo>
                  <a:lnTo>
                    <a:pt x="39024" y="23236"/>
                  </a:lnTo>
                  <a:lnTo>
                    <a:pt x="39024" y="23236"/>
                  </a:lnTo>
                  <a:lnTo>
                    <a:pt x="38699" y="22890"/>
                  </a:lnTo>
                  <a:lnTo>
                    <a:pt x="38699" y="22890"/>
                  </a:lnTo>
                  <a:lnTo>
                    <a:pt x="38373" y="22890"/>
                  </a:lnTo>
                  <a:lnTo>
                    <a:pt x="38373" y="23236"/>
                  </a:lnTo>
                  <a:lnTo>
                    <a:pt x="38373" y="23757"/>
                  </a:lnTo>
                  <a:lnTo>
                    <a:pt x="38373" y="24624"/>
                  </a:lnTo>
                  <a:lnTo>
                    <a:pt x="38373" y="24624"/>
                  </a:lnTo>
                  <a:lnTo>
                    <a:pt x="38373" y="24624"/>
                  </a:lnTo>
                  <a:lnTo>
                    <a:pt x="37886" y="24624"/>
                  </a:lnTo>
                  <a:lnTo>
                    <a:pt x="37886" y="24104"/>
                  </a:lnTo>
                  <a:lnTo>
                    <a:pt x="37560" y="23757"/>
                  </a:lnTo>
                  <a:lnTo>
                    <a:pt x="37560" y="22890"/>
                  </a:lnTo>
                  <a:lnTo>
                    <a:pt x="37073" y="22543"/>
                  </a:lnTo>
                  <a:lnTo>
                    <a:pt x="37073" y="21676"/>
                  </a:lnTo>
                  <a:lnTo>
                    <a:pt x="36747" y="20809"/>
                  </a:lnTo>
                  <a:lnTo>
                    <a:pt x="36747" y="20809"/>
                  </a:lnTo>
                  <a:lnTo>
                    <a:pt x="36422" y="21329"/>
                  </a:lnTo>
                  <a:lnTo>
                    <a:pt x="35934" y="21676"/>
                  </a:lnTo>
                  <a:lnTo>
                    <a:pt x="35934" y="22023"/>
                  </a:lnTo>
                  <a:lnTo>
                    <a:pt x="35609" y="22543"/>
                  </a:lnTo>
                  <a:lnTo>
                    <a:pt x="35284" y="22543"/>
                  </a:lnTo>
                  <a:lnTo>
                    <a:pt x="34796" y="22890"/>
                  </a:lnTo>
                  <a:lnTo>
                    <a:pt x="34796" y="22890"/>
                  </a:lnTo>
                  <a:lnTo>
                    <a:pt x="34471" y="23236"/>
                  </a:lnTo>
                  <a:lnTo>
                    <a:pt x="34146" y="24104"/>
                  </a:lnTo>
                  <a:lnTo>
                    <a:pt x="34146" y="24624"/>
                  </a:lnTo>
                  <a:lnTo>
                    <a:pt x="33658" y="24971"/>
                  </a:lnTo>
                  <a:lnTo>
                    <a:pt x="34146" y="25317"/>
                  </a:lnTo>
                  <a:lnTo>
                    <a:pt x="34146" y="26184"/>
                  </a:lnTo>
                  <a:lnTo>
                    <a:pt x="34146" y="26531"/>
                  </a:lnTo>
                  <a:lnTo>
                    <a:pt x="34146" y="26531"/>
                  </a:lnTo>
                  <a:lnTo>
                    <a:pt x="34146" y="27052"/>
                  </a:lnTo>
                  <a:lnTo>
                    <a:pt x="34146" y="27052"/>
                  </a:lnTo>
                  <a:lnTo>
                    <a:pt x="33008" y="27745"/>
                  </a:lnTo>
                  <a:lnTo>
                    <a:pt x="32520" y="28265"/>
                  </a:lnTo>
                  <a:lnTo>
                    <a:pt x="32195" y="28612"/>
                  </a:lnTo>
                  <a:lnTo>
                    <a:pt x="32195" y="29132"/>
                  </a:lnTo>
                  <a:lnTo>
                    <a:pt x="31707" y="29479"/>
                  </a:lnTo>
                  <a:lnTo>
                    <a:pt x="31382" y="29826"/>
                  </a:lnTo>
                  <a:lnTo>
                    <a:pt x="31056" y="30693"/>
                  </a:lnTo>
                  <a:lnTo>
                    <a:pt x="30569" y="31560"/>
                  </a:lnTo>
                  <a:lnTo>
                    <a:pt x="29918" y="31907"/>
                  </a:lnTo>
                  <a:lnTo>
                    <a:pt x="29430" y="32254"/>
                  </a:lnTo>
                  <a:lnTo>
                    <a:pt x="29105" y="32774"/>
                  </a:lnTo>
                  <a:lnTo>
                    <a:pt x="27642" y="33121"/>
                  </a:lnTo>
                  <a:lnTo>
                    <a:pt x="26829" y="33641"/>
                  </a:lnTo>
                  <a:lnTo>
                    <a:pt x="25691" y="33641"/>
                  </a:lnTo>
                  <a:lnTo>
                    <a:pt x="24878" y="33988"/>
                  </a:lnTo>
                  <a:lnTo>
                    <a:pt x="24065" y="33988"/>
                  </a:lnTo>
                  <a:lnTo>
                    <a:pt x="23414" y="33988"/>
                  </a:lnTo>
                  <a:lnTo>
                    <a:pt x="22276" y="34855"/>
                  </a:lnTo>
                  <a:lnTo>
                    <a:pt x="21463" y="35202"/>
                  </a:lnTo>
                  <a:lnTo>
                    <a:pt x="20650" y="35202"/>
                  </a:lnTo>
                  <a:lnTo>
                    <a:pt x="20325" y="35202"/>
                  </a:lnTo>
                  <a:lnTo>
                    <a:pt x="19512" y="36069"/>
                  </a:lnTo>
                  <a:lnTo>
                    <a:pt x="18699" y="36069"/>
                  </a:lnTo>
                  <a:lnTo>
                    <a:pt x="18048" y="36416"/>
                  </a:lnTo>
                  <a:lnTo>
                    <a:pt x="17560" y="36416"/>
                  </a:lnTo>
                  <a:lnTo>
                    <a:pt x="17235" y="36069"/>
                  </a:lnTo>
                  <a:lnTo>
                    <a:pt x="16910" y="36069"/>
                  </a:lnTo>
                  <a:lnTo>
                    <a:pt x="16422" y="36069"/>
                  </a:lnTo>
                  <a:lnTo>
                    <a:pt x="16097" y="36069"/>
                  </a:lnTo>
                  <a:lnTo>
                    <a:pt x="15609" y="36416"/>
                  </a:lnTo>
                  <a:lnTo>
                    <a:pt x="13821" y="37630"/>
                  </a:lnTo>
                  <a:lnTo>
                    <a:pt x="13333" y="38150"/>
                  </a:lnTo>
                  <a:lnTo>
                    <a:pt x="13008" y="38497"/>
                  </a:lnTo>
                  <a:lnTo>
                    <a:pt x="12195" y="38843"/>
                  </a:lnTo>
                  <a:lnTo>
                    <a:pt x="11869" y="39364"/>
                  </a:lnTo>
                  <a:lnTo>
                    <a:pt x="11056" y="39710"/>
                  </a:lnTo>
                  <a:lnTo>
                    <a:pt x="9918" y="40057"/>
                  </a:lnTo>
                  <a:lnTo>
                    <a:pt x="9593" y="40578"/>
                  </a:lnTo>
                  <a:lnTo>
                    <a:pt x="9105" y="40924"/>
                  </a:lnTo>
                  <a:lnTo>
                    <a:pt x="8455" y="42138"/>
                  </a:lnTo>
                  <a:lnTo>
                    <a:pt x="7967" y="42138"/>
                  </a:lnTo>
                  <a:lnTo>
                    <a:pt x="7967" y="42658"/>
                  </a:lnTo>
                  <a:lnTo>
                    <a:pt x="7642" y="43005"/>
                  </a:lnTo>
                  <a:lnTo>
                    <a:pt x="7317" y="43005"/>
                  </a:lnTo>
                  <a:lnTo>
                    <a:pt x="7642" y="42138"/>
                  </a:lnTo>
                  <a:lnTo>
                    <a:pt x="7317" y="41791"/>
                  </a:lnTo>
                  <a:lnTo>
                    <a:pt x="7642" y="40924"/>
                  </a:lnTo>
                  <a:lnTo>
                    <a:pt x="7642" y="40578"/>
                  </a:lnTo>
                  <a:lnTo>
                    <a:pt x="7317" y="40578"/>
                  </a:lnTo>
                  <a:lnTo>
                    <a:pt x="7317" y="40924"/>
                  </a:lnTo>
                  <a:lnTo>
                    <a:pt x="6504" y="42138"/>
                  </a:lnTo>
                  <a:lnTo>
                    <a:pt x="6178" y="43352"/>
                  </a:lnTo>
                  <a:lnTo>
                    <a:pt x="6178" y="44219"/>
                  </a:lnTo>
                  <a:lnTo>
                    <a:pt x="6178" y="44566"/>
                  </a:lnTo>
                  <a:lnTo>
                    <a:pt x="6178" y="45086"/>
                  </a:lnTo>
                  <a:lnTo>
                    <a:pt x="5691" y="45433"/>
                  </a:lnTo>
                  <a:lnTo>
                    <a:pt x="5691" y="45780"/>
                  </a:lnTo>
                  <a:lnTo>
                    <a:pt x="5691" y="46300"/>
                  </a:lnTo>
                  <a:lnTo>
                    <a:pt x="4878" y="47514"/>
                  </a:lnTo>
                  <a:lnTo>
                    <a:pt x="4552" y="47861"/>
                  </a:lnTo>
                  <a:lnTo>
                    <a:pt x="4227" y="48728"/>
                  </a:lnTo>
                  <a:lnTo>
                    <a:pt x="4227" y="49595"/>
                  </a:lnTo>
                  <a:lnTo>
                    <a:pt x="4227" y="49942"/>
                  </a:lnTo>
                  <a:lnTo>
                    <a:pt x="4227" y="50809"/>
                  </a:lnTo>
                  <a:lnTo>
                    <a:pt x="4552" y="50809"/>
                  </a:lnTo>
                  <a:lnTo>
                    <a:pt x="4552" y="52023"/>
                  </a:lnTo>
                  <a:lnTo>
                    <a:pt x="4552" y="52890"/>
                  </a:lnTo>
                  <a:lnTo>
                    <a:pt x="4878" y="54104"/>
                  </a:lnTo>
                  <a:lnTo>
                    <a:pt x="5365" y="55317"/>
                  </a:lnTo>
                  <a:lnTo>
                    <a:pt x="5365" y="55664"/>
                  </a:lnTo>
                  <a:lnTo>
                    <a:pt x="5365" y="56184"/>
                  </a:lnTo>
                  <a:lnTo>
                    <a:pt x="5365" y="56878"/>
                  </a:lnTo>
                  <a:lnTo>
                    <a:pt x="4878" y="56878"/>
                  </a:lnTo>
                  <a:lnTo>
                    <a:pt x="4552" y="57398"/>
                  </a:lnTo>
                  <a:lnTo>
                    <a:pt x="4552" y="56878"/>
                  </a:lnTo>
                  <a:lnTo>
                    <a:pt x="4552" y="56531"/>
                  </a:lnTo>
                  <a:lnTo>
                    <a:pt x="4552" y="55664"/>
                  </a:lnTo>
                  <a:lnTo>
                    <a:pt x="4227" y="55664"/>
                  </a:lnTo>
                  <a:lnTo>
                    <a:pt x="4227" y="56184"/>
                  </a:lnTo>
                  <a:lnTo>
                    <a:pt x="3739" y="56531"/>
                  </a:lnTo>
                  <a:lnTo>
                    <a:pt x="3739" y="56184"/>
                  </a:lnTo>
                  <a:lnTo>
                    <a:pt x="3739" y="56184"/>
                  </a:lnTo>
                  <a:lnTo>
                    <a:pt x="3739" y="56184"/>
                  </a:lnTo>
                  <a:lnTo>
                    <a:pt x="3739" y="55664"/>
                  </a:lnTo>
                  <a:lnTo>
                    <a:pt x="4227" y="55317"/>
                  </a:lnTo>
                  <a:lnTo>
                    <a:pt x="3739" y="54971"/>
                  </a:lnTo>
                  <a:lnTo>
                    <a:pt x="3739" y="54450"/>
                  </a:lnTo>
                  <a:lnTo>
                    <a:pt x="3414" y="54450"/>
                  </a:lnTo>
                  <a:lnTo>
                    <a:pt x="3414" y="54450"/>
                  </a:lnTo>
                  <a:lnTo>
                    <a:pt x="3089" y="54971"/>
                  </a:lnTo>
                  <a:lnTo>
                    <a:pt x="3414" y="55317"/>
                  </a:lnTo>
                  <a:lnTo>
                    <a:pt x="3414" y="56184"/>
                  </a:lnTo>
                  <a:lnTo>
                    <a:pt x="3739" y="56531"/>
                  </a:lnTo>
                  <a:lnTo>
                    <a:pt x="3739" y="56531"/>
                  </a:lnTo>
                  <a:lnTo>
                    <a:pt x="4227" y="56878"/>
                  </a:lnTo>
                  <a:lnTo>
                    <a:pt x="3739" y="57745"/>
                  </a:lnTo>
                  <a:lnTo>
                    <a:pt x="3739" y="57745"/>
                  </a:lnTo>
                  <a:lnTo>
                    <a:pt x="3414" y="57745"/>
                  </a:lnTo>
                  <a:lnTo>
                    <a:pt x="3089" y="57745"/>
                  </a:lnTo>
                  <a:lnTo>
                    <a:pt x="3089" y="57398"/>
                  </a:lnTo>
                  <a:lnTo>
                    <a:pt x="3089" y="56531"/>
                  </a:lnTo>
                  <a:lnTo>
                    <a:pt x="3089" y="56184"/>
                  </a:lnTo>
                  <a:lnTo>
                    <a:pt x="2601" y="56184"/>
                  </a:lnTo>
                  <a:lnTo>
                    <a:pt x="2601" y="56184"/>
                  </a:lnTo>
                  <a:lnTo>
                    <a:pt x="2601" y="56531"/>
                  </a:lnTo>
                  <a:lnTo>
                    <a:pt x="2601" y="56531"/>
                  </a:lnTo>
                  <a:lnTo>
                    <a:pt x="2601" y="56531"/>
                  </a:lnTo>
                  <a:lnTo>
                    <a:pt x="2276" y="56531"/>
                  </a:lnTo>
                  <a:lnTo>
                    <a:pt x="2276" y="56531"/>
                  </a:lnTo>
                  <a:lnTo>
                    <a:pt x="2276" y="56531"/>
                  </a:lnTo>
                  <a:lnTo>
                    <a:pt x="2276" y="56531"/>
                  </a:lnTo>
                  <a:lnTo>
                    <a:pt x="2601" y="57398"/>
                  </a:lnTo>
                  <a:lnTo>
                    <a:pt x="3414" y="58959"/>
                  </a:lnTo>
                  <a:lnTo>
                    <a:pt x="3739" y="60693"/>
                  </a:lnTo>
                  <a:lnTo>
                    <a:pt x="3739" y="61387"/>
                  </a:lnTo>
                  <a:lnTo>
                    <a:pt x="3739" y="63121"/>
                  </a:lnTo>
                  <a:lnTo>
                    <a:pt x="3739" y="63468"/>
                  </a:lnTo>
                  <a:lnTo>
                    <a:pt x="3739" y="64335"/>
                  </a:lnTo>
                  <a:lnTo>
                    <a:pt x="4227" y="65202"/>
                  </a:lnTo>
                  <a:lnTo>
                    <a:pt x="4227" y="65549"/>
                  </a:lnTo>
                  <a:lnTo>
                    <a:pt x="4227" y="65895"/>
                  </a:lnTo>
                  <a:lnTo>
                    <a:pt x="4227" y="66416"/>
                  </a:lnTo>
                  <a:lnTo>
                    <a:pt x="4552" y="67109"/>
                  </a:lnTo>
                  <a:lnTo>
                    <a:pt x="4552" y="68497"/>
                  </a:lnTo>
                  <a:lnTo>
                    <a:pt x="4552" y="68843"/>
                  </a:lnTo>
                  <a:lnTo>
                    <a:pt x="4552" y="69190"/>
                  </a:lnTo>
                  <a:lnTo>
                    <a:pt x="4227" y="70404"/>
                  </a:lnTo>
                  <a:lnTo>
                    <a:pt x="4227" y="71271"/>
                  </a:lnTo>
                  <a:lnTo>
                    <a:pt x="4227" y="72485"/>
                  </a:lnTo>
                  <a:lnTo>
                    <a:pt x="4227" y="73352"/>
                  </a:lnTo>
                  <a:lnTo>
                    <a:pt x="4227" y="73699"/>
                  </a:lnTo>
                  <a:lnTo>
                    <a:pt x="4227" y="74913"/>
                  </a:lnTo>
                  <a:lnTo>
                    <a:pt x="4552" y="76647"/>
                  </a:lnTo>
                  <a:lnTo>
                    <a:pt x="4552" y="77514"/>
                  </a:lnTo>
                  <a:lnTo>
                    <a:pt x="3739" y="79075"/>
                  </a:lnTo>
                  <a:lnTo>
                    <a:pt x="3739" y="79942"/>
                  </a:lnTo>
                  <a:lnTo>
                    <a:pt x="3414" y="79942"/>
                  </a:lnTo>
                  <a:lnTo>
                    <a:pt x="3414" y="80289"/>
                  </a:lnTo>
                  <a:lnTo>
                    <a:pt x="3089" y="81502"/>
                  </a:lnTo>
                  <a:lnTo>
                    <a:pt x="3089" y="82023"/>
                  </a:lnTo>
                  <a:lnTo>
                    <a:pt x="2601" y="82716"/>
                  </a:lnTo>
                  <a:lnTo>
                    <a:pt x="2276" y="83236"/>
                  </a:lnTo>
                  <a:lnTo>
                    <a:pt x="1463" y="83583"/>
                  </a:lnTo>
                  <a:lnTo>
                    <a:pt x="1138" y="83583"/>
                  </a:lnTo>
                  <a:lnTo>
                    <a:pt x="813" y="83583"/>
                  </a:lnTo>
                  <a:lnTo>
                    <a:pt x="813" y="83236"/>
                  </a:lnTo>
                  <a:lnTo>
                    <a:pt x="325" y="84450"/>
                  </a:lnTo>
                  <a:lnTo>
                    <a:pt x="0" y="85144"/>
                  </a:lnTo>
                  <a:lnTo>
                    <a:pt x="0" y="85664"/>
                  </a:lnTo>
                  <a:lnTo>
                    <a:pt x="0" y="86011"/>
                  </a:lnTo>
                  <a:lnTo>
                    <a:pt x="0" y="86531"/>
                  </a:lnTo>
                  <a:lnTo>
                    <a:pt x="325" y="86011"/>
                  </a:lnTo>
                  <a:lnTo>
                    <a:pt x="325" y="86011"/>
                  </a:lnTo>
                  <a:lnTo>
                    <a:pt x="1138" y="86531"/>
                  </a:lnTo>
                  <a:lnTo>
                    <a:pt x="1463" y="86878"/>
                  </a:lnTo>
                  <a:lnTo>
                    <a:pt x="1951" y="88092"/>
                  </a:lnTo>
                  <a:lnTo>
                    <a:pt x="2601" y="88092"/>
                  </a:lnTo>
                  <a:lnTo>
                    <a:pt x="3089" y="88439"/>
                  </a:lnTo>
                  <a:lnTo>
                    <a:pt x="4227" y="88959"/>
                  </a:lnTo>
                  <a:lnTo>
                    <a:pt x="4878" y="88959"/>
                  </a:lnTo>
                  <a:lnTo>
                    <a:pt x="6178" y="88959"/>
                  </a:lnTo>
                  <a:lnTo>
                    <a:pt x="6504" y="88959"/>
                  </a:lnTo>
                  <a:lnTo>
                    <a:pt x="6829" y="88959"/>
                  </a:lnTo>
                  <a:lnTo>
                    <a:pt x="7317" y="88959"/>
                  </a:lnTo>
                  <a:lnTo>
                    <a:pt x="7967" y="88439"/>
                  </a:lnTo>
                  <a:lnTo>
                    <a:pt x="9105" y="87745"/>
                  </a:lnTo>
                  <a:lnTo>
                    <a:pt x="10731" y="86878"/>
                  </a:lnTo>
                  <a:lnTo>
                    <a:pt x="11056" y="86878"/>
                  </a:lnTo>
                  <a:lnTo>
                    <a:pt x="11869" y="86878"/>
                  </a:lnTo>
                  <a:lnTo>
                    <a:pt x="12195" y="86531"/>
                  </a:lnTo>
                  <a:lnTo>
                    <a:pt x="13333" y="85144"/>
                  </a:lnTo>
                  <a:lnTo>
                    <a:pt x="13333" y="85144"/>
                  </a:lnTo>
                  <a:lnTo>
                    <a:pt x="14146" y="84797"/>
                  </a:lnTo>
                  <a:lnTo>
                    <a:pt x="14959" y="84797"/>
                  </a:lnTo>
                  <a:lnTo>
                    <a:pt x="15609" y="84797"/>
                  </a:lnTo>
                  <a:lnTo>
                    <a:pt x="16097" y="84797"/>
                  </a:lnTo>
                  <a:lnTo>
                    <a:pt x="16910" y="84450"/>
                  </a:lnTo>
                  <a:lnTo>
                    <a:pt x="18699" y="84450"/>
                  </a:lnTo>
                  <a:lnTo>
                    <a:pt x="19512" y="84450"/>
                  </a:lnTo>
                  <a:lnTo>
                    <a:pt x="20325" y="84450"/>
                  </a:lnTo>
                  <a:lnTo>
                    <a:pt x="20325" y="84450"/>
                  </a:lnTo>
                  <a:lnTo>
                    <a:pt x="20650" y="84797"/>
                  </a:lnTo>
                  <a:lnTo>
                    <a:pt x="22601" y="84797"/>
                  </a:lnTo>
                  <a:lnTo>
                    <a:pt x="22926" y="84450"/>
                  </a:lnTo>
                  <a:lnTo>
                    <a:pt x="23414" y="84797"/>
                  </a:lnTo>
                  <a:lnTo>
                    <a:pt x="23739" y="84797"/>
                  </a:lnTo>
                  <a:lnTo>
                    <a:pt x="24065" y="84797"/>
                  </a:lnTo>
                  <a:lnTo>
                    <a:pt x="24552" y="84797"/>
                  </a:lnTo>
                  <a:lnTo>
                    <a:pt x="24878" y="84450"/>
                  </a:lnTo>
                  <a:lnTo>
                    <a:pt x="26016" y="83583"/>
                  </a:lnTo>
                  <a:lnTo>
                    <a:pt x="26341" y="83236"/>
                  </a:lnTo>
                  <a:lnTo>
                    <a:pt x="27154" y="82023"/>
                  </a:lnTo>
                  <a:lnTo>
                    <a:pt x="27642" y="81502"/>
                  </a:lnTo>
                  <a:lnTo>
                    <a:pt x="28292" y="81156"/>
                  </a:lnTo>
                  <a:lnTo>
                    <a:pt x="28780" y="81156"/>
                  </a:lnTo>
                  <a:lnTo>
                    <a:pt x="29430" y="81156"/>
                  </a:lnTo>
                  <a:lnTo>
                    <a:pt x="31056" y="79942"/>
                  </a:lnTo>
                  <a:lnTo>
                    <a:pt x="31707" y="79942"/>
                  </a:lnTo>
                  <a:lnTo>
                    <a:pt x="32195" y="79421"/>
                  </a:lnTo>
                  <a:lnTo>
                    <a:pt x="33333" y="78728"/>
                  </a:lnTo>
                  <a:lnTo>
                    <a:pt x="34146" y="78728"/>
                  </a:lnTo>
                  <a:lnTo>
                    <a:pt x="35934" y="78728"/>
                  </a:lnTo>
                  <a:lnTo>
                    <a:pt x="36747" y="78728"/>
                  </a:lnTo>
                  <a:lnTo>
                    <a:pt x="37560" y="78728"/>
                  </a:lnTo>
                  <a:lnTo>
                    <a:pt x="38699" y="78208"/>
                  </a:lnTo>
                  <a:lnTo>
                    <a:pt x="39837" y="77861"/>
                  </a:lnTo>
                  <a:lnTo>
                    <a:pt x="41300" y="77514"/>
                  </a:lnTo>
                  <a:lnTo>
                    <a:pt x="42926" y="76647"/>
                  </a:lnTo>
                  <a:lnTo>
                    <a:pt x="43739" y="76647"/>
                  </a:lnTo>
                  <a:lnTo>
                    <a:pt x="44878" y="76127"/>
                  </a:lnTo>
                  <a:lnTo>
                    <a:pt x="46341" y="76127"/>
                  </a:lnTo>
                  <a:lnTo>
                    <a:pt x="48292" y="76127"/>
                  </a:lnTo>
                  <a:lnTo>
                    <a:pt x="48617" y="76127"/>
                  </a:lnTo>
                  <a:lnTo>
                    <a:pt x="49105" y="76127"/>
                  </a:lnTo>
                  <a:lnTo>
                    <a:pt x="49430" y="75780"/>
                  </a:lnTo>
                  <a:lnTo>
                    <a:pt x="49756" y="75780"/>
                  </a:lnTo>
                  <a:lnTo>
                    <a:pt x="50243" y="76127"/>
                  </a:lnTo>
                  <a:lnTo>
                    <a:pt x="50894" y="76647"/>
                  </a:lnTo>
                  <a:lnTo>
                    <a:pt x="52032" y="77861"/>
                  </a:lnTo>
                  <a:lnTo>
                    <a:pt x="52032" y="77861"/>
                  </a:lnTo>
                  <a:lnTo>
                    <a:pt x="53170" y="77514"/>
                  </a:lnTo>
                  <a:lnTo>
                    <a:pt x="53658" y="77514"/>
                  </a:lnTo>
                  <a:lnTo>
                    <a:pt x="54471" y="78208"/>
                  </a:lnTo>
                  <a:lnTo>
                    <a:pt x="55121" y="78208"/>
                  </a:lnTo>
                  <a:lnTo>
                    <a:pt x="55609" y="78208"/>
                  </a:lnTo>
                  <a:lnTo>
                    <a:pt x="55934" y="78728"/>
                  </a:lnTo>
                  <a:lnTo>
                    <a:pt x="55934" y="78728"/>
                  </a:lnTo>
                  <a:lnTo>
                    <a:pt x="56260" y="79075"/>
                  </a:lnTo>
                  <a:lnTo>
                    <a:pt x="57073" y="79942"/>
                  </a:lnTo>
                  <a:lnTo>
                    <a:pt x="57073" y="80289"/>
                  </a:lnTo>
                  <a:lnTo>
                    <a:pt x="56747" y="80289"/>
                  </a:lnTo>
                  <a:lnTo>
                    <a:pt x="56747" y="80289"/>
                  </a:lnTo>
                  <a:lnTo>
                    <a:pt x="56260" y="80289"/>
                  </a:lnTo>
                  <a:lnTo>
                    <a:pt x="56260" y="81156"/>
                  </a:lnTo>
                  <a:lnTo>
                    <a:pt x="56260" y="82023"/>
                  </a:lnTo>
                  <a:lnTo>
                    <a:pt x="57398" y="82023"/>
                  </a:lnTo>
                  <a:lnTo>
                    <a:pt x="57398" y="82369"/>
                  </a:lnTo>
                  <a:lnTo>
                    <a:pt x="57398" y="82716"/>
                  </a:lnTo>
                  <a:lnTo>
                    <a:pt x="57398" y="83236"/>
                  </a:lnTo>
                  <a:lnTo>
                    <a:pt x="57398" y="83583"/>
                  </a:lnTo>
                  <a:lnTo>
                    <a:pt x="57886" y="84450"/>
                  </a:lnTo>
                  <a:lnTo>
                    <a:pt x="57886" y="84797"/>
                  </a:lnTo>
                  <a:lnTo>
                    <a:pt x="57886" y="84797"/>
                  </a:lnTo>
                  <a:lnTo>
                    <a:pt x="57886" y="85664"/>
                  </a:lnTo>
                  <a:lnTo>
                    <a:pt x="57886" y="85664"/>
                  </a:lnTo>
                  <a:lnTo>
                    <a:pt x="57886" y="86531"/>
                  </a:lnTo>
                  <a:lnTo>
                    <a:pt x="57886" y="87225"/>
                  </a:lnTo>
                  <a:lnTo>
                    <a:pt x="57886" y="87225"/>
                  </a:lnTo>
                  <a:lnTo>
                    <a:pt x="57398" y="87225"/>
                  </a:lnTo>
                  <a:lnTo>
                    <a:pt x="57398" y="86878"/>
                  </a:lnTo>
                  <a:lnTo>
                    <a:pt x="57073" y="86878"/>
                  </a:lnTo>
                  <a:lnTo>
                    <a:pt x="57073" y="86878"/>
                  </a:lnTo>
                  <a:lnTo>
                    <a:pt x="57073" y="86878"/>
                  </a:lnTo>
                  <a:lnTo>
                    <a:pt x="56747" y="87225"/>
                  </a:lnTo>
                  <a:lnTo>
                    <a:pt x="57073" y="87225"/>
                  </a:lnTo>
                  <a:lnTo>
                    <a:pt x="57073" y="87225"/>
                  </a:lnTo>
                  <a:lnTo>
                    <a:pt x="57398" y="87225"/>
                  </a:lnTo>
                  <a:lnTo>
                    <a:pt x="57398" y="87745"/>
                  </a:lnTo>
                  <a:lnTo>
                    <a:pt x="57398" y="87745"/>
                  </a:lnTo>
                  <a:lnTo>
                    <a:pt x="57886" y="88439"/>
                  </a:lnTo>
                  <a:lnTo>
                    <a:pt x="58211" y="88439"/>
                  </a:lnTo>
                  <a:lnTo>
                    <a:pt x="58211" y="88092"/>
                  </a:lnTo>
                  <a:lnTo>
                    <a:pt x="58536" y="88439"/>
                  </a:lnTo>
                  <a:lnTo>
                    <a:pt x="58536" y="88439"/>
                  </a:lnTo>
                  <a:lnTo>
                    <a:pt x="59024" y="88439"/>
                  </a:lnTo>
                  <a:lnTo>
                    <a:pt x="59024" y="87745"/>
                  </a:lnTo>
                  <a:lnTo>
                    <a:pt x="59024" y="87745"/>
                  </a:lnTo>
                  <a:lnTo>
                    <a:pt x="59024" y="87225"/>
                  </a:lnTo>
                  <a:lnTo>
                    <a:pt x="59024" y="87225"/>
                  </a:lnTo>
                  <a:lnTo>
                    <a:pt x="59349" y="87225"/>
                  </a:lnTo>
                  <a:lnTo>
                    <a:pt x="59837" y="86531"/>
                  </a:lnTo>
                  <a:lnTo>
                    <a:pt x="61300" y="85144"/>
                  </a:lnTo>
                  <a:lnTo>
                    <a:pt x="61626" y="84797"/>
                  </a:lnTo>
                  <a:lnTo>
                    <a:pt x="62113" y="84797"/>
                  </a:lnTo>
                  <a:lnTo>
                    <a:pt x="62764" y="84450"/>
                  </a:lnTo>
                  <a:lnTo>
                    <a:pt x="63252" y="83930"/>
                  </a:lnTo>
                  <a:lnTo>
                    <a:pt x="63577" y="83930"/>
                  </a:lnTo>
                  <a:lnTo>
                    <a:pt x="63902" y="83930"/>
                  </a:lnTo>
                  <a:lnTo>
                    <a:pt x="64390" y="83583"/>
                  </a:lnTo>
                  <a:lnTo>
                    <a:pt x="64715" y="82716"/>
                  </a:lnTo>
                  <a:lnTo>
                    <a:pt x="65528" y="82023"/>
                  </a:lnTo>
                  <a:lnTo>
                    <a:pt x="65853" y="81502"/>
                  </a:lnTo>
                  <a:lnTo>
                    <a:pt x="66341" y="81156"/>
                  </a:lnTo>
                  <a:lnTo>
                    <a:pt x="66991" y="80635"/>
                  </a:lnTo>
                  <a:lnTo>
                    <a:pt x="66991" y="80289"/>
                  </a:lnTo>
                  <a:lnTo>
                    <a:pt x="66991" y="79942"/>
                  </a:lnTo>
                  <a:lnTo>
                    <a:pt x="67479" y="80289"/>
                  </a:lnTo>
                  <a:lnTo>
                    <a:pt x="67479" y="80635"/>
                  </a:lnTo>
                  <a:lnTo>
                    <a:pt x="66991" y="81502"/>
                  </a:lnTo>
                  <a:lnTo>
                    <a:pt x="66666" y="82023"/>
                  </a:lnTo>
                  <a:lnTo>
                    <a:pt x="66666" y="82023"/>
                  </a:lnTo>
                  <a:lnTo>
                    <a:pt x="66341" y="82369"/>
                  </a:lnTo>
                  <a:lnTo>
                    <a:pt x="66341" y="83236"/>
                  </a:lnTo>
                  <a:lnTo>
                    <a:pt x="66341" y="83583"/>
                  </a:lnTo>
                  <a:lnTo>
                    <a:pt x="65528" y="83930"/>
                  </a:lnTo>
                  <a:lnTo>
                    <a:pt x="65203" y="84450"/>
                  </a:lnTo>
                  <a:lnTo>
                    <a:pt x="64390" y="85664"/>
                  </a:lnTo>
                  <a:lnTo>
                    <a:pt x="63902" y="86011"/>
                  </a:lnTo>
                  <a:lnTo>
                    <a:pt x="63902" y="86531"/>
                  </a:lnTo>
                  <a:lnTo>
                    <a:pt x="63577" y="86878"/>
                  </a:lnTo>
                  <a:lnTo>
                    <a:pt x="63577" y="87225"/>
                  </a:lnTo>
                  <a:lnTo>
                    <a:pt x="63252" y="87745"/>
                  </a:lnTo>
                  <a:lnTo>
                    <a:pt x="62764" y="88439"/>
                  </a:lnTo>
                  <a:lnTo>
                    <a:pt x="62439" y="88439"/>
                  </a:lnTo>
                  <a:lnTo>
                    <a:pt x="62439" y="88439"/>
                  </a:lnTo>
                  <a:lnTo>
                    <a:pt x="62113" y="88439"/>
                  </a:lnTo>
                  <a:lnTo>
                    <a:pt x="61626" y="88439"/>
                  </a:lnTo>
                  <a:lnTo>
                    <a:pt x="60975" y="89653"/>
                  </a:lnTo>
                  <a:lnTo>
                    <a:pt x="61300" y="89653"/>
                  </a:lnTo>
                  <a:lnTo>
                    <a:pt x="61300" y="89653"/>
                  </a:lnTo>
                  <a:lnTo>
                    <a:pt x="61626" y="89653"/>
                  </a:lnTo>
                  <a:lnTo>
                    <a:pt x="62113" y="89306"/>
                  </a:lnTo>
                  <a:lnTo>
                    <a:pt x="62764" y="89306"/>
                  </a:lnTo>
                  <a:lnTo>
                    <a:pt x="62764" y="89306"/>
                  </a:lnTo>
                  <a:lnTo>
                    <a:pt x="63252" y="89306"/>
                  </a:lnTo>
                  <a:lnTo>
                    <a:pt x="64390" y="87745"/>
                  </a:lnTo>
                  <a:lnTo>
                    <a:pt x="65203" y="86878"/>
                  </a:lnTo>
                  <a:lnTo>
                    <a:pt x="65528" y="86531"/>
                  </a:lnTo>
                  <a:lnTo>
                    <a:pt x="65528" y="86011"/>
                  </a:lnTo>
                  <a:lnTo>
                    <a:pt x="65853" y="85664"/>
                  </a:lnTo>
                  <a:lnTo>
                    <a:pt x="65853" y="86011"/>
                  </a:lnTo>
                  <a:lnTo>
                    <a:pt x="65853" y="86531"/>
                  </a:lnTo>
                  <a:lnTo>
                    <a:pt x="66341" y="87225"/>
                  </a:lnTo>
                  <a:lnTo>
                    <a:pt x="66341" y="87745"/>
                  </a:lnTo>
                  <a:lnTo>
                    <a:pt x="65853" y="88959"/>
                  </a:lnTo>
                  <a:lnTo>
                    <a:pt x="65203" y="89653"/>
                  </a:lnTo>
                  <a:lnTo>
                    <a:pt x="64715" y="90173"/>
                  </a:lnTo>
                  <a:lnTo>
                    <a:pt x="64390" y="90520"/>
                  </a:lnTo>
                  <a:lnTo>
                    <a:pt x="63902" y="91040"/>
                  </a:lnTo>
                  <a:lnTo>
                    <a:pt x="64715" y="91040"/>
                  </a:lnTo>
                  <a:lnTo>
                    <a:pt x="65203" y="91040"/>
                  </a:lnTo>
                  <a:lnTo>
                    <a:pt x="65528" y="91040"/>
                  </a:lnTo>
                  <a:lnTo>
                    <a:pt x="65853" y="90520"/>
                  </a:lnTo>
                  <a:lnTo>
                    <a:pt x="66341" y="90520"/>
                  </a:lnTo>
                  <a:lnTo>
                    <a:pt x="66341" y="90520"/>
                  </a:lnTo>
                  <a:lnTo>
                    <a:pt x="66666" y="90520"/>
                  </a:lnTo>
                  <a:lnTo>
                    <a:pt x="66991" y="90173"/>
                  </a:lnTo>
                  <a:lnTo>
                    <a:pt x="67479" y="90173"/>
                  </a:lnTo>
                  <a:lnTo>
                    <a:pt x="67479" y="90173"/>
                  </a:lnTo>
                  <a:lnTo>
                    <a:pt x="67479" y="90173"/>
                  </a:lnTo>
                  <a:lnTo>
                    <a:pt x="67479" y="90173"/>
                  </a:lnTo>
                  <a:lnTo>
                    <a:pt x="67479" y="90520"/>
                  </a:lnTo>
                  <a:lnTo>
                    <a:pt x="66991" y="91040"/>
                  </a:lnTo>
                  <a:lnTo>
                    <a:pt x="66991" y="91040"/>
                  </a:lnTo>
                  <a:lnTo>
                    <a:pt x="66991" y="90520"/>
                  </a:lnTo>
                  <a:lnTo>
                    <a:pt x="66666" y="90520"/>
                  </a:lnTo>
                  <a:lnTo>
                    <a:pt x="66666" y="91040"/>
                  </a:lnTo>
                  <a:lnTo>
                    <a:pt x="66341" y="91040"/>
                  </a:lnTo>
                  <a:lnTo>
                    <a:pt x="66341" y="91040"/>
                  </a:lnTo>
                  <a:lnTo>
                    <a:pt x="66341" y="91387"/>
                  </a:lnTo>
                  <a:lnTo>
                    <a:pt x="66666" y="91734"/>
                  </a:lnTo>
                  <a:lnTo>
                    <a:pt x="66991" y="92601"/>
                  </a:lnTo>
                  <a:lnTo>
                    <a:pt x="66991" y="92601"/>
                  </a:lnTo>
                  <a:lnTo>
                    <a:pt x="67479" y="93815"/>
                  </a:lnTo>
                  <a:lnTo>
                    <a:pt x="66991" y="95028"/>
                  </a:lnTo>
                  <a:lnTo>
                    <a:pt x="66991" y="95028"/>
                  </a:lnTo>
                  <a:lnTo>
                    <a:pt x="66666" y="95895"/>
                  </a:lnTo>
                  <a:lnTo>
                    <a:pt x="66341" y="96242"/>
                  </a:lnTo>
                  <a:lnTo>
                    <a:pt x="66341" y="96763"/>
                  </a:lnTo>
                  <a:lnTo>
                    <a:pt x="65853" y="97109"/>
                  </a:lnTo>
                  <a:lnTo>
                    <a:pt x="66341" y="97456"/>
                  </a:lnTo>
                  <a:lnTo>
                    <a:pt x="66666" y="98843"/>
                  </a:lnTo>
                  <a:lnTo>
                    <a:pt x="66666" y="99537"/>
                  </a:lnTo>
                  <a:lnTo>
                    <a:pt x="66991" y="100057"/>
                  </a:lnTo>
                  <a:lnTo>
                    <a:pt x="68130" y="100057"/>
                  </a:lnTo>
                  <a:lnTo>
                    <a:pt x="68617" y="100404"/>
                  </a:lnTo>
                  <a:lnTo>
                    <a:pt x="68943" y="101271"/>
                  </a:lnTo>
                  <a:lnTo>
                    <a:pt x="68943" y="101271"/>
                  </a:lnTo>
                  <a:lnTo>
                    <a:pt x="69268" y="101271"/>
                  </a:lnTo>
                  <a:lnTo>
                    <a:pt x="69756" y="100751"/>
                  </a:lnTo>
                  <a:lnTo>
                    <a:pt x="70569" y="100751"/>
                  </a:lnTo>
                  <a:lnTo>
                    <a:pt x="70894" y="101271"/>
                  </a:lnTo>
                  <a:lnTo>
                    <a:pt x="71219" y="101271"/>
                  </a:lnTo>
                  <a:lnTo>
                    <a:pt x="71707" y="101271"/>
                  </a:lnTo>
                  <a:lnTo>
                    <a:pt x="72032" y="101618"/>
                  </a:lnTo>
                  <a:lnTo>
                    <a:pt x="72357" y="101965"/>
                  </a:lnTo>
                  <a:lnTo>
                    <a:pt x="72845" y="102485"/>
                  </a:lnTo>
                  <a:lnTo>
                    <a:pt x="73170" y="102485"/>
                  </a:lnTo>
                  <a:lnTo>
                    <a:pt x="73495" y="102832"/>
                  </a:lnTo>
                  <a:lnTo>
                    <a:pt x="73983" y="102832"/>
                  </a:lnTo>
                  <a:lnTo>
                    <a:pt x="74308" y="102832"/>
                  </a:lnTo>
                  <a:lnTo>
                    <a:pt x="75121" y="102485"/>
                  </a:lnTo>
                  <a:lnTo>
                    <a:pt x="76260" y="101618"/>
                  </a:lnTo>
                  <a:lnTo>
                    <a:pt x="77073" y="101271"/>
                  </a:lnTo>
                  <a:lnTo>
                    <a:pt x="77398" y="101271"/>
                  </a:lnTo>
                  <a:lnTo>
                    <a:pt x="77723" y="100751"/>
                  </a:lnTo>
                  <a:lnTo>
                    <a:pt x="78211" y="100751"/>
                  </a:lnTo>
                  <a:lnTo>
                    <a:pt x="78211" y="100404"/>
                  </a:lnTo>
                  <a:lnTo>
                    <a:pt x="77723" y="100404"/>
                  </a:lnTo>
                  <a:lnTo>
                    <a:pt x="77398" y="100404"/>
                  </a:lnTo>
                  <a:lnTo>
                    <a:pt x="77723" y="100404"/>
                  </a:lnTo>
                  <a:lnTo>
                    <a:pt x="78211" y="100057"/>
                  </a:lnTo>
                  <a:lnTo>
                    <a:pt x="79349" y="99537"/>
                  </a:lnTo>
                  <a:lnTo>
                    <a:pt x="79674" y="99537"/>
                  </a:lnTo>
                  <a:lnTo>
                    <a:pt x="79674" y="100057"/>
                  </a:lnTo>
                  <a:lnTo>
                    <a:pt x="79674" y="100404"/>
                  </a:lnTo>
                  <a:lnTo>
                    <a:pt x="79349" y="100751"/>
                  </a:lnTo>
                  <a:lnTo>
                    <a:pt x="78861" y="100751"/>
                  </a:lnTo>
                  <a:lnTo>
                    <a:pt x="78536" y="101271"/>
                  </a:lnTo>
                  <a:lnTo>
                    <a:pt x="78211" y="101271"/>
                  </a:lnTo>
                  <a:lnTo>
                    <a:pt x="78211" y="101271"/>
                  </a:lnTo>
                  <a:lnTo>
                    <a:pt x="78211" y="101618"/>
                  </a:lnTo>
                  <a:lnTo>
                    <a:pt x="78536" y="101618"/>
                  </a:lnTo>
                  <a:lnTo>
                    <a:pt x="79349" y="101271"/>
                  </a:lnTo>
                  <a:lnTo>
                    <a:pt x="79674" y="100751"/>
                  </a:lnTo>
                  <a:lnTo>
                    <a:pt x="79674" y="100751"/>
                  </a:lnTo>
                  <a:lnTo>
                    <a:pt x="80000" y="100751"/>
                  </a:lnTo>
                  <a:lnTo>
                    <a:pt x="80487" y="100751"/>
                  </a:lnTo>
                  <a:lnTo>
                    <a:pt x="80487" y="101271"/>
                  </a:lnTo>
                  <a:lnTo>
                    <a:pt x="80487" y="101271"/>
                  </a:lnTo>
                  <a:lnTo>
                    <a:pt x="80000" y="101618"/>
                  </a:lnTo>
                  <a:lnTo>
                    <a:pt x="79674" y="101618"/>
                  </a:lnTo>
                  <a:lnTo>
                    <a:pt x="79674" y="101965"/>
                  </a:lnTo>
                  <a:lnTo>
                    <a:pt x="80000" y="101965"/>
                  </a:lnTo>
                  <a:lnTo>
                    <a:pt x="80000" y="102485"/>
                  </a:lnTo>
                  <a:lnTo>
                    <a:pt x="80000" y="102485"/>
                  </a:lnTo>
                  <a:lnTo>
                    <a:pt x="80487" y="102485"/>
                  </a:lnTo>
                  <a:lnTo>
                    <a:pt x="80487" y="102832"/>
                  </a:lnTo>
                  <a:lnTo>
                    <a:pt x="80487" y="103352"/>
                  </a:lnTo>
                  <a:lnTo>
                    <a:pt x="80813" y="103352"/>
                  </a:lnTo>
                  <a:lnTo>
                    <a:pt x="80813" y="102832"/>
                  </a:lnTo>
                  <a:lnTo>
                    <a:pt x="81138" y="103352"/>
                  </a:lnTo>
                  <a:lnTo>
                    <a:pt x="81138" y="103352"/>
                  </a:lnTo>
                  <a:lnTo>
                    <a:pt x="81138" y="103699"/>
                  </a:lnTo>
                  <a:lnTo>
                    <a:pt x="81138" y="104046"/>
                  </a:lnTo>
                  <a:lnTo>
                    <a:pt x="81138" y="104046"/>
                  </a:lnTo>
                  <a:lnTo>
                    <a:pt x="81626" y="104046"/>
                  </a:lnTo>
                  <a:lnTo>
                    <a:pt x="81626" y="103699"/>
                  </a:lnTo>
                  <a:lnTo>
                    <a:pt x="81951" y="103699"/>
                  </a:lnTo>
                  <a:lnTo>
                    <a:pt x="81951" y="102832"/>
                  </a:lnTo>
                  <a:lnTo>
                    <a:pt x="81951" y="102832"/>
                  </a:lnTo>
                  <a:lnTo>
                    <a:pt x="81626" y="103352"/>
                  </a:lnTo>
                  <a:lnTo>
                    <a:pt x="81626" y="102832"/>
                  </a:lnTo>
                  <a:lnTo>
                    <a:pt x="81626" y="102832"/>
                  </a:lnTo>
                  <a:lnTo>
                    <a:pt x="81626" y="102485"/>
                  </a:lnTo>
                  <a:lnTo>
                    <a:pt x="81951" y="102485"/>
                  </a:lnTo>
                  <a:lnTo>
                    <a:pt x="81951" y="102485"/>
                  </a:lnTo>
                  <a:lnTo>
                    <a:pt x="82439" y="102485"/>
                  </a:lnTo>
                  <a:lnTo>
                    <a:pt x="83577" y="102485"/>
                  </a:lnTo>
                  <a:lnTo>
                    <a:pt x="85853" y="100751"/>
                  </a:lnTo>
                  <a:lnTo>
                    <a:pt x="86504" y="100057"/>
                  </a:lnTo>
                  <a:lnTo>
                    <a:pt x="87804" y="99537"/>
                  </a:lnTo>
                  <a:lnTo>
                    <a:pt x="88455" y="99190"/>
                  </a:lnTo>
                  <a:lnTo>
                    <a:pt x="88943" y="99190"/>
                  </a:lnTo>
                  <a:lnTo>
                    <a:pt x="90731" y="99190"/>
                  </a:lnTo>
                  <a:lnTo>
                    <a:pt x="91869" y="99190"/>
                  </a:lnTo>
                  <a:lnTo>
                    <a:pt x="92357" y="99190"/>
                  </a:lnTo>
                  <a:lnTo>
                    <a:pt x="92682" y="98843"/>
                  </a:lnTo>
                  <a:lnTo>
                    <a:pt x="93495" y="98323"/>
                  </a:lnTo>
                  <a:lnTo>
                    <a:pt x="93821" y="98323"/>
                  </a:lnTo>
                  <a:lnTo>
                    <a:pt x="94308" y="97976"/>
                  </a:lnTo>
                  <a:lnTo>
                    <a:pt x="94308" y="97976"/>
                  </a:lnTo>
                  <a:lnTo>
                    <a:pt x="94634" y="97456"/>
                  </a:lnTo>
                  <a:lnTo>
                    <a:pt x="94634" y="97109"/>
                  </a:lnTo>
                  <a:lnTo>
                    <a:pt x="94959" y="96242"/>
                  </a:lnTo>
                  <a:lnTo>
                    <a:pt x="95447" y="95549"/>
                  </a:lnTo>
                  <a:lnTo>
                    <a:pt x="95772" y="95028"/>
                  </a:lnTo>
                  <a:lnTo>
                    <a:pt x="96097" y="94682"/>
                  </a:lnTo>
                  <a:lnTo>
                    <a:pt x="96585" y="93815"/>
                  </a:lnTo>
                  <a:lnTo>
                    <a:pt x="97235" y="92947"/>
                  </a:lnTo>
                  <a:lnTo>
                    <a:pt x="97235" y="92254"/>
                  </a:lnTo>
                  <a:lnTo>
                    <a:pt x="97723" y="91734"/>
                  </a:lnTo>
                  <a:lnTo>
                    <a:pt x="98536" y="91387"/>
                  </a:lnTo>
                  <a:lnTo>
                    <a:pt x="98861" y="91040"/>
                  </a:lnTo>
                  <a:lnTo>
                    <a:pt x="100000" y="89306"/>
                  </a:lnTo>
                  <a:lnTo>
                    <a:pt x="100000" y="89306"/>
                  </a:lnTo>
                  <a:lnTo>
                    <a:pt x="100325" y="89306"/>
                  </a:lnTo>
                  <a:lnTo>
                    <a:pt x="100325" y="89306"/>
                  </a:lnTo>
                  <a:lnTo>
                    <a:pt x="100325" y="89306"/>
                  </a:lnTo>
                  <a:lnTo>
                    <a:pt x="100325" y="89306"/>
                  </a:lnTo>
                  <a:lnTo>
                    <a:pt x="100325" y="88959"/>
                  </a:lnTo>
                  <a:lnTo>
                    <a:pt x="100325" y="88959"/>
                  </a:lnTo>
                  <a:lnTo>
                    <a:pt x="100813" y="88959"/>
                  </a:lnTo>
                  <a:lnTo>
                    <a:pt x="100813" y="88959"/>
                  </a:lnTo>
                  <a:lnTo>
                    <a:pt x="100813" y="88959"/>
                  </a:lnTo>
                  <a:lnTo>
                    <a:pt x="100813" y="88439"/>
                  </a:lnTo>
                  <a:lnTo>
                    <a:pt x="101138" y="88439"/>
                  </a:lnTo>
                  <a:lnTo>
                    <a:pt x="101463" y="87745"/>
                  </a:lnTo>
                  <a:lnTo>
                    <a:pt x="101951" y="86878"/>
                  </a:lnTo>
                  <a:lnTo>
                    <a:pt x="102276" y="86531"/>
                  </a:lnTo>
                  <a:lnTo>
                    <a:pt x="102601" y="86011"/>
                  </a:lnTo>
                  <a:lnTo>
                    <a:pt x="103089" y="85664"/>
                  </a:lnTo>
                  <a:lnTo>
                    <a:pt x="103902" y="85144"/>
                  </a:lnTo>
                  <a:lnTo>
                    <a:pt x="103414" y="85144"/>
                  </a:lnTo>
                  <a:lnTo>
                    <a:pt x="103414" y="85144"/>
                  </a:lnTo>
                  <a:lnTo>
                    <a:pt x="103414" y="84797"/>
                  </a:lnTo>
                  <a:lnTo>
                    <a:pt x="103902" y="84797"/>
                  </a:lnTo>
                  <a:lnTo>
                    <a:pt x="103902" y="84797"/>
                  </a:lnTo>
                  <a:lnTo>
                    <a:pt x="103902" y="84797"/>
                  </a:lnTo>
                  <a:lnTo>
                    <a:pt x="104227" y="84450"/>
                  </a:lnTo>
                  <a:lnTo>
                    <a:pt x="104552" y="83930"/>
                  </a:lnTo>
                  <a:lnTo>
                    <a:pt x="104552" y="83583"/>
                  </a:lnTo>
                  <a:lnTo>
                    <a:pt x="105040" y="83236"/>
                  </a:lnTo>
                  <a:lnTo>
                    <a:pt x="105040" y="83236"/>
                  </a:lnTo>
                  <a:lnTo>
                    <a:pt x="105365" y="82716"/>
                  </a:lnTo>
                  <a:lnTo>
                    <a:pt x="105365" y="82716"/>
                  </a:lnTo>
                  <a:lnTo>
                    <a:pt x="105691" y="82369"/>
                  </a:lnTo>
                  <a:lnTo>
                    <a:pt x="106178" y="82023"/>
                  </a:lnTo>
                  <a:lnTo>
                    <a:pt x="106504" y="81502"/>
                  </a:lnTo>
                  <a:lnTo>
                    <a:pt x="107317" y="81156"/>
                  </a:lnTo>
                  <a:lnTo>
                    <a:pt x="107642" y="80635"/>
                  </a:lnTo>
                  <a:lnTo>
                    <a:pt x="108455" y="80289"/>
                  </a:lnTo>
                  <a:lnTo>
                    <a:pt x="108455" y="80289"/>
                  </a:lnTo>
                  <a:lnTo>
                    <a:pt x="108455" y="80289"/>
                  </a:lnTo>
                  <a:lnTo>
                    <a:pt x="108455" y="80289"/>
                  </a:lnTo>
                  <a:lnTo>
                    <a:pt x="108455" y="80289"/>
                  </a:lnTo>
                  <a:lnTo>
                    <a:pt x="108780" y="79942"/>
                  </a:lnTo>
                  <a:lnTo>
                    <a:pt x="109268" y="79942"/>
                  </a:lnTo>
                  <a:lnTo>
                    <a:pt x="109593" y="79421"/>
                  </a:lnTo>
                  <a:lnTo>
                    <a:pt x="109918" y="79075"/>
                  </a:lnTo>
                  <a:lnTo>
                    <a:pt x="110406" y="78728"/>
                  </a:lnTo>
                  <a:lnTo>
                    <a:pt x="110406" y="77861"/>
                  </a:lnTo>
                  <a:lnTo>
                    <a:pt x="111544" y="76994"/>
                  </a:lnTo>
                  <a:lnTo>
                    <a:pt x="112682" y="75780"/>
                  </a:lnTo>
                  <a:lnTo>
                    <a:pt x="113008" y="74913"/>
                  </a:lnTo>
                  <a:lnTo>
                    <a:pt x="113008" y="74566"/>
                  </a:lnTo>
                  <a:lnTo>
                    <a:pt x="113333" y="73699"/>
                  </a:lnTo>
                  <a:lnTo>
                    <a:pt x="113821" y="73005"/>
                  </a:lnTo>
                  <a:lnTo>
                    <a:pt x="113821" y="72485"/>
                  </a:lnTo>
                  <a:lnTo>
                    <a:pt x="114959" y="70924"/>
                  </a:lnTo>
                  <a:lnTo>
                    <a:pt x="115284" y="70404"/>
                  </a:lnTo>
                  <a:lnTo>
                    <a:pt x="115772" y="70057"/>
                  </a:lnTo>
                  <a:lnTo>
                    <a:pt x="116097" y="68497"/>
                  </a:lnTo>
                  <a:lnTo>
                    <a:pt x="116422" y="67976"/>
                  </a:lnTo>
                  <a:lnTo>
                    <a:pt x="117235" y="66763"/>
                  </a:lnTo>
                  <a:lnTo>
                    <a:pt x="118048" y="66416"/>
                  </a:lnTo>
                  <a:lnTo>
                    <a:pt x="118048" y="65549"/>
                  </a:lnTo>
                  <a:lnTo>
                    <a:pt x="118048" y="65202"/>
                  </a:lnTo>
                  <a:lnTo>
                    <a:pt x="118373" y="63988"/>
                  </a:lnTo>
                  <a:lnTo>
                    <a:pt x="118373" y="63121"/>
                  </a:lnTo>
                  <a:lnTo>
                    <a:pt x="118373" y="62601"/>
                  </a:lnTo>
                  <a:lnTo>
                    <a:pt x="118373" y="62254"/>
                  </a:lnTo>
                  <a:lnTo>
                    <a:pt x="118373" y="61040"/>
                  </a:lnTo>
                  <a:lnTo>
                    <a:pt x="118373" y="60173"/>
                  </a:lnTo>
                  <a:lnTo>
                    <a:pt x="118699" y="59479"/>
                  </a:lnTo>
                  <a:lnTo>
                    <a:pt x="119186" y="56878"/>
                  </a:lnTo>
                  <a:lnTo>
                    <a:pt x="120000" y="55664"/>
                  </a:lnTo>
                  <a:lnTo>
                    <a:pt x="119512" y="55317"/>
                  </a:lnTo>
                  <a:lnTo>
                    <a:pt x="119512" y="55317"/>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38" name="Shape 538"/>
            <p:cNvSpPr/>
            <p:nvPr/>
          </p:nvSpPr>
          <p:spPr>
            <a:xfrm>
              <a:off x="4409" y="1938"/>
              <a:ext cx="0" cy="0"/>
            </a:xfrm>
            <a:custGeom>
              <a:avLst/>
              <a:gdLst/>
              <a:ahLst/>
              <a:cxnLst/>
              <a:rect l="0" t="0" r="0" b="0"/>
              <a:pathLst>
                <a:path w="120000" h="120000" extrusionOk="0">
                  <a:moveTo>
                    <a:pt x="77288" y="28085"/>
                  </a:moveTo>
                  <a:lnTo>
                    <a:pt x="77288" y="28085"/>
                  </a:lnTo>
                  <a:lnTo>
                    <a:pt x="77288" y="35744"/>
                  </a:lnTo>
                  <a:lnTo>
                    <a:pt x="77288" y="35744"/>
                  </a:lnTo>
                  <a:lnTo>
                    <a:pt x="77288" y="35744"/>
                  </a:lnTo>
                  <a:lnTo>
                    <a:pt x="77288" y="28085"/>
                  </a:lnTo>
                  <a:lnTo>
                    <a:pt x="77288" y="28085"/>
                  </a:lnTo>
                  <a:lnTo>
                    <a:pt x="77288" y="28085"/>
                  </a:lnTo>
                  <a:close/>
                  <a:moveTo>
                    <a:pt x="120000" y="102127"/>
                  </a:moveTo>
                  <a:lnTo>
                    <a:pt x="120000" y="102127"/>
                  </a:lnTo>
                  <a:lnTo>
                    <a:pt x="120000" y="102127"/>
                  </a:lnTo>
                  <a:lnTo>
                    <a:pt x="120000" y="102127"/>
                  </a:lnTo>
                  <a:lnTo>
                    <a:pt x="115932" y="94468"/>
                  </a:lnTo>
                  <a:lnTo>
                    <a:pt x="115932" y="94468"/>
                  </a:lnTo>
                  <a:lnTo>
                    <a:pt x="115932" y="94468"/>
                  </a:lnTo>
                  <a:lnTo>
                    <a:pt x="115932" y="94468"/>
                  </a:lnTo>
                  <a:lnTo>
                    <a:pt x="115932" y="89361"/>
                  </a:lnTo>
                  <a:lnTo>
                    <a:pt x="115932" y="89361"/>
                  </a:lnTo>
                  <a:lnTo>
                    <a:pt x="115932" y="89361"/>
                  </a:lnTo>
                  <a:lnTo>
                    <a:pt x="115932" y="84255"/>
                  </a:lnTo>
                  <a:lnTo>
                    <a:pt x="111864" y="84255"/>
                  </a:lnTo>
                  <a:lnTo>
                    <a:pt x="105762" y="84255"/>
                  </a:lnTo>
                  <a:lnTo>
                    <a:pt x="101694" y="76595"/>
                  </a:lnTo>
                  <a:lnTo>
                    <a:pt x="101694" y="76595"/>
                  </a:lnTo>
                  <a:lnTo>
                    <a:pt x="97627" y="71489"/>
                  </a:lnTo>
                  <a:lnTo>
                    <a:pt x="91525" y="71489"/>
                  </a:lnTo>
                  <a:lnTo>
                    <a:pt x="91525" y="66382"/>
                  </a:lnTo>
                  <a:lnTo>
                    <a:pt x="87457" y="66382"/>
                  </a:lnTo>
                  <a:lnTo>
                    <a:pt x="83389" y="66382"/>
                  </a:lnTo>
                  <a:lnTo>
                    <a:pt x="83389" y="66382"/>
                  </a:lnTo>
                  <a:lnTo>
                    <a:pt x="83389" y="66382"/>
                  </a:lnTo>
                  <a:lnTo>
                    <a:pt x="83389" y="66382"/>
                  </a:lnTo>
                  <a:lnTo>
                    <a:pt x="83389" y="58723"/>
                  </a:lnTo>
                  <a:lnTo>
                    <a:pt x="83389" y="66382"/>
                  </a:lnTo>
                  <a:lnTo>
                    <a:pt x="87457" y="66382"/>
                  </a:lnTo>
                  <a:lnTo>
                    <a:pt x="87457" y="66382"/>
                  </a:lnTo>
                  <a:lnTo>
                    <a:pt x="91525" y="66382"/>
                  </a:lnTo>
                  <a:lnTo>
                    <a:pt x="91525" y="66382"/>
                  </a:lnTo>
                  <a:lnTo>
                    <a:pt x="91525" y="66382"/>
                  </a:lnTo>
                  <a:lnTo>
                    <a:pt x="97627" y="58723"/>
                  </a:lnTo>
                  <a:lnTo>
                    <a:pt x="97627" y="53617"/>
                  </a:lnTo>
                  <a:lnTo>
                    <a:pt x="97627" y="53617"/>
                  </a:lnTo>
                  <a:lnTo>
                    <a:pt x="87457" y="45957"/>
                  </a:lnTo>
                  <a:lnTo>
                    <a:pt x="83389" y="40851"/>
                  </a:lnTo>
                  <a:lnTo>
                    <a:pt x="77288" y="35744"/>
                  </a:lnTo>
                  <a:lnTo>
                    <a:pt x="73220" y="28085"/>
                  </a:lnTo>
                  <a:lnTo>
                    <a:pt x="73220" y="28085"/>
                  </a:lnTo>
                  <a:lnTo>
                    <a:pt x="73220" y="28085"/>
                  </a:lnTo>
                  <a:lnTo>
                    <a:pt x="77288" y="22978"/>
                  </a:lnTo>
                  <a:lnTo>
                    <a:pt x="77288" y="22978"/>
                  </a:lnTo>
                  <a:lnTo>
                    <a:pt x="77288" y="22978"/>
                  </a:lnTo>
                  <a:lnTo>
                    <a:pt x="77288" y="17872"/>
                  </a:lnTo>
                  <a:lnTo>
                    <a:pt x="73220" y="17872"/>
                  </a:lnTo>
                  <a:lnTo>
                    <a:pt x="73220" y="10212"/>
                  </a:lnTo>
                  <a:lnTo>
                    <a:pt x="67118" y="10212"/>
                  </a:lnTo>
                  <a:lnTo>
                    <a:pt x="67118" y="10212"/>
                  </a:lnTo>
                  <a:lnTo>
                    <a:pt x="58983" y="10212"/>
                  </a:lnTo>
                  <a:lnTo>
                    <a:pt x="58983" y="10212"/>
                  </a:lnTo>
                  <a:lnTo>
                    <a:pt x="58983" y="5106"/>
                  </a:lnTo>
                  <a:lnTo>
                    <a:pt x="58983" y="5106"/>
                  </a:lnTo>
                  <a:lnTo>
                    <a:pt x="63050" y="5106"/>
                  </a:lnTo>
                  <a:lnTo>
                    <a:pt x="63050" y="5106"/>
                  </a:lnTo>
                  <a:lnTo>
                    <a:pt x="63050" y="5106"/>
                  </a:lnTo>
                  <a:lnTo>
                    <a:pt x="58983" y="5106"/>
                  </a:lnTo>
                  <a:lnTo>
                    <a:pt x="52881" y="0"/>
                  </a:lnTo>
                  <a:lnTo>
                    <a:pt x="52881" y="0"/>
                  </a:lnTo>
                  <a:lnTo>
                    <a:pt x="52881" y="0"/>
                  </a:lnTo>
                  <a:lnTo>
                    <a:pt x="48813" y="0"/>
                  </a:lnTo>
                  <a:lnTo>
                    <a:pt x="48813" y="0"/>
                  </a:lnTo>
                  <a:lnTo>
                    <a:pt x="48813" y="0"/>
                  </a:lnTo>
                  <a:lnTo>
                    <a:pt x="48813" y="0"/>
                  </a:lnTo>
                  <a:lnTo>
                    <a:pt x="38644" y="0"/>
                  </a:lnTo>
                  <a:lnTo>
                    <a:pt x="38644" y="5106"/>
                  </a:lnTo>
                  <a:lnTo>
                    <a:pt x="30508" y="0"/>
                  </a:lnTo>
                  <a:lnTo>
                    <a:pt x="24406" y="0"/>
                  </a:lnTo>
                  <a:lnTo>
                    <a:pt x="24406" y="5106"/>
                  </a:lnTo>
                  <a:lnTo>
                    <a:pt x="20338" y="5106"/>
                  </a:lnTo>
                  <a:lnTo>
                    <a:pt x="16271" y="5106"/>
                  </a:lnTo>
                  <a:lnTo>
                    <a:pt x="10169" y="5106"/>
                  </a:lnTo>
                  <a:lnTo>
                    <a:pt x="6101" y="5106"/>
                  </a:lnTo>
                  <a:lnTo>
                    <a:pt x="0" y="5106"/>
                  </a:lnTo>
                  <a:lnTo>
                    <a:pt x="0" y="10212"/>
                  </a:lnTo>
                  <a:lnTo>
                    <a:pt x="6101" y="10212"/>
                  </a:lnTo>
                  <a:lnTo>
                    <a:pt x="6101" y="17872"/>
                  </a:lnTo>
                  <a:lnTo>
                    <a:pt x="10169" y="17872"/>
                  </a:lnTo>
                  <a:lnTo>
                    <a:pt x="10169" y="22978"/>
                  </a:lnTo>
                  <a:lnTo>
                    <a:pt x="16271" y="28085"/>
                  </a:lnTo>
                  <a:lnTo>
                    <a:pt x="16271" y="28085"/>
                  </a:lnTo>
                  <a:lnTo>
                    <a:pt x="16271" y="35744"/>
                  </a:lnTo>
                  <a:lnTo>
                    <a:pt x="10169" y="40851"/>
                  </a:lnTo>
                  <a:lnTo>
                    <a:pt x="10169" y="40851"/>
                  </a:lnTo>
                  <a:lnTo>
                    <a:pt x="10169" y="45957"/>
                  </a:lnTo>
                  <a:lnTo>
                    <a:pt x="10169" y="45957"/>
                  </a:lnTo>
                  <a:lnTo>
                    <a:pt x="16271" y="53617"/>
                  </a:lnTo>
                  <a:lnTo>
                    <a:pt x="16271" y="58723"/>
                  </a:lnTo>
                  <a:lnTo>
                    <a:pt x="16271" y="58723"/>
                  </a:lnTo>
                  <a:lnTo>
                    <a:pt x="16271" y="58723"/>
                  </a:lnTo>
                  <a:lnTo>
                    <a:pt x="20338" y="58723"/>
                  </a:lnTo>
                  <a:lnTo>
                    <a:pt x="24406" y="66382"/>
                  </a:lnTo>
                  <a:lnTo>
                    <a:pt x="30508" y="66382"/>
                  </a:lnTo>
                  <a:lnTo>
                    <a:pt x="34576" y="66382"/>
                  </a:lnTo>
                  <a:lnTo>
                    <a:pt x="38644" y="66382"/>
                  </a:lnTo>
                  <a:lnTo>
                    <a:pt x="44745" y="58723"/>
                  </a:lnTo>
                  <a:lnTo>
                    <a:pt x="48813" y="66382"/>
                  </a:lnTo>
                  <a:lnTo>
                    <a:pt x="52881" y="76595"/>
                  </a:lnTo>
                  <a:lnTo>
                    <a:pt x="58983" y="76595"/>
                  </a:lnTo>
                  <a:lnTo>
                    <a:pt x="58983" y="76595"/>
                  </a:lnTo>
                  <a:lnTo>
                    <a:pt x="63050" y="71489"/>
                  </a:lnTo>
                  <a:lnTo>
                    <a:pt x="67118" y="76595"/>
                  </a:lnTo>
                  <a:lnTo>
                    <a:pt x="67118" y="76595"/>
                  </a:lnTo>
                  <a:lnTo>
                    <a:pt x="67118" y="76595"/>
                  </a:lnTo>
                  <a:lnTo>
                    <a:pt x="73220" y="84255"/>
                  </a:lnTo>
                  <a:lnTo>
                    <a:pt x="73220" y="84255"/>
                  </a:lnTo>
                  <a:lnTo>
                    <a:pt x="73220" y="84255"/>
                  </a:lnTo>
                  <a:lnTo>
                    <a:pt x="77288" y="84255"/>
                  </a:lnTo>
                  <a:lnTo>
                    <a:pt x="77288" y="89361"/>
                  </a:lnTo>
                  <a:lnTo>
                    <a:pt x="83389" y="89361"/>
                  </a:lnTo>
                  <a:lnTo>
                    <a:pt x="87457" y="84255"/>
                  </a:lnTo>
                  <a:lnTo>
                    <a:pt x="87457" y="84255"/>
                  </a:lnTo>
                  <a:lnTo>
                    <a:pt x="91525" y="84255"/>
                  </a:lnTo>
                  <a:lnTo>
                    <a:pt x="91525" y="84255"/>
                  </a:lnTo>
                  <a:lnTo>
                    <a:pt x="91525" y="89361"/>
                  </a:lnTo>
                  <a:lnTo>
                    <a:pt x="91525" y="94468"/>
                  </a:lnTo>
                  <a:lnTo>
                    <a:pt x="91525" y="94468"/>
                  </a:lnTo>
                  <a:lnTo>
                    <a:pt x="97627" y="94468"/>
                  </a:lnTo>
                  <a:lnTo>
                    <a:pt x="101694" y="102127"/>
                  </a:lnTo>
                  <a:lnTo>
                    <a:pt x="101694" y="102127"/>
                  </a:lnTo>
                  <a:lnTo>
                    <a:pt x="101694" y="107234"/>
                  </a:lnTo>
                  <a:lnTo>
                    <a:pt x="105762" y="112340"/>
                  </a:lnTo>
                  <a:lnTo>
                    <a:pt x="105762" y="120000"/>
                  </a:lnTo>
                  <a:lnTo>
                    <a:pt x="105762" y="120000"/>
                  </a:lnTo>
                  <a:lnTo>
                    <a:pt x="111864" y="120000"/>
                  </a:lnTo>
                  <a:lnTo>
                    <a:pt x="115932" y="120000"/>
                  </a:lnTo>
                  <a:lnTo>
                    <a:pt x="120000" y="120000"/>
                  </a:lnTo>
                  <a:lnTo>
                    <a:pt x="120000" y="112340"/>
                  </a:lnTo>
                  <a:lnTo>
                    <a:pt x="120000" y="112340"/>
                  </a:lnTo>
                  <a:lnTo>
                    <a:pt x="120000" y="107234"/>
                  </a:lnTo>
                  <a:lnTo>
                    <a:pt x="115932" y="107234"/>
                  </a:lnTo>
                  <a:lnTo>
                    <a:pt x="115932" y="107234"/>
                  </a:lnTo>
                  <a:lnTo>
                    <a:pt x="115932" y="102127"/>
                  </a:lnTo>
                  <a:lnTo>
                    <a:pt x="120000" y="102127"/>
                  </a:lnTo>
                  <a:close/>
                  <a:moveTo>
                    <a:pt x="58983" y="10212"/>
                  </a:moveTo>
                  <a:lnTo>
                    <a:pt x="58983" y="10212"/>
                  </a:lnTo>
                  <a:lnTo>
                    <a:pt x="52881" y="10212"/>
                  </a:lnTo>
                  <a:lnTo>
                    <a:pt x="52881" y="10212"/>
                  </a:lnTo>
                  <a:lnTo>
                    <a:pt x="52881" y="10212"/>
                  </a:lnTo>
                  <a:lnTo>
                    <a:pt x="52881" y="5106"/>
                  </a:lnTo>
                  <a:lnTo>
                    <a:pt x="58983" y="10212"/>
                  </a:lnTo>
                  <a:lnTo>
                    <a:pt x="58983" y="10212"/>
                  </a:lnTo>
                  <a:lnTo>
                    <a:pt x="58983" y="10212"/>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39" name="Shape 539"/>
            <p:cNvSpPr/>
            <p:nvPr/>
          </p:nvSpPr>
          <p:spPr>
            <a:xfrm>
              <a:off x="2409" y="3268"/>
              <a:ext cx="300" cy="600"/>
            </a:xfrm>
            <a:custGeom>
              <a:avLst/>
              <a:gdLst/>
              <a:ahLst/>
              <a:cxnLst/>
              <a:rect l="0" t="0" r="0" b="0"/>
              <a:pathLst>
                <a:path w="120000" h="120000" extrusionOk="0">
                  <a:moveTo>
                    <a:pt x="119999" y="118614"/>
                  </a:moveTo>
                  <a:lnTo>
                    <a:pt x="118736" y="118614"/>
                  </a:lnTo>
                  <a:lnTo>
                    <a:pt x="117894" y="118614"/>
                  </a:lnTo>
                  <a:lnTo>
                    <a:pt x="117894" y="118614"/>
                  </a:lnTo>
                  <a:lnTo>
                    <a:pt x="117894" y="118614"/>
                  </a:lnTo>
                  <a:lnTo>
                    <a:pt x="117052" y="118614"/>
                  </a:lnTo>
                  <a:lnTo>
                    <a:pt x="115789" y="118614"/>
                  </a:lnTo>
                  <a:lnTo>
                    <a:pt x="114947" y="118614"/>
                  </a:lnTo>
                  <a:lnTo>
                    <a:pt x="114947" y="118614"/>
                  </a:lnTo>
                  <a:lnTo>
                    <a:pt x="114947" y="119134"/>
                  </a:lnTo>
                  <a:lnTo>
                    <a:pt x="114105" y="119134"/>
                  </a:lnTo>
                  <a:lnTo>
                    <a:pt x="114105" y="119134"/>
                  </a:lnTo>
                  <a:lnTo>
                    <a:pt x="114105" y="119134"/>
                  </a:lnTo>
                  <a:lnTo>
                    <a:pt x="114947" y="119480"/>
                  </a:lnTo>
                  <a:lnTo>
                    <a:pt x="115789" y="119134"/>
                  </a:lnTo>
                  <a:lnTo>
                    <a:pt x="115789" y="119134"/>
                  </a:lnTo>
                  <a:lnTo>
                    <a:pt x="117052" y="119134"/>
                  </a:lnTo>
                  <a:lnTo>
                    <a:pt x="118736" y="119134"/>
                  </a:lnTo>
                  <a:lnTo>
                    <a:pt x="118736" y="119134"/>
                  </a:lnTo>
                  <a:lnTo>
                    <a:pt x="119999" y="118614"/>
                  </a:lnTo>
                  <a:lnTo>
                    <a:pt x="119999" y="118614"/>
                  </a:lnTo>
                  <a:close/>
                  <a:moveTo>
                    <a:pt x="109052" y="118268"/>
                  </a:moveTo>
                  <a:lnTo>
                    <a:pt x="106947" y="118268"/>
                  </a:lnTo>
                  <a:lnTo>
                    <a:pt x="104842" y="118268"/>
                  </a:lnTo>
                  <a:lnTo>
                    <a:pt x="103157" y="117922"/>
                  </a:lnTo>
                  <a:lnTo>
                    <a:pt x="101052" y="117922"/>
                  </a:lnTo>
                  <a:lnTo>
                    <a:pt x="98947" y="117402"/>
                  </a:lnTo>
                  <a:lnTo>
                    <a:pt x="96842" y="117056"/>
                  </a:lnTo>
                  <a:lnTo>
                    <a:pt x="96000" y="116709"/>
                  </a:lnTo>
                  <a:lnTo>
                    <a:pt x="93894" y="116190"/>
                  </a:lnTo>
                  <a:lnTo>
                    <a:pt x="92210" y="115844"/>
                  </a:lnTo>
                  <a:lnTo>
                    <a:pt x="90105" y="115497"/>
                  </a:lnTo>
                  <a:lnTo>
                    <a:pt x="89263" y="114978"/>
                  </a:lnTo>
                  <a:lnTo>
                    <a:pt x="88000" y="114978"/>
                  </a:lnTo>
                  <a:lnTo>
                    <a:pt x="87157" y="114632"/>
                  </a:lnTo>
                  <a:lnTo>
                    <a:pt x="85052" y="113766"/>
                  </a:lnTo>
                  <a:lnTo>
                    <a:pt x="85052" y="113766"/>
                  </a:lnTo>
                  <a:lnTo>
                    <a:pt x="83368" y="113766"/>
                  </a:lnTo>
                  <a:lnTo>
                    <a:pt x="83368" y="113766"/>
                  </a:lnTo>
                  <a:lnTo>
                    <a:pt x="82105" y="113419"/>
                  </a:lnTo>
                  <a:lnTo>
                    <a:pt x="82105" y="113419"/>
                  </a:lnTo>
                  <a:lnTo>
                    <a:pt x="82105" y="112900"/>
                  </a:lnTo>
                  <a:lnTo>
                    <a:pt x="82105" y="112900"/>
                  </a:lnTo>
                  <a:lnTo>
                    <a:pt x="83368" y="112900"/>
                  </a:lnTo>
                  <a:lnTo>
                    <a:pt x="84210" y="112900"/>
                  </a:lnTo>
                  <a:lnTo>
                    <a:pt x="83368" y="112554"/>
                  </a:lnTo>
                  <a:lnTo>
                    <a:pt x="82105" y="112554"/>
                  </a:lnTo>
                  <a:lnTo>
                    <a:pt x="80000" y="111688"/>
                  </a:lnTo>
                  <a:lnTo>
                    <a:pt x="79157" y="111688"/>
                  </a:lnTo>
                  <a:lnTo>
                    <a:pt x="80000" y="112554"/>
                  </a:lnTo>
                  <a:lnTo>
                    <a:pt x="82105" y="113766"/>
                  </a:lnTo>
                  <a:lnTo>
                    <a:pt x="83368" y="114632"/>
                  </a:lnTo>
                  <a:lnTo>
                    <a:pt x="84210" y="115497"/>
                  </a:lnTo>
                  <a:lnTo>
                    <a:pt x="85052" y="116190"/>
                  </a:lnTo>
                  <a:lnTo>
                    <a:pt x="86315" y="117402"/>
                  </a:lnTo>
                  <a:lnTo>
                    <a:pt x="87157" y="118268"/>
                  </a:lnTo>
                  <a:lnTo>
                    <a:pt x="88000" y="119134"/>
                  </a:lnTo>
                  <a:lnTo>
                    <a:pt x="89263" y="119134"/>
                  </a:lnTo>
                  <a:lnTo>
                    <a:pt x="89263" y="119134"/>
                  </a:lnTo>
                  <a:lnTo>
                    <a:pt x="90105" y="119134"/>
                  </a:lnTo>
                  <a:lnTo>
                    <a:pt x="90947" y="119134"/>
                  </a:lnTo>
                  <a:lnTo>
                    <a:pt x="93052" y="119134"/>
                  </a:lnTo>
                  <a:lnTo>
                    <a:pt x="93894" y="119134"/>
                  </a:lnTo>
                  <a:lnTo>
                    <a:pt x="98947" y="119480"/>
                  </a:lnTo>
                  <a:lnTo>
                    <a:pt x="100210" y="119480"/>
                  </a:lnTo>
                  <a:lnTo>
                    <a:pt x="101894" y="120000"/>
                  </a:lnTo>
                  <a:lnTo>
                    <a:pt x="103157" y="120000"/>
                  </a:lnTo>
                  <a:lnTo>
                    <a:pt x="104000" y="119480"/>
                  </a:lnTo>
                  <a:lnTo>
                    <a:pt x="104842" y="119480"/>
                  </a:lnTo>
                  <a:lnTo>
                    <a:pt x="104842" y="119480"/>
                  </a:lnTo>
                  <a:lnTo>
                    <a:pt x="106105" y="119480"/>
                  </a:lnTo>
                  <a:lnTo>
                    <a:pt x="106105" y="119480"/>
                  </a:lnTo>
                  <a:lnTo>
                    <a:pt x="106947" y="119480"/>
                  </a:lnTo>
                  <a:lnTo>
                    <a:pt x="107789" y="119480"/>
                  </a:lnTo>
                  <a:lnTo>
                    <a:pt x="109052" y="119480"/>
                  </a:lnTo>
                  <a:lnTo>
                    <a:pt x="109894" y="119480"/>
                  </a:lnTo>
                  <a:lnTo>
                    <a:pt x="109894" y="119134"/>
                  </a:lnTo>
                  <a:lnTo>
                    <a:pt x="110736" y="119134"/>
                  </a:lnTo>
                  <a:lnTo>
                    <a:pt x="110736" y="118614"/>
                  </a:lnTo>
                  <a:lnTo>
                    <a:pt x="109894" y="118268"/>
                  </a:lnTo>
                  <a:lnTo>
                    <a:pt x="109052" y="118268"/>
                  </a:lnTo>
                  <a:close/>
                  <a:moveTo>
                    <a:pt x="114105" y="54891"/>
                  </a:moveTo>
                  <a:lnTo>
                    <a:pt x="114105" y="54372"/>
                  </a:lnTo>
                  <a:lnTo>
                    <a:pt x="112842" y="53160"/>
                  </a:lnTo>
                  <a:lnTo>
                    <a:pt x="112842" y="53160"/>
                  </a:lnTo>
                  <a:lnTo>
                    <a:pt x="112842" y="53160"/>
                  </a:lnTo>
                  <a:lnTo>
                    <a:pt x="110736" y="53160"/>
                  </a:lnTo>
                  <a:lnTo>
                    <a:pt x="109894" y="52813"/>
                  </a:lnTo>
                  <a:lnTo>
                    <a:pt x="107789" y="52294"/>
                  </a:lnTo>
                  <a:lnTo>
                    <a:pt x="107789" y="51948"/>
                  </a:lnTo>
                  <a:lnTo>
                    <a:pt x="106947" y="51601"/>
                  </a:lnTo>
                  <a:lnTo>
                    <a:pt x="106947" y="50735"/>
                  </a:lnTo>
                  <a:lnTo>
                    <a:pt x="107789" y="49870"/>
                  </a:lnTo>
                  <a:lnTo>
                    <a:pt x="106947" y="49523"/>
                  </a:lnTo>
                  <a:lnTo>
                    <a:pt x="106105" y="48658"/>
                  </a:lnTo>
                  <a:lnTo>
                    <a:pt x="104000" y="48311"/>
                  </a:lnTo>
                  <a:lnTo>
                    <a:pt x="101894" y="47792"/>
                  </a:lnTo>
                  <a:lnTo>
                    <a:pt x="98105" y="47099"/>
                  </a:lnTo>
                  <a:lnTo>
                    <a:pt x="96000" y="46233"/>
                  </a:lnTo>
                  <a:lnTo>
                    <a:pt x="96000" y="46233"/>
                  </a:lnTo>
                  <a:lnTo>
                    <a:pt x="95157" y="45367"/>
                  </a:lnTo>
                  <a:lnTo>
                    <a:pt x="96000" y="45367"/>
                  </a:lnTo>
                  <a:lnTo>
                    <a:pt x="96000" y="45367"/>
                  </a:lnTo>
                  <a:lnTo>
                    <a:pt x="96000" y="45021"/>
                  </a:lnTo>
                  <a:lnTo>
                    <a:pt x="96000" y="44502"/>
                  </a:lnTo>
                  <a:lnTo>
                    <a:pt x="95157" y="44155"/>
                  </a:lnTo>
                  <a:lnTo>
                    <a:pt x="95157" y="44155"/>
                  </a:lnTo>
                  <a:lnTo>
                    <a:pt x="93894" y="43290"/>
                  </a:lnTo>
                  <a:lnTo>
                    <a:pt x="93894" y="43290"/>
                  </a:lnTo>
                  <a:lnTo>
                    <a:pt x="93894" y="41731"/>
                  </a:lnTo>
                  <a:lnTo>
                    <a:pt x="93894" y="41385"/>
                  </a:lnTo>
                  <a:lnTo>
                    <a:pt x="93894" y="40865"/>
                  </a:lnTo>
                  <a:lnTo>
                    <a:pt x="93894" y="40865"/>
                  </a:lnTo>
                  <a:lnTo>
                    <a:pt x="95157" y="40865"/>
                  </a:lnTo>
                  <a:lnTo>
                    <a:pt x="95157" y="40865"/>
                  </a:lnTo>
                  <a:lnTo>
                    <a:pt x="95157" y="40519"/>
                  </a:lnTo>
                  <a:lnTo>
                    <a:pt x="93894" y="39307"/>
                  </a:lnTo>
                  <a:lnTo>
                    <a:pt x="93894" y="38787"/>
                  </a:lnTo>
                  <a:lnTo>
                    <a:pt x="93894" y="38441"/>
                  </a:lnTo>
                  <a:lnTo>
                    <a:pt x="93894" y="38095"/>
                  </a:lnTo>
                  <a:lnTo>
                    <a:pt x="93894" y="37575"/>
                  </a:lnTo>
                  <a:lnTo>
                    <a:pt x="93894" y="37575"/>
                  </a:lnTo>
                  <a:lnTo>
                    <a:pt x="93894" y="37229"/>
                  </a:lnTo>
                  <a:lnTo>
                    <a:pt x="93052" y="37229"/>
                  </a:lnTo>
                  <a:lnTo>
                    <a:pt x="93052" y="36883"/>
                  </a:lnTo>
                  <a:lnTo>
                    <a:pt x="93052" y="36883"/>
                  </a:lnTo>
                  <a:lnTo>
                    <a:pt x="93894" y="36363"/>
                  </a:lnTo>
                  <a:lnTo>
                    <a:pt x="93894" y="36363"/>
                  </a:lnTo>
                  <a:lnTo>
                    <a:pt x="93894" y="36017"/>
                  </a:lnTo>
                  <a:lnTo>
                    <a:pt x="93894" y="35497"/>
                  </a:lnTo>
                  <a:lnTo>
                    <a:pt x="93894" y="35497"/>
                  </a:lnTo>
                  <a:lnTo>
                    <a:pt x="93894" y="35497"/>
                  </a:lnTo>
                  <a:lnTo>
                    <a:pt x="93052" y="35151"/>
                  </a:lnTo>
                  <a:lnTo>
                    <a:pt x="93052" y="34805"/>
                  </a:lnTo>
                  <a:lnTo>
                    <a:pt x="93894" y="34285"/>
                  </a:lnTo>
                  <a:lnTo>
                    <a:pt x="93894" y="34285"/>
                  </a:lnTo>
                  <a:lnTo>
                    <a:pt x="93894" y="33939"/>
                  </a:lnTo>
                  <a:lnTo>
                    <a:pt x="93894" y="33593"/>
                  </a:lnTo>
                  <a:lnTo>
                    <a:pt x="93894" y="33593"/>
                  </a:lnTo>
                  <a:lnTo>
                    <a:pt x="93894" y="33073"/>
                  </a:lnTo>
                  <a:lnTo>
                    <a:pt x="93894" y="33073"/>
                  </a:lnTo>
                  <a:lnTo>
                    <a:pt x="93894" y="33073"/>
                  </a:lnTo>
                  <a:lnTo>
                    <a:pt x="93894" y="32380"/>
                  </a:lnTo>
                  <a:lnTo>
                    <a:pt x="93052" y="31861"/>
                  </a:lnTo>
                  <a:lnTo>
                    <a:pt x="93052" y="31515"/>
                  </a:lnTo>
                  <a:lnTo>
                    <a:pt x="93894" y="30995"/>
                  </a:lnTo>
                  <a:lnTo>
                    <a:pt x="93894" y="30995"/>
                  </a:lnTo>
                  <a:lnTo>
                    <a:pt x="93894" y="30649"/>
                  </a:lnTo>
                  <a:lnTo>
                    <a:pt x="93894" y="30649"/>
                  </a:lnTo>
                  <a:lnTo>
                    <a:pt x="95157" y="30303"/>
                  </a:lnTo>
                  <a:lnTo>
                    <a:pt x="96000" y="29783"/>
                  </a:lnTo>
                  <a:lnTo>
                    <a:pt x="96000" y="29437"/>
                  </a:lnTo>
                  <a:lnTo>
                    <a:pt x="96000" y="29437"/>
                  </a:lnTo>
                  <a:lnTo>
                    <a:pt x="96842" y="29090"/>
                  </a:lnTo>
                  <a:lnTo>
                    <a:pt x="98105" y="28571"/>
                  </a:lnTo>
                  <a:lnTo>
                    <a:pt x="98947" y="28225"/>
                  </a:lnTo>
                  <a:lnTo>
                    <a:pt x="100210" y="27878"/>
                  </a:lnTo>
                  <a:lnTo>
                    <a:pt x="100210" y="27359"/>
                  </a:lnTo>
                  <a:lnTo>
                    <a:pt x="100210" y="27012"/>
                  </a:lnTo>
                  <a:lnTo>
                    <a:pt x="101052" y="26493"/>
                  </a:lnTo>
                  <a:lnTo>
                    <a:pt x="101052" y="26493"/>
                  </a:lnTo>
                  <a:lnTo>
                    <a:pt x="101894" y="26147"/>
                  </a:lnTo>
                  <a:lnTo>
                    <a:pt x="101894" y="25800"/>
                  </a:lnTo>
                  <a:lnTo>
                    <a:pt x="103157" y="25281"/>
                  </a:lnTo>
                  <a:lnTo>
                    <a:pt x="103157" y="24935"/>
                  </a:lnTo>
                  <a:lnTo>
                    <a:pt x="104000" y="24588"/>
                  </a:lnTo>
                  <a:lnTo>
                    <a:pt x="104000" y="24588"/>
                  </a:lnTo>
                  <a:lnTo>
                    <a:pt x="104000" y="24069"/>
                  </a:lnTo>
                  <a:lnTo>
                    <a:pt x="104000" y="24069"/>
                  </a:lnTo>
                  <a:lnTo>
                    <a:pt x="104842" y="24069"/>
                  </a:lnTo>
                  <a:lnTo>
                    <a:pt x="104842" y="24069"/>
                  </a:lnTo>
                  <a:lnTo>
                    <a:pt x="104842" y="23722"/>
                  </a:lnTo>
                  <a:lnTo>
                    <a:pt x="104842" y="23722"/>
                  </a:lnTo>
                  <a:lnTo>
                    <a:pt x="104842" y="23722"/>
                  </a:lnTo>
                  <a:lnTo>
                    <a:pt x="106105" y="23722"/>
                  </a:lnTo>
                  <a:lnTo>
                    <a:pt x="106105" y="23722"/>
                  </a:lnTo>
                  <a:lnTo>
                    <a:pt x="106105" y="23722"/>
                  </a:lnTo>
                  <a:lnTo>
                    <a:pt x="106105" y="23722"/>
                  </a:lnTo>
                  <a:lnTo>
                    <a:pt x="106105" y="23376"/>
                  </a:lnTo>
                  <a:lnTo>
                    <a:pt x="106105" y="23376"/>
                  </a:lnTo>
                  <a:lnTo>
                    <a:pt x="106947" y="22857"/>
                  </a:lnTo>
                  <a:lnTo>
                    <a:pt x="106947" y="22857"/>
                  </a:lnTo>
                  <a:lnTo>
                    <a:pt x="107789" y="22510"/>
                  </a:lnTo>
                  <a:lnTo>
                    <a:pt x="107789" y="22510"/>
                  </a:lnTo>
                  <a:lnTo>
                    <a:pt x="109052" y="21991"/>
                  </a:lnTo>
                  <a:lnTo>
                    <a:pt x="109894" y="21991"/>
                  </a:lnTo>
                  <a:lnTo>
                    <a:pt x="109894" y="21991"/>
                  </a:lnTo>
                  <a:lnTo>
                    <a:pt x="109894" y="21645"/>
                  </a:lnTo>
                  <a:lnTo>
                    <a:pt x="109894" y="21645"/>
                  </a:lnTo>
                  <a:lnTo>
                    <a:pt x="110736" y="21645"/>
                  </a:lnTo>
                  <a:lnTo>
                    <a:pt x="110736" y="21298"/>
                  </a:lnTo>
                  <a:lnTo>
                    <a:pt x="110736" y="21298"/>
                  </a:lnTo>
                  <a:lnTo>
                    <a:pt x="110736" y="20779"/>
                  </a:lnTo>
                  <a:lnTo>
                    <a:pt x="112000" y="20779"/>
                  </a:lnTo>
                  <a:lnTo>
                    <a:pt x="112000" y="20779"/>
                  </a:lnTo>
                  <a:lnTo>
                    <a:pt x="112000" y="20779"/>
                  </a:lnTo>
                  <a:lnTo>
                    <a:pt x="112842" y="20779"/>
                  </a:lnTo>
                  <a:lnTo>
                    <a:pt x="112842" y="20432"/>
                  </a:lnTo>
                  <a:lnTo>
                    <a:pt x="114105" y="20432"/>
                  </a:lnTo>
                  <a:lnTo>
                    <a:pt x="114105" y="20432"/>
                  </a:lnTo>
                  <a:lnTo>
                    <a:pt x="114105" y="20432"/>
                  </a:lnTo>
                  <a:lnTo>
                    <a:pt x="114947" y="20432"/>
                  </a:lnTo>
                  <a:lnTo>
                    <a:pt x="115789" y="20432"/>
                  </a:lnTo>
                  <a:lnTo>
                    <a:pt x="115789" y="20086"/>
                  </a:lnTo>
                  <a:lnTo>
                    <a:pt x="115789" y="19567"/>
                  </a:lnTo>
                  <a:lnTo>
                    <a:pt x="117052" y="20086"/>
                  </a:lnTo>
                  <a:lnTo>
                    <a:pt x="117052" y="19567"/>
                  </a:lnTo>
                  <a:lnTo>
                    <a:pt x="117894" y="19567"/>
                  </a:lnTo>
                  <a:lnTo>
                    <a:pt x="117894" y="19567"/>
                  </a:lnTo>
                  <a:lnTo>
                    <a:pt x="118736" y="19220"/>
                  </a:lnTo>
                  <a:lnTo>
                    <a:pt x="118736" y="18874"/>
                  </a:lnTo>
                  <a:lnTo>
                    <a:pt x="118736" y="18354"/>
                  </a:lnTo>
                  <a:lnTo>
                    <a:pt x="118736" y="18008"/>
                  </a:lnTo>
                  <a:lnTo>
                    <a:pt x="118736" y="18008"/>
                  </a:lnTo>
                  <a:lnTo>
                    <a:pt x="118736" y="17489"/>
                  </a:lnTo>
                  <a:lnTo>
                    <a:pt x="118736" y="16796"/>
                  </a:lnTo>
                  <a:lnTo>
                    <a:pt x="118736" y="16277"/>
                  </a:lnTo>
                  <a:lnTo>
                    <a:pt x="118736" y="16277"/>
                  </a:lnTo>
                  <a:lnTo>
                    <a:pt x="118736" y="15930"/>
                  </a:lnTo>
                  <a:lnTo>
                    <a:pt x="117894" y="15584"/>
                  </a:lnTo>
                  <a:lnTo>
                    <a:pt x="117052" y="15064"/>
                  </a:lnTo>
                  <a:lnTo>
                    <a:pt x="117052" y="14372"/>
                  </a:lnTo>
                  <a:lnTo>
                    <a:pt x="115789" y="13852"/>
                  </a:lnTo>
                  <a:lnTo>
                    <a:pt x="115789" y="13852"/>
                  </a:lnTo>
                  <a:lnTo>
                    <a:pt x="114947" y="13506"/>
                  </a:lnTo>
                  <a:lnTo>
                    <a:pt x="114947" y="13506"/>
                  </a:lnTo>
                  <a:lnTo>
                    <a:pt x="114105" y="13506"/>
                  </a:lnTo>
                  <a:lnTo>
                    <a:pt x="114105" y="13506"/>
                  </a:lnTo>
                  <a:lnTo>
                    <a:pt x="114105" y="13506"/>
                  </a:lnTo>
                  <a:lnTo>
                    <a:pt x="114105" y="13506"/>
                  </a:lnTo>
                  <a:lnTo>
                    <a:pt x="112842" y="13506"/>
                  </a:lnTo>
                  <a:lnTo>
                    <a:pt x="112842" y="13506"/>
                  </a:lnTo>
                  <a:lnTo>
                    <a:pt x="112000" y="13852"/>
                  </a:lnTo>
                  <a:lnTo>
                    <a:pt x="112000" y="13852"/>
                  </a:lnTo>
                  <a:lnTo>
                    <a:pt x="110736" y="13506"/>
                  </a:lnTo>
                  <a:lnTo>
                    <a:pt x="110736" y="13506"/>
                  </a:lnTo>
                  <a:lnTo>
                    <a:pt x="110736" y="15064"/>
                  </a:lnTo>
                  <a:lnTo>
                    <a:pt x="110736" y="16277"/>
                  </a:lnTo>
                  <a:lnTo>
                    <a:pt x="110736" y="17142"/>
                  </a:lnTo>
                  <a:lnTo>
                    <a:pt x="109894" y="17489"/>
                  </a:lnTo>
                  <a:lnTo>
                    <a:pt x="109894" y="17489"/>
                  </a:lnTo>
                  <a:lnTo>
                    <a:pt x="109894" y="17489"/>
                  </a:lnTo>
                  <a:lnTo>
                    <a:pt x="109894" y="18008"/>
                  </a:lnTo>
                  <a:lnTo>
                    <a:pt x="109052" y="18008"/>
                  </a:lnTo>
                  <a:lnTo>
                    <a:pt x="109052" y="18354"/>
                  </a:lnTo>
                  <a:lnTo>
                    <a:pt x="107789" y="18354"/>
                  </a:lnTo>
                  <a:lnTo>
                    <a:pt x="107789" y="18354"/>
                  </a:lnTo>
                  <a:lnTo>
                    <a:pt x="107789" y="18874"/>
                  </a:lnTo>
                  <a:lnTo>
                    <a:pt x="106947" y="18874"/>
                  </a:lnTo>
                  <a:lnTo>
                    <a:pt x="106105" y="18874"/>
                  </a:lnTo>
                  <a:lnTo>
                    <a:pt x="106105" y="19220"/>
                  </a:lnTo>
                  <a:lnTo>
                    <a:pt x="106105" y="19220"/>
                  </a:lnTo>
                  <a:lnTo>
                    <a:pt x="104842" y="19220"/>
                  </a:lnTo>
                  <a:lnTo>
                    <a:pt x="104842" y="19567"/>
                  </a:lnTo>
                  <a:lnTo>
                    <a:pt x="104842" y="20086"/>
                  </a:lnTo>
                  <a:lnTo>
                    <a:pt x="104842" y="20086"/>
                  </a:lnTo>
                  <a:lnTo>
                    <a:pt x="104842" y="20432"/>
                  </a:lnTo>
                  <a:lnTo>
                    <a:pt x="104000" y="20432"/>
                  </a:lnTo>
                  <a:lnTo>
                    <a:pt x="103157" y="20086"/>
                  </a:lnTo>
                  <a:lnTo>
                    <a:pt x="103157" y="20086"/>
                  </a:lnTo>
                  <a:lnTo>
                    <a:pt x="101894" y="20086"/>
                  </a:lnTo>
                  <a:lnTo>
                    <a:pt x="101052" y="20086"/>
                  </a:lnTo>
                  <a:lnTo>
                    <a:pt x="101052" y="20086"/>
                  </a:lnTo>
                  <a:lnTo>
                    <a:pt x="100210" y="20432"/>
                  </a:lnTo>
                  <a:lnTo>
                    <a:pt x="100210" y="20779"/>
                  </a:lnTo>
                  <a:lnTo>
                    <a:pt x="98947" y="20779"/>
                  </a:lnTo>
                  <a:lnTo>
                    <a:pt x="98947" y="20432"/>
                  </a:lnTo>
                  <a:lnTo>
                    <a:pt x="98105" y="20432"/>
                  </a:lnTo>
                  <a:lnTo>
                    <a:pt x="96842" y="20779"/>
                  </a:lnTo>
                  <a:lnTo>
                    <a:pt x="96000" y="20432"/>
                  </a:lnTo>
                  <a:lnTo>
                    <a:pt x="96000" y="20432"/>
                  </a:lnTo>
                  <a:lnTo>
                    <a:pt x="95157" y="20432"/>
                  </a:lnTo>
                  <a:lnTo>
                    <a:pt x="93894" y="20432"/>
                  </a:lnTo>
                  <a:lnTo>
                    <a:pt x="92210" y="20432"/>
                  </a:lnTo>
                  <a:lnTo>
                    <a:pt x="88000" y="20086"/>
                  </a:lnTo>
                  <a:lnTo>
                    <a:pt x="86315" y="20086"/>
                  </a:lnTo>
                  <a:lnTo>
                    <a:pt x="82105" y="20086"/>
                  </a:lnTo>
                  <a:lnTo>
                    <a:pt x="82105" y="19567"/>
                  </a:lnTo>
                  <a:lnTo>
                    <a:pt x="82105" y="19220"/>
                  </a:lnTo>
                  <a:lnTo>
                    <a:pt x="83368" y="19220"/>
                  </a:lnTo>
                  <a:lnTo>
                    <a:pt x="83368" y="18874"/>
                  </a:lnTo>
                  <a:lnTo>
                    <a:pt x="83368" y="18874"/>
                  </a:lnTo>
                  <a:lnTo>
                    <a:pt x="83368" y="18354"/>
                  </a:lnTo>
                  <a:lnTo>
                    <a:pt x="84210" y="18354"/>
                  </a:lnTo>
                  <a:lnTo>
                    <a:pt x="84210" y="18354"/>
                  </a:lnTo>
                  <a:lnTo>
                    <a:pt x="84210" y="18354"/>
                  </a:lnTo>
                  <a:lnTo>
                    <a:pt x="84210" y="18008"/>
                  </a:lnTo>
                  <a:lnTo>
                    <a:pt x="84210" y="18008"/>
                  </a:lnTo>
                  <a:lnTo>
                    <a:pt x="84210" y="18008"/>
                  </a:lnTo>
                  <a:lnTo>
                    <a:pt x="84210" y="17489"/>
                  </a:lnTo>
                  <a:lnTo>
                    <a:pt x="84210" y="17489"/>
                  </a:lnTo>
                  <a:lnTo>
                    <a:pt x="85052" y="17489"/>
                  </a:lnTo>
                  <a:lnTo>
                    <a:pt x="85052" y="17142"/>
                  </a:lnTo>
                  <a:lnTo>
                    <a:pt x="84210" y="16796"/>
                  </a:lnTo>
                  <a:lnTo>
                    <a:pt x="84210" y="16796"/>
                  </a:lnTo>
                  <a:lnTo>
                    <a:pt x="84210" y="16277"/>
                  </a:lnTo>
                  <a:lnTo>
                    <a:pt x="84210" y="16277"/>
                  </a:lnTo>
                  <a:lnTo>
                    <a:pt x="85052" y="15930"/>
                  </a:lnTo>
                  <a:lnTo>
                    <a:pt x="85052" y="15930"/>
                  </a:lnTo>
                  <a:lnTo>
                    <a:pt x="85052" y="15930"/>
                  </a:lnTo>
                  <a:lnTo>
                    <a:pt x="85052" y="15584"/>
                  </a:lnTo>
                  <a:lnTo>
                    <a:pt x="86315" y="15584"/>
                  </a:lnTo>
                  <a:lnTo>
                    <a:pt x="86315" y="15064"/>
                  </a:lnTo>
                  <a:lnTo>
                    <a:pt x="86315" y="15064"/>
                  </a:lnTo>
                  <a:lnTo>
                    <a:pt x="86315" y="14718"/>
                  </a:lnTo>
                  <a:lnTo>
                    <a:pt x="87157" y="14372"/>
                  </a:lnTo>
                  <a:lnTo>
                    <a:pt x="87157" y="14372"/>
                  </a:lnTo>
                  <a:lnTo>
                    <a:pt x="87157" y="13852"/>
                  </a:lnTo>
                  <a:lnTo>
                    <a:pt x="87157" y="13852"/>
                  </a:lnTo>
                  <a:lnTo>
                    <a:pt x="88000" y="13852"/>
                  </a:lnTo>
                  <a:lnTo>
                    <a:pt x="88000" y="13506"/>
                  </a:lnTo>
                  <a:lnTo>
                    <a:pt x="88000" y="12987"/>
                  </a:lnTo>
                  <a:lnTo>
                    <a:pt x="88000" y="12987"/>
                  </a:lnTo>
                  <a:lnTo>
                    <a:pt x="87157" y="12640"/>
                  </a:lnTo>
                  <a:lnTo>
                    <a:pt x="86315" y="11774"/>
                  </a:lnTo>
                  <a:lnTo>
                    <a:pt x="84210" y="11774"/>
                  </a:lnTo>
                  <a:lnTo>
                    <a:pt x="83368" y="11428"/>
                  </a:lnTo>
                  <a:lnTo>
                    <a:pt x="82105" y="11428"/>
                  </a:lnTo>
                  <a:lnTo>
                    <a:pt x="82105" y="11428"/>
                  </a:lnTo>
                  <a:lnTo>
                    <a:pt x="81263" y="11428"/>
                  </a:lnTo>
                  <a:lnTo>
                    <a:pt x="81263" y="11082"/>
                  </a:lnTo>
                  <a:lnTo>
                    <a:pt x="80000" y="11082"/>
                  </a:lnTo>
                  <a:lnTo>
                    <a:pt x="78315" y="10562"/>
                  </a:lnTo>
                  <a:lnTo>
                    <a:pt x="74105" y="9696"/>
                  </a:lnTo>
                  <a:lnTo>
                    <a:pt x="73263" y="9350"/>
                  </a:lnTo>
                  <a:lnTo>
                    <a:pt x="72421" y="9350"/>
                  </a:lnTo>
                  <a:lnTo>
                    <a:pt x="71157" y="9004"/>
                  </a:lnTo>
                  <a:lnTo>
                    <a:pt x="69473" y="8138"/>
                  </a:lnTo>
                  <a:lnTo>
                    <a:pt x="67368" y="7792"/>
                  </a:lnTo>
                  <a:lnTo>
                    <a:pt x="66105" y="7792"/>
                  </a:lnTo>
                  <a:lnTo>
                    <a:pt x="64421" y="7792"/>
                  </a:lnTo>
                  <a:lnTo>
                    <a:pt x="61473" y="7272"/>
                  </a:lnTo>
                  <a:lnTo>
                    <a:pt x="59368" y="6926"/>
                  </a:lnTo>
                  <a:lnTo>
                    <a:pt x="59368" y="6580"/>
                  </a:lnTo>
                  <a:lnTo>
                    <a:pt x="58526" y="6060"/>
                  </a:lnTo>
                  <a:lnTo>
                    <a:pt x="56421" y="5714"/>
                  </a:lnTo>
                  <a:lnTo>
                    <a:pt x="55578" y="5714"/>
                  </a:lnTo>
                  <a:lnTo>
                    <a:pt x="55578" y="5714"/>
                  </a:lnTo>
                  <a:lnTo>
                    <a:pt x="55578" y="5194"/>
                  </a:lnTo>
                  <a:lnTo>
                    <a:pt x="54315" y="5194"/>
                  </a:lnTo>
                  <a:lnTo>
                    <a:pt x="53473" y="4848"/>
                  </a:lnTo>
                  <a:lnTo>
                    <a:pt x="52210" y="4502"/>
                  </a:lnTo>
                  <a:lnTo>
                    <a:pt x="50526" y="3636"/>
                  </a:lnTo>
                  <a:lnTo>
                    <a:pt x="49263" y="2770"/>
                  </a:lnTo>
                  <a:lnTo>
                    <a:pt x="48421" y="2077"/>
                  </a:lnTo>
                  <a:lnTo>
                    <a:pt x="46315" y="2077"/>
                  </a:lnTo>
                  <a:lnTo>
                    <a:pt x="46315" y="1558"/>
                  </a:lnTo>
                  <a:lnTo>
                    <a:pt x="45473" y="1558"/>
                  </a:lnTo>
                  <a:lnTo>
                    <a:pt x="45473" y="1558"/>
                  </a:lnTo>
                  <a:lnTo>
                    <a:pt x="45473" y="1212"/>
                  </a:lnTo>
                  <a:lnTo>
                    <a:pt x="44631" y="1212"/>
                  </a:lnTo>
                  <a:lnTo>
                    <a:pt x="44631" y="692"/>
                  </a:lnTo>
                  <a:lnTo>
                    <a:pt x="44631" y="346"/>
                  </a:lnTo>
                  <a:lnTo>
                    <a:pt x="44631" y="346"/>
                  </a:lnTo>
                  <a:lnTo>
                    <a:pt x="40421" y="346"/>
                  </a:lnTo>
                  <a:lnTo>
                    <a:pt x="37473" y="346"/>
                  </a:lnTo>
                  <a:lnTo>
                    <a:pt x="37473" y="692"/>
                  </a:lnTo>
                  <a:lnTo>
                    <a:pt x="36631" y="692"/>
                  </a:lnTo>
                  <a:lnTo>
                    <a:pt x="36631" y="346"/>
                  </a:lnTo>
                  <a:lnTo>
                    <a:pt x="36631" y="692"/>
                  </a:lnTo>
                  <a:lnTo>
                    <a:pt x="35368" y="692"/>
                  </a:lnTo>
                  <a:lnTo>
                    <a:pt x="35368" y="692"/>
                  </a:lnTo>
                  <a:lnTo>
                    <a:pt x="34526" y="2077"/>
                  </a:lnTo>
                  <a:lnTo>
                    <a:pt x="34526" y="2424"/>
                  </a:lnTo>
                  <a:lnTo>
                    <a:pt x="33684" y="2770"/>
                  </a:lnTo>
                  <a:lnTo>
                    <a:pt x="33684" y="3636"/>
                  </a:lnTo>
                  <a:lnTo>
                    <a:pt x="33684" y="3636"/>
                  </a:lnTo>
                  <a:lnTo>
                    <a:pt x="33684" y="3290"/>
                  </a:lnTo>
                  <a:lnTo>
                    <a:pt x="32421" y="2770"/>
                  </a:lnTo>
                  <a:lnTo>
                    <a:pt x="31578" y="2424"/>
                  </a:lnTo>
                  <a:lnTo>
                    <a:pt x="31578" y="2077"/>
                  </a:lnTo>
                  <a:lnTo>
                    <a:pt x="30736" y="1212"/>
                  </a:lnTo>
                  <a:lnTo>
                    <a:pt x="29473" y="1212"/>
                  </a:lnTo>
                  <a:lnTo>
                    <a:pt x="29473" y="1212"/>
                  </a:lnTo>
                  <a:lnTo>
                    <a:pt x="28631" y="1212"/>
                  </a:lnTo>
                  <a:lnTo>
                    <a:pt x="27789" y="692"/>
                  </a:lnTo>
                  <a:lnTo>
                    <a:pt x="27789" y="692"/>
                  </a:lnTo>
                  <a:lnTo>
                    <a:pt x="23578" y="692"/>
                  </a:lnTo>
                  <a:lnTo>
                    <a:pt x="23578" y="692"/>
                  </a:lnTo>
                  <a:lnTo>
                    <a:pt x="22736" y="692"/>
                  </a:lnTo>
                  <a:lnTo>
                    <a:pt x="21473" y="692"/>
                  </a:lnTo>
                  <a:lnTo>
                    <a:pt x="20631" y="692"/>
                  </a:lnTo>
                  <a:lnTo>
                    <a:pt x="19789" y="0"/>
                  </a:lnTo>
                  <a:lnTo>
                    <a:pt x="18526" y="0"/>
                  </a:lnTo>
                  <a:lnTo>
                    <a:pt x="18526" y="0"/>
                  </a:lnTo>
                  <a:lnTo>
                    <a:pt x="17684" y="0"/>
                  </a:lnTo>
                  <a:lnTo>
                    <a:pt x="17684" y="0"/>
                  </a:lnTo>
                  <a:lnTo>
                    <a:pt x="17684" y="346"/>
                  </a:lnTo>
                  <a:lnTo>
                    <a:pt x="17684" y="692"/>
                  </a:lnTo>
                  <a:lnTo>
                    <a:pt x="16842" y="692"/>
                  </a:lnTo>
                  <a:lnTo>
                    <a:pt x="15578" y="1212"/>
                  </a:lnTo>
                  <a:lnTo>
                    <a:pt x="14736" y="1212"/>
                  </a:lnTo>
                  <a:lnTo>
                    <a:pt x="14736" y="1212"/>
                  </a:lnTo>
                  <a:lnTo>
                    <a:pt x="14736" y="1558"/>
                  </a:lnTo>
                  <a:lnTo>
                    <a:pt x="14736" y="2077"/>
                  </a:lnTo>
                  <a:lnTo>
                    <a:pt x="13894" y="2077"/>
                  </a:lnTo>
                  <a:lnTo>
                    <a:pt x="12631" y="2424"/>
                  </a:lnTo>
                  <a:lnTo>
                    <a:pt x="12631" y="2424"/>
                  </a:lnTo>
                  <a:lnTo>
                    <a:pt x="12631" y="2770"/>
                  </a:lnTo>
                  <a:lnTo>
                    <a:pt x="11789" y="3290"/>
                  </a:lnTo>
                  <a:lnTo>
                    <a:pt x="11789" y="3636"/>
                  </a:lnTo>
                  <a:lnTo>
                    <a:pt x="12631" y="3982"/>
                  </a:lnTo>
                  <a:lnTo>
                    <a:pt x="12631" y="5194"/>
                  </a:lnTo>
                  <a:lnTo>
                    <a:pt x="12631" y="6580"/>
                  </a:lnTo>
                  <a:lnTo>
                    <a:pt x="11789" y="7792"/>
                  </a:lnTo>
                  <a:lnTo>
                    <a:pt x="11789" y="7792"/>
                  </a:lnTo>
                  <a:lnTo>
                    <a:pt x="11789" y="8138"/>
                  </a:lnTo>
                  <a:lnTo>
                    <a:pt x="9684" y="8138"/>
                  </a:lnTo>
                  <a:lnTo>
                    <a:pt x="7578" y="8484"/>
                  </a:lnTo>
                  <a:lnTo>
                    <a:pt x="6736" y="9004"/>
                  </a:lnTo>
                  <a:lnTo>
                    <a:pt x="5894" y="9350"/>
                  </a:lnTo>
                  <a:lnTo>
                    <a:pt x="4631" y="9350"/>
                  </a:lnTo>
                  <a:lnTo>
                    <a:pt x="4631" y="9696"/>
                  </a:lnTo>
                  <a:lnTo>
                    <a:pt x="3789" y="9696"/>
                  </a:lnTo>
                  <a:lnTo>
                    <a:pt x="3789" y="10216"/>
                  </a:lnTo>
                  <a:lnTo>
                    <a:pt x="3789" y="10216"/>
                  </a:lnTo>
                  <a:lnTo>
                    <a:pt x="3789" y="10562"/>
                  </a:lnTo>
                  <a:lnTo>
                    <a:pt x="3789" y="11082"/>
                  </a:lnTo>
                  <a:lnTo>
                    <a:pt x="3789" y="11082"/>
                  </a:lnTo>
                  <a:lnTo>
                    <a:pt x="4631" y="11428"/>
                  </a:lnTo>
                  <a:lnTo>
                    <a:pt x="4631" y="11428"/>
                  </a:lnTo>
                  <a:lnTo>
                    <a:pt x="4631" y="11774"/>
                  </a:lnTo>
                  <a:lnTo>
                    <a:pt x="4631" y="11774"/>
                  </a:lnTo>
                  <a:lnTo>
                    <a:pt x="4631" y="11774"/>
                  </a:lnTo>
                  <a:lnTo>
                    <a:pt x="4631" y="12294"/>
                  </a:lnTo>
                  <a:lnTo>
                    <a:pt x="4631" y="12294"/>
                  </a:lnTo>
                  <a:lnTo>
                    <a:pt x="3789" y="12294"/>
                  </a:lnTo>
                  <a:lnTo>
                    <a:pt x="3789" y="12987"/>
                  </a:lnTo>
                  <a:lnTo>
                    <a:pt x="3789" y="13506"/>
                  </a:lnTo>
                  <a:lnTo>
                    <a:pt x="4631" y="13852"/>
                  </a:lnTo>
                  <a:lnTo>
                    <a:pt x="4631" y="14372"/>
                  </a:lnTo>
                  <a:lnTo>
                    <a:pt x="6736" y="15584"/>
                  </a:lnTo>
                  <a:lnTo>
                    <a:pt x="6736" y="15930"/>
                  </a:lnTo>
                  <a:lnTo>
                    <a:pt x="5894" y="16277"/>
                  </a:lnTo>
                  <a:lnTo>
                    <a:pt x="5894" y="16277"/>
                  </a:lnTo>
                  <a:lnTo>
                    <a:pt x="5894" y="16796"/>
                  </a:lnTo>
                  <a:lnTo>
                    <a:pt x="5894" y="16796"/>
                  </a:lnTo>
                  <a:lnTo>
                    <a:pt x="5894" y="17142"/>
                  </a:lnTo>
                  <a:lnTo>
                    <a:pt x="6736" y="17489"/>
                  </a:lnTo>
                  <a:lnTo>
                    <a:pt x="7578" y="18008"/>
                  </a:lnTo>
                  <a:lnTo>
                    <a:pt x="8842" y="18354"/>
                  </a:lnTo>
                  <a:lnTo>
                    <a:pt x="8842" y="18874"/>
                  </a:lnTo>
                  <a:lnTo>
                    <a:pt x="8842" y="18874"/>
                  </a:lnTo>
                  <a:lnTo>
                    <a:pt x="7578" y="19220"/>
                  </a:lnTo>
                  <a:lnTo>
                    <a:pt x="6736" y="19220"/>
                  </a:lnTo>
                  <a:lnTo>
                    <a:pt x="6736" y="19220"/>
                  </a:lnTo>
                  <a:lnTo>
                    <a:pt x="5894" y="19220"/>
                  </a:lnTo>
                  <a:lnTo>
                    <a:pt x="5894" y="19220"/>
                  </a:lnTo>
                  <a:lnTo>
                    <a:pt x="5894" y="19220"/>
                  </a:lnTo>
                  <a:lnTo>
                    <a:pt x="4631" y="19220"/>
                  </a:lnTo>
                  <a:lnTo>
                    <a:pt x="4631" y="19567"/>
                  </a:lnTo>
                  <a:lnTo>
                    <a:pt x="4631" y="20432"/>
                  </a:lnTo>
                  <a:lnTo>
                    <a:pt x="3789" y="20432"/>
                  </a:lnTo>
                  <a:lnTo>
                    <a:pt x="3789" y="20779"/>
                  </a:lnTo>
                  <a:lnTo>
                    <a:pt x="3789" y="21645"/>
                  </a:lnTo>
                  <a:lnTo>
                    <a:pt x="3789" y="21991"/>
                  </a:lnTo>
                  <a:lnTo>
                    <a:pt x="3789" y="21991"/>
                  </a:lnTo>
                  <a:lnTo>
                    <a:pt x="2947" y="22510"/>
                  </a:lnTo>
                  <a:lnTo>
                    <a:pt x="2947" y="22857"/>
                  </a:lnTo>
                  <a:lnTo>
                    <a:pt x="1684" y="23376"/>
                  </a:lnTo>
                  <a:lnTo>
                    <a:pt x="1684" y="23376"/>
                  </a:lnTo>
                  <a:lnTo>
                    <a:pt x="1684" y="23376"/>
                  </a:lnTo>
                  <a:lnTo>
                    <a:pt x="1684" y="23722"/>
                  </a:lnTo>
                  <a:lnTo>
                    <a:pt x="842" y="24069"/>
                  </a:lnTo>
                  <a:lnTo>
                    <a:pt x="842" y="24588"/>
                  </a:lnTo>
                  <a:lnTo>
                    <a:pt x="842" y="24935"/>
                  </a:lnTo>
                  <a:lnTo>
                    <a:pt x="842" y="25281"/>
                  </a:lnTo>
                  <a:lnTo>
                    <a:pt x="842" y="26147"/>
                  </a:lnTo>
                  <a:lnTo>
                    <a:pt x="842" y="26493"/>
                  </a:lnTo>
                  <a:lnTo>
                    <a:pt x="0" y="26493"/>
                  </a:lnTo>
                  <a:lnTo>
                    <a:pt x="0" y="27012"/>
                  </a:lnTo>
                  <a:lnTo>
                    <a:pt x="0" y="27359"/>
                  </a:lnTo>
                  <a:lnTo>
                    <a:pt x="842" y="28225"/>
                  </a:lnTo>
                  <a:lnTo>
                    <a:pt x="842" y="29090"/>
                  </a:lnTo>
                  <a:lnTo>
                    <a:pt x="1684" y="29437"/>
                  </a:lnTo>
                  <a:lnTo>
                    <a:pt x="1684" y="29783"/>
                  </a:lnTo>
                  <a:lnTo>
                    <a:pt x="1684" y="30303"/>
                  </a:lnTo>
                  <a:lnTo>
                    <a:pt x="1684" y="30303"/>
                  </a:lnTo>
                  <a:lnTo>
                    <a:pt x="2947" y="30303"/>
                  </a:lnTo>
                  <a:lnTo>
                    <a:pt x="2947" y="30303"/>
                  </a:lnTo>
                  <a:lnTo>
                    <a:pt x="2947" y="30649"/>
                  </a:lnTo>
                  <a:lnTo>
                    <a:pt x="2947" y="30649"/>
                  </a:lnTo>
                  <a:lnTo>
                    <a:pt x="1684" y="30995"/>
                  </a:lnTo>
                  <a:lnTo>
                    <a:pt x="842" y="30995"/>
                  </a:lnTo>
                  <a:lnTo>
                    <a:pt x="842" y="30995"/>
                  </a:lnTo>
                  <a:lnTo>
                    <a:pt x="842" y="30995"/>
                  </a:lnTo>
                  <a:lnTo>
                    <a:pt x="842" y="31515"/>
                  </a:lnTo>
                  <a:lnTo>
                    <a:pt x="842" y="31515"/>
                  </a:lnTo>
                  <a:lnTo>
                    <a:pt x="842" y="32380"/>
                  </a:lnTo>
                  <a:lnTo>
                    <a:pt x="842" y="32727"/>
                  </a:lnTo>
                  <a:lnTo>
                    <a:pt x="0" y="33073"/>
                  </a:lnTo>
                  <a:lnTo>
                    <a:pt x="842" y="33073"/>
                  </a:lnTo>
                  <a:lnTo>
                    <a:pt x="842" y="33593"/>
                  </a:lnTo>
                  <a:lnTo>
                    <a:pt x="842" y="33593"/>
                  </a:lnTo>
                  <a:lnTo>
                    <a:pt x="842" y="33593"/>
                  </a:lnTo>
                  <a:lnTo>
                    <a:pt x="842" y="33939"/>
                  </a:lnTo>
                  <a:lnTo>
                    <a:pt x="0" y="33939"/>
                  </a:lnTo>
                  <a:lnTo>
                    <a:pt x="0" y="33939"/>
                  </a:lnTo>
                  <a:lnTo>
                    <a:pt x="0" y="33939"/>
                  </a:lnTo>
                  <a:lnTo>
                    <a:pt x="0" y="34285"/>
                  </a:lnTo>
                  <a:lnTo>
                    <a:pt x="0" y="34805"/>
                  </a:lnTo>
                  <a:lnTo>
                    <a:pt x="0" y="35151"/>
                  </a:lnTo>
                  <a:lnTo>
                    <a:pt x="0" y="35497"/>
                  </a:lnTo>
                  <a:lnTo>
                    <a:pt x="842" y="36017"/>
                  </a:lnTo>
                  <a:lnTo>
                    <a:pt x="1684" y="36363"/>
                  </a:lnTo>
                  <a:lnTo>
                    <a:pt x="1684" y="36883"/>
                  </a:lnTo>
                  <a:lnTo>
                    <a:pt x="2947" y="36883"/>
                  </a:lnTo>
                  <a:lnTo>
                    <a:pt x="2947" y="36883"/>
                  </a:lnTo>
                  <a:lnTo>
                    <a:pt x="2947" y="36883"/>
                  </a:lnTo>
                  <a:lnTo>
                    <a:pt x="2947" y="37229"/>
                  </a:lnTo>
                  <a:lnTo>
                    <a:pt x="2947" y="37229"/>
                  </a:lnTo>
                  <a:lnTo>
                    <a:pt x="2947" y="37229"/>
                  </a:lnTo>
                  <a:lnTo>
                    <a:pt x="2947" y="37575"/>
                  </a:lnTo>
                  <a:lnTo>
                    <a:pt x="3789" y="38095"/>
                  </a:lnTo>
                  <a:lnTo>
                    <a:pt x="3789" y="38095"/>
                  </a:lnTo>
                  <a:lnTo>
                    <a:pt x="4631" y="38441"/>
                  </a:lnTo>
                  <a:lnTo>
                    <a:pt x="4631" y="38787"/>
                  </a:lnTo>
                  <a:lnTo>
                    <a:pt x="4631" y="39307"/>
                  </a:lnTo>
                  <a:lnTo>
                    <a:pt x="5894" y="40000"/>
                  </a:lnTo>
                  <a:lnTo>
                    <a:pt x="6736" y="40000"/>
                  </a:lnTo>
                  <a:lnTo>
                    <a:pt x="6736" y="40519"/>
                  </a:lnTo>
                  <a:lnTo>
                    <a:pt x="6736" y="40519"/>
                  </a:lnTo>
                  <a:lnTo>
                    <a:pt x="6736" y="40865"/>
                  </a:lnTo>
                  <a:lnTo>
                    <a:pt x="6736" y="41385"/>
                  </a:lnTo>
                  <a:lnTo>
                    <a:pt x="6736" y="41385"/>
                  </a:lnTo>
                  <a:lnTo>
                    <a:pt x="7578" y="41731"/>
                  </a:lnTo>
                  <a:lnTo>
                    <a:pt x="7578" y="41731"/>
                  </a:lnTo>
                  <a:lnTo>
                    <a:pt x="8842" y="41731"/>
                  </a:lnTo>
                  <a:lnTo>
                    <a:pt x="9684" y="41731"/>
                  </a:lnTo>
                  <a:lnTo>
                    <a:pt x="9684" y="42077"/>
                  </a:lnTo>
                  <a:lnTo>
                    <a:pt x="9684" y="42077"/>
                  </a:lnTo>
                  <a:lnTo>
                    <a:pt x="9684" y="42597"/>
                  </a:lnTo>
                  <a:lnTo>
                    <a:pt x="9684" y="42943"/>
                  </a:lnTo>
                  <a:lnTo>
                    <a:pt x="9684" y="43290"/>
                  </a:lnTo>
                  <a:lnTo>
                    <a:pt x="10526" y="44155"/>
                  </a:lnTo>
                  <a:lnTo>
                    <a:pt x="10526" y="44502"/>
                  </a:lnTo>
                  <a:lnTo>
                    <a:pt x="10526" y="45021"/>
                  </a:lnTo>
                  <a:lnTo>
                    <a:pt x="11789" y="45367"/>
                  </a:lnTo>
                  <a:lnTo>
                    <a:pt x="10526" y="45367"/>
                  </a:lnTo>
                  <a:lnTo>
                    <a:pt x="10526" y="45367"/>
                  </a:lnTo>
                  <a:lnTo>
                    <a:pt x="10526" y="45367"/>
                  </a:lnTo>
                  <a:lnTo>
                    <a:pt x="9684" y="45367"/>
                  </a:lnTo>
                  <a:lnTo>
                    <a:pt x="9684" y="45887"/>
                  </a:lnTo>
                  <a:lnTo>
                    <a:pt x="9684" y="45887"/>
                  </a:lnTo>
                  <a:lnTo>
                    <a:pt x="9684" y="46233"/>
                  </a:lnTo>
                  <a:lnTo>
                    <a:pt x="9684" y="46580"/>
                  </a:lnTo>
                  <a:lnTo>
                    <a:pt x="9684" y="47099"/>
                  </a:lnTo>
                  <a:lnTo>
                    <a:pt x="9684" y="47099"/>
                  </a:lnTo>
                  <a:lnTo>
                    <a:pt x="9684" y="47099"/>
                  </a:lnTo>
                  <a:lnTo>
                    <a:pt x="9684" y="47445"/>
                  </a:lnTo>
                  <a:lnTo>
                    <a:pt x="9684" y="47792"/>
                  </a:lnTo>
                  <a:lnTo>
                    <a:pt x="9684" y="48658"/>
                  </a:lnTo>
                  <a:lnTo>
                    <a:pt x="8842" y="48658"/>
                  </a:lnTo>
                  <a:lnTo>
                    <a:pt x="8842" y="48658"/>
                  </a:lnTo>
                  <a:lnTo>
                    <a:pt x="8842" y="49004"/>
                  </a:lnTo>
                  <a:lnTo>
                    <a:pt x="8842" y="49004"/>
                  </a:lnTo>
                  <a:lnTo>
                    <a:pt x="9684" y="49004"/>
                  </a:lnTo>
                  <a:lnTo>
                    <a:pt x="9684" y="49523"/>
                  </a:lnTo>
                  <a:lnTo>
                    <a:pt x="9684" y="49870"/>
                  </a:lnTo>
                  <a:lnTo>
                    <a:pt x="10526" y="49870"/>
                  </a:lnTo>
                  <a:lnTo>
                    <a:pt x="10526" y="50389"/>
                  </a:lnTo>
                  <a:lnTo>
                    <a:pt x="10526" y="51082"/>
                  </a:lnTo>
                  <a:lnTo>
                    <a:pt x="10526" y="51082"/>
                  </a:lnTo>
                  <a:lnTo>
                    <a:pt x="11789" y="51601"/>
                  </a:lnTo>
                  <a:lnTo>
                    <a:pt x="11789" y="51948"/>
                  </a:lnTo>
                  <a:lnTo>
                    <a:pt x="11789" y="52294"/>
                  </a:lnTo>
                  <a:lnTo>
                    <a:pt x="10526" y="52294"/>
                  </a:lnTo>
                  <a:lnTo>
                    <a:pt x="10526" y="52813"/>
                  </a:lnTo>
                  <a:lnTo>
                    <a:pt x="9684" y="52813"/>
                  </a:lnTo>
                  <a:lnTo>
                    <a:pt x="9684" y="53160"/>
                  </a:lnTo>
                  <a:lnTo>
                    <a:pt x="9684" y="53160"/>
                  </a:lnTo>
                  <a:lnTo>
                    <a:pt x="9684" y="53160"/>
                  </a:lnTo>
                  <a:lnTo>
                    <a:pt x="9684" y="53160"/>
                  </a:lnTo>
                  <a:lnTo>
                    <a:pt x="8842" y="53160"/>
                  </a:lnTo>
                  <a:lnTo>
                    <a:pt x="8842" y="53506"/>
                  </a:lnTo>
                  <a:lnTo>
                    <a:pt x="7578" y="53506"/>
                  </a:lnTo>
                  <a:lnTo>
                    <a:pt x="7578" y="54025"/>
                  </a:lnTo>
                  <a:lnTo>
                    <a:pt x="8842" y="54025"/>
                  </a:lnTo>
                  <a:lnTo>
                    <a:pt x="7578" y="54372"/>
                  </a:lnTo>
                  <a:lnTo>
                    <a:pt x="7578" y="54891"/>
                  </a:lnTo>
                  <a:lnTo>
                    <a:pt x="7578" y="54891"/>
                  </a:lnTo>
                  <a:lnTo>
                    <a:pt x="8842" y="55238"/>
                  </a:lnTo>
                  <a:lnTo>
                    <a:pt x="8842" y="55584"/>
                  </a:lnTo>
                  <a:lnTo>
                    <a:pt x="8842" y="56103"/>
                  </a:lnTo>
                  <a:lnTo>
                    <a:pt x="8842" y="56450"/>
                  </a:lnTo>
                  <a:lnTo>
                    <a:pt x="8842" y="56450"/>
                  </a:lnTo>
                  <a:lnTo>
                    <a:pt x="9684" y="56796"/>
                  </a:lnTo>
                  <a:lnTo>
                    <a:pt x="9684" y="57316"/>
                  </a:lnTo>
                  <a:lnTo>
                    <a:pt x="9684" y="57662"/>
                  </a:lnTo>
                  <a:lnTo>
                    <a:pt x="9684" y="57662"/>
                  </a:lnTo>
                  <a:lnTo>
                    <a:pt x="10526" y="58528"/>
                  </a:lnTo>
                  <a:lnTo>
                    <a:pt x="11789" y="58874"/>
                  </a:lnTo>
                  <a:lnTo>
                    <a:pt x="12631" y="59393"/>
                  </a:lnTo>
                  <a:lnTo>
                    <a:pt x="12631" y="60086"/>
                  </a:lnTo>
                  <a:lnTo>
                    <a:pt x="13894" y="60606"/>
                  </a:lnTo>
                  <a:lnTo>
                    <a:pt x="13894" y="60952"/>
                  </a:lnTo>
                  <a:lnTo>
                    <a:pt x="14736" y="60952"/>
                  </a:lnTo>
                  <a:lnTo>
                    <a:pt x="14736" y="61298"/>
                  </a:lnTo>
                  <a:lnTo>
                    <a:pt x="14736" y="61298"/>
                  </a:lnTo>
                  <a:lnTo>
                    <a:pt x="14736" y="61818"/>
                  </a:lnTo>
                  <a:lnTo>
                    <a:pt x="14736" y="61818"/>
                  </a:lnTo>
                  <a:lnTo>
                    <a:pt x="13894" y="62164"/>
                  </a:lnTo>
                  <a:lnTo>
                    <a:pt x="13894" y="62164"/>
                  </a:lnTo>
                  <a:lnTo>
                    <a:pt x="12631" y="62164"/>
                  </a:lnTo>
                  <a:lnTo>
                    <a:pt x="12631" y="62683"/>
                  </a:lnTo>
                  <a:lnTo>
                    <a:pt x="11789" y="62683"/>
                  </a:lnTo>
                  <a:lnTo>
                    <a:pt x="11789" y="63030"/>
                  </a:lnTo>
                  <a:lnTo>
                    <a:pt x="12631" y="63896"/>
                  </a:lnTo>
                  <a:lnTo>
                    <a:pt x="12631" y="63896"/>
                  </a:lnTo>
                  <a:lnTo>
                    <a:pt x="12631" y="64242"/>
                  </a:lnTo>
                  <a:lnTo>
                    <a:pt x="12631" y="64588"/>
                  </a:lnTo>
                  <a:lnTo>
                    <a:pt x="12631" y="64588"/>
                  </a:lnTo>
                  <a:lnTo>
                    <a:pt x="12631" y="65108"/>
                  </a:lnTo>
                  <a:lnTo>
                    <a:pt x="12631" y="65108"/>
                  </a:lnTo>
                  <a:lnTo>
                    <a:pt x="12631" y="65108"/>
                  </a:lnTo>
                  <a:lnTo>
                    <a:pt x="12631" y="65108"/>
                  </a:lnTo>
                  <a:lnTo>
                    <a:pt x="11789" y="65108"/>
                  </a:lnTo>
                  <a:lnTo>
                    <a:pt x="11789" y="65108"/>
                  </a:lnTo>
                  <a:lnTo>
                    <a:pt x="12631" y="65454"/>
                  </a:lnTo>
                  <a:lnTo>
                    <a:pt x="12631" y="65800"/>
                  </a:lnTo>
                  <a:lnTo>
                    <a:pt x="13894" y="66320"/>
                  </a:lnTo>
                  <a:lnTo>
                    <a:pt x="13894" y="66320"/>
                  </a:lnTo>
                  <a:lnTo>
                    <a:pt x="13894" y="66320"/>
                  </a:lnTo>
                  <a:lnTo>
                    <a:pt x="13894" y="66666"/>
                  </a:lnTo>
                  <a:lnTo>
                    <a:pt x="12631" y="66666"/>
                  </a:lnTo>
                  <a:lnTo>
                    <a:pt x="12631" y="66666"/>
                  </a:lnTo>
                  <a:lnTo>
                    <a:pt x="12631" y="67186"/>
                  </a:lnTo>
                  <a:lnTo>
                    <a:pt x="12631" y="67186"/>
                  </a:lnTo>
                  <a:lnTo>
                    <a:pt x="13894" y="67532"/>
                  </a:lnTo>
                  <a:lnTo>
                    <a:pt x="14736" y="67532"/>
                  </a:lnTo>
                  <a:lnTo>
                    <a:pt x="14736" y="67532"/>
                  </a:lnTo>
                  <a:lnTo>
                    <a:pt x="13894" y="67878"/>
                  </a:lnTo>
                  <a:lnTo>
                    <a:pt x="13894" y="67878"/>
                  </a:lnTo>
                  <a:lnTo>
                    <a:pt x="13894" y="68398"/>
                  </a:lnTo>
                  <a:lnTo>
                    <a:pt x="13894" y="68398"/>
                  </a:lnTo>
                  <a:lnTo>
                    <a:pt x="13894" y="68744"/>
                  </a:lnTo>
                  <a:lnTo>
                    <a:pt x="13894" y="69090"/>
                  </a:lnTo>
                  <a:lnTo>
                    <a:pt x="14736" y="69610"/>
                  </a:lnTo>
                  <a:lnTo>
                    <a:pt x="14736" y="69956"/>
                  </a:lnTo>
                  <a:lnTo>
                    <a:pt x="15578" y="70822"/>
                  </a:lnTo>
                  <a:lnTo>
                    <a:pt x="15578" y="71168"/>
                  </a:lnTo>
                  <a:lnTo>
                    <a:pt x="16842" y="72034"/>
                  </a:lnTo>
                  <a:lnTo>
                    <a:pt x="16842" y="72034"/>
                  </a:lnTo>
                  <a:lnTo>
                    <a:pt x="16842" y="72034"/>
                  </a:lnTo>
                  <a:lnTo>
                    <a:pt x="17684" y="72900"/>
                  </a:lnTo>
                  <a:lnTo>
                    <a:pt x="18526" y="73246"/>
                  </a:lnTo>
                  <a:lnTo>
                    <a:pt x="19789" y="73593"/>
                  </a:lnTo>
                  <a:lnTo>
                    <a:pt x="19789" y="73593"/>
                  </a:lnTo>
                  <a:lnTo>
                    <a:pt x="18526" y="74112"/>
                  </a:lnTo>
                  <a:lnTo>
                    <a:pt x="18526" y="74112"/>
                  </a:lnTo>
                  <a:lnTo>
                    <a:pt x="17684" y="74112"/>
                  </a:lnTo>
                  <a:lnTo>
                    <a:pt x="17684" y="74112"/>
                  </a:lnTo>
                  <a:lnTo>
                    <a:pt x="17684" y="74112"/>
                  </a:lnTo>
                  <a:lnTo>
                    <a:pt x="17684" y="74458"/>
                  </a:lnTo>
                  <a:lnTo>
                    <a:pt x="17684" y="74458"/>
                  </a:lnTo>
                  <a:lnTo>
                    <a:pt x="17684" y="74805"/>
                  </a:lnTo>
                  <a:lnTo>
                    <a:pt x="18526" y="75324"/>
                  </a:lnTo>
                  <a:lnTo>
                    <a:pt x="18526" y="75324"/>
                  </a:lnTo>
                  <a:lnTo>
                    <a:pt x="18526" y="75670"/>
                  </a:lnTo>
                  <a:lnTo>
                    <a:pt x="18526" y="75670"/>
                  </a:lnTo>
                  <a:lnTo>
                    <a:pt x="18526" y="76190"/>
                  </a:lnTo>
                  <a:lnTo>
                    <a:pt x="19789" y="76883"/>
                  </a:lnTo>
                  <a:lnTo>
                    <a:pt x="19789" y="77402"/>
                  </a:lnTo>
                  <a:lnTo>
                    <a:pt x="20631" y="77402"/>
                  </a:lnTo>
                  <a:lnTo>
                    <a:pt x="21473" y="77402"/>
                  </a:lnTo>
                  <a:lnTo>
                    <a:pt x="22736" y="77748"/>
                  </a:lnTo>
                  <a:lnTo>
                    <a:pt x="23578" y="77748"/>
                  </a:lnTo>
                  <a:lnTo>
                    <a:pt x="23578" y="78095"/>
                  </a:lnTo>
                  <a:lnTo>
                    <a:pt x="22736" y="78095"/>
                  </a:lnTo>
                  <a:lnTo>
                    <a:pt x="22736" y="78095"/>
                  </a:lnTo>
                  <a:lnTo>
                    <a:pt x="22736" y="78614"/>
                  </a:lnTo>
                  <a:lnTo>
                    <a:pt x="23578" y="78961"/>
                  </a:lnTo>
                  <a:lnTo>
                    <a:pt x="24421" y="78961"/>
                  </a:lnTo>
                  <a:lnTo>
                    <a:pt x="24421" y="79307"/>
                  </a:lnTo>
                  <a:lnTo>
                    <a:pt x="24421" y="79307"/>
                  </a:lnTo>
                  <a:lnTo>
                    <a:pt x="24421" y="79826"/>
                  </a:lnTo>
                  <a:lnTo>
                    <a:pt x="25684" y="80173"/>
                  </a:lnTo>
                  <a:lnTo>
                    <a:pt x="25684" y="80173"/>
                  </a:lnTo>
                  <a:lnTo>
                    <a:pt x="25684" y="80692"/>
                  </a:lnTo>
                  <a:lnTo>
                    <a:pt x="25684" y="80692"/>
                  </a:lnTo>
                  <a:lnTo>
                    <a:pt x="25684" y="81038"/>
                  </a:lnTo>
                  <a:lnTo>
                    <a:pt x="25684" y="81038"/>
                  </a:lnTo>
                  <a:lnTo>
                    <a:pt x="25684" y="81385"/>
                  </a:lnTo>
                  <a:lnTo>
                    <a:pt x="26526" y="81904"/>
                  </a:lnTo>
                  <a:lnTo>
                    <a:pt x="26526" y="81904"/>
                  </a:lnTo>
                  <a:lnTo>
                    <a:pt x="30736" y="81904"/>
                  </a:lnTo>
                  <a:lnTo>
                    <a:pt x="31578" y="82251"/>
                  </a:lnTo>
                  <a:lnTo>
                    <a:pt x="31578" y="82251"/>
                  </a:lnTo>
                  <a:lnTo>
                    <a:pt x="31578" y="82597"/>
                  </a:lnTo>
                  <a:lnTo>
                    <a:pt x="31578" y="82597"/>
                  </a:lnTo>
                  <a:lnTo>
                    <a:pt x="31578" y="83116"/>
                  </a:lnTo>
                  <a:lnTo>
                    <a:pt x="31578" y="83463"/>
                  </a:lnTo>
                  <a:lnTo>
                    <a:pt x="30736" y="83116"/>
                  </a:lnTo>
                  <a:lnTo>
                    <a:pt x="29473" y="83116"/>
                  </a:lnTo>
                  <a:lnTo>
                    <a:pt x="29473" y="83116"/>
                  </a:lnTo>
                  <a:lnTo>
                    <a:pt x="28631" y="83116"/>
                  </a:lnTo>
                  <a:lnTo>
                    <a:pt x="26526" y="83463"/>
                  </a:lnTo>
                  <a:lnTo>
                    <a:pt x="26526" y="83116"/>
                  </a:lnTo>
                  <a:lnTo>
                    <a:pt x="26526" y="83463"/>
                  </a:lnTo>
                  <a:lnTo>
                    <a:pt x="26526" y="83809"/>
                  </a:lnTo>
                  <a:lnTo>
                    <a:pt x="28631" y="83809"/>
                  </a:lnTo>
                  <a:lnTo>
                    <a:pt x="30736" y="83809"/>
                  </a:lnTo>
                  <a:lnTo>
                    <a:pt x="30736" y="84675"/>
                  </a:lnTo>
                  <a:lnTo>
                    <a:pt x="31578" y="85194"/>
                  </a:lnTo>
                  <a:lnTo>
                    <a:pt x="32421" y="85194"/>
                  </a:lnTo>
                  <a:lnTo>
                    <a:pt x="33684" y="85541"/>
                  </a:lnTo>
                  <a:lnTo>
                    <a:pt x="32421" y="85887"/>
                  </a:lnTo>
                  <a:lnTo>
                    <a:pt x="32421" y="86406"/>
                  </a:lnTo>
                  <a:lnTo>
                    <a:pt x="31578" y="86406"/>
                  </a:lnTo>
                  <a:lnTo>
                    <a:pt x="31578" y="86406"/>
                  </a:lnTo>
                  <a:lnTo>
                    <a:pt x="31578" y="86753"/>
                  </a:lnTo>
                  <a:lnTo>
                    <a:pt x="32421" y="87099"/>
                  </a:lnTo>
                  <a:lnTo>
                    <a:pt x="32421" y="87619"/>
                  </a:lnTo>
                  <a:lnTo>
                    <a:pt x="33684" y="87619"/>
                  </a:lnTo>
                  <a:lnTo>
                    <a:pt x="33684" y="87965"/>
                  </a:lnTo>
                  <a:lnTo>
                    <a:pt x="32421" y="88311"/>
                  </a:lnTo>
                  <a:lnTo>
                    <a:pt x="32421" y="88311"/>
                  </a:lnTo>
                  <a:lnTo>
                    <a:pt x="32421" y="88831"/>
                  </a:lnTo>
                  <a:lnTo>
                    <a:pt x="33684" y="88831"/>
                  </a:lnTo>
                  <a:lnTo>
                    <a:pt x="33684" y="89177"/>
                  </a:lnTo>
                  <a:lnTo>
                    <a:pt x="34526" y="89696"/>
                  </a:lnTo>
                  <a:lnTo>
                    <a:pt x="35368" y="90043"/>
                  </a:lnTo>
                  <a:lnTo>
                    <a:pt x="35368" y="90389"/>
                  </a:lnTo>
                  <a:lnTo>
                    <a:pt x="35368" y="90389"/>
                  </a:lnTo>
                  <a:lnTo>
                    <a:pt x="34526" y="90909"/>
                  </a:lnTo>
                  <a:lnTo>
                    <a:pt x="34526" y="90909"/>
                  </a:lnTo>
                  <a:lnTo>
                    <a:pt x="34526" y="91255"/>
                  </a:lnTo>
                  <a:lnTo>
                    <a:pt x="34526" y="91601"/>
                  </a:lnTo>
                  <a:lnTo>
                    <a:pt x="35368" y="91601"/>
                  </a:lnTo>
                  <a:lnTo>
                    <a:pt x="35368" y="92121"/>
                  </a:lnTo>
                  <a:lnTo>
                    <a:pt x="35368" y="92121"/>
                  </a:lnTo>
                  <a:lnTo>
                    <a:pt x="35368" y="92121"/>
                  </a:lnTo>
                  <a:lnTo>
                    <a:pt x="35368" y="92467"/>
                  </a:lnTo>
                  <a:lnTo>
                    <a:pt x="35368" y="92813"/>
                  </a:lnTo>
                  <a:lnTo>
                    <a:pt x="34526" y="92813"/>
                  </a:lnTo>
                  <a:lnTo>
                    <a:pt x="33684" y="93333"/>
                  </a:lnTo>
                  <a:lnTo>
                    <a:pt x="34526" y="93679"/>
                  </a:lnTo>
                  <a:lnTo>
                    <a:pt x="34526" y="94199"/>
                  </a:lnTo>
                  <a:lnTo>
                    <a:pt x="34526" y="94199"/>
                  </a:lnTo>
                  <a:lnTo>
                    <a:pt x="34526" y="94545"/>
                  </a:lnTo>
                  <a:lnTo>
                    <a:pt x="34526" y="94891"/>
                  </a:lnTo>
                  <a:lnTo>
                    <a:pt x="35368" y="94891"/>
                  </a:lnTo>
                  <a:lnTo>
                    <a:pt x="36631" y="95411"/>
                  </a:lnTo>
                  <a:lnTo>
                    <a:pt x="37473" y="95757"/>
                  </a:lnTo>
                  <a:lnTo>
                    <a:pt x="37473" y="96103"/>
                  </a:lnTo>
                  <a:lnTo>
                    <a:pt x="36631" y="96623"/>
                  </a:lnTo>
                  <a:lnTo>
                    <a:pt x="35368" y="96623"/>
                  </a:lnTo>
                  <a:lnTo>
                    <a:pt x="35368" y="96969"/>
                  </a:lnTo>
                  <a:lnTo>
                    <a:pt x="36631" y="97316"/>
                  </a:lnTo>
                  <a:lnTo>
                    <a:pt x="36631" y="97835"/>
                  </a:lnTo>
                  <a:lnTo>
                    <a:pt x="36631" y="97835"/>
                  </a:lnTo>
                  <a:lnTo>
                    <a:pt x="36631" y="98181"/>
                  </a:lnTo>
                  <a:lnTo>
                    <a:pt x="36631" y="98181"/>
                  </a:lnTo>
                  <a:lnTo>
                    <a:pt x="35368" y="98701"/>
                  </a:lnTo>
                  <a:lnTo>
                    <a:pt x="35368" y="98701"/>
                  </a:lnTo>
                  <a:lnTo>
                    <a:pt x="34526" y="98701"/>
                  </a:lnTo>
                  <a:lnTo>
                    <a:pt x="34526" y="99047"/>
                  </a:lnTo>
                  <a:lnTo>
                    <a:pt x="34526" y="99393"/>
                  </a:lnTo>
                  <a:lnTo>
                    <a:pt x="35368" y="99913"/>
                  </a:lnTo>
                  <a:lnTo>
                    <a:pt x="33684" y="99913"/>
                  </a:lnTo>
                  <a:lnTo>
                    <a:pt x="33684" y="99913"/>
                  </a:lnTo>
                  <a:lnTo>
                    <a:pt x="33684" y="100259"/>
                  </a:lnTo>
                  <a:lnTo>
                    <a:pt x="33684" y="100606"/>
                  </a:lnTo>
                  <a:lnTo>
                    <a:pt x="34526" y="101125"/>
                  </a:lnTo>
                  <a:lnTo>
                    <a:pt x="35368" y="101471"/>
                  </a:lnTo>
                  <a:lnTo>
                    <a:pt x="35368" y="101991"/>
                  </a:lnTo>
                  <a:lnTo>
                    <a:pt x="35368" y="102337"/>
                  </a:lnTo>
                  <a:lnTo>
                    <a:pt x="36631" y="102683"/>
                  </a:lnTo>
                  <a:lnTo>
                    <a:pt x="37473" y="103203"/>
                  </a:lnTo>
                  <a:lnTo>
                    <a:pt x="38315" y="103549"/>
                  </a:lnTo>
                  <a:lnTo>
                    <a:pt x="39578" y="103896"/>
                  </a:lnTo>
                  <a:lnTo>
                    <a:pt x="39578" y="104415"/>
                  </a:lnTo>
                  <a:lnTo>
                    <a:pt x="40421" y="104415"/>
                  </a:lnTo>
                  <a:lnTo>
                    <a:pt x="40421" y="104761"/>
                  </a:lnTo>
                  <a:lnTo>
                    <a:pt x="41684" y="104761"/>
                  </a:lnTo>
                  <a:lnTo>
                    <a:pt x="41684" y="104761"/>
                  </a:lnTo>
                  <a:lnTo>
                    <a:pt x="42526" y="104761"/>
                  </a:lnTo>
                  <a:lnTo>
                    <a:pt x="42526" y="104415"/>
                  </a:lnTo>
                  <a:lnTo>
                    <a:pt x="43368" y="104415"/>
                  </a:lnTo>
                  <a:lnTo>
                    <a:pt x="44631" y="104415"/>
                  </a:lnTo>
                  <a:lnTo>
                    <a:pt x="44631" y="104415"/>
                  </a:lnTo>
                  <a:lnTo>
                    <a:pt x="45473" y="104415"/>
                  </a:lnTo>
                  <a:lnTo>
                    <a:pt x="45473" y="104415"/>
                  </a:lnTo>
                  <a:lnTo>
                    <a:pt x="46315" y="104761"/>
                  </a:lnTo>
                  <a:lnTo>
                    <a:pt x="47578" y="105108"/>
                  </a:lnTo>
                  <a:lnTo>
                    <a:pt x="47578" y="105627"/>
                  </a:lnTo>
                  <a:lnTo>
                    <a:pt x="48421" y="105974"/>
                  </a:lnTo>
                  <a:lnTo>
                    <a:pt x="47578" y="105974"/>
                  </a:lnTo>
                  <a:lnTo>
                    <a:pt x="47578" y="105974"/>
                  </a:lnTo>
                  <a:lnTo>
                    <a:pt x="48421" y="106493"/>
                  </a:lnTo>
                  <a:lnTo>
                    <a:pt x="48421" y="106493"/>
                  </a:lnTo>
                  <a:lnTo>
                    <a:pt x="49263" y="106839"/>
                  </a:lnTo>
                  <a:lnTo>
                    <a:pt x="49263" y="107186"/>
                  </a:lnTo>
                  <a:lnTo>
                    <a:pt x="49263" y="107705"/>
                  </a:lnTo>
                  <a:lnTo>
                    <a:pt x="50526" y="108051"/>
                  </a:lnTo>
                  <a:lnTo>
                    <a:pt x="51368" y="108051"/>
                  </a:lnTo>
                  <a:lnTo>
                    <a:pt x="52210" y="108398"/>
                  </a:lnTo>
                  <a:lnTo>
                    <a:pt x="53473" y="108398"/>
                  </a:lnTo>
                  <a:lnTo>
                    <a:pt x="53473" y="108917"/>
                  </a:lnTo>
                  <a:lnTo>
                    <a:pt x="54315" y="109264"/>
                  </a:lnTo>
                  <a:lnTo>
                    <a:pt x="54315" y="109264"/>
                  </a:lnTo>
                  <a:lnTo>
                    <a:pt x="56421" y="109264"/>
                  </a:lnTo>
                  <a:lnTo>
                    <a:pt x="58526" y="109264"/>
                  </a:lnTo>
                  <a:lnTo>
                    <a:pt x="61473" y="109264"/>
                  </a:lnTo>
                  <a:lnTo>
                    <a:pt x="64421" y="109264"/>
                  </a:lnTo>
                  <a:lnTo>
                    <a:pt x="67368" y="109264"/>
                  </a:lnTo>
                  <a:lnTo>
                    <a:pt x="69473" y="109610"/>
                  </a:lnTo>
                  <a:lnTo>
                    <a:pt x="71157" y="109610"/>
                  </a:lnTo>
                  <a:lnTo>
                    <a:pt x="73263" y="109610"/>
                  </a:lnTo>
                  <a:lnTo>
                    <a:pt x="75368" y="110129"/>
                  </a:lnTo>
                  <a:lnTo>
                    <a:pt x="77052" y="110129"/>
                  </a:lnTo>
                  <a:lnTo>
                    <a:pt x="78315" y="110129"/>
                  </a:lnTo>
                  <a:lnTo>
                    <a:pt x="79157" y="110129"/>
                  </a:lnTo>
                  <a:lnTo>
                    <a:pt x="79157" y="110476"/>
                  </a:lnTo>
                  <a:lnTo>
                    <a:pt x="79157" y="110476"/>
                  </a:lnTo>
                  <a:lnTo>
                    <a:pt x="78315" y="110129"/>
                  </a:lnTo>
                  <a:lnTo>
                    <a:pt x="76210" y="109264"/>
                  </a:lnTo>
                  <a:lnTo>
                    <a:pt x="73263" y="108051"/>
                  </a:lnTo>
                  <a:lnTo>
                    <a:pt x="73263" y="108051"/>
                  </a:lnTo>
                  <a:lnTo>
                    <a:pt x="72421" y="108051"/>
                  </a:lnTo>
                  <a:lnTo>
                    <a:pt x="71157" y="108051"/>
                  </a:lnTo>
                  <a:lnTo>
                    <a:pt x="70315" y="108051"/>
                  </a:lnTo>
                  <a:lnTo>
                    <a:pt x="70315" y="108051"/>
                  </a:lnTo>
                  <a:lnTo>
                    <a:pt x="69473" y="107705"/>
                  </a:lnTo>
                  <a:lnTo>
                    <a:pt x="70315" y="107705"/>
                  </a:lnTo>
                  <a:lnTo>
                    <a:pt x="71157" y="107705"/>
                  </a:lnTo>
                  <a:lnTo>
                    <a:pt x="72421" y="107705"/>
                  </a:lnTo>
                  <a:lnTo>
                    <a:pt x="72421" y="107705"/>
                  </a:lnTo>
                  <a:lnTo>
                    <a:pt x="71157" y="107186"/>
                  </a:lnTo>
                  <a:lnTo>
                    <a:pt x="71157" y="106839"/>
                  </a:lnTo>
                  <a:lnTo>
                    <a:pt x="69473" y="105974"/>
                  </a:lnTo>
                  <a:lnTo>
                    <a:pt x="68210" y="105627"/>
                  </a:lnTo>
                  <a:lnTo>
                    <a:pt x="68210" y="105627"/>
                  </a:lnTo>
                  <a:lnTo>
                    <a:pt x="68210" y="105974"/>
                  </a:lnTo>
                  <a:lnTo>
                    <a:pt x="68210" y="105974"/>
                  </a:lnTo>
                  <a:lnTo>
                    <a:pt x="68210" y="105627"/>
                  </a:lnTo>
                  <a:lnTo>
                    <a:pt x="68210" y="105108"/>
                  </a:lnTo>
                  <a:lnTo>
                    <a:pt x="68210" y="104761"/>
                  </a:lnTo>
                  <a:lnTo>
                    <a:pt x="68210" y="104415"/>
                  </a:lnTo>
                  <a:lnTo>
                    <a:pt x="68210" y="103896"/>
                  </a:lnTo>
                  <a:lnTo>
                    <a:pt x="68210" y="103549"/>
                  </a:lnTo>
                  <a:lnTo>
                    <a:pt x="69473" y="103203"/>
                  </a:lnTo>
                  <a:lnTo>
                    <a:pt x="70315" y="103203"/>
                  </a:lnTo>
                  <a:lnTo>
                    <a:pt x="70315" y="102683"/>
                  </a:lnTo>
                  <a:lnTo>
                    <a:pt x="71157" y="102683"/>
                  </a:lnTo>
                  <a:lnTo>
                    <a:pt x="70315" y="102683"/>
                  </a:lnTo>
                  <a:lnTo>
                    <a:pt x="69473" y="102337"/>
                  </a:lnTo>
                  <a:lnTo>
                    <a:pt x="69473" y="102337"/>
                  </a:lnTo>
                  <a:lnTo>
                    <a:pt x="68210" y="102337"/>
                  </a:lnTo>
                  <a:lnTo>
                    <a:pt x="66105" y="102337"/>
                  </a:lnTo>
                  <a:lnTo>
                    <a:pt x="66105" y="101991"/>
                  </a:lnTo>
                  <a:lnTo>
                    <a:pt x="68210" y="101991"/>
                  </a:lnTo>
                  <a:lnTo>
                    <a:pt x="68210" y="101991"/>
                  </a:lnTo>
                  <a:lnTo>
                    <a:pt x="67368" y="101471"/>
                  </a:lnTo>
                  <a:lnTo>
                    <a:pt x="67368" y="101471"/>
                  </a:lnTo>
                  <a:lnTo>
                    <a:pt x="68210" y="101991"/>
                  </a:lnTo>
                  <a:lnTo>
                    <a:pt x="69473" y="102337"/>
                  </a:lnTo>
                  <a:lnTo>
                    <a:pt x="70315" y="102337"/>
                  </a:lnTo>
                  <a:lnTo>
                    <a:pt x="71157" y="102683"/>
                  </a:lnTo>
                  <a:lnTo>
                    <a:pt x="72421" y="102683"/>
                  </a:lnTo>
                  <a:lnTo>
                    <a:pt x="73263" y="102337"/>
                  </a:lnTo>
                  <a:lnTo>
                    <a:pt x="74105" y="101991"/>
                  </a:lnTo>
                  <a:lnTo>
                    <a:pt x="74105" y="101471"/>
                  </a:lnTo>
                  <a:lnTo>
                    <a:pt x="73263" y="99913"/>
                  </a:lnTo>
                  <a:lnTo>
                    <a:pt x="72421" y="99913"/>
                  </a:lnTo>
                  <a:lnTo>
                    <a:pt x="72421" y="99393"/>
                  </a:lnTo>
                  <a:lnTo>
                    <a:pt x="73263" y="98701"/>
                  </a:lnTo>
                  <a:lnTo>
                    <a:pt x="73263" y="97835"/>
                  </a:lnTo>
                  <a:lnTo>
                    <a:pt x="74105" y="97316"/>
                  </a:lnTo>
                  <a:lnTo>
                    <a:pt x="74105" y="97316"/>
                  </a:lnTo>
                  <a:lnTo>
                    <a:pt x="76210" y="96969"/>
                  </a:lnTo>
                  <a:lnTo>
                    <a:pt x="77052" y="96623"/>
                  </a:lnTo>
                  <a:lnTo>
                    <a:pt x="78315" y="96103"/>
                  </a:lnTo>
                  <a:lnTo>
                    <a:pt x="80000" y="95411"/>
                  </a:lnTo>
                  <a:lnTo>
                    <a:pt x="80000" y="94891"/>
                  </a:lnTo>
                  <a:lnTo>
                    <a:pt x="80000" y="94891"/>
                  </a:lnTo>
                  <a:lnTo>
                    <a:pt x="80000" y="94891"/>
                  </a:lnTo>
                  <a:lnTo>
                    <a:pt x="80000" y="94545"/>
                  </a:lnTo>
                  <a:lnTo>
                    <a:pt x="79157" y="94545"/>
                  </a:lnTo>
                  <a:lnTo>
                    <a:pt x="78315" y="94545"/>
                  </a:lnTo>
                  <a:lnTo>
                    <a:pt x="78315" y="94545"/>
                  </a:lnTo>
                  <a:lnTo>
                    <a:pt x="77052" y="94545"/>
                  </a:lnTo>
                  <a:lnTo>
                    <a:pt x="78315" y="94199"/>
                  </a:lnTo>
                  <a:lnTo>
                    <a:pt x="79157" y="94199"/>
                  </a:lnTo>
                  <a:lnTo>
                    <a:pt x="79157" y="93679"/>
                  </a:lnTo>
                  <a:lnTo>
                    <a:pt x="79157" y="93679"/>
                  </a:lnTo>
                  <a:lnTo>
                    <a:pt x="79157" y="92813"/>
                  </a:lnTo>
                  <a:lnTo>
                    <a:pt x="78315" y="92467"/>
                  </a:lnTo>
                  <a:lnTo>
                    <a:pt x="77052" y="92121"/>
                  </a:lnTo>
                  <a:lnTo>
                    <a:pt x="76210" y="91601"/>
                  </a:lnTo>
                  <a:lnTo>
                    <a:pt x="72421" y="91601"/>
                  </a:lnTo>
                  <a:lnTo>
                    <a:pt x="71157" y="91601"/>
                  </a:lnTo>
                  <a:lnTo>
                    <a:pt x="65263" y="90043"/>
                  </a:lnTo>
                  <a:lnTo>
                    <a:pt x="64421" y="89696"/>
                  </a:lnTo>
                  <a:lnTo>
                    <a:pt x="63157" y="89177"/>
                  </a:lnTo>
                  <a:lnTo>
                    <a:pt x="62315" y="88831"/>
                  </a:lnTo>
                  <a:lnTo>
                    <a:pt x="62315" y="88311"/>
                  </a:lnTo>
                  <a:lnTo>
                    <a:pt x="62315" y="87965"/>
                  </a:lnTo>
                  <a:lnTo>
                    <a:pt x="62315" y="87965"/>
                  </a:lnTo>
                  <a:lnTo>
                    <a:pt x="62315" y="87099"/>
                  </a:lnTo>
                  <a:lnTo>
                    <a:pt x="62315" y="86406"/>
                  </a:lnTo>
                  <a:lnTo>
                    <a:pt x="64421" y="85194"/>
                  </a:lnTo>
                  <a:lnTo>
                    <a:pt x="64421" y="85194"/>
                  </a:lnTo>
                  <a:lnTo>
                    <a:pt x="66105" y="85194"/>
                  </a:lnTo>
                  <a:lnTo>
                    <a:pt x="66105" y="85194"/>
                  </a:lnTo>
                  <a:lnTo>
                    <a:pt x="66105" y="84675"/>
                  </a:lnTo>
                  <a:lnTo>
                    <a:pt x="67368" y="84329"/>
                  </a:lnTo>
                  <a:lnTo>
                    <a:pt x="68210" y="83809"/>
                  </a:lnTo>
                  <a:lnTo>
                    <a:pt x="71157" y="84329"/>
                  </a:lnTo>
                  <a:lnTo>
                    <a:pt x="72421" y="84329"/>
                  </a:lnTo>
                  <a:lnTo>
                    <a:pt x="72421" y="83809"/>
                  </a:lnTo>
                  <a:lnTo>
                    <a:pt x="72421" y="83463"/>
                  </a:lnTo>
                  <a:lnTo>
                    <a:pt x="71157" y="83463"/>
                  </a:lnTo>
                  <a:lnTo>
                    <a:pt x="71157" y="83116"/>
                  </a:lnTo>
                  <a:lnTo>
                    <a:pt x="72421" y="82251"/>
                  </a:lnTo>
                  <a:lnTo>
                    <a:pt x="72421" y="81904"/>
                  </a:lnTo>
                  <a:lnTo>
                    <a:pt x="72421" y="81385"/>
                  </a:lnTo>
                  <a:lnTo>
                    <a:pt x="72421" y="81038"/>
                  </a:lnTo>
                  <a:lnTo>
                    <a:pt x="72421" y="80692"/>
                  </a:lnTo>
                  <a:lnTo>
                    <a:pt x="70315" y="79826"/>
                  </a:lnTo>
                  <a:lnTo>
                    <a:pt x="70315" y="79307"/>
                  </a:lnTo>
                  <a:lnTo>
                    <a:pt x="70315" y="78961"/>
                  </a:lnTo>
                  <a:lnTo>
                    <a:pt x="70315" y="78961"/>
                  </a:lnTo>
                  <a:lnTo>
                    <a:pt x="71157" y="78095"/>
                  </a:lnTo>
                  <a:lnTo>
                    <a:pt x="72421" y="77748"/>
                  </a:lnTo>
                  <a:lnTo>
                    <a:pt x="73263" y="77402"/>
                  </a:lnTo>
                  <a:lnTo>
                    <a:pt x="74105" y="77402"/>
                  </a:lnTo>
                  <a:lnTo>
                    <a:pt x="75368" y="76883"/>
                  </a:lnTo>
                  <a:lnTo>
                    <a:pt x="75368" y="76883"/>
                  </a:lnTo>
                  <a:lnTo>
                    <a:pt x="74105" y="76883"/>
                  </a:lnTo>
                  <a:lnTo>
                    <a:pt x="74105" y="76883"/>
                  </a:lnTo>
                  <a:lnTo>
                    <a:pt x="72421" y="76536"/>
                  </a:lnTo>
                  <a:lnTo>
                    <a:pt x="69473" y="76190"/>
                  </a:lnTo>
                  <a:lnTo>
                    <a:pt x="69473" y="75670"/>
                  </a:lnTo>
                  <a:lnTo>
                    <a:pt x="70315" y="75670"/>
                  </a:lnTo>
                  <a:lnTo>
                    <a:pt x="71157" y="75324"/>
                  </a:lnTo>
                  <a:lnTo>
                    <a:pt x="72421" y="75324"/>
                  </a:lnTo>
                  <a:lnTo>
                    <a:pt x="74105" y="75324"/>
                  </a:lnTo>
                  <a:lnTo>
                    <a:pt x="74105" y="75670"/>
                  </a:lnTo>
                  <a:lnTo>
                    <a:pt x="75368" y="76190"/>
                  </a:lnTo>
                  <a:lnTo>
                    <a:pt x="76210" y="76536"/>
                  </a:lnTo>
                  <a:lnTo>
                    <a:pt x="77052" y="76536"/>
                  </a:lnTo>
                  <a:lnTo>
                    <a:pt x="79157" y="76190"/>
                  </a:lnTo>
                  <a:lnTo>
                    <a:pt x="79157" y="76190"/>
                  </a:lnTo>
                  <a:lnTo>
                    <a:pt x="79157" y="76190"/>
                  </a:lnTo>
                  <a:lnTo>
                    <a:pt x="79157" y="75324"/>
                  </a:lnTo>
                  <a:lnTo>
                    <a:pt x="78315" y="74805"/>
                  </a:lnTo>
                  <a:lnTo>
                    <a:pt x="78315" y="74458"/>
                  </a:lnTo>
                  <a:lnTo>
                    <a:pt x="77052" y="74112"/>
                  </a:lnTo>
                  <a:lnTo>
                    <a:pt x="77052" y="74112"/>
                  </a:lnTo>
                  <a:lnTo>
                    <a:pt x="76210" y="74112"/>
                  </a:lnTo>
                  <a:lnTo>
                    <a:pt x="75368" y="74112"/>
                  </a:lnTo>
                  <a:lnTo>
                    <a:pt x="74105" y="74112"/>
                  </a:lnTo>
                  <a:lnTo>
                    <a:pt x="73263" y="74112"/>
                  </a:lnTo>
                  <a:lnTo>
                    <a:pt x="73263" y="74458"/>
                  </a:lnTo>
                  <a:lnTo>
                    <a:pt x="75368" y="74458"/>
                  </a:lnTo>
                  <a:lnTo>
                    <a:pt x="75368" y="74805"/>
                  </a:lnTo>
                  <a:lnTo>
                    <a:pt x="75368" y="74805"/>
                  </a:lnTo>
                  <a:lnTo>
                    <a:pt x="74105" y="74805"/>
                  </a:lnTo>
                  <a:lnTo>
                    <a:pt x="72421" y="74805"/>
                  </a:lnTo>
                  <a:lnTo>
                    <a:pt x="71157" y="74805"/>
                  </a:lnTo>
                  <a:lnTo>
                    <a:pt x="71157" y="74805"/>
                  </a:lnTo>
                  <a:lnTo>
                    <a:pt x="71157" y="74458"/>
                  </a:lnTo>
                  <a:lnTo>
                    <a:pt x="71157" y="74458"/>
                  </a:lnTo>
                  <a:lnTo>
                    <a:pt x="71157" y="74458"/>
                  </a:lnTo>
                  <a:lnTo>
                    <a:pt x="71157" y="74458"/>
                  </a:lnTo>
                  <a:lnTo>
                    <a:pt x="70315" y="74112"/>
                  </a:lnTo>
                  <a:lnTo>
                    <a:pt x="68210" y="74112"/>
                  </a:lnTo>
                  <a:lnTo>
                    <a:pt x="67368" y="73593"/>
                  </a:lnTo>
                  <a:lnTo>
                    <a:pt x="66105" y="73246"/>
                  </a:lnTo>
                  <a:lnTo>
                    <a:pt x="66105" y="72380"/>
                  </a:lnTo>
                  <a:lnTo>
                    <a:pt x="66105" y="72034"/>
                  </a:lnTo>
                  <a:lnTo>
                    <a:pt x="64421" y="70822"/>
                  </a:lnTo>
                  <a:lnTo>
                    <a:pt x="63157" y="70303"/>
                  </a:lnTo>
                  <a:lnTo>
                    <a:pt x="63157" y="69610"/>
                  </a:lnTo>
                  <a:lnTo>
                    <a:pt x="63157" y="69610"/>
                  </a:lnTo>
                  <a:lnTo>
                    <a:pt x="63157" y="69090"/>
                  </a:lnTo>
                  <a:lnTo>
                    <a:pt x="64421" y="68744"/>
                  </a:lnTo>
                  <a:lnTo>
                    <a:pt x="64421" y="69090"/>
                  </a:lnTo>
                  <a:lnTo>
                    <a:pt x="65263" y="69090"/>
                  </a:lnTo>
                  <a:lnTo>
                    <a:pt x="65263" y="69090"/>
                  </a:lnTo>
                  <a:lnTo>
                    <a:pt x="65263" y="69090"/>
                  </a:lnTo>
                  <a:lnTo>
                    <a:pt x="66105" y="69610"/>
                  </a:lnTo>
                  <a:lnTo>
                    <a:pt x="68210" y="69610"/>
                  </a:lnTo>
                  <a:lnTo>
                    <a:pt x="70315" y="69956"/>
                  </a:lnTo>
                  <a:lnTo>
                    <a:pt x="73263" y="70303"/>
                  </a:lnTo>
                  <a:lnTo>
                    <a:pt x="74105" y="70303"/>
                  </a:lnTo>
                  <a:lnTo>
                    <a:pt x="77052" y="70303"/>
                  </a:lnTo>
                  <a:lnTo>
                    <a:pt x="79157" y="70303"/>
                  </a:lnTo>
                  <a:lnTo>
                    <a:pt x="80000" y="69956"/>
                  </a:lnTo>
                  <a:lnTo>
                    <a:pt x="83368" y="69610"/>
                  </a:lnTo>
                  <a:lnTo>
                    <a:pt x="83368" y="69090"/>
                  </a:lnTo>
                  <a:lnTo>
                    <a:pt x="83368" y="68744"/>
                  </a:lnTo>
                  <a:lnTo>
                    <a:pt x="81263" y="67878"/>
                  </a:lnTo>
                  <a:lnTo>
                    <a:pt x="81263" y="67532"/>
                  </a:lnTo>
                  <a:lnTo>
                    <a:pt x="81263" y="67186"/>
                  </a:lnTo>
                  <a:lnTo>
                    <a:pt x="80000" y="66320"/>
                  </a:lnTo>
                  <a:lnTo>
                    <a:pt x="81263" y="66320"/>
                  </a:lnTo>
                  <a:lnTo>
                    <a:pt x="81263" y="66320"/>
                  </a:lnTo>
                  <a:lnTo>
                    <a:pt x="82105" y="65800"/>
                  </a:lnTo>
                  <a:lnTo>
                    <a:pt x="81263" y="65108"/>
                  </a:lnTo>
                  <a:lnTo>
                    <a:pt x="81263" y="64588"/>
                  </a:lnTo>
                  <a:lnTo>
                    <a:pt x="81263" y="64588"/>
                  </a:lnTo>
                  <a:lnTo>
                    <a:pt x="80000" y="64242"/>
                  </a:lnTo>
                  <a:lnTo>
                    <a:pt x="81263" y="64242"/>
                  </a:lnTo>
                  <a:lnTo>
                    <a:pt x="80000" y="64242"/>
                  </a:lnTo>
                  <a:lnTo>
                    <a:pt x="79157" y="63896"/>
                  </a:lnTo>
                  <a:lnTo>
                    <a:pt x="79157" y="63896"/>
                  </a:lnTo>
                  <a:lnTo>
                    <a:pt x="78315" y="63376"/>
                  </a:lnTo>
                  <a:lnTo>
                    <a:pt x="78315" y="63030"/>
                  </a:lnTo>
                  <a:lnTo>
                    <a:pt x="77052" y="62164"/>
                  </a:lnTo>
                  <a:lnTo>
                    <a:pt x="77052" y="62164"/>
                  </a:lnTo>
                  <a:lnTo>
                    <a:pt x="78315" y="62164"/>
                  </a:lnTo>
                  <a:lnTo>
                    <a:pt x="80000" y="62683"/>
                  </a:lnTo>
                  <a:lnTo>
                    <a:pt x="81263" y="62683"/>
                  </a:lnTo>
                  <a:lnTo>
                    <a:pt x="83368" y="63030"/>
                  </a:lnTo>
                  <a:lnTo>
                    <a:pt x="85052" y="63030"/>
                  </a:lnTo>
                  <a:lnTo>
                    <a:pt x="87157" y="63030"/>
                  </a:lnTo>
                  <a:lnTo>
                    <a:pt x="88000" y="63030"/>
                  </a:lnTo>
                  <a:lnTo>
                    <a:pt x="96000" y="62164"/>
                  </a:lnTo>
                  <a:lnTo>
                    <a:pt x="96842" y="62164"/>
                  </a:lnTo>
                  <a:lnTo>
                    <a:pt x="101052" y="61818"/>
                  </a:lnTo>
                  <a:lnTo>
                    <a:pt x="106947" y="60952"/>
                  </a:lnTo>
                  <a:lnTo>
                    <a:pt x="109894" y="59740"/>
                  </a:lnTo>
                  <a:lnTo>
                    <a:pt x="110736" y="59740"/>
                  </a:lnTo>
                  <a:lnTo>
                    <a:pt x="110736" y="58874"/>
                  </a:lnTo>
                  <a:lnTo>
                    <a:pt x="110736" y="58181"/>
                  </a:lnTo>
                  <a:lnTo>
                    <a:pt x="112842" y="57316"/>
                  </a:lnTo>
                  <a:lnTo>
                    <a:pt x="114105" y="55238"/>
                  </a:lnTo>
                  <a:lnTo>
                    <a:pt x="114105" y="54891"/>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40" name="Shape 540"/>
            <p:cNvSpPr/>
            <p:nvPr/>
          </p:nvSpPr>
          <p:spPr>
            <a:xfrm>
              <a:off x="2519" y="2446"/>
              <a:ext cx="0" cy="0"/>
            </a:xfrm>
            <a:custGeom>
              <a:avLst/>
              <a:gdLst/>
              <a:ahLst/>
              <a:cxnLst/>
              <a:rect l="0" t="0" r="0" b="0"/>
              <a:pathLst>
                <a:path w="120000" h="120000" extrusionOk="0">
                  <a:moveTo>
                    <a:pt x="72000" y="0"/>
                  </a:moveTo>
                  <a:lnTo>
                    <a:pt x="72000" y="0"/>
                  </a:lnTo>
                  <a:lnTo>
                    <a:pt x="0" y="0"/>
                  </a:lnTo>
                  <a:lnTo>
                    <a:pt x="0" y="120000"/>
                  </a:lnTo>
                  <a:lnTo>
                    <a:pt x="0" y="120000"/>
                  </a:lnTo>
                  <a:lnTo>
                    <a:pt x="72000" y="120000"/>
                  </a:lnTo>
                  <a:lnTo>
                    <a:pt x="120000" y="120000"/>
                  </a:lnTo>
                  <a:lnTo>
                    <a:pt x="120000" y="120000"/>
                  </a:lnTo>
                  <a:lnTo>
                    <a:pt x="120000" y="120000"/>
                  </a:lnTo>
                  <a:lnTo>
                    <a:pt x="120000" y="0"/>
                  </a:lnTo>
                  <a:lnTo>
                    <a:pt x="120000" y="0"/>
                  </a:lnTo>
                  <a:lnTo>
                    <a:pt x="72000" y="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41" name="Shape 541"/>
            <p:cNvSpPr/>
            <p:nvPr/>
          </p:nvSpPr>
          <p:spPr>
            <a:xfrm>
              <a:off x="3872" y="2902"/>
              <a:ext cx="300" cy="299"/>
            </a:xfrm>
            <a:custGeom>
              <a:avLst/>
              <a:gdLst/>
              <a:ahLst/>
              <a:cxnLst/>
              <a:rect l="0" t="0" r="0" b="0"/>
              <a:pathLst>
                <a:path w="120000" h="120000" extrusionOk="0">
                  <a:moveTo>
                    <a:pt x="120000" y="61678"/>
                  </a:moveTo>
                  <a:lnTo>
                    <a:pt x="120000" y="60419"/>
                  </a:lnTo>
                  <a:lnTo>
                    <a:pt x="120000" y="59580"/>
                  </a:lnTo>
                  <a:lnTo>
                    <a:pt x="120000" y="57482"/>
                  </a:lnTo>
                  <a:lnTo>
                    <a:pt x="118938" y="56643"/>
                  </a:lnTo>
                  <a:lnTo>
                    <a:pt x="118938" y="56643"/>
                  </a:lnTo>
                  <a:lnTo>
                    <a:pt x="118938" y="57482"/>
                  </a:lnTo>
                  <a:lnTo>
                    <a:pt x="118938" y="57482"/>
                  </a:lnTo>
                  <a:lnTo>
                    <a:pt x="117876" y="57482"/>
                  </a:lnTo>
                  <a:lnTo>
                    <a:pt x="116283" y="57482"/>
                  </a:lnTo>
                  <a:lnTo>
                    <a:pt x="115221" y="57482"/>
                  </a:lnTo>
                  <a:lnTo>
                    <a:pt x="115221" y="57482"/>
                  </a:lnTo>
                  <a:lnTo>
                    <a:pt x="114159" y="57482"/>
                  </a:lnTo>
                  <a:lnTo>
                    <a:pt x="111504" y="58741"/>
                  </a:lnTo>
                  <a:lnTo>
                    <a:pt x="110442" y="58741"/>
                  </a:lnTo>
                  <a:lnTo>
                    <a:pt x="107787" y="58741"/>
                  </a:lnTo>
                  <a:lnTo>
                    <a:pt x="106194" y="58741"/>
                  </a:lnTo>
                  <a:lnTo>
                    <a:pt x="105132" y="58741"/>
                  </a:lnTo>
                  <a:lnTo>
                    <a:pt x="105132" y="58741"/>
                  </a:lnTo>
                  <a:lnTo>
                    <a:pt x="104070" y="59580"/>
                  </a:lnTo>
                  <a:lnTo>
                    <a:pt x="102477" y="59580"/>
                  </a:lnTo>
                  <a:lnTo>
                    <a:pt x="102477" y="59580"/>
                  </a:lnTo>
                  <a:lnTo>
                    <a:pt x="102477" y="59580"/>
                  </a:lnTo>
                  <a:lnTo>
                    <a:pt x="102477" y="58741"/>
                  </a:lnTo>
                  <a:lnTo>
                    <a:pt x="102477" y="57482"/>
                  </a:lnTo>
                  <a:lnTo>
                    <a:pt x="101415" y="56643"/>
                  </a:lnTo>
                  <a:lnTo>
                    <a:pt x="102477" y="56643"/>
                  </a:lnTo>
                  <a:lnTo>
                    <a:pt x="102477" y="55804"/>
                  </a:lnTo>
                  <a:lnTo>
                    <a:pt x="102477" y="54545"/>
                  </a:lnTo>
                  <a:lnTo>
                    <a:pt x="102477" y="53706"/>
                  </a:lnTo>
                  <a:lnTo>
                    <a:pt x="102477" y="52867"/>
                  </a:lnTo>
                  <a:lnTo>
                    <a:pt x="102477" y="52867"/>
                  </a:lnTo>
                  <a:lnTo>
                    <a:pt x="102477" y="51608"/>
                  </a:lnTo>
                  <a:lnTo>
                    <a:pt x="102477" y="49510"/>
                  </a:lnTo>
                  <a:lnTo>
                    <a:pt x="101415" y="47832"/>
                  </a:lnTo>
                  <a:lnTo>
                    <a:pt x="100353" y="46573"/>
                  </a:lnTo>
                  <a:lnTo>
                    <a:pt x="98761" y="45734"/>
                  </a:lnTo>
                  <a:lnTo>
                    <a:pt x="98761" y="44895"/>
                  </a:lnTo>
                  <a:lnTo>
                    <a:pt x="98761" y="41958"/>
                  </a:lnTo>
                  <a:lnTo>
                    <a:pt x="98761" y="39860"/>
                  </a:lnTo>
                  <a:lnTo>
                    <a:pt x="98761" y="37762"/>
                  </a:lnTo>
                  <a:lnTo>
                    <a:pt x="98761" y="34825"/>
                  </a:lnTo>
                  <a:lnTo>
                    <a:pt x="98761" y="31888"/>
                  </a:lnTo>
                  <a:lnTo>
                    <a:pt x="98761" y="29790"/>
                  </a:lnTo>
                  <a:lnTo>
                    <a:pt x="98761" y="27692"/>
                  </a:lnTo>
                  <a:lnTo>
                    <a:pt x="98761" y="26013"/>
                  </a:lnTo>
                  <a:lnTo>
                    <a:pt x="98761" y="24755"/>
                  </a:lnTo>
                  <a:lnTo>
                    <a:pt x="98761" y="24755"/>
                  </a:lnTo>
                  <a:lnTo>
                    <a:pt x="97699" y="24755"/>
                  </a:lnTo>
                  <a:lnTo>
                    <a:pt x="95044" y="24755"/>
                  </a:lnTo>
                  <a:lnTo>
                    <a:pt x="92920" y="24755"/>
                  </a:lnTo>
                  <a:lnTo>
                    <a:pt x="90265" y="24755"/>
                  </a:lnTo>
                  <a:lnTo>
                    <a:pt x="86548" y="24755"/>
                  </a:lnTo>
                  <a:lnTo>
                    <a:pt x="86548" y="24755"/>
                  </a:lnTo>
                  <a:lnTo>
                    <a:pt x="86548" y="23916"/>
                  </a:lnTo>
                  <a:lnTo>
                    <a:pt x="86548" y="23916"/>
                  </a:lnTo>
                  <a:lnTo>
                    <a:pt x="86548" y="21818"/>
                  </a:lnTo>
                  <a:lnTo>
                    <a:pt x="86548" y="21818"/>
                  </a:lnTo>
                  <a:lnTo>
                    <a:pt x="84955" y="21818"/>
                  </a:lnTo>
                  <a:lnTo>
                    <a:pt x="82831" y="21818"/>
                  </a:lnTo>
                  <a:lnTo>
                    <a:pt x="81238" y="21818"/>
                  </a:lnTo>
                  <a:lnTo>
                    <a:pt x="80176" y="21818"/>
                  </a:lnTo>
                  <a:lnTo>
                    <a:pt x="77522" y="23076"/>
                  </a:lnTo>
                  <a:lnTo>
                    <a:pt x="76460" y="23916"/>
                  </a:lnTo>
                  <a:lnTo>
                    <a:pt x="75398" y="24755"/>
                  </a:lnTo>
                  <a:lnTo>
                    <a:pt x="75398" y="26013"/>
                  </a:lnTo>
                  <a:lnTo>
                    <a:pt x="75398" y="26853"/>
                  </a:lnTo>
                  <a:lnTo>
                    <a:pt x="75398" y="27692"/>
                  </a:lnTo>
                  <a:lnTo>
                    <a:pt x="75398" y="27692"/>
                  </a:lnTo>
                  <a:lnTo>
                    <a:pt x="75398" y="28951"/>
                  </a:lnTo>
                  <a:lnTo>
                    <a:pt x="73805" y="31048"/>
                  </a:lnTo>
                  <a:lnTo>
                    <a:pt x="72743" y="31048"/>
                  </a:lnTo>
                  <a:lnTo>
                    <a:pt x="70088" y="31048"/>
                  </a:lnTo>
                  <a:lnTo>
                    <a:pt x="70088" y="31048"/>
                  </a:lnTo>
                  <a:lnTo>
                    <a:pt x="67433" y="31048"/>
                  </a:lnTo>
                  <a:lnTo>
                    <a:pt x="66371" y="31048"/>
                  </a:lnTo>
                  <a:lnTo>
                    <a:pt x="66371" y="31048"/>
                  </a:lnTo>
                  <a:lnTo>
                    <a:pt x="63716" y="31048"/>
                  </a:lnTo>
                  <a:lnTo>
                    <a:pt x="62654" y="31888"/>
                  </a:lnTo>
                  <a:lnTo>
                    <a:pt x="61592" y="31888"/>
                  </a:lnTo>
                  <a:lnTo>
                    <a:pt x="61592" y="31888"/>
                  </a:lnTo>
                  <a:lnTo>
                    <a:pt x="60000" y="31888"/>
                  </a:lnTo>
                  <a:lnTo>
                    <a:pt x="58938" y="31888"/>
                  </a:lnTo>
                  <a:lnTo>
                    <a:pt x="57876" y="31888"/>
                  </a:lnTo>
                  <a:lnTo>
                    <a:pt x="56283" y="31888"/>
                  </a:lnTo>
                  <a:lnTo>
                    <a:pt x="56283" y="31888"/>
                  </a:lnTo>
                  <a:lnTo>
                    <a:pt x="55221" y="29790"/>
                  </a:lnTo>
                  <a:lnTo>
                    <a:pt x="53628" y="27692"/>
                  </a:lnTo>
                  <a:lnTo>
                    <a:pt x="52566" y="26853"/>
                  </a:lnTo>
                  <a:lnTo>
                    <a:pt x="52566" y="26013"/>
                  </a:lnTo>
                  <a:lnTo>
                    <a:pt x="51504" y="26013"/>
                  </a:lnTo>
                  <a:lnTo>
                    <a:pt x="51504" y="24755"/>
                  </a:lnTo>
                  <a:lnTo>
                    <a:pt x="51504" y="23916"/>
                  </a:lnTo>
                  <a:lnTo>
                    <a:pt x="51504" y="23076"/>
                  </a:lnTo>
                  <a:lnTo>
                    <a:pt x="49911" y="21818"/>
                  </a:lnTo>
                  <a:lnTo>
                    <a:pt x="48849" y="20139"/>
                  </a:lnTo>
                  <a:lnTo>
                    <a:pt x="48849" y="18881"/>
                  </a:lnTo>
                  <a:lnTo>
                    <a:pt x="48849" y="18041"/>
                  </a:lnTo>
                  <a:lnTo>
                    <a:pt x="48849" y="16783"/>
                  </a:lnTo>
                  <a:lnTo>
                    <a:pt x="48849" y="15944"/>
                  </a:lnTo>
                  <a:lnTo>
                    <a:pt x="48849" y="15104"/>
                  </a:lnTo>
                  <a:lnTo>
                    <a:pt x="47787" y="15104"/>
                  </a:lnTo>
                  <a:lnTo>
                    <a:pt x="47787" y="13846"/>
                  </a:lnTo>
                  <a:lnTo>
                    <a:pt x="47787" y="13846"/>
                  </a:lnTo>
                  <a:lnTo>
                    <a:pt x="46194" y="13006"/>
                  </a:lnTo>
                  <a:lnTo>
                    <a:pt x="45132" y="13006"/>
                  </a:lnTo>
                  <a:lnTo>
                    <a:pt x="45132" y="12167"/>
                  </a:lnTo>
                  <a:lnTo>
                    <a:pt x="42477" y="12167"/>
                  </a:lnTo>
                  <a:lnTo>
                    <a:pt x="38761" y="12167"/>
                  </a:lnTo>
                  <a:lnTo>
                    <a:pt x="36106" y="12167"/>
                  </a:lnTo>
                  <a:lnTo>
                    <a:pt x="32389" y="12167"/>
                  </a:lnTo>
                  <a:lnTo>
                    <a:pt x="28672" y="13006"/>
                  </a:lnTo>
                  <a:lnTo>
                    <a:pt x="28672" y="13006"/>
                  </a:lnTo>
                  <a:lnTo>
                    <a:pt x="24955" y="13006"/>
                  </a:lnTo>
                  <a:lnTo>
                    <a:pt x="23893" y="12167"/>
                  </a:lnTo>
                  <a:lnTo>
                    <a:pt x="22831" y="12167"/>
                  </a:lnTo>
                  <a:lnTo>
                    <a:pt x="21238" y="12167"/>
                  </a:lnTo>
                  <a:lnTo>
                    <a:pt x="18584" y="12167"/>
                  </a:lnTo>
                  <a:lnTo>
                    <a:pt x="18584" y="12167"/>
                  </a:lnTo>
                  <a:lnTo>
                    <a:pt x="14867" y="12167"/>
                  </a:lnTo>
                  <a:lnTo>
                    <a:pt x="14867" y="12167"/>
                  </a:lnTo>
                  <a:lnTo>
                    <a:pt x="14867" y="13006"/>
                  </a:lnTo>
                  <a:lnTo>
                    <a:pt x="13805" y="12167"/>
                  </a:lnTo>
                  <a:lnTo>
                    <a:pt x="12743" y="12167"/>
                  </a:lnTo>
                  <a:lnTo>
                    <a:pt x="12743" y="13006"/>
                  </a:lnTo>
                  <a:lnTo>
                    <a:pt x="10088" y="13846"/>
                  </a:lnTo>
                  <a:lnTo>
                    <a:pt x="7433" y="13846"/>
                  </a:lnTo>
                  <a:lnTo>
                    <a:pt x="6371" y="13846"/>
                  </a:lnTo>
                  <a:lnTo>
                    <a:pt x="5309" y="13846"/>
                  </a:lnTo>
                  <a:lnTo>
                    <a:pt x="5309" y="15104"/>
                  </a:lnTo>
                  <a:lnTo>
                    <a:pt x="5309" y="15104"/>
                  </a:lnTo>
                  <a:lnTo>
                    <a:pt x="6371" y="16783"/>
                  </a:lnTo>
                  <a:lnTo>
                    <a:pt x="7433" y="18881"/>
                  </a:lnTo>
                  <a:lnTo>
                    <a:pt x="10088" y="21818"/>
                  </a:lnTo>
                  <a:lnTo>
                    <a:pt x="10088" y="24755"/>
                  </a:lnTo>
                  <a:lnTo>
                    <a:pt x="12743" y="28951"/>
                  </a:lnTo>
                  <a:lnTo>
                    <a:pt x="14867" y="34825"/>
                  </a:lnTo>
                  <a:lnTo>
                    <a:pt x="14867" y="35664"/>
                  </a:lnTo>
                  <a:lnTo>
                    <a:pt x="14867" y="35664"/>
                  </a:lnTo>
                  <a:lnTo>
                    <a:pt x="14867" y="36923"/>
                  </a:lnTo>
                  <a:lnTo>
                    <a:pt x="14867" y="37762"/>
                  </a:lnTo>
                  <a:lnTo>
                    <a:pt x="12743" y="39860"/>
                  </a:lnTo>
                  <a:lnTo>
                    <a:pt x="12743" y="39860"/>
                  </a:lnTo>
                  <a:lnTo>
                    <a:pt x="12743" y="39860"/>
                  </a:lnTo>
                  <a:lnTo>
                    <a:pt x="12743" y="38601"/>
                  </a:lnTo>
                  <a:lnTo>
                    <a:pt x="12743" y="39860"/>
                  </a:lnTo>
                  <a:lnTo>
                    <a:pt x="11150" y="39860"/>
                  </a:lnTo>
                  <a:lnTo>
                    <a:pt x="11150" y="40699"/>
                  </a:lnTo>
                  <a:lnTo>
                    <a:pt x="12743" y="41958"/>
                  </a:lnTo>
                  <a:lnTo>
                    <a:pt x="13805" y="43636"/>
                  </a:lnTo>
                  <a:lnTo>
                    <a:pt x="13805" y="44895"/>
                  </a:lnTo>
                  <a:lnTo>
                    <a:pt x="13805" y="46573"/>
                  </a:lnTo>
                  <a:lnTo>
                    <a:pt x="14867" y="47832"/>
                  </a:lnTo>
                  <a:lnTo>
                    <a:pt x="14867" y="48671"/>
                  </a:lnTo>
                  <a:lnTo>
                    <a:pt x="16460" y="51608"/>
                  </a:lnTo>
                  <a:lnTo>
                    <a:pt x="17522" y="52867"/>
                  </a:lnTo>
                  <a:lnTo>
                    <a:pt x="17522" y="53706"/>
                  </a:lnTo>
                  <a:lnTo>
                    <a:pt x="18584" y="54545"/>
                  </a:lnTo>
                  <a:lnTo>
                    <a:pt x="18584" y="55804"/>
                  </a:lnTo>
                  <a:lnTo>
                    <a:pt x="20176" y="57482"/>
                  </a:lnTo>
                  <a:lnTo>
                    <a:pt x="20176" y="58741"/>
                  </a:lnTo>
                  <a:lnTo>
                    <a:pt x="20176" y="62517"/>
                  </a:lnTo>
                  <a:lnTo>
                    <a:pt x="20176" y="64615"/>
                  </a:lnTo>
                  <a:lnTo>
                    <a:pt x="18584" y="67552"/>
                  </a:lnTo>
                  <a:lnTo>
                    <a:pt x="17522" y="69650"/>
                  </a:lnTo>
                  <a:lnTo>
                    <a:pt x="16460" y="71328"/>
                  </a:lnTo>
                  <a:lnTo>
                    <a:pt x="13805" y="72587"/>
                  </a:lnTo>
                  <a:lnTo>
                    <a:pt x="11150" y="73426"/>
                  </a:lnTo>
                  <a:lnTo>
                    <a:pt x="11150" y="75524"/>
                  </a:lnTo>
                  <a:lnTo>
                    <a:pt x="7433" y="79300"/>
                  </a:lnTo>
                  <a:lnTo>
                    <a:pt x="6371" y="82657"/>
                  </a:lnTo>
                  <a:lnTo>
                    <a:pt x="6371" y="84335"/>
                  </a:lnTo>
                  <a:lnTo>
                    <a:pt x="5309" y="90209"/>
                  </a:lnTo>
                  <a:lnTo>
                    <a:pt x="2654" y="95244"/>
                  </a:lnTo>
                  <a:lnTo>
                    <a:pt x="2654" y="98181"/>
                  </a:lnTo>
                  <a:lnTo>
                    <a:pt x="1061" y="99440"/>
                  </a:lnTo>
                  <a:lnTo>
                    <a:pt x="1061" y="99440"/>
                  </a:lnTo>
                  <a:lnTo>
                    <a:pt x="0" y="100279"/>
                  </a:lnTo>
                  <a:lnTo>
                    <a:pt x="0" y="100279"/>
                  </a:lnTo>
                  <a:lnTo>
                    <a:pt x="0" y="101118"/>
                  </a:lnTo>
                  <a:lnTo>
                    <a:pt x="0" y="102377"/>
                  </a:lnTo>
                  <a:lnTo>
                    <a:pt x="0" y="106153"/>
                  </a:lnTo>
                  <a:lnTo>
                    <a:pt x="0" y="108251"/>
                  </a:lnTo>
                  <a:lnTo>
                    <a:pt x="0" y="110349"/>
                  </a:lnTo>
                  <a:lnTo>
                    <a:pt x="0" y="113286"/>
                  </a:lnTo>
                  <a:lnTo>
                    <a:pt x="1061" y="113286"/>
                  </a:lnTo>
                  <a:lnTo>
                    <a:pt x="2654" y="112027"/>
                  </a:lnTo>
                  <a:lnTo>
                    <a:pt x="2654" y="112027"/>
                  </a:lnTo>
                  <a:lnTo>
                    <a:pt x="3716" y="113286"/>
                  </a:lnTo>
                  <a:lnTo>
                    <a:pt x="5309" y="113286"/>
                  </a:lnTo>
                  <a:lnTo>
                    <a:pt x="5309" y="113286"/>
                  </a:lnTo>
                  <a:lnTo>
                    <a:pt x="7433" y="113286"/>
                  </a:lnTo>
                  <a:lnTo>
                    <a:pt x="9026" y="112027"/>
                  </a:lnTo>
                  <a:lnTo>
                    <a:pt x="10088" y="112027"/>
                  </a:lnTo>
                  <a:lnTo>
                    <a:pt x="10088" y="111188"/>
                  </a:lnTo>
                  <a:lnTo>
                    <a:pt x="11150" y="111188"/>
                  </a:lnTo>
                  <a:lnTo>
                    <a:pt x="12743" y="111188"/>
                  </a:lnTo>
                  <a:lnTo>
                    <a:pt x="13805" y="111188"/>
                  </a:lnTo>
                  <a:lnTo>
                    <a:pt x="13805" y="111188"/>
                  </a:lnTo>
                  <a:lnTo>
                    <a:pt x="14867" y="111188"/>
                  </a:lnTo>
                  <a:lnTo>
                    <a:pt x="16460" y="111188"/>
                  </a:lnTo>
                  <a:lnTo>
                    <a:pt x="17522" y="112027"/>
                  </a:lnTo>
                  <a:lnTo>
                    <a:pt x="18584" y="113286"/>
                  </a:lnTo>
                  <a:lnTo>
                    <a:pt x="18584" y="113286"/>
                  </a:lnTo>
                  <a:lnTo>
                    <a:pt x="20176" y="114125"/>
                  </a:lnTo>
                  <a:lnTo>
                    <a:pt x="21238" y="114125"/>
                  </a:lnTo>
                  <a:lnTo>
                    <a:pt x="21238" y="114125"/>
                  </a:lnTo>
                  <a:lnTo>
                    <a:pt x="21238" y="114125"/>
                  </a:lnTo>
                  <a:lnTo>
                    <a:pt x="23893" y="114125"/>
                  </a:lnTo>
                  <a:lnTo>
                    <a:pt x="24955" y="114125"/>
                  </a:lnTo>
                  <a:lnTo>
                    <a:pt x="27610" y="114125"/>
                  </a:lnTo>
                  <a:lnTo>
                    <a:pt x="35044" y="114125"/>
                  </a:lnTo>
                  <a:lnTo>
                    <a:pt x="38761" y="114125"/>
                  </a:lnTo>
                  <a:lnTo>
                    <a:pt x="42477" y="114125"/>
                  </a:lnTo>
                  <a:lnTo>
                    <a:pt x="49911" y="114125"/>
                  </a:lnTo>
                  <a:lnTo>
                    <a:pt x="53628" y="114125"/>
                  </a:lnTo>
                  <a:lnTo>
                    <a:pt x="57876" y="114125"/>
                  </a:lnTo>
                  <a:lnTo>
                    <a:pt x="58938" y="114125"/>
                  </a:lnTo>
                  <a:lnTo>
                    <a:pt x="61592" y="114125"/>
                  </a:lnTo>
                  <a:lnTo>
                    <a:pt x="63716" y="114125"/>
                  </a:lnTo>
                  <a:lnTo>
                    <a:pt x="65309" y="114125"/>
                  </a:lnTo>
                  <a:lnTo>
                    <a:pt x="65309" y="115384"/>
                  </a:lnTo>
                  <a:lnTo>
                    <a:pt x="65309" y="115384"/>
                  </a:lnTo>
                  <a:lnTo>
                    <a:pt x="66371" y="116223"/>
                  </a:lnTo>
                  <a:lnTo>
                    <a:pt x="67433" y="117062"/>
                  </a:lnTo>
                  <a:lnTo>
                    <a:pt x="69026" y="118321"/>
                  </a:lnTo>
                  <a:lnTo>
                    <a:pt x="70088" y="118321"/>
                  </a:lnTo>
                  <a:lnTo>
                    <a:pt x="71150" y="118321"/>
                  </a:lnTo>
                  <a:lnTo>
                    <a:pt x="71150" y="118321"/>
                  </a:lnTo>
                  <a:lnTo>
                    <a:pt x="73805" y="118321"/>
                  </a:lnTo>
                  <a:lnTo>
                    <a:pt x="76460" y="119160"/>
                  </a:lnTo>
                  <a:lnTo>
                    <a:pt x="79115" y="119160"/>
                  </a:lnTo>
                  <a:lnTo>
                    <a:pt x="81238" y="119160"/>
                  </a:lnTo>
                  <a:lnTo>
                    <a:pt x="83893" y="119160"/>
                  </a:lnTo>
                  <a:lnTo>
                    <a:pt x="84955" y="119160"/>
                  </a:lnTo>
                  <a:lnTo>
                    <a:pt x="86548" y="120000"/>
                  </a:lnTo>
                  <a:lnTo>
                    <a:pt x="86548" y="120000"/>
                  </a:lnTo>
                  <a:lnTo>
                    <a:pt x="88672" y="120000"/>
                  </a:lnTo>
                  <a:lnTo>
                    <a:pt x="90265" y="119160"/>
                  </a:lnTo>
                  <a:lnTo>
                    <a:pt x="92920" y="119160"/>
                  </a:lnTo>
                  <a:lnTo>
                    <a:pt x="92920" y="120000"/>
                  </a:lnTo>
                  <a:lnTo>
                    <a:pt x="93982" y="120000"/>
                  </a:lnTo>
                  <a:lnTo>
                    <a:pt x="96637" y="119160"/>
                  </a:lnTo>
                  <a:lnTo>
                    <a:pt x="98761" y="119160"/>
                  </a:lnTo>
                  <a:lnTo>
                    <a:pt x="102477" y="118321"/>
                  </a:lnTo>
                  <a:lnTo>
                    <a:pt x="105132" y="118321"/>
                  </a:lnTo>
                  <a:lnTo>
                    <a:pt x="110442" y="117062"/>
                  </a:lnTo>
                  <a:lnTo>
                    <a:pt x="112566" y="117062"/>
                  </a:lnTo>
                  <a:lnTo>
                    <a:pt x="111504" y="115384"/>
                  </a:lnTo>
                  <a:lnTo>
                    <a:pt x="108849" y="113286"/>
                  </a:lnTo>
                  <a:lnTo>
                    <a:pt x="106194" y="111188"/>
                  </a:lnTo>
                  <a:lnTo>
                    <a:pt x="105132" y="110349"/>
                  </a:lnTo>
                  <a:lnTo>
                    <a:pt x="104070" y="109090"/>
                  </a:lnTo>
                  <a:lnTo>
                    <a:pt x="102477" y="108251"/>
                  </a:lnTo>
                  <a:lnTo>
                    <a:pt x="101415" y="107412"/>
                  </a:lnTo>
                  <a:lnTo>
                    <a:pt x="101415" y="107412"/>
                  </a:lnTo>
                  <a:lnTo>
                    <a:pt x="100353" y="104475"/>
                  </a:lnTo>
                  <a:lnTo>
                    <a:pt x="98761" y="101118"/>
                  </a:lnTo>
                  <a:lnTo>
                    <a:pt x="98761" y="99440"/>
                  </a:lnTo>
                  <a:lnTo>
                    <a:pt x="98761" y="97342"/>
                  </a:lnTo>
                  <a:lnTo>
                    <a:pt x="98761" y="94405"/>
                  </a:lnTo>
                  <a:lnTo>
                    <a:pt x="98761" y="91468"/>
                  </a:lnTo>
                  <a:lnTo>
                    <a:pt x="100353" y="88531"/>
                  </a:lnTo>
                  <a:lnTo>
                    <a:pt x="100353" y="85594"/>
                  </a:lnTo>
                  <a:lnTo>
                    <a:pt x="100353" y="82657"/>
                  </a:lnTo>
                  <a:lnTo>
                    <a:pt x="100353" y="79300"/>
                  </a:lnTo>
                  <a:lnTo>
                    <a:pt x="100353" y="76363"/>
                  </a:lnTo>
                  <a:lnTo>
                    <a:pt x="100353" y="75524"/>
                  </a:lnTo>
                  <a:lnTo>
                    <a:pt x="117876" y="75524"/>
                  </a:lnTo>
                  <a:lnTo>
                    <a:pt x="118938" y="75524"/>
                  </a:lnTo>
                  <a:lnTo>
                    <a:pt x="118938" y="75524"/>
                  </a:lnTo>
                  <a:lnTo>
                    <a:pt x="118938" y="75524"/>
                  </a:lnTo>
                  <a:lnTo>
                    <a:pt x="118938" y="73426"/>
                  </a:lnTo>
                  <a:lnTo>
                    <a:pt x="118938" y="73426"/>
                  </a:lnTo>
                  <a:lnTo>
                    <a:pt x="118938" y="72587"/>
                  </a:lnTo>
                  <a:lnTo>
                    <a:pt x="118938" y="71328"/>
                  </a:lnTo>
                  <a:lnTo>
                    <a:pt x="118938" y="70489"/>
                  </a:lnTo>
                  <a:lnTo>
                    <a:pt x="120000" y="69650"/>
                  </a:lnTo>
                  <a:lnTo>
                    <a:pt x="118938" y="67552"/>
                  </a:lnTo>
                  <a:lnTo>
                    <a:pt x="118938" y="66713"/>
                  </a:lnTo>
                  <a:lnTo>
                    <a:pt x="118938" y="65454"/>
                  </a:lnTo>
                  <a:lnTo>
                    <a:pt x="120000" y="64615"/>
                  </a:lnTo>
                  <a:lnTo>
                    <a:pt x="118938" y="63776"/>
                  </a:lnTo>
                  <a:lnTo>
                    <a:pt x="120000" y="62517"/>
                  </a:lnTo>
                  <a:lnTo>
                    <a:pt x="120000" y="62517"/>
                  </a:lnTo>
                  <a:lnTo>
                    <a:pt x="120000" y="61678"/>
                  </a:lnTo>
                  <a:lnTo>
                    <a:pt x="120000" y="61678"/>
                  </a:lnTo>
                  <a:lnTo>
                    <a:pt x="120000" y="61678"/>
                  </a:lnTo>
                  <a:close/>
                  <a:moveTo>
                    <a:pt x="2654" y="5874"/>
                  </a:moveTo>
                  <a:lnTo>
                    <a:pt x="3716" y="7972"/>
                  </a:lnTo>
                  <a:lnTo>
                    <a:pt x="3716" y="9230"/>
                  </a:lnTo>
                  <a:lnTo>
                    <a:pt x="3716" y="9230"/>
                  </a:lnTo>
                  <a:lnTo>
                    <a:pt x="3716" y="10069"/>
                  </a:lnTo>
                  <a:lnTo>
                    <a:pt x="3716" y="10909"/>
                  </a:lnTo>
                  <a:lnTo>
                    <a:pt x="3716" y="10909"/>
                  </a:lnTo>
                  <a:lnTo>
                    <a:pt x="5309" y="10909"/>
                  </a:lnTo>
                  <a:lnTo>
                    <a:pt x="6371" y="10909"/>
                  </a:lnTo>
                  <a:lnTo>
                    <a:pt x="6371" y="10909"/>
                  </a:lnTo>
                  <a:lnTo>
                    <a:pt x="7433" y="10909"/>
                  </a:lnTo>
                  <a:lnTo>
                    <a:pt x="7433" y="7972"/>
                  </a:lnTo>
                  <a:lnTo>
                    <a:pt x="7433" y="5874"/>
                  </a:lnTo>
                  <a:lnTo>
                    <a:pt x="6371" y="5874"/>
                  </a:lnTo>
                  <a:lnTo>
                    <a:pt x="6371" y="5034"/>
                  </a:lnTo>
                  <a:lnTo>
                    <a:pt x="6371" y="5034"/>
                  </a:lnTo>
                  <a:lnTo>
                    <a:pt x="7433" y="5034"/>
                  </a:lnTo>
                  <a:lnTo>
                    <a:pt x="7433" y="5034"/>
                  </a:lnTo>
                  <a:lnTo>
                    <a:pt x="7433" y="4195"/>
                  </a:lnTo>
                  <a:lnTo>
                    <a:pt x="9026" y="4195"/>
                  </a:lnTo>
                  <a:lnTo>
                    <a:pt x="10088" y="2097"/>
                  </a:lnTo>
                  <a:lnTo>
                    <a:pt x="11150" y="2097"/>
                  </a:lnTo>
                  <a:lnTo>
                    <a:pt x="12743" y="2097"/>
                  </a:lnTo>
                  <a:lnTo>
                    <a:pt x="12743" y="1258"/>
                  </a:lnTo>
                  <a:lnTo>
                    <a:pt x="12743" y="1258"/>
                  </a:lnTo>
                  <a:lnTo>
                    <a:pt x="11150" y="1258"/>
                  </a:lnTo>
                  <a:lnTo>
                    <a:pt x="11150" y="0"/>
                  </a:lnTo>
                  <a:lnTo>
                    <a:pt x="10088" y="0"/>
                  </a:lnTo>
                  <a:lnTo>
                    <a:pt x="10088" y="0"/>
                  </a:lnTo>
                  <a:lnTo>
                    <a:pt x="9026" y="0"/>
                  </a:lnTo>
                  <a:lnTo>
                    <a:pt x="9026" y="0"/>
                  </a:lnTo>
                  <a:lnTo>
                    <a:pt x="7433" y="1258"/>
                  </a:lnTo>
                  <a:lnTo>
                    <a:pt x="6371" y="1258"/>
                  </a:lnTo>
                  <a:lnTo>
                    <a:pt x="6371" y="2097"/>
                  </a:lnTo>
                  <a:lnTo>
                    <a:pt x="5309" y="2097"/>
                  </a:lnTo>
                  <a:lnTo>
                    <a:pt x="5309" y="2937"/>
                  </a:lnTo>
                  <a:lnTo>
                    <a:pt x="3716" y="2937"/>
                  </a:lnTo>
                  <a:lnTo>
                    <a:pt x="3716" y="2937"/>
                  </a:lnTo>
                  <a:lnTo>
                    <a:pt x="2654" y="4195"/>
                  </a:lnTo>
                  <a:lnTo>
                    <a:pt x="2654" y="5034"/>
                  </a:lnTo>
                  <a:lnTo>
                    <a:pt x="2654" y="5034"/>
                  </a:lnTo>
                  <a:lnTo>
                    <a:pt x="2654" y="5874"/>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42" name="Shape 542"/>
            <p:cNvSpPr/>
            <p:nvPr/>
          </p:nvSpPr>
          <p:spPr>
            <a:xfrm>
              <a:off x="3695" y="1909"/>
              <a:ext cx="0" cy="0"/>
            </a:xfrm>
            <a:custGeom>
              <a:avLst/>
              <a:gdLst/>
              <a:ahLst/>
              <a:cxnLst/>
              <a:rect l="0" t="0" r="0" b="0"/>
              <a:pathLst>
                <a:path w="120000" h="120000" extrusionOk="0">
                  <a:moveTo>
                    <a:pt x="120000" y="0"/>
                  </a:moveTo>
                  <a:lnTo>
                    <a:pt x="72000" y="0"/>
                  </a:lnTo>
                  <a:lnTo>
                    <a:pt x="72000" y="0"/>
                  </a:lnTo>
                  <a:lnTo>
                    <a:pt x="0" y="0"/>
                  </a:lnTo>
                  <a:lnTo>
                    <a:pt x="0" y="0"/>
                  </a:lnTo>
                  <a:lnTo>
                    <a:pt x="0" y="72000"/>
                  </a:lnTo>
                  <a:lnTo>
                    <a:pt x="0" y="72000"/>
                  </a:lnTo>
                  <a:lnTo>
                    <a:pt x="0" y="72000"/>
                  </a:lnTo>
                  <a:lnTo>
                    <a:pt x="0" y="120000"/>
                  </a:lnTo>
                  <a:lnTo>
                    <a:pt x="0" y="120000"/>
                  </a:lnTo>
                  <a:lnTo>
                    <a:pt x="0" y="120000"/>
                  </a:lnTo>
                  <a:lnTo>
                    <a:pt x="72000" y="120000"/>
                  </a:lnTo>
                  <a:lnTo>
                    <a:pt x="72000" y="120000"/>
                  </a:lnTo>
                  <a:lnTo>
                    <a:pt x="120000" y="72000"/>
                  </a:lnTo>
                  <a:lnTo>
                    <a:pt x="120000" y="72000"/>
                  </a:lnTo>
                  <a:lnTo>
                    <a:pt x="120000" y="72000"/>
                  </a:lnTo>
                  <a:lnTo>
                    <a:pt x="120000" y="72000"/>
                  </a:lnTo>
                  <a:lnTo>
                    <a:pt x="120000" y="72000"/>
                  </a:lnTo>
                  <a:lnTo>
                    <a:pt x="120000" y="0"/>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43" name="Shape 543"/>
            <p:cNvSpPr/>
            <p:nvPr/>
          </p:nvSpPr>
          <p:spPr>
            <a:xfrm>
              <a:off x="3502" y="2025"/>
              <a:ext cx="300" cy="300"/>
            </a:xfrm>
            <a:custGeom>
              <a:avLst/>
              <a:gdLst/>
              <a:ahLst/>
              <a:cxnLst/>
              <a:rect l="0" t="0" r="0" b="0"/>
              <a:pathLst>
                <a:path w="120000" h="120000" extrusionOk="0">
                  <a:moveTo>
                    <a:pt x="119354" y="88041"/>
                  </a:moveTo>
                  <a:lnTo>
                    <a:pt x="119354" y="87415"/>
                  </a:lnTo>
                  <a:lnTo>
                    <a:pt x="118709" y="85848"/>
                  </a:lnTo>
                  <a:lnTo>
                    <a:pt x="117741" y="84595"/>
                  </a:lnTo>
                  <a:lnTo>
                    <a:pt x="117741" y="84595"/>
                  </a:lnTo>
                  <a:lnTo>
                    <a:pt x="115483" y="83655"/>
                  </a:lnTo>
                  <a:lnTo>
                    <a:pt x="112580" y="83028"/>
                  </a:lnTo>
                  <a:lnTo>
                    <a:pt x="110967" y="83028"/>
                  </a:lnTo>
                  <a:lnTo>
                    <a:pt x="110967" y="83028"/>
                  </a:lnTo>
                  <a:lnTo>
                    <a:pt x="110967" y="83028"/>
                  </a:lnTo>
                  <a:lnTo>
                    <a:pt x="110322" y="82088"/>
                  </a:lnTo>
                  <a:lnTo>
                    <a:pt x="110322" y="82088"/>
                  </a:lnTo>
                  <a:lnTo>
                    <a:pt x="109354" y="81462"/>
                  </a:lnTo>
                  <a:lnTo>
                    <a:pt x="108709" y="79268"/>
                  </a:lnTo>
                  <a:lnTo>
                    <a:pt x="108709" y="78642"/>
                  </a:lnTo>
                  <a:lnTo>
                    <a:pt x="108709" y="77702"/>
                  </a:lnTo>
                  <a:lnTo>
                    <a:pt x="107096" y="75509"/>
                  </a:lnTo>
                  <a:lnTo>
                    <a:pt x="106451" y="73942"/>
                  </a:lnTo>
                  <a:lnTo>
                    <a:pt x="105806" y="72689"/>
                  </a:lnTo>
                  <a:lnTo>
                    <a:pt x="105806" y="72689"/>
                  </a:lnTo>
                  <a:lnTo>
                    <a:pt x="105806" y="71749"/>
                  </a:lnTo>
                  <a:lnTo>
                    <a:pt x="105806" y="71122"/>
                  </a:lnTo>
                  <a:lnTo>
                    <a:pt x="107096" y="70496"/>
                  </a:lnTo>
                  <a:lnTo>
                    <a:pt x="108064" y="69556"/>
                  </a:lnTo>
                  <a:lnTo>
                    <a:pt x="108064" y="68929"/>
                  </a:lnTo>
                  <a:lnTo>
                    <a:pt x="108064" y="67362"/>
                  </a:lnTo>
                  <a:lnTo>
                    <a:pt x="108064" y="67362"/>
                  </a:lnTo>
                  <a:lnTo>
                    <a:pt x="108064" y="66736"/>
                  </a:lnTo>
                  <a:lnTo>
                    <a:pt x="107096" y="65169"/>
                  </a:lnTo>
                  <a:lnTo>
                    <a:pt x="107096" y="64543"/>
                  </a:lnTo>
                  <a:lnTo>
                    <a:pt x="108064" y="62976"/>
                  </a:lnTo>
                  <a:lnTo>
                    <a:pt x="108064" y="61409"/>
                  </a:lnTo>
                  <a:lnTo>
                    <a:pt x="108064" y="60156"/>
                  </a:lnTo>
                  <a:lnTo>
                    <a:pt x="108064" y="56396"/>
                  </a:lnTo>
                  <a:lnTo>
                    <a:pt x="108064" y="53263"/>
                  </a:lnTo>
                  <a:lnTo>
                    <a:pt x="108064" y="52637"/>
                  </a:lnTo>
                  <a:lnTo>
                    <a:pt x="108064" y="52637"/>
                  </a:lnTo>
                  <a:lnTo>
                    <a:pt x="107096" y="51070"/>
                  </a:lnTo>
                  <a:lnTo>
                    <a:pt x="107096" y="49503"/>
                  </a:lnTo>
                  <a:lnTo>
                    <a:pt x="106451" y="48877"/>
                  </a:lnTo>
                  <a:lnTo>
                    <a:pt x="106451" y="48250"/>
                  </a:lnTo>
                  <a:lnTo>
                    <a:pt x="105806" y="46684"/>
                  </a:lnTo>
                  <a:lnTo>
                    <a:pt x="104838" y="46057"/>
                  </a:lnTo>
                  <a:lnTo>
                    <a:pt x="105806" y="46057"/>
                  </a:lnTo>
                  <a:lnTo>
                    <a:pt x="106451" y="45117"/>
                  </a:lnTo>
                  <a:lnTo>
                    <a:pt x="105806" y="43864"/>
                  </a:lnTo>
                  <a:lnTo>
                    <a:pt x="105806" y="42297"/>
                  </a:lnTo>
                  <a:lnTo>
                    <a:pt x="104838" y="41357"/>
                  </a:lnTo>
                  <a:lnTo>
                    <a:pt x="104838" y="39164"/>
                  </a:lnTo>
                  <a:lnTo>
                    <a:pt x="104193" y="37911"/>
                  </a:lnTo>
                  <a:lnTo>
                    <a:pt x="104193" y="36344"/>
                  </a:lnTo>
                  <a:lnTo>
                    <a:pt x="103548" y="34778"/>
                  </a:lnTo>
                  <a:lnTo>
                    <a:pt x="103548" y="33211"/>
                  </a:lnTo>
                  <a:lnTo>
                    <a:pt x="103548" y="32584"/>
                  </a:lnTo>
                  <a:lnTo>
                    <a:pt x="102580" y="32584"/>
                  </a:lnTo>
                  <a:lnTo>
                    <a:pt x="101290" y="31958"/>
                  </a:lnTo>
                  <a:lnTo>
                    <a:pt x="100322" y="31018"/>
                  </a:lnTo>
                  <a:lnTo>
                    <a:pt x="99677" y="30391"/>
                  </a:lnTo>
                  <a:lnTo>
                    <a:pt x="98709" y="28825"/>
                  </a:lnTo>
                  <a:lnTo>
                    <a:pt x="98709" y="27571"/>
                  </a:lnTo>
                  <a:lnTo>
                    <a:pt x="98064" y="26631"/>
                  </a:lnTo>
                  <a:lnTo>
                    <a:pt x="98064" y="26631"/>
                  </a:lnTo>
                  <a:lnTo>
                    <a:pt x="96451" y="26005"/>
                  </a:lnTo>
                  <a:lnTo>
                    <a:pt x="95806" y="25065"/>
                  </a:lnTo>
                  <a:lnTo>
                    <a:pt x="95806" y="25065"/>
                  </a:lnTo>
                  <a:lnTo>
                    <a:pt x="95806" y="24438"/>
                  </a:lnTo>
                  <a:lnTo>
                    <a:pt x="95161" y="23812"/>
                  </a:lnTo>
                  <a:lnTo>
                    <a:pt x="95161" y="22245"/>
                  </a:lnTo>
                  <a:lnTo>
                    <a:pt x="95161" y="21618"/>
                  </a:lnTo>
                  <a:lnTo>
                    <a:pt x="95161" y="20678"/>
                  </a:lnTo>
                  <a:lnTo>
                    <a:pt x="95161" y="20052"/>
                  </a:lnTo>
                  <a:lnTo>
                    <a:pt x="95161" y="19425"/>
                  </a:lnTo>
                  <a:lnTo>
                    <a:pt x="95806" y="18485"/>
                  </a:lnTo>
                  <a:lnTo>
                    <a:pt x="96451" y="17859"/>
                  </a:lnTo>
                  <a:lnTo>
                    <a:pt x="97419" y="16919"/>
                  </a:lnTo>
                  <a:lnTo>
                    <a:pt x="98064" y="16919"/>
                  </a:lnTo>
                  <a:lnTo>
                    <a:pt x="98064" y="16292"/>
                  </a:lnTo>
                  <a:lnTo>
                    <a:pt x="98709" y="16292"/>
                  </a:lnTo>
                  <a:lnTo>
                    <a:pt x="98709" y="15665"/>
                  </a:lnTo>
                  <a:lnTo>
                    <a:pt x="98709" y="14725"/>
                  </a:lnTo>
                  <a:lnTo>
                    <a:pt x="98709" y="14099"/>
                  </a:lnTo>
                  <a:lnTo>
                    <a:pt x="99677" y="13472"/>
                  </a:lnTo>
                  <a:lnTo>
                    <a:pt x="99677" y="12532"/>
                  </a:lnTo>
                  <a:lnTo>
                    <a:pt x="99677" y="11906"/>
                  </a:lnTo>
                  <a:lnTo>
                    <a:pt x="99677" y="10966"/>
                  </a:lnTo>
                  <a:lnTo>
                    <a:pt x="99677" y="9712"/>
                  </a:lnTo>
                  <a:lnTo>
                    <a:pt x="99677" y="9712"/>
                  </a:lnTo>
                  <a:lnTo>
                    <a:pt x="99677" y="8772"/>
                  </a:lnTo>
                  <a:lnTo>
                    <a:pt x="98709" y="8146"/>
                  </a:lnTo>
                  <a:lnTo>
                    <a:pt x="98709" y="8146"/>
                  </a:lnTo>
                  <a:lnTo>
                    <a:pt x="99677" y="6579"/>
                  </a:lnTo>
                  <a:lnTo>
                    <a:pt x="99677" y="5953"/>
                  </a:lnTo>
                  <a:lnTo>
                    <a:pt x="99677" y="4386"/>
                  </a:lnTo>
                  <a:lnTo>
                    <a:pt x="99677" y="4386"/>
                  </a:lnTo>
                  <a:lnTo>
                    <a:pt x="99677" y="3759"/>
                  </a:lnTo>
                  <a:lnTo>
                    <a:pt x="98709" y="3759"/>
                  </a:lnTo>
                  <a:lnTo>
                    <a:pt x="98709" y="3759"/>
                  </a:lnTo>
                  <a:lnTo>
                    <a:pt x="98709" y="3759"/>
                  </a:lnTo>
                  <a:lnTo>
                    <a:pt x="99677" y="2819"/>
                  </a:lnTo>
                  <a:lnTo>
                    <a:pt x="100322" y="2193"/>
                  </a:lnTo>
                  <a:lnTo>
                    <a:pt x="100322" y="1566"/>
                  </a:lnTo>
                  <a:lnTo>
                    <a:pt x="101290" y="1566"/>
                  </a:lnTo>
                  <a:lnTo>
                    <a:pt x="101290" y="626"/>
                  </a:lnTo>
                  <a:lnTo>
                    <a:pt x="101290" y="626"/>
                  </a:lnTo>
                  <a:lnTo>
                    <a:pt x="98709" y="626"/>
                  </a:lnTo>
                  <a:lnTo>
                    <a:pt x="97419" y="1566"/>
                  </a:lnTo>
                  <a:lnTo>
                    <a:pt x="96451" y="626"/>
                  </a:lnTo>
                  <a:lnTo>
                    <a:pt x="95806" y="0"/>
                  </a:lnTo>
                  <a:lnTo>
                    <a:pt x="94193" y="0"/>
                  </a:lnTo>
                  <a:lnTo>
                    <a:pt x="93548" y="0"/>
                  </a:lnTo>
                  <a:lnTo>
                    <a:pt x="93548" y="626"/>
                  </a:lnTo>
                  <a:lnTo>
                    <a:pt x="92903" y="626"/>
                  </a:lnTo>
                  <a:lnTo>
                    <a:pt x="91935" y="626"/>
                  </a:lnTo>
                  <a:lnTo>
                    <a:pt x="89677" y="0"/>
                  </a:lnTo>
                  <a:lnTo>
                    <a:pt x="89032" y="0"/>
                  </a:lnTo>
                  <a:lnTo>
                    <a:pt x="88064" y="0"/>
                  </a:lnTo>
                  <a:lnTo>
                    <a:pt x="88064" y="626"/>
                  </a:lnTo>
                  <a:lnTo>
                    <a:pt x="86774" y="1566"/>
                  </a:lnTo>
                  <a:lnTo>
                    <a:pt x="85161" y="1566"/>
                  </a:lnTo>
                  <a:lnTo>
                    <a:pt x="83548" y="2193"/>
                  </a:lnTo>
                  <a:lnTo>
                    <a:pt x="82903" y="2819"/>
                  </a:lnTo>
                  <a:lnTo>
                    <a:pt x="82258" y="2193"/>
                  </a:lnTo>
                  <a:lnTo>
                    <a:pt x="80645" y="1566"/>
                  </a:lnTo>
                  <a:lnTo>
                    <a:pt x="80645" y="1566"/>
                  </a:lnTo>
                  <a:lnTo>
                    <a:pt x="80000" y="626"/>
                  </a:lnTo>
                  <a:lnTo>
                    <a:pt x="73870" y="626"/>
                  </a:lnTo>
                  <a:lnTo>
                    <a:pt x="72903" y="1566"/>
                  </a:lnTo>
                  <a:lnTo>
                    <a:pt x="69354" y="1566"/>
                  </a:lnTo>
                  <a:lnTo>
                    <a:pt x="69354" y="2193"/>
                  </a:lnTo>
                  <a:lnTo>
                    <a:pt x="67741" y="2819"/>
                  </a:lnTo>
                  <a:lnTo>
                    <a:pt x="66129" y="2819"/>
                  </a:lnTo>
                  <a:lnTo>
                    <a:pt x="63870" y="2819"/>
                  </a:lnTo>
                  <a:lnTo>
                    <a:pt x="60000" y="3759"/>
                  </a:lnTo>
                  <a:lnTo>
                    <a:pt x="58709" y="3759"/>
                  </a:lnTo>
                  <a:lnTo>
                    <a:pt x="57096" y="4386"/>
                  </a:lnTo>
                  <a:lnTo>
                    <a:pt x="55483" y="5326"/>
                  </a:lnTo>
                  <a:lnTo>
                    <a:pt x="54838" y="5953"/>
                  </a:lnTo>
                  <a:lnTo>
                    <a:pt x="53225" y="6579"/>
                  </a:lnTo>
                  <a:lnTo>
                    <a:pt x="53225" y="7519"/>
                  </a:lnTo>
                  <a:lnTo>
                    <a:pt x="52580" y="8146"/>
                  </a:lnTo>
                  <a:lnTo>
                    <a:pt x="51612" y="8146"/>
                  </a:lnTo>
                  <a:lnTo>
                    <a:pt x="50967" y="8146"/>
                  </a:lnTo>
                  <a:lnTo>
                    <a:pt x="50322" y="8146"/>
                  </a:lnTo>
                  <a:lnTo>
                    <a:pt x="47096" y="8772"/>
                  </a:lnTo>
                  <a:lnTo>
                    <a:pt x="46451" y="9712"/>
                  </a:lnTo>
                  <a:lnTo>
                    <a:pt x="45483" y="10339"/>
                  </a:lnTo>
                  <a:lnTo>
                    <a:pt x="44838" y="10966"/>
                  </a:lnTo>
                  <a:lnTo>
                    <a:pt x="44193" y="11906"/>
                  </a:lnTo>
                  <a:lnTo>
                    <a:pt x="43225" y="12532"/>
                  </a:lnTo>
                  <a:lnTo>
                    <a:pt x="41935" y="13472"/>
                  </a:lnTo>
                  <a:lnTo>
                    <a:pt x="40967" y="13472"/>
                  </a:lnTo>
                  <a:lnTo>
                    <a:pt x="39677" y="13472"/>
                  </a:lnTo>
                  <a:lnTo>
                    <a:pt x="40322" y="13472"/>
                  </a:lnTo>
                  <a:lnTo>
                    <a:pt x="40322" y="14099"/>
                  </a:lnTo>
                  <a:lnTo>
                    <a:pt x="41935" y="14725"/>
                  </a:lnTo>
                  <a:lnTo>
                    <a:pt x="41935" y="15665"/>
                  </a:lnTo>
                  <a:lnTo>
                    <a:pt x="41935" y="15665"/>
                  </a:lnTo>
                  <a:lnTo>
                    <a:pt x="41935" y="16292"/>
                  </a:lnTo>
                  <a:lnTo>
                    <a:pt x="41935" y="16292"/>
                  </a:lnTo>
                  <a:lnTo>
                    <a:pt x="41935" y="16919"/>
                  </a:lnTo>
                  <a:lnTo>
                    <a:pt x="42580" y="16919"/>
                  </a:lnTo>
                  <a:lnTo>
                    <a:pt x="42580" y="16919"/>
                  </a:lnTo>
                  <a:lnTo>
                    <a:pt x="42580" y="17859"/>
                  </a:lnTo>
                  <a:lnTo>
                    <a:pt x="41935" y="17859"/>
                  </a:lnTo>
                  <a:lnTo>
                    <a:pt x="42580" y="19425"/>
                  </a:lnTo>
                  <a:lnTo>
                    <a:pt x="42580" y="20678"/>
                  </a:lnTo>
                  <a:lnTo>
                    <a:pt x="42580" y="21618"/>
                  </a:lnTo>
                  <a:lnTo>
                    <a:pt x="42580" y="21618"/>
                  </a:lnTo>
                  <a:lnTo>
                    <a:pt x="42580" y="22245"/>
                  </a:lnTo>
                  <a:lnTo>
                    <a:pt x="42580" y="22872"/>
                  </a:lnTo>
                  <a:lnTo>
                    <a:pt x="42580" y="25065"/>
                  </a:lnTo>
                  <a:lnTo>
                    <a:pt x="42580" y="26005"/>
                  </a:lnTo>
                  <a:lnTo>
                    <a:pt x="43225" y="26631"/>
                  </a:lnTo>
                  <a:lnTo>
                    <a:pt x="43225" y="28198"/>
                  </a:lnTo>
                  <a:lnTo>
                    <a:pt x="43225" y="28198"/>
                  </a:lnTo>
                  <a:lnTo>
                    <a:pt x="44193" y="28825"/>
                  </a:lnTo>
                  <a:lnTo>
                    <a:pt x="44193" y="28825"/>
                  </a:lnTo>
                  <a:lnTo>
                    <a:pt x="44838" y="29765"/>
                  </a:lnTo>
                  <a:lnTo>
                    <a:pt x="45483" y="29765"/>
                  </a:lnTo>
                  <a:lnTo>
                    <a:pt x="45483" y="30391"/>
                  </a:lnTo>
                  <a:lnTo>
                    <a:pt x="44838" y="31018"/>
                  </a:lnTo>
                  <a:lnTo>
                    <a:pt x="44838" y="31018"/>
                  </a:lnTo>
                  <a:lnTo>
                    <a:pt x="44838" y="31958"/>
                  </a:lnTo>
                  <a:lnTo>
                    <a:pt x="44838" y="32584"/>
                  </a:lnTo>
                  <a:lnTo>
                    <a:pt x="44838" y="32584"/>
                  </a:lnTo>
                  <a:lnTo>
                    <a:pt x="44193" y="33211"/>
                  </a:lnTo>
                  <a:lnTo>
                    <a:pt x="43225" y="33211"/>
                  </a:lnTo>
                  <a:lnTo>
                    <a:pt x="42580" y="33211"/>
                  </a:lnTo>
                  <a:lnTo>
                    <a:pt x="40967" y="32584"/>
                  </a:lnTo>
                  <a:lnTo>
                    <a:pt x="39677" y="32584"/>
                  </a:lnTo>
                  <a:lnTo>
                    <a:pt x="38709" y="32584"/>
                  </a:lnTo>
                  <a:lnTo>
                    <a:pt x="38064" y="32584"/>
                  </a:lnTo>
                  <a:lnTo>
                    <a:pt x="37419" y="32584"/>
                  </a:lnTo>
                  <a:lnTo>
                    <a:pt x="36451" y="33211"/>
                  </a:lnTo>
                  <a:lnTo>
                    <a:pt x="35161" y="33211"/>
                  </a:lnTo>
                  <a:lnTo>
                    <a:pt x="35161" y="33211"/>
                  </a:lnTo>
                  <a:lnTo>
                    <a:pt x="35161" y="33211"/>
                  </a:lnTo>
                  <a:lnTo>
                    <a:pt x="35161" y="34151"/>
                  </a:lnTo>
                  <a:lnTo>
                    <a:pt x="34193" y="34778"/>
                  </a:lnTo>
                  <a:lnTo>
                    <a:pt x="34193" y="34778"/>
                  </a:lnTo>
                  <a:lnTo>
                    <a:pt x="31935" y="35718"/>
                  </a:lnTo>
                  <a:lnTo>
                    <a:pt x="31290" y="35718"/>
                  </a:lnTo>
                  <a:lnTo>
                    <a:pt x="30322" y="35718"/>
                  </a:lnTo>
                  <a:lnTo>
                    <a:pt x="30322" y="35718"/>
                  </a:lnTo>
                  <a:lnTo>
                    <a:pt x="29677" y="35718"/>
                  </a:lnTo>
                  <a:lnTo>
                    <a:pt x="29677" y="36344"/>
                  </a:lnTo>
                  <a:lnTo>
                    <a:pt x="29677" y="36344"/>
                  </a:lnTo>
                  <a:lnTo>
                    <a:pt x="29677" y="36971"/>
                  </a:lnTo>
                  <a:lnTo>
                    <a:pt x="29677" y="36971"/>
                  </a:lnTo>
                  <a:lnTo>
                    <a:pt x="29677" y="37911"/>
                  </a:lnTo>
                  <a:lnTo>
                    <a:pt x="29677" y="38537"/>
                  </a:lnTo>
                  <a:lnTo>
                    <a:pt x="29677" y="38537"/>
                  </a:lnTo>
                  <a:lnTo>
                    <a:pt x="29677" y="39164"/>
                  </a:lnTo>
                  <a:lnTo>
                    <a:pt x="29677" y="39164"/>
                  </a:lnTo>
                  <a:lnTo>
                    <a:pt x="29677" y="39164"/>
                  </a:lnTo>
                  <a:lnTo>
                    <a:pt x="30322" y="39164"/>
                  </a:lnTo>
                  <a:lnTo>
                    <a:pt x="30322" y="39164"/>
                  </a:lnTo>
                  <a:lnTo>
                    <a:pt x="30322" y="40104"/>
                  </a:lnTo>
                  <a:lnTo>
                    <a:pt x="30322" y="40104"/>
                  </a:lnTo>
                  <a:lnTo>
                    <a:pt x="30322" y="40731"/>
                  </a:lnTo>
                  <a:lnTo>
                    <a:pt x="30322" y="40731"/>
                  </a:lnTo>
                  <a:lnTo>
                    <a:pt x="29677" y="40731"/>
                  </a:lnTo>
                  <a:lnTo>
                    <a:pt x="29032" y="40731"/>
                  </a:lnTo>
                  <a:lnTo>
                    <a:pt x="27419" y="41357"/>
                  </a:lnTo>
                  <a:lnTo>
                    <a:pt x="26774" y="42297"/>
                  </a:lnTo>
                  <a:lnTo>
                    <a:pt x="25161" y="42924"/>
                  </a:lnTo>
                  <a:lnTo>
                    <a:pt x="25161" y="42924"/>
                  </a:lnTo>
                  <a:lnTo>
                    <a:pt x="23548" y="42924"/>
                  </a:lnTo>
                  <a:lnTo>
                    <a:pt x="22903" y="43864"/>
                  </a:lnTo>
                  <a:lnTo>
                    <a:pt x="21935" y="44490"/>
                  </a:lnTo>
                  <a:lnTo>
                    <a:pt x="21290" y="46057"/>
                  </a:lnTo>
                  <a:lnTo>
                    <a:pt x="20645" y="46684"/>
                  </a:lnTo>
                  <a:lnTo>
                    <a:pt x="19677" y="47310"/>
                  </a:lnTo>
                  <a:lnTo>
                    <a:pt x="19032" y="47310"/>
                  </a:lnTo>
                  <a:lnTo>
                    <a:pt x="18387" y="47310"/>
                  </a:lnTo>
                  <a:lnTo>
                    <a:pt x="16774" y="48250"/>
                  </a:lnTo>
                  <a:lnTo>
                    <a:pt x="16129" y="48250"/>
                  </a:lnTo>
                  <a:lnTo>
                    <a:pt x="15161" y="48250"/>
                  </a:lnTo>
                  <a:lnTo>
                    <a:pt x="14516" y="48250"/>
                  </a:lnTo>
                  <a:lnTo>
                    <a:pt x="14516" y="48250"/>
                  </a:lnTo>
                  <a:lnTo>
                    <a:pt x="13870" y="48250"/>
                  </a:lnTo>
                  <a:lnTo>
                    <a:pt x="13870" y="48250"/>
                  </a:lnTo>
                  <a:lnTo>
                    <a:pt x="13870" y="48250"/>
                  </a:lnTo>
                  <a:lnTo>
                    <a:pt x="13870" y="48877"/>
                  </a:lnTo>
                  <a:lnTo>
                    <a:pt x="13870" y="48877"/>
                  </a:lnTo>
                  <a:lnTo>
                    <a:pt x="13870" y="49503"/>
                  </a:lnTo>
                  <a:lnTo>
                    <a:pt x="12903" y="49503"/>
                  </a:lnTo>
                  <a:lnTo>
                    <a:pt x="12903" y="49503"/>
                  </a:lnTo>
                  <a:lnTo>
                    <a:pt x="12258" y="49503"/>
                  </a:lnTo>
                  <a:lnTo>
                    <a:pt x="11290" y="49503"/>
                  </a:lnTo>
                  <a:lnTo>
                    <a:pt x="10645" y="49503"/>
                  </a:lnTo>
                  <a:lnTo>
                    <a:pt x="10000" y="49503"/>
                  </a:lnTo>
                  <a:lnTo>
                    <a:pt x="10000" y="49503"/>
                  </a:lnTo>
                  <a:lnTo>
                    <a:pt x="9032" y="49503"/>
                  </a:lnTo>
                  <a:lnTo>
                    <a:pt x="9032" y="50443"/>
                  </a:lnTo>
                  <a:lnTo>
                    <a:pt x="8387" y="50443"/>
                  </a:lnTo>
                  <a:lnTo>
                    <a:pt x="7741" y="51070"/>
                  </a:lnTo>
                  <a:lnTo>
                    <a:pt x="6774" y="51070"/>
                  </a:lnTo>
                  <a:lnTo>
                    <a:pt x="6774" y="51070"/>
                  </a:lnTo>
                  <a:lnTo>
                    <a:pt x="5483" y="52637"/>
                  </a:lnTo>
                  <a:lnTo>
                    <a:pt x="4516" y="52637"/>
                  </a:lnTo>
                  <a:lnTo>
                    <a:pt x="3225" y="53263"/>
                  </a:lnTo>
                  <a:lnTo>
                    <a:pt x="3225" y="54203"/>
                  </a:lnTo>
                  <a:lnTo>
                    <a:pt x="2258" y="54203"/>
                  </a:lnTo>
                  <a:lnTo>
                    <a:pt x="1612" y="54830"/>
                  </a:lnTo>
                  <a:lnTo>
                    <a:pt x="645" y="55456"/>
                  </a:lnTo>
                  <a:lnTo>
                    <a:pt x="645" y="55456"/>
                  </a:lnTo>
                  <a:lnTo>
                    <a:pt x="645" y="55456"/>
                  </a:lnTo>
                  <a:lnTo>
                    <a:pt x="645" y="57023"/>
                  </a:lnTo>
                  <a:lnTo>
                    <a:pt x="645" y="57650"/>
                  </a:lnTo>
                  <a:lnTo>
                    <a:pt x="645" y="59216"/>
                  </a:lnTo>
                  <a:lnTo>
                    <a:pt x="645" y="60783"/>
                  </a:lnTo>
                  <a:lnTo>
                    <a:pt x="645" y="62349"/>
                  </a:lnTo>
                  <a:lnTo>
                    <a:pt x="645" y="63603"/>
                  </a:lnTo>
                  <a:lnTo>
                    <a:pt x="0" y="64543"/>
                  </a:lnTo>
                  <a:lnTo>
                    <a:pt x="1612" y="65169"/>
                  </a:lnTo>
                  <a:lnTo>
                    <a:pt x="2258" y="65796"/>
                  </a:lnTo>
                  <a:lnTo>
                    <a:pt x="3870" y="66736"/>
                  </a:lnTo>
                  <a:lnTo>
                    <a:pt x="4516" y="67362"/>
                  </a:lnTo>
                  <a:lnTo>
                    <a:pt x="5483" y="68302"/>
                  </a:lnTo>
                  <a:lnTo>
                    <a:pt x="6774" y="68929"/>
                  </a:lnTo>
                  <a:lnTo>
                    <a:pt x="7741" y="69556"/>
                  </a:lnTo>
                  <a:lnTo>
                    <a:pt x="9032" y="70496"/>
                  </a:lnTo>
                  <a:lnTo>
                    <a:pt x="10000" y="71122"/>
                  </a:lnTo>
                  <a:lnTo>
                    <a:pt x="10645" y="71749"/>
                  </a:lnTo>
                  <a:lnTo>
                    <a:pt x="12258" y="72689"/>
                  </a:lnTo>
                  <a:lnTo>
                    <a:pt x="12903" y="73315"/>
                  </a:lnTo>
                  <a:lnTo>
                    <a:pt x="14516" y="73942"/>
                  </a:lnTo>
                  <a:lnTo>
                    <a:pt x="15161" y="74882"/>
                  </a:lnTo>
                  <a:lnTo>
                    <a:pt x="16129" y="75509"/>
                  </a:lnTo>
                  <a:lnTo>
                    <a:pt x="17419" y="76449"/>
                  </a:lnTo>
                  <a:lnTo>
                    <a:pt x="18387" y="77075"/>
                  </a:lnTo>
                  <a:lnTo>
                    <a:pt x="19677" y="77702"/>
                  </a:lnTo>
                  <a:lnTo>
                    <a:pt x="21290" y="79268"/>
                  </a:lnTo>
                  <a:lnTo>
                    <a:pt x="21935" y="79895"/>
                  </a:lnTo>
                  <a:lnTo>
                    <a:pt x="24516" y="81462"/>
                  </a:lnTo>
                  <a:lnTo>
                    <a:pt x="25806" y="82088"/>
                  </a:lnTo>
                  <a:lnTo>
                    <a:pt x="27419" y="83655"/>
                  </a:lnTo>
                  <a:lnTo>
                    <a:pt x="29677" y="85221"/>
                  </a:lnTo>
                  <a:lnTo>
                    <a:pt x="31290" y="86788"/>
                  </a:lnTo>
                  <a:lnTo>
                    <a:pt x="33548" y="88041"/>
                  </a:lnTo>
                  <a:lnTo>
                    <a:pt x="35161" y="89608"/>
                  </a:lnTo>
                  <a:lnTo>
                    <a:pt x="36451" y="91174"/>
                  </a:lnTo>
                  <a:lnTo>
                    <a:pt x="38709" y="92741"/>
                  </a:lnTo>
                  <a:lnTo>
                    <a:pt x="40322" y="93368"/>
                  </a:lnTo>
                  <a:lnTo>
                    <a:pt x="42580" y="94934"/>
                  </a:lnTo>
                  <a:lnTo>
                    <a:pt x="44193" y="96187"/>
                  </a:lnTo>
                  <a:lnTo>
                    <a:pt x="46451" y="97754"/>
                  </a:lnTo>
                  <a:lnTo>
                    <a:pt x="48064" y="99321"/>
                  </a:lnTo>
                  <a:lnTo>
                    <a:pt x="50322" y="100887"/>
                  </a:lnTo>
                  <a:lnTo>
                    <a:pt x="51612" y="102140"/>
                  </a:lnTo>
                  <a:lnTo>
                    <a:pt x="53870" y="103707"/>
                  </a:lnTo>
                  <a:lnTo>
                    <a:pt x="55483" y="105274"/>
                  </a:lnTo>
                  <a:lnTo>
                    <a:pt x="57096" y="105900"/>
                  </a:lnTo>
                  <a:lnTo>
                    <a:pt x="57096" y="105900"/>
                  </a:lnTo>
                  <a:lnTo>
                    <a:pt x="57096" y="106840"/>
                  </a:lnTo>
                  <a:lnTo>
                    <a:pt x="57096" y="107467"/>
                  </a:lnTo>
                  <a:lnTo>
                    <a:pt x="57096" y="107467"/>
                  </a:lnTo>
                  <a:lnTo>
                    <a:pt x="57096" y="108093"/>
                  </a:lnTo>
                  <a:lnTo>
                    <a:pt x="57741" y="108093"/>
                  </a:lnTo>
                  <a:lnTo>
                    <a:pt x="59354" y="109660"/>
                  </a:lnTo>
                  <a:lnTo>
                    <a:pt x="59354" y="109660"/>
                  </a:lnTo>
                  <a:lnTo>
                    <a:pt x="59354" y="109660"/>
                  </a:lnTo>
                  <a:lnTo>
                    <a:pt x="60000" y="110287"/>
                  </a:lnTo>
                  <a:lnTo>
                    <a:pt x="60000" y="111227"/>
                  </a:lnTo>
                  <a:lnTo>
                    <a:pt x="60967" y="111227"/>
                  </a:lnTo>
                  <a:lnTo>
                    <a:pt x="60967" y="111227"/>
                  </a:lnTo>
                  <a:lnTo>
                    <a:pt x="63225" y="111227"/>
                  </a:lnTo>
                  <a:lnTo>
                    <a:pt x="63225" y="111853"/>
                  </a:lnTo>
                  <a:lnTo>
                    <a:pt x="63870" y="112480"/>
                  </a:lnTo>
                  <a:lnTo>
                    <a:pt x="64516" y="112480"/>
                  </a:lnTo>
                  <a:lnTo>
                    <a:pt x="65483" y="113420"/>
                  </a:lnTo>
                  <a:lnTo>
                    <a:pt x="66129" y="113420"/>
                  </a:lnTo>
                  <a:lnTo>
                    <a:pt x="66774" y="113420"/>
                  </a:lnTo>
                  <a:lnTo>
                    <a:pt x="67741" y="113420"/>
                  </a:lnTo>
                  <a:lnTo>
                    <a:pt x="68387" y="114046"/>
                  </a:lnTo>
                  <a:lnTo>
                    <a:pt x="68387" y="114046"/>
                  </a:lnTo>
                  <a:lnTo>
                    <a:pt x="68387" y="114986"/>
                  </a:lnTo>
                  <a:lnTo>
                    <a:pt x="68387" y="114986"/>
                  </a:lnTo>
                  <a:lnTo>
                    <a:pt x="68387" y="115613"/>
                  </a:lnTo>
                  <a:lnTo>
                    <a:pt x="68387" y="116240"/>
                  </a:lnTo>
                  <a:lnTo>
                    <a:pt x="69354" y="117180"/>
                  </a:lnTo>
                  <a:lnTo>
                    <a:pt x="69354" y="117180"/>
                  </a:lnTo>
                  <a:lnTo>
                    <a:pt x="68387" y="117180"/>
                  </a:lnTo>
                  <a:lnTo>
                    <a:pt x="68387" y="117806"/>
                  </a:lnTo>
                  <a:lnTo>
                    <a:pt x="68387" y="117806"/>
                  </a:lnTo>
                  <a:lnTo>
                    <a:pt x="68387" y="117806"/>
                  </a:lnTo>
                  <a:lnTo>
                    <a:pt x="67741" y="118433"/>
                  </a:lnTo>
                  <a:lnTo>
                    <a:pt x="68387" y="118433"/>
                  </a:lnTo>
                  <a:lnTo>
                    <a:pt x="68387" y="119373"/>
                  </a:lnTo>
                  <a:lnTo>
                    <a:pt x="69354" y="119373"/>
                  </a:lnTo>
                  <a:lnTo>
                    <a:pt x="69354" y="119373"/>
                  </a:lnTo>
                  <a:lnTo>
                    <a:pt x="69354" y="120000"/>
                  </a:lnTo>
                  <a:lnTo>
                    <a:pt x="70000" y="119373"/>
                  </a:lnTo>
                  <a:lnTo>
                    <a:pt x="70000" y="119373"/>
                  </a:lnTo>
                  <a:lnTo>
                    <a:pt x="71612" y="119373"/>
                  </a:lnTo>
                  <a:lnTo>
                    <a:pt x="72903" y="119373"/>
                  </a:lnTo>
                  <a:lnTo>
                    <a:pt x="74516" y="118433"/>
                  </a:lnTo>
                  <a:lnTo>
                    <a:pt x="76129" y="118433"/>
                  </a:lnTo>
                  <a:lnTo>
                    <a:pt x="77419" y="117806"/>
                  </a:lnTo>
                  <a:lnTo>
                    <a:pt x="79032" y="117806"/>
                  </a:lnTo>
                  <a:lnTo>
                    <a:pt x="81290" y="117180"/>
                  </a:lnTo>
                  <a:lnTo>
                    <a:pt x="83548" y="117180"/>
                  </a:lnTo>
                  <a:lnTo>
                    <a:pt x="84516" y="116240"/>
                  </a:lnTo>
                  <a:lnTo>
                    <a:pt x="85806" y="114986"/>
                  </a:lnTo>
                  <a:lnTo>
                    <a:pt x="86774" y="114046"/>
                  </a:lnTo>
                  <a:lnTo>
                    <a:pt x="88064" y="112480"/>
                  </a:lnTo>
                  <a:lnTo>
                    <a:pt x="89677" y="111227"/>
                  </a:lnTo>
                  <a:lnTo>
                    <a:pt x="91290" y="109660"/>
                  </a:lnTo>
                  <a:lnTo>
                    <a:pt x="92903" y="108093"/>
                  </a:lnTo>
                  <a:lnTo>
                    <a:pt x="93548" y="107467"/>
                  </a:lnTo>
                  <a:lnTo>
                    <a:pt x="95806" y="105900"/>
                  </a:lnTo>
                  <a:lnTo>
                    <a:pt x="98709" y="103707"/>
                  </a:lnTo>
                  <a:lnTo>
                    <a:pt x="101935" y="101514"/>
                  </a:lnTo>
                  <a:lnTo>
                    <a:pt x="104838" y="99947"/>
                  </a:lnTo>
                  <a:lnTo>
                    <a:pt x="108064" y="97754"/>
                  </a:lnTo>
                  <a:lnTo>
                    <a:pt x="110967" y="95561"/>
                  </a:lnTo>
                  <a:lnTo>
                    <a:pt x="114193" y="93994"/>
                  </a:lnTo>
                  <a:lnTo>
                    <a:pt x="117096" y="91801"/>
                  </a:lnTo>
                  <a:lnTo>
                    <a:pt x="120000" y="89608"/>
                  </a:lnTo>
                  <a:lnTo>
                    <a:pt x="119354" y="88041"/>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44" name="Shape 544"/>
            <p:cNvSpPr/>
            <p:nvPr/>
          </p:nvSpPr>
          <p:spPr>
            <a:xfrm>
              <a:off x="3997" y="1909"/>
              <a:ext cx="0" cy="0"/>
            </a:xfrm>
            <a:custGeom>
              <a:avLst/>
              <a:gdLst/>
              <a:ahLst/>
              <a:cxnLst/>
              <a:rect l="0" t="0" r="0" b="0"/>
              <a:pathLst>
                <a:path w="120000" h="120000" extrusionOk="0">
                  <a:moveTo>
                    <a:pt x="120000" y="81355"/>
                  </a:moveTo>
                  <a:lnTo>
                    <a:pt x="120000" y="81355"/>
                  </a:lnTo>
                  <a:lnTo>
                    <a:pt x="120000" y="77288"/>
                  </a:lnTo>
                  <a:lnTo>
                    <a:pt x="120000" y="77288"/>
                  </a:lnTo>
                  <a:lnTo>
                    <a:pt x="120000" y="73220"/>
                  </a:lnTo>
                  <a:lnTo>
                    <a:pt x="120000" y="73220"/>
                  </a:lnTo>
                  <a:lnTo>
                    <a:pt x="108387" y="73220"/>
                  </a:lnTo>
                  <a:lnTo>
                    <a:pt x="100645" y="73220"/>
                  </a:lnTo>
                  <a:lnTo>
                    <a:pt x="100645" y="73220"/>
                  </a:lnTo>
                  <a:lnTo>
                    <a:pt x="100645" y="67118"/>
                  </a:lnTo>
                  <a:lnTo>
                    <a:pt x="92903" y="67118"/>
                  </a:lnTo>
                  <a:lnTo>
                    <a:pt x="92903" y="63050"/>
                  </a:lnTo>
                  <a:lnTo>
                    <a:pt x="81290" y="58983"/>
                  </a:lnTo>
                  <a:lnTo>
                    <a:pt x="81290" y="52881"/>
                  </a:lnTo>
                  <a:lnTo>
                    <a:pt x="81290" y="52881"/>
                  </a:lnTo>
                  <a:lnTo>
                    <a:pt x="81290" y="48813"/>
                  </a:lnTo>
                  <a:lnTo>
                    <a:pt x="81290" y="42711"/>
                  </a:lnTo>
                  <a:lnTo>
                    <a:pt x="81290" y="42711"/>
                  </a:lnTo>
                  <a:lnTo>
                    <a:pt x="81290" y="42711"/>
                  </a:lnTo>
                  <a:lnTo>
                    <a:pt x="81290" y="38644"/>
                  </a:lnTo>
                  <a:lnTo>
                    <a:pt x="81290" y="34576"/>
                  </a:lnTo>
                  <a:lnTo>
                    <a:pt x="92903" y="34576"/>
                  </a:lnTo>
                  <a:lnTo>
                    <a:pt x="92903" y="28474"/>
                  </a:lnTo>
                  <a:lnTo>
                    <a:pt x="92903" y="24406"/>
                  </a:lnTo>
                  <a:lnTo>
                    <a:pt x="81290" y="20338"/>
                  </a:lnTo>
                  <a:lnTo>
                    <a:pt x="81290" y="20338"/>
                  </a:lnTo>
                  <a:lnTo>
                    <a:pt x="73548" y="14237"/>
                  </a:lnTo>
                  <a:lnTo>
                    <a:pt x="73548" y="14237"/>
                  </a:lnTo>
                  <a:lnTo>
                    <a:pt x="65806" y="14237"/>
                  </a:lnTo>
                  <a:lnTo>
                    <a:pt x="65806" y="10169"/>
                  </a:lnTo>
                  <a:lnTo>
                    <a:pt x="54193" y="6101"/>
                  </a:lnTo>
                  <a:lnTo>
                    <a:pt x="54193" y="6101"/>
                  </a:lnTo>
                  <a:lnTo>
                    <a:pt x="54193" y="6101"/>
                  </a:lnTo>
                  <a:lnTo>
                    <a:pt x="46451" y="6101"/>
                  </a:lnTo>
                  <a:lnTo>
                    <a:pt x="34838" y="6101"/>
                  </a:lnTo>
                  <a:lnTo>
                    <a:pt x="34838" y="6101"/>
                  </a:lnTo>
                  <a:lnTo>
                    <a:pt x="34838" y="6101"/>
                  </a:lnTo>
                  <a:lnTo>
                    <a:pt x="27096" y="6101"/>
                  </a:lnTo>
                  <a:lnTo>
                    <a:pt x="27096" y="0"/>
                  </a:lnTo>
                  <a:lnTo>
                    <a:pt x="27096" y="0"/>
                  </a:lnTo>
                  <a:lnTo>
                    <a:pt x="27096" y="0"/>
                  </a:lnTo>
                  <a:lnTo>
                    <a:pt x="27096" y="0"/>
                  </a:lnTo>
                  <a:lnTo>
                    <a:pt x="19354" y="6101"/>
                  </a:lnTo>
                  <a:lnTo>
                    <a:pt x="19354" y="6101"/>
                  </a:lnTo>
                  <a:lnTo>
                    <a:pt x="7741" y="10169"/>
                  </a:lnTo>
                  <a:lnTo>
                    <a:pt x="7741" y="14237"/>
                  </a:lnTo>
                  <a:lnTo>
                    <a:pt x="7741" y="14237"/>
                  </a:lnTo>
                  <a:lnTo>
                    <a:pt x="0" y="20338"/>
                  </a:lnTo>
                  <a:lnTo>
                    <a:pt x="7741" y="20338"/>
                  </a:lnTo>
                  <a:lnTo>
                    <a:pt x="7741" y="24406"/>
                  </a:lnTo>
                  <a:lnTo>
                    <a:pt x="7741" y="24406"/>
                  </a:lnTo>
                  <a:lnTo>
                    <a:pt x="7741" y="28474"/>
                  </a:lnTo>
                  <a:lnTo>
                    <a:pt x="7741" y="28474"/>
                  </a:lnTo>
                  <a:lnTo>
                    <a:pt x="7741" y="34576"/>
                  </a:lnTo>
                  <a:lnTo>
                    <a:pt x="19354" y="34576"/>
                  </a:lnTo>
                  <a:lnTo>
                    <a:pt x="19354" y="34576"/>
                  </a:lnTo>
                  <a:lnTo>
                    <a:pt x="27096" y="42711"/>
                  </a:lnTo>
                  <a:lnTo>
                    <a:pt x="19354" y="42711"/>
                  </a:lnTo>
                  <a:lnTo>
                    <a:pt x="19354" y="42711"/>
                  </a:lnTo>
                  <a:lnTo>
                    <a:pt x="19354" y="52881"/>
                  </a:lnTo>
                  <a:lnTo>
                    <a:pt x="19354" y="52881"/>
                  </a:lnTo>
                  <a:lnTo>
                    <a:pt x="19354" y="58983"/>
                  </a:lnTo>
                  <a:lnTo>
                    <a:pt x="19354" y="63050"/>
                  </a:lnTo>
                  <a:lnTo>
                    <a:pt x="19354" y="73220"/>
                  </a:lnTo>
                  <a:lnTo>
                    <a:pt x="7741" y="77288"/>
                  </a:lnTo>
                  <a:lnTo>
                    <a:pt x="7741" y="81355"/>
                  </a:lnTo>
                  <a:lnTo>
                    <a:pt x="7741" y="87457"/>
                  </a:lnTo>
                  <a:lnTo>
                    <a:pt x="19354" y="91525"/>
                  </a:lnTo>
                  <a:lnTo>
                    <a:pt x="19354" y="91525"/>
                  </a:lnTo>
                  <a:lnTo>
                    <a:pt x="19354" y="95593"/>
                  </a:lnTo>
                  <a:lnTo>
                    <a:pt x="19354" y="95593"/>
                  </a:lnTo>
                  <a:lnTo>
                    <a:pt x="7741" y="91525"/>
                  </a:lnTo>
                  <a:lnTo>
                    <a:pt x="7741" y="91525"/>
                  </a:lnTo>
                  <a:lnTo>
                    <a:pt x="7741" y="95593"/>
                  </a:lnTo>
                  <a:lnTo>
                    <a:pt x="19354" y="101694"/>
                  </a:lnTo>
                  <a:lnTo>
                    <a:pt x="19354" y="101694"/>
                  </a:lnTo>
                  <a:lnTo>
                    <a:pt x="46451" y="111864"/>
                  </a:lnTo>
                  <a:lnTo>
                    <a:pt x="54193" y="111864"/>
                  </a:lnTo>
                  <a:lnTo>
                    <a:pt x="54193" y="115932"/>
                  </a:lnTo>
                  <a:lnTo>
                    <a:pt x="54193" y="120000"/>
                  </a:lnTo>
                  <a:lnTo>
                    <a:pt x="54193" y="120000"/>
                  </a:lnTo>
                  <a:lnTo>
                    <a:pt x="65806" y="120000"/>
                  </a:lnTo>
                  <a:lnTo>
                    <a:pt x="65806" y="120000"/>
                  </a:lnTo>
                  <a:lnTo>
                    <a:pt x="73548" y="120000"/>
                  </a:lnTo>
                  <a:lnTo>
                    <a:pt x="73548" y="120000"/>
                  </a:lnTo>
                  <a:lnTo>
                    <a:pt x="73548" y="120000"/>
                  </a:lnTo>
                  <a:lnTo>
                    <a:pt x="73548" y="120000"/>
                  </a:lnTo>
                  <a:lnTo>
                    <a:pt x="73548" y="115932"/>
                  </a:lnTo>
                  <a:lnTo>
                    <a:pt x="73548" y="115932"/>
                  </a:lnTo>
                  <a:lnTo>
                    <a:pt x="81290" y="115932"/>
                  </a:lnTo>
                  <a:lnTo>
                    <a:pt x="81290" y="115932"/>
                  </a:lnTo>
                  <a:lnTo>
                    <a:pt x="81290" y="115932"/>
                  </a:lnTo>
                  <a:lnTo>
                    <a:pt x="81290" y="111864"/>
                  </a:lnTo>
                  <a:lnTo>
                    <a:pt x="73548" y="111864"/>
                  </a:lnTo>
                  <a:lnTo>
                    <a:pt x="73548" y="111864"/>
                  </a:lnTo>
                  <a:lnTo>
                    <a:pt x="81290" y="105762"/>
                  </a:lnTo>
                  <a:lnTo>
                    <a:pt x="81290" y="111864"/>
                  </a:lnTo>
                  <a:lnTo>
                    <a:pt x="81290" y="111864"/>
                  </a:lnTo>
                  <a:lnTo>
                    <a:pt x="81290" y="105762"/>
                  </a:lnTo>
                  <a:lnTo>
                    <a:pt x="92903" y="105762"/>
                  </a:lnTo>
                  <a:lnTo>
                    <a:pt x="100645" y="105762"/>
                  </a:lnTo>
                  <a:lnTo>
                    <a:pt x="100645" y="105762"/>
                  </a:lnTo>
                  <a:lnTo>
                    <a:pt x="100645" y="105762"/>
                  </a:lnTo>
                  <a:lnTo>
                    <a:pt x="100645" y="101694"/>
                  </a:lnTo>
                  <a:lnTo>
                    <a:pt x="100645" y="95593"/>
                  </a:lnTo>
                  <a:lnTo>
                    <a:pt x="100645" y="95593"/>
                  </a:lnTo>
                  <a:lnTo>
                    <a:pt x="108387" y="95593"/>
                  </a:lnTo>
                  <a:lnTo>
                    <a:pt x="108387" y="91525"/>
                  </a:lnTo>
                  <a:lnTo>
                    <a:pt x="108387" y="91525"/>
                  </a:lnTo>
                  <a:lnTo>
                    <a:pt x="120000" y="91525"/>
                  </a:lnTo>
                  <a:lnTo>
                    <a:pt x="120000" y="87457"/>
                  </a:lnTo>
                  <a:lnTo>
                    <a:pt x="120000" y="87457"/>
                  </a:lnTo>
                  <a:lnTo>
                    <a:pt x="120000" y="81355"/>
                  </a:lnTo>
                  <a:close/>
                </a:path>
              </a:pathLst>
            </a:custGeom>
            <a:solidFill>
              <a:schemeClr val="lt2"/>
            </a:solidFill>
            <a:ln w="9525" cap="rnd" cmpd="sng">
              <a:solidFill>
                <a:srgbClr val="FFFFFF"/>
              </a:solidFill>
              <a:prstDash val="solid"/>
              <a:round/>
              <a:headEnd type="none" w="med" len="med"/>
              <a:tailEnd type="none" w="med" len="med"/>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45" name="Shape 545"/>
            <p:cNvSpPr/>
            <p:nvPr/>
          </p:nvSpPr>
          <p:spPr>
            <a:xfrm>
              <a:off x="4728" y="1994"/>
              <a:ext cx="300" cy="300"/>
            </a:xfrm>
            <a:custGeom>
              <a:avLst/>
              <a:gdLst/>
              <a:ahLst/>
              <a:cxnLst/>
              <a:rect l="0" t="0" r="0" b="0"/>
              <a:pathLst>
                <a:path w="120000" h="120000" extrusionOk="0">
                  <a:moveTo>
                    <a:pt x="120000" y="16082"/>
                  </a:moveTo>
                  <a:lnTo>
                    <a:pt x="120000" y="16082"/>
                  </a:lnTo>
                  <a:lnTo>
                    <a:pt x="118487" y="14845"/>
                  </a:lnTo>
                  <a:lnTo>
                    <a:pt x="117478" y="14845"/>
                  </a:lnTo>
                  <a:lnTo>
                    <a:pt x="116470" y="14845"/>
                  </a:lnTo>
                  <a:lnTo>
                    <a:pt x="116470" y="14845"/>
                  </a:lnTo>
                  <a:lnTo>
                    <a:pt x="114957" y="14845"/>
                  </a:lnTo>
                  <a:lnTo>
                    <a:pt x="113949" y="14845"/>
                  </a:lnTo>
                  <a:lnTo>
                    <a:pt x="113949" y="14845"/>
                  </a:lnTo>
                  <a:lnTo>
                    <a:pt x="113949" y="14845"/>
                  </a:lnTo>
                  <a:lnTo>
                    <a:pt x="112941" y="14845"/>
                  </a:lnTo>
                  <a:lnTo>
                    <a:pt x="111428" y="16082"/>
                  </a:lnTo>
                  <a:lnTo>
                    <a:pt x="110420" y="16082"/>
                  </a:lnTo>
                  <a:lnTo>
                    <a:pt x="108907" y="16082"/>
                  </a:lnTo>
                  <a:lnTo>
                    <a:pt x="108907" y="16082"/>
                  </a:lnTo>
                  <a:lnTo>
                    <a:pt x="108907" y="16082"/>
                  </a:lnTo>
                  <a:lnTo>
                    <a:pt x="110420" y="14845"/>
                  </a:lnTo>
                  <a:lnTo>
                    <a:pt x="110420" y="14845"/>
                  </a:lnTo>
                  <a:lnTo>
                    <a:pt x="108907" y="14845"/>
                  </a:lnTo>
                  <a:lnTo>
                    <a:pt x="108907" y="13608"/>
                  </a:lnTo>
                  <a:lnTo>
                    <a:pt x="108907" y="13608"/>
                  </a:lnTo>
                  <a:lnTo>
                    <a:pt x="107899" y="13608"/>
                  </a:lnTo>
                  <a:lnTo>
                    <a:pt x="107899" y="13608"/>
                  </a:lnTo>
                  <a:lnTo>
                    <a:pt x="106890" y="13608"/>
                  </a:lnTo>
                  <a:lnTo>
                    <a:pt x="105378" y="14845"/>
                  </a:lnTo>
                  <a:lnTo>
                    <a:pt x="103361" y="16082"/>
                  </a:lnTo>
                  <a:lnTo>
                    <a:pt x="101848" y="17938"/>
                  </a:lnTo>
                  <a:lnTo>
                    <a:pt x="100840" y="19175"/>
                  </a:lnTo>
                  <a:lnTo>
                    <a:pt x="98319" y="20412"/>
                  </a:lnTo>
                  <a:lnTo>
                    <a:pt x="97310" y="20412"/>
                  </a:lnTo>
                  <a:lnTo>
                    <a:pt x="96302" y="22268"/>
                  </a:lnTo>
                  <a:lnTo>
                    <a:pt x="94789" y="23505"/>
                  </a:lnTo>
                  <a:lnTo>
                    <a:pt x="93781" y="23505"/>
                  </a:lnTo>
                  <a:lnTo>
                    <a:pt x="93781" y="23505"/>
                  </a:lnTo>
                  <a:lnTo>
                    <a:pt x="92268" y="23505"/>
                  </a:lnTo>
                  <a:lnTo>
                    <a:pt x="91260" y="22268"/>
                  </a:lnTo>
                  <a:lnTo>
                    <a:pt x="91260" y="19175"/>
                  </a:lnTo>
                  <a:lnTo>
                    <a:pt x="90252" y="17938"/>
                  </a:lnTo>
                  <a:lnTo>
                    <a:pt x="90252" y="16082"/>
                  </a:lnTo>
                  <a:lnTo>
                    <a:pt x="90252" y="13608"/>
                  </a:lnTo>
                  <a:lnTo>
                    <a:pt x="90252" y="11752"/>
                  </a:lnTo>
                  <a:lnTo>
                    <a:pt x="90252" y="8659"/>
                  </a:lnTo>
                  <a:lnTo>
                    <a:pt x="90252" y="8659"/>
                  </a:lnTo>
                  <a:lnTo>
                    <a:pt x="90252" y="7422"/>
                  </a:lnTo>
                  <a:lnTo>
                    <a:pt x="88739" y="7422"/>
                  </a:lnTo>
                  <a:lnTo>
                    <a:pt x="88739" y="7422"/>
                  </a:lnTo>
                  <a:lnTo>
                    <a:pt x="87731" y="7422"/>
                  </a:lnTo>
                  <a:lnTo>
                    <a:pt x="87731" y="7422"/>
                  </a:lnTo>
                  <a:lnTo>
                    <a:pt x="86722" y="7422"/>
                  </a:lnTo>
                  <a:lnTo>
                    <a:pt x="86722" y="6185"/>
                  </a:lnTo>
                  <a:lnTo>
                    <a:pt x="86722" y="4329"/>
                  </a:lnTo>
                  <a:lnTo>
                    <a:pt x="85210" y="3092"/>
                  </a:lnTo>
                  <a:lnTo>
                    <a:pt x="84201" y="1855"/>
                  </a:lnTo>
                  <a:lnTo>
                    <a:pt x="81680" y="0"/>
                  </a:lnTo>
                  <a:lnTo>
                    <a:pt x="80672" y="0"/>
                  </a:lnTo>
                  <a:lnTo>
                    <a:pt x="80672" y="1855"/>
                  </a:lnTo>
                  <a:lnTo>
                    <a:pt x="79663" y="4329"/>
                  </a:lnTo>
                  <a:lnTo>
                    <a:pt x="79663" y="6185"/>
                  </a:lnTo>
                  <a:lnTo>
                    <a:pt x="78151" y="6185"/>
                  </a:lnTo>
                  <a:lnTo>
                    <a:pt x="78151" y="7422"/>
                  </a:lnTo>
                  <a:lnTo>
                    <a:pt x="78151" y="7422"/>
                  </a:lnTo>
                  <a:lnTo>
                    <a:pt x="78151" y="7422"/>
                  </a:lnTo>
                  <a:lnTo>
                    <a:pt x="78151" y="8659"/>
                  </a:lnTo>
                  <a:lnTo>
                    <a:pt x="78151" y="10515"/>
                  </a:lnTo>
                  <a:lnTo>
                    <a:pt x="78151" y="11752"/>
                  </a:lnTo>
                  <a:lnTo>
                    <a:pt x="78151" y="11752"/>
                  </a:lnTo>
                  <a:lnTo>
                    <a:pt x="77142" y="11752"/>
                  </a:lnTo>
                  <a:lnTo>
                    <a:pt x="77142" y="11752"/>
                  </a:lnTo>
                  <a:lnTo>
                    <a:pt x="75630" y="11752"/>
                  </a:lnTo>
                  <a:lnTo>
                    <a:pt x="74621" y="11752"/>
                  </a:lnTo>
                  <a:lnTo>
                    <a:pt x="73613" y="11752"/>
                  </a:lnTo>
                  <a:lnTo>
                    <a:pt x="72100" y="11752"/>
                  </a:lnTo>
                  <a:lnTo>
                    <a:pt x="72100" y="13608"/>
                  </a:lnTo>
                  <a:lnTo>
                    <a:pt x="72100" y="14845"/>
                  </a:lnTo>
                  <a:lnTo>
                    <a:pt x="72100" y="16082"/>
                  </a:lnTo>
                  <a:lnTo>
                    <a:pt x="72100" y="16082"/>
                  </a:lnTo>
                  <a:lnTo>
                    <a:pt x="72100" y="17938"/>
                  </a:lnTo>
                  <a:lnTo>
                    <a:pt x="71092" y="17938"/>
                  </a:lnTo>
                  <a:lnTo>
                    <a:pt x="71092" y="17938"/>
                  </a:lnTo>
                  <a:lnTo>
                    <a:pt x="70084" y="17938"/>
                  </a:lnTo>
                  <a:lnTo>
                    <a:pt x="68571" y="16082"/>
                  </a:lnTo>
                  <a:lnTo>
                    <a:pt x="68571" y="14845"/>
                  </a:lnTo>
                  <a:lnTo>
                    <a:pt x="67563" y="14845"/>
                  </a:lnTo>
                  <a:lnTo>
                    <a:pt x="67563" y="14845"/>
                  </a:lnTo>
                  <a:lnTo>
                    <a:pt x="67563" y="14845"/>
                  </a:lnTo>
                  <a:lnTo>
                    <a:pt x="67563" y="16082"/>
                  </a:lnTo>
                  <a:lnTo>
                    <a:pt x="67563" y="16082"/>
                  </a:lnTo>
                  <a:lnTo>
                    <a:pt x="66554" y="16082"/>
                  </a:lnTo>
                  <a:lnTo>
                    <a:pt x="66554" y="16082"/>
                  </a:lnTo>
                  <a:lnTo>
                    <a:pt x="66554" y="16082"/>
                  </a:lnTo>
                  <a:lnTo>
                    <a:pt x="65042" y="16082"/>
                  </a:lnTo>
                  <a:lnTo>
                    <a:pt x="65042" y="17938"/>
                  </a:lnTo>
                  <a:lnTo>
                    <a:pt x="64033" y="17938"/>
                  </a:lnTo>
                  <a:lnTo>
                    <a:pt x="63025" y="19175"/>
                  </a:lnTo>
                  <a:lnTo>
                    <a:pt x="63025" y="19175"/>
                  </a:lnTo>
                  <a:lnTo>
                    <a:pt x="63025" y="19175"/>
                  </a:lnTo>
                  <a:lnTo>
                    <a:pt x="63025" y="19175"/>
                  </a:lnTo>
                  <a:lnTo>
                    <a:pt x="61512" y="20412"/>
                  </a:lnTo>
                  <a:lnTo>
                    <a:pt x="60504" y="20412"/>
                  </a:lnTo>
                  <a:lnTo>
                    <a:pt x="58991" y="19175"/>
                  </a:lnTo>
                  <a:lnTo>
                    <a:pt x="57983" y="17938"/>
                  </a:lnTo>
                  <a:lnTo>
                    <a:pt x="57983" y="17938"/>
                  </a:lnTo>
                  <a:lnTo>
                    <a:pt x="57983" y="17938"/>
                  </a:lnTo>
                  <a:lnTo>
                    <a:pt x="56974" y="16082"/>
                  </a:lnTo>
                  <a:lnTo>
                    <a:pt x="56974" y="16082"/>
                  </a:lnTo>
                  <a:lnTo>
                    <a:pt x="55462" y="16082"/>
                  </a:lnTo>
                  <a:lnTo>
                    <a:pt x="55462" y="16082"/>
                  </a:lnTo>
                  <a:lnTo>
                    <a:pt x="54453" y="16082"/>
                  </a:lnTo>
                  <a:lnTo>
                    <a:pt x="54453" y="16082"/>
                  </a:lnTo>
                  <a:lnTo>
                    <a:pt x="53445" y="16082"/>
                  </a:lnTo>
                  <a:lnTo>
                    <a:pt x="51932" y="14845"/>
                  </a:lnTo>
                  <a:lnTo>
                    <a:pt x="49915" y="14845"/>
                  </a:lnTo>
                  <a:lnTo>
                    <a:pt x="47394" y="14845"/>
                  </a:lnTo>
                  <a:lnTo>
                    <a:pt x="46386" y="14845"/>
                  </a:lnTo>
                  <a:lnTo>
                    <a:pt x="44873" y="14845"/>
                  </a:lnTo>
                  <a:lnTo>
                    <a:pt x="42352" y="14845"/>
                  </a:lnTo>
                  <a:lnTo>
                    <a:pt x="41344" y="13608"/>
                  </a:lnTo>
                  <a:lnTo>
                    <a:pt x="40336" y="11752"/>
                  </a:lnTo>
                  <a:lnTo>
                    <a:pt x="38823" y="11752"/>
                  </a:lnTo>
                  <a:lnTo>
                    <a:pt x="38823" y="13608"/>
                  </a:lnTo>
                  <a:lnTo>
                    <a:pt x="38823" y="13608"/>
                  </a:lnTo>
                  <a:lnTo>
                    <a:pt x="38823" y="14845"/>
                  </a:lnTo>
                  <a:lnTo>
                    <a:pt x="38823" y="16082"/>
                  </a:lnTo>
                  <a:lnTo>
                    <a:pt x="36806" y="16082"/>
                  </a:lnTo>
                  <a:lnTo>
                    <a:pt x="34285" y="16082"/>
                  </a:lnTo>
                  <a:lnTo>
                    <a:pt x="33277" y="17938"/>
                  </a:lnTo>
                  <a:lnTo>
                    <a:pt x="31764" y="17938"/>
                  </a:lnTo>
                  <a:lnTo>
                    <a:pt x="31764" y="19175"/>
                  </a:lnTo>
                  <a:lnTo>
                    <a:pt x="31764" y="20412"/>
                  </a:lnTo>
                  <a:lnTo>
                    <a:pt x="31764" y="23505"/>
                  </a:lnTo>
                  <a:lnTo>
                    <a:pt x="31764" y="24742"/>
                  </a:lnTo>
                  <a:lnTo>
                    <a:pt x="31764" y="27835"/>
                  </a:lnTo>
                  <a:lnTo>
                    <a:pt x="30756" y="27835"/>
                  </a:lnTo>
                  <a:lnTo>
                    <a:pt x="30756" y="29690"/>
                  </a:lnTo>
                  <a:lnTo>
                    <a:pt x="28235" y="30927"/>
                  </a:lnTo>
                  <a:lnTo>
                    <a:pt x="28235" y="30927"/>
                  </a:lnTo>
                  <a:lnTo>
                    <a:pt x="28235" y="32164"/>
                  </a:lnTo>
                  <a:lnTo>
                    <a:pt x="28235" y="32164"/>
                  </a:lnTo>
                  <a:lnTo>
                    <a:pt x="27226" y="32164"/>
                  </a:lnTo>
                  <a:lnTo>
                    <a:pt x="27226" y="32164"/>
                  </a:lnTo>
                  <a:lnTo>
                    <a:pt x="25714" y="32164"/>
                  </a:lnTo>
                  <a:lnTo>
                    <a:pt x="24705" y="34020"/>
                  </a:lnTo>
                  <a:lnTo>
                    <a:pt x="23697" y="34020"/>
                  </a:lnTo>
                  <a:lnTo>
                    <a:pt x="21176" y="35257"/>
                  </a:lnTo>
                  <a:lnTo>
                    <a:pt x="20168" y="35257"/>
                  </a:lnTo>
                  <a:lnTo>
                    <a:pt x="20168" y="35257"/>
                  </a:lnTo>
                  <a:lnTo>
                    <a:pt x="20168" y="35257"/>
                  </a:lnTo>
                  <a:lnTo>
                    <a:pt x="20168" y="36494"/>
                  </a:lnTo>
                  <a:lnTo>
                    <a:pt x="20168" y="36494"/>
                  </a:lnTo>
                  <a:lnTo>
                    <a:pt x="21176" y="36494"/>
                  </a:lnTo>
                  <a:lnTo>
                    <a:pt x="20168" y="38350"/>
                  </a:lnTo>
                  <a:lnTo>
                    <a:pt x="20168" y="38350"/>
                  </a:lnTo>
                  <a:lnTo>
                    <a:pt x="20168" y="40824"/>
                  </a:lnTo>
                  <a:lnTo>
                    <a:pt x="20168" y="40824"/>
                  </a:lnTo>
                  <a:lnTo>
                    <a:pt x="18655" y="40824"/>
                  </a:lnTo>
                  <a:lnTo>
                    <a:pt x="17647" y="42680"/>
                  </a:lnTo>
                  <a:lnTo>
                    <a:pt x="17647" y="42680"/>
                  </a:lnTo>
                  <a:lnTo>
                    <a:pt x="16638" y="42680"/>
                  </a:lnTo>
                  <a:lnTo>
                    <a:pt x="16638" y="42680"/>
                  </a:lnTo>
                  <a:lnTo>
                    <a:pt x="15126" y="42680"/>
                  </a:lnTo>
                  <a:lnTo>
                    <a:pt x="15126" y="42680"/>
                  </a:lnTo>
                  <a:lnTo>
                    <a:pt x="14117" y="43917"/>
                  </a:lnTo>
                  <a:lnTo>
                    <a:pt x="14117" y="43917"/>
                  </a:lnTo>
                  <a:lnTo>
                    <a:pt x="13109" y="42680"/>
                  </a:lnTo>
                  <a:lnTo>
                    <a:pt x="13109" y="42680"/>
                  </a:lnTo>
                  <a:lnTo>
                    <a:pt x="11596" y="40824"/>
                  </a:lnTo>
                  <a:lnTo>
                    <a:pt x="10588" y="40824"/>
                  </a:lnTo>
                  <a:lnTo>
                    <a:pt x="10588" y="39587"/>
                  </a:lnTo>
                  <a:lnTo>
                    <a:pt x="9075" y="40824"/>
                  </a:lnTo>
                  <a:lnTo>
                    <a:pt x="8067" y="40824"/>
                  </a:lnTo>
                  <a:lnTo>
                    <a:pt x="8067" y="40824"/>
                  </a:lnTo>
                  <a:lnTo>
                    <a:pt x="7058" y="39587"/>
                  </a:lnTo>
                  <a:lnTo>
                    <a:pt x="5546" y="39587"/>
                  </a:lnTo>
                  <a:lnTo>
                    <a:pt x="4537" y="38350"/>
                  </a:lnTo>
                  <a:lnTo>
                    <a:pt x="4537" y="38350"/>
                  </a:lnTo>
                  <a:lnTo>
                    <a:pt x="4537" y="38350"/>
                  </a:lnTo>
                  <a:lnTo>
                    <a:pt x="4537" y="39587"/>
                  </a:lnTo>
                  <a:lnTo>
                    <a:pt x="4537" y="39587"/>
                  </a:lnTo>
                  <a:lnTo>
                    <a:pt x="4537" y="39587"/>
                  </a:lnTo>
                  <a:lnTo>
                    <a:pt x="4537" y="40824"/>
                  </a:lnTo>
                  <a:lnTo>
                    <a:pt x="3529" y="40824"/>
                  </a:lnTo>
                  <a:lnTo>
                    <a:pt x="3529" y="42680"/>
                  </a:lnTo>
                  <a:lnTo>
                    <a:pt x="3529" y="42680"/>
                  </a:lnTo>
                  <a:lnTo>
                    <a:pt x="3529" y="42680"/>
                  </a:lnTo>
                  <a:lnTo>
                    <a:pt x="3529" y="43917"/>
                  </a:lnTo>
                  <a:lnTo>
                    <a:pt x="3529" y="43917"/>
                  </a:lnTo>
                  <a:lnTo>
                    <a:pt x="4537" y="45773"/>
                  </a:lnTo>
                  <a:lnTo>
                    <a:pt x="3529" y="45773"/>
                  </a:lnTo>
                  <a:lnTo>
                    <a:pt x="3529" y="47010"/>
                  </a:lnTo>
                  <a:lnTo>
                    <a:pt x="3529" y="47010"/>
                  </a:lnTo>
                  <a:lnTo>
                    <a:pt x="3529" y="48247"/>
                  </a:lnTo>
                  <a:lnTo>
                    <a:pt x="3529" y="48247"/>
                  </a:lnTo>
                  <a:lnTo>
                    <a:pt x="3529" y="50103"/>
                  </a:lnTo>
                  <a:lnTo>
                    <a:pt x="3529" y="50103"/>
                  </a:lnTo>
                  <a:lnTo>
                    <a:pt x="3529" y="51340"/>
                  </a:lnTo>
                  <a:lnTo>
                    <a:pt x="2016" y="51340"/>
                  </a:lnTo>
                  <a:lnTo>
                    <a:pt x="2016" y="51340"/>
                  </a:lnTo>
                  <a:lnTo>
                    <a:pt x="2016" y="52577"/>
                  </a:lnTo>
                  <a:lnTo>
                    <a:pt x="1008" y="52577"/>
                  </a:lnTo>
                  <a:lnTo>
                    <a:pt x="1008" y="52577"/>
                  </a:lnTo>
                  <a:lnTo>
                    <a:pt x="1008" y="52577"/>
                  </a:lnTo>
                  <a:lnTo>
                    <a:pt x="2016" y="52577"/>
                  </a:lnTo>
                  <a:lnTo>
                    <a:pt x="2016" y="54432"/>
                  </a:lnTo>
                  <a:lnTo>
                    <a:pt x="3529" y="55670"/>
                  </a:lnTo>
                  <a:lnTo>
                    <a:pt x="1008" y="55670"/>
                  </a:lnTo>
                  <a:lnTo>
                    <a:pt x="1008" y="57525"/>
                  </a:lnTo>
                  <a:lnTo>
                    <a:pt x="0" y="58762"/>
                  </a:lnTo>
                  <a:lnTo>
                    <a:pt x="1008" y="61855"/>
                  </a:lnTo>
                  <a:lnTo>
                    <a:pt x="1008" y="63092"/>
                  </a:lnTo>
                  <a:lnTo>
                    <a:pt x="1008" y="64329"/>
                  </a:lnTo>
                  <a:lnTo>
                    <a:pt x="1008" y="64329"/>
                  </a:lnTo>
                  <a:lnTo>
                    <a:pt x="2016" y="64329"/>
                  </a:lnTo>
                  <a:lnTo>
                    <a:pt x="3529" y="64329"/>
                  </a:lnTo>
                  <a:lnTo>
                    <a:pt x="4537" y="66185"/>
                  </a:lnTo>
                  <a:lnTo>
                    <a:pt x="4537" y="66185"/>
                  </a:lnTo>
                  <a:lnTo>
                    <a:pt x="4537" y="66185"/>
                  </a:lnTo>
                  <a:lnTo>
                    <a:pt x="3529" y="67422"/>
                  </a:lnTo>
                  <a:lnTo>
                    <a:pt x="3529" y="68659"/>
                  </a:lnTo>
                  <a:lnTo>
                    <a:pt x="2016" y="70515"/>
                  </a:lnTo>
                  <a:lnTo>
                    <a:pt x="2016" y="71752"/>
                  </a:lnTo>
                  <a:lnTo>
                    <a:pt x="2016" y="73608"/>
                  </a:lnTo>
                  <a:lnTo>
                    <a:pt x="3529" y="74845"/>
                  </a:lnTo>
                  <a:lnTo>
                    <a:pt x="4537" y="77938"/>
                  </a:lnTo>
                  <a:lnTo>
                    <a:pt x="5546" y="82268"/>
                  </a:lnTo>
                  <a:lnTo>
                    <a:pt x="5546" y="83505"/>
                  </a:lnTo>
                  <a:lnTo>
                    <a:pt x="5546" y="86597"/>
                  </a:lnTo>
                  <a:lnTo>
                    <a:pt x="5546" y="86597"/>
                  </a:lnTo>
                  <a:lnTo>
                    <a:pt x="7058" y="89690"/>
                  </a:lnTo>
                  <a:lnTo>
                    <a:pt x="7058" y="89690"/>
                  </a:lnTo>
                  <a:lnTo>
                    <a:pt x="7058" y="92164"/>
                  </a:lnTo>
                  <a:lnTo>
                    <a:pt x="7058" y="92164"/>
                  </a:lnTo>
                  <a:lnTo>
                    <a:pt x="9075" y="92164"/>
                  </a:lnTo>
                  <a:lnTo>
                    <a:pt x="11596" y="94020"/>
                  </a:lnTo>
                  <a:lnTo>
                    <a:pt x="15126" y="94020"/>
                  </a:lnTo>
                  <a:lnTo>
                    <a:pt x="15126" y="95257"/>
                  </a:lnTo>
                  <a:lnTo>
                    <a:pt x="16638" y="98350"/>
                  </a:lnTo>
                  <a:lnTo>
                    <a:pt x="16638" y="99587"/>
                  </a:lnTo>
                  <a:lnTo>
                    <a:pt x="16638" y="100824"/>
                  </a:lnTo>
                  <a:lnTo>
                    <a:pt x="15126" y="103917"/>
                  </a:lnTo>
                  <a:lnTo>
                    <a:pt x="13109" y="107010"/>
                  </a:lnTo>
                  <a:lnTo>
                    <a:pt x="11596" y="110103"/>
                  </a:lnTo>
                  <a:lnTo>
                    <a:pt x="9075" y="112577"/>
                  </a:lnTo>
                  <a:lnTo>
                    <a:pt x="13109" y="114432"/>
                  </a:lnTo>
                  <a:lnTo>
                    <a:pt x="16638" y="115670"/>
                  </a:lnTo>
                  <a:lnTo>
                    <a:pt x="21176" y="116907"/>
                  </a:lnTo>
                  <a:lnTo>
                    <a:pt x="23697" y="118762"/>
                  </a:lnTo>
                  <a:lnTo>
                    <a:pt x="24705" y="118762"/>
                  </a:lnTo>
                  <a:lnTo>
                    <a:pt x="34285" y="118762"/>
                  </a:lnTo>
                  <a:lnTo>
                    <a:pt x="38823" y="118762"/>
                  </a:lnTo>
                  <a:lnTo>
                    <a:pt x="40336" y="120000"/>
                  </a:lnTo>
                  <a:lnTo>
                    <a:pt x="40336" y="118762"/>
                  </a:lnTo>
                  <a:lnTo>
                    <a:pt x="40336" y="118762"/>
                  </a:lnTo>
                  <a:lnTo>
                    <a:pt x="41344" y="118762"/>
                  </a:lnTo>
                  <a:lnTo>
                    <a:pt x="42352" y="116907"/>
                  </a:lnTo>
                  <a:lnTo>
                    <a:pt x="43865" y="116907"/>
                  </a:lnTo>
                  <a:lnTo>
                    <a:pt x="44873" y="116907"/>
                  </a:lnTo>
                  <a:lnTo>
                    <a:pt x="46386" y="116907"/>
                  </a:lnTo>
                  <a:lnTo>
                    <a:pt x="47394" y="116907"/>
                  </a:lnTo>
                  <a:lnTo>
                    <a:pt x="48403" y="116907"/>
                  </a:lnTo>
                  <a:lnTo>
                    <a:pt x="49915" y="116907"/>
                  </a:lnTo>
                  <a:lnTo>
                    <a:pt x="51932" y="115670"/>
                  </a:lnTo>
                  <a:lnTo>
                    <a:pt x="53445" y="115670"/>
                  </a:lnTo>
                  <a:lnTo>
                    <a:pt x="55462" y="114432"/>
                  </a:lnTo>
                  <a:lnTo>
                    <a:pt x="57983" y="114432"/>
                  </a:lnTo>
                  <a:lnTo>
                    <a:pt x="57983" y="112577"/>
                  </a:lnTo>
                  <a:lnTo>
                    <a:pt x="58991" y="112577"/>
                  </a:lnTo>
                  <a:lnTo>
                    <a:pt x="58991" y="111340"/>
                  </a:lnTo>
                  <a:lnTo>
                    <a:pt x="57983" y="111340"/>
                  </a:lnTo>
                  <a:lnTo>
                    <a:pt x="57983" y="110103"/>
                  </a:lnTo>
                  <a:lnTo>
                    <a:pt x="57983" y="108247"/>
                  </a:lnTo>
                  <a:lnTo>
                    <a:pt x="57983" y="107010"/>
                  </a:lnTo>
                  <a:lnTo>
                    <a:pt x="57983" y="105773"/>
                  </a:lnTo>
                  <a:lnTo>
                    <a:pt x="57983" y="103917"/>
                  </a:lnTo>
                  <a:lnTo>
                    <a:pt x="57983" y="100824"/>
                  </a:lnTo>
                  <a:lnTo>
                    <a:pt x="57983" y="99587"/>
                  </a:lnTo>
                  <a:lnTo>
                    <a:pt x="58991" y="99587"/>
                  </a:lnTo>
                  <a:lnTo>
                    <a:pt x="58991" y="98350"/>
                  </a:lnTo>
                  <a:lnTo>
                    <a:pt x="58991" y="98350"/>
                  </a:lnTo>
                  <a:lnTo>
                    <a:pt x="60504" y="98350"/>
                  </a:lnTo>
                  <a:lnTo>
                    <a:pt x="60504" y="96494"/>
                  </a:lnTo>
                  <a:lnTo>
                    <a:pt x="61512" y="95257"/>
                  </a:lnTo>
                  <a:lnTo>
                    <a:pt x="61512" y="95257"/>
                  </a:lnTo>
                  <a:lnTo>
                    <a:pt x="63025" y="95257"/>
                  </a:lnTo>
                  <a:lnTo>
                    <a:pt x="64033" y="95257"/>
                  </a:lnTo>
                  <a:lnTo>
                    <a:pt x="65042" y="95257"/>
                  </a:lnTo>
                  <a:lnTo>
                    <a:pt x="67563" y="95257"/>
                  </a:lnTo>
                  <a:lnTo>
                    <a:pt x="68571" y="95257"/>
                  </a:lnTo>
                  <a:lnTo>
                    <a:pt x="68571" y="95257"/>
                  </a:lnTo>
                  <a:lnTo>
                    <a:pt x="70084" y="94020"/>
                  </a:lnTo>
                  <a:lnTo>
                    <a:pt x="68571" y="94020"/>
                  </a:lnTo>
                  <a:lnTo>
                    <a:pt x="68571" y="94020"/>
                  </a:lnTo>
                  <a:lnTo>
                    <a:pt x="67563" y="92164"/>
                  </a:lnTo>
                  <a:lnTo>
                    <a:pt x="67563" y="92164"/>
                  </a:lnTo>
                  <a:lnTo>
                    <a:pt x="67563" y="90927"/>
                  </a:lnTo>
                  <a:lnTo>
                    <a:pt x="68571" y="90927"/>
                  </a:lnTo>
                  <a:lnTo>
                    <a:pt x="71092" y="89690"/>
                  </a:lnTo>
                  <a:lnTo>
                    <a:pt x="72100" y="89690"/>
                  </a:lnTo>
                  <a:lnTo>
                    <a:pt x="72100" y="87835"/>
                  </a:lnTo>
                  <a:lnTo>
                    <a:pt x="72100" y="87835"/>
                  </a:lnTo>
                  <a:lnTo>
                    <a:pt x="73613" y="87835"/>
                  </a:lnTo>
                  <a:lnTo>
                    <a:pt x="74621" y="89690"/>
                  </a:lnTo>
                  <a:lnTo>
                    <a:pt x="75630" y="87835"/>
                  </a:lnTo>
                  <a:lnTo>
                    <a:pt x="75630" y="87835"/>
                  </a:lnTo>
                  <a:lnTo>
                    <a:pt x="77142" y="89690"/>
                  </a:lnTo>
                  <a:lnTo>
                    <a:pt x="77142" y="89690"/>
                  </a:lnTo>
                  <a:lnTo>
                    <a:pt x="78151" y="90927"/>
                  </a:lnTo>
                  <a:lnTo>
                    <a:pt x="79663" y="90927"/>
                  </a:lnTo>
                  <a:lnTo>
                    <a:pt x="79663" y="89690"/>
                  </a:lnTo>
                  <a:lnTo>
                    <a:pt x="80672" y="89690"/>
                  </a:lnTo>
                  <a:lnTo>
                    <a:pt x="81680" y="87835"/>
                  </a:lnTo>
                  <a:lnTo>
                    <a:pt x="81680" y="86597"/>
                  </a:lnTo>
                  <a:lnTo>
                    <a:pt x="81680" y="82268"/>
                  </a:lnTo>
                  <a:lnTo>
                    <a:pt x="80672" y="80412"/>
                  </a:lnTo>
                  <a:lnTo>
                    <a:pt x="80672" y="79175"/>
                  </a:lnTo>
                  <a:lnTo>
                    <a:pt x="81680" y="77938"/>
                  </a:lnTo>
                  <a:lnTo>
                    <a:pt x="81680" y="76082"/>
                  </a:lnTo>
                  <a:lnTo>
                    <a:pt x="81680" y="76082"/>
                  </a:lnTo>
                  <a:lnTo>
                    <a:pt x="81680" y="74845"/>
                  </a:lnTo>
                  <a:lnTo>
                    <a:pt x="81680" y="71752"/>
                  </a:lnTo>
                  <a:lnTo>
                    <a:pt x="83193" y="71752"/>
                  </a:lnTo>
                  <a:lnTo>
                    <a:pt x="84201" y="71752"/>
                  </a:lnTo>
                  <a:lnTo>
                    <a:pt x="85210" y="70515"/>
                  </a:lnTo>
                  <a:lnTo>
                    <a:pt x="86722" y="70515"/>
                  </a:lnTo>
                  <a:lnTo>
                    <a:pt x="87731" y="68659"/>
                  </a:lnTo>
                  <a:lnTo>
                    <a:pt x="87731" y="67422"/>
                  </a:lnTo>
                  <a:lnTo>
                    <a:pt x="87731" y="66185"/>
                  </a:lnTo>
                  <a:lnTo>
                    <a:pt x="86722" y="64329"/>
                  </a:lnTo>
                  <a:lnTo>
                    <a:pt x="85210" y="63092"/>
                  </a:lnTo>
                  <a:lnTo>
                    <a:pt x="83193" y="60000"/>
                  </a:lnTo>
                  <a:lnTo>
                    <a:pt x="83193" y="58762"/>
                  </a:lnTo>
                  <a:lnTo>
                    <a:pt x="84201" y="58762"/>
                  </a:lnTo>
                  <a:lnTo>
                    <a:pt x="86722" y="60000"/>
                  </a:lnTo>
                  <a:lnTo>
                    <a:pt x="87731" y="60000"/>
                  </a:lnTo>
                  <a:lnTo>
                    <a:pt x="87731" y="60000"/>
                  </a:lnTo>
                  <a:lnTo>
                    <a:pt x="90252" y="60000"/>
                  </a:lnTo>
                  <a:lnTo>
                    <a:pt x="92268" y="60000"/>
                  </a:lnTo>
                  <a:lnTo>
                    <a:pt x="93781" y="58762"/>
                  </a:lnTo>
                  <a:lnTo>
                    <a:pt x="93781" y="57525"/>
                  </a:lnTo>
                  <a:lnTo>
                    <a:pt x="93781" y="57525"/>
                  </a:lnTo>
                  <a:lnTo>
                    <a:pt x="93781" y="55670"/>
                  </a:lnTo>
                  <a:lnTo>
                    <a:pt x="93781" y="54432"/>
                  </a:lnTo>
                  <a:lnTo>
                    <a:pt x="92268" y="54432"/>
                  </a:lnTo>
                  <a:lnTo>
                    <a:pt x="92268" y="52577"/>
                  </a:lnTo>
                  <a:lnTo>
                    <a:pt x="92268" y="52577"/>
                  </a:lnTo>
                  <a:lnTo>
                    <a:pt x="92268" y="52577"/>
                  </a:lnTo>
                  <a:lnTo>
                    <a:pt x="92268" y="51340"/>
                  </a:lnTo>
                  <a:lnTo>
                    <a:pt x="92268" y="50103"/>
                  </a:lnTo>
                  <a:lnTo>
                    <a:pt x="93781" y="50103"/>
                  </a:lnTo>
                  <a:lnTo>
                    <a:pt x="93781" y="48247"/>
                  </a:lnTo>
                  <a:lnTo>
                    <a:pt x="94789" y="47010"/>
                  </a:lnTo>
                  <a:lnTo>
                    <a:pt x="94789" y="47010"/>
                  </a:lnTo>
                  <a:lnTo>
                    <a:pt x="96302" y="45773"/>
                  </a:lnTo>
                  <a:lnTo>
                    <a:pt x="96302" y="45773"/>
                  </a:lnTo>
                  <a:lnTo>
                    <a:pt x="96302" y="43917"/>
                  </a:lnTo>
                  <a:lnTo>
                    <a:pt x="96302" y="43917"/>
                  </a:lnTo>
                  <a:lnTo>
                    <a:pt x="96302" y="43917"/>
                  </a:lnTo>
                  <a:lnTo>
                    <a:pt x="96302" y="42680"/>
                  </a:lnTo>
                  <a:lnTo>
                    <a:pt x="94789" y="42680"/>
                  </a:lnTo>
                  <a:lnTo>
                    <a:pt x="94789" y="42680"/>
                  </a:lnTo>
                  <a:lnTo>
                    <a:pt x="96302" y="40824"/>
                  </a:lnTo>
                  <a:lnTo>
                    <a:pt x="96302" y="40824"/>
                  </a:lnTo>
                  <a:lnTo>
                    <a:pt x="94789" y="39587"/>
                  </a:lnTo>
                  <a:lnTo>
                    <a:pt x="94789" y="39587"/>
                  </a:lnTo>
                  <a:lnTo>
                    <a:pt x="94789" y="38350"/>
                  </a:lnTo>
                  <a:lnTo>
                    <a:pt x="93781" y="36494"/>
                  </a:lnTo>
                  <a:lnTo>
                    <a:pt x="93781" y="35257"/>
                  </a:lnTo>
                  <a:lnTo>
                    <a:pt x="92268" y="35257"/>
                  </a:lnTo>
                  <a:lnTo>
                    <a:pt x="92268" y="34020"/>
                  </a:lnTo>
                  <a:lnTo>
                    <a:pt x="91260" y="32164"/>
                  </a:lnTo>
                  <a:lnTo>
                    <a:pt x="90252" y="32164"/>
                  </a:lnTo>
                  <a:lnTo>
                    <a:pt x="91260" y="30927"/>
                  </a:lnTo>
                  <a:lnTo>
                    <a:pt x="91260" y="30927"/>
                  </a:lnTo>
                  <a:lnTo>
                    <a:pt x="92268" y="29690"/>
                  </a:lnTo>
                  <a:lnTo>
                    <a:pt x="92268" y="27835"/>
                  </a:lnTo>
                  <a:lnTo>
                    <a:pt x="93781" y="27835"/>
                  </a:lnTo>
                  <a:lnTo>
                    <a:pt x="94789" y="27835"/>
                  </a:lnTo>
                  <a:lnTo>
                    <a:pt x="94789" y="27835"/>
                  </a:lnTo>
                  <a:lnTo>
                    <a:pt x="94789" y="26597"/>
                  </a:lnTo>
                  <a:lnTo>
                    <a:pt x="96302" y="26597"/>
                  </a:lnTo>
                  <a:lnTo>
                    <a:pt x="97310" y="24742"/>
                  </a:lnTo>
                  <a:lnTo>
                    <a:pt x="97310" y="23505"/>
                  </a:lnTo>
                  <a:lnTo>
                    <a:pt x="98319" y="23505"/>
                  </a:lnTo>
                  <a:lnTo>
                    <a:pt x="98319" y="23505"/>
                  </a:lnTo>
                  <a:lnTo>
                    <a:pt x="99831" y="23505"/>
                  </a:lnTo>
                  <a:lnTo>
                    <a:pt x="100840" y="22268"/>
                  </a:lnTo>
                  <a:lnTo>
                    <a:pt x="100840" y="22268"/>
                  </a:lnTo>
                  <a:lnTo>
                    <a:pt x="103361" y="22268"/>
                  </a:lnTo>
                  <a:lnTo>
                    <a:pt x="104369" y="22268"/>
                  </a:lnTo>
                  <a:lnTo>
                    <a:pt x="105378" y="22268"/>
                  </a:lnTo>
                  <a:lnTo>
                    <a:pt x="107899" y="20412"/>
                  </a:lnTo>
                  <a:lnTo>
                    <a:pt x="111428" y="20412"/>
                  </a:lnTo>
                  <a:lnTo>
                    <a:pt x="111428" y="20412"/>
                  </a:lnTo>
                  <a:lnTo>
                    <a:pt x="112941" y="22268"/>
                  </a:lnTo>
                  <a:lnTo>
                    <a:pt x="113949" y="22268"/>
                  </a:lnTo>
                  <a:lnTo>
                    <a:pt x="113949" y="22268"/>
                  </a:lnTo>
                  <a:lnTo>
                    <a:pt x="114957" y="20412"/>
                  </a:lnTo>
                  <a:lnTo>
                    <a:pt x="117478" y="20412"/>
                  </a:lnTo>
                  <a:lnTo>
                    <a:pt x="117478" y="19175"/>
                  </a:lnTo>
                  <a:lnTo>
                    <a:pt x="117478" y="19175"/>
                  </a:lnTo>
                  <a:lnTo>
                    <a:pt x="117478" y="19175"/>
                  </a:lnTo>
                  <a:lnTo>
                    <a:pt x="116470" y="17938"/>
                  </a:lnTo>
                  <a:lnTo>
                    <a:pt x="116470" y="17938"/>
                  </a:lnTo>
                  <a:lnTo>
                    <a:pt x="117478" y="16082"/>
                  </a:lnTo>
                  <a:lnTo>
                    <a:pt x="118487" y="16082"/>
                  </a:lnTo>
                  <a:lnTo>
                    <a:pt x="118487" y="16082"/>
                  </a:lnTo>
                  <a:lnTo>
                    <a:pt x="118487" y="16082"/>
                  </a:lnTo>
                  <a:lnTo>
                    <a:pt x="118487" y="16082"/>
                  </a:lnTo>
                  <a:lnTo>
                    <a:pt x="120000" y="16082"/>
                  </a:lnTo>
                  <a:lnTo>
                    <a:pt x="120000" y="16082"/>
                  </a:lnTo>
                  <a:lnTo>
                    <a:pt x="120000" y="16082"/>
                  </a:lnTo>
                  <a:close/>
                </a:path>
              </a:pathLst>
            </a:custGeom>
            <a:solidFill>
              <a:schemeClr val="lt2"/>
            </a:solidFill>
            <a:ln>
              <a:noFill/>
            </a:ln>
          </p:spPr>
          <p:txBody>
            <a:bodyPr lIns="68575" tIns="34275" rIns="68575" bIns="34275"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grpSp>
      <p:sp>
        <p:nvSpPr>
          <p:cNvPr id="546" name="Shape 546"/>
          <p:cNvSpPr txBox="1">
            <a:spLocks noGrp="1"/>
          </p:cNvSpPr>
          <p:nvPr>
            <p:ph type="body" idx="1"/>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47" name="Shape 547"/>
          <p:cNvSpPr txBox="1">
            <a:spLocks noGrp="1"/>
          </p:cNvSpPr>
          <p:nvPr>
            <p:ph type="body" idx="2"/>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48" name="Shape 548"/>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126836490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cSld name="Desktop">
    <p:spTree>
      <p:nvGrpSpPr>
        <p:cNvPr id="1" name="Shape 549"/>
        <p:cNvGrpSpPr/>
        <p:nvPr/>
      </p:nvGrpSpPr>
      <p:grpSpPr>
        <a:xfrm>
          <a:off x="0" y="0"/>
          <a:ext cx="0" cy="0"/>
          <a:chOff x="0" y="0"/>
          <a:chExt cx="0" cy="0"/>
        </a:xfrm>
      </p:grpSpPr>
      <p:sp>
        <p:nvSpPr>
          <p:cNvPr id="550" name="Shape 550"/>
          <p:cNvSpPr txBox="1">
            <a:spLocks noGrp="1"/>
          </p:cNvSpPr>
          <p:nvPr>
            <p:ph type="title"/>
          </p:nvPr>
        </p:nvSpPr>
        <p:spPr>
          <a:xfrm>
            <a:off x="233183"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551" name="Shape 551"/>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552" name="Shape 552"/>
          <p:cNvSpPr/>
          <p:nvPr/>
        </p:nvSpPr>
        <p:spPr>
          <a:xfrm>
            <a:off x="867598" y="2076332"/>
            <a:ext cx="5189209" cy="3206181"/>
          </a:xfrm>
          <a:prstGeom prst="rect">
            <a:avLst/>
          </a:prstGeom>
          <a:solidFill>
            <a:srgbClr val="FFFFFF"/>
          </a:solidFill>
          <a:ln>
            <a:noFill/>
          </a:ln>
        </p:spPr>
        <p:txBody>
          <a:bodyPr lIns="93254" tIns="46610" rIns="93254" bIns="46610"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53" name="Shape 553"/>
          <p:cNvSpPr>
            <a:spLocks noGrp="1"/>
          </p:cNvSpPr>
          <p:nvPr>
            <p:ph type="pic" idx="2"/>
          </p:nvPr>
        </p:nvSpPr>
        <p:spPr>
          <a:xfrm>
            <a:off x="617613" y="2075287"/>
            <a:ext cx="5185945" cy="3208221"/>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61111"/>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54" name="Shape 554"/>
          <p:cNvSpPr txBox="1">
            <a:spLocks noGrp="1"/>
          </p:cNvSpPr>
          <p:nvPr>
            <p:ph type="body" idx="1"/>
          </p:nvPr>
        </p:nvSpPr>
        <p:spPr>
          <a:xfrm>
            <a:off x="6307004" y="1861967"/>
            <a:ext cx="5649456" cy="4266477"/>
          </a:xfrm>
          <a:prstGeom prst="rect">
            <a:avLst/>
          </a:prstGeom>
          <a:noFill/>
          <a:ln>
            <a:noFill/>
          </a:ln>
        </p:spPr>
        <p:txBody>
          <a:bodyPr lIns="68575" tIns="68575" rIns="68575" bIns="68575" anchor="t" anchorCtr="0"/>
          <a:lstStyle>
            <a:lvl1pPr marL="0" marR="0" lvl="0" indent="0" algn="l" rtl="0">
              <a:lnSpc>
                <a:spcPct val="100000"/>
              </a:lnSpc>
              <a:spcBef>
                <a:spcPts val="680"/>
              </a:spcBef>
              <a:spcAft>
                <a:spcPts val="0"/>
              </a:spcAft>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742641" marR="0" lvl="1" indent="-172707" algn="l" rtl="0">
              <a:lnSpc>
                <a:spcPct val="100000"/>
              </a:lnSpc>
              <a:spcBef>
                <a:spcPts val="680"/>
              </a:spcBef>
              <a:buClr>
                <a:schemeClr val="dk2"/>
              </a:buClr>
              <a:buSzPct val="73333"/>
              <a:buFont typeface="Noto Sans Symbols"/>
              <a:buChar char="▪"/>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55" name="Shape 555"/>
          <p:cNvSpPr txBox="1">
            <a:spLocks noGrp="1"/>
          </p:cNvSpPr>
          <p:nvPr>
            <p:ph type="body" idx="3"/>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56" name="Shape 556"/>
          <p:cNvSpPr txBox="1">
            <a:spLocks noGrp="1"/>
          </p:cNvSpPr>
          <p:nvPr>
            <p:ph type="body" idx="4"/>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57" name="Shape 557"/>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1730580136"/>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Laptop">
    <p:spTree>
      <p:nvGrpSpPr>
        <p:cNvPr id="1" name="Shape 558"/>
        <p:cNvGrpSpPr/>
        <p:nvPr/>
      </p:nvGrpSpPr>
      <p:grpSpPr>
        <a:xfrm>
          <a:off x="0" y="0"/>
          <a:ext cx="0" cy="0"/>
          <a:chOff x="0" y="0"/>
          <a:chExt cx="0" cy="0"/>
        </a:xfrm>
      </p:grpSpPr>
      <p:sp>
        <p:nvSpPr>
          <p:cNvPr id="559" name="Shape 559"/>
          <p:cNvSpPr txBox="1">
            <a:spLocks noGrp="1"/>
          </p:cNvSpPr>
          <p:nvPr>
            <p:ph type="title"/>
          </p:nvPr>
        </p:nvSpPr>
        <p:spPr>
          <a:xfrm>
            <a:off x="233183"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560" name="Shape 560"/>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561" name="Shape 561"/>
          <p:cNvSpPr/>
          <p:nvPr/>
        </p:nvSpPr>
        <p:spPr>
          <a:xfrm>
            <a:off x="933327" y="2039293"/>
            <a:ext cx="5189209" cy="3206181"/>
          </a:xfrm>
          <a:prstGeom prst="rect">
            <a:avLst/>
          </a:prstGeom>
          <a:solidFill>
            <a:srgbClr val="FFFFFF"/>
          </a:solidFill>
          <a:ln>
            <a:noFill/>
          </a:ln>
        </p:spPr>
        <p:txBody>
          <a:bodyPr lIns="93254" tIns="46610" rIns="93254" bIns="46610"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62" name="Shape 562"/>
          <p:cNvSpPr>
            <a:spLocks noGrp="1"/>
          </p:cNvSpPr>
          <p:nvPr>
            <p:ph type="pic" idx="2"/>
          </p:nvPr>
        </p:nvSpPr>
        <p:spPr>
          <a:xfrm>
            <a:off x="1327071" y="2039293"/>
            <a:ext cx="4632669" cy="2699083"/>
          </a:xfrm>
          <a:prstGeom prst="rect">
            <a:avLst/>
          </a:prstGeom>
          <a:noFill/>
          <a:ln>
            <a:noFill/>
          </a:ln>
        </p:spPr>
        <p:txBody>
          <a:bodyPr lIns="68575" tIns="68575" rIns="68575" bIns="68575" anchor="ctr" anchorCtr="0"/>
          <a:lstStyle>
            <a:lvl1pPr lvl="0">
              <a:spcBef>
                <a:spcPts val="0"/>
              </a:spcBef>
              <a:buNone/>
              <a:defRPr/>
            </a:lvl1pPr>
          </a:lstStyle>
          <a:p>
            <a:endParaRPr/>
          </a:p>
        </p:txBody>
      </p:sp>
      <p:sp>
        <p:nvSpPr>
          <p:cNvPr id="563" name="Shape 563"/>
          <p:cNvSpPr txBox="1">
            <a:spLocks noGrp="1"/>
          </p:cNvSpPr>
          <p:nvPr>
            <p:ph type="body" idx="1"/>
          </p:nvPr>
        </p:nvSpPr>
        <p:spPr>
          <a:xfrm>
            <a:off x="6307004" y="1861967"/>
            <a:ext cx="5649456" cy="4266477"/>
          </a:xfrm>
          <a:prstGeom prst="rect">
            <a:avLst/>
          </a:prstGeom>
          <a:noFill/>
          <a:ln>
            <a:noFill/>
          </a:ln>
        </p:spPr>
        <p:txBody>
          <a:bodyPr lIns="68575" tIns="68575" rIns="68575" bIns="68575" anchor="t" anchorCtr="0"/>
          <a:lstStyle>
            <a:lvl1pPr marL="0" marR="0" lvl="0" indent="0" algn="l" rtl="0">
              <a:lnSpc>
                <a:spcPct val="100000"/>
              </a:lnSpc>
              <a:spcBef>
                <a:spcPts val="680"/>
              </a:spcBef>
              <a:spcAft>
                <a:spcPts val="0"/>
              </a:spcAft>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742641" marR="0" lvl="1" indent="-172707" algn="l" rtl="0">
              <a:lnSpc>
                <a:spcPct val="100000"/>
              </a:lnSpc>
              <a:spcBef>
                <a:spcPts val="680"/>
              </a:spcBef>
              <a:buClr>
                <a:schemeClr val="dk2"/>
              </a:buClr>
              <a:buSzPct val="73333"/>
              <a:buFont typeface="Noto Sans Symbols"/>
              <a:buChar char="▪"/>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64" name="Shape 564"/>
          <p:cNvSpPr txBox="1">
            <a:spLocks noGrp="1"/>
          </p:cNvSpPr>
          <p:nvPr>
            <p:ph type="body" idx="3"/>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65" name="Shape 565"/>
          <p:cNvSpPr txBox="1">
            <a:spLocks noGrp="1"/>
          </p:cNvSpPr>
          <p:nvPr>
            <p:ph type="body" idx="4"/>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66" name="Shape 566"/>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160492468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cSld name="Mobile">
    <p:spTree>
      <p:nvGrpSpPr>
        <p:cNvPr id="1" name="Shape 567"/>
        <p:cNvGrpSpPr/>
        <p:nvPr/>
      </p:nvGrpSpPr>
      <p:grpSpPr>
        <a:xfrm>
          <a:off x="0" y="0"/>
          <a:ext cx="0" cy="0"/>
          <a:chOff x="0" y="0"/>
          <a:chExt cx="0" cy="0"/>
        </a:xfrm>
      </p:grpSpPr>
      <p:sp>
        <p:nvSpPr>
          <p:cNvPr id="568" name="Shape 568"/>
          <p:cNvSpPr txBox="1">
            <a:spLocks noGrp="1"/>
          </p:cNvSpPr>
          <p:nvPr>
            <p:ph type="title"/>
          </p:nvPr>
        </p:nvSpPr>
        <p:spPr>
          <a:xfrm>
            <a:off x="233183"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569" name="Shape 569"/>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570" name="Shape 570"/>
          <p:cNvSpPr/>
          <p:nvPr/>
        </p:nvSpPr>
        <p:spPr>
          <a:xfrm>
            <a:off x="867598" y="2076332"/>
            <a:ext cx="5189209" cy="3206181"/>
          </a:xfrm>
          <a:prstGeom prst="rect">
            <a:avLst/>
          </a:prstGeom>
          <a:solidFill>
            <a:srgbClr val="FFFFFF"/>
          </a:solidFill>
          <a:ln>
            <a:noFill/>
          </a:ln>
        </p:spPr>
        <p:txBody>
          <a:bodyPr lIns="93254" tIns="46610" rIns="93254" bIns="46610"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71" name="Shape 571"/>
          <p:cNvSpPr>
            <a:spLocks noGrp="1"/>
          </p:cNvSpPr>
          <p:nvPr>
            <p:ph type="pic" idx="2"/>
          </p:nvPr>
        </p:nvSpPr>
        <p:spPr>
          <a:xfrm>
            <a:off x="615323" y="2433511"/>
            <a:ext cx="1870774" cy="3034429"/>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61111"/>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72" name="Shape 572"/>
          <p:cNvSpPr txBox="1">
            <a:spLocks noGrp="1"/>
          </p:cNvSpPr>
          <p:nvPr>
            <p:ph type="body" idx="1"/>
          </p:nvPr>
        </p:nvSpPr>
        <p:spPr>
          <a:xfrm>
            <a:off x="2931454" y="1861967"/>
            <a:ext cx="9271865" cy="4266477"/>
          </a:xfrm>
          <a:prstGeom prst="rect">
            <a:avLst/>
          </a:prstGeom>
          <a:noFill/>
          <a:ln>
            <a:noFill/>
          </a:ln>
        </p:spPr>
        <p:txBody>
          <a:bodyPr lIns="68575" tIns="68575" rIns="68575" bIns="68575" anchor="t" anchorCtr="0"/>
          <a:lstStyle>
            <a:lvl1pPr marL="0" marR="0" lvl="0" indent="0" algn="l" rtl="0">
              <a:lnSpc>
                <a:spcPct val="100000"/>
              </a:lnSpc>
              <a:spcBef>
                <a:spcPts val="680"/>
              </a:spcBef>
              <a:spcAft>
                <a:spcPts val="0"/>
              </a:spcAft>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742641" marR="0" lvl="1" indent="-172707" algn="l" rtl="0">
              <a:lnSpc>
                <a:spcPct val="100000"/>
              </a:lnSpc>
              <a:spcBef>
                <a:spcPts val="680"/>
              </a:spcBef>
              <a:buClr>
                <a:schemeClr val="dk2"/>
              </a:buClr>
              <a:buSzPct val="73333"/>
              <a:buFont typeface="Noto Sans Symbols"/>
              <a:buChar char="▪"/>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73" name="Shape 573"/>
          <p:cNvSpPr txBox="1">
            <a:spLocks noGrp="1"/>
          </p:cNvSpPr>
          <p:nvPr>
            <p:ph type="body" idx="3"/>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74" name="Shape 574"/>
          <p:cNvSpPr txBox="1">
            <a:spLocks noGrp="1"/>
          </p:cNvSpPr>
          <p:nvPr>
            <p:ph type="body" idx="4"/>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75" name="Shape 575"/>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58581571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cSld name="Tablet">
    <p:spTree>
      <p:nvGrpSpPr>
        <p:cNvPr id="1" name="Shape 576"/>
        <p:cNvGrpSpPr/>
        <p:nvPr/>
      </p:nvGrpSpPr>
      <p:grpSpPr>
        <a:xfrm>
          <a:off x="0" y="0"/>
          <a:ext cx="0" cy="0"/>
          <a:chOff x="0" y="0"/>
          <a:chExt cx="0" cy="0"/>
        </a:xfrm>
      </p:grpSpPr>
      <p:sp>
        <p:nvSpPr>
          <p:cNvPr id="577" name="Shape 577"/>
          <p:cNvSpPr/>
          <p:nvPr/>
        </p:nvSpPr>
        <p:spPr>
          <a:xfrm>
            <a:off x="631539" y="1861967"/>
            <a:ext cx="5738813" cy="4251790"/>
          </a:xfrm>
          <a:prstGeom prst="rect">
            <a:avLst/>
          </a:prstGeom>
          <a:noFill/>
          <a:ln>
            <a:noFill/>
          </a:ln>
        </p:spPr>
        <p:txBody>
          <a:bodyPr lIns="93254" tIns="46610" rIns="93254" bIns="46610"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578" name="Shape 578"/>
          <p:cNvSpPr txBox="1">
            <a:spLocks noGrp="1"/>
          </p:cNvSpPr>
          <p:nvPr>
            <p:ph type="title"/>
          </p:nvPr>
        </p:nvSpPr>
        <p:spPr>
          <a:xfrm>
            <a:off x="233184"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579" name="Shape 579"/>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580" name="Shape 580"/>
          <p:cNvSpPr>
            <a:spLocks noGrp="1"/>
          </p:cNvSpPr>
          <p:nvPr>
            <p:ph type="pic" idx="2"/>
          </p:nvPr>
        </p:nvSpPr>
        <p:spPr>
          <a:xfrm>
            <a:off x="684023" y="2169665"/>
            <a:ext cx="4961941" cy="3572124"/>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61111"/>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81" name="Shape 581"/>
          <p:cNvSpPr txBox="1">
            <a:spLocks noGrp="1"/>
          </p:cNvSpPr>
          <p:nvPr>
            <p:ph type="body" idx="1"/>
          </p:nvPr>
        </p:nvSpPr>
        <p:spPr>
          <a:xfrm>
            <a:off x="6297374" y="1861967"/>
            <a:ext cx="5672712" cy="4245263"/>
          </a:xfrm>
          <a:prstGeom prst="rect">
            <a:avLst/>
          </a:prstGeom>
          <a:noFill/>
          <a:ln>
            <a:noFill/>
          </a:ln>
        </p:spPr>
        <p:txBody>
          <a:bodyPr lIns="68575" tIns="68575" rIns="68575" bIns="68575" anchor="t" anchorCtr="0"/>
          <a:lstStyle>
            <a:lvl1pPr marL="0" marR="0" lvl="0" indent="0" algn="l" rtl="0">
              <a:lnSpc>
                <a:spcPct val="100000"/>
              </a:lnSpc>
              <a:spcBef>
                <a:spcPts val="680"/>
              </a:spcBef>
              <a:spcAft>
                <a:spcPts val="0"/>
              </a:spcAft>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742641" marR="0" lvl="1" indent="-172707" algn="l" rtl="0">
              <a:lnSpc>
                <a:spcPct val="100000"/>
              </a:lnSpc>
              <a:spcBef>
                <a:spcPts val="680"/>
              </a:spcBef>
              <a:buClr>
                <a:schemeClr val="dk2"/>
              </a:buClr>
              <a:buSzPct val="73333"/>
              <a:buFont typeface="Noto Sans Symbols"/>
              <a:buChar char="▪"/>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82" name="Shape 582"/>
          <p:cNvSpPr txBox="1">
            <a:spLocks noGrp="1"/>
          </p:cNvSpPr>
          <p:nvPr>
            <p:ph type="body" idx="3"/>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83" name="Shape 583"/>
          <p:cNvSpPr txBox="1">
            <a:spLocks noGrp="1"/>
          </p:cNvSpPr>
          <p:nvPr>
            <p:ph type="body" idx="4"/>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84" name="Shape 584"/>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29032956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8306" y="245114"/>
            <a:ext cx="11895477" cy="922807"/>
          </a:xfrm>
        </p:spPr>
        <p:txBody>
          <a:bodyPr wrap="square" lIns="91521">
            <a:noAutofit/>
          </a:bodyPr>
          <a:lstStyle>
            <a:lvl1pPr>
              <a:defRPr sz="3060"/>
            </a:lvl1pPr>
          </a:lstStyle>
          <a:p>
            <a:r>
              <a:rPr lang="en-US" dirty="0"/>
              <a:t>Click to edit Master title style</a:t>
            </a:r>
          </a:p>
        </p:txBody>
      </p:sp>
      <p:sp>
        <p:nvSpPr>
          <p:cNvPr id="48" name="Content Placeholder 3"/>
          <p:cNvSpPr>
            <a:spLocks noGrp="1"/>
          </p:cNvSpPr>
          <p:nvPr>
            <p:ph sz="quarter" idx="14"/>
          </p:nvPr>
        </p:nvSpPr>
        <p:spPr>
          <a:xfrm>
            <a:off x="268306" y="1768062"/>
            <a:ext cx="11895477" cy="4569109"/>
          </a:xfrm>
        </p:spPr>
        <p:txBody>
          <a:bodyPr wrap="square" lIns="91521">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Text Placeholder 2"/>
          <p:cNvSpPr>
            <a:spLocks noGrp="1"/>
          </p:cNvSpPr>
          <p:nvPr>
            <p:ph type="body" idx="10" hasCustomPrompt="1"/>
          </p:nvPr>
        </p:nvSpPr>
        <p:spPr bwMode="gray">
          <a:xfrm>
            <a:off x="281327" y="1128444"/>
            <a:ext cx="11886147" cy="408074"/>
          </a:xfrm>
        </p:spPr>
        <p:txBody>
          <a:bodyPr lIns="91521" tIns="45761" rIns="91521" bIns="45761" anchor="t">
            <a:noAutofit/>
          </a:bodyPr>
          <a:lstStyle>
            <a:lvl1pPr marL="0" indent="0">
              <a:spcBef>
                <a:spcPts val="0"/>
              </a:spcBef>
              <a:spcAft>
                <a:spcPts val="0"/>
              </a:spcAft>
              <a:buNone/>
              <a:defRPr sz="1836" b="0">
                <a:solidFill>
                  <a:schemeClr val="accent1"/>
                </a:solidFill>
              </a:defRPr>
            </a:lvl1pPr>
            <a:lvl2pPr marL="466714" indent="0">
              <a:buNone/>
              <a:defRPr sz="2040" b="1"/>
            </a:lvl2pPr>
            <a:lvl3pPr marL="933429" indent="0">
              <a:buNone/>
              <a:defRPr sz="1938" b="1"/>
            </a:lvl3pPr>
            <a:lvl4pPr marL="1400141" indent="0">
              <a:buNone/>
              <a:defRPr sz="1632" b="1"/>
            </a:lvl4pPr>
            <a:lvl5pPr marL="1866856" indent="0">
              <a:buNone/>
              <a:defRPr sz="1632" b="1"/>
            </a:lvl5pPr>
            <a:lvl6pPr marL="2333570" indent="0">
              <a:buNone/>
              <a:defRPr sz="1632" b="1"/>
            </a:lvl6pPr>
            <a:lvl7pPr marL="2800284" indent="0">
              <a:buNone/>
              <a:defRPr sz="1632" b="1"/>
            </a:lvl7pPr>
            <a:lvl8pPr marL="3266998" indent="0">
              <a:buNone/>
              <a:defRPr sz="1632" b="1"/>
            </a:lvl8pPr>
            <a:lvl9pPr marL="3733712" indent="0">
              <a:buNone/>
              <a:defRPr sz="1632" b="1"/>
            </a:lvl9pPr>
          </a:lstStyle>
          <a:p>
            <a:pPr lvl="0"/>
            <a:r>
              <a:rPr lang="en-US" dirty="0"/>
              <a:t>Click to edit master text styles</a:t>
            </a:r>
          </a:p>
        </p:txBody>
      </p:sp>
      <p:sp>
        <p:nvSpPr>
          <p:cNvPr id="10" name="Footer Placeholder 4"/>
          <p:cNvSpPr>
            <a:spLocks noGrp="1"/>
          </p:cNvSpPr>
          <p:nvPr>
            <p:ph type="ftr" sz="quarter" idx="3"/>
          </p:nvPr>
        </p:nvSpPr>
        <p:spPr>
          <a:xfrm>
            <a:off x="907244" y="6601589"/>
            <a:ext cx="6671614" cy="245277"/>
          </a:xfrm>
          <a:prstGeom prst="rect">
            <a:avLst/>
          </a:prstGeom>
        </p:spPr>
        <p:txBody>
          <a:bodyPr vert="horz" wrap="square" lIns="91521" tIns="45761" rIns="91521" bIns="45761" rtlCol="0" anchor="b">
            <a:noAutofit/>
          </a:bodyPr>
          <a:lstStyle>
            <a:lvl1pPr>
              <a:defRPr lang="en-US" sz="816" smtClean="0">
                <a:solidFill>
                  <a:schemeClr val="bg2"/>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dirty="0">
                <a:ln>
                  <a:noFill/>
                </a:ln>
                <a:solidFill>
                  <a:srgbClr val="EAEAEA"/>
                </a:solidFill>
                <a:effectLst/>
                <a:uLnTx/>
                <a:uFillTx/>
                <a:latin typeface="Segoe UI"/>
                <a:ea typeface="+mn-ea"/>
                <a:cs typeface="+mn-cs"/>
              </a:rPr>
              <a:t>© 2016 NetApp, Inc. All rights reserved. </a:t>
            </a:r>
          </a:p>
        </p:txBody>
      </p:sp>
      <p:sp>
        <p:nvSpPr>
          <p:cNvPr id="11" name="Slide Number Placeholder 5"/>
          <p:cNvSpPr>
            <a:spLocks noGrp="1"/>
          </p:cNvSpPr>
          <p:nvPr>
            <p:ph type="sldNum" sz="quarter" idx="4"/>
          </p:nvPr>
        </p:nvSpPr>
        <p:spPr>
          <a:xfrm>
            <a:off x="300395" y="6591227"/>
            <a:ext cx="457650" cy="266001"/>
          </a:xfrm>
          <a:prstGeom prst="rect">
            <a:avLst/>
          </a:prstGeom>
        </p:spPr>
        <p:txBody>
          <a:bodyPr vert="horz" wrap="square" lIns="91521" tIns="45761" rIns="91521" bIns="45761" rtlCol="0" anchor="b">
            <a:noAutofit/>
          </a:bodyPr>
          <a:lstStyle>
            <a:lvl1pPr>
              <a:defRPr lang="en-US" sz="1071" b="1" smtClean="0">
                <a:solidFill>
                  <a:schemeClr val="bg2">
                    <a:lumMod val="50000"/>
                  </a:schemeClr>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fld id="{B071A5F3-A4FF-4CEE-8215-C08835B585C1}" type="slidenum">
              <a:rPr kumimoji="0" lang="en-US" sz="1071" b="1" i="0" u="none" strike="noStrike" kern="1200" cap="none" spc="0" normalizeH="0" baseline="0" noProof="0" smtClean="0">
                <a:ln>
                  <a:noFill/>
                </a:ln>
                <a:solidFill>
                  <a:srgbClr val="EAEAEA">
                    <a:lumMod val="50000"/>
                  </a:srgbClr>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071" b="1" i="0" u="none" strike="noStrike" kern="1200" cap="none" spc="0" normalizeH="0" baseline="0" noProof="0" dirty="0">
              <a:ln>
                <a:noFill/>
              </a:ln>
              <a:solidFill>
                <a:srgbClr val="EAEAEA">
                  <a:lumMod val="50000"/>
                </a:srgbClr>
              </a:solidFill>
              <a:effectLst/>
              <a:uLnTx/>
              <a:uFillTx/>
              <a:latin typeface="Segoe UI"/>
              <a:ea typeface="+mn-ea"/>
              <a:cs typeface="+mn-cs"/>
            </a:endParaRPr>
          </a:p>
        </p:txBody>
      </p:sp>
      <p:sp>
        <p:nvSpPr>
          <p:cNvPr id="13" name="Text Placeholder 6"/>
          <p:cNvSpPr>
            <a:spLocks noGrp="1"/>
          </p:cNvSpPr>
          <p:nvPr>
            <p:ph type="body" sz="quarter" idx="16" hasCustomPrompt="1"/>
          </p:nvPr>
        </p:nvSpPr>
        <p:spPr>
          <a:xfrm>
            <a:off x="300395" y="6362842"/>
            <a:ext cx="10585793" cy="219733"/>
          </a:xfrm>
        </p:spPr>
        <p:txBody>
          <a:bodyPr lIns="91521" tIns="45761" rIns="91521" bIns="45761" anchor="ctr">
            <a:noAutofit/>
          </a:bodyPr>
          <a:lstStyle>
            <a:lvl1pPr marL="0" indent="0">
              <a:lnSpc>
                <a:spcPct val="100000"/>
              </a:lnSpc>
              <a:spcBef>
                <a:spcPts val="0"/>
              </a:spcBef>
              <a:spcAft>
                <a:spcPts val="0"/>
              </a:spcAft>
              <a:buFontTx/>
              <a:buNone/>
              <a:defRPr sz="816" baseline="0">
                <a:solidFill>
                  <a:schemeClr val="bg2"/>
                </a:solidFill>
              </a:defRPr>
            </a:lvl1pPr>
            <a:lvl2pPr marL="233357" indent="0">
              <a:buFontTx/>
              <a:buNone/>
              <a:defRPr sz="816">
                <a:solidFill>
                  <a:schemeClr val="bg2"/>
                </a:solidFill>
              </a:defRPr>
            </a:lvl2pPr>
            <a:lvl3pPr marL="466714" indent="0">
              <a:buFontTx/>
              <a:buNone/>
              <a:defRPr sz="816">
                <a:solidFill>
                  <a:schemeClr val="bg2"/>
                </a:solidFill>
              </a:defRPr>
            </a:lvl3pPr>
            <a:lvl4pPr marL="700072" indent="0">
              <a:buFontTx/>
              <a:buNone/>
              <a:defRPr sz="816">
                <a:solidFill>
                  <a:schemeClr val="bg2"/>
                </a:solidFill>
              </a:defRPr>
            </a:lvl4pPr>
            <a:lvl5pPr>
              <a:buFontTx/>
              <a:buNone/>
              <a:defRPr sz="816">
                <a:solidFill>
                  <a:schemeClr val="bg2"/>
                </a:solidFill>
              </a:defRPr>
            </a:lvl5pPr>
          </a:lstStyle>
          <a:p>
            <a:pPr lvl="0"/>
            <a:r>
              <a:rPr lang="en-US" dirty="0"/>
              <a:t>Click to insert source information</a:t>
            </a:r>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90020" y="6624481"/>
            <a:ext cx="1065387" cy="194276"/>
          </a:xfrm>
          <a:prstGeom prst="rect">
            <a:avLst/>
          </a:prstGeom>
        </p:spPr>
      </p:pic>
    </p:spTree>
    <p:extLst>
      <p:ext uri="{BB962C8B-B14F-4D97-AF65-F5344CB8AC3E}">
        <p14:creationId xmlns:p14="http://schemas.microsoft.com/office/powerpoint/2010/main" val="3782730774"/>
      </p:ext>
    </p:extLst>
  </p:cSld>
  <p:clrMapOvr>
    <a:masterClrMapping/>
  </p:clrMapOvr>
  <p:transition spd="med">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cSld name="Devices">
    <p:spTree>
      <p:nvGrpSpPr>
        <p:cNvPr id="1" name="Shape 585"/>
        <p:cNvGrpSpPr/>
        <p:nvPr/>
      </p:nvGrpSpPr>
      <p:grpSpPr>
        <a:xfrm>
          <a:off x="0" y="0"/>
          <a:ext cx="0" cy="0"/>
          <a:chOff x="0" y="0"/>
          <a:chExt cx="0" cy="0"/>
        </a:xfrm>
      </p:grpSpPr>
      <p:sp>
        <p:nvSpPr>
          <p:cNvPr id="586" name="Shape 586"/>
          <p:cNvSpPr txBox="1">
            <a:spLocks noGrp="1"/>
          </p:cNvSpPr>
          <p:nvPr>
            <p:ph type="title"/>
          </p:nvPr>
        </p:nvSpPr>
        <p:spPr>
          <a:xfrm>
            <a:off x="233184"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587" name="Shape 587"/>
          <p:cNvSpPr txBox="1">
            <a:spLocks noGrp="1"/>
          </p:cNvSpPr>
          <p:nvPr>
            <p:ph type="body" idx="1"/>
          </p:nvPr>
        </p:nvSpPr>
        <p:spPr>
          <a:xfrm>
            <a:off x="233184" y="5192642"/>
            <a:ext cx="11970107" cy="1209610"/>
          </a:xfrm>
          <a:prstGeom prst="rect">
            <a:avLst/>
          </a:prstGeom>
          <a:noFill/>
          <a:ln>
            <a:noFill/>
          </a:ln>
        </p:spPr>
        <p:txBody>
          <a:bodyPr lIns="68575" tIns="68575" rIns="68575" bIns="68575" anchor="t" anchorCtr="0"/>
          <a:lstStyle>
            <a:lvl1pPr marL="0" marR="0" lvl="0" indent="0" algn="l" rtl="0">
              <a:lnSpc>
                <a:spcPct val="100000"/>
              </a:lnSpc>
              <a:spcBef>
                <a:spcPts val="0"/>
              </a:spcBef>
              <a:spcAft>
                <a:spcPts val="816"/>
              </a:spcAft>
              <a:buClr>
                <a:schemeClr val="lt1"/>
              </a:buClr>
              <a:buFont typeface="Arial"/>
              <a:buNone/>
              <a:defRPr sz="1904"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88" name="Shape 588"/>
          <p:cNvSpPr>
            <a:spLocks noGrp="1"/>
          </p:cNvSpPr>
          <p:nvPr>
            <p:ph type="pic" idx="2"/>
          </p:nvPr>
        </p:nvSpPr>
        <p:spPr>
          <a:xfrm>
            <a:off x="4155254" y="1940605"/>
            <a:ext cx="3825602" cy="2364145"/>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61111"/>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89" name="Shape 589"/>
          <p:cNvSpPr>
            <a:spLocks noGrp="1"/>
          </p:cNvSpPr>
          <p:nvPr>
            <p:ph type="pic" idx="3"/>
          </p:nvPr>
        </p:nvSpPr>
        <p:spPr>
          <a:xfrm>
            <a:off x="1925877" y="3526013"/>
            <a:ext cx="1762241" cy="1265501"/>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61111"/>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90" name="Shape 590"/>
          <p:cNvSpPr>
            <a:spLocks noGrp="1"/>
          </p:cNvSpPr>
          <p:nvPr>
            <p:ph type="pic" idx="4"/>
          </p:nvPr>
        </p:nvSpPr>
        <p:spPr>
          <a:xfrm>
            <a:off x="8412386" y="3139109"/>
            <a:ext cx="2507288" cy="1461323"/>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61111"/>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91" name="Shape 591"/>
          <p:cNvSpPr>
            <a:spLocks noGrp="1"/>
          </p:cNvSpPr>
          <p:nvPr>
            <p:ph type="pic" idx="5"/>
          </p:nvPr>
        </p:nvSpPr>
        <p:spPr>
          <a:xfrm>
            <a:off x="1058364" y="3869430"/>
            <a:ext cx="532467" cy="861616"/>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61111"/>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92" name="Shape 592"/>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lt1"/>
                </a:solidFill>
                <a:latin typeface="Quattrocento Sans"/>
                <a:ea typeface="Quattrocento Sans"/>
                <a:cs typeface="Quattrocento Sans"/>
                <a:sym typeface="Quattrocento Sans"/>
              </a:rPr>
              <a:pPr algn="r">
                <a:buSzPct val="25000"/>
              </a:pPr>
              <a:t>‹#›</a:t>
            </a:fld>
            <a:endParaRPr lang="en" sz="1224">
              <a:solidFill>
                <a:schemeClr val="lt1"/>
              </a:solidFill>
              <a:latin typeface="Quattrocento Sans"/>
              <a:ea typeface="Quattrocento Sans"/>
              <a:cs typeface="Quattrocento Sans"/>
              <a:sym typeface="Quattrocento Sans"/>
            </a:endParaRPr>
          </a:p>
        </p:txBody>
      </p:sp>
      <p:sp>
        <p:nvSpPr>
          <p:cNvPr id="593" name="Shape 593"/>
          <p:cNvSpPr txBox="1">
            <a:spLocks noGrp="1"/>
          </p:cNvSpPr>
          <p:nvPr>
            <p:ph type="body" idx="6"/>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94" name="Shape 594"/>
          <p:cNvSpPr txBox="1">
            <a:spLocks noGrp="1"/>
          </p:cNvSpPr>
          <p:nvPr>
            <p:ph type="body" idx="7"/>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595" name="Shape 595"/>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160922697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cSld name="Logo Deck 1">
    <p:spTree>
      <p:nvGrpSpPr>
        <p:cNvPr id="1" name="Shape 596"/>
        <p:cNvGrpSpPr/>
        <p:nvPr/>
      </p:nvGrpSpPr>
      <p:grpSpPr>
        <a:xfrm>
          <a:off x="0" y="0"/>
          <a:ext cx="0" cy="0"/>
          <a:chOff x="0" y="0"/>
          <a:chExt cx="0" cy="0"/>
        </a:xfrm>
      </p:grpSpPr>
      <p:sp>
        <p:nvSpPr>
          <p:cNvPr id="597" name="Shape 597"/>
          <p:cNvSpPr txBox="1">
            <a:spLocks noGrp="1"/>
          </p:cNvSpPr>
          <p:nvPr>
            <p:ph type="title"/>
          </p:nvPr>
        </p:nvSpPr>
        <p:spPr>
          <a:xfrm>
            <a:off x="233183"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598" name="Shape 598"/>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599" name="Shape 599"/>
          <p:cNvSpPr txBox="1">
            <a:spLocks noGrp="1"/>
          </p:cNvSpPr>
          <p:nvPr>
            <p:ph type="body" idx="1"/>
          </p:nvPr>
        </p:nvSpPr>
        <p:spPr>
          <a:xfrm>
            <a:off x="233181" y="1861965"/>
            <a:ext cx="5912630" cy="1285899"/>
          </a:xfrm>
          <a:prstGeom prst="rect">
            <a:avLst/>
          </a:prstGeom>
          <a:solidFill>
            <a:schemeClr val="accent1"/>
          </a:solidFill>
          <a:ln>
            <a:noFill/>
          </a:ln>
        </p:spPr>
        <p:txBody>
          <a:bodyPr lIns="68575" tIns="68575" rIns="68575" bIns="68575" anchor="t" anchorCtr="0"/>
          <a:lstStyle>
            <a:lvl1pPr marL="0" marR="0" lvl="0" indent="0" algn="l"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00" name="Shape 600"/>
          <p:cNvSpPr txBox="1">
            <a:spLocks noGrp="1"/>
          </p:cNvSpPr>
          <p:nvPr>
            <p:ph type="body" idx="2"/>
          </p:nvPr>
        </p:nvSpPr>
        <p:spPr>
          <a:xfrm>
            <a:off x="6290646" y="1861965"/>
            <a:ext cx="5912630" cy="1285899"/>
          </a:xfrm>
          <a:prstGeom prst="rect">
            <a:avLst/>
          </a:prstGeom>
          <a:solidFill>
            <a:schemeClr val="accent1"/>
          </a:solidFill>
          <a:ln>
            <a:noFill/>
          </a:ln>
        </p:spPr>
        <p:txBody>
          <a:bodyPr lIns="68575" tIns="68575" rIns="68575" bIns="68575" anchor="t" anchorCtr="0"/>
          <a:lstStyle>
            <a:lvl1pPr marL="0" marR="0" lvl="0" indent="0" algn="l"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01" name="Shape 601"/>
          <p:cNvSpPr txBox="1">
            <a:spLocks noGrp="1"/>
          </p:cNvSpPr>
          <p:nvPr>
            <p:ph type="body" idx="3"/>
          </p:nvPr>
        </p:nvSpPr>
        <p:spPr>
          <a:xfrm>
            <a:off x="233182" y="3292482"/>
            <a:ext cx="5912630" cy="1285899"/>
          </a:xfrm>
          <a:prstGeom prst="rect">
            <a:avLst/>
          </a:prstGeom>
          <a:solidFill>
            <a:schemeClr val="accent1"/>
          </a:solidFill>
          <a:ln>
            <a:noFill/>
          </a:ln>
        </p:spPr>
        <p:txBody>
          <a:bodyPr lIns="68575" tIns="68575" rIns="68575" bIns="68575" anchor="t" anchorCtr="0"/>
          <a:lstStyle>
            <a:lvl1pPr marL="0" marR="0" lvl="0" indent="0" algn="l"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02" name="Shape 602"/>
          <p:cNvSpPr txBox="1">
            <a:spLocks noGrp="1"/>
          </p:cNvSpPr>
          <p:nvPr>
            <p:ph type="body" idx="4"/>
          </p:nvPr>
        </p:nvSpPr>
        <p:spPr>
          <a:xfrm>
            <a:off x="6290646" y="3292482"/>
            <a:ext cx="5912630" cy="1285899"/>
          </a:xfrm>
          <a:prstGeom prst="rect">
            <a:avLst/>
          </a:prstGeom>
          <a:solidFill>
            <a:schemeClr val="accent1"/>
          </a:solidFill>
          <a:ln>
            <a:noFill/>
          </a:ln>
        </p:spPr>
        <p:txBody>
          <a:bodyPr lIns="68575" tIns="68575" rIns="68575" bIns="68575" anchor="t" anchorCtr="0"/>
          <a:lstStyle>
            <a:lvl1pPr marL="0" marR="0" lvl="0" indent="0" algn="l"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03" name="Shape 603"/>
          <p:cNvSpPr txBox="1">
            <a:spLocks noGrp="1"/>
          </p:cNvSpPr>
          <p:nvPr>
            <p:ph type="body" idx="5"/>
          </p:nvPr>
        </p:nvSpPr>
        <p:spPr>
          <a:xfrm>
            <a:off x="233182" y="4722997"/>
            <a:ext cx="5912630" cy="1285899"/>
          </a:xfrm>
          <a:prstGeom prst="rect">
            <a:avLst/>
          </a:prstGeom>
          <a:solidFill>
            <a:schemeClr val="accent1"/>
          </a:solidFill>
          <a:ln>
            <a:noFill/>
          </a:ln>
        </p:spPr>
        <p:txBody>
          <a:bodyPr lIns="68575" tIns="68575" rIns="68575" bIns="68575" anchor="t" anchorCtr="0"/>
          <a:lstStyle>
            <a:lvl1pPr marL="0" marR="0" lvl="0" indent="0" algn="l"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04" name="Shape 604"/>
          <p:cNvSpPr txBox="1">
            <a:spLocks noGrp="1"/>
          </p:cNvSpPr>
          <p:nvPr>
            <p:ph type="body" idx="6"/>
          </p:nvPr>
        </p:nvSpPr>
        <p:spPr>
          <a:xfrm>
            <a:off x="6290646" y="4722997"/>
            <a:ext cx="5912630" cy="1285899"/>
          </a:xfrm>
          <a:prstGeom prst="rect">
            <a:avLst/>
          </a:prstGeom>
          <a:solidFill>
            <a:schemeClr val="accent1"/>
          </a:solidFill>
          <a:ln>
            <a:noFill/>
          </a:ln>
        </p:spPr>
        <p:txBody>
          <a:bodyPr lIns="68575" tIns="68575" rIns="68575" bIns="68575" anchor="t" anchorCtr="0"/>
          <a:lstStyle>
            <a:lvl1pPr marL="0" marR="0" lvl="0" indent="0" algn="l"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05" name="Shape 605"/>
          <p:cNvSpPr>
            <a:spLocks noGrp="1"/>
          </p:cNvSpPr>
          <p:nvPr>
            <p:ph type="pic" idx="7"/>
          </p:nvPr>
        </p:nvSpPr>
        <p:spPr>
          <a:xfrm>
            <a:off x="4362341" y="2490328"/>
            <a:ext cx="1692878" cy="56013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lt1"/>
              </a:buClr>
              <a:buSzPct val="61111"/>
              <a:buFont typeface="Arial"/>
              <a:buNone/>
              <a:defRPr sz="2448" b="1"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06" name="Shape 606"/>
          <p:cNvSpPr>
            <a:spLocks noGrp="1"/>
          </p:cNvSpPr>
          <p:nvPr>
            <p:ph type="pic" idx="8"/>
          </p:nvPr>
        </p:nvSpPr>
        <p:spPr>
          <a:xfrm>
            <a:off x="4362341" y="3920845"/>
            <a:ext cx="1692878" cy="56013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lt1"/>
              </a:buClr>
              <a:buSzPct val="61111"/>
              <a:buFont typeface="Arial"/>
              <a:buNone/>
              <a:defRPr sz="2448" b="1"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07" name="Shape 607"/>
          <p:cNvSpPr>
            <a:spLocks noGrp="1"/>
          </p:cNvSpPr>
          <p:nvPr>
            <p:ph type="pic" idx="9"/>
          </p:nvPr>
        </p:nvSpPr>
        <p:spPr>
          <a:xfrm>
            <a:off x="4362341" y="5351360"/>
            <a:ext cx="1692878" cy="56013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lt1"/>
              </a:buClr>
              <a:buSzPct val="61111"/>
              <a:buFont typeface="Arial"/>
              <a:buNone/>
              <a:defRPr sz="2448" b="1"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08" name="Shape 608"/>
          <p:cNvSpPr>
            <a:spLocks noGrp="1"/>
          </p:cNvSpPr>
          <p:nvPr>
            <p:ph type="pic" idx="13"/>
          </p:nvPr>
        </p:nvSpPr>
        <p:spPr>
          <a:xfrm>
            <a:off x="10419806" y="2490328"/>
            <a:ext cx="1692878" cy="56013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lt1"/>
              </a:buClr>
              <a:buSzPct val="61111"/>
              <a:buFont typeface="Arial"/>
              <a:buNone/>
              <a:defRPr sz="2448" b="1"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09" name="Shape 609"/>
          <p:cNvSpPr>
            <a:spLocks noGrp="1"/>
          </p:cNvSpPr>
          <p:nvPr>
            <p:ph type="pic" idx="14"/>
          </p:nvPr>
        </p:nvSpPr>
        <p:spPr>
          <a:xfrm>
            <a:off x="10419806" y="3920845"/>
            <a:ext cx="1692878" cy="56013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lt1"/>
              </a:buClr>
              <a:buSzPct val="61111"/>
              <a:buFont typeface="Arial"/>
              <a:buNone/>
              <a:defRPr sz="2448" b="1"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10" name="Shape 610"/>
          <p:cNvSpPr>
            <a:spLocks noGrp="1"/>
          </p:cNvSpPr>
          <p:nvPr>
            <p:ph type="pic" idx="15"/>
          </p:nvPr>
        </p:nvSpPr>
        <p:spPr>
          <a:xfrm>
            <a:off x="10419806" y="5351360"/>
            <a:ext cx="1692878" cy="56013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lt1"/>
              </a:buClr>
              <a:buSzPct val="61111"/>
              <a:buFont typeface="Arial"/>
              <a:buNone/>
              <a:defRPr sz="2448" b="1"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11" name="Shape 611"/>
          <p:cNvSpPr txBox="1">
            <a:spLocks noGrp="1"/>
          </p:cNvSpPr>
          <p:nvPr>
            <p:ph type="body" idx="16"/>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12" name="Shape 612"/>
          <p:cNvSpPr txBox="1">
            <a:spLocks noGrp="1"/>
          </p:cNvSpPr>
          <p:nvPr>
            <p:ph type="body" idx="17"/>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13" name="Shape 613"/>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43053759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cSld name="Logo Deck 2">
    <p:spTree>
      <p:nvGrpSpPr>
        <p:cNvPr id="1" name="Shape 614"/>
        <p:cNvGrpSpPr/>
        <p:nvPr/>
      </p:nvGrpSpPr>
      <p:grpSpPr>
        <a:xfrm>
          <a:off x="0" y="0"/>
          <a:ext cx="0" cy="0"/>
          <a:chOff x="0" y="0"/>
          <a:chExt cx="0" cy="0"/>
        </a:xfrm>
      </p:grpSpPr>
      <p:sp>
        <p:nvSpPr>
          <p:cNvPr id="615" name="Shape 615"/>
          <p:cNvSpPr txBox="1">
            <a:spLocks noGrp="1"/>
          </p:cNvSpPr>
          <p:nvPr>
            <p:ph type="title"/>
          </p:nvPr>
        </p:nvSpPr>
        <p:spPr>
          <a:xfrm>
            <a:off x="233183"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616" name="Shape 616"/>
          <p:cNvSpPr>
            <a:spLocks noGrp="1"/>
          </p:cNvSpPr>
          <p:nvPr>
            <p:ph type="pic" idx="2"/>
          </p:nvPr>
        </p:nvSpPr>
        <p:spPr>
          <a:xfrm>
            <a:off x="313136" y="1997593"/>
            <a:ext cx="2704770" cy="932602"/>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17" name="Shape 617"/>
          <p:cNvSpPr>
            <a:spLocks noGrp="1"/>
          </p:cNvSpPr>
          <p:nvPr>
            <p:ph type="pic" idx="3"/>
          </p:nvPr>
        </p:nvSpPr>
        <p:spPr>
          <a:xfrm>
            <a:off x="313136" y="3027225"/>
            <a:ext cx="2704770"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18" name="Shape 618"/>
          <p:cNvSpPr>
            <a:spLocks noGrp="1"/>
          </p:cNvSpPr>
          <p:nvPr>
            <p:ph type="pic" idx="4"/>
          </p:nvPr>
        </p:nvSpPr>
        <p:spPr>
          <a:xfrm>
            <a:off x="313136" y="4056859"/>
            <a:ext cx="2704770"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19" name="Shape 619"/>
          <p:cNvSpPr>
            <a:spLocks noGrp="1"/>
          </p:cNvSpPr>
          <p:nvPr>
            <p:ph type="pic" idx="5"/>
          </p:nvPr>
        </p:nvSpPr>
        <p:spPr>
          <a:xfrm>
            <a:off x="313136" y="5086491"/>
            <a:ext cx="2704770"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20" name="Shape 620"/>
          <p:cNvSpPr>
            <a:spLocks noGrp="1"/>
          </p:cNvSpPr>
          <p:nvPr>
            <p:ph type="pic" idx="6"/>
          </p:nvPr>
        </p:nvSpPr>
        <p:spPr>
          <a:xfrm>
            <a:off x="3354148" y="1997593"/>
            <a:ext cx="2704770" cy="932602"/>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21" name="Shape 621"/>
          <p:cNvSpPr>
            <a:spLocks noGrp="1"/>
          </p:cNvSpPr>
          <p:nvPr>
            <p:ph type="pic" idx="7"/>
          </p:nvPr>
        </p:nvSpPr>
        <p:spPr>
          <a:xfrm>
            <a:off x="3354148" y="3027225"/>
            <a:ext cx="2704770"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22" name="Shape 622"/>
          <p:cNvSpPr>
            <a:spLocks noGrp="1"/>
          </p:cNvSpPr>
          <p:nvPr>
            <p:ph type="pic" idx="8"/>
          </p:nvPr>
        </p:nvSpPr>
        <p:spPr>
          <a:xfrm>
            <a:off x="3354148" y="4056859"/>
            <a:ext cx="2704770"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23" name="Shape 623"/>
          <p:cNvSpPr>
            <a:spLocks noGrp="1"/>
          </p:cNvSpPr>
          <p:nvPr>
            <p:ph type="pic" idx="9"/>
          </p:nvPr>
        </p:nvSpPr>
        <p:spPr>
          <a:xfrm>
            <a:off x="3354148" y="5086491"/>
            <a:ext cx="2704770"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24" name="Shape 624"/>
          <p:cNvSpPr>
            <a:spLocks noGrp="1"/>
          </p:cNvSpPr>
          <p:nvPr>
            <p:ph type="pic" idx="13"/>
          </p:nvPr>
        </p:nvSpPr>
        <p:spPr>
          <a:xfrm>
            <a:off x="6395159" y="1997593"/>
            <a:ext cx="2704770" cy="932602"/>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25" name="Shape 625"/>
          <p:cNvSpPr>
            <a:spLocks noGrp="1"/>
          </p:cNvSpPr>
          <p:nvPr>
            <p:ph type="pic" idx="14"/>
          </p:nvPr>
        </p:nvSpPr>
        <p:spPr>
          <a:xfrm>
            <a:off x="6395159" y="3027225"/>
            <a:ext cx="2704770"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26" name="Shape 626"/>
          <p:cNvSpPr>
            <a:spLocks noGrp="1"/>
          </p:cNvSpPr>
          <p:nvPr>
            <p:ph type="pic" idx="15"/>
          </p:nvPr>
        </p:nvSpPr>
        <p:spPr>
          <a:xfrm>
            <a:off x="6395159" y="4056859"/>
            <a:ext cx="2704770"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27" name="Shape 627"/>
          <p:cNvSpPr>
            <a:spLocks noGrp="1"/>
          </p:cNvSpPr>
          <p:nvPr>
            <p:ph type="pic" idx="16"/>
          </p:nvPr>
        </p:nvSpPr>
        <p:spPr>
          <a:xfrm>
            <a:off x="6395159" y="5086491"/>
            <a:ext cx="2704770"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28" name="Shape 628"/>
          <p:cNvSpPr>
            <a:spLocks noGrp="1"/>
          </p:cNvSpPr>
          <p:nvPr>
            <p:ph type="pic" idx="17"/>
          </p:nvPr>
        </p:nvSpPr>
        <p:spPr>
          <a:xfrm>
            <a:off x="9436173" y="1997593"/>
            <a:ext cx="2704770" cy="932602"/>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29" name="Shape 629"/>
          <p:cNvSpPr>
            <a:spLocks noGrp="1"/>
          </p:cNvSpPr>
          <p:nvPr>
            <p:ph type="pic" idx="18"/>
          </p:nvPr>
        </p:nvSpPr>
        <p:spPr>
          <a:xfrm>
            <a:off x="9436173" y="3027225"/>
            <a:ext cx="2704770"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30" name="Shape 630"/>
          <p:cNvSpPr>
            <a:spLocks noGrp="1"/>
          </p:cNvSpPr>
          <p:nvPr>
            <p:ph type="pic" idx="19"/>
          </p:nvPr>
        </p:nvSpPr>
        <p:spPr>
          <a:xfrm>
            <a:off x="9436173" y="4056859"/>
            <a:ext cx="2704770"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31" name="Shape 631"/>
          <p:cNvSpPr>
            <a:spLocks noGrp="1"/>
          </p:cNvSpPr>
          <p:nvPr>
            <p:ph type="pic" idx="20"/>
          </p:nvPr>
        </p:nvSpPr>
        <p:spPr>
          <a:xfrm>
            <a:off x="9436173" y="5086491"/>
            <a:ext cx="2704770"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32" name="Shape 632"/>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633" name="Shape 633"/>
          <p:cNvSpPr txBox="1">
            <a:spLocks noGrp="1"/>
          </p:cNvSpPr>
          <p:nvPr>
            <p:ph type="body" idx="1"/>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34" name="Shape 634"/>
          <p:cNvSpPr txBox="1">
            <a:spLocks noGrp="1"/>
          </p:cNvSpPr>
          <p:nvPr>
            <p:ph type="body" idx="21"/>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35" name="Shape 635"/>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2060871350"/>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cSld name="Logo Deck 3">
    <p:spTree>
      <p:nvGrpSpPr>
        <p:cNvPr id="1" name="Shape 636"/>
        <p:cNvGrpSpPr/>
        <p:nvPr/>
      </p:nvGrpSpPr>
      <p:grpSpPr>
        <a:xfrm>
          <a:off x="0" y="0"/>
          <a:ext cx="0" cy="0"/>
          <a:chOff x="0" y="0"/>
          <a:chExt cx="0" cy="0"/>
        </a:xfrm>
      </p:grpSpPr>
      <p:sp>
        <p:nvSpPr>
          <p:cNvPr id="637" name="Shape 637"/>
          <p:cNvSpPr txBox="1">
            <a:spLocks noGrp="1"/>
          </p:cNvSpPr>
          <p:nvPr>
            <p:ph type="title"/>
          </p:nvPr>
        </p:nvSpPr>
        <p:spPr>
          <a:xfrm>
            <a:off x="233183"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638" name="Shape 638"/>
          <p:cNvSpPr txBox="1">
            <a:spLocks noGrp="1"/>
          </p:cNvSpPr>
          <p:nvPr>
            <p:ph type="body" idx="1"/>
          </p:nvPr>
        </p:nvSpPr>
        <p:spPr>
          <a:xfrm>
            <a:off x="519806" y="2725682"/>
            <a:ext cx="5596414" cy="284758"/>
          </a:xfrm>
          <a:prstGeom prst="rect">
            <a:avLst/>
          </a:prstGeom>
          <a:noFill/>
          <a:ln>
            <a:noFill/>
          </a:ln>
        </p:spPr>
        <p:txBody>
          <a:bodyPr lIns="68575" tIns="68575" rIns="68575" bIns="68575" anchor="ctr" anchorCtr="0"/>
          <a:lstStyle>
            <a:lvl1pPr marL="0" marR="0" lvl="0" indent="0" algn="l" rtl="0">
              <a:lnSpc>
                <a:spcPct val="100000"/>
              </a:lnSpc>
              <a:spcBef>
                <a:spcPts val="0"/>
              </a:spcBef>
              <a:spcAft>
                <a:spcPts val="1088"/>
              </a:spcAft>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39" name="Shape 639"/>
          <p:cNvSpPr>
            <a:spLocks noGrp="1"/>
          </p:cNvSpPr>
          <p:nvPr>
            <p:ph type="pic" idx="2"/>
          </p:nvPr>
        </p:nvSpPr>
        <p:spPr>
          <a:xfrm>
            <a:off x="519806" y="3116787"/>
            <a:ext cx="1305667"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40" name="Shape 640"/>
          <p:cNvSpPr>
            <a:spLocks noGrp="1"/>
          </p:cNvSpPr>
          <p:nvPr>
            <p:ph type="pic" idx="3"/>
          </p:nvPr>
        </p:nvSpPr>
        <p:spPr>
          <a:xfrm>
            <a:off x="1944868" y="3116787"/>
            <a:ext cx="1305667"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41" name="Shape 641"/>
          <p:cNvSpPr>
            <a:spLocks noGrp="1"/>
          </p:cNvSpPr>
          <p:nvPr>
            <p:ph type="pic" idx="4"/>
          </p:nvPr>
        </p:nvSpPr>
        <p:spPr>
          <a:xfrm>
            <a:off x="3377629" y="3116787"/>
            <a:ext cx="1305667"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42" name="Shape 642"/>
          <p:cNvSpPr>
            <a:spLocks noGrp="1"/>
          </p:cNvSpPr>
          <p:nvPr>
            <p:ph type="pic" idx="5"/>
          </p:nvPr>
        </p:nvSpPr>
        <p:spPr>
          <a:xfrm>
            <a:off x="4810390" y="3116787"/>
            <a:ext cx="1305667"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43" name="Shape 643"/>
          <p:cNvSpPr txBox="1">
            <a:spLocks noGrp="1"/>
          </p:cNvSpPr>
          <p:nvPr>
            <p:ph type="body" idx="6"/>
          </p:nvPr>
        </p:nvSpPr>
        <p:spPr>
          <a:xfrm>
            <a:off x="6323723" y="2725682"/>
            <a:ext cx="5596414" cy="284758"/>
          </a:xfrm>
          <a:prstGeom prst="rect">
            <a:avLst/>
          </a:prstGeom>
          <a:noFill/>
          <a:ln>
            <a:noFill/>
          </a:ln>
        </p:spPr>
        <p:txBody>
          <a:bodyPr lIns="68575" tIns="68575" rIns="68575" bIns="68575" anchor="ctr" anchorCtr="0"/>
          <a:lstStyle>
            <a:lvl1pPr marL="0" marR="0" lvl="0" indent="0" algn="l" rtl="0">
              <a:lnSpc>
                <a:spcPct val="100000"/>
              </a:lnSpc>
              <a:spcBef>
                <a:spcPts val="0"/>
              </a:spcBef>
              <a:spcAft>
                <a:spcPts val="1088"/>
              </a:spcAft>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44" name="Shape 644"/>
          <p:cNvSpPr>
            <a:spLocks noGrp="1"/>
          </p:cNvSpPr>
          <p:nvPr>
            <p:ph type="pic" idx="7"/>
          </p:nvPr>
        </p:nvSpPr>
        <p:spPr>
          <a:xfrm>
            <a:off x="6320255" y="3116787"/>
            <a:ext cx="1305667"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45" name="Shape 645"/>
          <p:cNvSpPr>
            <a:spLocks noGrp="1"/>
          </p:cNvSpPr>
          <p:nvPr>
            <p:ph type="pic" idx="8"/>
          </p:nvPr>
        </p:nvSpPr>
        <p:spPr>
          <a:xfrm>
            <a:off x="7753017" y="3116787"/>
            <a:ext cx="1305667"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46" name="Shape 646"/>
          <p:cNvSpPr>
            <a:spLocks noGrp="1"/>
          </p:cNvSpPr>
          <p:nvPr>
            <p:ph type="pic" idx="9"/>
          </p:nvPr>
        </p:nvSpPr>
        <p:spPr>
          <a:xfrm>
            <a:off x="9185777" y="3116787"/>
            <a:ext cx="1305667"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47" name="Shape 647"/>
          <p:cNvSpPr>
            <a:spLocks noGrp="1"/>
          </p:cNvSpPr>
          <p:nvPr>
            <p:ph type="pic" idx="13"/>
          </p:nvPr>
        </p:nvSpPr>
        <p:spPr>
          <a:xfrm>
            <a:off x="10618538" y="3116787"/>
            <a:ext cx="1305667"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48" name="Shape 648"/>
          <p:cNvSpPr txBox="1">
            <a:spLocks noGrp="1"/>
          </p:cNvSpPr>
          <p:nvPr>
            <p:ph type="body" idx="14"/>
          </p:nvPr>
        </p:nvSpPr>
        <p:spPr>
          <a:xfrm>
            <a:off x="519806" y="4419837"/>
            <a:ext cx="5596414" cy="284758"/>
          </a:xfrm>
          <a:prstGeom prst="rect">
            <a:avLst/>
          </a:prstGeom>
          <a:noFill/>
          <a:ln>
            <a:noFill/>
          </a:ln>
        </p:spPr>
        <p:txBody>
          <a:bodyPr lIns="68575" tIns="68575" rIns="68575" bIns="68575" anchor="ctr" anchorCtr="0"/>
          <a:lstStyle>
            <a:lvl1pPr marL="0" marR="0" lvl="0" indent="0" algn="l" rtl="0">
              <a:lnSpc>
                <a:spcPct val="100000"/>
              </a:lnSpc>
              <a:spcBef>
                <a:spcPts val="0"/>
              </a:spcBef>
              <a:spcAft>
                <a:spcPts val="1088"/>
              </a:spcAft>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49" name="Shape 649"/>
          <p:cNvSpPr>
            <a:spLocks noGrp="1"/>
          </p:cNvSpPr>
          <p:nvPr>
            <p:ph type="pic" idx="15"/>
          </p:nvPr>
        </p:nvSpPr>
        <p:spPr>
          <a:xfrm>
            <a:off x="519806" y="4810943"/>
            <a:ext cx="1305667"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50" name="Shape 650"/>
          <p:cNvSpPr>
            <a:spLocks noGrp="1"/>
          </p:cNvSpPr>
          <p:nvPr>
            <p:ph type="pic" idx="16"/>
          </p:nvPr>
        </p:nvSpPr>
        <p:spPr>
          <a:xfrm>
            <a:off x="1944868" y="4810943"/>
            <a:ext cx="1305667"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51" name="Shape 651"/>
          <p:cNvSpPr>
            <a:spLocks noGrp="1"/>
          </p:cNvSpPr>
          <p:nvPr>
            <p:ph type="pic" idx="17"/>
          </p:nvPr>
        </p:nvSpPr>
        <p:spPr>
          <a:xfrm>
            <a:off x="3377629" y="4810943"/>
            <a:ext cx="1305667"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52" name="Shape 652"/>
          <p:cNvSpPr>
            <a:spLocks noGrp="1"/>
          </p:cNvSpPr>
          <p:nvPr>
            <p:ph type="pic" idx="18"/>
          </p:nvPr>
        </p:nvSpPr>
        <p:spPr>
          <a:xfrm>
            <a:off x="4810390" y="4810943"/>
            <a:ext cx="1305667"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53" name="Shape 653"/>
          <p:cNvSpPr txBox="1">
            <a:spLocks noGrp="1"/>
          </p:cNvSpPr>
          <p:nvPr>
            <p:ph type="body" idx="19"/>
          </p:nvPr>
        </p:nvSpPr>
        <p:spPr>
          <a:xfrm>
            <a:off x="6323723" y="4419837"/>
            <a:ext cx="5596414" cy="284758"/>
          </a:xfrm>
          <a:prstGeom prst="rect">
            <a:avLst/>
          </a:prstGeom>
          <a:noFill/>
          <a:ln>
            <a:noFill/>
          </a:ln>
        </p:spPr>
        <p:txBody>
          <a:bodyPr lIns="68575" tIns="68575" rIns="68575" bIns="68575" anchor="ctr" anchorCtr="0"/>
          <a:lstStyle>
            <a:lvl1pPr marL="0" marR="0" lvl="0" indent="0" algn="l" rtl="0">
              <a:lnSpc>
                <a:spcPct val="100000"/>
              </a:lnSpc>
              <a:spcBef>
                <a:spcPts val="0"/>
              </a:spcBef>
              <a:spcAft>
                <a:spcPts val="1088"/>
              </a:spcAft>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54" name="Shape 654"/>
          <p:cNvSpPr>
            <a:spLocks noGrp="1"/>
          </p:cNvSpPr>
          <p:nvPr>
            <p:ph type="pic" idx="20"/>
          </p:nvPr>
        </p:nvSpPr>
        <p:spPr>
          <a:xfrm>
            <a:off x="6320255" y="4810943"/>
            <a:ext cx="1305667"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55" name="Shape 655"/>
          <p:cNvSpPr>
            <a:spLocks noGrp="1"/>
          </p:cNvSpPr>
          <p:nvPr>
            <p:ph type="pic" idx="21"/>
          </p:nvPr>
        </p:nvSpPr>
        <p:spPr>
          <a:xfrm>
            <a:off x="7753017" y="4810943"/>
            <a:ext cx="1305667"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56" name="Shape 656"/>
          <p:cNvSpPr>
            <a:spLocks noGrp="1"/>
          </p:cNvSpPr>
          <p:nvPr>
            <p:ph type="pic" idx="22"/>
          </p:nvPr>
        </p:nvSpPr>
        <p:spPr>
          <a:xfrm>
            <a:off x="9185777" y="4810943"/>
            <a:ext cx="1305667"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57" name="Shape 657"/>
          <p:cNvSpPr>
            <a:spLocks noGrp="1"/>
          </p:cNvSpPr>
          <p:nvPr>
            <p:ph type="pic" idx="23"/>
          </p:nvPr>
        </p:nvSpPr>
        <p:spPr>
          <a:xfrm>
            <a:off x="10618538" y="4810943"/>
            <a:ext cx="1305667" cy="932603"/>
          </a:xfrm>
          <a:prstGeom prst="rect">
            <a:avLst/>
          </a:prstGeom>
          <a:noFill/>
          <a:ln>
            <a:noFill/>
          </a:ln>
        </p:spPr>
        <p:txBody>
          <a:bodyPr lIns="68575" tIns="68575" rIns="68575" bIns="68575" anchor="ctr" anchorCtr="0"/>
          <a:lstStyle>
            <a:lvl1pPr marL="0" marR="0" lvl="0" indent="0" algn="ctr"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58" name="Shape 658"/>
          <p:cNvSpPr txBox="1">
            <a:spLocks noGrp="1"/>
          </p:cNvSpPr>
          <p:nvPr>
            <p:ph type="body" idx="24"/>
          </p:nvPr>
        </p:nvSpPr>
        <p:spPr>
          <a:xfrm>
            <a:off x="233184" y="1878461"/>
            <a:ext cx="3730943" cy="559725"/>
          </a:xfrm>
          <a:prstGeom prst="rect">
            <a:avLst/>
          </a:prstGeom>
          <a:solidFill>
            <a:schemeClr val="lt2"/>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59" name="Shape 659"/>
          <p:cNvSpPr txBox="1">
            <a:spLocks noGrp="1"/>
          </p:cNvSpPr>
          <p:nvPr>
            <p:ph type="body" idx="25"/>
          </p:nvPr>
        </p:nvSpPr>
        <p:spPr>
          <a:xfrm>
            <a:off x="4352766" y="1878461"/>
            <a:ext cx="3730943" cy="559725"/>
          </a:xfrm>
          <a:prstGeom prst="rect">
            <a:avLst/>
          </a:prstGeom>
          <a:solidFill>
            <a:schemeClr val="lt2"/>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60" name="Shape 660"/>
          <p:cNvSpPr txBox="1">
            <a:spLocks noGrp="1"/>
          </p:cNvSpPr>
          <p:nvPr>
            <p:ph type="body" idx="26"/>
          </p:nvPr>
        </p:nvSpPr>
        <p:spPr>
          <a:xfrm>
            <a:off x="8472348" y="1878461"/>
            <a:ext cx="3730943" cy="559725"/>
          </a:xfrm>
          <a:prstGeom prst="rect">
            <a:avLst/>
          </a:prstGeom>
          <a:solidFill>
            <a:schemeClr val="lt2"/>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2448"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61" name="Shape 661"/>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662" name="Shape 662"/>
          <p:cNvSpPr txBox="1">
            <a:spLocks noGrp="1"/>
          </p:cNvSpPr>
          <p:nvPr>
            <p:ph type="body" idx="27"/>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63" name="Shape 663"/>
          <p:cNvSpPr txBox="1">
            <a:spLocks noGrp="1"/>
          </p:cNvSpPr>
          <p:nvPr>
            <p:ph type="body" idx="28"/>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64" name="Shape 664"/>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352927165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cSld name="Timeline Horizontal">
    <p:spTree>
      <p:nvGrpSpPr>
        <p:cNvPr id="1" name="Shape 665"/>
        <p:cNvGrpSpPr/>
        <p:nvPr/>
      </p:nvGrpSpPr>
      <p:grpSpPr>
        <a:xfrm>
          <a:off x="0" y="0"/>
          <a:ext cx="0" cy="0"/>
          <a:chOff x="0" y="0"/>
          <a:chExt cx="0" cy="0"/>
        </a:xfrm>
      </p:grpSpPr>
      <p:sp>
        <p:nvSpPr>
          <p:cNvPr id="666" name="Shape 666"/>
          <p:cNvSpPr txBox="1">
            <a:spLocks noGrp="1"/>
          </p:cNvSpPr>
          <p:nvPr>
            <p:ph type="title"/>
          </p:nvPr>
        </p:nvSpPr>
        <p:spPr>
          <a:xfrm>
            <a:off x="233183" y="233151"/>
            <a:ext cx="11970107" cy="512809"/>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667" name="Shape 667"/>
          <p:cNvSpPr>
            <a:spLocks noGrp="1"/>
          </p:cNvSpPr>
          <p:nvPr>
            <p:ph type="pic" idx="2"/>
          </p:nvPr>
        </p:nvSpPr>
        <p:spPr>
          <a:xfrm>
            <a:off x="1080601" y="2037059"/>
            <a:ext cx="932736" cy="932603"/>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137500"/>
              <a:buFont typeface="Arial"/>
              <a:buNone/>
              <a:defRPr sz="108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68" name="Shape 668"/>
          <p:cNvSpPr txBox="1">
            <a:spLocks noGrp="1"/>
          </p:cNvSpPr>
          <p:nvPr>
            <p:ph type="body" idx="1"/>
          </p:nvPr>
        </p:nvSpPr>
        <p:spPr>
          <a:xfrm>
            <a:off x="836345" y="3216032"/>
            <a:ext cx="1421137" cy="428361"/>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904"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69" name="Shape 669"/>
          <p:cNvSpPr>
            <a:spLocks noGrp="1"/>
          </p:cNvSpPr>
          <p:nvPr>
            <p:ph type="pic" idx="3"/>
          </p:nvPr>
        </p:nvSpPr>
        <p:spPr>
          <a:xfrm>
            <a:off x="2950762" y="2037059"/>
            <a:ext cx="932736" cy="932603"/>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137500"/>
              <a:buFont typeface="Arial"/>
              <a:buNone/>
              <a:defRPr sz="108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70" name="Shape 670"/>
          <p:cNvSpPr txBox="1">
            <a:spLocks noGrp="1"/>
          </p:cNvSpPr>
          <p:nvPr>
            <p:ph type="body" idx="4"/>
          </p:nvPr>
        </p:nvSpPr>
        <p:spPr>
          <a:xfrm>
            <a:off x="2706505" y="3216032"/>
            <a:ext cx="1421137" cy="428361"/>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904"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71" name="Shape 671"/>
          <p:cNvSpPr>
            <a:spLocks noGrp="1"/>
          </p:cNvSpPr>
          <p:nvPr>
            <p:ph type="pic" idx="5"/>
          </p:nvPr>
        </p:nvSpPr>
        <p:spPr>
          <a:xfrm>
            <a:off x="4820924" y="2037059"/>
            <a:ext cx="932736" cy="932603"/>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137500"/>
              <a:buFont typeface="Arial"/>
              <a:buNone/>
              <a:defRPr sz="108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72" name="Shape 672"/>
          <p:cNvSpPr txBox="1">
            <a:spLocks noGrp="1"/>
          </p:cNvSpPr>
          <p:nvPr>
            <p:ph type="body" idx="6"/>
          </p:nvPr>
        </p:nvSpPr>
        <p:spPr>
          <a:xfrm>
            <a:off x="4576667" y="3216032"/>
            <a:ext cx="1421137" cy="428361"/>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904"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73" name="Shape 673"/>
          <p:cNvSpPr>
            <a:spLocks noGrp="1"/>
          </p:cNvSpPr>
          <p:nvPr>
            <p:ph type="pic" idx="7"/>
          </p:nvPr>
        </p:nvSpPr>
        <p:spPr>
          <a:xfrm>
            <a:off x="6691084" y="2037059"/>
            <a:ext cx="932736" cy="932603"/>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137500"/>
              <a:buFont typeface="Arial"/>
              <a:buNone/>
              <a:defRPr sz="108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74" name="Shape 674"/>
          <p:cNvSpPr txBox="1">
            <a:spLocks noGrp="1"/>
          </p:cNvSpPr>
          <p:nvPr>
            <p:ph type="body" idx="8"/>
          </p:nvPr>
        </p:nvSpPr>
        <p:spPr>
          <a:xfrm>
            <a:off x="6446828" y="3216032"/>
            <a:ext cx="1421137" cy="428361"/>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904"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75" name="Shape 675"/>
          <p:cNvSpPr>
            <a:spLocks noGrp="1"/>
          </p:cNvSpPr>
          <p:nvPr>
            <p:ph type="pic" idx="9"/>
          </p:nvPr>
        </p:nvSpPr>
        <p:spPr>
          <a:xfrm>
            <a:off x="8561247" y="2037059"/>
            <a:ext cx="932736" cy="932603"/>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137500"/>
              <a:buFont typeface="Arial"/>
              <a:buNone/>
              <a:defRPr sz="108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76" name="Shape 676"/>
          <p:cNvSpPr txBox="1">
            <a:spLocks noGrp="1"/>
          </p:cNvSpPr>
          <p:nvPr>
            <p:ph type="body" idx="13"/>
          </p:nvPr>
        </p:nvSpPr>
        <p:spPr>
          <a:xfrm>
            <a:off x="8316990" y="3216032"/>
            <a:ext cx="1421137" cy="428361"/>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904"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77" name="Shape 677"/>
          <p:cNvSpPr>
            <a:spLocks noGrp="1"/>
          </p:cNvSpPr>
          <p:nvPr>
            <p:ph type="pic" idx="14"/>
          </p:nvPr>
        </p:nvSpPr>
        <p:spPr>
          <a:xfrm>
            <a:off x="10431410" y="2037059"/>
            <a:ext cx="932736" cy="932603"/>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137500"/>
              <a:buFont typeface="Arial"/>
              <a:buNone/>
              <a:defRPr sz="108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78" name="Shape 678"/>
          <p:cNvSpPr txBox="1">
            <a:spLocks noGrp="1"/>
          </p:cNvSpPr>
          <p:nvPr>
            <p:ph type="body" idx="15"/>
          </p:nvPr>
        </p:nvSpPr>
        <p:spPr>
          <a:xfrm>
            <a:off x="10187154" y="3216032"/>
            <a:ext cx="1421137" cy="428361"/>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904"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79" name="Shape 679"/>
          <p:cNvSpPr txBox="1">
            <a:spLocks noGrp="1"/>
          </p:cNvSpPr>
          <p:nvPr>
            <p:ph type="body" idx="16"/>
          </p:nvPr>
        </p:nvSpPr>
        <p:spPr>
          <a:xfrm>
            <a:off x="836345" y="3890789"/>
            <a:ext cx="1421137" cy="1883973"/>
          </a:xfrm>
          <a:prstGeom prst="rect">
            <a:avLst/>
          </a:prstGeom>
          <a:noFill/>
          <a:ln>
            <a:noFill/>
          </a:ln>
        </p:spPr>
        <p:txBody>
          <a:bodyPr lIns="68575" tIns="68575" rIns="68575" bIns="68575" anchor="t" anchorCtr="0"/>
          <a:lstStyle>
            <a:lvl1pPr marL="0" marR="0" lvl="0" indent="0" algn="l" rtl="0">
              <a:lnSpc>
                <a:spcPct val="100000"/>
              </a:lnSpc>
              <a:spcBef>
                <a:spcPts val="0"/>
              </a:spcBef>
              <a:spcAft>
                <a:spcPts val="680"/>
              </a:spcAft>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1pPr>
            <a:lvl2pPr marL="189978" marR="0" lvl="1" indent="-51812" algn="l" rtl="0">
              <a:lnSpc>
                <a:spcPct val="100000"/>
              </a:lnSpc>
              <a:spcBef>
                <a:spcPts val="0"/>
              </a:spcBef>
              <a:spcAft>
                <a:spcPts val="680"/>
              </a:spcAft>
              <a:buClr>
                <a:schemeClr val="dk2"/>
              </a:buClr>
              <a:buSzPct val="75000"/>
              <a:buFont typeface="Noto Sans Symbols"/>
              <a:buChar char="▪"/>
              <a:defRPr sz="108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80" name="Shape 680"/>
          <p:cNvSpPr txBox="1">
            <a:spLocks noGrp="1"/>
          </p:cNvSpPr>
          <p:nvPr>
            <p:ph type="body" idx="17"/>
          </p:nvPr>
        </p:nvSpPr>
        <p:spPr>
          <a:xfrm>
            <a:off x="2706505" y="3890789"/>
            <a:ext cx="1421137" cy="1883973"/>
          </a:xfrm>
          <a:prstGeom prst="rect">
            <a:avLst/>
          </a:prstGeom>
          <a:noFill/>
          <a:ln>
            <a:noFill/>
          </a:ln>
        </p:spPr>
        <p:txBody>
          <a:bodyPr lIns="68575" tIns="68575" rIns="68575" bIns="68575" anchor="t" anchorCtr="0"/>
          <a:lstStyle>
            <a:lvl1pPr marL="0" marR="0" lvl="0" indent="0" algn="l" rtl="0">
              <a:lnSpc>
                <a:spcPct val="100000"/>
              </a:lnSpc>
              <a:spcBef>
                <a:spcPts val="0"/>
              </a:spcBef>
              <a:spcAft>
                <a:spcPts val="680"/>
              </a:spcAft>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1pPr>
            <a:lvl2pPr marL="189978" marR="0" lvl="1" indent="-51812" algn="l" rtl="0">
              <a:lnSpc>
                <a:spcPct val="100000"/>
              </a:lnSpc>
              <a:spcBef>
                <a:spcPts val="0"/>
              </a:spcBef>
              <a:spcAft>
                <a:spcPts val="680"/>
              </a:spcAft>
              <a:buClr>
                <a:schemeClr val="dk2"/>
              </a:buClr>
              <a:buSzPct val="75000"/>
              <a:buFont typeface="Noto Sans Symbols"/>
              <a:buChar char="▪"/>
              <a:defRPr sz="108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81" name="Shape 681"/>
          <p:cNvSpPr txBox="1">
            <a:spLocks noGrp="1"/>
          </p:cNvSpPr>
          <p:nvPr>
            <p:ph type="body" idx="18"/>
          </p:nvPr>
        </p:nvSpPr>
        <p:spPr>
          <a:xfrm>
            <a:off x="4576667" y="3890789"/>
            <a:ext cx="1421137" cy="1883973"/>
          </a:xfrm>
          <a:prstGeom prst="rect">
            <a:avLst/>
          </a:prstGeom>
          <a:noFill/>
          <a:ln>
            <a:noFill/>
          </a:ln>
        </p:spPr>
        <p:txBody>
          <a:bodyPr lIns="68575" tIns="68575" rIns="68575" bIns="68575" anchor="t" anchorCtr="0"/>
          <a:lstStyle>
            <a:lvl1pPr marL="0" marR="0" lvl="0" indent="0" algn="l" rtl="0">
              <a:lnSpc>
                <a:spcPct val="100000"/>
              </a:lnSpc>
              <a:spcBef>
                <a:spcPts val="0"/>
              </a:spcBef>
              <a:spcAft>
                <a:spcPts val="680"/>
              </a:spcAft>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1pPr>
            <a:lvl2pPr marL="189978" marR="0" lvl="1" indent="-51812" algn="l" rtl="0">
              <a:lnSpc>
                <a:spcPct val="100000"/>
              </a:lnSpc>
              <a:spcBef>
                <a:spcPts val="0"/>
              </a:spcBef>
              <a:spcAft>
                <a:spcPts val="680"/>
              </a:spcAft>
              <a:buClr>
                <a:schemeClr val="dk2"/>
              </a:buClr>
              <a:buSzPct val="75000"/>
              <a:buFont typeface="Noto Sans Symbols"/>
              <a:buChar char="▪"/>
              <a:defRPr sz="108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82" name="Shape 682"/>
          <p:cNvSpPr txBox="1">
            <a:spLocks noGrp="1"/>
          </p:cNvSpPr>
          <p:nvPr>
            <p:ph type="body" idx="19"/>
          </p:nvPr>
        </p:nvSpPr>
        <p:spPr>
          <a:xfrm>
            <a:off x="6446828" y="3890789"/>
            <a:ext cx="1421137" cy="1883973"/>
          </a:xfrm>
          <a:prstGeom prst="rect">
            <a:avLst/>
          </a:prstGeom>
          <a:noFill/>
          <a:ln>
            <a:noFill/>
          </a:ln>
        </p:spPr>
        <p:txBody>
          <a:bodyPr lIns="68575" tIns="68575" rIns="68575" bIns="68575" anchor="t" anchorCtr="0"/>
          <a:lstStyle>
            <a:lvl1pPr marL="0" marR="0" lvl="0" indent="0" algn="l" rtl="0">
              <a:lnSpc>
                <a:spcPct val="100000"/>
              </a:lnSpc>
              <a:spcBef>
                <a:spcPts val="0"/>
              </a:spcBef>
              <a:spcAft>
                <a:spcPts val="680"/>
              </a:spcAft>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1pPr>
            <a:lvl2pPr marL="189978" marR="0" lvl="1" indent="-51812" algn="l" rtl="0">
              <a:lnSpc>
                <a:spcPct val="100000"/>
              </a:lnSpc>
              <a:spcBef>
                <a:spcPts val="0"/>
              </a:spcBef>
              <a:spcAft>
                <a:spcPts val="680"/>
              </a:spcAft>
              <a:buClr>
                <a:schemeClr val="dk2"/>
              </a:buClr>
              <a:buSzPct val="75000"/>
              <a:buFont typeface="Noto Sans Symbols"/>
              <a:buChar char="▪"/>
              <a:defRPr sz="108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83" name="Shape 683"/>
          <p:cNvSpPr txBox="1">
            <a:spLocks noGrp="1"/>
          </p:cNvSpPr>
          <p:nvPr>
            <p:ph type="body" idx="20"/>
          </p:nvPr>
        </p:nvSpPr>
        <p:spPr>
          <a:xfrm>
            <a:off x="8316990" y="3890789"/>
            <a:ext cx="1421137" cy="1883973"/>
          </a:xfrm>
          <a:prstGeom prst="rect">
            <a:avLst/>
          </a:prstGeom>
          <a:noFill/>
          <a:ln>
            <a:noFill/>
          </a:ln>
        </p:spPr>
        <p:txBody>
          <a:bodyPr lIns="68575" tIns="68575" rIns="68575" bIns="68575" anchor="t" anchorCtr="0"/>
          <a:lstStyle>
            <a:lvl1pPr marL="0" marR="0" lvl="0" indent="0" algn="l" rtl="0">
              <a:lnSpc>
                <a:spcPct val="100000"/>
              </a:lnSpc>
              <a:spcBef>
                <a:spcPts val="0"/>
              </a:spcBef>
              <a:spcAft>
                <a:spcPts val="680"/>
              </a:spcAft>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1pPr>
            <a:lvl2pPr marL="189978" marR="0" lvl="1" indent="-51812" algn="l" rtl="0">
              <a:lnSpc>
                <a:spcPct val="100000"/>
              </a:lnSpc>
              <a:spcBef>
                <a:spcPts val="0"/>
              </a:spcBef>
              <a:spcAft>
                <a:spcPts val="680"/>
              </a:spcAft>
              <a:buClr>
                <a:schemeClr val="dk2"/>
              </a:buClr>
              <a:buSzPct val="75000"/>
              <a:buFont typeface="Noto Sans Symbols"/>
              <a:buChar char="▪"/>
              <a:defRPr sz="108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84" name="Shape 684"/>
          <p:cNvSpPr txBox="1">
            <a:spLocks noGrp="1"/>
          </p:cNvSpPr>
          <p:nvPr>
            <p:ph type="body" idx="21"/>
          </p:nvPr>
        </p:nvSpPr>
        <p:spPr>
          <a:xfrm>
            <a:off x="10187154" y="3890789"/>
            <a:ext cx="1421137" cy="1883973"/>
          </a:xfrm>
          <a:prstGeom prst="rect">
            <a:avLst/>
          </a:prstGeom>
          <a:noFill/>
          <a:ln>
            <a:noFill/>
          </a:ln>
        </p:spPr>
        <p:txBody>
          <a:bodyPr lIns="68575" tIns="68575" rIns="68575" bIns="68575" anchor="t" anchorCtr="0"/>
          <a:lstStyle>
            <a:lvl1pPr marL="0" marR="0" lvl="0" indent="0" algn="l" rtl="0">
              <a:lnSpc>
                <a:spcPct val="100000"/>
              </a:lnSpc>
              <a:spcBef>
                <a:spcPts val="0"/>
              </a:spcBef>
              <a:spcAft>
                <a:spcPts val="680"/>
              </a:spcAft>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1pPr>
            <a:lvl2pPr marL="189978" marR="0" lvl="1" indent="-51812" algn="l" rtl="0">
              <a:lnSpc>
                <a:spcPct val="100000"/>
              </a:lnSpc>
              <a:spcBef>
                <a:spcPts val="0"/>
              </a:spcBef>
              <a:spcAft>
                <a:spcPts val="680"/>
              </a:spcAft>
              <a:buClr>
                <a:schemeClr val="dk2"/>
              </a:buClr>
              <a:buSzPct val="75000"/>
              <a:buFont typeface="Noto Sans Symbols"/>
              <a:buChar char="▪"/>
              <a:defRPr sz="108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85" name="Shape 685"/>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686" name="Shape 686"/>
          <p:cNvSpPr txBox="1">
            <a:spLocks noGrp="1"/>
          </p:cNvSpPr>
          <p:nvPr>
            <p:ph type="body" idx="22"/>
          </p:nvPr>
        </p:nvSpPr>
        <p:spPr>
          <a:xfrm>
            <a:off x="233184" y="74608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87" name="Shape 687"/>
          <p:cNvSpPr txBox="1">
            <a:spLocks noGrp="1"/>
          </p:cNvSpPr>
          <p:nvPr>
            <p:ph type="body" idx="23"/>
          </p:nvPr>
        </p:nvSpPr>
        <p:spPr>
          <a:xfrm>
            <a:off x="9628552" y="233151"/>
            <a:ext cx="2574611" cy="34554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632"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88" name="Shape 688"/>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182077294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cSld name="Timeline Vertical">
    <p:spTree>
      <p:nvGrpSpPr>
        <p:cNvPr id="1" name="Shape 689"/>
        <p:cNvGrpSpPr/>
        <p:nvPr/>
      </p:nvGrpSpPr>
      <p:grpSpPr>
        <a:xfrm>
          <a:off x="0" y="0"/>
          <a:ext cx="0" cy="0"/>
          <a:chOff x="0" y="0"/>
          <a:chExt cx="0" cy="0"/>
        </a:xfrm>
      </p:grpSpPr>
      <p:sp>
        <p:nvSpPr>
          <p:cNvPr id="690" name="Shape 690"/>
          <p:cNvSpPr txBox="1">
            <a:spLocks noGrp="1"/>
          </p:cNvSpPr>
          <p:nvPr>
            <p:ph type="title"/>
          </p:nvPr>
        </p:nvSpPr>
        <p:spPr>
          <a:xfrm>
            <a:off x="233184" y="233151"/>
            <a:ext cx="4197310" cy="1072535"/>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691" name="Shape 691"/>
          <p:cNvSpPr txBox="1">
            <a:spLocks noGrp="1"/>
          </p:cNvSpPr>
          <p:nvPr>
            <p:ph type="body" idx="1"/>
          </p:nvPr>
        </p:nvSpPr>
        <p:spPr>
          <a:xfrm>
            <a:off x="233184" y="1305643"/>
            <a:ext cx="4197310"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92" name="Shape 692"/>
          <p:cNvSpPr>
            <a:spLocks noGrp="1"/>
          </p:cNvSpPr>
          <p:nvPr>
            <p:ph type="pic" idx="2"/>
          </p:nvPr>
        </p:nvSpPr>
        <p:spPr>
          <a:xfrm>
            <a:off x="5030618" y="1605173"/>
            <a:ext cx="559805" cy="559725"/>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137500"/>
              <a:buFont typeface="Arial"/>
              <a:buNone/>
              <a:defRPr sz="108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93" name="Shape 693"/>
          <p:cNvSpPr txBox="1">
            <a:spLocks noGrp="1"/>
          </p:cNvSpPr>
          <p:nvPr>
            <p:ph type="body" idx="3"/>
          </p:nvPr>
        </p:nvSpPr>
        <p:spPr>
          <a:xfrm>
            <a:off x="5859874" y="1605173"/>
            <a:ext cx="692819" cy="55972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496"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94" name="Shape 694"/>
          <p:cNvSpPr txBox="1">
            <a:spLocks noGrp="1"/>
          </p:cNvSpPr>
          <p:nvPr>
            <p:ph type="body" idx="4"/>
          </p:nvPr>
        </p:nvSpPr>
        <p:spPr>
          <a:xfrm>
            <a:off x="5859874" y="2413608"/>
            <a:ext cx="692819" cy="55972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496"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95" name="Shape 695"/>
          <p:cNvSpPr txBox="1">
            <a:spLocks noGrp="1"/>
          </p:cNvSpPr>
          <p:nvPr>
            <p:ph type="body" idx="5"/>
          </p:nvPr>
        </p:nvSpPr>
        <p:spPr>
          <a:xfrm>
            <a:off x="5859874" y="3222044"/>
            <a:ext cx="692819" cy="55972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496"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96" name="Shape 696"/>
          <p:cNvSpPr txBox="1">
            <a:spLocks noGrp="1"/>
          </p:cNvSpPr>
          <p:nvPr>
            <p:ph type="body" idx="6"/>
          </p:nvPr>
        </p:nvSpPr>
        <p:spPr>
          <a:xfrm>
            <a:off x="5859874" y="4030480"/>
            <a:ext cx="692819" cy="559724"/>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496"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97" name="Shape 697"/>
          <p:cNvSpPr txBox="1">
            <a:spLocks noGrp="1"/>
          </p:cNvSpPr>
          <p:nvPr>
            <p:ph type="body" idx="7"/>
          </p:nvPr>
        </p:nvSpPr>
        <p:spPr>
          <a:xfrm>
            <a:off x="5859874" y="5647348"/>
            <a:ext cx="692819" cy="55972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496"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98" name="Shape 698"/>
          <p:cNvSpPr>
            <a:spLocks noGrp="1"/>
          </p:cNvSpPr>
          <p:nvPr>
            <p:ph type="pic" idx="8"/>
          </p:nvPr>
        </p:nvSpPr>
        <p:spPr>
          <a:xfrm>
            <a:off x="5030618" y="3222044"/>
            <a:ext cx="559805" cy="559725"/>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137500"/>
              <a:buFont typeface="Arial"/>
              <a:buNone/>
              <a:defRPr sz="108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699" name="Shape 699"/>
          <p:cNvSpPr txBox="1">
            <a:spLocks noGrp="1"/>
          </p:cNvSpPr>
          <p:nvPr>
            <p:ph type="body" idx="9"/>
          </p:nvPr>
        </p:nvSpPr>
        <p:spPr>
          <a:xfrm>
            <a:off x="6663195" y="3222044"/>
            <a:ext cx="4548616" cy="559725"/>
          </a:xfrm>
          <a:prstGeom prst="rect">
            <a:avLst/>
          </a:prstGeom>
          <a:noFill/>
          <a:ln>
            <a:noFill/>
          </a:ln>
        </p:spPr>
        <p:txBody>
          <a:bodyPr lIns="68575" tIns="68575" rIns="68575" bIns="68575" anchor="ctr" anchorCtr="0"/>
          <a:lstStyle>
            <a:lvl1pPr marL="0" marR="0" lvl="0" indent="0" algn="l" rtl="0">
              <a:lnSpc>
                <a:spcPct val="100000"/>
              </a:lnSpc>
              <a:spcBef>
                <a:spcPts val="0"/>
              </a:spcBef>
              <a:spcAft>
                <a:spcPts val="272"/>
              </a:spcAft>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95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952"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700" name="Shape 700"/>
          <p:cNvSpPr>
            <a:spLocks noGrp="1"/>
          </p:cNvSpPr>
          <p:nvPr>
            <p:ph type="pic" idx="13"/>
          </p:nvPr>
        </p:nvSpPr>
        <p:spPr>
          <a:xfrm>
            <a:off x="5030618" y="4030480"/>
            <a:ext cx="559805" cy="559724"/>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137500"/>
              <a:buFont typeface="Arial"/>
              <a:buNone/>
              <a:defRPr sz="108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701" name="Shape 701"/>
          <p:cNvSpPr txBox="1">
            <a:spLocks noGrp="1"/>
          </p:cNvSpPr>
          <p:nvPr>
            <p:ph type="body" idx="14"/>
          </p:nvPr>
        </p:nvSpPr>
        <p:spPr>
          <a:xfrm>
            <a:off x="6663195" y="4030480"/>
            <a:ext cx="4548616" cy="559724"/>
          </a:xfrm>
          <a:prstGeom prst="rect">
            <a:avLst/>
          </a:prstGeom>
          <a:noFill/>
          <a:ln>
            <a:noFill/>
          </a:ln>
        </p:spPr>
        <p:txBody>
          <a:bodyPr lIns="68575" tIns="68575" rIns="68575" bIns="68575" anchor="ctr" anchorCtr="0"/>
          <a:lstStyle>
            <a:lvl1pPr marL="0" marR="0" lvl="0" indent="0" algn="l" rtl="0">
              <a:lnSpc>
                <a:spcPct val="100000"/>
              </a:lnSpc>
              <a:spcBef>
                <a:spcPts val="0"/>
              </a:spcBef>
              <a:spcAft>
                <a:spcPts val="272"/>
              </a:spcAft>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95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952"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702" name="Shape 702"/>
          <p:cNvSpPr>
            <a:spLocks noGrp="1"/>
          </p:cNvSpPr>
          <p:nvPr>
            <p:ph type="pic" idx="15"/>
          </p:nvPr>
        </p:nvSpPr>
        <p:spPr>
          <a:xfrm>
            <a:off x="5030618" y="5647348"/>
            <a:ext cx="559805" cy="559725"/>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137500"/>
              <a:buFont typeface="Arial"/>
              <a:buNone/>
              <a:defRPr sz="108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703" name="Shape 703"/>
          <p:cNvSpPr txBox="1">
            <a:spLocks noGrp="1"/>
          </p:cNvSpPr>
          <p:nvPr>
            <p:ph type="body" idx="16"/>
          </p:nvPr>
        </p:nvSpPr>
        <p:spPr>
          <a:xfrm>
            <a:off x="6663195" y="5647348"/>
            <a:ext cx="4548616" cy="559725"/>
          </a:xfrm>
          <a:prstGeom prst="rect">
            <a:avLst/>
          </a:prstGeom>
          <a:noFill/>
          <a:ln>
            <a:noFill/>
          </a:ln>
        </p:spPr>
        <p:txBody>
          <a:bodyPr lIns="68575" tIns="68575" rIns="68575" bIns="68575" anchor="ctr" anchorCtr="0"/>
          <a:lstStyle>
            <a:lvl1pPr marL="0" marR="0" lvl="0" indent="0" algn="l" rtl="0">
              <a:lnSpc>
                <a:spcPct val="100000"/>
              </a:lnSpc>
              <a:spcBef>
                <a:spcPts val="0"/>
              </a:spcBef>
              <a:spcAft>
                <a:spcPts val="272"/>
              </a:spcAft>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95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952"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704" name="Shape 704"/>
          <p:cNvSpPr txBox="1">
            <a:spLocks noGrp="1"/>
          </p:cNvSpPr>
          <p:nvPr>
            <p:ph type="body" idx="17"/>
          </p:nvPr>
        </p:nvSpPr>
        <p:spPr>
          <a:xfrm>
            <a:off x="6663195" y="1605173"/>
            <a:ext cx="4548616" cy="559725"/>
          </a:xfrm>
          <a:prstGeom prst="rect">
            <a:avLst/>
          </a:prstGeom>
          <a:noFill/>
          <a:ln>
            <a:noFill/>
          </a:ln>
        </p:spPr>
        <p:txBody>
          <a:bodyPr lIns="68575" tIns="68575" rIns="68575" bIns="68575" anchor="ctr" anchorCtr="0"/>
          <a:lstStyle>
            <a:lvl1pPr marL="0" marR="0" lvl="0" indent="0" algn="l" rtl="0">
              <a:lnSpc>
                <a:spcPct val="100000"/>
              </a:lnSpc>
              <a:spcBef>
                <a:spcPts val="0"/>
              </a:spcBef>
              <a:spcAft>
                <a:spcPts val="272"/>
              </a:spcAft>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95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952"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705" name="Shape 705"/>
          <p:cNvSpPr txBox="1">
            <a:spLocks noGrp="1"/>
          </p:cNvSpPr>
          <p:nvPr>
            <p:ph type="body" idx="18"/>
          </p:nvPr>
        </p:nvSpPr>
        <p:spPr>
          <a:xfrm>
            <a:off x="6663195" y="2413608"/>
            <a:ext cx="4548616" cy="559725"/>
          </a:xfrm>
          <a:prstGeom prst="rect">
            <a:avLst/>
          </a:prstGeom>
          <a:noFill/>
          <a:ln>
            <a:noFill/>
          </a:ln>
        </p:spPr>
        <p:txBody>
          <a:bodyPr lIns="68575" tIns="68575" rIns="68575" bIns="68575" anchor="ctr" anchorCtr="0"/>
          <a:lstStyle>
            <a:lvl1pPr marL="0" marR="0" lvl="0" indent="0" algn="l" rtl="0">
              <a:lnSpc>
                <a:spcPct val="100000"/>
              </a:lnSpc>
              <a:spcBef>
                <a:spcPts val="0"/>
              </a:spcBef>
              <a:spcAft>
                <a:spcPts val="272"/>
              </a:spcAft>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95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952"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706" name="Shape 706"/>
          <p:cNvSpPr>
            <a:spLocks noGrp="1"/>
          </p:cNvSpPr>
          <p:nvPr>
            <p:ph type="pic" idx="19"/>
          </p:nvPr>
        </p:nvSpPr>
        <p:spPr>
          <a:xfrm>
            <a:off x="5030618" y="2413608"/>
            <a:ext cx="559805" cy="559725"/>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137500"/>
              <a:buFont typeface="Arial"/>
              <a:buNone/>
              <a:defRPr sz="108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707" name="Shape 707"/>
          <p:cNvSpPr>
            <a:spLocks noGrp="1"/>
          </p:cNvSpPr>
          <p:nvPr>
            <p:ph type="pic" idx="20"/>
          </p:nvPr>
        </p:nvSpPr>
        <p:spPr>
          <a:xfrm>
            <a:off x="5030618" y="796737"/>
            <a:ext cx="559805" cy="559724"/>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137500"/>
              <a:buFont typeface="Arial"/>
              <a:buNone/>
              <a:defRPr sz="108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708" name="Shape 708"/>
          <p:cNvSpPr txBox="1">
            <a:spLocks noGrp="1"/>
          </p:cNvSpPr>
          <p:nvPr>
            <p:ph type="body" idx="21"/>
          </p:nvPr>
        </p:nvSpPr>
        <p:spPr>
          <a:xfrm>
            <a:off x="5859874" y="796737"/>
            <a:ext cx="692819" cy="559724"/>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496"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709" name="Shape 709"/>
          <p:cNvSpPr txBox="1">
            <a:spLocks noGrp="1"/>
          </p:cNvSpPr>
          <p:nvPr>
            <p:ph type="body" idx="22"/>
          </p:nvPr>
        </p:nvSpPr>
        <p:spPr>
          <a:xfrm>
            <a:off x="6663195" y="796737"/>
            <a:ext cx="4548616" cy="559724"/>
          </a:xfrm>
          <a:prstGeom prst="rect">
            <a:avLst/>
          </a:prstGeom>
          <a:noFill/>
          <a:ln>
            <a:noFill/>
          </a:ln>
        </p:spPr>
        <p:txBody>
          <a:bodyPr lIns="68575" tIns="68575" rIns="68575" bIns="68575" anchor="ctr" anchorCtr="0"/>
          <a:lstStyle>
            <a:lvl1pPr marL="0" marR="0" lvl="0" indent="0" algn="l" rtl="0">
              <a:lnSpc>
                <a:spcPct val="100000"/>
              </a:lnSpc>
              <a:spcBef>
                <a:spcPts val="0"/>
              </a:spcBef>
              <a:spcAft>
                <a:spcPts val="272"/>
              </a:spcAft>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95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952"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710" name="Shape 710"/>
          <p:cNvSpPr txBox="1">
            <a:spLocks noGrp="1"/>
          </p:cNvSpPr>
          <p:nvPr>
            <p:ph type="body" idx="23"/>
          </p:nvPr>
        </p:nvSpPr>
        <p:spPr>
          <a:xfrm>
            <a:off x="5859874" y="4838915"/>
            <a:ext cx="692819" cy="559725"/>
          </a:xfrm>
          <a:prstGeom prst="rect">
            <a:avLst/>
          </a:prstGeom>
          <a:solidFill>
            <a:schemeClr val="accent1"/>
          </a:solidFill>
          <a:ln>
            <a:noFill/>
          </a:ln>
        </p:spPr>
        <p:txBody>
          <a:bodyPr lIns="68575" tIns="68575" rIns="68575" bIns="68575" anchor="ctr" anchorCtr="0"/>
          <a:lstStyle>
            <a:lvl1pPr marL="0" marR="0" lvl="0" indent="0" algn="ctr" rtl="0">
              <a:lnSpc>
                <a:spcPct val="100000"/>
              </a:lnSpc>
              <a:spcBef>
                <a:spcPts val="1088"/>
              </a:spcBef>
              <a:buClr>
                <a:schemeClr val="lt1"/>
              </a:buClr>
              <a:buFont typeface="Arial"/>
              <a:buNone/>
              <a:defRPr sz="1496" b="0" i="0" u="none" strike="noStrike" cap="none">
                <a:solidFill>
                  <a:schemeClr val="l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711" name="Shape 711"/>
          <p:cNvSpPr>
            <a:spLocks noGrp="1"/>
          </p:cNvSpPr>
          <p:nvPr>
            <p:ph type="pic" idx="24"/>
          </p:nvPr>
        </p:nvSpPr>
        <p:spPr>
          <a:xfrm>
            <a:off x="5030618" y="4838915"/>
            <a:ext cx="559805" cy="559725"/>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137500"/>
              <a:buFont typeface="Arial"/>
              <a:buNone/>
              <a:defRPr sz="108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712" name="Shape 712"/>
          <p:cNvSpPr txBox="1">
            <a:spLocks noGrp="1"/>
          </p:cNvSpPr>
          <p:nvPr>
            <p:ph type="body" idx="25"/>
          </p:nvPr>
        </p:nvSpPr>
        <p:spPr>
          <a:xfrm>
            <a:off x="6663195" y="4838915"/>
            <a:ext cx="4548616" cy="559725"/>
          </a:xfrm>
          <a:prstGeom prst="rect">
            <a:avLst/>
          </a:prstGeom>
          <a:noFill/>
          <a:ln>
            <a:noFill/>
          </a:ln>
        </p:spPr>
        <p:txBody>
          <a:bodyPr lIns="68575" tIns="68575" rIns="68575" bIns="68575" anchor="ctr" anchorCtr="0"/>
          <a:lstStyle>
            <a:lvl1pPr marL="0" marR="0" lvl="0" indent="0" algn="l" rtl="0">
              <a:lnSpc>
                <a:spcPct val="100000"/>
              </a:lnSpc>
              <a:spcBef>
                <a:spcPts val="0"/>
              </a:spcBef>
              <a:spcAft>
                <a:spcPts val="272"/>
              </a:spcAft>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088"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95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952"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713" name="Shape 713"/>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714" name="Shape 714"/>
          <p:cNvSpPr/>
          <p:nvPr/>
        </p:nvSpPr>
        <p:spPr>
          <a:xfrm rot="5400000">
            <a:off x="-329222" y="500974"/>
            <a:ext cx="596850" cy="61203"/>
          </a:xfrm>
          <a:prstGeom prst="rect">
            <a:avLst/>
          </a:prstGeom>
          <a:solidFill>
            <a:schemeClr val="accent1"/>
          </a:solidFill>
          <a:ln>
            <a:noFill/>
          </a:ln>
        </p:spPr>
        <p:txBody>
          <a:bodyPr lIns="93254" tIns="46610" rIns="93254" bIns="46610" anchor="ctr" anchorCtr="0">
            <a:noAutofit/>
          </a:bodyPr>
          <a:lstStyle/>
          <a:p>
            <a:pPr marL="0" marR="0" lvl="0" indent="0" algn="ctr" rtl="0">
              <a:spcBef>
                <a:spcPts val="0"/>
              </a:spcBef>
              <a:buNone/>
            </a:pPr>
            <a:endParaRPr sz="1904">
              <a:solidFill>
                <a:srgbClr val="0078D7"/>
              </a:solidFill>
              <a:latin typeface="Calibri"/>
              <a:ea typeface="Calibri"/>
              <a:cs typeface="Calibri"/>
              <a:sym typeface="Calibri"/>
            </a:endParaRPr>
          </a:p>
        </p:txBody>
      </p:sp>
    </p:spTree>
    <p:extLst>
      <p:ext uri="{BB962C8B-B14F-4D97-AF65-F5344CB8AC3E}">
        <p14:creationId xmlns:p14="http://schemas.microsoft.com/office/powerpoint/2010/main" val="281002624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cSld name="Hero Slide">
    <p:spTree>
      <p:nvGrpSpPr>
        <p:cNvPr id="1" name="Shape 715"/>
        <p:cNvGrpSpPr/>
        <p:nvPr/>
      </p:nvGrpSpPr>
      <p:grpSpPr>
        <a:xfrm>
          <a:off x="0" y="0"/>
          <a:ext cx="0" cy="0"/>
          <a:chOff x="0" y="0"/>
          <a:chExt cx="0" cy="0"/>
        </a:xfrm>
      </p:grpSpPr>
      <p:sp>
        <p:nvSpPr>
          <p:cNvPr id="716" name="Shape 716"/>
          <p:cNvSpPr txBox="1">
            <a:spLocks noGrp="1"/>
          </p:cNvSpPr>
          <p:nvPr>
            <p:ph type="title"/>
          </p:nvPr>
        </p:nvSpPr>
        <p:spPr>
          <a:xfrm>
            <a:off x="233182" y="1585425"/>
            <a:ext cx="5689851" cy="1305480"/>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717" name="Shape 717"/>
          <p:cNvSpPr txBox="1">
            <a:spLocks noGrp="1"/>
          </p:cNvSpPr>
          <p:nvPr>
            <p:ph type="body" idx="1"/>
          </p:nvPr>
        </p:nvSpPr>
        <p:spPr>
          <a:xfrm>
            <a:off x="233182" y="3107197"/>
            <a:ext cx="5689851" cy="2238085"/>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718" name="Shape 718"/>
          <p:cNvSpPr>
            <a:spLocks noGrp="1"/>
          </p:cNvSpPr>
          <p:nvPr>
            <p:ph type="pic" idx="2"/>
          </p:nvPr>
        </p:nvSpPr>
        <p:spPr>
          <a:xfrm>
            <a:off x="6140509" y="1585424"/>
            <a:ext cx="6062782" cy="3730413"/>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61111"/>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99398294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cSld name="Quote Slide">
    <p:spTree>
      <p:nvGrpSpPr>
        <p:cNvPr id="1" name="Shape 719"/>
        <p:cNvGrpSpPr/>
        <p:nvPr/>
      </p:nvGrpSpPr>
      <p:grpSpPr>
        <a:xfrm>
          <a:off x="0" y="0"/>
          <a:ext cx="0" cy="0"/>
          <a:chOff x="0" y="0"/>
          <a:chExt cx="0" cy="0"/>
        </a:xfrm>
      </p:grpSpPr>
      <p:sp>
        <p:nvSpPr>
          <p:cNvPr id="720" name="Shape 720"/>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721" name="Shape 721"/>
          <p:cNvSpPr txBox="1">
            <a:spLocks noGrp="1"/>
          </p:cNvSpPr>
          <p:nvPr>
            <p:ph type="body" idx="1"/>
          </p:nvPr>
        </p:nvSpPr>
        <p:spPr>
          <a:xfrm>
            <a:off x="3575487" y="0"/>
            <a:ext cx="5285502" cy="6994525"/>
          </a:xfrm>
          <a:prstGeom prst="rect">
            <a:avLst/>
          </a:prstGeom>
          <a:noFill/>
          <a:ln>
            <a:noFill/>
          </a:ln>
        </p:spPr>
        <p:txBody>
          <a:bodyPr lIns="68575" tIns="68575" rIns="68575" bIns="68575" anchor="ctr" anchorCtr="0"/>
          <a:lstStyle>
            <a:lvl1pPr marL="0" marR="0" lvl="0" indent="0" algn="ctr" rtl="0">
              <a:lnSpc>
                <a:spcPct val="100000"/>
              </a:lnSpc>
              <a:spcBef>
                <a:spcPts val="244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85418273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cSld name="1_Title Only">
    <p:spTree>
      <p:nvGrpSpPr>
        <p:cNvPr id="1" name="Shape 722"/>
        <p:cNvGrpSpPr/>
        <p:nvPr/>
      </p:nvGrpSpPr>
      <p:grpSpPr>
        <a:xfrm>
          <a:off x="0" y="0"/>
          <a:ext cx="0" cy="0"/>
          <a:chOff x="0" y="0"/>
          <a:chExt cx="0" cy="0"/>
        </a:xfrm>
      </p:grpSpPr>
      <p:sp>
        <p:nvSpPr>
          <p:cNvPr id="723" name="Shape 723"/>
          <p:cNvSpPr txBox="1">
            <a:spLocks noGrp="1"/>
          </p:cNvSpPr>
          <p:nvPr>
            <p:ph type="title"/>
          </p:nvPr>
        </p:nvSpPr>
        <p:spPr>
          <a:xfrm>
            <a:off x="222079" y="205721"/>
            <a:ext cx="7994760" cy="540143"/>
          </a:xfrm>
          <a:prstGeom prst="rect">
            <a:avLst/>
          </a:prstGeom>
          <a:noFill/>
          <a:ln>
            <a:noFill/>
          </a:ln>
        </p:spPr>
        <p:txBody>
          <a:bodyPr lIns="68575" tIns="68575" rIns="68575" bIns="68575" anchor="t" anchorCtr="0"/>
          <a:lstStyle>
            <a:lvl1pPr marL="0" marR="0" lvl="0" indent="0" algn="l" rtl="0">
              <a:lnSpc>
                <a:spcPct val="90000"/>
              </a:lnSpc>
              <a:spcBef>
                <a:spcPts val="0"/>
              </a:spcBef>
              <a:buClr>
                <a:srgbClr val="000000"/>
              </a:buClr>
              <a:buFont typeface="Quattrocento Sans"/>
              <a:buNone/>
              <a:defRPr sz="3672" b="0" i="0" u="none" strike="noStrike" cap="none">
                <a:solidFill>
                  <a:srgbClr val="000000"/>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724" name="Shape 724"/>
          <p:cNvSpPr txBox="1">
            <a:spLocks noGrp="1"/>
          </p:cNvSpPr>
          <p:nvPr>
            <p:ph type="ftr" idx="11"/>
          </p:nvPr>
        </p:nvSpPr>
        <p:spPr>
          <a:xfrm>
            <a:off x="274335" y="6788804"/>
            <a:ext cx="4243009" cy="127284"/>
          </a:xfrm>
          <a:prstGeom prst="rect">
            <a:avLst/>
          </a:prstGeom>
          <a:noFill/>
          <a:ln>
            <a:noFill/>
          </a:ln>
        </p:spPr>
        <p:txBody>
          <a:bodyPr lIns="68575" tIns="68575" rIns="68575" bIns="68575" anchor="t" anchorCtr="0"/>
          <a:lstStyle>
            <a:lvl1pPr marL="0" marR="0" lvl="0" indent="0" algn="l" rtl="0">
              <a:spcBef>
                <a:spcPts val="0"/>
              </a:spcBef>
              <a:buSzPct val="78571"/>
              <a:buNone/>
              <a:defRPr sz="1904">
                <a:solidFill>
                  <a:schemeClr val="dk1"/>
                </a:solidFill>
                <a:latin typeface="Calibri"/>
                <a:ea typeface="Calibri"/>
                <a:cs typeface="Calibri"/>
                <a:sym typeface="Calibri"/>
              </a:defRPr>
            </a:lvl1pPr>
            <a:lvl2pPr marL="466310" marR="0" lvl="1" indent="0" algn="l" rtl="0">
              <a:spcBef>
                <a:spcPts val="0"/>
              </a:spcBef>
              <a:buSzPct val="78571"/>
              <a:buNone/>
              <a:defRPr sz="1904" b="0" i="0" u="none" strike="noStrike" cap="none">
                <a:solidFill>
                  <a:schemeClr val="dk1"/>
                </a:solidFill>
                <a:latin typeface="Calibri"/>
                <a:ea typeface="Calibri"/>
                <a:cs typeface="Calibri"/>
                <a:sym typeface="Calibri"/>
              </a:defRPr>
            </a:lvl2pPr>
            <a:lvl3pPr marL="932619" marR="0" lvl="2" indent="0" algn="l" rtl="0">
              <a:spcBef>
                <a:spcPts val="0"/>
              </a:spcBef>
              <a:buSzPct val="78571"/>
              <a:buNone/>
              <a:defRPr sz="1904" b="0" i="0" u="none" strike="noStrike" cap="none">
                <a:solidFill>
                  <a:schemeClr val="dk1"/>
                </a:solidFill>
                <a:latin typeface="Calibri"/>
                <a:ea typeface="Calibri"/>
                <a:cs typeface="Calibri"/>
                <a:sym typeface="Calibri"/>
              </a:defRPr>
            </a:lvl3pPr>
            <a:lvl4pPr marL="1398929" marR="0" lvl="3" indent="0" algn="l" rtl="0">
              <a:spcBef>
                <a:spcPts val="0"/>
              </a:spcBef>
              <a:buSzPct val="78571"/>
              <a:buNone/>
              <a:defRPr sz="1904" b="0" i="0" u="none" strike="noStrike" cap="none">
                <a:solidFill>
                  <a:schemeClr val="dk1"/>
                </a:solidFill>
                <a:latin typeface="Calibri"/>
                <a:ea typeface="Calibri"/>
                <a:cs typeface="Calibri"/>
                <a:sym typeface="Calibri"/>
              </a:defRPr>
            </a:lvl4pPr>
            <a:lvl5pPr marL="1865239" marR="0" lvl="4" indent="0" algn="l" rtl="0">
              <a:spcBef>
                <a:spcPts val="0"/>
              </a:spcBef>
              <a:buSzPct val="78571"/>
              <a:buNone/>
              <a:defRPr sz="1904" b="0" i="0" u="none" strike="noStrike" cap="none">
                <a:solidFill>
                  <a:schemeClr val="dk1"/>
                </a:solidFill>
                <a:latin typeface="Calibri"/>
                <a:ea typeface="Calibri"/>
                <a:cs typeface="Calibri"/>
                <a:sym typeface="Calibri"/>
              </a:defRPr>
            </a:lvl5pPr>
            <a:lvl6pPr marL="2331549" marR="0" lvl="5" indent="0" algn="l" rtl="0">
              <a:spcBef>
                <a:spcPts val="0"/>
              </a:spcBef>
              <a:buSzPct val="78571"/>
              <a:buNone/>
              <a:defRPr sz="1904" b="0" i="0" u="none" strike="noStrike" cap="none">
                <a:solidFill>
                  <a:schemeClr val="dk1"/>
                </a:solidFill>
                <a:latin typeface="Calibri"/>
                <a:ea typeface="Calibri"/>
                <a:cs typeface="Calibri"/>
                <a:sym typeface="Calibri"/>
              </a:defRPr>
            </a:lvl6pPr>
            <a:lvl7pPr marL="2797858" marR="0" lvl="6" indent="0" algn="l" rtl="0">
              <a:spcBef>
                <a:spcPts val="0"/>
              </a:spcBef>
              <a:buSzPct val="78571"/>
              <a:buNone/>
              <a:defRPr sz="1904" b="0" i="0" u="none" strike="noStrike" cap="none">
                <a:solidFill>
                  <a:schemeClr val="dk1"/>
                </a:solidFill>
                <a:latin typeface="Calibri"/>
                <a:ea typeface="Calibri"/>
                <a:cs typeface="Calibri"/>
                <a:sym typeface="Calibri"/>
              </a:defRPr>
            </a:lvl7pPr>
            <a:lvl8pPr marL="3264168" marR="0" lvl="7" indent="0" algn="l" rtl="0">
              <a:spcBef>
                <a:spcPts val="0"/>
              </a:spcBef>
              <a:buSzPct val="78571"/>
              <a:buNone/>
              <a:defRPr sz="1904" b="0" i="0" u="none" strike="noStrike" cap="none">
                <a:solidFill>
                  <a:schemeClr val="dk1"/>
                </a:solidFill>
                <a:latin typeface="Calibri"/>
                <a:ea typeface="Calibri"/>
                <a:cs typeface="Calibri"/>
                <a:sym typeface="Calibri"/>
              </a:defRPr>
            </a:lvl8pPr>
            <a:lvl9pPr marL="3730478" marR="0" lvl="8" indent="0" algn="l" rtl="0">
              <a:spcBef>
                <a:spcPts val="0"/>
              </a:spcBef>
              <a:buSzPct val="78571"/>
              <a:buNone/>
              <a:defRPr sz="1904" b="0" i="0" u="none" strike="noStrike" cap="none">
                <a:solidFill>
                  <a:schemeClr val="dk1"/>
                </a:solidFill>
                <a:latin typeface="Calibri"/>
                <a:ea typeface="Calibri"/>
                <a:cs typeface="Calibri"/>
                <a:sym typeface="Calibri"/>
              </a:defRPr>
            </a:lvl9pPr>
          </a:lstStyle>
          <a:p>
            <a:endParaRPr/>
          </a:p>
        </p:txBody>
      </p:sp>
      <p:sp>
        <p:nvSpPr>
          <p:cNvPr id="725" name="Shape 725"/>
          <p:cNvSpPr txBox="1">
            <a:spLocks noGrp="1"/>
          </p:cNvSpPr>
          <p:nvPr>
            <p:ph type="sldNum" idx="12"/>
          </p:nvPr>
        </p:nvSpPr>
        <p:spPr>
          <a:xfrm>
            <a:off x="11343205" y="6788804"/>
            <a:ext cx="805025" cy="127284"/>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rgbClr val="505050"/>
                </a:solidFill>
                <a:latin typeface="Quattrocento Sans"/>
                <a:ea typeface="Quattrocento Sans"/>
                <a:cs typeface="Quattrocento Sans"/>
                <a:sym typeface="Quattrocento Sans"/>
              </a:rPr>
              <a:pPr algn="r">
                <a:buSzPct val="25000"/>
              </a:pPr>
              <a:t>‹#›</a:t>
            </a:fld>
            <a:endParaRPr lang="en" sz="1224">
              <a:solidFill>
                <a:srgbClr val="505050"/>
              </a:solidFill>
              <a:latin typeface="Quattrocento Sans"/>
              <a:ea typeface="Quattrocento Sans"/>
              <a:cs typeface="Quattrocento Sans"/>
              <a:sym typeface="Quattrocento Sans"/>
            </a:endParaRPr>
          </a:p>
        </p:txBody>
      </p:sp>
      <p:sp>
        <p:nvSpPr>
          <p:cNvPr id="726" name="Shape 726"/>
          <p:cNvSpPr txBox="1">
            <a:spLocks noGrp="1"/>
          </p:cNvSpPr>
          <p:nvPr>
            <p:ph type="body" idx="1"/>
          </p:nvPr>
        </p:nvSpPr>
        <p:spPr>
          <a:xfrm>
            <a:off x="8216958" y="205722"/>
            <a:ext cx="3997380" cy="317803"/>
          </a:xfrm>
          <a:prstGeom prst="rect">
            <a:avLst/>
          </a:prstGeom>
          <a:noFill/>
          <a:ln>
            <a:noFill/>
          </a:ln>
        </p:spPr>
        <p:txBody>
          <a:bodyPr lIns="68575" tIns="68575" rIns="68575" bIns="68575" anchor="t" anchorCtr="0"/>
          <a:lstStyle>
            <a:lvl1pPr marL="0" marR="0" lvl="0" indent="0" algn="r" rtl="0">
              <a:lnSpc>
                <a:spcPct val="100000"/>
              </a:lnSpc>
              <a:spcBef>
                <a:spcPts val="1088"/>
              </a:spcBef>
              <a:buClr>
                <a:srgbClr val="000000"/>
              </a:buClr>
              <a:buFont typeface="Arial"/>
              <a:buNone/>
              <a:defRPr sz="1496" b="0" i="0" u="none" strike="noStrike" cap="none">
                <a:solidFill>
                  <a:srgbClr val="000000"/>
                </a:solidFill>
                <a:latin typeface="Calibri"/>
                <a:ea typeface="Calibri"/>
                <a:cs typeface="Calibri"/>
                <a:sym typeface="Calibri"/>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405251154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cSld name="Chart Slide">
    <p:spTree>
      <p:nvGrpSpPr>
        <p:cNvPr id="1" name="Shape 727"/>
        <p:cNvGrpSpPr/>
        <p:nvPr/>
      </p:nvGrpSpPr>
      <p:grpSpPr>
        <a:xfrm>
          <a:off x="0" y="0"/>
          <a:ext cx="0" cy="0"/>
          <a:chOff x="0" y="0"/>
          <a:chExt cx="0" cy="0"/>
        </a:xfrm>
      </p:grpSpPr>
      <p:sp>
        <p:nvSpPr>
          <p:cNvPr id="728" name="Shape 728"/>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Clr>
                <a:srgbClr val="000000"/>
              </a:buClr>
              <a:buSzPct val="25000"/>
            </a:pPr>
            <a:fld id="{00000000-1234-1234-1234-123412341234}" type="slidenum">
              <a:rPr lang="en" sz="1904" smtClean="0">
                <a:solidFill>
                  <a:srgbClr val="000000"/>
                </a:solidFill>
                <a:latin typeface="Quattrocento Sans"/>
                <a:ea typeface="Quattrocento Sans"/>
                <a:cs typeface="Quattrocento Sans"/>
                <a:sym typeface="Quattrocento Sans"/>
              </a:rPr>
              <a:pPr algn="r">
                <a:buClr>
                  <a:srgbClr val="000000"/>
                </a:buClr>
                <a:buSzPct val="25000"/>
              </a:pPr>
              <a:t>‹#›</a:t>
            </a:fld>
            <a:endParaRPr lang="en" sz="1904">
              <a:solidFill>
                <a:srgbClr val="000000"/>
              </a:solidFill>
              <a:latin typeface="Quattrocento Sans"/>
              <a:ea typeface="Quattrocento Sans"/>
              <a:cs typeface="Quattrocento Sans"/>
              <a:sym typeface="Quattrocento Sans"/>
            </a:endParaRPr>
          </a:p>
        </p:txBody>
      </p:sp>
      <p:sp>
        <p:nvSpPr>
          <p:cNvPr id="729" name="Shape 729"/>
          <p:cNvSpPr txBox="1">
            <a:spLocks noGrp="1"/>
          </p:cNvSpPr>
          <p:nvPr>
            <p:ph type="title"/>
          </p:nvPr>
        </p:nvSpPr>
        <p:spPr>
          <a:xfrm>
            <a:off x="233183" y="233151"/>
            <a:ext cx="11970107" cy="652741"/>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Font typeface="Quattrocento Sans"/>
              <a:buNone/>
              <a:defRPr sz="3672"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None/>
              <a:defRPr sz="1904"/>
            </a:lvl2pPr>
            <a:lvl3pPr lvl="2" indent="0" rtl="0">
              <a:spcBef>
                <a:spcPts val="0"/>
              </a:spcBef>
              <a:buNone/>
              <a:defRPr sz="1904"/>
            </a:lvl3pPr>
            <a:lvl4pPr lvl="3" indent="0" rtl="0">
              <a:spcBef>
                <a:spcPts val="0"/>
              </a:spcBef>
              <a:buNone/>
              <a:defRPr sz="1904"/>
            </a:lvl4pPr>
            <a:lvl5pPr lvl="4" indent="0" rtl="0">
              <a:spcBef>
                <a:spcPts val="0"/>
              </a:spcBef>
              <a:buNone/>
              <a:defRPr sz="1904"/>
            </a:lvl5pPr>
            <a:lvl6pPr lvl="5" indent="0" rtl="0">
              <a:spcBef>
                <a:spcPts val="0"/>
              </a:spcBef>
              <a:buNone/>
              <a:defRPr sz="1904"/>
            </a:lvl6pPr>
            <a:lvl7pPr lvl="6" indent="0" rtl="0">
              <a:spcBef>
                <a:spcPts val="0"/>
              </a:spcBef>
              <a:buNone/>
              <a:defRPr sz="1904"/>
            </a:lvl7pPr>
            <a:lvl8pPr lvl="7" indent="0" rtl="0">
              <a:spcBef>
                <a:spcPts val="0"/>
              </a:spcBef>
              <a:buNone/>
              <a:defRPr sz="1904"/>
            </a:lvl8pPr>
            <a:lvl9pPr lvl="8" indent="0" rtl="0">
              <a:spcBef>
                <a:spcPts val="0"/>
              </a:spcBef>
              <a:buNone/>
              <a:defRPr sz="1904"/>
            </a:lvl9pPr>
          </a:lstStyle>
          <a:p>
            <a:endParaRPr/>
          </a:p>
        </p:txBody>
      </p:sp>
      <p:sp>
        <p:nvSpPr>
          <p:cNvPr id="730" name="Shape 730"/>
          <p:cNvSpPr>
            <a:spLocks noGrp="1"/>
          </p:cNvSpPr>
          <p:nvPr>
            <p:ph type="chart" idx="2"/>
          </p:nvPr>
        </p:nvSpPr>
        <p:spPr>
          <a:xfrm>
            <a:off x="233184" y="1861965"/>
            <a:ext cx="11970107" cy="3816901"/>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SzPct val="61111"/>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SzPct val="73333"/>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SzPct val="78571"/>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SzPct val="91666"/>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SzPct val="100000"/>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731" name="Shape 731"/>
          <p:cNvSpPr txBox="1">
            <a:spLocks noGrp="1"/>
          </p:cNvSpPr>
          <p:nvPr>
            <p:ph type="body" idx="1"/>
          </p:nvPr>
        </p:nvSpPr>
        <p:spPr>
          <a:xfrm>
            <a:off x="233184" y="5911685"/>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accent1"/>
              </a:buClr>
              <a:buFont typeface="Arial"/>
              <a:buNone/>
              <a:defRPr sz="1632" b="0" i="0" u="none" strike="noStrike" cap="none">
                <a:solidFill>
                  <a:schemeClr val="accent1"/>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
        <p:nvSpPr>
          <p:cNvPr id="732" name="Shape 732"/>
          <p:cNvSpPr txBox="1">
            <a:spLocks noGrp="1"/>
          </p:cNvSpPr>
          <p:nvPr>
            <p:ph type="body" idx="3"/>
          </p:nvPr>
        </p:nvSpPr>
        <p:spPr>
          <a:xfrm>
            <a:off x="233184" y="932603"/>
            <a:ext cx="11970107" cy="466302"/>
          </a:xfrm>
          <a:prstGeom prst="rect">
            <a:avLst/>
          </a:prstGeom>
          <a:noFill/>
          <a:ln>
            <a:noFill/>
          </a:ln>
        </p:spPr>
        <p:txBody>
          <a:bodyPr lIns="68575" tIns="68575" rIns="68575" bIns="68575" anchor="t" anchorCtr="0"/>
          <a:lstStyle>
            <a:lvl1pPr marL="0" marR="0" lvl="0" indent="0" algn="l" rtl="0">
              <a:lnSpc>
                <a:spcPct val="100000"/>
              </a:lnSpc>
              <a:spcBef>
                <a:spcPts val="1088"/>
              </a:spcBef>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1pPr>
            <a:lvl2pPr marL="466310" marR="0" lvl="1" indent="0" algn="l" rtl="0">
              <a:lnSpc>
                <a:spcPct val="100000"/>
              </a:lnSpc>
              <a:spcBef>
                <a:spcPts val="1088"/>
              </a:spcBef>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932619" marR="0" lvl="2" indent="0" algn="l" rtl="0">
              <a:lnSpc>
                <a:spcPct val="100000"/>
              </a:lnSpc>
              <a:spcBef>
                <a:spcPts val="1088"/>
              </a:spcBef>
              <a:buClr>
                <a:schemeClr val="dk2"/>
              </a:buClr>
              <a:buFont typeface="Arial"/>
              <a:buNone/>
              <a:defRPr sz="1904" b="0" i="0" u="none" strike="noStrike" cap="none">
                <a:solidFill>
                  <a:schemeClr val="dk2"/>
                </a:solidFill>
                <a:latin typeface="Quattrocento Sans"/>
                <a:ea typeface="Quattrocento Sans"/>
                <a:cs typeface="Quattrocento Sans"/>
                <a:sym typeface="Quattrocento Sans"/>
              </a:defRPr>
            </a:lvl3pPr>
            <a:lvl4pPr marL="1398929" marR="0" lvl="3" indent="0" algn="l" rtl="0">
              <a:lnSpc>
                <a:spcPct val="100000"/>
              </a:lnSpc>
              <a:spcBef>
                <a:spcPts val="1088"/>
              </a:spcBef>
              <a:buClr>
                <a:schemeClr val="dk2"/>
              </a:buClr>
              <a:buFont typeface="Arial"/>
              <a:buNone/>
              <a:defRPr sz="1632" b="0" i="0" u="none" strike="noStrike" cap="none">
                <a:solidFill>
                  <a:schemeClr val="dk2"/>
                </a:solidFill>
                <a:latin typeface="Quattrocento Sans"/>
                <a:ea typeface="Quattrocento Sans"/>
                <a:cs typeface="Quattrocento Sans"/>
                <a:sym typeface="Quattrocento Sans"/>
              </a:defRPr>
            </a:lvl4pPr>
            <a:lvl5pPr marL="1865239" marR="0" lvl="4" indent="0" algn="l" rtl="0">
              <a:lnSpc>
                <a:spcPct val="100000"/>
              </a:lnSpc>
              <a:spcBef>
                <a:spcPts val="1088"/>
              </a:spcBef>
              <a:buClr>
                <a:schemeClr val="dk2"/>
              </a:buClr>
              <a:buFont typeface="Arial"/>
              <a:buNone/>
              <a:defRPr sz="1496" b="0" i="0" u="none" strike="noStrike" cap="none">
                <a:solidFill>
                  <a:schemeClr val="dk2"/>
                </a:solidFill>
                <a:latin typeface="Quattrocento Sans"/>
                <a:ea typeface="Quattrocento Sans"/>
                <a:cs typeface="Quattrocento Sans"/>
                <a:sym typeface="Quattrocento Sans"/>
              </a:defRPr>
            </a:lvl5pPr>
            <a:lvl6pPr marL="2573339" marR="0" lvl="5"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6pPr>
            <a:lvl7pPr marL="3039648" marR="0" lvl="6"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7pPr>
            <a:lvl8pPr marL="3505958" marR="0" lvl="7"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8pPr>
            <a:lvl9pPr marL="3972268" marR="0" lvl="8" indent="-120895" algn="l" rtl="0">
              <a:lnSpc>
                <a:spcPct val="90000"/>
              </a:lnSpc>
              <a:spcBef>
                <a:spcPts val="544"/>
              </a:spcBef>
              <a:buClr>
                <a:schemeClr val="dk1"/>
              </a:buClr>
              <a:buSzPct val="100000"/>
              <a:buFont typeface="Arial"/>
              <a:buChar char="•"/>
              <a:defRPr sz="1904"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6957419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grpSp>
      <p:sp>
        <p:nvSpPr>
          <p:cNvPr id="96" name="Title 1"/>
          <p:cNvSpPr>
            <a:spLocks noGrp="1"/>
          </p:cNvSpPr>
          <p:nvPr>
            <p:ph type="title" hasCustomPrompt="1"/>
          </p:nvPr>
        </p:nvSpPr>
        <p:spPr bwMode="auto">
          <a:xfrm>
            <a:off x="274702" y="1993498"/>
            <a:ext cx="6402388" cy="1828800"/>
          </a:xfrm>
          <a:noFill/>
        </p:spPr>
        <p:txBody>
          <a:bodyPr lIns="146304" tIns="91440" rIns="146304" bIns="91440" anchor="t" anchorCtr="0"/>
          <a:lstStyle>
            <a:lvl1pPr>
              <a:defRPr sz="5400" spc="-100" baseline="0">
                <a:gradFill>
                  <a:gsLst>
                    <a:gs pos="92453">
                      <a:schemeClr val="tx1"/>
                    </a:gs>
                    <a:gs pos="57576">
                      <a:schemeClr val="tx1"/>
                    </a:gs>
                  </a:gsLst>
                  <a:lin ang="5400000" scaled="0"/>
                </a:gradFill>
              </a:defRPr>
            </a:lvl1pPr>
          </a:lstStyle>
          <a:p>
            <a:r>
              <a:rPr lang="en-US" dirty="0"/>
              <a:t>Presentation title</a:t>
            </a:r>
          </a:p>
        </p:txBody>
      </p:sp>
      <p:sp>
        <p:nvSpPr>
          <p:cNvPr id="97" name="Text Placeholder 2"/>
          <p:cNvSpPr>
            <a:spLocks noGrp="1"/>
          </p:cNvSpPr>
          <p:nvPr>
            <p:ph type="body" sz="quarter" idx="14" hasCustomPrompt="1"/>
          </p:nvPr>
        </p:nvSpPr>
        <p:spPr bwMode="auto">
          <a:xfrm>
            <a:off x="273050" y="3828783"/>
            <a:ext cx="6402388" cy="1381229"/>
          </a:xfrm>
        </p:spPr>
        <p:txBody>
          <a:bodyPr tIns="109728" bIns="109728">
            <a:noAutofit/>
          </a:bodyPr>
          <a:lstStyle>
            <a:lvl1pPr marL="0" indent="0">
              <a:spcBef>
                <a:spcPts val="0"/>
              </a:spcBef>
              <a:buNone/>
              <a:defRPr sz="3200">
                <a:gradFill>
                  <a:gsLst>
                    <a:gs pos="14151">
                      <a:schemeClr val="tx1"/>
                    </a:gs>
                    <a:gs pos="35000">
                      <a:schemeClr val="tx1"/>
                    </a:gs>
                  </a:gsLst>
                  <a:lin ang="5400000" scaled="0"/>
                </a:gradFill>
              </a:defRPr>
            </a:lvl1pPr>
          </a:lstStyle>
          <a:p>
            <a:pPr lvl="0"/>
            <a:r>
              <a:rPr lang="en-US" dirty="0"/>
              <a:t>Speaker Name</a:t>
            </a:r>
          </a:p>
        </p:txBody>
      </p:sp>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8306" y="245114"/>
            <a:ext cx="11895477" cy="922807"/>
          </a:xfrm>
        </p:spPr>
        <p:txBody>
          <a:bodyPr lIns="91521" tIns="45761" rIns="91521" bIns="45761">
            <a:noAutofit/>
          </a:bodyPr>
          <a:lstStyle>
            <a:lvl1pPr>
              <a:defRPr sz="3060"/>
            </a:lvl1pPr>
          </a:lstStyle>
          <a:p>
            <a:r>
              <a:rPr lang="en-US" dirty="0"/>
              <a:t>Click to edit Master title style</a:t>
            </a:r>
          </a:p>
        </p:txBody>
      </p:sp>
      <p:sp>
        <p:nvSpPr>
          <p:cNvPr id="40" name="Text Placeholder 2"/>
          <p:cNvSpPr>
            <a:spLocks noGrp="1"/>
          </p:cNvSpPr>
          <p:nvPr>
            <p:ph type="body" idx="10" hasCustomPrompt="1"/>
          </p:nvPr>
        </p:nvSpPr>
        <p:spPr bwMode="gray">
          <a:xfrm>
            <a:off x="281327" y="1128444"/>
            <a:ext cx="11886147" cy="408074"/>
          </a:xfrm>
        </p:spPr>
        <p:txBody>
          <a:bodyPr lIns="91521" tIns="45761" rIns="91521" bIns="45761" anchor="t">
            <a:noAutofit/>
          </a:bodyPr>
          <a:lstStyle>
            <a:lvl1pPr marL="0" indent="0">
              <a:spcBef>
                <a:spcPts val="0"/>
              </a:spcBef>
              <a:spcAft>
                <a:spcPts val="0"/>
              </a:spcAft>
              <a:buNone/>
              <a:defRPr sz="1836" b="0">
                <a:solidFill>
                  <a:schemeClr val="accent1"/>
                </a:solidFill>
              </a:defRPr>
            </a:lvl1pPr>
            <a:lvl2pPr marL="466714" indent="0">
              <a:buNone/>
              <a:defRPr sz="2040" b="1"/>
            </a:lvl2pPr>
            <a:lvl3pPr marL="933429" indent="0">
              <a:buNone/>
              <a:defRPr sz="1938" b="1"/>
            </a:lvl3pPr>
            <a:lvl4pPr marL="1400141" indent="0">
              <a:buNone/>
              <a:defRPr sz="1632" b="1"/>
            </a:lvl4pPr>
            <a:lvl5pPr marL="1866856" indent="0">
              <a:buNone/>
              <a:defRPr sz="1632" b="1"/>
            </a:lvl5pPr>
            <a:lvl6pPr marL="2333570" indent="0">
              <a:buNone/>
              <a:defRPr sz="1632" b="1"/>
            </a:lvl6pPr>
            <a:lvl7pPr marL="2800284" indent="0">
              <a:buNone/>
              <a:defRPr sz="1632" b="1"/>
            </a:lvl7pPr>
            <a:lvl8pPr marL="3266998" indent="0">
              <a:buNone/>
              <a:defRPr sz="1632" b="1"/>
            </a:lvl8pPr>
            <a:lvl9pPr marL="3733712" indent="0">
              <a:buNone/>
              <a:defRPr sz="1632" b="1"/>
            </a:lvl9pPr>
          </a:lstStyle>
          <a:p>
            <a:pPr lvl="0"/>
            <a:r>
              <a:rPr lang="en-US" dirty="0"/>
              <a:t>Click to edit master text styles</a:t>
            </a:r>
          </a:p>
        </p:txBody>
      </p:sp>
      <p:sp>
        <p:nvSpPr>
          <p:cNvPr id="8" name="Footer Placeholder 4"/>
          <p:cNvSpPr>
            <a:spLocks noGrp="1"/>
          </p:cNvSpPr>
          <p:nvPr>
            <p:ph type="ftr" sz="quarter" idx="3"/>
          </p:nvPr>
        </p:nvSpPr>
        <p:spPr>
          <a:xfrm>
            <a:off x="907244" y="6601589"/>
            <a:ext cx="6671614" cy="245277"/>
          </a:xfrm>
          <a:prstGeom prst="rect">
            <a:avLst/>
          </a:prstGeom>
        </p:spPr>
        <p:txBody>
          <a:bodyPr vert="horz" wrap="square" lIns="91521" tIns="45761" rIns="91521" bIns="45761" rtlCol="0" anchor="b">
            <a:noAutofit/>
          </a:bodyPr>
          <a:lstStyle>
            <a:lvl1pPr>
              <a:defRPr lang="en-US" sz="816" smtClean="0">
                <a:solidFill>
                  <a:schemeClr val="bg2"/>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dirty="0">
                <a:ln>
                  <a:noFill/>
                </a:ln>
                <a:solidFill>
                  <a:srgbClr val="EAEAEA"/>
                </a:solidFill>
                <a:effectLst/>
                <a:uLnTx/>
                <a:uFillTx/>
                <a:latin typeface="Segoe UI"/>
                <a:ea typeface="+mn-ea"/>
                <a:cs typeface="+mn-cs"/>
              </a:rPr>
              <a:t>© 2016 NetApp, Inc. All rights reserved. </a:t>
            </a:r>
          </a:p>
        </p:txBody>
      </p:sp>
      <p:sp>
        <p:nvSpPr>
          <p:cNvPr id="10" name="Slide Number Placeholder 5"/>
          <p:cNvSpPr>
            <a:spLocks noGrp="1"/>
          </p:cNvSpPr>
          <p:nvPr>
            <p:ph type="sldNum" sz="quarter" idx="4"/>
          </p:nvPr>
        </p:nvSpPr>
        <p:spPr>
          <a:xfrm>
            <a:off x="300395" y="6591227"/>
            <a:ext cx="457650" cy="266001"/>
          </a:xfrm>
          <a:prstGeom prst="rect">
            <a:avLst/>
          </a:prstGeom>
        </p:spPr>
        <p:txBody>
          <a:bodyPr vert="horz" wrap="square" lIns="91521" tIns="45761" rIns="91521" bIns="45761" rtlCol="0" anchor="b">
            <a:noAutofit/>
          </a:bodyPr>
          <a:lstStyle>
            <a:lvl1pPr>
              <a:defRPr lang="en-US" sz="1071" b="1" smtClean="0">
                <a:solidFill>
                  <a:schemeClr val="bg2">
                    <a:lumMod val="50000"/>
                  </a:schemeClr>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fld id="{B071A5F3-A4FF-4CEE-8215-C08835B585C1}" type="slidenum">
              <a:rPr kumimoji="0" lang="en-US" sz="1071" b="1" i="0" u="none" strike="noStrike" kern="1200" cap="none" spc="0" normalizeH="0" baseline="0" noProof="0" smtClean="0">
                <a:ln>
                  <a:noFill/>
                </a:ln>
                <a:solidFill>
                  <a:srgbClr val="EAEAEA">
                    <a:lumMod val="50000"/>
                  </a:srgbClr>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071" b="1" i="0" u="none" strike="noStrike" kern="1200" cap="none" spc="0" normalizeH="0" baseline="0" noProof="0" dirty="0">
              <a:ln>
                <a:noFill/>
              </a:ln>
              <a:solidFill>
                <a:srgbClr val="EAEAEA">
                  <a:lumMod val="50000"/>
                </a:srgbClr>
              </a:solidFill>
              <a:effectLst/>
              <a:uLnTx/>
              <a:uFillTx/>
              <a:latin typeface="Segoe UI"/>
              <a:ea typeface="+mn-ea"/>
              <a:cs typeface="+mn-cs"/>
            </a:endParaRPr>
          </a:p>
        </p:txBody>
      </p:sp>
      <p:sp>
        <p:nvSpPr>
          <p:cNvPr id="12" name="Text Placeholder 6"/>
          <p:cNvSpPr>
            <a:spLocks noGrp="1"/>
          </p:cNvSpPr>
          <p:nvPr>
            <p:ph type="body" sz="quarter" idx="16" hasCustomPrompt="1"/>
          </p:nvPr>
        </p:nvSpPr>
        <p:spPr>
          <a:xfrm>
            <a:off x="300395" y="6362842"/>
            <a:ext cx="10585793" cy="219733"/>
          </a:xfrm>
        </p:spPr>
        <p:txBody>
          <a:bodyPr lIns="91521" tIns="45761" rIns="91521" bIns="45761" anchor="ctr">
            <a:noAutofit/>
          </a:bodyPr>
          <a:lstStyle>
            <a:lvl1pPr marL="0" indent="0">
              <a:lnSpc>
                <a:spcPct val="100000"/>
              </a:lnSpc>
              <a:spcBef>
                <a:spcPts val="0"/>
              </a:spcBef>
              <a:spcAft>
                <a:spcPts val="0"/>
              </a:spcAft>
              <a:buFontTx/>
              <a:buNone/>
              <a:defRPr sz="816" baseline="0">
                <a:solidFill>
                  <a:schemeClr val="bg2"/>
                </a:solidFill>
              </a:defRPr>
            </a:lvl1pPr>
            <a:lvl2pPr marL="233357" indent="0">
              <a:buFontTx/>
              <a:buNone/>
              <a:defRPr sz="816">
                <a:solidFill>
                  <a:schemeClr val="bg2"/>
                </a:solidFill>
              </a:defRPr>
            </a:lvl2pPr>
            <a:lvl3pPr marL="466714" indent="0">
              <a:buFontTx/>
              <a:buNone/>
              <a:defRPr sz="816">
                <a:solidFill>
                  <a:schemeClr val="bg2"/>
                </a:solidFill>
              </a:defRPr>
            </a:lvl3pPr>
            <a:lvl4pPr marL="700072" indent="0">
              <a:buFontTx/>
              <a:buNone/>
              <a:defRPr sz="816">
                <a:solidFill>
                  <a:schemeClr val="bg2"/>
                </a:solidFill>
              </a:defRPr>
            </a:lvl4pPr>
            <a:lvl5pPr>
              <a:buFontTx/>
              <a:buNone/>
              <a:defRPr sz="816">
                <a:solidFill>
                  <a:schemeClr val="bg2"/>
                </a:solidFill>
              </a:defRPr>
            </a:lvl5pPr>
          </a:lstStyle>
          <a:p>
            <a:pPr lvl="0"/>
            <a:r>
              <a:rPr lang="en-US" dirty="0"/>
              <a:t>Click to insert source information</a:t>
            </a: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90020" y="6624481"/>
            <a:ext cx="1065387" cy="194276"/>
          </a:xfrm>
          <a:prstGeom prst="rect">
            <a:avLst/>
          </a:prstGeom>
        </p:spPr>
      </p:pic>
    </p:spTree>
    <p:extLst>
      <p:ext uri="{BB962C8B-B14F-4D97-AF65-F5344CB8AC3E}">
        <p14:creationId xmlns:p14="http://schemas.microsoft.com/office/powerpoint/2010/main" val="3541418281"/>
      </p:ext>
    </p:extLst>
  </p:cSld>
  <p:clrMapOvr>
    <a:masterClrMapping/>
  </p:clrMapOvr>
  <p:transition spd="med">
    <p:fade/>
  </p:transition>
  <p:extLst mod="1">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cSld name="3_Title Slide">
    <p:bg>
      <p:bgPr>
        <a:solidFill>
          <a:schemeClr val="lt1"/>
        </a:solidFill>
        <a:effectLst/>
      </p:bgPr>
    </p:bg>
    <p:spTree>
      <p:nvGrpSpPr>
        <p:cNvPr id="1" name="Shape 737"/>
        <p:cNvGrpSpPr/>
        <p:nvPr/>
      </p:nvGrpSpPr>
      <p:grpSpPr>
        <a:xfrm>
          <a:off x="0" y="0"/>
          <a:ext cx="0" cy="0"/>
          <a:chOff x="0" y="0"/>
          <a:chExt cx="0" cy="0"/>
        </a:xfrm>
      </p:grpSpPr>
      <p:pic>
        <p:nvPicPr>
          <p:cNvPr id="738" name="Shape 738"/>
          <p:cNvPicPr preferRelativeResize="0"/>
          <p:nvPr/>
        </p:nvPicPr>
        <p:blipFill rotWithShape="1">
          <a:blip r:embed="rId2">
            <a:alphaModFix/>
          </a:blip>
          <a:srcRect/>
          <a:stretch/>
        </p:blipFill>
        <p:spPr>
          <a:xfrm>
            <a:off x="6831025" y="0"/>
            <a:ext cx="5614367" cy="6994525"/>
          </a:xfrm>
          <a:prstGeom prst="rect">
            <a:avLst/>
          </a:prstGeom>
          <a:noFill/>
          <a:ln>
            <a:noFill/>
          </a:ln>
        </p:spPr>
      </p:pic>
      <p:sp>
        <p:nvSpPr>
          <p:cNvPr id="739" name="Shape 739"/>
          <p:cNvSpPr/>
          <p:nvPr/>
        </p:nvSpPr>
        <p:spPr>
          <a:xfrm rot="10800000">
            <a:off x="-224" y="0"/>
            <a:ext cx="8457456" cy="6994525"/>
          </a:xfrm>
          <a:custGeom>
            <a:avLst/>
            <a:gdLst/>
            <a:ahLst/>
            <a:cxnLst/>
            <a:rect l="0" t="0" r="0" b="0"/>
            <a:pathLst>
              <a:path w="120000" h="120000" extrusionOk="0">
                <a:moveTo>
                  <a:pt x="120000" y="120000"/>
                </a:moveTo>
                <a:lnTo>
                  <a:pt x="98988" y="120000"/>
                </a:lnTo>
                <a:lnTo>
                  <a:pt x="97312" y="120000"/>
                </a:lnTo>
                <a:lnTo>
                  <a:pt x="0" y="120000"/>
                </a:lnTo>
                <a:lnTo>
                  <a:pt x="21146" y="0"/>
                </a:lnTo>
                <a:lnTo>
                  <a:pt x="97312" y="0"/>
                </a:lnTo>
                <a:lnTo>
                  <a:pt x="98988" y="0"/>
                </a:lnTo>
                <a:lnTo>
                  <a:pt x="120000" y="0"/>
                </a:lnTo>
                <a:close/>
              </a:path>
            </a:pathLst>
          </a:custGeom>
          <a:solidFill>
            <a:srgbClr val="0078D7"/>
          </a:solidFill>
          <a:ln>
            <a:noFill/>
          </a:ln>
        </p:spPr>
        <p:txBody>
          <a:bodyPr lIns="93220" tIns="46610" rIns="93220" bIns="46610" anchor="t" anchorCtr="0">
            <a:noAutofit/>
          </a:bodyPr>
          <a:lstStyle/>
          <a:p>
            <a:pPr marL="0" marR="0" lvl="0" indent="0" algn="l" rtl="0">
              <a:lnSpc>
                <a:spcPct val="100000"/>
              </a:lnSpc>
              <a:spcBef>
                <a:spcPts val="0"/>
              </a:spcBef>
              <a:spcAft>
                <a:spcPts val="0"/>
              </a:spcAft>
              <a:buClr>
                <a:schemeClr val="dk1"/>
              </a:buClr>
              <a:buFont typeface="Quattrocento Sans"/>
              <a:buNone/>
            </a:pPr>
            <a:endParaRPr sz="1768" b="0" i="0" u="none" strike="noStrike" cap="none">
              <a:solidFill>
                <a:srgbClr val="000000"/>
              </a:solidFill>
              <a:latin typeface="Quattrocento Sans"/>
              <a:ea typeface="Quattrocento Sans"/>
              <a:cs typeface="Quattrocento Sans"/>
              <a:sym typeface="Quattrocento Sans"/>
            </a:endParaRPr>
          </a:p>
        </p:txBody>
      </p:sp>
      <p:sp>
        <p:nvSpPr>
          <p:cNvPr id="740" name="Shape 740"/>
          <p:cNvSpPr txBox="1">
            <a:spLocks noGrp="1"/>
          </p:cNvSpPr>
          <p:nvPr>
            <p:ph type="title"/>
          </p:nvPr>
        </p:nvSpPr>
        <p:spPr>
          <a:xfrm>
            <a:off x="373615" y="2249369"/>
            <a:ext cx="8705533" cy="2486942"/>
          </a:xfrm>
          <a:prstGeom prst="rect">
            <a:avLst/>
          </a:prstGeom>
          <a:noFill/>
          <a:ln>
            <a:noFill/>
          </a:ln>
        </p:spPr>
        <p:txBody>
          <a:bodyPr lIns="68575" tIns="68575" rIns="68575" bIns="68575" anchor="t" anchorCtr="0"/>
          <a:lstStyle>
            <a:lvl1pPr marL="0" marR="0" lvl="0" indent="0" algn="l" rtl="0">
              <a:lnSpc>
                <a:spcPct val="90000"/>
              </a:lnSpc>
              <a:spcBef>
                <a:spcPts val="0"/>
              </a:spcBef>
              <a:spcAft>
                <a:spcPts val="0"/>
              </a:spcAft>
              <a:buNone/>
              <a:defRPr sz="5440" b="0" i="0" u="none" strike="noStrike" cap="none">
                <a:solidFill>
                  <a:srgbClr val="FFFFFF"/>
                </a:solidFill>
                <a:latin typeface="Quattrocento Sans"/>
                <a:ea typeface="Quattrocento Sans"/>
                <a:cs typeface="Quattrocento Sans"/>
                <a:sym typeface="Quattrocento Sans"/>
              </a:defRPr>
            </a:lvl1pPr>
            <a:lvl2pPr marL="0" marR="0" lvl="1"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2pPr>
            <a:lvl3pPr marL="0" marR="0" lvl="2"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3pPr>
            <a:lvl4pPr marL="0" marR="0" lvl="3"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4pPr>
            <a:lvl5pPr marL="0" marR="0" lvl="4"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5pPr>
            <a:lvl6pPr marL="449039" marR="0" lvl="5"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6pPr>
            <a:lvl7pPr marL="915349" marR="0" lvl="6"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7pPr>
            <a:lvl8pPr marL="1364388" marR="0" lvl="7"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8pPr>
            <a:lvl9pPr marL="1830697" marR="0" lvl="8"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9pPr>
          </a:lstStyle>
          <a:p>
            <a:endParaRPr/>
          </a:p>
        </p:txBody>
      </p:sp>
      <p:sp>
        <p:nvSpPr>
          <p:cNvPr id="741" name="Shape 741"/>
          <p:cNvSpPr txBox="1">
            <a:spLocks noGrp="1"/>
          </p:cNvSpPr>
          <p:nvPr>
            <p:ph type="body" idx="1"/>
          </p:nvPr>
        </p:nvSpPr>
        <p:spPr>
          <a:xfrm>
            <a:off x="371367" y="3657934"/>
            <a:ext cx="7463925" cy="1078245"/>
          </a:xfrm>
          <a:prstGeom prst="rect">
            <a:avLst/>
          </a:prstGeom>
          <a:noFill/>
          <a:ln>
            <a:noFill/>
          </a:ln>
        </p:spPr>
        <p:txBody>
          <a:bodyPr lIns="68575" tIns="68575" rIns="68575" bIns="68575" anchor="t" anchorCtr="0"/>
          <a:lstStyle>
            <a:lvl1pPr marL="0" marR="0" lvl="0" indent="0" algn="l" rtl="0">
              <a:lnSpc>
                <a:spcPct val="90000"/>
              </a:lnSpc>
              <a:spcBef>
                <a:spcPts val="0"/>
              </a:spcBef>
              <a:spcAft>
                <a:spcPts val="0"/>
              </a:spcAft>
              <a:buClr>
                <a:srgbClr val="FFFFFF"/>
              </a:buClr>
              <a:buFont typeface="Arial"/>
              <a:buNone/>
              <a:defRPr sz="2448" b="0" i="0" u="none" strike="noStrike" cap="none">
                <a:solidFill>
                  <a:srgbClr val="FFFFFF"/>
                </a:solidFill>
                <a:latin typeface="Quattrocento Sans"/>
                <a:ea typeface="Quattrocento Sans"/>
                <a:cs typeface="Quattrocento Sans"/>
                <a:sym typeface="Quattrocento Sans"/>
              </a:defRPr>
            </a:lvl1pPr>
            <a:lvl2pPr marL="0" marR="0" lvl="1" indent="0" algn="l" rtl="0">
              <a:lnSpc>
                <a:spcPct val="90000"/>
              </a:lnSpc>
              <a:spcBef>
                <a:spcPts val="544"/>
              </a:spcBef>
              <a:spcAft>
                <a:spcPts val="0"/>
              </a:spcAft>
              <a:buClr>
                <a:schemeClr val="dk2"/>
              </a:buClr>
              <a:buFont typeface="Arial"/>
              <a:buNone/>
              <a:defRPr sz="2448" b="0" i="0" u="none" strike="noStrike" cap="none">
                <a:solidFill>
                  <a:schemeClr val="dk2"/>
                </a:solidFill>
                <a:latin typeface="Quattrocento Sans"/>
                <a:ea typeface="Quattrocento Sans"/>
                <a:cs typeface="Quattrocento Sans"/>
                <a:sym typeface="Quattrocento Sans"/>
              </a:defRPr>
            </a:lvl2pPr>
            <a:lvl3pPr marL="794454" marR="0" lvl="2" indent="-103624" algn="l" rtl="0">
              <a:lnSpc>
                <a:spcPct val="90000"/>
              </a:lnSpc>
              <a:spcBef>
                <a:spcPts val="408"/>
              </a:spcBef>
              <a:spcAft>
                <a:spcPts val="0"/>
              </a:spcAft>
              <a:buClr>
                <a:schemeClr val="dk2"/>
              </a:buClr>
              <a:buSzPct val="86666"/>
              <a:buFont typeface="Arial"/>
              <a:buChar char="•"/>
              <a:defRPr sz="2040" b="0" i="0" u="none" strike="noStrike" cap="none">
                <a:solidFill>
                  <a:schemeClr val="dk2"/>
                </a:solidFill>
                <a:latin typeface="Quattrocento Sans"/>
                <a:ea typeface="Quattrocento Sans"/>
                <a:cs typeface="Quattrocento Sans"/>
                <a:sym typeface="Quattrocento Sans"/>
              </a:defRPr>
            </a:lvl3pPr>
            <a:lvl4pPr marL="1036244" marR="0" lvl="3" indent="-138166" algn="l" rtl="0">
              <a:lnSpc>
                <a:spcPct val="90000"/>
              </a:lnSpc>
              <a:spcBef>
                <a:spcPts val="408"/>
              </a:spcBef>
              <a:spcAft>
                <a:spcPts val="0"/>
              </a:spcAft>
              <a:buClr>
                <a:schemeClr val="dk2"/>
              </a:buClr>
              <a:buSzPct val="85714"/>
              <a:buFont typeface="Arial"/>
              <a:buChar char="•"/>
              <a:defRPr sz="1904" b="0" i="0" u="none" strike="noStrike" cap="none">
                <a:solidFill>
                  <a:schemeClr val="dk2"/>
                </a:solidFill>
                <a:latin typeface="Quattrocento Sans"/>
                <a:ea typeface="Quattrocento Sans"/>
                <a:cs typeface="Quattrocento Sans"/>
                <a:sym typeface="Quattrocento Sans"/>
              </a:defRPr>
            </a:lvl4pPr>
            <a:lvl5pPr marL="1260763" marR="0" lvl="4" indent="-138166" algn="l" rtl="0">
              <a:lnSpc>
                <a:spcPct val="90000"/>
              </a:lnSpc>
              <a:spcBef>
                <a:spcPts val="408"/>
              </a:spcBef>
              <a:spcAft>
                <a:spcPts val="0"/>
              </a:spcAft>
              <a:buClr>
                <a:schemeClr val="dk2"/>
              </a:buClr>
              <a:buSzPct val="85714"/>
              <a:buFont typeface="Arial"/>
              <a:buChar char="•"/>
              <a:defRPr sz="1904" b="0" i="0" u="none" strike="noStrike" cap="none">
                <a:solidFill>
                  <a:schemeClr val="dk2"/>
                </a:solidFill>
                <a:latin typeface="Quattrocento Sans"/>
                <a:ea typeface="Quattrocento Sans"/>
                <a:cs typeface="Quattrocento Sans"/>
                <a:sym typeface="Quattrocento Sans"/>
              </a:defRPr>
            </a:lvl5pPr>
            <a:lvl6pPr marL="2556068" marR="0" lvl="5"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6pPr>
            <a:lvl7pPr marL="3022378" marR="0" lvl="6"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7pPr>
            <a:lvl8pPr marL="3488687" marR="0" lvl="7"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8pPr>
            <a:lvl9pPr marL="3954997" marR="0" lvl="8"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9pPr>
          </a:lstStyle>
          <a:p>
            <a:endParaRPr/>
          </a:p>
        </p:txBody>
      </p:sp>
      <p:grpSp>
        <p:nvGrpSpPr>
          <p:cNvPr id="742" name="Shape 742"/>
          <p:cNvGrpSpPr/>
          <p:nvPr/>
        </p:nvGrpSpPr>
        <p:grpSpPr>
          <a:xfrm>
            <a:off x="233184" y="6625196"/>
            <a:ext cx="886221" cy="190453"/>
            <a:chOff x="228600" y="6495880"/>
            <a:chExt cx="868800" cy="186737"/>
          </a:xfrm>
        </p:grpSpPr>
        <p:sp>
          <p:nvSpPr>
            <p:cNvPr id="743" name="Shape 743"/>
            <p:cNvSpPr/>
            <p:nvPr/>
          </p:nvSpPr>
          <p:spPr>
            <a:xfrm>
              <a:off x="228600" y="6495880"/>
              <a:ext cx="868800" cy="186600"/>
            </a:xfrm>
            <a:prstGeom prst="rect">
              <a:avLst/>
            </a:prstGeom>
            <a:noFill/>
            <a:ln>
              <a:noFill/>
            </a:ln>
          </p:spPr>
          <p:txBody>
            <a:bodyPr lIns="68575" tIns="34275" rIns="68575" bIns="34275" anchor="t" anchorCtr="0">
              <a:noAutofit/>
            </a:bodyPr>
            <a:lstStyle/>
            <a:p>
              <a:pPr marL="0" marR="0" lvl="0" indent="0" algn="l" rtl="0">
                <a:spcBef>
                  <a:spcPts val="0"/>
                </a:spcBef>
                <a:buNone/>
              </a:pPr>
              <a:endParaRPr sz="1904">
                <a:solidFill>
                  <a:schemeClr val="dk1"/>
                </a:solidFill>
                <a:latin typeface="Quattrocento Sans"/>
                <a:ea typeface="Quattrocento Sans"/>
                <a:cs typeface="Quattrocento Sans"/>
                <a:sym typeface="Quattrocento Sans"/>
              </a:endParaRPr>
            </a:p>
          </p:txBody>
        </p:sp>
        <p:sp>
          <p:nvSpPr>
            <p:cNvPr id="744" name="Shape 744"/>
            <p:cNvSpPr/>
            <p:nvPr/>
          </p:nvSpPr>
          <p:spPr>
            <a:xfrm>
              <a:off x="228600" y="6495880"/>
              <a:ext cx="87000" cy="88200"/>
            </a:xfrm>
            <a:custGeom>
              <a:avLst/>
              <a:gdLst/>
              <a:ahLst/>
              <a:cxnLst/>
              <a:rect l="0" t="0" r="0" b="0"/>
              <a:pathLst>
                <a:path w="120000" h="120000" extrusionOk="0">
                  <a:moveTo>
                    <a:pt x="0" y="0"/>
                  </a:moveTo>
                  <a:cubicBezTo>
                    <a:pt x="120000" y="0"/>
                    <a:pt x="120000" y="0"/>
                    <a:pt x="120000" y="0"/>
                  </a:cubicBezTo>
                  <a:cubicBezTo>
                    <a:pt x="120000" y="40258"/>
                    <a:pt x="120000" y="80516"/>
                    <a:pt x="120000" y="120000"/>
                  </a:cubicBezTo>
                  <a:cubicBezTo>
                    <a:pt x="80259" y="120000"/>
                    <a:pt x="39740" y="120000"/>
                    <a:pt x="0" y="120000"/>
                  </a:cubicBezTo>
                  <a:cubicBezTo>
                    <a:pt x="0" y="0"/>
                    <a:pt x="0" y="0"/>
                    <a:pt x="0" y="0"/>
                  </a:cubicBezTo>
                  <a:close/>
                </a:path>
              </a:pathLst>
            </a:custGeom>
            <a:solidFill>
              <a:srgbClr val="EF5125"/>
            </a:solidFill>
            <a:ln>
              <a:noFill/>
            </a:ln>
          </p:spPr>
          <p:txBody>
            <a:bodyPr lIns="68575" tIns="34275" rIns="68575" bIns="34275" anchor="t" anchorCtr="0">
              <a:noAutofit/>
            </a:bodyPr>
            <a:lstStyle/>
            <a:p>
              <a:pPr marL="0" marR="0" lvl="0" indent="0" algn="l" rtl="0">
                <a:spcBef>
                  <a:spcPts val="0"/>
                </a:spcBef>
                <a:buNone/>
              </a:pPr>
              <a:endParaRPr sz="1904">
                <a:solidFill>
                  <a:schemeClr val="dk1"/>
                </a:solidFill>
                <a:latin typeface="Quattrocento Sans"/>
                <a:ea typeface="Quattrocento Sans"/>
                <a:cs typeface="Quattrocento Sans"/>
                <a:sym typeface="Quattrocento Sans"/>
              </a:endParaRPr>
            </a:p>
          </p:txBody>
        </p:sp>
        <p:sp>
          <p:nvSpPr>
            <p:cNvPr id="745" name="Shape 745"/>
            <p:cNvSpPr/>
            <p:nvPr/>
          </p:nvSpPr>
          <p:spPr>
            <a:xfrm>
              <a:off x="324543" y="6495880"/>
              <a:ext cx="89400" cy="88200"/>
            </a:xfrm>
            <a:custGeom>
              <a:avLst/>
              <a:gdLst/>
              <a:ahLst/>
              <a:cxnLst/>
              <a:rect l="0" t="0" r="0" b="0"/>
              <a:pathLst>
                <a:path w="120000" h="120000" extrusionOk="0">
                  <a:moveTo>
                    <a:pt x="0" y="0"/>
                  </a:moveTo>
                  <a:cubicBezTo>
                    <a:pt x="120000" y="0"/>
                    <a:pt x="120000" y="0"/>
                    <a:pt x="120000" y="0"/>
                  </a:cubicBezTo>
                  <a:cubicBezTo>
                    <a:pt x="120000" y="40258"/>
                    <a:pt x="120000" y="80516"/>
                    <a:pt x="120000" y="120000"/>
                  </a:cubicBezTo>
                  <a:cubicBezTo>
                    <a:pt x="79741" y="120000"/>
                    <a:pt x="39483" y="120000"/>
                    <a:pt x="0" y="120000"/>
                  </a:cubicBezTo>
                  <a:cubicBezTo>
                    <a:pt x="0" y="80516"/>
                    <a:pt x="0" y="40258"/>
                    <a:pt x="0" y="0"/>
                  </a:cubicBezTo>
                  <a:close/>
                </a:path>
              </a:pathLst>
            </a:custGeom>
            <a:solidFill>
              <a:srgbClr val="80BA42"/>
            </a:solidFill>
            <a:ln>
              <a:noFill/>
            </a:ln>
          </p:spPr>
          <p:txBody>
            <a:bodyPr lIns="68575" tIns="34275" rIns="68575" bIns="34275" anchor="t" anchorCtr="0">
              <a:noAutofit/>
            </a:bodyPr>
            <a:lstStyle/>
            <a:p>
              <a:pPr marL="0" marR="0" lvl="0" indent="0" algn="l" rtl="0">
                <a:spcBef>
                  <a:spcPts val="0"/>
                </a:spcBef>
                <a:buNone/>
              </a:pPr>
              <a:endParaRPr sz="1904">
                <a:solidFill>
                  <a:schemeClr val="dk1"/>
                </a:solidFill>
                <a:latin typeface="Quattrocento Sans"/>
                <a:ea typeface="Quattrocento Sans"/>
                <a:cs typeface="Quattrocento Sans"/>
                <a:sym typeface="Quattrocento Sans"/>
              </a:endParaRPr>
            </a:p>
          </p:txBody>
        </p:sp>
        <p:sp>
          <p:nvSpPr>
            <p:cNvPr id="746" name="Shape 746"/>
            <p:cNvSpPr/>
            <p:nvPr/>
          </p:nvSpPr>
          <p:spPr>
            <a:xfrm>
              <a:off x="998742" y="6523107"/>
              <a:ext cx="98400" cy="124500"/>
            </a:xfrm>
            <a:custGeom>
              <a:avLst/>
              <a:gdLst/>
              <a:ahLst/>
              <a:cxnLst/>
              <a:rect l="0" t="0" r="0" b="0"/>
              <a:pathLst>
                <a:path w="120000" h="120000" extrusionOk="0">
                  <a:moveTo>
                    <a:pt x="31213" y="5581"/>
                  </a:moveTo>
                  <a:cubicBezTo>
                    <a:pt x="40924" y="558"/>
                    <a:pt x="53410" y="0"/>
                    <a:pt x="65202" y="2790"/>
                  </a:cubicBezTo>
                  <a:cubicBezTo>
                    <a:pt x="65202" y="7813"/>
                    <a:pt x="65202" y="13395"/>
                    <a:pt x="65202" y="18418"/>
                  </a:cubicBezTo>
                  <a:cubicBezTo>
                    <a:pt x="59653" y="16744"/>
                    <a:pt x="53410" y="15627"/>
                    <a:pt x="47861" y="17302"/>
                  </a:cubicBezTo>
                  <a:cubicBezTo>
                    <a:pt x="43699" y="18976"/>
                    <a:pt x="40924" y="22325"/>
                    <a:pt x="40231" y="26232"/>
                  </a:cubicBezTo>
                  <a:cubicBezTo>
                    <a:pt x="39537" y="30697"/>
                    <a:pt x="39537" y="35162"/>
                    <a:pt x="39537" y="40186"/>
                  </a:cubicBezTo>
                  <a:cubicBezTo>
                    <a:pt x="51329" y="40186"/>
                    <a:pt x="62427" y="40186"/>
                    <a:pt x="73526" y="40186"/>
                  </a:cubicBezTo>
                  <a:cubicBezTo>
                    <a:pt x="73526" y="34046"/>
                    <a:pt x="73526" y="28465"/>
                    <a:pt x="73526" y="22325"/>
                  </a:cubicBezTo>
                  <a:cubicBezTo>
                    <a:pt x="81156" y="20651"/>
                    <a:pt x="88786" y="18418"/>
                    <a:pt x="96416" y="16744"/>
                  </a:cubicBezTo>
                  <a:cubicBezTo>
                    <a:pt x="96416" y="24558"/>
                    <a:pt x="96416" y="32372"/>
                    <a:pt x="96416" y="40186"/>
                  </a:cubicBezTo>
                  <a:cubicBezTo>
                    <a:pt x="104046" y="40186"/>
                    <a:pt x="112369" y="40186"/>
                    <a:pt x="120000" y="40186"/>
                  </a:cubicBezTo>
                  <a:cubicBezTo>
                    <a:pt x="120000" y="55255"/>
                    <a:pt x="120000" y="55255"/>
                    <a:pt x="120000" y="55255"/>
                  </a:cubicBezTo>
                  <a:cubicBezTo>
                    <a:pt x="111676" y="54697"/>
                    <a:pt x="104046" y="55255"/>
                    <a:pt x="96416" y="55255"/>
                  </a:cubicBezTo>
                  <a:cubicBezTo>
                    <a:pt x="96416" y="63627"/>
                    <a:pt x="96416" y="72558"/>
                    <a:pt x="96416" y="81488"/>
                  </a:cubicBezTo>
                  <a:cubicBezTo>
                    <a:pt x="97109" y="85953"/>
                    <a:pt x="96416" y="90976"/>
                    <a:pt x="97109" y="96000"/>
                  </a:cubicBezTo>
                  <a:cubicBezTo>
                    <a:pt x="97803" y="98790"/>
                    <a:pt x="98497" y="101581"/>
                    <a:pt x="101965" y="103255"/>
                  </a:cubicBezTo>
                  <a:cubicBezTo>
                    <a:pt x="107514" y="105488"/>
                    <a:pt x="114450" y="104372"/>
                    <a:pt x="120000" y="101581"/>
                  </a:cubicBezTo>
                  <a:cubicBezTo>
                    <a:pt x="120000" y="117209"/>
                    <a:pt x="120000" y="117209"/>
                    <a:pt x="120000" y="117209"/>
                  </a:cubicBezTo>
                  <a:cubicBezTo>
                    <a:pt x="113063" y="119441"/>
                    <a:pt x="105433" y="120000"/>
                    <a:pt x="98497" y="120000"/>
                  </a:cubicBezTo>
                  <a:cubicBezTo>
                    <a:pt x="91560" y="119441"/>
                    <a:pt x="84624" y="117209"/>
                    <a:pt x="80462" y="112744"/>
                  </a:cubicBezTo>
                  <a:cubicBezTo>
                    <a:pt x="74913" y="108279"/>
                    <a:pt x="73526" y="101581"/>
                    <a:pt x="73526" y="95441"/>
                  </a:cubicBezTo>
                  <a:cubicBezTo>
                    <a:pt x="73526" y="82046"/>
                    <a:pt x="73526" y="68651"/>
                    <a:pt x="73526" y="55255"/>
                  </a:cubicBezTo>
                  <a:cubicBezTo>
                    <a:pt x="62427" y="55255"/>
                    <a:pt x="51329" y="55255"/>
                    <a:pt x="39537" y="55255"/>
                  </a:cubicBezTo>
                  <a:cubicBezTo>
                    <a:pt x="39537" y="75906"/>
                    <a:pt x="39537" y="97116"/>
                    <a:pt x="39537" y="118325"/>
                  </a:cubicBezTo>
                  <a:cubicBezTo>
                    <a:pt x="31907" y="118325"/>
                    <a:pt x="24277" y="118325"/>
                    <a:pt x="16647" y="118325"/>
                  </a:cubicBezTo>
                  <a:cubicBezTo>
                    <a:pt x="16647" y="97116"/>
                    <a:pt x="16647" y="75906"/>
                    <a:pt x="16647" y="55255"/>
                  </a:cubicBezTo>
                  <a:cubicBezTo>
                    <a:pt x="11098" y="55255"/>
                    <a:pt x="5549" y="55255"/>
                    <a:pt x="693" y="55255"/>
                  </a:cubicBezTo>
                  <a:cubicBezTo>
                    <a:pt x="693" y="50232"/>
                    <a:pt x="693" y="45209"/>
                    <a:pt x="0" y="40186"/>
                  </a:cubicBezTo>
                  <a:cubicBezTo>
                    <a:pt x="5549" y="40186"/>
                    <a:pt x="11098" y="40186"/>
                    <a:pt x="16647" y="40186"/>
                  </a:cubicBezTo>
                  <a:cubicBezTo>
                    <a:pt x="16647" y="33488"/>
                    <a:pt x="15260" y="26790"/>
                    <a:pt x="18034" y="20093"/>
                  </a:cubicBezTo>
                  <a:cubicBezTo>
                    <a:pt x="20115" y="14511"/>
                    <a:pt x="24971" y="8930"/>
                    <a:pt x="31213" y="5581"/>
                  </a:cubicBezTo>
                  <a:close/>
                </a:path>
              </a:pathLst>
            </a:custGeom>
            <a:solidFill>
              <a:schemeClr val="dk1"/>
            </a:solidFill>
            <a:ln>
              <a:noFill/>
            </a:ln>
          </p:spPr>
          <p:txBody>
            <a:bodyPr lIns="68575" tIns="34275" rIns="68575" bIns="34275" anchor="t" anchorCtr="0">
              <a:noAutofit/>
            </a:bodyPr>
            <a:lstStyle/>
            <a:p>
              <a:pPr marL="0" marR="0" lvl="0" indent="0" algn="l" rtl="0">
                <a:spcBef>
                  <a:spcPts val="0"/>
                </a:spcBef>
                <a:buNone/>
              </a:pPr>
              <a:endParaRPr sz="1904">
                <a:solidFill>
                  <a:schemeClr val="dk1"/>
                </a:solidFill>
                <a:latin typeface="Quattrocento Sans"/>
                <a:ea typeface="Quattrocento Sans"/>
                <a:cs typeface="Quattrocento Sans"/>
                <a:sym typeface="Quattrocento Sans"/>
              </a:endParaRPr>
            </a:p>
          </p:txBody>
        </p:sp>
        <p:sp>
          <p:nvSpPr>
            <p:cNvPr id="747" name="Shape 747"/>
            <p:cNvSpPr/>
            <p:nvPr/>
          </p:nvSpPr>
          <p:spPr>
            <a:xfrm>
              <a:off x="605893" y="6529589"/>
              <a:ext cx="23400" cy="23400"/>
            </a:xfrm>
            <a:custGeom>
              <a:avLst/>
              <a:gdLst/>
              <a:ahLst/>
              <a:cxnLst/>
              <a:rect l="0" t="0" r="0" b="0"/>
              <a:pathLst>
                <a:path w="120000" h="120000" extrusionOk="0">
                  <a:moveTo>
                    <a:pt x="48571" y="2926"/>
                  </a:moveTo>
                  <a:cubicBezTo>
                    <a:pt x="68571" y="0"/>
                    <a:pt x="88571" y="8780"/>
                    <a:pt x="100000" y="23414"/>
                  </a:cubicBezTo>
                  <a:cubicBezTo>
                    <a:pt x="117142" y="40975"/>
                    <a:pt x="120000" y="67317"/>
                    <a:pt x="108571" y="87804"/>
                  </a:cubicBezTo>
                  <a:cubicBezTo>
                    <a:pt x="94285" y="108292"/>
                    <a:pt x="68571" y="120000"/>
                    <a:pt x="42857" y="114146"/>
                  </a:cubicBezTo>
                  <a:cubicBezTo>
                    <a:pt x="20000" y="108292"/>
                    <a:pt x="0" y="84878"/>
                    <a:pt x="0" y="58536"/>
                  </a:cubicBezTo>
                  <a:cubicBezTo>
                    <a:pt x="0" y="32195"/>
                    <a:pt x="22857" y="5853"/>
                    <a:pt x="48571" y="2926"/>
                  </a:cubicBezTo>
                  <a:close/>
                </a:path>
              </a:pathLst>
            </a:custGeom>
            <a:solidFill>
              <a:schemeClr val="dk1"/>
            </a:solidFill>
            <a:ln>
              <a:noFill/>
            </a:ln>
          </p:spPr>
          <p:txBody>
            <a:bodyPr lIns="68575" tIns="34275" rIns="68575" bIns="34275" anchor="t" anchorCtr="0">
              <a:noAutofit/>
            </a:bodyPr>
            <a:lstStyle/>
            <a:p>
              <a:pPr marL="0" marR="0" lvl="0" indent="0" algn="l" rtl="0">
                <a:spcBef>
                  <a:spcPts val="0"/>
                </a:spcBef>
                <a:buNone/>
              </a:pPr>
              <a:endParaRPr sz="1904">
                <a:solidFill>
                  <a:schemeClr val="dk1"/>
                </a:solidFill>
                <a:latin typeface="Quattrocento Sans"/>
                <a:ea typeface="Quattrocento Sans"/>
                <a:cs typeface="Quattrocento Sans"/>
                <a:sym typeface="Quattrocento Sans"/>
              </a:endParaRPr>
            </a:p>
          </p:txBody>
        </p:sp>
        <p:sp>
          <p:nvSpPr>
            <p:cNvPr id="748" name="Shape 748"/>
            <p:cNvSpPr/>
            <p:nvPr/>
          </p:nvSpPr>
          <p:spPr>
            <a:xfrm>
              <a:off x="468460" y="6532182"/>
              <a:ext cx="120600" cy="114000"/>
            </a:xfrm>
            <a:custGeom>
              <a:avLst/>
              <a:gdLst/>
              <a:ahLst/>
              <a:cxnLst/>
              <a:rect l="0" t="0" r="0" b="0"/>
              <a:pathLst>
                <a:path w="120000" h="120000" extrusionOk="0">
                  <a:moveTo>
                    <a:pt x="0" y="0"/>
                  </a:moveTo>
                  <a:cubicBezTo>
                    <a:pt x="9099" y="0"/>
                    <a:pt x="18199" y="0"/>
                    <a:pt x="27298" y="0"/>
                  </a:cubicBezTo>
                  <a:cubicBezTo>
                    <a:pt x="35829" y="23877"/>
                    <a:pt x="44928" y="47142"/>
                    <a:pt x="53459" y="71020"/>
                  </a:cubicBezTo>
                  <a:cubicBezTo>
                    <a:pt x="55734" y="76530"/>
                    <a:pt x="57440" y="82653"/>
                    <a:pt x="59715" y="88775"/>
                  </a:cubicBezTo>
                  <a:cubicBezTo>
                    <a:pt x="71090" y="59387"/>
                    <a:pt x="82464" y="29999"/>
                    <a:pt x="93270" y="612"/>
                  </a:cubicBezTo>
                  <a:cubicBezTo>
                    <a:pt x="101800" y="0"/>
                    <a:pt x="110900" y="612"/>
                    <a:pt x="120000" y="612"/>
                  </a:cubicBezTo>
                  <a:cubicBezTo>
                    <a:pt x="120000" y="40408"/>
                    <a:pt x="120000" y="80204"/>
                    <a:pt x="120000" y="119387"/>
                  </a:cubicBezTo>
                  <a:cubicBezTo>
                    <a:pt x="113175" y="119387"/>
                    <a:pt x="106919" y="119999"/>
                    <a:pt x="100663" y="119387"/>
                  </a:cubicBezTo>
                  <a:cubicBezTo>
                    <a:pt x="100663" y="89999"/>
                    <a:pt x="100663" y="61224"/>
                    <a:pt x="100663" y="31836"/>
                  </a:cubicBezTo>
                  <a:cubicBezTo>
                    <a:pt x="100663" y="29999"/>
                    <a:pt x="100663" y="28775"/>
                    <a:pt x="100663" y="27551"/>
                  </a:cubicBezTo>
                  <a:cubicBezTo>
                    <a:pt x="100094" y="28163"/>
                    <a:pt x="100094" y="28775"/>
                    <a:pt x="99526" y="29387"/>
                  </a:cubicBezTo>
                  <a:cubicBezTo>
                    <a:pt x="88720" y="59387"/>
                    <a:pt x="77345" y="89387"/>
                    <a:pt x="66540" y="119387"/>
                  </a:cubicBezTo>
                  <a:cubicBezTo>
                    <a:pt x="61990" y="119999"/>
                    <a:pt x="57440" y="119387"/>
                    <a:pt x="52890" y="119999"/>
                  </a:cubicBezTo>
                  <a:cubicBezTo>
                    <a:pt x="41516" y="89387"/>
                    <a:pt x="30142" y="59387"/>
                    <a:pt x="18767" y="29387"/>
                  </a:cubicBezTo>
                  <a:cubicBezTo>
                    <a:pt x="18767" y="28775"/>
                    <a:pt x="18199" y="28163"/>
                    <a:pt x="18199" y="27551"/>
                  </a:cubicBezTo>
                  <a:cubicBezTo>
                    <a:pt x="17630" y="40408"/>
                    <a:pt x="18199" y="53265"/>
                    <a:pt x="17630" y="66122"/>
                  </a:cubicBezTo>
                  <a:cubicBezTo>
                    <a:pt x="17630" y="83877"/>
                    <a:pt x="17630" y="101632"/>
                    <a:pt x="17630" y="119387"/>
                  </a:cubicBezTo>
                  <a:cubicBezTo>
                    <a:pt x="11943" y="119999"/>
                    <a:pt x="5687" y="119387"/>
                    <a:pt x="0" y="119999"/>
                  </a:cubicBezTo>
                  <a:cubicBezTo>
                    <a:pt x="0" y="80204"/>
                    <a:pt x="0" y="39795"/>
                    <a:pt x="0" y="0"/>
                  </a:cubicBezTo>
                  <a:close/>
                </a:path>
              </a:pathLst>
            </a:custGeom>
            <a:solidFill>
              <a:schemeClr val="dk1"/>
            </a:solidFill>
            <a:ln>
              <a:noFill/>
            </a:ln>
          </p:spPr>
          <p:txBody>
            <a:bodyPr lIns="68575" tIns="34275" rIns="68575" bIns="34275" anchor="t" anchorCtr="0">
              <a:noAutofit/>
            </a:bodyPr>
            <a:lstStyle/>
            <a:p>
              <a:pPr marL="0" marR="0" lvl="0" indent="0" algn="l" rtl="0">
                <a:spcBef>
                  <a:spcPts val="0"/>
                </a:spcBef>
                <a:buNone/>
              </a:pPr>
              <a:endParaRPr sz="1904">
                <a:solidFill>
                  <a:schemeClr val="dk1"/>
                </a:solidFill>
                <a:latin typeface="Quattrocento Sans"/>
                <a:ea typeface="Quattrocento Sans"/>
                <a:cs typeface="Quattrocento Sans"/>
                <a:sym typeface="Quattrocento Sans"/>
              </a:endParaRPr>
            </a:p>
          </p:txBody>
        </p:sp>
        <p:sp>
          <p:nvSpPr>
            <p:cNvPr id="749" name="Shape 749"/>
            <p:cNvSpPr/>
            <p:nvPr/>
          </p:nvSpPr>
          <p:spPr>
            <a:xfrm>
              <a:off x="638306" y="6562003"/>
              <a:ext cx="63600" cy="85500"/>
            </a:xfrm>
            <a:custGeom>
              <a:avLst/>
              <a:gdLst/>
              <a:ahLst/>
              <a:cxnLst/>
              <a:rect l="0" t="0" r="0" b="0"/>
              <a:pathLst>
                <a:path w="120000" h="120000" extrusionOk="0">
                  <a:moveTo>
                    <a:pt x="55636" y="4054"/>
                  </a:moveTo>
                  <a:cubicBezTo>
                    <a:pt x="73090" y="0"/>
                    <a:pt x="91636" y="0"/>
                    <a:pt x="110181" y="4054"/>
                  </a:cubicBezTo>
                  <a:cubicBezTo>
                    <a:pt x="113454" y="4864"/>
                    <a:pt x="116727" y="5675"/>
                    <a:pt x="120000" y="7297"/>
                  </a:cubicBezTo>
                  <a:cubicBezTo>
                    <a:pt x="120000" y="15405"/>
                    <a:pt x="120000" y="24324"/>
                    <a:pt x="120000" y="33243"/>
                  </a:cubicBezTo>
                  <a:cubicBezTo>
                    <a:pt x="108000" y="25945"/>
                    <a:pt x="93818" y="21891"/>
                    <a:pt x="78545" y="23513"/>
                  </a:cubicBezTo>
                  <a:cubicBezTo>
                    <a:pt x="66545" y="24324"/>
                    <a:pt x="55636" y="29189"/>
                    <a:pt x="48000" y="35675"/>
                  </a:cubicBezTo>
                  <a:cubicBezTo>
                    <a:pt x="39272" y="44594"/>
                    <a:pt x="37090" y="56756"/>
                    <a:pt x="38181" y="67297"/>
                  </a:cubicBezTo>
                  <a:cubicBezTo>
                    <a:pt x="39272" y="76216"/>
                    <a:pt x="44727" y="84324"/>
                    <a:pt x="53454" y="90000"/>
                  </a:cubicBezTo>
                  <a:cubicBezTo>
                    <a:pt x="62181" y="95675"/>
                    <a:pt x="75272" y="98108"/>
                    <a:pt x="87272" y="97297"/>
                  </a:cubicBezTo>
                  <a:cubicBezTo>
                    <a:pt x="99272" y="96486"/>
                    <a:pt x="110181" y="92432"/>
                    <a:pt x="120000" y="87567"/>
                  </a:cubicBezTo>
                  <a:cubicBezTo>
                    <a:pt x="120000" y="95675"/>
                    <a:pt x="120000" y="103783"/>
                    <a:pt x="120000" y="111891"/>
                  </a:cubicBezTo>
                  <a:cubicBezTo>
                    <a:pt x="104727" y="118378"/>
                    <a:pt x="87272" y="120000"/>
                    <a:pt x="69818" y="120000"/>
                  </a:cubicBezTo>
                  <a:cubicBezTo>
                    <a:pt x="52363" y="119189"/>
                    <a:pt x="34909" y="114324"/>
                    <a:pt x="22909" y="104594"/>
                  </a:cubicBezTo>
                  <a:cubicBezTo>
                    <a:pt x="8727" y="94864"/>
                    <a:pt x="1090" y="81081"/>
                    <a:pt x="1090" y="67297"/>
                  </a:cubicBezTo>
                  <a:cubicBezTo>
                    <a:pt x="0" y="52702"/>
                    <a:pt x="3272" y="37297"/>
                    <a:pt x="15272" y="25135"/>
                  </a:cubicBezTo>
                  <a:cubicBezTo>
                    <a:pt x="24000" y="14594"/>
                    <a:pt x="39272" y="7297"/>
                    <a:pt x="55636" y="4054"/>
                  </a:cubicBezTo>
                  <a:close/>
                </a:path>
              </a:pathLst>
            </a:custGeom>
            <a:solidFill>
              <a:schemeClr val="dk1"/>
            </a:solidFill>
            <a:ln>
              <a:noFill/>
            </a:ln>
          </p:spPr>
          <p:txBody>
            <a:bodyPr lIns="68575" tIns="34275" rIns="68575" bIns="34275" anchor="t" anchorCtr="0">
              <a:noAutofit/>
            </a:bodyPr>
            <a:lstStyle/>
            <a:p>
              <a:pPr marL="0" marR="0" lvl="0" indent="0" algn="l" rtl="0">
                <a:spcBef>
                  <a:spcPts val="0"/>
                </a:spcBef>
                <a:buNone/>
              </a:pPr>
              <a:endParaRPr sz="1904">
                <a:solidFill>
                  <a:schemeClr val="dk1"/>
                </a:solidFill>
                <a:latin typeface="Quattrocento Sans"/>
                <a:ea typeface="Quattrocento Sans"/>
                <a:cs typeface="Quattrocento Sans"/>
                <a:sym typeface="Quattrocento Sans"/>
              </a:endParaRPr>
            </a:p>
          </p:txBody>
        </p:sp>
        <p:sp>
          <p:nvSpPr>
            <p:cNvPr id="750" name="Shape 750"/>
            <p:cNvSpPr/>
            <p:nvPr/>
          </p:nvSpPr>
          <p:spPr>
            <a:xfrm>
              <a:off x="853530" y="6562003"/>
              <a:ext cx="55800" cy="85500"/>
            </a:xfrm>
            <a:custGeom>
              <a:avLst/>
              <a:gdLst/>
              <a:ahLst/>
              <a:cxnLst/>
              <a:rect l="0" t="0" r="0" b="0"/>
              <a:pathLst>
                <a:path w="120000" h="120000" extrusionOk="0">
                  <a:moveTo>
                    <a:pt x="49484" y="1621"/>
                  </a:moveTo>
                  <a:cubicBezTo>
                    <a:pt x="69278" y="0"/>
                    <a:pt x="89072" y="1621"/>
                    <a:pt x="106391" y="5675"/>
                  </a:cubicBezTo>
                  <a:cubicBezTo>
                    <a:pt x="106391" y="14594"/>
                    <a:pt x="106391" y="22702"/>
                    <a:pt x="106391" y="30810"/>
                  </a:cubicBezTo>
                  <a:cubicBezTo>
                    <a:pt x="94020" y="25135"/>
                    <a:pt x="79175" y="21891"/>
                    <a:pt x="63092" y="22702"/>
                  </a:cubicBezTo>
                  <a:cubicBezTo>
                    <a:pt x="55670" y="22702"/>
                    <a:pt x="47010" y="25135"/>
                    <a:pt x="43298" y="29189"/>
                  </a:cubicBezTo>
                  <a:cubicBezTo>
                    <a:pt x="40824" y="34054"/>
                    <a:pt x="43298" y="40540"/>
                    <a:pt x="49484" y="43783"/>
                  </a:cubicBezTo>
                  <a:cubicBezTo>
                    <a:pt x="61855" y="48648"/>
                    <a:pt x="75463" y="51081"/>
                    <a:pt x="87835" y="55135"/>
                  </a:cubicBezTo>
                  <a:cubicBezTo>
                    <a:pt x="97731" y="59189"/>
                    <a:pt x="106391" y="63243"/>
                    <a:pt x="111340" y="70540"/>
                  </a:cubicBezTo>
                  <a:cubicBezTo>
                    <a:pt x="120000" y="82702"/>
                    <a:pt x="116288" y="98918"/>
                    <a:pt x="100206" y="108648"/>
                  </a:cubicBezTo>
                  <a:cubicBezTo>
                    <a:pt x="85360" y="117567"/>
                    <a:pt x="63092" y="120000"/>
                    <a:pt x="43298" y="120000"/>
                  </a:cubicBezTo>
                  <a:cubicBezTo>
                    <a:pt x="28453" y="119189"/>
                    <a:pt x="13608" y="117567"/>
                    <a:pt x="1237" y="113513"/>
                  </a:cubicBezTo>
                  <a:cubicBezTo>
                    <a:pt x="1237" y="104594"/>
                    <a:pt x="1237" y="95675"/>
                    <a:pt x="1237" y="87567"/>
                  </a:cubicBezTo>
                  <a:cubicBezTo>
                    <a:pt x="12371" y="92432"/>
                    <a:pt x="24742" y="96486"/>
                    <a:pt x="38350" y="98108"/>
                  </a:cubicBezTo>
                  <a:cubicBezTo>
                    <a:pt x="48247" y="98918"/>
                    <a:pt x="58144" y="98918"/>
                    <a:pt x="66804" y="96486"/>
                  </a:cubicBezTo>
                  <a:cubicBezTo>
                    <a:pt x="75463" y="93243"/>
                    <a:pt x="76701" y="85945"/>
                    <a:pt x="71752" y="81081"/>
                  </a:cubicBezTo>
                  <a:cubicBezTo>
                    <a:pt x="66804" y="77027"/>
                    <a:pt x="60618" y="74594"/>
                    <a:pt x="54432" y="72972"/>
                  </a:cubicBezTo>
                  <a:cubicBezTo>
                    <a:pt x="42061" y="69729"/>
                    <a:pt x="28453" y="66486"/>
                    <a:pt x="18556" y="60810"/>
                  </a:cubicBezTo>
                  <a:cubicBezTo>
                    <a:pt x="11134" y="57567"/>
                    <a:pt x="4948" y="51891"/>
                    <a:pt x="2474" y="45405"/>
                  </a:cubicBezTo>
                  <a:cubicBezTo>
                    <a:pt x="0" y="36486"/>
                    <a:pt x="0" y="26756"/>
                    <a:pt x="8659" y="18648"/>
                  </a:cubicBezTo>
                  <a:cubicBezTo>
                    <a:pt x="17319" y="9729"/>
                    <a:pt x="33402" y="4054"/>
                    <a:pt x="49484" y="1621"/>
                  </a:cubicBezTo>
                  <a:close/>
                </a:path>
              </a:pathLst>
            </a:custGeom>
            <a:solidFill>
              <a:schemeClr val="dk1"/>
            </a:solidFill>
            <a:ln>
              <a:noFill/>
            </a:ln>
          </p:spPr>
          <p:txBody>
            <a:bodyPr lIns="68575" tIns="34275" rIns="68575" bIns="34275" anchor="t" anchorCtr="0">
              <a:noAutofit/>
            </a:bodyPr>
            <a:lstStyle/>
            <a:p>
              <a:pPr marL="0" marR="0" lvl="0" indent="0" algn="l" rtl="0">
                <a:spcBef>
                  <a:spcPts val="0"/>
                </a:spcBef>
                <a:buNone/>
              </a:pPr>
              <a:endParaRPr sz="1904">
                <a:solidFill>
                  <a:schemeClr val="dk1"/>
                </a:solidFill>
                <a:latin typeface="Quattrocento Sans"/>
                <a:ea typeface="Quattrocento Sans"/>
                <a:cs typeface="Quattrocento Sans"/>
                <a:sym typeface="Quattrocento Sans"/>
              </a:endParaRPr>
            </a:p>
          </p:txBody>
        </p:sp>
        <p:sp>
          <p:nvSpPr>
            <p:cNvPr id="751" name="Shape 751"/>
            <p:cNvSpPr/>
            <p:nvPr/>
          </p:nvSpPr>
          <p:spPr>
            <a:xfrm>
              <a:off x="716097" y="6563300"/>
              <a:ext cx="45300" cy="83100"/>
            </a:xfrm>
            <a:custGeom>
              <a:avLst/>
              <a:gdLst/>
              <a:ahLst/>
              <a:cxnLst/>
              <a:rect l="0" t="0" r="0" b="0"/>
              <a:pathLst>
                <a:path w="120000" h="120000" extrusionOk="0">
                  <a:moveTo>
                    <a:pt x="74074" y="5000"/>
                  </a:moveTo>
                  <a:cubicBezTo>
                    <a:pt x="87407" y="0"/>
                    <a:pt x="105185" y="0"/>
                    <a:pt x="120000" y="2500"/>
                  </a:cubicBezTo>
                  <a:cubicBezTo>
                    <a:pt x="120000" y="11666"/>
                    <a:pt x="120000" y="21666"/>
                    <a:pt x="120000" y="30833"/>
                  </a:cubicBezTo>
                  <a:cubicBezTo>
                    <a:pt x="109629" y="26666"/>
                    <a:pt x="97777" y="25833"/>
                    <a:pt x="85925" y="25833"/>
                  </a:cubicBezTo>
                  <a:cubicBezTo>
                    <a:pt x="72592" y="26666"/>
                    <a:pt x="60740" y="33333"/>
                    <a:pt x="54814" y="40000"/>
                  </a:cubicBezTo>
                  <a:cubicBezTo>
                    <a:pt x="48888" y="47500"/>
                    <a:pt x="47407" y="55833"/>
                    <a:pt x="48888" y="64166"/>
                  </a:cubicBezTo>
                  <a:cubicBezTo>
                    <a:pt x="48888" y="82500"/>
                    <a:pt x="48888" y="100833"/>
                    <a:pt x="48888" y="120000"/>
                  </a:cubicBezTo>
                  <a:cubicBezTo>
                    <a:pt x="32592" y="120000"/>
                    <a:pt x="16296" y="120000"/>
                    <a:pt x="0" y="120000"/>
                  </a:cubicBezTo>
                  <a:cubicBezTo>
                    <a:pt x="0" y="80833"/>
                    <a:pt x="0" y="41666"/>
                    <a:pt x="0" y="3333"/>
                  </a:cubicBezTo>
                  <a:cubicBezTo>
                    <a:pt x="16296" y="3333"/>
                    <a:pt x="32592" y="3333"/>
                    <a:pt x="48888" y="3333"/>
                  </a:cubicBezTo>
                  <a:cubicBezTo>
                    <a:pt x="48888" y="10000"/>
                    <a:pt x="48888" y="16666"/>
                    <a:pt x="48888" y="23333"/>
                  </a:cubicBezTo>
                  <a:cubicBezTo>
                    <a:pt x="53333" y="15833"/>
                    <a:pt x="60740" y="9166"/>
                    <a:pt x="74074" y="5000"/>
                  </a:cubicBezTo>
                  <a:close/>
                </a:path>
              </a:pathLst>
            </a:custGeom>
            <a:solidFill>
              <a:schemeClr val="dk1"/>
            </a:solidFill>
            <a:ln>
              <a:noFill/>
            </a:ln>
          </p:spPr>
          <p:txBody>
            <a:bodyPr lIns="68575" tIns="34275" rIns="68575" bIns="34275" anchor="t" anchorCtr="0">
              <a:noAutofit/>
            </a:bodyPr>
            <a:lstStyle/>
            <a:p>
              <a:pPr marL="0" marR="0" lvl="0" indent="0" algn="l" rtl="0">
                <a:spcBef>
                  <a:spcPts val="0"/>
                </a:spcBef>
                <a:buNone/>
              </a:pPr>
              <a:endParaRPr sz="1904">
                <a:solidFill>
                  <a:schemeClr val="dk1"/>
                </a:solidFill>
                <a:latin typeface="Quattrocento Sans"/>
                <a:ea typeface="Quattrocento Sans"/>
                <a:cs typeface="Quattrocento Sans"/>
                <a:sym typeface="Quattrocento Sans"/>
              </a:endParaRPr>
            </a:p>
          </p:txBody>
        </p:sp>
        <p:sp>
          <p:nvSpPr>
            <p:cNvPr id="752" name="Shape 752"/>
            <p:cNvSpPr/>
            <p:nvPr/>
          </p:nvSpPr>
          <p:spPr>
            <a:xfrm>
              <a:off x="607189" y="6564596"/>
              <a:ext cx="19500" cy="81600"/>
            </a:xfrm>
            <a:custGeom>
              <a:avLst/>
              <a:gdLst/>
              <a:ahLst/>
              <a:cxnLst/>
              <a:rect l="0" t="0" r="0" b="0"/>
              <a:pathLst>
                <a:path w="120000" h="120000" extrusionOk="0">
                  <a:moveTo>
                    <a:pt x="0" y="0"/>
                  </a:moveTo>
                  <a:cubicBezTo>
                    <a:pt x="40000" y="0"/>
                    <a:pt x="80000" y="0"/>
                    <a:pt x="120000" y="0"/>
                  </a:cubicBezTo>
                  <a:cubicBezTo>
                    <a:pt x="120000" y="39428"/>
                    <a:pt x="120000" y="79714"/>
                    <a:pt x="120000" y="120000"/>
                  </a:cubicBezTo>
                  <a:cubicBezTo>
                    <a:pt x="80000" y="120000"/>
                    <a:pt x="40000" y="120000"/>
                    <a:pt x="0" y="120000"/>
                  </a:cubicBezTo>
                  <a:cubicBezTo>
                    <a:pt x="0" y="79714"/>
                    <a:pt x="0" y="39428"/>
                    <a:pt x="0" y="0"/>
                  </a:cubicBezTo>
                  <a:close/>
                </a:path>
              </a:pathLst>
            </a:custGeom>
            <a:solidFill>
              <a:schemeClr val="dk1"/>
            </a:solidFill>
            <a:ln>
              <a:noFill/>
            </a:ln>
          </p:spPr>
          <p:txBody>
            <a:bodyPr lIns="68575" tIns="34275" rIns="68575" bIns="34275" anchor="t" anchorCtr="0">
              <a:noAutofit/>
            </a:bodyPr>
            <a:lstStyle/>
            <a:p>
              <a:pPr marL="0" marR="0" lvl="0" indent="0" algn="l" rtl="0">
                <a:spcBef>
                  <a:spcPts val="0"/>
                </a:spcBef>
                <a:buNone/>
              </a:pPr>
              <a:endParaRPr sz="1904">
                <a:solidFill>
                  <a:schemeClr val="dk1"/>
                </a:solidFill>
                <a:latin typeface="Quattrocento Sans"/>
                <a:ea typeface="Quattrocento Sans"/>
                <a:cs typeface="Quattrocento Sans"/>
                <a:sym typeface="Quattrocento Sans"/>
              </a:endParaRPr>
            </a:p>
          </p:txBody>
        </p:sp>
        <p:sp>
          <p:nvSpPr>
            <p:cNvPr id="753" name="Shape 753"/>
            <p:cNvSpPr/>
            <p:nvPr/>
          </p:nvSpPr>
          <p:spPr>
            <a:xfrm>
              <a:off x="762772" y="6562003"/>
              <a:ext cx="83100" cy="85500"/>
            </a:xfrm>
            <a:custGeom>
              <a:avLst/>
              <a:gdLst/>
              <a:ahLst/>
              <a:cxnLst/>
              <a:rect l="0" t="0" r="0" b="0"/>
              <a:pathLst>
                <a:path w="120000" h="120000" extrusionOk="0">
                  <a:moveTo>
                    <a:pt x="114206" y="29798"/>
                  </a:moveTo>
                  <a:cubicBezTo>
                    <a:pt x="109241" y="19328"/>
                    <a:pt x="100137" y="11275"/>
                    <a:pt x="89379" y="6442"/>
                  </a:cubicBezTo>
                  <a:cubicBezTo>
                    <a:pt x="76965" y="805"/>
                    <a:pt x="63724" y="0"/>
                    <a:pt x="49655" y="1610"/>
                  </a:cubicBezTo>
                  <a:cubicBezTo>
                    <a:pt x="36413" y="3221"/>
                    <a:pt x="22344" y="9664"/>
                    <a:pt x="13241" y="20939"/>
                  </a:cubicBezTo>
                  <a:cubicBezTo>
                    <a:pt x="5793" y="30604"/>
                    <a:pt x="1655" y="42684"/>
                    <a:pt x="827" y="54765"/>
                  </a:cubicBezTo>
                  <a:cubicBezTo>
                    <a:pt x="0" y="69261"/>
                    <a:pt x="2482" y="85369"/>
                    <a:pt x="10758" y="97449"/>
                  </a:cubicBezTo>
                  <a:cubicBezTo>
                    <a:pt x="18206" y="107919"/>
                    <a:pt x="30620" y="115167"/>
                    <a:pt x="43034" y="117583"/>
                  </a:cubicBezTo>
                  <a:cubicBezTo>
                    <a:pt x="53793" y="119194"/>
                    <a:pt x="64551" y="120000"/>
                    <a:pt x="75310" y="117583"/>
                  </a:cubicBezTo>
                  <a:cubicBezTo>
                    <a:pt x="87724" y="115167"/>
                    <a:pt x="99310" y="107919"/>
                    <a:pt x="106758" y="98255"/>
                  </a:cubicBezTo>
                  <a:cubicBezTo>
                    <a:pt x="115034" y="89395"/>
                    <a:pt x="118344" y="77315"/>
                    <a:pt x="119172" y="65234"/>
                  </a:cubicBezTo>
                  <a:cubicBezTo>
                    <a:pt x="120000" y="53959"/>
                    <a:pt x="119172" y="41073"/>
                    <a:pt x="114206" y="29798"/>
                  </a:cubicBezTo>
                  <a:close/>
                  <a:moveTo>
                    <a:pt x="86896" y="82147"/>
                  </a:moveTo>
                  <a:cubicBezTo>
                    <a:pt x="84413" y="87785"/>
                    <a:pt x="79448" y="92617"/>
                    <a:pt x="73655" y="95033"/>
                  </a:cubicBezTo>
                  <a:cubicBezTo>
                    <a:pt x="66206" y="97449"/>
                    <a:pt x="57931" y="97449"/>
                    <a:pt x="51310" y="95838"/>
                  </a:cubicBezTo>
                  <a:cubicBezTo>
                    <a:pt x="43034" y="93422"/>
                    <a:pt x="37241" y="88590"/>
                    <a:pt x="33931" y="82147"/>
                  </a:cubicBezTo>
                  <a:cubicBezTo>
                    <a:pt x="28965" y="73288"/>
                    <a:pt x="28137" y="62818"/>
                    <a:pt x="29793" y="53959"/>
                  </a:cubicBezTo>
                  <a:cubicBezTo>
                    <a:pt x="30620" y="45100"/>
                    <a:pt x="33103" y="36241"/>
                    <a:pt x="39724" y="29798"/>
                  </a:cubicBezTo>
                  <a:cubicBezTo>
                    <a:pt x="44689" y="25771"/>
                    <a:pt x="51310" y="23355"/>
                    <a:pt x="57931" y="23355"/>
                  </a:cubicBezTo>
                  <a:cubicBezTo>
                    <a:pt x="66206" y="22550"/>
                    <a:pt x="75310" y="24966"/>
                    <a:pt x="81103" y="30604"/>
                  </a:cubicBezTo>
                  <a:cubicBezTo>
                    <a:pt x="87724" y="37046"/>
                    <a:pt x="90206" y="45906"/>
                    <a:pt x="91034" y="53959"/>
                  </a:cubicBezTo>
                  <a:cubicBezTo>
                    <a:pt x="91862" y="63624"/>
                    <a:pt x="91034" y="73288"/>
                    <a:pt x="86896" y="82147"/>
                  </a:cubicBezTo>
                  <a:close/>
                </a:path>
              </a:pathLst>
            </a:custGeom>
            <a:solidFill>
              <a:schemeClr val="dk1"/>
            </a:solidFill>
            <a:ln>
              <a:noFill/>
            </a:ln>
          </p:spPr>
          <p:txBody>
            <a:bodyPr lIns="68575" tIns="34275" rIns="68575" bIns="34275" anchor="t" anchorCtr="0">
              <a:noAutofit/>
            </a:bodyPr>
            <a:lstStyle/>
            <a:p>
              <a:pPr marL="0" marR="0" lvl="0" indent="0" algn="l" rtl="0">
                <a:spcBef>
                  <a:spcPts val="0"/>
                </a:spcBef>
                <a:buNone/>
              </a:pPr>
              <a:endParaRPr sz="1904">
                <a:solidFill>
                  <a:schemeClr val="dk1"/>
                </a:solidFill>
                <a:latin typeface="Quattrocento Sans"/>
                <a:ea typeface="Quattrocento Sans"/>
                <a:cs typeface="Quattrocento Sans"/>
                <a:sym typeface="Quattrocento Sans"/>
              </a:endParaRPr>
            </a:p>
          </p:txBody>
        </p:sp>
        <p:sp>
          <p:nvSpPr>
            <p:cNvPr id="754" name="Shape 754"/>
            <p:cNvSpPr/>
            <p:nvPr/>
          </p:nvSpPr>
          <p:spPr>
            <a:xfrm>
              <a:off x="914469" y="6562003"/>
              <a:ext cx="83100" cy="85500"/>
            </a:xfrm>
            <a:custGeom>
              <a:avLst/>
              <a:gdLst/>
              <a:ahLst/>
              <a:cxnLst/>
              <a:rect l="0" t="0" r="0" b="0"/>
              <a:pathLst>
                <a:path w="120000" h="120000" extrusionOk="0">
                  <a:moveTo>
                    <a:pt x="115034" y="33020"/>
                  </a:moveTo>
                  <a:cubicBezTo>
                    <a:pt x="110896" y="22550"/>
                    <a:pt x="102620" y="12885"/>
                    <a:pt x="91862" y="7248"/>
                  </a:cubicBezTo>
                  <a:cubicBezTo>
                    <a:pt x="78620" y="805"/>
                    <a:pt x="64551" y="0"/>
                    <a:pt x="50482" y="1610"/>
                  </a:cubicBezTo>
                  <a:cubicBezTo>
                    <a:pt x="39724" y="3221"/>
                    <a:pt x="28137" y="7248"/>
                    <a:pt x="19862" y="14496"/>
                  </a:cubicBezTo>
                  <a:cubicBezTo>
                    <a:pt x="9103" y="23355"/>
                    <a:pt x="3310" y="36241"/>
                    <a:pt x="1655" y="49127"/>
                  </a:cubicBezTo>
                  <a:cubicBezTo>
                    <a:pt x="0" y="62013"/>
                    <a:pt x="827" y="75704"/>
                    <a:pt x="5793" y="87785"/>
                  </a:cubicBezTo>
                  <a:cubicBezTo>
                    <a:pt x="11586" y="99865"/>
                    <a:pt x="21517" y="110335"/>
                    <a:pt x="33931" y="114362"/>
                  </a:cubicBezTo>
                  <a:cubicBezTo>
                    <a:pt x="46344" y="119194"/>
                    <a:pt x="60413" y="120000"/>
                    <a:pt x="72827" y="117583"/>
                  </a:cubicBezTo>
                  <a:cubicBezTo>
                    <a:pt x="86068" y="115973"/>
                    <a:pt x="98482" y="108724"/>
                    <a:pt x="106758" y="98255"/>
                  </a:cubicBezTo>
                  <a:cubicBezTo>
                    <a:pt x="115862" y="87785"/>
                    <a:pt x="120000" y="74093"/>
                    <a:pt x="120000" y="60402"/>
                  </a:cubicBezTo>
                  <a:cubicBezTo>
                    <a:pt x="120000" y="50738"/>
                    <a:pt x="118344" y="41879"/>
                    <a:pt x="115034" y="33020"/>
                  </a:cubicBezTo>
                  <a:close/>
                  <a:moveTo>
                    <a:pt x="90206" y="71677"/>
                  </a:moveTo>
                  <a:cubicBezTo>
                    <a:pt x="89379" y="77315"/>
                    <a:pt x="86896" y="82953"/>
                    <a:pt x="83586" y="87785"/>
                  </a:cubicBezTo>
                  <a:cubicBezTo>
                    <a:pt x="79448" y="92617"/>
                    <a:pt x="72827" y="95838"/>
                    <a:pt x="67034" y="96644"/>
                  </a:cubicBezTo>
                  <a:cubicBezTo>
                    <a:pt x="60413" y="97449"/>
                    <a:pt x="53793" y="96644"/>
                    <a:pt x="47172" y="94228"/>
                  </a:cubicBezTo>
                  <a:cubicBezTo>
                    <a:pt x="40551" y="91812"/>
                    <a:pt x="35586" y="86174"/>
                    <a:pt x="32275" y="79731"/>
                  </a:cubicBezTo>
                  <a:cubicBezTo>
                    <a:pt x="28965" y="71677"/>
                    <a:pt x="28965" y="63624"/>
                    <a:pt x="28965" y="54765"/>
                  </a:cubicBezTo>
                  <a:cubicBezTo>
                    <a:pt x="29793" y="46711"/>
                    <a:pt x="32275" y="38657"/>
                    <a:pt x="38068" y="32214"/>
                  </a:cubicBezTo>
                  <a:cubicBezTo>
                    <a:pt x="43034" y="26577"/>
                    <a:pt x="50482" y="23355"/>
                    <a:pt x="57931" y="23355"/>
                  </a:cubicBezTo>
                  <a:cubicBezTo>
                    <a:pt x="65379" y="22550"/>
                    <a:pt x="74482" y="24161"/>
                    <a:pt x="80275" y="29798"/>
                  </a:cubicBezTo>
                  <a:cubicBezTo>
                    <a:pt x="85241" y="33825"/>
                    <a:pt x="88551" y="41073"/>
                    <a:pt x="90206" y="47516"/>
                  </a:cubicBezTo>
                  <a:cubicBezTo>
                    <a:pt x="91862" y="55570"/>
                    <a:pt x="91862" y="63624"/>
                    <a:pt x="90206" y="71677"/>
                  </a:cubicBezTo>
                  <a:close/>
                </a:path>
              </a:pathLst>
            </a:custGeom>
            <a:solidFill>
              <a:schemeClr val="dk1"/>
            </a:solidFill>
            <a:ln>
              <a:noFill/>
            </a:ln>
          </p:spPr>
          <p:txBody>
            <a:bodyPr lIns="68575" tIns="34275" rIns="68575" bIns="34275" anchor="t" anchorCtr="0">
              <a:noAutofit/>
            </a:bodyPr>
            <a:lstStyle/>
            <a:p>
              <a:pPr marL="0" marR="0" lvl="0" indent="0" algn="l" rtl="0">
                <a:spcBef>
                  <a:spcPts val="0"/>
                </a:spcBef>
                <a:buNone/>
              </a:pPr>
              <a:endParaRPr sz="1904">
                <a:solidFill>
                  <a:schemeClr val="dk1"/>
                </a:solidFill>
                <a:latin typeface="Quattrocento Sans"/>
                <a:ea typeface="Quattrocento Sans"/>
                <a:cs typeface="Quattrocento Sans"/>
                <a:sym typeface="Quattrocento Sans"/>
              </a:endParaRPr>
            </a:p>
          </p:txBody>
        </p:sp>
        <p:sp>
          <p:nvSpPr>
            <p:cNvPr id="755" name="Shape 755"/>
            <p:cNvSpPr/>
            <p:nvPr/>
          </p:nvSpPr>
          <p:spPr>
            <a:xfrm>
              <a:off x="228600" y="6594417"/>
              <a:ext cx="87000" cy="88200"/>
            </a:xfrm>
            <a:custGeom>
              <a:avLst/>
              <a:gdLst/>
              <a:ahLst/>
              <a:cxnLst/>
              <a:rect l="0" t="0" r="0" b="0"/>
              <a:pathLst>
                <a:path w="120000" h="120000" extrusionOk="0">
                  <a:moveTo>
                    <a:pt x="0" y="0"/>
                  </a:moveTo>
                  <a:cubicBezTo>
                    <a:pt x="39740" y="0"/>
                    <a:pt x="80259" y="0"/>
                    <a:pt x="120000" y="0"/>
                  </a:cubicBezTo>
                  <a:cubicBezTo>
                    <a:pt x="120000" y="39483"/>
                    <a:pt x="120000" y="79741"/>
                    <a:pt x="120000" y="120000"/>
                  </a:cubicBezTo>
                  <a:cubicBezTo>
                    <a:pt x="0" y="120000"/>
                    <a:pt x="0" y="120000"/>
                    <a:pt x="0" y="120000"/>
                  </a:cubicBezTo>
                  <a:cubicBezTo>
                    <a:pt x="0" y="0"/>
                    <a:pt x="0" y="0"/>
                    <a:pt x="0" y="0"/>
                  </a:cubicBezTo>
                  <a:close/>
                </a:path>
              </a:pathLst>
            </a:custGeom>
            <a:solidFill>
              <a:srgbClr val="349FD9"/>
            </a:solidFill>
            <a:ln>
              <a:noFill/>
            </a:ln>
          </p:spPr>
          <p:txBody>
            <a:bodyPr lIns="68575" tIns="34275" rIns="68575" bIns="34275" anchor="t" anchorCtr="0">
              <a:noAutofit/>
            </a:bodyPr>
            <a:lstStyle/>
            <a:p>
              <a:pPr marL="0" marR="0" lvl="0" indent="0" algn="l" rtl="0">
                <a:spcBef>
                  <a:spcPts val="0"/>
                </a:spcBef>
                <a:buNone/>
              </a:pPr>
              <a:endParaRPr sz="1904">
                <a:solidFill>
                  <a:schemeClr val="dk1"/>
                </a:solidFill>
                <a:latin typeface="Quattrocento Sans"/>
                <a:ea typeface="Quattrocento Sans"/>
                <a:cs typeface="Quattrocento Sans"/>
                <a:sym typeface="Quattrocento Sans"/>
              </a:endParaRPr>
            </a:p>
          </p:txBody>
        </p:sp>
        <p:sp>
          <p:nvSpPr>
            <p:cNvPr id="756" name="Shape 756"/>
            <p:cNvSpPr/>
            <p:nvPr/>
          </p:nvSpPr>
          <p:spPr>
            <a:xfrm>
              <a:off x="324543" y="6594417"/>
              <a:ext cx="89400" cy="88200"/>
            </a:xfrm>
            <a:custGeom>
              <a:avLst/>
              <a:gdLst/>
              <a:ahLst/>
              <a:cxnLst/>
              <a:rect l="0" t="0" r="0" b="0"/>
              <a:pathLst>
                <a:path w="120000" h="120000" extrusionOk="0">
                  <a:moveTo>
                    <a:pt x="0" y="0"/>
                  </a:moveTo>
                  <a:cubicBezTo>
                    <a:pt x="39483" y="0"/>
                    <a:pt x="79741" y="0"/>
                    <a:pt x="120000" y="0"/>
                  </a:cubicBezTo>
                  <a:cubicBezTo>
                    <a:pt x="120000" y="39483"/>
                    <a:pt x="120000" y="79741"/>
                    <a:pt x="120000" y="120000"/>
                  </a:cubicBezTo>
                  <a:cubicBezTo>
                    <a:pt x="0" y="120000"/>
                    <a:pt x="0" y="120000"/>
                    <a:pt x="0" y="120000"/>
                  </a:cubicBezTo>
                  <a:cubicBezTo>
                    <a:pt x="0" y="79741"/>
                    <a:pt x="0" y="39483"/>
                    <a:pt x="0" y="0"/>
                  </a:cubicBezTo>
                  <a:close/>
                </a:path>
              </a:pathLst>
            </a:custGeom>
            <a:solidFill>
              <a:srgbClr val="FCB713"/>
            </a:solidFill>
            <a:ln>
              <a:noFill/>
            </a:ln>
          </p:spPr>
          <p:txBody>
            <a:bodyPr lIns="68575" tIns="34275" rIns="68575" bIns="34275" anchor="t" anchorCtr="0">
              <a:noAutofit/>
            </a:bodyPr>
            <a:lstStyle/>
            <a:p>
              <a:pPr marL="0" marR="0" lvl="0" indent="0" algn="l" rtl="0">
                <a:spcBef>
                  <a:spcPts val="0"/>
                </a:spcBef>
                <a:buNone/>
              </a:pPr>
              <a:endParaRPr sz="1904">
                <a:solidFill>
                  <a:schemeClr val="dk1"/>
                </a:solidFill>
                <a:latin typeface="Quattrocento Sans"/>
                <a:ea typeface="Quattrocento Sans"/>
                <a:cs typeface="Quattrocento Sans"/>
                <a:sym typeface="Quattrocento Sans"/>
              </a:endParaRPr>
            </a:p>
          </p:txBody>
        </p:sp>
      </p:grpSp>
    </p:spTree>
    <p:extLst>
      <p:ext uri="{BB962C8B-B14F-4D97-AF65-F5344CB8AC3E}">
        <p14:creationId xmlns:p14="http://schemas.microsoft.com/office/powerpoint/2010/main" val="221647943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cSld name="2_1-Color w/Photo Block Title on Left">
    <p:spTree>
      <p:nvGrpSpPr>
        <p:cNvPr id="1" name="Shape 757"/>
        <p:cNvGrpSpPr/>
        <p:nvPr/>
      </p:nvGrpSpPr>
      <p:grpSpPr>
        <a:xfrm>
          <a:off x="0" y="0"/>
          <a:ext cx="0" cy="0"/>
          <a:chOff x="0" y="0"/>
          <a:chExt cx="0" cy="0"/>
        </a:xfrm>
      </p:grpSpPr>
      <p:sp>
        <p:nvSpPr>
          <p:cNvPr id="758" name="Shape 758"/>
          <p:cNvSpPr txBox="1">
            <a:spLocks noGrp="1"/>
          </p:cNvSpPr>
          <p:nvPr>
            <p:ph type="title"/>
          </p:nvPr>
        </p:nvSpPr>
        <p:spPr>
          <a:xfrm>
            <a:off x="481594" y="1130743"/>
            <a:ext cx="4013701" cy="946474"/>
          </a:xfrm>
          <a:prstGeom prst="rect">
            <a:avLst/>
          </a:prstGeom>
          <a:noFill/>
          <a:ln>
            <a:noFill/>
          </a:ln>
        </p:spPr>
        <p:txBody>
          <a:bodyPr lIns="68575" tIns="68575" rIns="68575" bIns="68575" anchor="t" anchorCtr="0"/>
          <a:lstStyle>
            <a:lvl1pPr marL="0" marR="0" lvl="0" indent="0" algn="l" rtl="0">
              <a:lnSpc>
                <a:spcPct val="90000"/>
              </a:lnSpc>
              <a:spcBef>
                <a:spcPts val="0"/>
              </a:spcBef>
              <a:spcAft>
                <a:spcPts val="0"/>
              </a:spcAft>
              <a:buNone/>
              <a:defRPr sz="4488" b="0" i="0" u="none" strike="noStrike" cap="none">
                <a:solidFill>
                  <a:schemeClr val="lt1"/>
                </a:solidFill>
                <a:latin typeface="Quattrocento Sans"/>
                <a:ea typeface="Quattrocento Sans"/>
                <a:cs typeface="Quattrocento Sans"/>
                <a:sym typeface="Quattrocento Sans"/>
              </a:defRPr>
            </a:lvl1pPr>
            <a:lvl2pPr marL="0" marR="0" lvl="1"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2pPr>
            <a:lvl3pPr marL="0" marR="0" lvl="2"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3pPr>
            <a:lvl4pPr marL="0" marR="0" lvl="3"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4pPr>
            <a:lvl5pPr marL="0" marR="0" lvl="4"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5pPr>
            <a:lvl6pPr marL="449039" marR="0" lvl="5"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6pPr>
            <a:lvl7pPr marL="915349" marR="0" lvl="6"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7pPr>
            <a:lvl8pPr marL="1364388" marR="0" lvl="7"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8pPr>
            <a:lvl9pPr marL="1830697" marR="0" lvl="8"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9pPr>
          </a:lstStyle>
          <a:p>
            <a:endParaRPr/>
          </a:p>
        </p:txBody>
      </p:sp>
      <p:sp>
        <p:nvSpPr>
          <p:cNvPr id="759" name="Shape 759"/>
          <p:cNvSpPr/>
          <p:nvPr/>
        </p:nvSpPr>
        <p:spPr>
          <a:xfrm rot="10800000">
            <a:off x="222" y="0"/>
            <a:ext cx="8346066" cy="6994525"/>
          </a:xfrm>
          <a:custGeom>
            <a:avLst/>
            <a:gdLst/>
            <a:ahLst/>
            <a:cxnLst/>
            <a:rect l="0" t="0" r="0" b="0"/>
            <a:pathLst>
              <a:path w="120000" h="120000" extrusionOk="0">
                <a:moveTo>
                  <a:pt x="21378" y="0"/>
                </a:moveTo>
                <a:lnTo>
                  <a:pt x="59321" y="0"/>
                </a:lnTo>
                <a:lnTo>
                  <a:pt x="80313" y="0"/>
                </a:lnTo>
                <a:lnTo>
                  <a:pt x="120000" y="0"/>
                </a:lnTo>
                <a:lnTo>
                  <a:pt x="120000" y="119999"/>
                </a:lnTo>
                <a:lnTo>
                  <a:pt x="80313" y="119999"/>
                </a:lnTo>
                <a:lnTo>
                  <a:pt x="59321" y="119999"/>
                </a:lnTo>
                <a:lnTo>
                  <a:pt x="0" y="119999"/>
                </a:lnTo>
                <a:close/>
              </a:path>
            </a:pathLst>
          </a:custGeom>
          <a:solidFill>
            <a:schemeClr val="accent1"/>
          </a:solidFill>
          <a:ln>
            <a:noFill/>
          </a:ln>
        </p:spPr>
        <p:txBody>
          <a:bodyPr lIns="186473" tIns="149178" rIns="186473" bIns="149178" anchor="t" anchorCtr="0">
            <a:noAutofit/>
          </a:bodyPr>
          <a:lstStyle/>
          <a:p>
            <a:pPr marL="0" marR="0" lvl="0" indent="0" algn="ctr" rtl="0">
              <a:lnSpc>
                <a:spcPct val="90000"/>
              </a:lnSpc>
              <a:spcBef>
                <a:spcPts val="0"/>
              </a:spcBef>
              <a:spcAft>
                <a:spcPts val="0"/>
              </a:spcAft>
              <a:buClr>
                <a:schemeClr val="lt1"/>
              </a:buClr>
              <a:buFont typeface="Quattrocento Sans"/>
              <a:buNone/>
            </a:pPr>
            <a:endParaRPr sz="2040" b="1" i="0" u="none" strike="noStrike" cap="none">
              <a:solidFill>
                <a:srgbClr val="FFFFFF"/>
              </a:solidFill>
              <a:latin typeface="Quattrocento Sans"/>
              <a:ea typeface="Quattrocento Sans"/>
              <a:cs typeface="Quattrocento Sans"/>
              <a:sym typeface="Quattrocento Sans"/>
            </a:endParaRPr>
          </a:p>
        </p:txBody>
      </p:sp>
    </p:spTree>
    <p:extLst>
      <p:ext uri="{BB962C8B-B14F-4D97-AF65-F5344CB8AC3E}">
        <p14:creationId xmlns:p14="http://schemas.microsoft.com/office/powerpoint/2010/main" val="270308752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00BCF2"/>
        </a:solidFill>
        <a:effectLst/>
      </p:bgPr>
    </p:bg>
    <p:spTree>
      <p:nvGrpSpPr>
        <p:cNvPr id="1" name="Shape 760"/>
        <p:cNvGrpSpPr/>
        <p:nvPr/>
      </p:nvGrpSpPr>
      <p:grpSpPr>
        <a:xfrm>
          <a:off x="0" y="0"/>
          <a:ext cx="0" cy="0"/>
          <a:chOff x="0" y="0"/>
          <a:chExt cx="0" cy="0"/>
        </a:xfrm>
      </p:grpSpPr>
    </p:spTree>
    <p:extLst>
      <p:ext uri="{BB962C8B-B14F-4D97-AF65-F5344CB8AC3E}">
        <p14:creationId xmlns:p14="http://schemas.microsoft.com/office/powerpoint/2010/main" val="491615043"/>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cSld name="Title and Subtitle">
    <p:spTree>
      <p:nvGrpSpPr>
        <p:cNvPr id="1" name="Shape 761"/>
        <p:cNvGrpSpPr/>
        <p:nvPr/>
      </p:nvGrpSpPr>
      <p:grpSpPr>
        <a:xfrm>
          <a:off x="0" y="0"/>
          <a:ext cx="0" cy="0"/>
          <a:chOff x="0" y="0"/>
          <a:chExt cx="0" cy="0"/>
        </a:xfrm>
      </p:grpSpPr>
      <p:sp>
        <p:nvSpPr>
          <p:cNvPr id="762" name="Shape 762"/>
          <p:cNvSpPr/>
          <p:nvPr/>
        </p:nvSpPr>
        <p:spPr>
          <a:xfrm>
            <a:off x="9327850" y="1"/>
            <a:ext cx="3108711" cy="6994525"/>
          </a:xfrm>
          <a:custGeom>
            <a:avLst/>
            <a:gdLst/>
            <a:ahLst/>
            <a:cxnLst/>
            <a:rect l="0" t="0" r="0" b="0"/>
            <a:pathLst>
              <a:path w="120000" h="120000" extrusionOk="0">
                <a:moveTo>
                  <a:pt x="120000" y="119999"/>
                </a:moveTo>
                <a:lnTo>
                  <a:pt x="0" y="119999"/>
                </a:lnTo>
                <a:lnTo>
                  <a:pt x="57399" y="0"/>
                </a:lnTo>
                <a:lnTo>
                  <a:pt x="120000" y="0"/>
                </a:lnTo>
                <a:close/>
              </a:path>
            </a:pathLst>
          </a:custGeom>
          <a:solidFill>
            <a:schemeClr val="accent1"/>
          </a:solidFill>
          <a:ln>
            <a:noFill/>
          </a:ln>
        </p:spPr>
        <p:txBody>
          <a:bodyPr lIns="93220" tIns="46610" rIns="93220" bIns="46610" anchor="t" anchorCtr="0">
            <a:noAutofit/>
          </a:bodyPr>
          <a:lstStyle/>
          <a:p>
            <a:pPr marL="0" marR="0" lvl="0" indent="0" algn="l" rtl="0">
              <a:lnSpc>
                <a:spcPct val="100000"/>
              </a:lnSpc>
              <a:spcBef>
                <a:spcPts val="0"/>
              </a:spcBef>
              <a:spcAft>
                <a:spcPts val="0"/>
              </a:spcAft>
              <a:buClr>
                <a:schemeClr val="dk1"/>
              </a:buClr>
              <a:buFont typeface="Quattrocento Sans"/>
              <a:buNone/>
            </a:pPr>
            <a:endParaRPr sz="1768" b="0" i="0" u="none" strike="noStrike" cap="none">
              <a:solidFill>
                <a:srgbClr val="000000"/>
              </a:solidFill>
              <a:latin typeface="Quattrocento Sans"/>
              <a:ea typeface="Quattrocento Sans"/>
              <a:cs typeface="Quattrocento Sans"/>
              <a:sym typeface="Quattrocento Sans"/>
            </a:endParaRPr>
          </a:p>
        </p:txBody>
      </p:sp>
      <p:sp>
        <p:nvSpPr>
          <p:cNvPr id="763" name="Shape 763"/>
          <p:cNvSpPr txBox="1">
            <a:spLocks noGrp="1"/>
          </p:cNvSpPr>
          <p:nvPr>
            <p:ph type="body" idx="1"/>
          </p:nvPr>
        </p:nvSpPr>
        <p:spPr>
          <a:xfrm>
            <a:off x="274639" y="1042678"/>
            <a:ext cx="9556664" cy="574820"/>
          </a:xfrm>
          <a:prstGeom prst="rect">
            <a:avLst/>
          </a:prstGeom>
          <a:noFill/>
          <a:ln>
            <a:noFill/>
          </a:ln>
        </p:spPr>
        <p:txBody>
          <a:bodyPr lIns="68575" tIns="68575" rIns="68575" bIns="68575" anchor="t" anchorCtr="0"/>
          <a:lstStyle>
            <a:lvl1pPr marL="0" marR="0" lvl="0" indent="0" algn="l" rtl="0">
              <a:lnSpc>
                <a:spcPct val="90000"/>
              </a:lnSpc>
              <a:spcBef>
                <a:spcPts val="544"/>
              </a:spcBef>
              <a:spcAft>
                <a:spcPts val="0"/>
              </a:spcAft>
              <a:buClr>
                <a:schemeClr val="dk2"/>
              </a:buClr>
              <a:buFont typeface="Arial"/>
              <a:buNone/>
              <a:defRPr sz="2856" b="0" i="0" u="none" strike="noStrike" cap="none">
                <a:solidFill>
                  <a:schemeClr val="dk2"/>
                </a:solidFill>
                <a:latin typeface="Quattrocento Sans"/>
                <a:ea typeface="Quattrocento Sans"/>
                <a:cs typeface="Quattrocento Sans"/>
                <a:sym typeface="Quattrocento Sans"/>
              </a:defRPr>
            </a:lvl1pPr>
            <a:lvl2pPr marL="0" marR="0" lvl="1" indent="0" algn="l" rtl="0">
              <a:lnSpc>
                <a:spcPct val="90000"/>
              </a:lnSpc>
              <a:spcBef>
                <a:spcPts val="680"/>
              </a:spcBef>
              <a:spcAft>
                <a:spcPts val="0"/>
              </a:spcAft>
              <a:buClr>
                <a:schemeClr val="lt1"/>
              </a:buClr>
              <a:buFont typeface="Arial"/>
              <a:buNone/>
              <a:defRPr sz="3128" b="0" i="0" u="none" strike="noStrike" cap="none">
                <a:solidFill>
                  <a:schemeClr val="lt1"/>
                </a:solidFill>
                <a:latin typeface="Quattrocento Sans"/>
                <a:ea typeface="Quattrocento Sans"/>
                <a:cs typeface="Quattrocento Sans"/>
                <a:sym typeface="Quattrocento Sans"/>
              </a:defRPr>
            </a:lvl2pPr>
            <a:lvl3pPr marL="0" marR="0" lvl="2" indent="0" algn="l" rtl="0">
              <a:lnSpc>
                <a:spcPct val="90000"/>
              </a:lnSpc>
              <a:spcBef>
                <a:spcPts val="680"/>
              </a:spcBef>
              <a:spcAft>
                <a:spcPts val="0"/>
              </a:spcAft>
              <a:buClr>
                <a:schemeClr val="lt1"/>
              </a:buClr>
              <a:buFont typeface="Arial"/>
              <a:buNone/>
              <a:defRPr sz="3128" b="0" i="0" u="none" strike="noStrike" cap="none">
                <a:solidFill>
                  <a:schemeClr val="lt1"/>
                </a:solidFill>
                <a:latin typeface="Quattrocento Sans"/>
                <a:ea typeface="Quattrocento Sans"/>
                <a:cs typeface="Quattrocento Sans"/>
                <a:sym typeface="Quattrocento Sans"/>
              </a:defRPr>
            </a:lvl3pPr>
            <a:lvl4pPr marL="0" marR="0" lvl="3" indent="0" algn="l" rtl="0">
              <a:lnSpc>
                <a:spcPct val="90000"/>
              </a:lnSpc>
              <a:spcBef>
                <a:spcPts val="680"/>
              </a:spcBef>
              <a:spcAft>
                <a:spcPts val="0"/>
              </a:spcAft>
              <a:buClr>
                <a:schemeClr val="lt1"/>
              </a:buClr>
              <a:buFont typeface="Arial"/>
              <a:buNone/>
              <a:defRPr sz="3128" b="0" i="0" u="none" strike="noStrike" cap="none">
                <a:solidFill>
                  <a:schemeClr val="lt1"/>
                </a:solidFill>
                <a:latin typeface="Quattrocento Sans"/>
                <a:ea typeface="Quattrocento Sans"/>
                <a:cs typeface="Quattrocento Sans"/>
                <a:sym typeface="Quattrocento Sans"/>
              </a:defRPr>
            </a:lvl4pPr>
            <a:lvl5pPr marL="0" marR="0" lvl="4" indent="0" algn="l" rtl="0">
              <a:lnSpc>
                <a:spcPct val="90000"/>
              </a:lnSpc>
              <a:spcBef>
                <a:spcPts val="680"/>
              </a:spcBef>
              <a:spcAft>
                <a:spcPts val="0"/>
              </a:spcAft>
              <a:buClr>
                <a:schemeClr val="lt1"/>
              </a:buClr>
              <a:buFont typeface="Arial"/>
              <a:buNone/>
              <a:defRPr sz="3128" b="0" i="0" u="none" strike="noStrike" cap="none">
                <a:solidFill>
                  <a:schemeClr val="lt1"/>
                </a:solidFill>
                <a:latin typeface="Quattrocento Sans"/>
                <a:ea typeface="Quattrocento Sans"/>
                <a:cs typeface="Quattrocento Sans"/>
                <a:sym typeface="Quattrocento Sans"/>
              </a:defRPr>
            </a:lvl5pPr>
            <a:lvl6pPr marL="2556068" marR="0" lvl="5"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6pPr>
            <a:lvl7pPr marL="3022378" marR="0" lvl="6"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7pPr>
            <a:lvl8pPr marL="3488687" marR="0" lvl="7"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8pPr>
            <a:lvl9pPr marL="3954997" marR="0" lvl="8"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9pPr>
          </a:lstStyle>
          <a:p>
            <a:endParaRPr/>
          </a:p>
        </p:txBody>
      </p:sp>
      <p:sp>
        <p:nvSpPr>
          <p:cNvPr id="764" name="Shape 764"/>
          <p:cNvSpPr txBox="1">
            <a:spLocks noGrp="1"/>
          </p:cNvSpPr>
          <p:nvPr>
            <p:ph type="title"/>
          </p:nvPr>
        </p:nvSpPr>
        <p:spPr>
          <a:xfrm>
            <a:off x="274320" y="292081"/>
            <a:ext cx="10296814" cy="789408"/>
          </a:xfrm>
          <a:prstGeom prst="rect">
            <a:avLst/>
          </a:prstGeom>
          <a:noFill/>
          <a:ln>
            <a:noFill/>
          </a:ln>
        </p:spPr>
        <p:txBody>
          <a:bodyPr lIns="68575" tIns="68575" rIns="68575" bIns="68575" anchor="t" anchorCtr="0"/>
          <a:lstStyle>
            <a:lvl1pPr marL="0" marR="0" lvl="0" indent="0" algn="l" rtl="0">
              <a:lnSpc>
                <a:spcPct val="90000"/>
              </a:lnSpc>
              <a:spcBef>
                <a:spcPts val="0"/>
              </a:spcBef>
              <a:spcAft>
                <a:spcPts val="0"/>
              </a:spcAft>
              <a:buNone/>
              <a:defRPr sz="4488" b="0" i="0" u="none" strike="noStrike" cap="none">
                <a:solidFill>
                  <a:schemeClr val="dk2"/>
                </a:solidFill>
                <a:latin typeface="Quattrocento Sans"/>
                <a:ea typeface="Quattrocento Sans"/>
                <a:cs typeface="Quattrocento Sans"/>
                <a:sym typeface="Quattrocento Sans"/>
              </a:defRPr>
            </a:lvl1pPr>
            <a:lvl2pPr marL="0" marR="0" lvl="1"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2pPr>
            <a:lvl3pPr marL="0" marR="0" lvl="2"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3pPr>
            <a:lvl4pPr marL="0" marR="0" lvl="3"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4pPr>
            <a:lvl5pPr marL="0" marR="0" lvl="4"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5pPr>
            <a:lvl6pPr marL="449039" marR="0" lvl="5"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6pPr>
            <a:lvl7pPr marL="915349" marR="0" lvl="6"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7pPr>
            <a:lvl8pPr marL="1364388" marR="0" lvl="7"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8pPr>
            <a:lvl9pPr marL="1830697" marR="0" lvl="8"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9pPr>
          </a:lstStyle>
          <a:p>
            <a:endParaRPr/>
          </a:p>
        </p:txBody>
      </p:sp>
      <p:sp>
        <p:nvSpPr>
          <p:cNvPr id="765" name="Shape 765"/>
          <p:cNvSpPr txBox="1">
            <a:spLocks noGrp="1"/>
          </p:cNvSpPr>
          <p:nvPr>
            <p:ph type="sldNum" idx="12"/>
          </p:nvPr>
        </p:nvSpPr>
        <p:spPr>
          <a:xfrm>
            <a:off x="11595099" y="6565900"/>
            <a:ext cx="566741" cy="136668"/>
          </a:xfrm>
          <a:prstGeom prst="rect">
            <a:avLst/>
          </a:prstGeom>
          <a:noFill/>
          <a:ln>
            <a:noFill/>
          </a:ln>
        </p:spPr>
        <p:txBody>
          <a:bodyPr lIns="68575" tIns="0" rIns="0" bIns="0" anchor="ctr" anchorCtr="0">
            <a:noAutofit/>
          </a:bodyPr>
          <a:lstStyle/>
          <a:p>
            <a:pPr algn="r">
              <a:buSzPct val="25000"/>
            </a:pPr>
            <a:fld id="{00000000-1234-1234-1234-123412341234}" type="slidenum">
              <a:rPr lang="en" sz="952" smtClean="0">
                <a:solidFill>
                  <a:srgbClr val="FFFFFF"/>
                </a:solidFill>
                <a:latin typeface="Quattrocento Sans"/>
                <a:ea typeface="Quattrocento Sans"/>
                <a:cs typeface="Quattrocento Sans"/>
                <a:sym typeface="Quattrocento Sans"/>
              </a:rPr>
              <a:pPr algn="r">
                <a:buSzPct val="25000"/>
              </a:pPr>
              <a:t>‹#›</a:t>
            </a:fld>
            <a:endParaRPr lang="en" sz="952">
              <a:solidFill>
                <a:srgbClr val="FFFFFF"/>
              </a:solidFill>
              <a:latin typeface="Quattrocento Sans"/>
              <a:ea typeface="Quattrocento Sans"/>
              <a:cs typeface="Quattrocento Sans"/>
              <a:sym typeface="Quattrocento Sans"/>
            </a:endParaRPr>
          </a:p>
        </p:txBody>
      </p:sp>
    </p:spTree>
    <p:extLst>
      <p:ext uri="{BB962C8B-B14F-4D97-AF65-F5344CB8AC3E}">
        <p14:creationId xmlns:p14="http://schemas.microsoft.com/office/powerpoint/2010/main" val="106910942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cSld name="1_1-Color w/Photo Block Title on Left">
    <p:spTree>
      <p:nvGrpSpPr>
        <p:cNvPr id="1" name="Shape 766"/>
        <p:cNvGrpSpPr/>
        <p:nvPr/>
      </p:nvGrpSpPr>
      <p:grpSpPr>
        <a:xfrm>
          <a:off x="0" y="0"/>
          <a:ext cx="0" cy="0"/>
          <a:chOff x="0" y="0"/>
          <a:chExt cx="0" cy="0"/>
        </a:xfrm>
      </p:grpSpPr>
      <p:sp>
        <p:nvSpPr>
          <p:cNvPr id="767" name="Shape 767"/>
          <p:cNvSpPr txBox="1">
            <a:spLocks noGrp="1"/>
          </p:cNvSpPr>
          <p:nvPr>
            <p:ph type="title"/>
          </p:nvPr>
        </p:nvSpPr>
        <p:spPr>
          <a:xfrm>
            <a:off x="481594" y="1130743"/>
            <a:ext cx="4013701" cy="946474"/>
          </a:xfrm>
          <a:prstGeom prst="rect">
            <a:avLst/>
          </a:prstGeom>
          <a:noFill/>
          <a:ln>
            <a:noFill/>
          </a:ln>
        </p:spPr>
        <p:txBody>
          <a:bodyPr lIns="68575" tIns="68575" rIns="68575" bIns="68575" anchor="t" anchorCtr="0"/>
          <a:lstStyle>
            <a:lvl1pPr marL="0" marR="0" lvl="0" indent="0" algn="l" rtl="0">
              <a:lnSpc>
                <a:spcPct val="90000"/>
              </a:lnSpc>
              <a:spcBef>
                <a:spcPts val="0"/>
              </a:spcBef>
              <a:spcAft>
                <a:spcPts val="0"/>
              </a:spcAft>
              <a:buNone/>
              <a:defRPr sz="4488" b="0" i="0" u="none" strike="noStrike" cap="none">
                <a:solidFill>
                  <a:schemeClr val="lt1"/>
                </a:solidFill>
                <a:latin typeface="Quattrocento Sans"/>
                <a:ea typeface="Quattrocento Sans"/>
                <a:cs typeface="Quattrocento Sans"/>
                <a:sym typeface="Quattrocento Sans"/>
              </a:defRPr>
            </a:lvl1pPr>
            <a:lvl2pPr marL="0" marR="0" lvl="1"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2pPr>
            <a:lvl3pPr marL="0" marR="0" lvl="2"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3pPr>
            <a:lvl4pPr marL="0" marR="0" lvl="3"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4pPr>
            <a:lvl5pPr marL="0" marR="0" lvl="4"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5pPr>
            <a:lvl6pPr marL="449039" marR="0" lvl="5"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6pPr>
            <a:lvl7pPr marL="915349" marR="0" lvl="6"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7pPr>
            <a:lvl8pPr marL="1364388" marR="0" lvl="7"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8pPr>
            <a:lvl9pPr marL="1830697" marR="0" lvl="8"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9pPr>
          </a:lstStyle>
          <a:p>
            <a:endParaRPr/>
          </a:p>
        </p:txBody>
      </p:sp>
      <p:sp>
        <p:nvSpPr>
          <p:cNvPr id="768" name="Shape 768"/>
          <p:cNvSpPr txBox="1">
            <a:spLocks noGrp="1"/>
          </p:cNvSpPr>
          <p:nvPr>
            <p:ph type="sldNum" idx="12"/>
          </p:nvPr>
        </p:nvSpPr>
        <p:spPr>
          <a:xfrm>
            <a:off x="11595099" y="6565900"/>
            <a:ext cx="566741" cy="136668"/>
          </a:xfrm>
          <a:prstGeom prst="rect">
            <a:avLst/>
          </a:prstGeom>
          <a:noFill/>
          <a:ln>
            <a:noFill/>
          </a:ln>
        </p:spPr>
        <p:txBody>
          <a:bodyPr lIns="68575" tIns="0" rIns="0" bIns="0" anchor="ctr" anchorCtr="0">
            <a:noAutofit/>
          </a:bodyPr>
          <a:lstStyle/>
          <a:p>
            <a:pPr algn="r">
              <a:buSzPct val="25000"/>
            </a:pPr>
            <a:fld id="{00000000-1234-1234-1234-123412341234}" type="slidenum">
              <a:rPr lang="en" sz="952" smtClean="0">
                <a:solidFill>
                  <a:srgbClr val="505050"/>
                </a:solidFill>
                <a:latin typeface="Quattrocento Sans"/>
                <a:ea typeface="Quattrocento Sans"/>
                <a:cs typeface="Quattrocento Sans"/>
                <a:sym typeface="Quattrocento Sans"/>
              </a:rPr>
              <a:pPr algn="r">
                <a:buSzPct val="25000"/>
              </a:pPr>
              <a:t>‹#›</a:t>
            </a:fld>
            <a:endParaRPr lang="en" sz="952">
              <a:solidFill>
                <a:srgbClr val="505050"/>
              </a:solidFill>
              <a:latin typeface="Quattrocento Sans"/>
              <a:ea typeface="Quattrocento Sans"/>
              <a:cs typeface="Quattrocento Sans"/>
              <a:sym typeface="Quattrocento Sans"/>
            </a:endParaRPr>
          </a:p>
        </p:txBody>
      </p:sp>
      <p:sp>
        <p:nvSpPr>
          <p:cNvPr id="769" name="Shape 769"/>
          <p:cNvSpPr/>
          <p:nvPr/>
        </p:nvSpPr>
        <p:spPr>
          <a:xfrm rot="10800000">
            <a:off x="222" y="0"/>
            <a:ext cx="8346066" cy="6994525"/>
          </a:xfrm>
          <a:custGeom>
            <a:avLst/>
            <a:gdLst/>
            <a:ahLst/>
            <a:cxnLst/>
            <a:rect l="0" t="0" r="0" b="0"/>
            <a:pathLst>
              <a:path w="120000" h="120000" extrusionOk="0">
                <a:moveTo>
                  <a:pt x="21378" y="0"/>
                </a:moveTo>
                <a:lnTo>
                  <a:pt x="59321" y="0"/>
                </a:lnTo>
                <a:lnTo>
                  <a:pt x="80313" y="0"/>
                </a:lnTo>
                <a:lnTo>
                  <a:pt x="120000" y="0"/>
                </a:lnTo>
                <a:lnTo>
                  <a:pt x="120000" y="119999"/>
                </a:lnTo>
                <a:lnTo>
                  <a:pt x="80313" y="119999"/>
                </a:lnTo>
                <a:lnTo>
                  <a:pt x="59321" y="119999"/>
                </a:lnTo>
                <a:lnTo>
                  <a:pt x="0" y="119999"/>
                </a:lnTo>
                <a:close/>
              </a:path>
            </a:pathLst>
          </a:custGeom>
          <a:solidFill>
            <a:schemeClr val="accent1"/>
          </a:solidFill>
          <a:ln>
            <a:noFill/>
          </a:ln>
        </p:spPr>
        <p:txBody>
          <a:bodyPr lIns="186473" tIns="149178" rIns="186473" bIns="149178" anchor="t" anchorCtr="0">
            <a:noAutofit/>
          </a:bodyPr>
          <a:lstStyle/>
          <a:p>
            <a:pPr marL="0" marR="0" lvl="0" indent="0" algn="ctr" rtl="0">
              <a:lnSpc>
                <a:spcPct val="90000"/>
              </a:lnSpc>
              <a:spcBef>
                <a:spcPts val="0"/>
              </a:spcBef>
              <a:spcAft>
                <a:spcPts val="0"/>
              </a:spcAft>
              <a:buClr>
                <a:schemeClr val="lt1"/>
              </a:buClr>
              <a:buFont typeface="Quattrocento Sans"/>
              <a:buNone/>
            </a:pPr>
            <a:endParaRPr sz="2040" b="1" i="0" u="none" strike="noStrike" cap="none">
              <a:solidFill>
                <a:srgbClr val="FFFFFF"/>
              </a:solidFill>
              <a:latin typeface="Quattrocento Sans"/>
              <a:ea typeface="Quattrocento Sans"/>
              <a:cs typeface="Quattrocento Sans"/>
              <a:sym typeface="Quattrocento Sans"/>
            </a:endParaRPr>
          </a:p>
        </p:txBody>
      </p:sp>
    </p:spTree>
    <p:extLst>
      <p:ext uri="{BB962C8B-B14F-4D97-AF65-F5344CB8AC3E}">
        <p14:creationId xmlns:p14="http://schemas.microsoft.com/office/powerpoint/2010/main" val="3309771111"/>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Divider Slide 2_Animated">
    <p:spTree>
      <p:nvGrpSpPr>
        <p:cNvPr id="1" name="Shape 770"/>
        <p:cNvGrpSpPr/>
        <p:nvPr/>
      </p:nvGrpSpPr>
      <p:grpSpPr>
        <a:xfrm>
          <a:off x="0" y="0"/>
          <a:ext cx="0" cy="0"/>
          <a:chOff x="0" y="0"/>
          <a:chExt cx="0" cy="0"/>
        </a:xfrm>
      </p:grpSpPr>
      <p:sp>
        <p:nvSpPr>
          <p:cNvPr id="771" name="Shape 771"/>
          <p:cNvSpPr/>
          <p:nvPr/>
        </p:nvSpPr>
        <p:spPr>
          <a:xfrm>
            <a:off x="967621" y="1"/>
            <a:ext cx="11468650" cy="6994525"/>
          </a:xfrm>
          <a:custGeom>
            <a:avLst/>
            <a:gdLst/>
            <a:ahLst/>
            <a:cxnLst/>
            <a:rect l="0" t="0" r="0" b="0"/>
            <a:pathLst>
              <a:path w="120000" h="120000" extrusionOk="0">
                <a:moveTo>
                  <a:pt x="15558" y="0"/>
                </a:moveTo>
                <a:lnTo>
                  <a:pt x="72829" y="0"/>
                </a:lnTo>
                <a:lnTo>
                  <a:pt x="72829" y="0"/>
                </a:lnTo>
                <a:lnTo>
                  <a:pt x="120000" y="0"/>
                </a:lnTo>
                <a:lnTo>
                  <a:pt x="120000" y="119999"/>
                </a:lnTo>
                <a:lnTo>
                  <a:pt x="72829" y="119999"/>
                </a:lnTo>
                <a:lnTo>
                  <a:pt x="0" y="119999"/>
                </a:lnTo>
                <a:close/>
              </a:path>
            </a:pathLst>
          </a:custGeom>
          <a:solidFill>
            <a:schemeClr val="accent1"/>
          </a:solidFill>
          <a:ln>
            <a:noFill/>
          </a:ln>
        </p:spPr>
        <p:txBody>
          <a:bodyPr lIns="93220" tIns="46610" rIns="93220" bIns="46610" anchor="t" anchorCtr="0">
            <a:noAutofit/>
          </a:bodyPr>
          <a:lstStyle/>
          <a:p>
            <a:pPr marL="0" marR="0" lvl="0" indent="0" algn="l" rtl="0">
              <a:lnSpc>
                <a:spcPct val="100000"/>
              </a:lnSpc>
              <a:spcBef>
                <a:spcPts val="0"/>
              </a:spcBef>
              <a:spcAft>
                <a:spcPts val="0"/>
              </a:spcAft>
              <a:buClr>
                <a:schemeClr val="dk1"/>
              </a:buClr>
              <a:buFont typeface="Quattrocento Sans"/>
              <a:buNone/>
            </a:pPr>
            <a:endParaRPr sz="1768" b="0" i="0" u="none" strike="noStrike" cap="none">
              <a:solidFill>
                <a:srgbClr val="000000"/>
              </a:solidFill>
              <a:latin typeface="Quattrocento Sans"/>
              <a:ea typeface="Quattrocento Sans"/>
              <a:cs typeface="Quattrocento Sans"/>
              <a:sym typeface="Quattrocento Sans"/>
            </a:endParaRPr>
          </a:p>
        </p:txBody>
      </p:sp>
      <p:sp>
        <p:nvSpPr>
          <p:cNvPr id="772" name="Shape 772"/>
          <p:cNvSpPr txBox="1">
            <a:spLocks noGrp="1"/>
          </p:cNvSpPr>
          <p:nvPr>
            <p:ph type="body" idx="1"/>
          </p:nvPr>
        </p:nvSpPr>
        <p:spPr>
          <a:xfrm>
            <a:off x="2826707" y="4453275"/>
            <a:ext cx="9143339" cy="574820"/>
          </a:xfrm>
          <a:prstGeom prst="rect">
            <a:avLst/>
          </a:prstGeom>
          <a:noFill/>
          <a:ln>
            <a:noFill/>
          </a:ln>
        </p:spPr>
        <p:txBody>
          <a:bodyPr lIns="68575" tIns="68575" rIns="68575" bIns="68575" anchor="t" anchorCtr="0"/>
          <a:lstStyle>
            <a:lvl1pPr marL="0" marR="0" lvl="0" indent="0" algn="l" rtl="0">
              <a:lnSpc>
                <a:spcPct val="90000"/>
              </a:lnSpc>
              <a:spcBef>
                <a:spcPts val="544"/>
              </a:spcBef>
              <a:spcAft>
                <a:spcPts val="0"/>
              </a:spcAft>
              <a:buClr>
                <a:schemeClr val="lt1"/>
              </a:buClr>
              <a:buFont typeface="Arial"/>
              <a:buNone/>
              <a:defRPr sz="2856" b="0" i="0" u="none" strike="noStrike" cap="none">
                <a:solidFill>
                  <a:schemeClr val="lt1"/>
                </a:solidFill>
                <a:latin typeface="Quattrocento Sans"/>
                <a:ea typeface="Quattrocento Sans"/>
                <a:cs typeface="Quattrocento Sans"/>
                <a:sym typeface="Quattrocento Sans"/>
              </a:defRPr>
            </a:lvl1pPr>
            <a:lvl2pPr marL="0" marR="0" lvl="1" indent="0" algn="l" rtl="0">
              <a:lnSpc>
                <a:spcPct val="90000"/>
              </a:lnSpc>
              <a:spcBef>
                <a:spcPts val="680"/>
              </a:spcBef>
              <a:spcAft>
                <a:spcPts val="0"/>
              </a:spcAft>
              <a:buClr>
                <a:schemeClr val="lt1"/>
              </a:buClr>
              <a:buFont typeface="Arial"/>
              <a:buNone/>
              <a:defRPr sz="3128" b="0" i="0" u="none" strike="noStrike" cap="none">
                <a:solidFill>
                  <a:schemeClr val="lt1"/>
                </a:solidFill>
                <a:latin typeface="Quattrocento Sans"/>
                <a:ea typeface="Quattrocento Sans"/>
                <a:cs typeface="Quattrocento Sans"/>
                <a:sym typeface="Quattrocento Sans"/>
              </a:defRPr>
            </a:lvl2pPr>
            <a:lvl3pPr marL="0" marR="0" lvl="2" indent="0" algn="l" rtl="0">
              <a:lnSpc>
                <a:spcPct val="90000"/>
              </a:lnSpc>
              <a:spcBef>
                <a:spcPts val="680"/>
              </a:spcBef>
              <a:spcAft>
                <a:spcPts val="0"/>
              </a:spcAft>
              <a:buClr>
                <a:schemeClr val="lt1"/>
              </a:buClr>
              <a:buFont typeface="Arial"/>
              <a:buNone/>
              <a:defRPr sz="3128" b="0" i="0" u="none" strike="noStrike" cap="none">
                <a:solidFill>
                  <a:schemeClr val="lt1"/>
                </a:solidFill>
                <a:latin typeface="Quattrocento Sans"/>
                <a:ea typeface="Quattrocento Sans"/>
                <a:cs typeface="Quattrocento Sans"/>
                <a:sym typeface="Quattrocento Sans"/>
              </a:defRPr>
            </a:lvl3pPr>
            <a:lvl4pPr marL="0" marR="0" lvl="3" indent="0" algn="l" rtl="0">
              <a:lnSpc>
                <a:spcPct val="90000"/>
              </a:lnSpc>
              <a:spcBef>
                <a:spcPts val="680"/>
              </a:spcBef>
              <a:spcAft>
                <a:spcPts val="0"/>
              </a:spcAft>
              <a:buClr>
                <a:schemeClr val="lt1"/>
              </a:buClr>
              <a:buFont typeface="Arial"/>
              <a:buNone/>
              <a:defRPr sz="3128" b="0" i="0" u="none" strike="noStrike" cap="none">
                <a:solidFill>
                  <a:schemeClr val="lt1"/>
                </a:solidFill>
                <a:latin typeface="Quattrocento Sans"/>
                <a:ea typeface="Quattrocento Sans"/>
                <a:cs typeface="Quattrocento Sans"/>
                <a:sym typeface="Quattrocento Sans"/>
              </a:defRPr>
            </a:lvl4pPr>
            <a:lvl5pPr marL="0" marR="0" lvl="4" indent="0" algn="l" rtl="0">
              <a:lnSpc>
                <a:spcPct val="90000"/>
              </a:lnSpc>
              <a:spcBef>
                <a:spcPts val="680"/>
              </a:spcBef>
              <a:spcAft>
                <a:spcPts val="0"/>
              </a:spcAft>
              <a:buClr>
                <a:schemeClr val="lt1"/>
              </a:buClr>
              <a:buFont typeface="Arial"/>
              <a:buNone/>
              <a:defRPr sz="3128" b="0" i="0" u="none" strike="noStrike" cap="none">
                <a:solidFill>
                  <a:schemeClr val="lt1"/>
                </a:solidFill>
                <a:latin typeface="Quattrocento Sans"/>
                <a:ea typeface="Quattrocento Sans"/>
                <a:cs typeface="Quattrocento Sans"/>
                <a:sym typeface="Quattrocento Sans"/>
              </a:defRPr>
            </a:lvl5pPr>
            <a:lvl6pPr marL="2556068" marR="0" lvl="5"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6pPr>
            <a:lvl7pPr marL="3022378" marR="0" lvl="6"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7pPr>
            <a:lvl8pPr marL="3488687" marR="0" lvl="7"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8pPr>
            <a:lvl9pPr marL="3954997" marR="0" lvl="8"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9pPr>
          </a:lstStyle>
          <a:p>
            <a:endParaRPr/>
          </a:p>
        </p:txBody>
      </p:sp>
      <p:sp>
        <p:nvSpPr>
          <p:cNvPr id="773" name="Shape 773"/>
          <p:cNvSpPr txBox="1">
            <a:spLocks noGrp="1"/>
          </p:cNvSpPr>
          <p:nvPr>
            <p:ph type="title"/>
          </p:nvPr>
        </p:nvSpPr>
        <p:spPr>
          <a:xfrm>
            <a:off x="2826387" y="3497261"/>
            <a:ext cx="9143747" cy="946474"/>
          </a:xfrm>
          <a:prstGeom prst="rect">
            <a:avLst/>
          </a:prstGeom>
          <a:noFill/>
          <a:ln>
            <a:noFill/>
          </a:ln>
        </p:spPr>
        <p:txBody>
          <a:bodyPr lIns="68575" tIns="68575" rIns="68575" bIns="68575" anchor="t" anchorCtr="0"/>
          <a:lstStyle>
            <a:lvl1pPr marL="0" marR="0" lvl="0" indent="0" algn="l" rtl="0">
              <a:lnSpc>
                <a:spcPct val="90000"/>
              </a:lnSpc>
              <a:spcBef>
                <a:spcPts val="0"/>
              </a:spcBef>
              <a:spcAft>
                <a:spcPts val="0"/>
              </a:spcAft>
              <a:buNone/>
              <a:defRPr sz="5440" b="0" i="0" u="none" strike="noStrike" cap="none">
                <a:solidFill>
                  <a:schemeClr val="lt1"/>
                </a:solidFill>
                <a:latin typeface="Quattrocento Sans"/>
                <a:ea typeface="Quattrocento Sans"/>
                <a:cs typeface="Quattrocento Sans"/>
                <a:sym typeface="Quattrocento Sans"/>
              </a:defRPr>
            </a:lvl1pPr>
            <a:lvl2pPr marL="0" marR="0" lvl="1"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2pPr>
            <a:lvl3pPr marL="0" marR="0" lvl="2"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3pPr>
            <a:lvl4pPr marL="0" marR="0" lvl="3"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4pPr>
            <a:lvl5pPr marL="0" marR="0" lvl="4"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5pPr>
            <a:lvl6pPr marL="449039" marR="0" lvl="5"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6pPr>
            <a:lvl7pPr marL="915349" marR="0" lvl="6"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7pPr>
            <a:lvl8pPr marL="1364388" marR="0" lvl="7"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8pPr>
            <a:lvl9pPr marL="1830697" marR="0" lvl="8"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9pPr>
          </a:lstStyle>
          <a:p>
            <a:endParaRPr/>
          </a:p>
        </p:txBody>
      </p:sp>
    </p:spTree>
    <p:extLst>
      <p:ext uri="{BB962C8B-B14F-4D97-AF65-F5344CB8AC3E}">
        <p14:creationId xmlns:p14="http://schemas.microsoft.com/office/powerpoint/2010/main" val="362175963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cSld name="Divider Slide 2_Not Animated">
    <p:spTree>
      <p:nvGrpSpPr>
        <p:cNvPr id="1" name="Shape 774"/>
        <p:cNvGrpSpPr/>
        <p:nvPr/>
      </p:nvGrpSpPr>
      <p:grpSpPr>
        <a:xfrm>
          <a:off x="0" y="0"/>
          <a:ext cx="0" cy="0"/>
          <a:chOff x="0" y="0"/>
          <a:chExt cx="0" cy="0"/>
        </a:xfrm>
      </p:grpSpPr>
      <p:sp>
        <p:nvSpPr>
          <p:cNvPr id="775" name="Shape 775"/>
          <p:cNvSpPr/>
          <p:nvPr/>
        </p:nvSpPr>
        <p:spPr>
          <a:xfrm>
            <a:off x="1663475" y="0"/>
            <a:ext cx="11468650" cy="6994525"/>
          </a:xfrm>
          <a:custGeom>
            <a:avLst/>
            <a:gdLst/>
            <a:ahLst/>
            <a:cxnLst/>
            <a:rect l="0" t="0" r="0" b="0"/>
            <a:pathLst>
              <a:path w="120000" h="120000" extrusionOk="0">
                <a:moveTo>
                  <a:pt x="15558" y="0"/>
                </a:moveTo>
                <a:lnTo>
                  <a:pt x="72829" y="0"/>
                </a:lnTo>
                <a:lnTo>
                  <a:pt x="72829" y="0"/>
                </a:lnTo>
                <a:lnTo>
                  <a:pt x="120000" y="0"/>
                </a:lnTo>
                <a:lnTo>
                  <a:pt x="120000" y="119999"/>
                </a:lnTo>
                <a:lnTo>
                  <a:pt x="72829" y="119999"/>
                </a:lnTo>
                <a:lnTo>
                  <a:pt x="0" y="119999"/>
                </a:lnTo>
                <a:close/>
              </a:path>
            </a:pathLst>
          </a:custGeom>
          <a:solidFill>
            <a:schemeClr val="accent1"/>
          </a:solidFill>
          <a:ln>
            <a:noFill/>
          </a:ln>
        </p:spPr>
        <p:txBody>
          <a:bodyPr lIns="93220" tIns="46610" rIns="93220" bIns="46610" anchor="t" anchorCtr="0">
            <a:noAutofit/>
          </a:bodyPr>
          <a:lstStyle/>
          <a:p>
            <a:pPr marL="0" marR="0" lvl="0" indent="0" algn="l" rtl="0">
              <a:lnSpc>
                <a:spcPct val="100000"/>
              </a:lnSpc>
              <a:spcBef>
                <a:spcPts val="0"/>
              </a:spcBef>
              <a:spcAft>
                <a:spcPts val="0"/>
              </a:spcAft>
              <a:buClr>
                <a:schemeClr val="dk1"/>
              </a:buClr>
              <a:buFont typeface="Quattrocento Sans"/>
              <a:buNone/>
            </a:pPr>
            <a:endParaRPr sz="1768" b="0" i="0" u="none" strike="noStrike" cap="none">
              <a:solidFill>
                <a:srgbClr val="000000"/>
              </a:solidFill>
              <a:latin typeface="Quattrocento Sans"/>
              <a:ea typeface="Quattrocento Sans"/>
              <a:cs typeface="Quattrocento Sans"/>
              <a:sym typeface="Quattrocento Sans"/>
            </a:endParaRPr>
          </a:p>
        </p:txBody>
      </p:sp>
      <p:sp>
        <p:nvSpPr>
          <p:cNvPr id="776" name="Shape 776"/>
          <p:cNvSpPr txBox="1">
            <a:spLocks noGrp="1"/>
          </p:cNvSpPr>
          <p:nvPr>
            <p:ph type="body" idx="1"/>
          </p:nvPr>
        </p:nvSpPr>
        <p:spPr>
          <a:xfrm>
            <a:off x="2826707" y="4453275"/>
            <a:ext cx="9143339" cy="574820"/>
          </a:xfrm>
          <a:prstGeom prst="rect">
            <a:avLst/>
          </a:prstGeom>
          <a:noFill/>
          <a:ln>
            <a:noFill/>
          </a:ln>
        </p:spPr>
        <p:txBody>
          <a:bodyPr lIns="68575" tIns="68575" rIns="68575" bIns="68575" anchor="t" anchorCtr="0"/>
          <a:lstStyle>
            <a:lvl1pPr marL="0" marR="0" lvl="0" indent="0" algn="l" rtl="0">
              <a:lnSpc>
                <a:spcPct val="90000"/>
              </a:lnSpc>
              <a:spcBef>
                <a:spcPts val="544"/>
              </a:spcBef>
              <a:spcAft>
                <a:spcPts val="0"/>
              </a:spcAft>
              <a:buClr>
                <a:schemeClr val="lt1"/>
              </a:buClr>
              <a:buFont typeface="Arial"/>
              <a:buNone/>
              <a:defRPr sz="2856" b="0" i="0" u="none" strike="noStrike" cap="none">
                <a:solidFill>
                  <a:schemeClr val="lt1"/>
                </a:solidFill>
                <a:latin typeface="Quattrocento Sans"/>
                <a:ea typeface="Quattrocento Sans"/>
                <a:cs typeface="Quattrocento Sans"/>
                <a:sym typeface="Quattrocento Sans"/>
              </a:defRPr>
            </a:lvl1pPr>
            <a:lvl2pPr marL="0" marR="0" lvl="1" indent="0" algn="l" rtl="0">
              <a:lnSpc>
                <a:spcPct val="90000"/>
              </a:lnSpc>
              <a:spcBef>
                <a:spcPts val="680"/>
              </a:spcBef>
              <a:spcAft>
                <a:spcPts val="0"/>
              </a:spcAft>
              <a:buClr>
                <a:schemeClr val="lt1"/>
              </a:buClr>
              <a:buFont typeface="Arial"/>
              <a:buNone/>
              <a:defRPr sz="3128" b="0" i="0" u="none" strike="noStrike" cap="none">
                <a:solidFill>
                  <a:schemeClr val="lt1"/>
                </a:solidFill>
                <a:latin typeface="Quattrocento Sans"/>
                <a:ea typeface="Quattrocento Sans"/>
                <a:cs typeface="Quattrocento Sans"/>
                <a:sym typeface="Quattrocento Sans"/>
              </a:defRPr>
            </a:lvl2pPr>
            <a:lvl3pPr marL="0" marR="0" lvl="2" indent="0" algn="l" rtl="0">
              <a:lnSpc>
                <a:spcPct val="90000"/>
              </a:lnSpc>
              <a:spcBef>
                <a:spcPts val="680"/>
              </a:spcBef>
              <a:spcAft>
                <a:spcPts val="0"/>
              </a:spcAft>
              <a:buClr>
                <a:schemeClr val="lt1"/>
              </a:buClr>
              <a:buFont typeface="Arial"/>
              <a:buNone/>
              <a:defRPr sz="3128" b="0" i="0" u="none" strike="noStrike" cap="none">
                <a:solidFill>
                  <a:schemeClr val="lt1"/>
                </a:solidFill>
                <a:latin typeface="Quattrocento Sans"/>
                <a:ea typeface="Quattrocento Sans"/>
                <a:cs typeface="Quattrocento Sans"/>
                <a:sym typeface="Quattrocento Sans"/>
              </a:defRPr>
            </a:lvl3pPr>
            <a:lvl4pPr marL="0" marR="0" lvl="3" indent="0" algn="l" rtl="0">
              <a:lnSpc>
                <a:spcPct val="90000"/>
              </a:lnSpc>
              <a:spcBef>
                <a:spcPts val="680"/>
              </a:spcBef>
              <a:spcAft>
                <a:spcPts val="0"/>
              </a:spcAft>
              <a:buClr>
                <a:schemeClr val="lt1"/>
              </a:buClr>
              <a:buFont typeface="Arial"/>
              <a:buNone/>
              <a:defRPr sz="3128" b="0" i="0" u="none" strike="noStrike" cap="none">
                <a:solidFill>
                  <a:schemeClr val="lt1"/>
                </a:solidFill>
                <a:latin typeface="Quattrocento Sans"/>
                <a:ea typeface="Quattrocento Sans"/>
                <a:cs typeface="Quattrocento Sans"/>
                <a:sym typeface="Quattrocento Sans"/>
              </a:defRPr>
            </a:lvl4pPr>
            <a:lvl5pPr marL="0" marR="0" lvl="4" indent="0" algn="l" rtl="0">
              <a:lnSpc>
                <a:spcPct val="90000"/>
              </a:lnSpc>
              <a:spcBef>
                <a:spcPts val="680"/>
              </a:spcBef>
              <a:spcAft>
                <a:spcPts val="0"/>
              </a:spcAft>
              <a:buClr>
                <a:schemeClr val="lt1"/>
              </a:buClr>
              <a:buFont typeface="Arial"/>
              <a:buNone/>
              <a:defRPr sz="3128" b="0" i="0" u="none" strike="noStrike" cap="none">
                <a:solidFill>
                  <a:schemeClr val="lt1"/>
                </a:solidFill>
                <a:latin typeface="Quattrocento Sans"/>
                <a:ea typeface="Quattrocento Sans"/>
                <a:cs typeface="Quattrocento Sans"/>
                <a:sym typeface="Quattrocento Sans"/>
              </a:defRPr>
            </a:lvl5pPr>
            <a:lvl6pPr marL="2556068" marR="0" lvl="5"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6pPr>
            <a:lvl7pPr marL="3022378" marR="0" lvl="6"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7pPr>
            <a:lvl8pPr marL="3488687" marR="0" lvl="7"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8pPr>
            <a:lvl9pPr marL="3954997" marR="0" lvl="8"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9pPr>
          </a:lstStyle>
          <a:p>
            <a:endParaRPr/>
          </a:p>
        </p:txBody>
      </p:sp>
      <p:sp>
        <p:nvSpPr>
          <p:cNvPr id="777" name="Shape 777"/>
          <p:cNvSpPr txBox="1">
            <a:spLocks noGrp="1"/>
          </p:cNvSpPr>
          <p:nvPr>
            <p:ph type="title"/>
          </p:nvPr>
        </p:nvSpPr>
        <p:spPr>
          <a:xfrm>
            <a:off x="2826387" y="3497261"/>
            <a:ext cx="9143747" cy="946474"/>
          </a:xfrm>
          <a:prstGeom prst="rect">
            <a:avLst/>
          </a:prstGeom>
          <a:noFill/>
          <a:ln>
            <a:noFill/>
          </a:ln>
        </p:spPr>
        <p:txBody>
          <a:bodyPr lIns="68575" tIns="68575" rIns="68575" bIns="68575" anchor="t" anchorCtr="0"/>
          <a:lstStyle>
            <a:lvl1pPr marL="0" marR="0" lvl="0" indent="0" algn="l" rtl="0">
              <a:lnSpc>
                <a:spcPct val="90000"/>
              </a:lnSpc>
              <a:spcBef>
                <a:spcPts val="0"/>
              </a:spcBef>
              <a:spcAft>
                <a:spcPts val="0"/>
              </a:spcAft>
              <a:buNone/>
              <a:defRPr sz="5440" b="0" i="0" u="none" strike="noStrike" cap="none">
                <a:solidFill>
                  <a:schemeClr val="lt1"/>
                </a:solidFill>
                <a:latin typeface="Quattrocento Sans"/>
                <a:ea typeface="Quattrocento Sans"/>
                <a:cs typeface="Quattrocento Sans"/>
                <a:sym typeface="Quattrocento Sans"/>
              </a:defRPr>
            </a:lvl1pPr>
            <a:lvl2pPr marL="0" marR="0" lvl="1"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2pPr>
            <a:lvl3pPr marL="0" marR="0" lvl="2"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3pPr>
            <a:lvl4pPr marL="0" marR="0" lvl="3"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4pPr>
            <a:lvl5pPr marL="0" marR="0" lvl="4"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5pPr>
            <a:lvl6pPr marL="449039" marR="0" lvl="5"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6pPr>
            <a:lvl7pPr marL="915349" marR="0" lvl="6"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7pPr>
            <a:lvl8pPr marL="1364388" marR="0" lvl="7"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8pPr>
            <a:lvl9pPr marL="1830697" marR="0" lvl="8"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9pPr>
          </a:lstStyle>
          <a:p>
            <a:endParaRPr/>
          </a:p>
        </p:txBody>
      </p:sp>
    </p:spTree>
    <p:extLst>
      <p:ext uri="{BB962C8B-B14F-4D97-AF65-F5344CB8AC3E}">
        <p14:creationId xmlns:p14="http://schemas.microsoft.com/office/powerpoint/2010/main" val="416893338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cSld name="Large Title and Content">
    <p:spTree>
      <p:nvGrpSpPr>
        <p:cNvPr id="1" name="Shape 778"/>
        <p:cNvGrpSpPr/>
        <p:nvPr/>
      </p:nvGrpSpPr>
      <p:grpSpPr>
        <a:xfrm>
          <a:off x="0" y="0"/>
          <a:ext cx="0" cy="0"/>
          <a:chOff x="0" y="0"/>
          <a:chExt cx="0" cy="0"/>
        </a:xfrm>
      </p:grpSpPr>
      <p:sp>
        <p:nvSpPr>
          <p:cNvPr id="779" name="Shape 779"/>
          <p:cNvSpPr/>
          <p:nvPr/>
        </p:nvSpPr>
        <p:spPr>
          <a:xfrm>
            <a:off x="0" y="1"/>
            <a:ext cx="4219343" cy="6994525"/>
          </a:xfrm>
          <a:custGeom>
            <a:avLst/>
            <a:gdLst/>
            <a:ahLst/>
            <a:cxnLst/>
            <a:rect l="0" t="0" r="0" b="0"/>
            <a:pathLst>
              <a:path w="120000" h="120000" extrusionOk="0">
                <a:moveTo>
                  <a:pt x="0" y="0"/>
                </a:moveTo>
                <a:lnTo>
                  <a:pt x="7801" y="0"/>
                </a:lnTo>
                <a:lnTo>
                  <a:pt x="13631" y="0"/>
                </a:lnTo>
                <a:lnTo>
                  <a:pt x="120000" y="0"/>
                </a:lnTo>
                <a:lnTo>
                  <a:pt x="77711" y="119999"/>
                </a:lnTo>
                <a:lnTo>
                  <a:pt x="13631" y="119999"/>
                </a:lnTo>
                <a:lnTo>
                  <a:pt x="7801" y="119999"/>
                </a:lnTo>
                <a:lnTo>
                  <a:pt x="0" y="119999"/>
                </a:lnTo>
                <a:close/>
              </a:path>
            </a:pathLst>
          </a:custGeom>
          <a:solidFill>
            <a:schemeClr val="accent1"/>
          </a:solidFill>
          <a:ln>
            <a:noFill/>
          </a:ln>
        </p:spPr>
        <p:txBody>
          <a:bodyPr lIns="186473" tIns="149178" rIns="186473" bIns="149178" anchor="t" anchorCtr="0">
            <a:noAutofit/>
          </a:bodyPr>
          <a:lstStyle/>
          <a:p>
            <a:pPr marL="0" marR="0" lvl="0" indent="0" algn="ctr" rtl="0">
              <a:lnSpc>
                <a:spcPct val="90000"/>
              </a:lnSpc>
              <a:spcBef>
                <a:spcPts val="0"/>
              </a:spcBef>
              <a:spcAft>
                <a:spcPts val="0"/>
              </a:spcAft>
              <a:buClr>
                <a:schemeClr val="lt1"/>
              </a:buClr>
              <a:buFont typeface="Quattrocento Sans"/>
              <a:buNone/>
            </a:pPr>
            <a:endParaRPr sz="2040" b="1" i="0" u="none" strike="noStrike" cap="none">
              <a:solidFill>
                <a:srgbClr val="FFFFFF"/>
              </a:solidFill>
              <a:latin typeface="Quattrocento Sans"/>
              <a:ea typeface="Quattrocento Sans"/>
              <a:cs typeface="Quattrocento Sans"/>
              <a:sym typeface="Quattrocento Sans"/>
            </a:endParaRPr>
          </a:p>
        </p:txBody>
      </p:sp>
      <p:sp>
        <p:nvSpPr>
          <p:cNvPr id="780" name="Shape 780"/>
          <p:cNvSpPr txBox="1"/>
          <p:nvPr/>
        </p:nvSpPr>
        <p:spPr>
          <a:xfrm>
            <a:off x="10117138" y="-1044574"/>
            <a:ext cx="914375" cy="914653"/>
          </a:xfrm>
          <a:prstGeom prst="rect">
            <a:avLst/>
          </a:prstGeom>
          <a:noFill/>
          <a:ln>
            <a:noFill/>
          </a:ln>
        </p:spPr>
        <p:txBody>
          <a:bodyPr lIns="182801" tIns="146221" rIns="182801" bIns="146221" anchor="t" anchorCtr="0">
            <a:noAutofit/>
          </a:bodyPr>
          <a:lstStyle/>
          <a:p>
            <a:pPr marL="0" marR="0" lvl="0" indent="0" algn="l" rtl="0">
              <a:lnSpc>
                <a:spcPct val="90000"/>
              </a:lnSpc>
              <a:spcBef>
                <a:spcPts val="0"/>
              </a:spcBef>
              <a:spcAft>
                <a:spcPts val="0"/>
              </a:spcAft>
              <a:buClr>
                <a:schemeClr val="dk1"/>
              </a:buClr>
              <a:buFont typeface="Quattrocento Sans"/>
              <a:buNone/>
            </a:pPr>
            <a:endParaRPr sz="2448" b="0" i="0" u="none" strike="noStrike" cap="none">
              <a:solidFill>
                <a:srgbClr val="FFFFFF"/>
              </a:solidFill>
              <a:latin typeface="Quattrocento Sans"/>
              <a:ea typeface="Quattrocento Sans"/>
              <a:cs typeface="Quattrocento Sans"/>
              <a:sym typeface="Quattrocento Sans"/>
            </a:endParaRPr>
          </a:p>
        </p:txBody>
      </p:sp>
      <p:sp>
        <p:nvSpPr>
          <p:cNvPr id="781" name="Shape 781"/>
          <p:cNvSpPr txBox="1"/>
          <p:nvPr/>
        </p:nvSpPr>
        <p:spPr>
          <a:xfrm>
            <a:off x="11274425" y="-1708149"/>
            <a:ext cx="914375" cy="914653"/>
          </a:xfrm>
          <a:prstGeom prst="rect">
            <a:avLst/>
          </a:prstGeom>
          <a:noFill/>
          <a:ln>
            <a:noFill/>
          </a:ln>
        </p:spPr>
        <p:txBody>
          <a:bodyPr lIns="182801" tIns="146221" rIns="182801" bIns="146221" anchor="t" anchorCtr="0">
            <a:noAutofit/>
          </a:bodyPr>
          <a:lstStyle/>
          <a:p>
            <a:pPr marL="0" marR="0" lvl="0" indent="0" algn="l" rtl="0">
              <a:lnSpc>
                <a:spcPct val="90000"/>
              </a:lnSpc>
              <a:spcBef>
                <a:spcPts val="0"/>
              </a:spcBef>
              <a:spcAft>
                <a:spcPts val="0"/>
              </a:spcAft>
              <a:buClr>
                <a:schemeClr val="dk1"/>
              </a:buClr>
              <a:buFont typeface="Quattrocento Sans"/>
              <a:buNone/>
            </a:pPr>
            <a:endParaRPr sz="2448" b="0" i="0" u="none" strike="noStrike" cap="none">
              <a:solidFill>
                <a:srgbClr val="FFFFFF"/>
              </a:solidFill>
              <a:latin typeface="Quattrocento Sans"/>
              <a:ea typeface="Quattrocento Sans"/>
              <a:cs typeface="Quattrocento Sans"/>
              <a:sym typeface="Quattrocento Sans"/>
            </a:endParaRPr>
          </a:p>
        </p:txBody>
      </p:sp>
      <p:sp>
        <p:nvSpPr>
          <p:cNvPr id="782" name="Shape 782"/>
          <p:cNvSpPr txBox="1">
            <a:spLocks noGrp="1"/>
          </p:cNvSpPr>
          <p:nvPr>
            <p:ph type="title"/>
          </p:nvPr>
        </p:nvSpPr>
        <p:spPr>
          <a:xfrm>
            <a:off x="274321" y="292084"/>
            <a:ext cx="3093614" cy="2052870"/>
          </a:xfrm>
          <a:prstGeom prst="rect">
            <a:avLst/>
          </a:prstGeom>
          <a:noFill/>
          <a:ln>
            <a:noFill/>
          </a:ln>
        </p:spPr>
        <p:txBody>
          <a:bodyPr lIns="68575" tIns="68575" rIns="68575" bIns="68575" anchor="t" anchorCtr="0"/>
          <a:lstStyle>
            <a:lvl1pPr marL="0" marR="0" lvl="0" indent="0" algn="l" rtl="0">
              <a:lnSpc>
                <a:spcPct val="90000"/>
              </a:lnSpc>
              <a:spcBef>
                <a:spcPts val="0"/>
              </a:spcBef>
              <a:spcAft>
                <a:spcPts val="0"/>
              </a:spcAft>
              <a:buNone/>
              <a:defRPr sz="4488" b="0" i="0" u="none" strike="noStrike" cap="none">
                <a:solidFill>
                  <a:schemeClr val="lt1"/>
                </a:solidFill>
                <a:latin typeface="Quattrocento Sans"/>
                <a:ea typeface="Quattrocento Sans"/>
                <a:cs typeface="Quattrocento Sans"/>
                <a:sym typeface="Quattrocento Sans"/>
              </a:defRPr>
            </a:lvl1pPr>
            <a:lvl2pPr marL="0" marR="0" lvl="1"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2pPr>
            <a:lvl3pPr marL="0" marR="0" lvl="2"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3pPr>
            <a:lvl4pPr marL="0" marR="0" lvl="3"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4pPr>
            <a:lvl5pPr marL="0" marR="0" lvl="4"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5pPr>
            <a:lvl6pPr marL="449039" marR="0" lvl="5"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6pPr>
            <a:lvl7pPr marL="915349" marR="0" lvl="6"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7pPr>
            <a:lvl8pPr marL="1364388" marR="0" lvl="7"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8pPr>
            <a:lvl9pPr marL="1830697" marR="0" lvl="8"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9pPr>
          </a:lstStyle>
          <a:p>
            <a:endParaRPr/>
          </a:p>
        </p:txBody>
      </p:sp>
      <p:sp>
        <p:nvSpPr>
          <p:cNvPr id="783" name="Shape 783"/>
          <p:cNvSpPr txBox="1">
            <a:spLocks noGrp="1"/>
          </p:cNvSpPr>
          <p:nvPr>
            <p:ph type="sldNum" idx="12"/>
          </p:nvPr>
        </p:nvSpPr>
        <p:spPr>
          <a:xfrm>
            <a:off x="11595099" y="6565900"/>
            <a:ext cx="566741" cy="136668"/>
          </a:xfrm>
          <a:prstGeom prst="rect">
            <a:avLst/>
          </a:prstGeom>
          <a:noFill/>
          <a:ln>
            <a:noFill/>
          </a:ln>
        </p:spPr>
        <p:txBody>
          <a:bodyPr lIns="68575" tIns="0" rIns="0" bIns="0" anchor="ctr" anchorCtr="0">
            <a:noAutofit/>
          </a:bodyPr>
          <a:lstStyle/>
          <a:p>
            <a:pPr algn="r">
              <a:buSzPct val="25000"/>
            </a:pPr>
            <a:fld id="{00000000-1234-1234-1234-123412341234}" type="slidenum">
              <a:rPr lang="en" sz="952" smtClean="0">
                <a:solidFill>
                  <a:srgbClr val="505050"/>
                </a:solidFill>
                <a:latin typeface="Quattrocento Sans"/>
                <a:ea typeface="Quattrocento Sans"/>
                <a:cs typeface="Quattrocento Sans"/>
                <a:sym typeface="Quattrocento Sans"/>
              </a:rPr>
              <a:pPr algn="r">
                <a:buSzPct val="25000"/>
              </a:pPr>
              <a:t>‹#›</a:t>
            </a:fld>
            <a:endParaRPr lang="en" sz="952">
              <a:solidFill>
                <a:srgbClr val="505050"/>
              </a:solidFill>
              <a:latin typeface="Quattrocento Sans"/>
              <a:ea typeface="Quattrocento Sans"/>
              <a:cs typeface="Quattrocento Sans"/>
              <a:sym typeface="Quattrocento Sans"/>
            </a:endParaRPr>
          </a:p>
        </p:txBody>
      </p:sp>
      <p:sp>
        <p:nvSpPr>
          <p:cNvPr id="784" name="Shape 784"/>
          <p:cNvSpPr txBox="1">
            <a:spLocks noGrp="1"/>
          </p:cNvSpPr>
          <p:nvPr>
            <p:ph type="body" idx="1"/>
          </p:nvPr>
        </p:nvSpPr>
        <p:spPr>
          <a:xfrm>
            <a:off x="4219474" y="757739"/>
            <a:ext cx="7941718" cy="5478943"/>
          </a:xfrm>
          <a:prstGeom prst="rect">
            <a:avLst/>
          </a:prstGeom>
          <a:noFill/>
          <a:ln>
            <a:noFill/>
          </a:ln>
        </p:spPr>
        <p:txBody>
          <a:bodyPr lIns="68575" tIns="68575" rIns="68575" bIns="68575" anchor="t" anchorCtr="0"/>
          <a:lstStyle>
            <a:lvl1pPr marL="0" marR="0" lvl="0" indent="0" algn="l" rtl="0">
              <a:lnSpc>
                <a:spcPct val="90000"/>
              </a:lnSpc>
              <a:spcBef>
                <a:spcPts val="1224"/>
              </a:spcBef>
              <a:spcAft>
                <a:spcPts val="0"/>
              </a:spcAft>
              <a:buClr>
                <a:schemeClr val="dk2"/>
              </a:buClr>
              <a:buFont typeface="Arial"/>
              <a:buNone/>
              <a:defRPr sz="3264" b="0" i="0" u="none" strike="noStrike" cap="none">
                <a:solidFill>
                  <a:schemeClr val="dk2"/>
                </a:solidFill>
                <a:latin typeface="Quattrocento Sans"/>
                <a:ea typeface="Quattrocento Sans"/>
                <a:cs typeface="Quattrocento Sans"/>
                <a:sym typeface="Quattrocento Sans"/>
              </a:defRPr>
            </a:lvl1pPr>
            <a:lvl2pPr marL="0" marR="0" lvl="1" indent="0" algn="l" rtl="0">
              <a:lnSpc>
                <a:spcPct val="90000"/>
              </a:lnSpc>
              <a:spcBef>
                <a:spcPts val="1224"/>
              </a:spcBef>
              <a:spcAft>
                <a:spcPts val="0"/>
              </a:spcAft>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569934" marR="0" lvl="2" indent="0" algn="l" rtl="0">
              <a:lnSpc>
                <a:spcPct val="90000"/>
              </a:lnSpc>
              <a:spcBef>
                <a:spcPts val="408"/>
              </a:spcBef>
              <a:spcAft>
                <a:spcPts val="0"/>
              </a:spcAft>
              <a:buClr>
                <a:schemeClr val="dk2"/>
              </a:buClr>
              <a:buFont typeface="Arial"/>
              <a:buNone/>
              <a:defRPr sz="1768" b="0" i="0" u="none" strike="noStrike" cap="none">
                <a:solidFill>
                  <a:schemeClr val="dk2"/>
                </a:solidFill>
                <a:latin typeface="Quattrocento Sans"/>
                <a:ea typeface="Quattrocento Sans"/>
                <a:cs typeface="Quattrocento Sans"/>
                <a:sym typeface="Quattrocento Sans"/>
              </a:defRPr>
            </a:lvl3pPr>
            <a:lvl4pPr marL="1036244" marR="0" lvl="3" indent="-138166" algn="l" rtl="0">
              <a:lnSpc>
                <a:spcPct val="90000"/>
              </a:lnSpc>
              <a:spcBef>
                <a:spcPts val="408"/>
              </a:spcBef>
              <a:spcAft>
                <a:spcPts val="0"/>
              </a:spcAft>
              <a:buClr>
                <a:schemeClr val="dk2"/>
              </a:buClr>
              <a:buSzPct val="85714"/>
              <a:buFont typeface="Arial"/>
              <a:buChar char="•"/>
              <a:defRPr sz="1904" b="0" i="0" u="none" strike="noStrike" cap="none">
                <a:solidFill>
                  <a:schemeClr val="dk2"/>
                </a:solidFill>
                <a:latin typeface="Quattrocento Sans"/>
                <a:ea typeface="Quattrocento Sans"/>
                <a:cs typeface="Quattrocento Sans"/>
                <a:sym typeface="Quattrocento Sans"/>
              </a:defRPr>
            </a:lvl4pPr>
            <a:lvl5pPr marL="1260763" marR="0" lvl="4" indent="-138166" algn="l" rtl="0">
              <a:lnSpc>
                <a:spcPct val="90000"/>
              </a:lnSpc>
              <a:spcBef>
                <a:spcPts val="408"/>
              </a:spcBef>
              <a:spcAft>
                <a:spcPts val="0"/>
              </a:spcAft>
              <a:buClr>
                <a:schemeClr val="dk2"/>
              </a:buClr>
              <a:buSzPct val="85714"/>
              <a:buFont typeface="Arial"/>
              <a:buChar char="•"/>
              <a:defRPr sz="1904" b="0" i="0" u="none" strike="noStrike" cap="none">
                <a:solidFill>
                  <a:schemeClr val="dk2"/>
                </a:solidFill>
                <a:latin typeface="Quattrocento Sans"/>
                <a:ea typeface="Quattrocento Sans"/>
                <a:cs typeface="Quattrocento Sans"/>
                <a:sym typeface="Quattrocento Sans"/>
              </a:defRPr>
            </a:lvl5pPr>
            <a:lvl6pPr marL="2556068" marR="0" lvl="5"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6pPr>
            <a:lvl7pPr marL="3022378" marR="0" lvl="6"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7pPr>
            <a:lvl8pPr marL="3488687" marR="0" lvl="7"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8pPr>
            <a:lvl9pPr marL="3954997" marR="0" lvl="8"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9pPr>
          </a:lstStyle>
          <a:p>
            <a:endParaRPr/>
          </a:p>
        </p:txBody>
      </p:sp>
    </p:spTree>
    <p:extLst>
      <p:ext uri="{BB962C8B-B14F-4D97-AF65-F5344CB8AC3E}">
        <p14:creationId xmlns:p14="http://schemas.microsoft.com/office/powerpoint/2010/main" val="3081722677"/>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cSld name="Small Title and Content">
    <p:spTree>
      <p:nvGrpSpPr>
        <p:cNvPr id="1" name="Shape 785"/>
        <p:cNvGrpSpPr/>
        <p:nvPr/>
      </p:nvGrpSpPr>
      <p:grpSpPr>
        <a:xfrm>
          <a:off x="0" y="0"/>
          <a:ext cx="0" cy="0"/>
          <a:chOff x="0" y="0"/>
          <a:chExt cx="0" cy="0"/>
        </a:xfrm>
      </p:grpSpPr>
      <p:sp>
        <p:nvSpPr>
          <p:cNvPr id="786" name="Shape 786"/>
          <p:cNvSpPr/>
          <p:nvPr/>
        </p:nvSpPr>
        <p:spPr>
          <a:xfrm rot="10800000">
            <a:off x="-84" y="3"/>
            <a:ext cx="3108711" cy="6994525"/>
          </a:xfrm>
          <a:custGeom>
            <a:avLst/>
            <a:gdLst/>
            <a:ahLst/>
            <a:cxnLst/>
            <a:rect l="0" t="0" r="0" b="0"/>
            <a:pathLst>
              <a:path w="120000" h="120000" extrusionOk="0">
                <a:moveTo>
                  <a:pt x="120000" y="119999"/>
                </a:moveTo>
                <a:lnTo>
                  <a:pt x="0" y="119999"/>
                </a:lnTo>
                <a:lnTo>
                  <a:pt x="57399" y="0"/>
                </a:lnTo>
                <a:lnTo>
                  <a:pt x="120000" y="0"/>
                </a:lnTo>
                <a:close/>
              </a:path>
            </a:pathLst>
          </a:custGeom>
          <a:solidFill>
            <a:schemeClr val="accent1"/>
          </a:solidFill>
          <a:ln>
            <a:noFill/>
          </a:ln>
        </p:spPr>
        <p:txBody>
          <a:bodyPr lIns="93220" tIns="46610" rIns="93220" bIns="46610" anchor="t" anchorCtr="0">
            <a:noAutofit/>
          </a:bodyPr>
          <a:lstStyle/>
          <a:p>
            <a:pPr marL="0" marR="0" lvl="0" indent="0" algn="l" rtl="0">
              <a:lnSpc>
                <a:spcPct val="100000"/>
              </a:lnSpc>
              <a:spcBef>
                <a:spcPts val="0"/>
              </a:spcBef>
              <a:spcAft>
                <a:spcPts val="0"/>
              </a:spcAft>
              <a:buClr>
                <a:schemeClr val="dk1"/>
              </a:buClr>
              <a:buFont typeface="Quattrocento Sans"/>
              <a:buNone/>
            </a:pPr>
            <a:endParaRPr sz="1768" b="0" i="0" u="none" strike="noStrike" cap="none">
              <a:solidFill>
                <a:srgbClr val="000000"/>
              </a:solidFill>
              <a:latin typeface="Quattrocento Sans"/>
              <a:ea typeface="Quattrocento Sans"/>
              <a:cs typeface="Quattrocento Sans"/>
              <a:sym typeface="Quattrocento Sans"/>
            </a:endParaRPr>
          </a:p>
        </p:txBody>
      </p:sp>
      <p:sp>
        <p:nvSpPr>
          <p:cNvPr id="787" name="Shape 787"/>
          <p:cNvSpPr txBox="1"/>
          <p:nvPr/>
        </p:nvSpPr>
        <p:spPr>
          <a:xfrm>
            <a:off x="10117138" y="-1044574"/>
            <a:ext cx="914375" cy="914653"/>
          </a:xfrm>
          <a:prstGeom prst="rect">
            <a:avLst/>
          </a:prstGeom>
          <a:noFill/>
          <a:ln>
            <a:noFill/>
          </a:ln>
        </p:spPr>
        <p:txBody>
          <a:bodyPr lIns="182801" tIns="146221" rIns="182801" bIns="146221" anchor="t" anchorCtr="0">
            <a:noAutofit/>
          </a:bodyPr>
          <a:lstStyle/>
          <a:p>
            <a:pPr marL="0" marR="0" lvl="0" indent="0" algn="l" rtl="0">
              <a:lnSpc>
                <a:spcPct val="90000"/>
              </a:lnSpc>
              <a:spcBef>
                <a:spcPts val="0"/>
              </a:spcBef>
              <a:spcAft>
                <a:spcPts val="0"/>
              </a:spcAft>
              <a:buClr>
                <a:schemeClr val="dk1"/>
              </a:buClr>
              <a:buFont typeface="Quattrocento Sans"/>
              <a:buNone/>
            </a:pPr>
            <a:endParaRPr sz="2448" b="0" i="0" u="none" strike="noStrike" cap="none">
              <a:solidFill>
                <a:srgbClr val="FFFFFF"/>
              </a:solidFill>
              <a:latin typeface="Quattrocento Sans"/>
              <a:ea typeface="Quattrocento Sans"/>
              <a:cs typeface="Quattrocento Sans"/>
              <a:sym typeface="Quattrocento Sans"/>
            </a:endParaRPr>
          </a:p>
        </p:txBody>
      </p:sp>
      <p:sp>
        <p:nvSpPr>
          <p:cNvPr id="788" name="Shape 788"/>
          <p:cNvSpPr txBox="1"/>
          <p:nvPr/>
        </p:nvSpPr>
        <p:spPr>
          <a:xfrm>
            <a:off x="11274425" y="-1708149"/>
            <a:ext cx="914375" cy="914653"/>
          </a:xfrm>
          <a:prstGeom prst="rect">
            <a:avLst/>
          </a:prstGeom>
          <a:noFill/>
          <a:ln>
            <a:noFill/>
          </a:ln>
        </p:spPr>
        <p:txBody>
          <a:bodyPr lIns="182801" tIns="146221" rIns="182801" bIns="146221" anchor="t" anchorCtr="0">
            <a:noAutofit/>
          </a:bodyPr>
          <a:lstStyle/>
          <a:p>
            <a:pPr marL="0" marR="0" lvl="0" indent="0" algn="l" rtl="0">
              <a:lnSpc>
                <a:spcPct val="90000"/>
              </a:lnSpc>
              <a:spcBef>
                <a:spcPts val="0"/>
              </a:spcBef>
              <a:spcAft>
                <a:spcPts val="0"/>
              </a:spcAft>
              <a:buClr>
                <a:schemeClr val="dk1"/>
              </a:buClr>
              <a:buFont typeface="Quattrocento Sans"/>
              <a:buNone/>
            </a:pPr>
            <a:endParaRPr sz="2448" b="0" i="0" u="none" strike="noStrike" cap="none">
              <a:solidFill>
                <a:srgbClr val="FFFFFF"/>
              </a:solidFill>
              <a:latin typeface="Quattrocento Sans"/>
              <a:ea typeface="Quattrocento Sans"/>
              <a:cs typeface="Quattrocento Sans"/>
              <a:sym typeface="Quattrocento Sans"/>
            </a:endParaRPr>
          </a:p>
        </p:txBody>
      </p:sp>
      <p:sp>
        <p:nvSpPr>
          <p:cNvPr id="789" name="Shape 789"/>
          <p:cNvSpPr txBox="1">
            <a:spLocks noGrp="1"/>
          </p:cNvSpPr>
          <p:nvPr>
            <p:ph type="title"/>
          </p:nvPr>
        </p:nvSpPr>
        <p:spPr>
          <a:xfrm>
            <a:off x="274320" y="292084"/>
            <a:ext cx="2679473" cy="1544548"/>
          </a:xfrm>
          <a:prstGeom prst="rect">
            <a:avLst/>
          </a:prstGeom>
          <a:noFill/>
          <a:ln>
            <a:noFill/>
          </a:ln>
        </p:spPr>
        <p:txBody>
          <a:bodyPr lIns="68575" tIns="68575" rIns="68575" bIns="68575" anchor="t" anchorCtr="0"/>
          <a:lstStyle>
            <a:lvl1pPr marL="0" marR="0" lvl="0" indent="0" algn="l" rtl="0">
              <a:lnSpc>
                <a:spcPct val="90000"/>
              </a:lnSpc>
              <a:spcBef>
                <a:spcPts val="0"/>
              </a:spcBef>
              <a:spcAft>
                <a:spcPts val="0"/>
              </a:spcAft>
              <a:buNone/>
              <a:defRPr sz="3264" b="0" i="0" u="none" strike="noStrike" cap="none">
                <a:solidFill>
                  <a:schemeClr val="lt1"/>
                </a:solidFill>
                <a:latin typeface="Quattrocento Sans"/>
                <a:ea typeface="Quattrocento Sans"/>
                <a:cs typeface="Quattrocento Sans"/>
                <a:sym typeface="Quattrocento Sans"/>
              </a:defRPr>
            </a:lvl1pPr>
            <a:lvl2pPr marL="0" marR="0" lvl="1"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2pPr>
            <a:lvl3pPr marL="0" marR="0" lvl="2"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3pPr>
            <a:lvl4pPr marL="0" marR="0" lvl="3"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4pPr>
            <a:lvl5pPr marL="0" marR="0" lvl="4"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5pPr>
            <a:lvl6pPr marL="449039" marR="0" lvl="5"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6pPr>
            <a:lvl7pPr marL="915349" marR="0" lvl="6"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7pPr>
            <a:lvl8pPr marL="1364388" marR="0" lvl="7"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8pPr>
            <a:lvl9pPr marL="1830697" marR="0" lvl="8"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9pPr>
          </a:lstStyle>
          <a:p>
            <a:endParaRPr/>
          </a:p>
        </p:txBody>
      </p:sp>
      <p:sp>
        <p:nvSpPr>
          <p:cNvPr id="790" name="Shape 790"/>
          <p:cNvSpPr txBox="1">
            <a:spLocks noGrp="1"/>
          </p:cNvSpPr>
          <p:nvPr>
            <p:ph type="sldNum" idx="12"/>
          </p:nvPr>
        </p:nvSpPr>
        <p:spPr>
          <a:xfrm>
            <a:off x="11595099" y="6565900"/>
            <a:ext cx="566741" cy="136668"/>
          </a:xfrm>
          <a:prstGeom prst="rect">
            <a:avLst/>
          </a:prstGeom>
          <a:noFill/>
          <a:ln>
            <a:noFill/>
          </a:ln>
        </p:spPr>
        <p:txBody>
          <a:bodyPr lIns="68575" tIns="0" rIns="0" bIns="0" anchor="ctr" anchorCtr="0">
            <a:noAutofit/>
          </a:bodyPr>
          <a:lstStyle/>
          <a:p>
            <a:pPr algn="r">
              <a:buSzPct val="25000"/>
            </a:pPr>
            <a:fld id="{00000000-1234-1234-1234-123412341234}" type="slidenum">
              <a:rPr lang="en" sz="952" smtClean="0">
                <a:solidFill>
                  <a:srgbClr val="505050"/>
                </a:solidFill>
                <a:latin typeface="Quattrocento Sans"/>
                <a:ea typeface="Quattrocento Sans"/>
                <a:cs typeface="Quattrocento Sans"/>
                <a:sym typeface="Quattrocento Sans"/>
              </a:rPr>
              <a:pPr algn="r">
                <a:buSzPct val="25000"/>
              </a:pPr>
              <a:t>‹#›</a:t>
            </a:fld>
            <a:endParaRPr lang="en" sz="952">
              <a:solidFill>
                <a:srgbClr val="505050"/>
              </a:solidFill>
              <a:latin typeface="Quattrocento Sans"/>
              <a:ea typeface="Quattrocento Sans"/>
              <a:cs typeface="Quattrocento Sans"/>
              <a:sym typeface="Quattrocento Sans"/>
            </a:endParaRPr>
          </a:p>
        </p:txBody>
      </p:sp>
      <p:sp>
        <p:nvSpPr>
          <p:cNvPr id="791" name="Shape 791"/>
          <p:cNvSpPr txBox="1">
            <a:spLocks noGrp="1"/>
          </p:cNvSpPr>
          <p:nvPr>
            <p:ph type="body" idx="1"/>
          </p:nvPr>
        </p:nvSpPr>
        <p:spPr>
          <a:xfrm>
            <a:off x="3108625" y="757739"/>
            <a:ext cx="9052758" cy="5478943"/>
          </a:xfrm>
          <a:prstGeom prst="rect">
            <a:avLst/>
          </a:prstGeom>
          <a:noFill/>
          <a:ln>
            <a:noFill/>
          </a:ln>
        </p:spPr>
        <p:txBody>
          <a:bodyPr lIns="68575" tIns="68575" rIns="68575" bIns="68575" anchor="t" anchorCtr="0"/>
          <a:lstStyle>
            <a:lvl1pPr marL="0" marR="0" lvl="0" indent="0" algn="l" rtl="0">
              <a:lnSpc>
                <a:spcPct val="90000"/>
              </a:lnSpc>
              <a:spcBef>
                <a:spcPts val="1224"/>
              </a:spcBef>
              <a:spcAft>
                <a:spcPts val="0"/>
              </a:spcAft>
              <a:buClr>
                <a:schemeClr val="dk2"/>
              </a:buClr>
              <a:buFont typeface="Arial"/>
              <a:buNone/>
              <a:defRPr sz="2856" b="0" i="0" u="none" strike="noStrike" cap="none">
                <a:solidFill>
                  <a:schemeClr val="dk2"/>
                </a:solidFill>
                <a:latin typeface="Quattrocento Sans"/>
                <a:ea typeface="Quattrocento Sans"/>
                <a:cs typeface="Quattrocento Sans"/>
                <a:sym typeface="Quattrocento Sans"/>
              </a:defRPr>
            </a:lvl1pPr>
            <a:lvl2pPr marL="0" marR="0" lvl="1" indent="0" algn="l" rtl="0">
              <a:lnSpc>
                <a:spcPct val="90000"/>
              </a:lnSpc>
              <a:spcBef>
                <a:spcPts val="1224"/>
              </a:spcBef>
              <a:spcAft>
                <a:spcPts val="0"/>
              </a:spcAft>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794454" marR="0" lvl="2" indent="-120895" algn="l" rtl="0">
              <a:lnSpc>
                <a:spcPct val="90000"/>
              </a:lnSpc>
              <a:spcBef>
                <a:spcPts val="408"/>
              </a:spcBef>
              <a:spcAft>
                <a:spcPts val="0"/>
              </a:spcAft>
              <a:buClr>
                <a:schemeClr val="dk2"/>
              </a:buClr>
              <a:buSzPct val="92307"/>
              <a:buFont typeface="Arial"/>
              <a:buChar char="•"/>
              <a:defRPr sz="1768" b="0" i="0" u="none" strike="noStrike" cap="none">
                <a:solidFill>
                  <a:schemeClr val="dk2"/>
                </a:solidFill>
                <a:latin typeface="Quattrocento Sans"/>
                <a:ea typeface="Quattrocento Sans"/>
                <a:cs typeface="Quattrocento Sans"/>
                <a:sym typeface="Quattrocento Sans"/>
              </a:defRPr>
            </a:lvl3pPr>
            <a:lvl4pPr marL="1036244" marR="0" lvl="3" indent="-138166" algn="l" rtl="0">
              <a:lnSpc>
                <a:spcPct val="90000"/>
              </a:lnSpc>
              <a:spcBef>
                <a:spcPts val="408"/>
              </a:spcBef>
              <a:spcAft>
                <a:spcPts val="0"/>
              </a:spcAft>
              <a:buClr>
                <a:schemeClr val="dk2"/>
              </a:buClr>
              <a:buSzPct val="85714"/>
              <a:buFont typeface="Arial"/>
              <a:buChar char="•"/>
              <a:defRPr sz="1904" b="0" i="0" u="none" strike="noStrike" cap="none">
                <a:solidFill>
                  <a:schemeClr val="dk2"/>
                </a:solidFill>
                <a:latin typeface="Quattrocento Sans"/>
                <a:ea typeface="Quattrocento Sans"/>
                <a:cs typeface="Quattrocento Sans"/>
                <a:sym typeface="Quattrocento Sans"/>
              </a:defRPr>
            </a:lvl4pPr>
            <a:lvl5pPr marL="1260763" marR="0" lvl="4" indent="-138166" algn="l" rtl="0">
              <a:lnSpc>
                <a:spcPct val="90000"/>
              </a:lnSpc>
              <a:spcBef>
                <a:spcPts val="408"/>
              </a:spcBef>
              <a:spcAft>
                <a:spcPts val="0"/>
              </a:spcAft>
              <a:buClr>
                <a:schemeClr val="dk2"/>
              </a:buClr>
              <a:buSzPct val="85714"/>
              <a:buFont typeface="Arial"/>
              <a:buChar char="•"/>
              <a:defRPr sz="1904" b="0" i="0" u="none" strike="noStrike" cap="none">
                <a:solidFill>
                  <a:schemeClr val="dk2"/>
                </a:solidFill>
                <a:latin typeface="Quattrocento Sans"/>
                <a:ea typeface="Quattrocento Sans"/>
                <a:cs typeface="Quattrocento Sans"/>
                <a:sym typeface="Quattrocento Sans"/>
              </a:defRPr>
            </a:lvl5pPr>
            <a:lvl6pPr marL="2556068" marR="0" lvl="5"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6pPr>
            <a:lvl7pPr marL="3022378" marR="0" lvl="6"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7pPr>
            <a:lvl8pPr marL="3488687" marR="0" lvl="7"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8pPr>
            <a:lvl9pPr marL="3954997" marR="0" lvl="8"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9pPr>
          </a:lstStyle>
          <a:p>
            <a:endParaRPr/>
          </a:p>
        </p:txBody>
      </p:sp>
    </p:spTree>
    <p:extLst>
      <p:ext uri="{BB962C8B-B14F-4D97-AF65-F5344CB8AC3E}">
        <p14:creationId xmlns:p14="http://schemas.microsoft.com/office/powerpoint/2010/main" val="333044468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cSld name="Small Title and 2 Content">
    <p:spTree>
      <p:nvGrpSpPr>
        <p:cNvPr id="1" name="Shape 792"/>
        <p:cNvGrpSpPr/>
        <p:nvPr/>
      </p:nvGrpSpPr>
      <p:grpSpPr>
        <a:xfrm>
          <a:off x="0" y="0"/>
          <a:ext cx="0" cy="0"/>
          <a:chOff x="0" y="0"/>
          <a:chExt cx="0" cy="0"/>
        </a:xfrm>
      </p:grpSpPr>
      <p:sp>
        <p:nvSpPr>
          <p:cNvPr id="793" name="Shape 793"/>
          <p:cNvSpPr/>
          <p:nvPr/>
        </p:nvSpPr>
        <p:spPr>
          <a:xfrm rot="10800000">
            <a:off x="-84" y="3"/>
            <a:ext cx="3108711" cy="6994525"/>
          </a:xfrm>
          <a:custGeom>
            <a:avLst/>
            <a:gdLst/>
            <a:ahLst/>
            <a:cxnLst/>
            <a:rect l="0" t="0" r="0" b="0"/>
            <a:pathLst>
              <a:path w="120000" h="120000" extrusionOk="0">
                <a:moveTo>
                  <a:pt x="120000" y="119999"/>
                </a:moveTo>
                <a:lnTo>
                  <a:pt x="0" y="119999"/>
                </a:lnTo>
                <a:lnTo>
                  <a:pt x="57399" y="0"/>
                </a:lnTo>
                <a:lnTo>
                  <a:pt x="120000" y="0"/>
                </a:lnTo>
                <a:close/>
              </a:path>
            </a:pathLst>
          </a:custGeom>
          <a:solidFill>
            <a:schemeClr val="accent1"/>
          </a:solidFill>
          <a:ln>
            <a:noFill/>
          </a:ln>
        </p:spPr>
        <p:txBody>
          <a:bodyPr lIns="93220" tIns="46610" rIns="93220" bIns="46610" anchor="t" anchorCtr="0">
            <a:noAutofit/>
          </a:bodyPr>
          <a:lstStyle/>
          <a:p>
            <a:pPr marL="0" marR="0" lvl="0" indent="0" algn="l" rtl="0">
              <a:lnSpc>
                <a:spcPct val="100000"/>
              </a:lnSpc>
              <a:spcBef>
                <a:spcPts val="0"/>
              </a:spcBef>
              <a:spcAft>
                <a:spcPts val="0"/>
              </a:spcAft>
              <a:buClr>
                <a:schemeClr val="dk1"/>
              </a:buClr>
              <a:buFont typeface="Quattrocento Sans"/>
              <a:buNone/>
            </a:pPr>
            <a:endParaRPr sz="1768" b="0" i="0" u="none" strike="noStrike" cap="none">
              <a:solidFill>
                <a:srgbClr val="000000"/>
              </a:solidFill>
              <a:latin typeface="Quattrocento Sans"/>
              <a:ea typeface="Quattrocento Sans"/>
              <a:cs typeface="Quattrocento Sans"/>
              <a:sym typeface="Quattrocento Sans"/>
            </a:endParaRPr>
          </a:p>
        </p:txBody>
      </p:sp>
      <p:sp>
        <p:nvSpPr>
          <p:cNvPr id="794" name="Shape 794"/>
          <p:cNvSpPr txBox="1"/>
          <p:nvPr/>
        </p:nvSpPr>
        <p:spPr>
          <a:xfrm>
            <a:off x="10117138" y="-1044574"/>
            <a:ext cx="914375" cy="914653"/>
          </a:xfrm>
          <a:prstGeom prst="rect">
            <a:avLst/>
          </a:prstGeom>
          <a:noFill/>
          <a:ln>
            <a:noFill/>
          </a:ln>
        </p:spPr>
        <p:txBody>
          <a:bodyPr lIns="182801" tIns="146221" rIns="182801" bIns="146221" anchor="t" anchorCtr="0">
            <a:noAutofit/>
          </a:bodyPr>
          <a:lstStyle/>
          <a:p>
            <a:pPr marL="0" marR="0" lvl="0" indent="0" algn="l" rtl="0">
              <a:lnSpc>
                <a:spcPct val="90000"/>
              </a:lnSpc>
              <a:spcBef>
                <a:spcPts val="0"/>
              </a:spcBef>
              <a:spcAft>
                <a:spcPts val="0"/>
              </a:spcAft>
              <a:buClr>
                <a:schemeClr val="dk1"/>
              </a:buClr>
              <a:buFont typeface="Quattrocento Sans"/>
              <a:buNone/>
            </a:pPr>
            <a:endParaRPr sz="2448" b="0" i="0" u="none" strike="noStrike" cap="none">
              <a:solidFill>
                <a:srgbClr val="FFFFFF"/>
              </a:solidFill>
              <a:latin typeface="Quattrocento Sans"/>
              <a:ea typeface="Quattrocento Sans"/>
              <a:cs typeface="Quattrocento Sans"/>
              <a:sym typeface="Quattrocento Sans"/>
            </a:endParaRPr>
          </a:p>
        </p:txBody>
      </p:sp>
      <p:sp>
        <p:nvSpPr>
          <p:cNvPr id="795" name="Shape 795"/>
          <p:cNvSpPr txBox="1"/>
          <p:nvPr/>
        </p:nvSpPr>
        <p:spPr>
          <a:xfrm>
            <a:off x="11274425" y="-1708149"/>
            <a:ext cx="914375" cy="914653"/>
          </a:xfrm>
          <a:prstGeom prst="rect">
            <a:avLst/>
          </a:prstGeom>
          <a:noFill/>
          <a:ln>
            <a:noFill/>
          </a:ln>
        </p:spPr>
        <p:txBody>
          <a:bodyPr lIns="182801" tIns="146221" rIns="182801" bIns="146221" anchor="t" anchorCtr="0">
            <a:noAutofit/>
          </a:bodyPr>
          <a:lstStyle/>
          <a:p>
            <a:pPr marL="0" marR="0" lvl="0" indent="0" algn="l" rtl="0">
              <a:lnSpc>
                <a:spcPct val="90000"/>
              </a:lnSpc>
              <a:spcBef>
                <a:spcPts val="0"/>
              </a:spcBef>
              <a:spcAft>
                <a:spcPts val="0"/>
              </a:spcAft>
              <a:buClr>
                <a:schemeClr val="dk1"/>
              </a:buClr>
              <a:buFont typeface="Quattrocento Sans"/>
              <a:buNone/>
            </a:pPr>
            <a:endParaRPr sz="2448" b="0" i="0" u="none" strike="noStrike" cap="none">
              <a:solidFill>
                <a:srgbClr val="FFFFFF"/>
              </a:solidFill>
              <a:latin typeface="Quattrocento Sans"/>
              <a:ea typeface="Quattrocento Sans"/>
              <a:cs typeface="Quattrocento Sans"/>
              <a:sym typeface="Quattrocento Sans"/>
            </a:endParaRPr>
          </a:p>
        </p:txBody>
      </p:sp>
      <p:sp>
        <p:nvSpPr>
          <p:cNvPr id="796" name="Shape 796"/>
          <p:cNvSpPr txBox="1">
            <a:spLocks noGrp="1"/>
          </p:cNvSpPr>
          <p:nvPr>
            <p:ph type="title"/>
          </p:nvPr>
        </p:nvSpPr>
        <p:spPr>
          <a:xfrm>
            <a:off x="274320" y="292084"/>
            <a:ext cx="2679473" cy="1544548"/>
          </a:xfrm>
          <a:prstGeom prst="rect">
            <a:avLst/>
          </a:prstGeom>
          <a:noFill/>
          <a:ln>
            <a:noFill/>
          </a:ln>
        </p:spPr>
        <p:txBody>
          <a:bodyPr lIns="68575" tIns="68575" rIns="68575" bIns="68575" anchor="t" anchorCtr="0"/>
          <a:lstStyle>
            <a:lvl1pPr marL="0" marR="0" lvl="0" indent="0" algn="l" rtl="0">
              <a:lnSpc>
                <a:spcPct val="90000"/>
              </a:lnSpc>
              <a:spcBef>
                <a:spcPts val="0"/>
              </a:spcBef>
              <a:spcAft>
                <a:spcPts val="0"/>
              </a:spcAft>
              <a:buNone/>
              <a:defRPr sz="3264" b="0" i="0" u="none" strike="noStrike" cap="none">
                <a:solidFill>
                  <a:schemeClr val="lt1"/>
                </a:solidFill>
                <a:latin typeface="Quattrocento Sans"/>
                <a:ea typeface="Quattrocento Sans"/>
                <a:cs typeface="Quattrocento Sans"/>
                <a:sym typeface="Quattrocento Sans"/>
              </a:defRPr>
            </a:lvl1pPr>
            <a:lvl2pPr marL="0" marR="0" lvl="1"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2pPr>
            <a:lvl3pPr marL="0" marR="0" lvl="2"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3pPr>
            <a:lvl4pPr marL="0" marR="0" lvl="3"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4pPr>
            <a:lvl5pPr marL="0" marR="0" lvl="4"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5pPr>
            <a:lvl6pPr marL="449039" marR="0" lvl="5"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6pPr>
            <a:lvl7pPr marL="915349" marR="0" lvl="6"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7pPr>
            <a:lvl8pPr marL="1364388" marR="0" lvl="7"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8pPr>
            <a:lvl9pPr marL="1830697" marR="0" lvl="8"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9pPr>
          </a:lstStyle>
          <a:p>
            <a:endParaRPr/>
          </a:p>
        </p:txBody>
      </p:sp>
      <p:sp>
        <p:nvSpPr>
          <p:cNvPr id="797" name="Shape 797"/>
          <p:cNvSpPr txBox="1">
            <a:spLocks noGrp="1"/>
          </p:cNvSpPr>
          <p:nvPr>
            <p:ph type="sldNum" idx="12"/>
          </p:nvPr>
        </p:nvSpPr>
        <p:spPr>
          <a:xfrm>
            <a:off x="11595099" y="6565900"/>
            <a:ext cx="566741" cy="136668"/>
          </a:xfrm>
          <a:prstGeom prst="rect">
            <a:avLst/>
          </a:prstGeom>
          <a:noFill/>
          <a:ln>
            <a:noFill/>
          </a:ln>
        </p:spPr>
        <p:txBody>
          <a:bodyPr lIns="68575" tIns="0" rIns="0" bIns="0" anchor="ctr" anchorCtr="0">
            <a:noAutofit/>
          </a:bodyPr>
          <a:lstStyle/>
          <a:p>
            <a:pPr algn="r">
              <a:buSzPct val="25000"/>
            </a:pPr>
            <a:fld id="{00000000-1234-1234-1234-123412341234}" type="slidenum">
              <a:rPr lang="en" sz="952" smtClean="0">
                <a:solidFill>
                  <a:srgbClr val="505050"/>
                </a:solidFill>
                <a:latin typeface="Quattrocento Sans"/>
                <a:ea typeface="Quattrocento Sans"/>
                <a:cs typeface="Quattrocento Sans"/>
                <a:sym typeface="Quattrocento Sans"/>
              </a:rPr>
              <a:pPr algn="r">
                <a:buSzPct val="25000"/>
              </a:pPr>
              <a:t>‹#›</a:t>
            </a:fld>
            <a:endParaRPr lang="en" sz="952">
              <a:solidFill>
                <a:srgbClr val="505050"/>
              </a:solidFill>
              <a:latin typeface="Quattrocento Sans"/>
              <a:ea typeface="Quattrocento Sans"/>
              <a:cs typeface="Quattrocento Sans"/>
              <a:sym typeface="Quattrocento Sans"/>
            </a:endParaRPr>
          </a:p>
        </p:txBody>
      </p:sp>
      <p:sp>
        <p:nvSpPr>
          <p:cNvPr id="798" name="Shape 798"/>
          <p:cNvSpPr txBox="1">
            <a:spLocks noGrp="1"/>
          </p:cNvSpPr>
          <p:nvPr>
            <p:ph type="body" idx="1"/>
          </p:nvPr>
        </p:nvSpPr>
        <p:spPr>
          <a:xfrm>
            <a:off x="3108625" y="757739"/>
            <a:ext cx="4438859" cy="5478943"/>
          </a:xfrm>
          <a:prstGeom prst="rect">
            <a:avLst/>
          </a:prstGeom>
          <a:noFill/>
          <a:ln>
            <a:noFill/>
          </a:ln>
        </p:spPr>
        <p:txBody>
          <a:bodyPr lIns="68575" tIns="68575" rIns="68575" bIns="68575" anchor="t" anchorCtr="0"/>
          <a:lstStyle>
            <a:lvl1pPr marL="0" marR="0" lvl="0" indent="0" algn="l" rtl="0">
              <a:lnSpc>
                <a:spcPct val="90000"/>
              </a:lnSpc>
              <a:spcBef>
                <a:spcPts val="1224"/>
              </a:spcBef>
              <a:spcAft>
                <a:spcPts val="0"/>
              </a:spcAft>
              <a:buClr>
                <a:schemeClr val="dk2"/>
              </a:buClr>
              <a:buFont typeface="Arial"/>
              <a:buNone/>
              <a:defRPr sz="2856" b="0" i="0" u="none" strike="noStrike" cap="none">
                <a:solidFill>
                  <a:schemeClr val="dk2"/>
                </a:solidFill>
                <a:latin typeface="Quattrocento Sans"/>
                <a:ea typeface="Quattrocento Sans"/>
                <a:cs typeface="Quattrocento Sans"/>
                <a:sym typeface="Quattrocento Sans"/>
              </a:defRPr>
            </a:lvl1pPr>
            <a:lvl2pPr marL="0" marR="0" lvl="1" indent="0" algn="l" rtl="0">
              <a:lnSpc>
                <a:spcPct val="90000"/>
              </a:lnSpc>
              <a:spcBef>
                <a:spcPts val="1224"/>
              </a:spcBef>
              <a:spcAft>
                <a:spcPts val="0"/>
              </a:spcAft>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794454" marR="0" lvl="2" indent="-120895" algn="l" rtl="0">
              <a:lnSpc>
                <a:spcPct val="90000"/>
              </a:lnSpc>
              <a:spcBef>
                <a:spcPts val="408"/>
              </a:spcBef>
              <a:spcAft>
                <a:spcPts val="0"/>
              </a:spcAft>
              <a:buClr>
                <a:schemeClr val="dk2"/>
              </a:buClr>
              <a:buSzPct val="92307"/>
              <a:buFont typeface="Arial"/>
              <a:buChar char="•"/>
              <a:defRPr sz="1768" b="0" i="0" u="none" strike="noStrike" cap="none">
                <a:solidFill>
                  <a:schemeClr val="dk2"/>
                </a:solidFill>
                <a:latin typeface="Quattrocento Sans"/>
                <a:ea typeface="Quattrocento Sans"/>
                <a:cs typeface="Quattrocento Sans"/>
                <a:sym typeface="Quattrocento Sans"/>
              </a:defRPr>
            </a:lvl3pPr>
            <a:lvl4pPr marL="1036244" marR="0" lvl="3" indent="-138166" algn="l" rtl="0">
              <a:lnSpc>
                <a:spcPct val="90000"/>
              </a:lnSpc>
              <a:spcBef>
                <a:spcPts val="408"/>
              </a:spcBef>
              <a:spcAft>
                <a:spcPts val="0"/>
              </a:spcAft>
              <a:buClr>
                <a:schemeClr val="dk2"/>
              </a:buClr>
              <a:buSzPct val="85714"/>
              <a:buFont typeface="Arial"/>
              <a:buChar char="•"/>
              <a:defRPr sz="1904" b="0" i="0" u="none" strike="noStrike" cap="none">
                <a:solidFill>
                  <a:schemeClr val="dk2"/>
                </a:solidFill>
                <a:latin typeface="Quattrocento Sans"/>
                <a:ea typeface="Quattrocento Sans"/>
                <a:cs typeface="Quattrocento Sans"/>
                <a:sym typeface="Quattrocento Sans"/>
              </a:defRPr>
            </a:lvl4pPr>
            <a:lvl5pPr marL="1260763" marR="0" lvl="4" indent="-138166" algn="l" rtl="0">
              <a:lnSpc>
                <a:spcPct val="90000"/>
              </a:lnSpc>
              <a:spcBef>
                <a:spcPts val="408"/>
              </a:spcBef>
              <a:spcAft>
                <a:spcPts val="0"/>
              </a:spcAft>
              <a:buClr>
                <a:schemeClr val="dk2"/>
              </a:buClr>
              <a:buSzPct val="85714"/>
              <a:buFont typeface="Arial"/>
              <a:buChar char="•"/>
              <a:defRPr sz="1904" b="0" i="0" u="none" strike="noStrike" cap="none">
                <a:solidFill>
                  <a:schemeClr val="dk2"/>
                </a:solidFill>
                <a:latin typeface="Quattrocento Sans"/>
                <a:ea typeface="Quattrocento Sans"/>
                <a:cs typeface="Quattrocento Sans"/>
                <a:sym typeface="Quattrocento Sans"/>
              </a:defRPr>
            </a:lvl5pPr>
            <a:lvl6pPr marL="2556068" marR="0" lvl="5"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6pPr>
            <a:lvl7pPr marL="3022378" marR="0" lvl="6"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7pPr>
            <a:lvl8pPr marL="3488687" marR="0" lvl="7"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8pPr>
            <a:lvl9pPr marL="3954997" marR="0" lvl="8"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9pPr>
          </a:lstStyle>
          <a:p>
            <a:endParaRPr/>
          </a:p>
        </p:txBody>
      </p:sp>
      <p:sp>
        <p:nvSpPr>
          <p:cNvPr id="799" name="Shape 799"/>
          <p:cNvSpPr txBox="1">
            <a:spLocks noGrp="1"/>
          </p:cNvSpPr>
          <p:nvPr>
            <p:ph type="body" idx="2"/>
          </p:nvPr>
        </p:nvSpPr>
        <p:spPr>
          <a:xfrm>
            <a:off x="7722873" y="757739"/>
            <a:ext cx="4438859" cy="5478943"/>
          </a:xfrm>
          <a:prstGeom prst="rect">
            <a:avLst/>
          </a:prstGeom>
          <a:noFill/>
          <a:ln>
            <a:noFill/>
          </a:ln>
        </p:spPr>
        <p:txBody>
          <a:bodyPr lIns="68575" tIns="68575" rIns="68575" bIns="68575" anchor="t" anchorCtr="0"/>
          <a:lstStyle>
            <a:lvl1pPr marL="0" marR="0" lvl="0" indent="0" algn="l" rtl="0">
              <a:lnSpc>
                <a:spcPct val="90000"/>
              </a:lnSpc>
              <a:spcBef>
                <a:spcPts val="1224"/>
              </a:spcBef>
              <a:spcAft>
                <a:spcPts val="0"/>
              </a:spcAft>
              <a:buClr>
                <a:schemeClr val="dk2"/>
              </a:buClr>
              <a:buFont typeface="Arial"/>
              <a:buNone/>
              <a:defRPr sz="2856" b="0" i="0" u="none" strike="noStrike" cap="none">
                <a:solidFill>
                  <a:schemeClr val="dk2"/>
                </a:solidFill>
                <a:latin typeface="Quattrocento Sans"/>
                <a:ea typeface="Quattrocento Sans"/>
                <a:cs typeface="Quattrocento Sans"/>
                <a:sym typeface="Quattrocento Sans"/>
              </a:defRPr>
            </a:lvl1pPr>
            <a:lvl2pPr marL="0" marR="0" lvl="1" indent="0" algn="l" rtl="0">
              <a:lnSpc>
                <a:spcPct val="90000"/>
              </a:lnSpc>
              <a:spcBef>
                <a:spcPts val="1224"/>
              </a:spcBef>
              <a:spcAft>
                <a:spcPts val="0"/>
              </a:spcAft>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794454" marR="0" lvl="2" indent="-120895" algn="l" rtl="0">
              <a:lnSpc>
                <a:spcPct val="90000"/>
              </a:lnSpc>
              <a:spcBef>
                <a:spcPts val="408"/>
              </a:spcBef>
              <a:spcAft>
                <a:spcPts val="0"/>
              </a:spcAft>
              <a:buClr>
                <a:schemeClr val="dk2"/>
              </a:buClr>
              <a:buSzPct val="92307"/>
              <a:buFont typeface="Arial"/>
              <a:buChar char="•"/>
              <a:defRPr sz="1768" b="0" i="0" u="none" strike="noStrike" cap="none">
                <a:solidFill>
                  <a:schemeClr val="dk2"/>
                </a:solidFill>
                <a:latin typeface="Quattrocento Sans"/>
                <a:ea typeface="Quattrocento Sans"/>
                <a:cs typeface="Quattrocento Sans"/>
                <a:sym typeface="Quattrocento Sans"/>
              </a:defRPr>
            </a:lvl3pPr>
            <a:lvl4pPr marL="1036244" marR="0" lvl="3" indent="-138166" algn="l" rtl="0">
              <a:lnSpc>
                <a:spcPct val="90000"/>
              </a:lnSpc>
              <a:spcBef>
                <a:spcPts val="408"/>
              </a:spcBef>
              <a:spcAft>
                <a:spcPts val="0"/>
              </a:spcAft>
              <a:buClr>
                <a:schemeClr val="dk2"/>
              </a:buClr>
              <a:buSzPct val="85714"/>
              <a:buFont typeface="Arial"/>
              <a:buChar char="•"/>
              <a:defRPr sz="1904" b="0" i="0" u="none" strike="noStrike" cap="none">
                <a:solidFill>
                  <a:schemeClr val="dk2"/>
                </a:solidFill>
                <a:latin typeface="Quattrocento Sans"/>
                <a:ea typeface="Quattrocento Sans"/>
                <a:cs typeface="Quattrocento Sans"/>
                <a:sym typeface="Quattrocento Sans"/>
              </a:defRPr>
            </a:lvl4pPr>
            <a:lvl5pPr marL="1260763" marR="0" lvl="4" indent="-138166" algn="l" rtl="0">
              <a:lnSpc>
                <a:spcPct val="90000"/>
              </a:lnSpc>
              <a:spcBef>
                <a:spcPts val="408"/>
              </a:spcBef>
              <a:spcAft>
                <a:spcPts val="0"/>
              </a:spcAft>
              <a:buClr>
                <a:schemeClr val="dk2"/>
              </a:buClr>
              <a:buSzPct val="85714"/>
              <a:buFont typeface="Arial"/>
              <a:buChar char="•"/>
              <a:defRPr sz="1904" b="0" i="0" u="none" strike="noStrike" cap="none">
                <a:solidFill>
                  <a:schemeClr val="dk2"/>
                </a:solidFill>
                <a:latin typeface="Quattrocento Sans"/>
                <a:ea typeface="Quattrocento Sans"/>
                <a:cs typeface="Quattrocento Sans"/>
                <a:sym typeface="Quattrocento Sans"/>
              </a:defRPr>
            </a:lvl5pPr>
            <a:lvl6pPr marL="2556068" marR="0" lvl="5"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6pPr>
            <a:lvl7pPr marL="3022378" marR="0" lvl="6"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7pPr>
            <a:lvl8pPr marL="3488687" marR="0" lvl="7"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8pPr>
            <a:lvl9pPr marL="3954997" marR="0" lvl="8"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9pPr>
          </a:lstStyle>
          <a:p>
            <a:endParaRPr/>
          </a:p>
        </p:txBody>
      </p:sp>
    </p:spTree>
    <p:extLst>
      <p:ext uri="{BB962C8B-B14F-4D97-AF65-F5344CB8AC3E}">
        <p14:creationId xmlns:p14="http://schemas.microsoft.com/office/powerpoint/2010/main" val="16976071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lIns="91517" tIns="45759" rIns="91517" bIns="45759">
            <a:noAutofit/>
          </a:bodyPr>
          <a:lstStyle>
            <a:lvl1pPr>
              <a:defRPr sz="3161"/>
            </a:lvl1pPr>
          </a:lstStyle>
          <a:p>
            <a:r>
              <a:rPr lang="en-US"/>
              <a:t>Click to edit Master title style</a:t>
            </a:r>
            <a:endParaRPr lang="en-US" dirty="0"/>
          </a:p>
        </p:txBody>
      </p:sp>
      <p:sp>
        <p:nvSpPr>
          <p:cNvPr id="40" name="Text Placeholder 2"/>
          <p:cNvSpPr>
            <a:spLocks noGrp="1"/>
          </p:cNvSpPr>
          <p:nvPr>
            <p:ph type="body" idx="10" hasCustomPrompt="1"/>
          </p:nvPr>
        </p:nvSpPr>
        <p:spPr bwMode="gray">
          <a:xfrm>
            <a:off x="303811" y="1128477"/>
            <a:ext cx="11625988" cy="408074"/>
          </a:xfrm>
        </p:spPr>
        <p:txBody>
          <a:bodyPr lIns="91517" tIns="45759" rIns="91517" bIns="45759" anchor="t">
            <a:noAutofit/>
          </a:bodyPr>
          <a:lstStyle>
            <a:lvl1pPr marL="0" indent="0">
              <a:spcBef>
                <a:spcPts val="0"/>
              </a:spcBef>
              <a:spcAft>
                <a:spcPts val="0"/>
              </a:spcAft>
              <a:buNone/>
              <a:defRPr sz="1937" b="0">
                <a:solidFill>
                  <a:schemeClr val="accent1"/>
                </a:solidFill>
              </a:defRPr>
            </a:lvl1pPr>
            <a:lvl2pPr marL="466555" indent="0">
              <a:buNone/>
              <a:defRPr sz="2039" b="1"/>
            </a:lvl2pPr>
            <a:lvl3pPr marL="933110" indent="0">
              <a:buNone/>
              <a:defRPr sz="1937" b="1"/>
            </a:lvl3pPr>
            <a:lvl4pPr marL="1399663" indent="0">
              <a:buNone/>
              <a:defRPr sz="1632" b="1"/>
            </a:lvl4pPr>
            <a:lvl5pPr marL="1866218" indent="0">
              <a:buNone/>
              <a:defRPr sz="1632" b="1"/>
            </a:lvl5pPr>
            <a:lvl6pPr marL="2332772" indent="0">
              <a:buNone/>
              <a:defRPr sz="1632" b="1"/>
            </a:lvl6pPr>
            <a:lvl7pPr marL="2799327" indent="0">
              <a:buNone/>
              <a:defRPr sz="1632" b="1"/>
            </a:lvl7pPr>
            <a:lvl8pPr marL="3265881" indent="0">
              <a:buNone/>
              <a:defRPr sz="1632" b="1"/>
            </a:lvl8pPr>
            <a:lvl9pPr marL="3732437" indent="0">
              <a:buNone/>
              <a:defRPr sz="1632" b="1"/>
            </a:lvl9pPr>
          </a:lstStyle>
          <a:p>
            <a:pPr lvl="0"/>
            <a:r>
              <a:rPr lang="en-US" dirty="0"/>
              <a:t>Click to edit master text styles</a:t>
            </a:r>
          </a:p>
        </p:txBody>
      </p:sp>
      <p:sp>
        <p:nvSpPr>
          <p:cNvPr id="12" name="Text Placeholder 6"/>
          <p:cNvSpPr>
            <a:spLocks noGrp="1"/>
          </p:cNvSpPr>
          <p:nvPr>
            <p:ph type="body" sz="quarter" idx="16" hasCustomPrompt="1"/>
          </p:nvPr>
        </p:nvSpPr>
        <p:spPr>
          <a:xfrm>
            <a:off x="300395" y="6362842"/>
            <a:ext cx="10585793" cy="219733"/>
          </a:xfrm>
        </p:spPr>
        <p:txBody>
          <a:bodyPr lIns="91517" tIns="45759" rIns="91517" bIns="45759" anchor="ctr">
            <a:noAutofit/>
          </a:bodyPr>
          <a:lstStyle>
            <a:lvl1pPr marL="0" indent="0">
              <a:lnSpc>
                <a:spcPct val="100000"/>
              </a:lnSpc>
              <a:spcBef>
                <a:spcPts val="0"/>
              </a:spcBef>
              <a:spcAft>
                <a:spcPts val="0"/>
              </a:spcAft>
              <a:buFontTx/>
              <a:buNone/>
              <a:defRPr sz="816" baseline="0">
                <a:solidFill>
                  <a:schemeClr val="bg2"/>
                </a:solidFill>
              </a:defRPr>
            </a:lvl1pPr>
            <a:lvl2pPr marL="233278" indent="0">
              <a:buFontTx/>
              <a:buNone/>
              <a:defRPr sz="816">
                <a:solidFill>
                  <a:schemeClr val="bg2"/>
                </a:solidFill>
              </a:defRPr>
            </a:lvl2pPr>
            <a:lvl3pPr marL="466555" indent="0">
              <a:buFontTx/>
              <a:buNone/>
              <a:defRPr sz="816">
                <a:solidFill>
                  <a:schemeClr val="bg2"/>
                </a:solidFill>
              </a:defRPr>
            </a:lvl3pPr>
            <a:lvl4pPr marL="699833" indent="0">
              <a:buFontTx/>
              <a:buNone/>
              <a:defRPr sz="816">
                <a:solidFill>
                  <a:schemeClr val="bg2"/>
                </a:solidFill>
              </a:defRPr>
            </a:lvl4pPr>
            <a:lvl5pPr>
              <a:buFontTx/>
              <a:buNone/>
              <a:defRPr sz="816">
                <a:solidFill>
                  <a:schemeClr val="bg2"/>
                </a:solidFill>
              </a:defRPr>
            </a:lvl5pPr>
          </a:lstStyle>
          <a:p>
            <a:pPr lvl="0"/>
            <a:r>
              <a:rPr lang="en-US" dirty="0"/>
              <a:t>Click to insert source information</a:t>
            </a:r>
          </a:p>
        </p:txBody>
      </p:sp>
      <p:sp>
        <p:nvSpPr>
          <p:cNvPr id="13" name="Footer Placeholder 4"/>
          <p:cNvSpPr>
            <a:spLocks noGrp="1"/>
          </p:cNvSpPr>
          <p:nvPr>
            <p:ph type="ftr" sz="quarter" idx="3"/>
          </p:nvPr>
        </p:nvSpPr>
        <p:spPr>
          <a:xfrm>
            <a:off x="682344" y="6601623"/>
            <a:ext cx="6671614" cy="245277"/>
          </a:xfrm>
          <a:prstGeom prst="rect">
            <a:avLst/>
          </a:prstGeom>
        </p:spPr>
        <p:txBody>
          <a:bodyPr vert="horz" wrap="square" lIns="91517" tIns="45759" rIns="91517" bIns="45759" rtlCol="0" anchor="b">
            <a:noAutofit/>
          </a:bodyPr>
          <a:lstStyle>
            <a:lvl1pPr>
              <a:defRPr lang="en-US" sz="714" smtClean="0">
                <a:solidFill>
                  <a:schemeClr val="bg2"/>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solidFill>
                  <a:srgbClr val="EAEAEA"/>
                </a:solidFill>
                <a:effectLst/>
                <a:uLnTx/>
                <a:uFillTx/>
                <a:latin typeface="Segoe UI"/>
                <a:ea typeface="+mn-ea"/>
                <a:cs typeface="+mn-cs"/>
              </a:rPr>
              <a:t>© 2016 NetApp, Inc. All rights reserved. </a:t>
            </a:r>
            <a:endParaRPr kumimoji="0" lang="en-US" sz="714" b="0" i="0" u="none" strike="noStrike" kern="1200" cap="none" spc="0" normalizeH="0" baseline="0" noProof="0" dirty="0">
              <a:ln>
                <a:noFill/>
              </a:ln>
              <a:solidFill>
                <a:srgbClr val="EAEAEA"/>
              </a:solidFill>
              <a:effectLst/>
              <a:uLnTx/>
              <a:uFillTx/>
              <a:latin typeface="Segoe UI"/>
              <a:ea typeface="+mn-ea"/>
              <a:cs typeface="+mn-cs"/>
            </a:endParaRPr>
          </a:p>
        </p:txBody>
      </p:sp>
      <p:sp>
        <p:nvSpPr>
          <p:cNvPr id="14" name="Slide Number Placeholder 5"/>
          <p:cNvSpPr>
            <a:spLocks noGrp="1"/>
          </p:cNvSpPr>
          <p:nvPr>
            <p:ph type="sldNum" sz="quarter" idx="4"/>
          </p:nvPr>
        </p:nvSpPr>
        <p:spPr>
          <a:xfrm>
            <a:off x="300397" y="6591261"/>
            <a:ext cx="457649" cy="266001"/>
          </a:xfrm>
          <a:prstGeom prst="rect">
            <a:avLst/>
          </a:prstGeom>
        </p:spPr>
        <p:txBody>
          <a:bodyPr vert="horz" wrap="square" lIns="91517" tIns="45759" rIns="91517" bIns="45759" rtlCol="0" anchor="b">
            <a:noAutofit/>
          </a:bodyPr>
          <a:lstStyle>
            <a:lvl1pPr>
              <a:defRPr lang="en-US" sz="1122" b="1" smtClean="0">
                <a:solidFill>
                  <a:schemeClr val="bg2">
                    <a:lumMod val="50000"/>
                  </a:schemeClr>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fld id="{B071A5F3-A4FF-4CEE-8215-C08835B585C1}" type="slidenum">
              <a:rPr kumimoji="0" lang="en-US" sz="1122" b="1" i="0" u="none" strike="noStrike" kern="1200" cap="none" spc="0" normalizeH="0" baseline="0" noProof="0" smtClean="0">
                <a:ln>
                  <a:noFill/>
                </a:ln>
                <a:solidFill>
                  <a:srgbClr val="EAEAEA">
                    <a:lumMod val="50000"/>
                  </a:srgbClr>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122" b="1" i="0" u="none" strike="noStrike" kern="1200" cap="none" spc="0" normalizeH="0" baseline="0" noProof="0" dirty="0">
              <a:ln>
                <a:noFill/>
              </a:ln>
              <a:solidFill>
                <a:srgbClr val="EAEAEA">
                  <a:lumMod val="50000"/>
                </a:srgbClr>
              </a:solidFill>
              <a:effectLst/>
              <a:uLnTx/>
              <a:uFillTx/>
              <a:latin typeface="Segoe UI"/>
              <a:ea typeface="+mn-ea"/>
              <a:cs typeface="+mn-cs"/>
            </a:endParaRPr>
          </a:p>
        </p:txBody>
      </p:sp>
      <p:pic>
        <p:nvPicPr>
          <p:cNvPr id="9" name="Picture 8" descr="netapp-3.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85840" y="6403080"/>
            <a:ext cx="1343489" cy="544606"/>
          </a:xfrm>
          <a:prstGeom prst="rect">
            <a:avLst/>
          </a:prstGeom>
        </p:spPr>
      </p:pic>
    </p:spTree>
    <p:extLst>
      <p:ext uri="{BB962C8B-B14F-4D97-AF65-F5344CB8AC3E}">
        <p14:creationId xmlns:p14="http://schemas.microsoft.com/office/powerpoint/2010/main" val="3090027937"/>
      </p:ext>
    </p:extLst>
  </p:cSld>
  <p:clrMapOvr>
    <a:masterClrMapping/>
  </p:clrMapOvr>
  <p:transition spd="med">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cSld name="1_Small Title and 2 Content">
    <p:spTree>
      <p:nvGrpSpPr>
        <p:cNvPr id="1" name="Shape 800"/>
        <p:cNvGrpSpPr/>
        <p:nvPr/>
      </p:nvGrpSpPr>
      <p:grpSpPr>
        <a:xfrm>
          <a:off x="0" y="0"/>
          <a:ext cx="0" cy="0"/>
          <a:chOff x="0" y="0"/>
          <a:chExt cx="0" cy="0"/>
        </a:xfrm>
      </p:grpSpPr>
      <p:sp>
        <p:nvSpPr>
          <p:cNvPr id="801" name="Shape 801"/>
          <p:cNvSpPr/>
          <p:nvPr/>
        </p:nvSpPr>
        <p:spPr>
          <a:xfrm rot="10800000">
            <a:off x="-84" y="3"/>
            <a:ext cx="3108711" cy="6994525"/>
          </a:xfrm>
          <a:custGeom>
            <a:avLst/>
            <a:gdLst/>
            <a:ahLst/>
            <a:cxnLst/>
            <a:rect l="0" t="0" r="0" b="0"/>
            <a:pathLst>
              <a:path w="120000" h="120000" extrusionOk="0">
                <a:moveTo>
                  <a:pt x="120000" y="119999"/>
                </a:moveTo>
                <a:lnTo>
                  <a:pt x="0" y="119999"/>
                </a:lnTo>
                <a:lnTo>
                  <a:pt x="57399" y="0"/>
                </a:lnTo>
                <a:lnTo>
                  <a:pt x="120000" y="0"/>
                </a:lnTo>
                <a:close/>
              </a:path>
            </a:pathLst>
          </a:custGeom>
          <a:solidFill>
            <a:schemeClr val="accent1"/>
          </a:solidFill>
          <a:ln>
            <a:noFill/>
          </a:ln>
        </p:spPr>
        <p:txBody>
          <a:bodyPr lIns="93220" tIns="46610" rIns="93220" bIns="46610" anchor="t" anchorCtr="0">
            <a:noAutofit/>
          </a:bodyPr>
          <a:lstStyle/>
          <a:p>
            <a:pPr marL="0" marR="0" lvl="0" indent="0" algn="l" rtl="0">
              <a:lnSpc>
                <a:spcPct val="100000"/>
              </a:lnSpc>
              <a:spcBef>
                <a:spcPts val="0"/>
              </a:spcBef>
              <a:spcAft>
                <a:spcPts val="0"/>
              </a:spcAft>
              <a:buClr>
                <a:schemeClr val="dk1"/>
              </a:buClr>
              <a:buFont typeface="Quattrocento Sans"/>
              <a:buNone/>
            </a:pPr>
            <a:endParaRPr sz="1768" b="0" i="0" u="none" strike="noStrike" cap="none">
              <a:solidFill>
                <a:srgbClr val="000000"/>
              </a:solidFill>
              <a:latin typeface="Quattrocento Sans"/>
              <a:ea typeface="Quattrocento Sans"/>
              <a:cs typeface="Quattrocento Sans"/>
              <a:sym typeface="Quattrocento Sans"/>
            </a:endParaRPr>
          </a:p>
        </p:txBody>
      </p:sp>
      <p:sp>
        <p:nvSpPr>
          <p:cNvPr id="802" name="Shape 802"/>
          <p:cNvSpPr txBox="1"/>
          <p:nvPr/>
        </p:nvSpPr>
        <p:spPr>
          <a:xfrm>
            <a:off x="10117138" y="-1044574"/>
            <a:ext cx="914375" cy="914653"/>
          </a:xfrm>
          <a:prstGeom prst="rect">
            <a:avLst/>
          </a:prstGeom>
          <a:noFill/>
          <a:ln>
            <a:noFill/>
          </a:ln>
        </p:spPr>
        <p:txBody>
          <a:bodyPr lIns="182801" tIns="146221" rIns="182801" bIns="146221" anchor="t" anchorCtr="0">
            <a:noAutofit/>
          </a:bodyPr>
          <a:lstStyle/>
          <a:p>
            <a:pPr marL="0" marR="0" lvl="0" indent="0" algn="l" rtl="0">
              <a:lnSpc>
                <a:spcPct val="90000"/>
              </a:lnSpc>
              <a:spcBef>
                <a:spcPts val="0"/>
              </a:spcBef>
              <a:spcAft>
                <a:spcPts val="0"/>
              </a:spcAft>
              <a:buClr>
                <a:schemeClr val="dk1"/>
              </a:buClr>
              <a:buFont typeface="Quattrocento Sans"/>
              <a:buNone/>
            </a:pPr>
            <a:endParaRPr sz="2448" b="0" i="0" u="none" strike="noStrike" cap="none">
              <a:solidFill>
                <a:srgbClr val="FFFFFF"/>
              </a:solidFill>
              <a:latin typeface="Quattrocento Sans"/>
              <a:ea typeface="Quattrocento Sans"/>
              <a:cs typeface="Quattrocento Sans"/>
              <a:sym typeface="Quattrocento Sans"/>
            </a:endParaRPr>
          </a:p>
        </p:txBody>
      </p:sp>
      <p:sp>
        <p:nvSpPr>
          <p:cNvPr id="803" name="Shape 803"/>
          <p:cNvSpPr txBox="1"/>
          <p:nvPr/>
        </p:nvSpPr>
        <p:spPr>
          <a:xfrm>
            <a:off x="11274425" y="-1708149"/>
            <a:ext cx="914375" cy="914653"/>
          </a:xfrm>
          <a:prstGeom prst="rect">
            <a:avLst/>
          </a:prstGeom>
          <a:noFill/>
          <a:ln>
            <a:noFill/>
          </a:ln>
        </p:spPr>
        <p:txBody>
          <a:bodyPr lIns="182801" tIns="146221" rIns="182801" bIns="146221" anchor="t" anchorCtr="0">
            <a:noAutofit/>
          </a:bodyPr>
          <a:lstStyle/>
          <a:p>
            <a:pPr marL="0" marR="0" lvl="0" indent="0" algn="l" rtl="0">
              <a:lnSpc>
                <a:spcPct val="90000"/>
              </a:lnSpc>
              <a:spcBef>
                <a:spcPts val="0"/>
              </a:spcBef>
              <a:spcAft>
                <a:spcPts val="0"/>
              </a:spcAft>
              <a:buClr>
                <a:schemeClr val="dk1"/>
              </a:buClr>
              <a:buFont typeface="Quattrocento Sans"/>
              <a:buNone/>
            </a:pPr>
            <a:endParaRPr sz="2448" b="0" i="0" u="none" strike="noStrike" cap="none">
              <a:solidFill>
                <a:srgbClr val="FFFFFF"/>
              </a:solidFill>
              <a:latin typeface="Quattrocento Sans"/>
              <a:ea typeface="Quattrocento Sans"/>
              <a:cs typeface="Quattrocento Sans"/>
              <a:sym typeface="Quattrocento Sans"/>
            </a:endParaRPr>
          </a:p>
        </p:txBody>
      </p:sp>
      <p:sp>
        <p:nvSpPr>
          <p:cNvPr id="804" name="Shape 804"/>
          <p:cNvSpPr txBox="1">
            <a:spLocks noGrp="1"/>
          </p:cNvSpPr>
          <p:nvPr>
            <p:ph type="title"/>
          </p:nvPr>
        </p:nvSpPr>
        <p:spPr>
          <a:xfrm>
            <a:off x="274320" y="292084"/>
            <a:ext cx="2679473" cy="1544548"/>
          </a:xfrm>
          <a:prstGeom prst="rect">
            <a:avLst/>
          </a:prstGeom>
          <a:noFill/>
          <a:ln>
            <a:noFill/>
          </a:ln>
        </p:spPr>
        <p:txBody>
          <a:bodyPr lIns="68575" tIns="68575" rIns="68575" bIns="68575" anchor="t" anchorCtr="0"/>
          <a:lstStyle>
            <a:lvl1pPr marL="0" marR="0" lvl="0" indent="0" algn="l" rtl="0">
              <a:lnSpc>
                <a:spcPct val="90000"/>
              </a:lnSpc>
              <a:spcBef>
                <a:spcPts val="0"/>
              </a:spcBef>
              <a:spcAft>
                <a:spcPts val="0"/>
              </a:spcAft>
              <a:buNone/>
              <a:defRPr sz="3264" b="0" i="0" u="none" strike="noStrike" cap="none">
                <a:solidFill>
                  <a:schemeClr val="lt1"/>
                </a:solidFill>
                <a:latin typeface="Quattrocento Sans"/>
                <a:ea typeface="Quattrocento Sans"/>
                <a:cs typeface="Quattrocento Sans"/>
                <a:sym typeface="Quattrocento Sans"/>
              </a:defRPr>
            </a:lvl1pPr>
            <a:lvl2pPr marL="0" marR="0" lvl="1"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2pPr>
            <a:lvl3pPr marL="0" marR="0" lvl="2"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3pPr>
            <a:lvl4pPr marL="0" marR="0" lvl="3"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4pPr>
            <a:lvl5pPr marL="0" marR="0" lvl="4"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5pPr>
            <a:lvl6pPr marL="449039" marR="0" lvl="5"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6pPr>
            <a:lvl7pPr marL="915349" marR="0" lvl="6"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7pPr>
            <a:lvl8pPr marL="1364388" marR="0" lvl="7"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8pPr>
            <a:lvl9pPr marL="1830697" marR="0" lvl="8"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9pPr>
          </a:lstStyle>
          <a:p>
            <a:endParaRPr/>
          </a:p>
        </p:txBody>
      </p:sp>
    </p:spTree>
    <p:extLst>
      <p:ext uri="{BB962C8B-B14F-4D97-AF65-F5344CB8AC3E}">
        <p14:creationId xmlns:p14="http://schemas.microsoft.com/office/powerpoint/2010/main" val="124055291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cSld name="Small Title and Content with Label">
    <p:spTree>
      <p:nvGrpSpPr>
        <p:cNvPr id="1" name="Shape 805"/>
        <p:cNvGrpSpPr/>
        <p:nvPr/>
      </p:nvGrpSpPr>
      <p:grpSpPr>
        <a:xfrm>
          <a:off x="0" y="0"/>
          <a:ext cx="0" cy="0"/>
          <a:chOff x="0" y="0"/>
          <a:chExt cx="0" cy="0"/>
        </a:xfrm>
      </p:grpSpPr>
      <p:sp>
        <p:nvSpPr>
          <p:cNvPr id="806" name="Shape 806"/>
          <p:cNvSpPr/>
          <p:nvPr/>
        </p:nvSpPr>
        <p:spPr>
          <a:xfrm rot="10800000">
            <a:off x="-84" y="3"/>
            <a:ext cx="3108711" cy="6994525"/>
          </a:xfrm>
          <a:custGeom>
            <a:avLst/>
            <a:gdLst/>
            <a:ahLst/>
            <a:cxnLst/>
            <a:rect l="0" t="0" r="0" b="0"/>
            <a:pathLst>
              <a:path w="120000" h="120000" extrusionOk="0">
                <a:moveTo>
                  <a:pt x="120000" y="119999"/>
                </a:moveTo>
                <a:lnTo>
                  <a:pt x="0" y="119999"/>
                </a:lnTo>
                <a:lnTo>
                  <a:pt x="57399" y="0"/>
                </a:lnTo>
                <a:lnTo>
                  <a:pt x="120000" y="0"/>
                </a:lnTo>
                <a:close/>
              </a:path>
            </a:pathLst>
          </a:custGeom>
          <a:solidFill>
            <a:schemeClr val="accent1"/>
          </a:solidFill>
          <a:ln>
            <a:noFill/>
          </a:ln>
        </p:spPr>
        <p:txBody>
          <a:bodyPr lIns="93220" tIns="46610" rIns="93220" bIns="46610" anchor="t" anchorCtr="0">
            <a:noAutofit/>
          </a:bodyPr>
          <a:lstStyle/>
          <a:p>
            <a:pPr marL="0" marR="0" lvl="0" indent="0" algn="l" rtl="0">
              <a:lnSpc>
                <a:spcPct val="100000"/>
              </a:lnSpc>
              <a:spcBef>
                <a:spcPts val="0"/>
              </a:spcBef>
              <a:spcAft>
                <a:spcPts val="0"/>
              </a:spcAft>
              <a:buClr>
                <a:schemeClr val="dk1"/>
              </a:buClr>
              <a:buFont typeface="Quattrocento Sans"/>
              <a:buNone/>
            </a:pPr>
            <a:endParaRPr sz="1768" b="0" i="0" u="none" strike="noStrike" cap="none">
              <a:solidFill>
                <a:srgbClr val="000000"/>
              </a:solidFill>
              <a:latin typeface="Quattrocento Sans"/>
              <a:ea typeface="Quattrocento Sans"/>
              <a:cs typeface="Quattrocento Sans"/>
              <a:sym typeface="Quattrocento Sans"/>
            </a:endParaRPr>
          </a:p>
        </p:txBody>
      </p:sp>
      <p:sp>
        <p:nvSpPr>
          <p:cNvPr id="807" name="Shape 807"/>
          <p:cNvSpPr txBox="1"/>
          <p:nvPr/>
        </p:nvSpPr>
        <p:spPr>
          <a:xfrm>
            <a:off x="10117138" y="-1044574"/>
            <a:ext cx="914375" cy="914653"/>
          </a:xfrm>
          <a:prstGeom prst="rect">
            <a:avLst/>
          </a:prstGeom>
          <a:noFill/>
          <a:ln>
            <a:noFill/>
          </a:ln>
        </p:spPr>
        <p:txBody>
          <a:bodyPr lIns="182801" tIns="146221" rIns="182801" bIns="146221" anchor="t" anchorCtr="0">
            <a:noAutofit/>
          </a:bodyPr>
          <a:lstStyle/>
          <a:p>
            <a:pPr marL="0" marR="0" lvl="0" indent="0" algn="l" rtl="0">
              <a:lnSpc>
                <a:spcPct val="90000"/>
              </a:lnSpc>
              <a:spcBef>
                <a:spcPts val="0"/>
              </a:spcBef>
              <a:spcAft>
                <a:spcPts val="0"/>
              </a:spcAft>
              <a:buClr>
                <a:schemeClr val="dk1"/>
              </a:buClr>
              <a:buFont typeface="Quattrocento Sans"/>
              <a:buNone/>
            </a:pPr>
            <a:endParaRPr sz="2448" b="0" i="0" u="none" strike="noStrike" cap="none">
              <a:solidFill>
                <a:srgbClr val="FFFFFF"/>
              </a:solidFill>
              <a:latin typeface="Quattrocento Sans"/>
              <a:ea typeface="Quattrocento Sans"/>
              <a:cs typeface="Quattrocento Sans"/>
              <a:sym typeface="Quattrocento Sans"/>
            </a:endParaRPr>
          </a:p>
        </p:txBody>
      </p:sp>
      <p:sp>
        <p:nvSpPr>
          <p:cNvPr id="808" name="Shape 808"/>
          <p:cNvSpPr txBox="1"/>
          <p:nvPr/>
        </p:nvSpPr>
        <p:spPr>
          <a:xfrm>
            <a:off x="11274425" y="-1708149"/>
            <a:ext cx="914375" cy="914653"/>
          </a:xfrm>
          <a:prstGeom prst="rect">
            <a:avLst/>
          </a:prstGeom>
          <a:noFill/>
          <a:ln>
            <a:noFill/>
          </a:ln>
        </p:spPr>
        <p:txBody>
          <a:bodyPr lIns="182801" tIns="146221" rIns="182801" bIns="146221" anchor="t" anchorCtr="0">
            <a:noAutofit/>
          </a:bodyPr>
          <a:lstStyle/>
          <a:p>
            <a:pPr marL="0" marR="0" lvl="0" indent="0" algn="l" rtl="0">
              <a:lnSpc>
                <a:spcPct val="90000"/>
              </a:lnSpc>
              <a:spcBef>
                <a:spcPts val="0"/>
              </a:spcBef>
              <a:spcAft>
                <a:spcPts val="0"/>
              </a:spcAft>
              <a:buClr>
                <a:schemeClr val="dk1"/>
              </a:buClr>
              <a:buFont typeface="Quattrocento Sans"/>
              <a:buNone/>
            </a:pPr>
            <a:endParaRPr sz="2448" b="0" i="0" u="none" strike="noStrike" cap="none">
              <a:solidFill>
                <a:srgbClr val="FFFFFF"/>
              </a:solidFill>
              <a:latin typeface="Quattrocento Sans"/>
              <a:ea typeface="Quattrocento Sans"/>
              <a:cs typeface="Quattrocento Sans"/>
              <a:sym typeface="Quattrocento Sans"/>
            </a:endParaRPr>
          </a:p>
        </p:txBody>
      </p:sp>
      <p:sp>
        <p:nvSpPr>
          <p:cNvPr id="809" name="Shape 809"/>
          <p:cNvSpPr/>
          <p:nvPr/>
        </p:nvSpPr>
        <p:spPr>
          <a:xfrm>
            <a:off x="0" y="5826713"/>
            <a:ext cx="1943403" cy="638054"/>
          </a:xfrm>
          <a:prstGeom prst="rect">
            <a:avLst/>
          </a:prstGeom>
          <a:solidFill>
            <a:schemeClr val="lt1"/>
          </a:solidFill>
          <a:ln>
            <a:noFill/>
          </a:ln>
        </p:spPr>
        <p:txBody>
          <a:bodyPr lIns="93220" tIns="46610" rIns="93220" bIns="46610" anchor="t" anchorCtr="0">
            <a:noAutofit/>
          </a:bodyPr>
          <a:lstStyle/>
          <a:p>
            <a:pPr marL="0" marR="0" lvl="0" indent="0" algn="ctr" rtl="0">
              <a:lnSpc>
                <a:spcPct val="100000"/>
              </a:lnSpc>
              <a:spcBef>
                <a:spcPts val="0"/>
              </a:spcBef>
              <a:spcAft>
                <a:spcPts val="0"/>
              </a:spcAft>
              <a:buClr>
                <a:schemeClr val="lt1"/>
              </a:buClr>
              <a:buFont typeface="Quattrocento Sans"/>
              <a:buNone/>
            </a:pPr>
            <a:endParaRPr sz="1768" b="0" i="0" u="none" strike="noStrike" cap="none">
              <a:solidFill>
                <a:srgbClr val="FFFFFF"/>
              </a:solidFill>
              <a:latin typeface="Quattrocento Sans"/>
              <a:ea typeface="Quattrocento Sans"/>
              <a:cs typeface="Quattrocento Sans"/>
              <a:sym typeface="Quattrocento Sans"/>
            </a:endParaRPr>
          </a:p>
        </p:txBody>
      </p:sp>
      <p:sp>
        <p:nvSpPr>
          <p:cNvPr id="810" name="Shape 810"/>
          <p:cNvSpPr txBox="1">
            <a:spLocks noGrp="1"/>
          </p:cNvSpPr>
          <p:nvPr>
            <p:ph type="sldNum" idx="12"/>
          </p:nvPr>
        </p:nvSpPr>
        <p:spPr>
          <a:xfrm>
            <a:off x="11595099" y="6565900"/>
            <a:ext cx="566741" cy="136668"/>
          </a:xfrm>
          <a:prstGeom prst="rect">
            <a:avLst/>
          </a:prstGeom>
          <a:noFill/>
          <a:ln>
            <a:noFill/>
          </a:ln>
        </p:spPr>
        <p:txBody>
          <a:bodyPr lIns="68575" tIns="0" rIns="0" bIns="0" anchor="ctr" anchorCtr="0">
            <a:noAutofit/>
          </a:bodyPr>
          <a:lstStyle/>
          <a:p>
            <a:pPr algn="r">
              <a:buSzPct val="25000"/>
            </a:pPr>
            <a:fld id="{00000000-1234-1234-1234-123412341234}" type="slidenum">
              <a:rPr lang="en" sz="952" smtClean="0">
                <a:solidFill>
                  <a:srgbClr val="505050"/>
                </a:solidFill>
                <a:latin typeface="Quattrocento Sans"/>
                <a:ea typeface="Quattrocento Sans"/>
                <a:cs typeface="Quattrocento Sans"/>
                <a:sym typeface="Quattrocento Sans"/>
              </a:rPr>
              <a:pPr algn="r">
                <a:buSzPct val="25000"/>
              </a:pPr>
              <a:t>‹#›</a:t>
            </a:fld>
            <a:endParaRPr lang="en" sz="952">
              <a:solidFill>
                <a:srgbClr val="505050"/>
              </a:solidFill>
              <a:latin typeface="Quattrocento Sans"/>
              <a:ea typeface="Quattrocento Sans"/>
              <a:cs typeface="Quattrocento Sans"/>
              <a:sym typeface="Quattrocento Sans"/>
            </a:endParaRPr>
          </a:p>
        </p:txBody>
      </p:sp>
      <p:sp>
        <p:nvSpPr>
          <p:cNvPr id="811" name="Shape 811"/>
          <p:cNvSpPr txBox="1">
            <a:spLocks noGrp="1"/>
          </p:cNvSpPr>
          <p:nvPr>
            <p:ph type="body" idx="1"/>
          </p:nvPr>
        </p:nvSpPr>
        <p:spPr>
          <a:xfrm>
            <a:off x="97586" y="5919273"/>
            <a:ext cx="1728784" cy="453247"/>
          </a:xfrm>
          <a:prstGeom prst="rect">
            <a:avLst/>
          </a:prstGeom>
          <a:noFill/>
          <a:ln>
            <a:noFill/>
          </a:ln>
        </p:spPr>
        <p:txBody>
          <a:bodyPr lIns="68575" tIns="68575" rIns="68575" bIns="68575" anchor="ctr" anchorCtr="0"/>
          <a:lstStyle>
            <a:lvl1pPr marL="0" marR="0" lvl="0" indent="0" algn="l" rtl="0">
              <a:lnSpc>
                <a:spcPct val="90000"/>
              </a:lnSpc>
              <a:spcBef>
                <a:spcPts val="272"/>
              </a:spcBef>
              <a:spcAft>
                <a:spcPts val="0"/>
              </a:spcAft>
              <a:buClr>
                <a:srgbClr val="505050"/>
              </a:buClr>
              <a:buFont typeface="Arial"/>
              <a:buNone/>
              <a:defRPr sz="1632" b="0" i="0" u="none" strike="noStrike" cap="none">
                <a:solidFill>
                  <a:srgbClr val="505050"/>
                </a:solidFill>
                <a:latin typeface="Quattrocento Sans"/>
                <a:ea typeface="Quattrocento Sans"/>
                <a:cs typeface="Quattrocento Sans"/>
                <a:sym typeface="Quattrocento Sans"/>
              </a:defRPr>
            </a:lvl1pPr>
            <a:lvl2pPr marL="0" marR="0" lvl="1" indent="0" algn="l" rtl="0">
              <a:lnSpc>
                <a:spcPct val="90000"/>
              </a:lnSpc>
              <a:spcBef>
                <a:spcPts val="680"/>
              </a:spcBef>
              <a:spcAft>
                <a:spcPts val="0"/>
              </a:spcAft>
              <a:buClr>
                <a:schemeClr val="lt1"/>
              </a:buClr>
              <a:buFont typeface="Arial"/>
              <a:buNone/>
              <a:defRPr sz="3128" b="0" i="0" u="none" strike="noStrike" cap="none">
                <a:solidFill>
                  <a:schemeClr val="lt1"/>
                </a:solidFill>
                <a:latin typeface="Quattrocento Sans"/>
                <a:ea typeface="Quattrocento Sans"/>
                <a:cs typeface="Quattrocento Sans"/>
                <a:sym typeface="Quattrocento Sans"/>
              </a:defRPr>
            </a:lvl2pPr>
            <a:lvl3pPr marL="0" marR="0" lvl="2" indent="0" algn="l" rtl="0">
              <a:lnSpc>
                <a:spcPct val="90000"/>
              </a:lnSpc>
              <a:spcBef>
                <a:spcPts val="680"/>
              </a:spcBef>
              <a:spcAft>
                <a:spcPts val="0"/>
              </a:spcAft>
              <a:buClr>
                <a:schemeClr val="lt1"/>
              </a:buClr>
              <a:buFont typeface="Arial"/>
              <a:buNone/>
              <a:defRPr sz="3128" b="0" i="0" u="none" strike="noStrike" cap="none">
                <a:solidFill>
                  <a:schemeClr val="lt1"/>
                </a:solidFill>
                <a:latin typeface="Quattrocento Sans"/>
                <a:ea typeface="Quattrocento Sans"/>
                <a:cs typeface="Quattrocento Sans"/>
                <a:sym typeface="Quattrocento Sans"/>
              </a:defRPr>
            </a:lvl3pPr>
            <a:lvl4pPr marL="0" marR="0" lvl="3" indent="0" algn="l" rtl="0">
              <a:lnSpc>
                <a:spcPct val="90000"/>
              </a:lnSpc>
              <a:spcBef>
                <a:spcPts val="680"/>
              </a:spcBef>
              <a:spcAft>
                <a:spcPts val="0"/>
              </a:spcAft>
              <a:buClr>
                <a:schemeClr val="lt1"/>
              </a:buClr>
              <a:buFont typeface="Arial"/>
              <a:buNone/>
              <a:defRPr sz="3128" b="0" i="0" u="none" strike="noStrike" cap="none">
                <a:solidFill>
                  <a:schemeClr val="lt1"/>
                </a:solidFill>
                <a:latin typeface="Quattrocento Sans"/>
                <a:ea typeface="Quattrocento Sans"/>
                <a:cs typeface="Quattrocento Sans"/>
                <a:sym typeface="Quattrocento Sans"/>
              </a:defRPr>
            </a:lvl4pPr>
            <a:lvl5pPr marL="0" marR="0" lvl="4" indent="0" algn="l" rtl="0">
              <a:lnSpc>
                <a:spcPct val="90000"/>
              </a:lnSpc>
              <a:spcBef>
                <a:spcPts val="680"/>
              </a:spcBef>
              <a:spcAft>
                <a:spcPts val="0"/>
              </a:spcAft>
              <a:buClr>
                <a:schemeClr val="lt1"/>
              </a:buClr>
              <a:buFont typeface="Arial"/>
              <a:buNone/>
              <a:defRPr sz="3128" b="0" i="0" u="none" strike="noStrike" cap="none">
                <a:solidFill>
                  <a:schemeClr val="lt1"/>
                </a:solidFill>
                <a:latin typeface="Quattrocento Sans"/>
                <a:ea typeface="Quattrocento Sans"/>
                <a:cs typeface="Quattrocento Sans"/>
                <a:sym typeface="Quattrocento Sans"/>
              </a:defRPr>
            </a:lvl5pPr>
            <a:lvl6pPr marL="2556068" marR="0" lvl="5"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6pPr>
            <a:lvl7pPr marL="3022378" marR="0" lvl="6"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7pPr>
            <a:lvl8pPr marL="3488687" marR="0" lvl="7"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8pPr>
            <a:lvl9pPr marL="3954997" marR="0" lvl="8"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9pPr>
          </a:lstStyle>
          <a:p>
            <a:endParaRPr/>
          </a:p>
        </p:txBody>
      </p:sp>
      <p:sp>
        <p:nvSpPr>
          <p:cNvPr id="812" name="Shape 812"/>
          <p:cNvSpPr txBox="1">
            <a:spLocks noGrp="1"/>
          </p:cNvSpPr>
          <p:nvPr>
            <p:ph type="title"/>
          </p:nvPr>
        </p:nvSpPr>
        <p:spPr>
          <a:xfrm>
            <a:off x="274320" y="292084"/>
            <a:ext cx="2679473" cy="1544548"/>
          </a:xfrm>
          <a:prstGeom prst="rect">
            <a:avLst/>
          </a:prstGeom>
          <a:noFill/>
          <a:ln>
            <a:noFill/>
          </a:ln>
        </p:spPr>
        <p:txBody>
          <a:bodyPr lIns="68575" tIns="68575" rIns="68575" bIns="68575" anchor="t" anchorCtr="0"/>
          <a:lstStyle>
            <a:lvl1pPr marL="0" marR="0" lvl="0" indent="0" algn="l" rtl="0">
              <a:lnSpc>
                <a:spcPct val="90000"/>
              </a:lnSpc>
              <a:spcBef>
                <a:spcPts val="0"/>
              </a:spcBef>
              <a:spcAft>
                <a:spcPts val="0"/>
              </a:spcAft>
              <a:buNone/>
              <a:defRPr sz="3264" b="0" i="0" u="none" strike="noStrike" cap="none">
                <a:solidFill>
                  <a:schemeClr val="lt1"/>
                </a:solidFill>
                <a:latin typeface="Quattrocento Sans"/>
                <a:ea typeface="Quattrocento Sans"/>
                <a:cs typeface="Quattrocento Sans"/>
                <a:sym typeface="Quattrocento Sans"/>
              </a:defRPr>
            </a:lvl1pPr>
            <a:lvl2pPr marL="0" marR="0" lvl="1"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2pPr>
            <a:lvl3pPr marL="0" marR="0" lvl="2"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3pPr>
            <a:lvl4pPr marL="0" marR="0" lvl="3"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4pPr>
            <a:lvl5pPr marL="0" marR="0" lvl="4"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5pPr>
            <a:lvl6pPr marL="449039" marR="0" lvl="5"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6pPr>
            <a:lvl7pPr marL="915349" marR="0" lvl="6"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7pPr>
            <a:lvl8pPr marL="1364388" marR="0" lvl="7"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8pPr>
            <a:lvl9pPr marL="1830697" marR="0" lvl="8"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9pPr>
          </a:lstStyle>
          <a:p>
            <a:endParaRPr/>
          </a:p>
        </p:txBody>
      </p:sp>
      <p:sp>
        <p:nvSpPr>
          <p:cNvPr id="813" name="Shape 813"/>
          <p:cNvSpPr txBox="1">
            <a:spLocks noGrp="1"/>
          </p:cNvSpPr>
          <p:nvPr>
            <p:ph type="body" idx="2"/>
          </p:nvPr>
        </p:nvSpPr>
        <p:spPr>
          <a:xfrm>
            <a:off x="3108625" y="757739"/>
            <a:ext cx="9052758" cy="5478943"/>
          </a:xfrm>
          <a:prstGeom prst="rect">
            <a:avLst/>
          </a:prstGeom>
          <a:noFill/>
          <a:ln>
            <a:noFill/>
          </a:ln>
        </p:spPr>
        <p:txBody>
          <a:bodyPr lIns="68575" tIns="68575" rIns="68575" bIns="68575" anchor="t" anchorCtr="0"/>
          <a:lstStyle>
            <a:lvl1pPr marL="0" marR="0" lvl="0" indent="0" algn="l" rtl="0">
              <a:lnSpc>
                <a:spcPct val="90000"/>
              </a:lnSpc>
              <a:spcBef>
                <a:spcPts val="1224"/>
              </a:spcBef>
              <a:spcAft>
                <a:spcPts val="0"/>
              </a:spcAft>
              <a:buClr>
                <a:schemeClr val="dk2"/>
              </a:buClr>
              <a:buFont typeface="Arial"/>
              <a:buNone/>
              <a:defRPr sz="2856" b="0" i="0" u="none" strike="noStrike" cap="none">
                <a:solidFill>
                  <a:schemeClr val="dk2"/>
                </a:solidFill>
                <a:latin typeface="Quattrocento Sans"/>
                <a:ea typeface="Quattrocento Sans"/>
                <a:cs typeface="Quattrocento Sans"/>
                <a:sym typeface="Quattrocento Sans"/>
              </a:defRPr>
            </a:lvl1pPr>
            <a:lvl2pPr marL="0" marR="0" lvl="1" indent="0" algn="l" rtl="0">
              <a:lnSpc>
                <a:spcPct val="90000"/>
              </a:lnSpc>
              <a:spcBef>
                <a:spcPts val="1224"/>
              </a:spcBef>
              <a:spcAft>
                <a:spcPts val="0"/>
              </a:spcAft>
              <a:buClr>
                <a:schemeClr val="dk2"/>
              </a:buClr>
              <a:buFont typeface="Arial"/>
              <a:buNone/>
              <a:defRPr sz="2040" b="0" i="0" u="none" strike="noStrike" cap="none">
                <a:solidFill>
                  <a:schemeClr val="dk2"/>
                </a:solidFill>
                <a:latin typeface="Quattrocento Sans"/>
                <a:ea typeface="Quattrocento Sans"/>
                <a:cs typeface="Quattrocento Sans"/>
                <a:sym typeface="Quattrocento Sans"/>
              </a:defRPr>
            </a:lvl2pPr>
            <a:lvl3pPr marL="794454" marR="0" lvl="2" indent="-120895" algn="l" rtl="0">
              <a:lnSpc>
                <a:spcPct val="90000"/>
              </a:lnSpc>
              <a:spcBef>
                <a:spcPts val="408"/>
              </a:spcBef>
              <a:spcAft>
                <a:spcPts val="0"/>
              </a:spcAft>
              <a:buClr>
                <a:schemeClr val="dk2"/>
              </a:buClr>
              <a:buSzPct val="92307"/>
              <a:buFont typeface="Arial"/>
              <a:buChar char="•"/>
              <a:defRPr sz="1768" b="0" i="0" u="none" strike="noStrike" cap="none">
                <a:solidFill>
                  <a:schemeClr val="dk2"/>
                </a:solidFill>
                <a:latin typeface="Quattrocento Sans"/>
                <a:ea typeface="Quattrocento Sans"/>
                <a:cs typeface="Quattrocento Sans"/>
                <a:sym typeface="Quattrocento Sans"/>
              </a:defRPr>
            </a:lvl3pPr>
            <a:lvl4pPr marL="1036244" marR="0" lvl="3" indent="-138166" algn="l" rtl="0">
              <a:lnSpc>
                <a:spcPct val="90000"/>
              </a:lnSpc>
              <a:spcBef>
                <a:spcPts val="408"/>
              </a:spcBef>
              <a:spcAft>
                <a:spcPts val="0"/>
              </a:spcAft>
              <a:buClr>
                <a:schemeClr val="dk2"/>
              </a:buClr>
              <a:buSzPct val="85714"/>
              <a:buFont typeface="Arial"/>
              <a:buChar char="•"/>
              <a:defRPr sz="1904" b="0" i="0" u="none" strike="noStrike" cap="none">
                <a:solidFill>
                  <a:schemeClr val="dk2"/>
                </a:solidFill>
                <a:latin typeface="Quattrocento Sans"/>
                <a:ea typeface="Quattrocento Sans"/>
                <a:cs typeface="Quattrocento Sans"/>
                <a:sym typeface="Quattrocento Sans"/>
              </a:defRPr>
            </a:lvl4pPr>
            <a:lvl5pPr marL="1260763" marR="0" lvl="4" indent="-138166" algn="l" rtl="0">
              <a:lnSpc>
                <a:spcPct val="90000"/>
              </a:lnSpc>
              <a:spcBef>
                <a:spcPts val="408"/>
              </a:spcBef>
              <a:spcAft>
                <a:spcPts val="0"/>
              </a:spcAft>
              <a:buClr>
                <a:schemeClr val="dk2"/>
              </a:buClr>
              <a:buSzPct val="85714"/>
              <a:buFont typeface="Arial"/>
              <a:buChar char="•"/>
              <a:defRPr sz="1904" b="0" i="0" u="none" strike="noStrike" cap="none">
                <a:solidFill>
                  <a:schemeClr val="dk2"/>
                </a:solidFill>
                <a:latin typeface="Quattrocento Sans"/>
                <a:ea typeface="Quattrocento Sans"/>
                <a:cs typeface="Quattrocento Sans"/>
                <a:sym typeface="Quattrocento Sans"/>
              </a:defRPr>
            </a:lvl5pPr>
            <a:lvl6pPr marL="2556068" marR="0" lvl="5"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6pPr>
            <a:lvl7pPr marL="3022378" marR="0" lvl="6"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7pPr>
            <a:lvl8pPr marL="3488687" marR="0" lvl="7"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8pPr>
            <a:lvl9pPr marL="3954997" marR="0" lvl="8"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9pPr>
          </a:lstStyle>
          <a:p>
            <a:endParaRPr/>
          </a:p>
        </p:txBody>
      </p:sp>
    </p:spTree>
    <p:extLst>
      <p:ext uri="{BB962C8B-B14F-4D97-AF65-F5344CB8AC3E}">
        <p14:creationId xmlns:p14="http://schemas.microsoft.com/office/powerpoint/2010/main" val="3055852278"/>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cSld name="1_Title and Subtitle">
    <p:spTree>
      <p:nvGrpSpPr>
        <p:cNvPr id="1" name="Shape 814"/>
        <p:cNvGrpSpPr/>
        <p:nvPr/>
      </p:nvGrpSpPr>
      <p:grpSpPr>
        <a:xfrm>
          <a:off x="0" y="0"/>
          <a:ext cx="0" cy="0"/>
          <a:chOff x="0" y="0"/>
          <a:chExt cx="0" cy="0"/>
        </a:xfrm>
      </p:grpSpPr>
      <p:sp>
        <p:nvSpPr>
          <p:cNvPr id="815" name="Shape 815"/>
          <p:cNvSpPr/>
          <p:nvPr/>
        </p:nvSpPr>
        <p:spPr>
          <a:xfrm rot="10800000">
            <a:off x="8217132" y="3"/>
            <a:ext cx="4219343" cy="6994525"/>
          </a:xfrm>
          <a:custGeom>
            <a:avLst/>
            <a:gdLst/>
            <a:ahLst/>
            <a:cxnLst/>
            <a:rect l="0" t="0" r="0" b="0"/>
            <a:pathLst>
              <a:path w="120000" h="120000" extrusionOk="0">
                <a:moveTo>
                  <a:pt x="0" y="0"/>
                </a:moveTo>
                <a:lnTo>
                  <a:pt x="7801" y="0"/>
                </a:lnTo>
                <a:lnTo>
                  <a:pt x="13631" y="0"/>
                </a:lnTo>
                <a:lnTo>
                  <a:pt x="120000" y="0"/>
                </a:lnTo>
                <a:lnTo>
                  <a:pt x="77711" y="119999"/>
                </a:lnTo>
                <a:lnTo>
                  <a:pt x="13631" y="119999"/>
                </a:lnTo>
                <a:lnTo>
                  <a:pt x="7801" y="119999"/>
                </a:lnTo>
                <a:lnTo>
                  <a:pt x="0" y="119999"/>
                </a:lnTo>
                <a:close/>
              </a:path>
            </a:pathLst>
          </a:custGeom>
          <a:solidFill>
            <a:schemeClr val="accent1"/>
          </a:solidFill>
          <a:ln>
            <a:noFill/>
          </a:ln>
        </p:spPr>
        <p:txBody>
          <a:bodyPr lIns="186473" tIns="149178" rIns="186473" bIns="149178" anchor="t" anchorCtr="0">
            <a:noAutofit/>
          </a:bodyPr>
          <a:lstStyle/>
          <a:p>
            <a:pPr marL="0" marR="0" lvl="0" indent="0" algn="ctr" rtl="0">
              <a:lnSpc>
                <a:spcPct val="90000"/>
              </a:lnSpc>
              <a:spcBef>
                <a:spcPts val="0"/>
              </a:spcBef>
              <a:spcAft>
                <a:spcPts val="0"/>
              </a:spcAft>
              <a:buClr>
                <a:schemeClr val="lt1"/>
              </a:buClr>
              <a:buFont typeface="Quattrocento Sans"/>
              <a:buNone/>
            </a:pPr>
            <a:endParaRPr sz="2040" b="1" i="0" u="none" strike="noStrike" cap="none">
              <a:solidFill>
                <a:srgbClr val="FFFFFF"/>
              </a:solidFill>
              <a:latin typeface="Quattrocento Sans"/>
              <a:ea typeface="Quattrocento Sans"/>
              <a:cs typeface="Quattrocento Sans"/>
              <a:sym typeface="Quattrocento Sans"/>
            </a:endParaRPr>
          </a:p>
        </p:txBody>
      </p:sp>
      <p:sp>
        <p:nvSpPr>
          <p:cNvPr id="816" name="Shape 816"/>
          <p:cNvSpPr txBox="1">
            <a:spLocks noGrp="1"/>
          </p:cNvSpPr>
          <p:nvPr>
            <p:ph type="body" idx="1"/>
          </p:nvPr>
        </p:nvSpPr>
        <p:spPr>
          <a:xfrm>
            <a:off x="274639" y="1042678"/>
            <a:ext cx="9556664" cy="574820"/>
          </a:xfrm>
          <a:prstGeom prst="rect">
            <a:avLst/>
          </a:prstGeom>
          <a:noFill/>
          <a:ln>
            <a:noFill/>
          </a:ln>
        </p:spPr>
        <p:txBody>
          <a:bodyPr lIns="68575" tIns="68575" rIns="68575" bIns="68575" anchor="t" anchorCtr="0"/>
          <a:lstStyle>
            <a:lvl1pPr marL="0" marR="0" lvl="0" indent="0" algn="l" rtl="0">
              <a:lnSpc>
                <a:spcPct val="90000"/>
              </a:lnSpc>
              <a:spcBef>
                <a:spcPts val="544"/>
              </a:spcBef>
              <a:spcAft>
                <a:spcPts val="0"/>
              </a:spcAft>
              <a:buClr>
                <a:schemeClr val="dk2"/>
              </a:buClr>
              <a:buFont typeface="Arial"/>
              <a:buNone/>
              <a:defRPr sz="2856" b="0" i="0" u="none" strike="noStrike" cap="none">
                <a:solidFill>
                  <a:schemeClr val="dk2"/>
                </a:solidFill>
                <a:latin typeface="Quattrocento Sans"/>
                <a:ea typeface="Quattrocento Sans"/>
                <a:cs typeface="Quattrocento Sans"/>
                <a:sym typeface="Quattrocento Sans"/>
              </a:defRPr>
            </a:lvl1pPr>
            <a:lvl2pPr marL="0" marR="0" lvl="1" indent="0" algn="l" rtl="0">
              <a:lnSpc>
                <a:spcPct val="90000"/>
              </a:lnSpc>
              <a:spcBef>
                <a:spcPts val="680"/>
              </a:spcBef>
              <a:spcAft>
                <a:spcPts val="0"/>
              </a:spcAft>
              <a:buClr>
                <a:schemeClr val="lt1"/>
              </a:buClr>
              <a:buFont typeface="Arial"/>
              <a:buNone/>
              <a:defRPr sz="3128" b="0" i="0" u="none" strike="noStrike" cap="none">
                <a:solidFill>
                  <a:schemeClr val="lt1"/>
                </a:solidFill>
                <a:latin typeface="Quattrocento Sans"/>
                <a:ea typeface="Quattrocento Sans"/>
                <a:cs typeface="Quattrocento Sans"/>
                <a:sym typeface="Quattrocento Sans"/>
              </a:defRPr>
            </a:lvl2pPr>
            <a:lvl3pPr marL="0" marR="0" lvl="2" indent="0" algn="l" rtl="0">
              <a:lnSpc>
                <a:spcPct val="90000"/>
              </a:lnSpc>
              <a:spcBef>
                <a:spcPts val="680"/>
              </a:spcBef>
              <a:spcAft>
                <a:spcPts val="0"/>
              </a:spcAft>
              <a:buClr>
                <a:schemeClr val="lt1"/>
              </a:buClr>
              <a:buFont typeface="Arial"/>
              <a:buNone/>
              <a:defRPr sz="3128" b="0" i="0" u="none" strike="noStrike" cap="none">
                <a:solidFill>
                  <a:schemeClr val="lt1"/>
                </a:solidFill>
                <a:latin typeface="Quattrocento Sans"/>
                <a:ea typeface="Quattrocento Sans"/>
                <a:cs typeface="Quattrocento Sans"/>
                <a:sym typeface="Quattrocento Sans"/>
              </a:defRPr>
            </a:lvl3pPr>
            <a:lvl4pPr marL="0" marR="0" lvl="3" indent="0" algn="l" rtl="0">
              <a:lnSpc>
                <a:spcPct val="90000"/>
              </a:lnSpc>
              <a:spcBef>
                <a:spcPts val="680"/>
              </a:spcBef>
              <a:spcAft>
                <a:spcPts val="0"/>
              </a:spcAft>
              <a:buClr>
                <a:schemeClr val="lt1"/>
              </a:buClr>
              <a:buFont typeface="Arial"/>
              <a:buNone/>
              <a:defRPr sz="3128" b="0" i="0" u="none" strike="noStrike" cap="none">
                <a:solidFill>
                  <a:schemeClr val="lt1"/>
                </a:solidFill>
                <a:latin typeface="Quattrocento Sans"/>
                <a:ea typeface="Quattrocento Sans"/>
                <a:cs typeface="Quattrocento Sans"/>
                <a:sym typeface="Quattrocento Sans"/>
              </a:defRPr>
            </a:lvl4pPr>
            <a:lvl5pPr marL="0" marR="0" lvl="4" indent="0" algn="l" rtl="0">
              <a:lnSpc>
                <a:spcPct val="90000"/>
              </a:lnSpc>
              <a:spcBef>
                <a:spcPts val="680"/>
              </a:spcBef>
              <a:spcAft>
                <a:spcPts val="0"/>
              </a:spcAft>
              <a:buClr>
                <a:schemeClr val="lt1"/>
              </a:buClr>
              <a:buFont typeface="Arial"/>
              <a:buNone/>
              <a:defRPr sz="3128" b="0" i="0" u="none" strike="noStrike" cap="none">
                <a:solidFill>
                  <a:schemeClr val="lt1"/>
                </a:solidFill>
                <a:latin typeface="Quattrocento Sans"/>
                <a:ea typeface="Quattrocento Sans"/>
                <a:cs typeface="Quattrocento Sans"/>
                <a:sym typeface="Quattrocento Sans"/>
              </a:defRPr>
            </a:lvl5pPr>
            <a:lvl6pPr marL="2556068" marR="0" lvl="5"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6pPr>
            <a:lvl7pPr marL="3022378" marR="0" lvl="6"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7pPr>
            <a:lvl8pPr marL="3488687" marR="0" lvl="7"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8pPr>
            <a:lvl9pPr marL="3954997" marR="0" lvl="8"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9pPr>
          </a:lstStyle>
          <a:p>
            <a:endParaRPr/>
          </a:p>
        </p:txBody>
      </p:sp>
      <p:sp>
        <p:nvSpPr>
          <p:cNvPr id="817" name="Shape 817"/>
          <p:cNvSpPr txBox="1">
            <a:spLocks noGrp="1"/>
          </p:cNvSpPr>
          <p:nvPr>
            <p:ph type="title"/>
          </p:nvPr>
        </p:nvSpPr>
        <p:spPr>
          <a:xfrm>
            <a:off x="274320" y="292081"/>
            <a:ext cx="10296814" cy="789408"/>
          </a:xfrm>
          <a:prstGeom prst="rect">
            <a:avLst/>
          </a:prstGeom>
          <a:noFill/>
          <a:ln>
            <a:noFill/>
          </a:ln>
        </p:spPr>
        <p:txBody>
          <a:bodyPr lIns="68575" tIns="68575" rIns="68575" bIns="68575" anchor="t" anchorCtr="0"/>
          <a:lstStyle>
            <a:lvl1pPr marL="0" marR="0" lvl="0" indent="0" algn="l" rtl="0">
              <a:lnSpc>
                <a:spcPct val="90000"/>
              </a:lnSpc>
              <a:spcBef>
                <a:spcPts val="0"/>
              </a:spcBef>
              <a:spcAft>
                <a:spcPts val="0"/>
              </a:spcAft>
              <a:buNone/>
              <a:defRPr sz="4488" b="0" i="0" u="none" strike="noStrike" cap="none">
                <a:solidFill>
                  <a:schemeClr val="dk2"/>
                </a:solidFill>
                <a:latin typeface="Quattrocento Sans"/>
                <a:ea typeface="Quattrocento Sans"/>
                <a:cs typeface="Quattrocento Sans"/>
                <a:sym typeface="Quattrocento Sans"/>
              </a:defRPr>
            </a:lvl1pPr>
            <a:lvl2pPr marL="0" marR="0" lvl="1"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2pPr>
            <a:lvl3pPr marL="0" marR="0" lvl="2"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3pPr>
            <a:lvl4pPr marL="0" marR="0" lvl="3"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4pPr>
            <a:lvl5pPr marL="0" marR="0" lvl="4"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5pPr>
            <a:lvl6pPr marL="449039" marR="0" lvl="5"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6pPr>
            <a:lvl7pPr marL="915349" marR="0" lvl="6"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7pPr>
            <a:lvl8pPr marL="1364388" marR="0" lvl="7"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8pPr>
            <a:lvl9pPr marL="1830697" marR="0" lvl="8"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9pPr>
          </a:lstStyle>
          <a:p>
            <a:endParaRPr/>
          </a:p>
        </p:txBody>
      </p:sp>
      <p:sp>
        <p:nvSpPr>
          <p:cNvPr id="818" name="Shape 818"/>
          <p:cNvSpPr txBox="1">
            <a:spLocks noGrp="1"/>
          </p:cNvSpPr>
          <p:nvPr>
            <p:ph type="sldNum" idx="12"/>
          </p:nvPr>
        </p:nvSpPr>
        <p:spPr>
          <a:xfrm>
            <a:off x="11595099" y="6565900"/>
            <a:ext cx="566741" cy="136668"/>
          </a:xfrm>
          <a:prstGeom prst="rect">
            <a:avLst/>
          </a:prstGeom>
          <a:noFill/>
          <a:ln>
            <a:noFill/>
          </a:ln>
        </p:spPr>
        <p:txBody>
          <a:bodyPr lIns="68575" tIns="0" rIns="0" bIns="0" anchor="ctr" anchorCtr="0">
            <a:noAutofit/>
          </a:bodyPr>
          <a:lstStyle/>
          <a:p>
            <a:pPr algn="r">
              <a:buSzPct val="25000"/>
            </a:pPr>
            <a:fld id="{00000000-1234-1234-1234-123412341234}" type="slidenum">
              <a:rPr lang="en" sz="952" smtClean="0">
                <a:solidFill>
                  <a:srgbClr val="FFFFFF"/>
                </a:solidFill>
                <a:latin typeface="Quattrocento Sans"/>
                <a:ea typeface="Quattrocento Sans"/>
                <a:cs typeface="Quattrocento Sans"/>
                <a:sym typeface="Quattrocento Sans"/>
              </a:rPr>
              <a:pPr algn="r">
                <a:buSzPct val="25000"/>
              </a:pPr>
              <a:t>‹#›</a:t>
            </a:fld>
            <a:endParaRPr lang="en" sz="952">
              <a:solidFill>
                <a:srgbClr val="FFFFFF"/>
              </a:solidFill>
              <a:latin typeface="Quattrocento Sans"/>
              <a:ea typeface="Quattrocento Sans"/>
              <a:cs typeface="Quattrocento Sans"/>
              <a:sym typeface="Quattrocento Sans"/>
            </a:endParaRPr>
          </a:p>
        </p:txBody>
      </p:sp>
    </p:spTree>
    <p:extLst>
      <p:ext uri="{BB962C8B-B14F-4D97-AF65-F5344CB8AC3E}">
        <p14:creationId xmlns:p14="http://schemas.microsoft.com/office/powerpoint/2010/main" val="2686406013"/>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cSld name="1-Color w/Photo Block Title on Left">
    <p:spTree>
      <p:nvGrpSpPr>
        <p:cNvPr id="1" name="Shape 819"/>
        <p:cNvGrpSpPr/>
        <p:nvPr/>
      </p:nvGrpSpPr>
      <p:grpSpPr>
        <a:xfrm>
          <a:off x="0" y="0"/>
          <a:ext cx="0" cy="0"/>
          <a:chOff x="0" y="0"/>
          <a:chExt cx="0" cy="0"/>
        </a:xfrm>
      </p:grpSpPr>
      <p:sp>
        <p:nvSpPr>
          <p:cNvPr id="820" name="Shape 820"/>
          <p:cNvSpPr/>
          <p:nvPr/>
        </p:nvSpPr>
        <p:spPr>
          <a:xfrm rot="10800000">
            <a:off x="-9618" y="19"/>
            <a:ext cx="6198244" cy="7001052"/>
          </a:xfrm>
          <a:custGeom>
            <a:avLst/>
            <a:gdLst/>
            <a:ahLst/>
            <a:cxnLst/>
            <a:rect l="0" t="0" r="0" b="0"/>
            <a:pathLst>
              <a:path w="120000" h="120000" extrusionOk="0">
                <a:moveTo>
                  <a:pt x="119811" y="120000"/>
                </a:moveTo>
                <a:lnTo>
                  <a:pt x="0" y="120000"/>
                </a:lnTo>
                <a:lnTo>
                  <a:pt x="29071" y="0"/>
                </a:lnTo>
                <a:lnTo>
                  <a:pt x="120000" y="0"/>
                </a:lnTo>
                <a:cubicBezTo>
                  <a:pt x="119937" y="40000"/>
                  <a:pt x="119874" y="79999"/>
                  <a:pt x="119811" y="120000"/>
                </a:cubicBezTo>
                <a:close/>
              </a:path>
            </a:pathLst>
          </a:custGeom>
          <a:solidFill>
            <a:schemeClr val="accent1">
              <a:alpha val="89800"/>
            </a:schemeClr>
          </a:solidFill>
          <a:ln>
            <a:noFill/>
          </a:ln>
        </p:spPr>
        <p:txBody>
          <a:bodyPr lIns="93220" tIns="46610" rIns="93220" bIns="46610" anchor="t" anchorCtr="0">
            <a:noAutofit/>
          </a:bodyPr>
          <a:lstStyle/>
          <a:p>
            <a:pPr marL="0" marR="0" lvl="0" indent="0" algn="l" rtl="0">
              <a:lnSpc>
                <a:spcPct val="100000"/>
              </a:lnSpc>
              <a:spcBef>
                <a:spcPts val="0"/>
              </a:spcBef>
              <a:spcAft>
                <a:spcPts val="0"/>
              </a:spcAft>
              <a:buClr>
                <a:schemeClr val="dk1"/>
              </a:buClr>
              <a:buFont typeface="Quattrocento Sans"/>
              <a:buNone/>
            </a:pPr>
            <a:endParaRPr sz="1768" b="0" i="0" u="none" strike="noStrike" cap="none">
              <a:solidFill>
                <a:srgbClr val="000000"/>
              </a:solidFill>
              <a:latin typeface="Quattrocento Sans"/>
              <a:ea typeface="Quattrocento Sans"/>
              <a:cs typeface="Quattrocento Sans"/>
              <a:sym typeface="Quattrocento Sans"/>
            </a:endParaRPr>
          </a:p>
        </p:txBody>
      </p:sp>
      <p:sp>
        <p:nvSpPr>
          <p:cNvPr id="821" name="Shape 821"/>
          <p:cNvSpPr/>
          <p:nvPr/>
        </p:nvSpPr>
        <p:spPr>
          <a:xfrm>
            <a:off x="4697204" y="-1"/>
            <a:ext cx="8346066" cy="6994525"/>
          </a:xfrm>
          <a:custGeom>
            <a:avLst/>
            <a:gdLst/>
            <a:ahLst/>
            <a:cxnLst/>
            <a:rect l="0" t="0" r="0" b="0"/>
            <a:pathLst>
              <a:path w="120000" h="120000" extrusionOk="0">
                <a:moveTo>
                  <a:pt x="21378" y="0"/>
                </a:moveTo>
                <a:lnTo>
                  <a:pt x="59321" y="0"/>
                </a:lnTo>
                <a:lnTo>
                  <a:pt x="80313" y="0"/>
                </a:lnTo>
                <a:lnTo>
                  <a:pt x="120000" y="0"/>
                </a:lnTo>
                <a:lnTo>
                  <a:pt x="120000" y="119999"/>
                </a:lnTo>
                <a:lnTo>
                  <a:pt x="80313" y="119999"/>
                </a:lnTo>
                <a:lnTo>
                  <a:pt x="59321" y="119999"/>
                </a:lnTo>
                <a:lnTo>
                  <a:pt x="0" y="119999"/>
                </a:lnTo>
                <a:close/>
              </a:path>
            </a:pathLst>
          </a:custGeom>
          <a:solidFill>
            <a:schemeClr val="lt1"/>
          </a:solidFill>
          <a:ln>
            <a:noFill/>
          </a:ln>
        </p:spPr>
        <p:txBody>
          <a:bodyPr lIns="186473" tIns="149178" rIns="186473" bIns="149178" anchor="t" anchorCtr="0">
            <a:noAutofit/>
          </a:bodyPr>
          <a:lstStyle/>
          <a:p>
            <a:pPr marL="0" marR="0" lvl="0" indent="0" algn="ctr" rtl="0">
              <a:lnSpc>
                <a:spcPct val="90000"/>
              </a:lnSpc>
              <a:spcBef>
                <a:spcPts val="0"/>
              </a:spcBef>
              <a:spcAft>
                <a:spcPts val="0"/>
              </a:spcAft>
              <a:buClr>
                <a:schemeClr val="lt1"/>
              </a:buClr>
              <a:buFont typeface="Quattrocento Sans"/>
              <a:buNone/>
            </a:pPr>
            <a:endParaRPr sz="2040" b="1" i="0" u="none" strike="noStrike" cap="none">
              <a:solidFill>
                <a:srgbClr val="FFFFFF"/>
              </a:solidFill>
              <a:latin typeface="Quattrocento Sans"/>
              <a:ea typeface="Quattrocento Sans"/>
              <a:cs typeface="Quattrocento Sans"/>
              <a:sym typeface="Quattrocento Sans"/>
            </a:endParaRPr>
          </a:p>
        </p:txBody>
      </p:sp>
      <p:sp>
        <p:nvSpPr>
          <p:cNvPr id="822" name="Shape 822"/>
          <p:cNvSpPr txBox="1">
            <a:spLocks noGrp="1"/>
          </p:cNvSpPr>
          <p:nvPr>
            <p:ph type="title"/>
          </p:nvPr>
        </p:nvSpPr>
        <p:spPr>
          <a:xfrm>
            <a:off x="481594" y="1130743"/>
            <a:ext cx="4013701" cy="946474"/>
          </a:xfrm>
          <a:prstGeom prst="rect">
            <a:avLst/>
          </a:prstGeom>
          <a:noFill/>
          <a:ln>
            <a:noFill/>
          </a:ln>
        </p:spPr>
        <p:txBody>
          <a:bodyPr lIns="68575" tIns="68575" rIns="68575" bIns="68575" anchor="t" anchorCtr="0"/>
          <a:lstStyle>
            <a:lvl1pPr marL="0" marR="0" lvl="0" indent="0" algn="l" rtl="0">
              <a:lnSpc>
                <a:spcPct val="90000"/>
              </a:lnSpc>
              <a:spcBef>
                <a:spcPts val="0"/>
              </a:spcBef>
              <a:spcAft>
                <a:spcPts val="0"/>
              </a:spcAft>
              <a:buNone/>
              <a:defRPr sz="4488" b="0" i="0" u="none" strike="noStrike" cap="none">
                <a:solidFill>
                  <a:schemeClr val="lt1"/>
                </a:solidFill>
                <a:latin typeface="Quattrocento Sans"/>
                <a:ea typeface="Quattrocento Sans"/>
                <a:cs typeface="Quattrocento Sans"/>
                <a:sym typeface="Quattrocento Sans"/>
              </a:defRPr>
            </a:lvl1pPr>
            <a:lvl2pPr marL="0" marR="0" lvl="1"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2pPr>
            <a:lvl3pPr marL="0" marR="0" lvl="2"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3pPr>
            <a:lvl4pPr marL="0" marR="0" lvl="3"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4pPr>
            <a:lvl5pPr marL="0" marR="0" lvl="4"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5pPr>
            <a:lvl6pPr marL="449039" marR="0" lvl="5"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6pPr>
            <a:lvl7pPr marL="915349" marR="0" lvl="6"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7pPr>
            <a:lvl8pPr marL="1364388" marR="0" lvl="7"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8pPr>
            <a:lvl9pPr marL="1830697" marR="0" lvl="8"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9pPr>
          </a:lstStyle>
          <a:p>
            <a:endParaRPr/>
          </a:p>
        </p:txBody>
      </p:sp>
      <p:sp>
        <p:nvSpPr>
          <p:cNvPr id="823" name="Shape 823"/>
          <p:cNvSpPr txBox="1">
            <a:spLocks noGrp="1"/>
          </p:cNvSpPr>
          <p:nvPr>
            <p:ph type="sldNum" idx="12"/>
          </p:nvPr>
        </p:nvSpPr>
        <p:spPr>
          <a:xfrm>
            <a:off x="11595099" y="6565900"/>
            <a:ext cx="566741" cy="136668"/>
          </a:xfrm>
          <a:prstGeom prst="rect">
            <a:avLst/>
          </a:prstGeom>
          <a:noFill/>
          <a:ln>
            <a:noFill/>
          </a:ln>
        </p:spPr>
        <p:txBody>
          <a:bodyPr lIns="68575" tIns="0" rIns="0" bIns="0" anchor="ctr" anchorCtr="0">
            <a:noAutofit/>
          </a:bodyPr>
          <a:lstStyle/>
          <a:p>
            <a:pPr algn="r">
              <a:buSzPct val="25000"/>
            </a:pPr>
            <a:fld id="{00000000-1234-1234-1234-123412341234}" type="slidenum">
              <a:rPr lang="en" sz="952" smtClean="0">
                <a:solidFill>
                  <a:srgbClr val="505050"/>
                </a:solidFill>
                <a:latin typeface="Quattrocento Sans"/>
                <a:ea typeface="Quattrocento Sans"/>
                <a:cs typeface="Quattrocento Sans"/>
                <a:sym typeface="Quattrocento Sans"/>
              </a:rPr>
              <a:pPr algn="r">
                <a:buSzPct val="25000"/>
              </a:pPr>
              <a:t>‹#›</a:t>
            </a:fld>
            <a:endParaRPr lang="en" sz="952">
              <a:solidFill>
                <a:srgbClr val="505050"/>
              </a:solidFill>
              <a:latin typeface="Quattrocento Sans"/>
              <a:ea typeface="Quattrocento Sans"/>
              <a:cs typeface="Quattrocento Sans"/>
              <a:sym typeface="Quattrocento Sans"/>
            </a:endParaRPr>
          </a:p>
        </p:txBody>
      </p:sp>
      <p:sp>
        <p:nvSpPr>
          <p:cNvPr id="824" name="Shape 824"/>
          <p:cNvSpPr txBox="1">
            <a:spLocks noGrp="1"/>
          </p:cNvSpPr>
          <p:nvPr>
            <p:ph type="body" idx="1"/>
          </p:nvPr>
        </p:nvSpPr>
        <p:spPr>
          <a:xfrm>
            <a:off x="5586006" y="1130133"/>
            <a:ext cx="6576072" cy="4840889"/>
          </a:xfrm>
          <a:prstGeom prst="rect">
            <a:avLst/>
          </a:prstGeom>
          <a:noFill/>
          <a:ln>
            <a:noFill/>
          </a:ln>
        </p:spPr>
        <p:txBody>
          <a:bodyPr lIns="68575" tIns="68575" rIns="68575" bIns="68575" anchor="t" anchorCtr="0"/>
          <a:lstStyle>
            <a:lvl1pPr marL="0" marR="0" lvl="0" indent="0" algn="l" rtl="0">
              <a:lnSpc>
                <a:spcPct val="90000"/>
              </a:lnSpc>
              <a:spcBef>
                <a:spcPts val="1224"/>
              </a:spcBef>
              <a:spcAft>
                <a:spcPts val="0"/>
              </a:spcAft>
              <a:buClr>
                <a:schemeClr val="accent1"/>
              </a:buClr>
              <a:buFont typeface="Arial"/>
              <a:buNone/>
              <a:defRPr sz="2856" b="0" i="0" u="none" strike="noStrike" cap="none">
                <a:solidFill>
                  <a:schemeClr val="accent1"/>
                </a:solidFill>
                <a:latin typeface="Quattrocento Sans"/>
                <a:ea typeface="Quattrocento Sans"/>
                <a:cs typeface="Quattrocento Sans"/>
                <a:sym typeface="Quattrocento Sans"/>
              </a:defRPr>
            </a:lvl1pPr>
            <a:lvl2pPr marL="0" marR="0" lvl="1" indent="0" algn="l" rtl="0">
              <a:lnSpc>
                <a:spcPct val="90000"/>
              </a:lnSpc>
              <a:spcBef>
                <a:spcPts val="1224"/>
              </a:spcBef>
              <a:spcAft>
                <a:spcPts val="0"/>
              </a:spcAft>
              <a:buClr>
                <a:schemeClr val="dk2"/>
              </a:buClr>
              <a:buFont typeface="Arial"/>
              <a:buNone/>
              <a:defRPr sz="1768" b="0" i="0" u="none" strike="noStrike" cap="none">
                <a:solidFill>
                  <a:schemeClr val="dk2"/>
                </a:solidFill>
                <a:latin typeface="Quattrocento Sans"/>
                <a:ea typeface="Quattrocento Sans"/>
                <a:cs typeface="Quattrocento Sans"/>
                <a:sym typeface="Quattrocento Sans"/>
              </a:defRPr>
            </a:lvl2pPr>
            <a:lvl3pPr marL="794454" marR="0" lvl="2" indent="-120895" algn="l" rtl="0">
              <a:lnSpc>
                <a:spcPct val="90000"/>
              </a:lnSpc>
              <a:spcBef>
                <a:spcPts val="408"/>
              </a:spcBef>
              <a:spcAft>
                <a:spcPts val="0"/>
              </a:spcAft>
              <a:buClr>
                <a:schemeClr val="dk2"/>
              </a:buClr>
              <a:buSzPct val="92307"/>
              <a:buFont typeface="Arial"/>
              <a:buChar char="•"/>
              <a:defRPr sz="1768" b="0" i="0" u="none" strike="noStrike" cap="none">
                <a:solidFill>
                  <a:schemeClr val="dk2"/>
                </a:solidFill>
                <a:latin typeface="Quattrocento Sans"/>
                <a:ea typeface="Quattrocento Sans"/>
                <a:cs typeface="Quattrocento Sans"/>
                <a:sym typeface="Quattrocento Sans"/>
              </a:defRPr>
            </a:lvl3pPr>
            <a:lvl4pPr marL="1036244" marR="0" lvl="3" indent="-138166" algn="l" rtl="0">
              <a:lnSpc>
                <a:spcPct val="90000"/>
              </a:lnSpc>
              <a:spcBef>
                <a:spcPts val="408"/>
              </a:spcBef>
              <a:spcAft>
                <a:spcPts val="0"/>
              </a:spcAft>
              <a:buClr>
                <a:schemeClr val="dk2"/>
              </a:buClr>
              <a:buSzPct val="85714"/>
              <a:buFont typeface="Arial"/>
              <a:buChar char="•"/>
              <a:defRPr sz="1904" b="0" i="0" u="none" strike="noStrike" cap="none">
                <a:solidFill>
                  <a:schemeClr val="dk2"/>
                </a:solidFill>
                <a:latin typeface="Quattrocento Sans"/>
                <a:ea typeface="Quattrocento Sans"/>
                <a:cs typeface="Quattrocento Sans"/>
                <a:sym typeface="Quattrocento Sans"/>
              </a:defRPr>
            </a:lvl4pPr>
            <a:lvl5pPr marL="1260763" marR="0" lvl="4" indent="-138166" algn="l" rtl="0">
              <a:lnSpc>
                <a:spcPct val="90000"/>
              </a:lnSpc>
              <a:spcBef>
                <a:spcPts val="408"/>
              </a:spcBef>
              <a:spcAft>
                <a:spcPts val="0"/>
              </a:spcAft>
              <a:buClr>
                <a:schemeClr val="dk2"/>
              </a:buClr>
              <a:buSzPct val="85714"/>
              <a:buFont typeface="Arial"/>
              <a:buChar char="•"/>
              <a:defRPr sz="1904" b="0" i="0" u="none" strike="noStrike" cap="none">
                <a:solidFill>
                  <a:schemeClr val="dk2"/>
                </a:solidFill>
                <a:latin typeface="Quattrocento Sans"/>
                <a:ea typeface="Quattrocento Sans"/>
                <a:cs typeface="Quattrocento Sans"/>
                <a:sym typeface="Quattrocento Sans"/>
              </a:defRPr>
            </a:lvl5pPr>
            <a:lvl6pPr marL="2556068" marR="0" lvl="5"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6pPr>
            <a:lvl7pPr marL="3022378" marR="0" lvl="6"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7pPr>
            <a:lvl8pPr marL="3488687" marR="0" lvl="7"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8pPr>
            <a:lvl9pPr marL="3954997" marR="0" lvl="8"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9pPr>
          </a:lstStyle>
          <a:p>
            <a:endParaRPr/>
          </a:p>
        </p:txBody>
      </p:sp>
    </p:spTree>
    <p:extLst>
      <p:ext uri="{BB962C8B-B14F-4D97-AF65-F5344CB8AC3E}">
        <p14:creationId xmlns:p14="http://schemas.microsoft.com/office/powerpoint/2010/main" val="197830305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cSld name="1_Color Block Title on Left">
    <p:spTree>
      <p:nvGrpSpPr>
        <p:cNvPr id="1" name="Shape 825"/>
        <p:cNvGrpSpPr/>
        <p:nvPr/>
      </p:nvGrpSpPr>
      <p:grpSpPr>
        <a:xfrm>
          <a:off x="0" y="0"/>
          <a:ext cx="0" cy="0"/>
          <a:chOff x="0" y="0"/>
          <a:chExt cx="0" cy="0"/>
        </a:xfrm>
      </p:grpSpPr>
      <p:sp>
        <p:nvSpPr>
          <p:cNvPr id="826" name="Shape 826"/>
          <p:cNvSpPr/>
          <p:nvPr/>
        </p:nvSpPr>
        <p:spPr>
          <a:xfrm rot="10800000">
            <a:off x="200" y="0"/>
            <a:ext cx="5585805" cy="6994525"/>
          </a:xfrm>
          <a:custGeom>
            <a:avLst/>
            <a:gdLst/>
            <a:ahLst/>
            <a:cxnLst/>
            <a:rect l="0" t="0" r="0" b="0"/>
            <a:pathLst>
              <a:path w="120000" h="120000" extrusionOk="0">
                <a:moveTo>
                  <a:pt x="120000" y="119999"/>
                </a:moveTo>
                <a:lnTo>
                  <a:pt x="0" y="119999"/>
                </a:lnTo>
                <a:lnTo>
                  <a:pt x="31943" y="0"/>
                </a:lnTo>
                <a:lnTo>
                  <a:pt x="120000" y="0"/>
                </a:lnTo>
                <a:close/>
              </a:path>
            </a:pathLst>
          </a:custGeom>
          <a:solidFill>
            <a:schemeClr val="accent1"/>
          </a:solidFill>
          <a:ln>
            <a:noFill/>
          </a:ln>
        </p:spPr>
        <p:txBody>
          <a:bodyPr lIns="93220" tIns="46610" rIns="93220" bIns="46610" anchor="t" anchorCtr="0">
            <a:noAutofit/>
          </a:bodyPr>
          <a:lstStyle/>
          <a:p>
            <a:pPr marL="0" marR="0" lvl="0" indent="0" algn="l" rtl="0">
              <a:lnSpc>
                <a:spcPct val="100000"/>
              </a:lnSpc>
              <a:spcBef>
                <a:spcPts val="0"/>
              </a:spcBef>
              <a:spcAft>
                <a:spcPts val="0"/>
              </a:spcAft>
              <a:buClr>
                <a:schemeClr val="dk1"/>
              </a:buClr>
              <a:buFont typeface="Quattrocento Sans"/>
              <a:buNone/>
            </a:pPr>
            <a:endParaRPr sz="1768" b="0" i="0" u="none" strike="noStrike" cap="none">
              <a:solidFill>
                <a:srgbClr val="000000"/>
              </a:solidFill>
              <a:latin typeface="Quattrocento Sans"/>
              <a:ea typeface="Quattrocento Sans"/>
              <a:cs typeface="Quattrocento Sans"/>
              <a:sym typeface="Quattrocento Sans"/>
            </a:endParaRPr>
          </a:p>
        </p:txBody>
      </p:sp>
      <p:sp>
        <p:nvSpPr>
          <p:cNvPr id="827" name="Shape 827"/>
          <p:cNvSpPr txBox="1">
            <a:spLocks noGrp="1"/>
          </p:cNvSpPr>
          <p:nvPr>
            <p:ph type="title"/>
          </p:nvPr>
        </p:nvSpPr>
        <p:spPr>
          <a:xfrm>
            <a:off x="481594" y="1130743"/>
            <a:ext cx="4013701" cy="946474"/>
          </a:xfrm>
          <a:prstGeom prst="rect">
            <a:avLst/>
          </a:prstGeom>
          <a:noFill/>
          <a:ln>
            <a:noFill/>
          </a:ln>
        </p:spPr>
        <p:txBody>
          <a:bodyPr lIns="68575" tIns="68575" rIns="68575" bIns="68575" anchor="t" anchorCtr="0"/>
          <a:lstStyle>
            <a:lvl1pPr marL="0" marR="0" lvl="0" indent="0" algn="l" rtl="0">
              <a:lnSpc>
                <a:spcPct val="90000"/>
              </a:lnSpc>
              <a:spcBef>
                <a:spcPts val="0"/>
              </a:spcBef>
              <a:spcAft>
                <a:spcPts val="0"/>
              </a:spcAft>
              <a:buNone/>
              <a:defRPr sz="4488" b="0" i="0" u="none" strike="noStrike" cap="none">
                <a:solidFill>
                  <a:schemeClr val="lt1"/>
                </a:solidFill>
                <a:latin typeface="Quattrocento Sans"/>
                <a:ea typeface="Quattrocento Sans"/>
                <a:cs typeface="Quattrocento Sans"/>
                <a:sym typeface="Quattrocento Sans"/>
              </a:defRPr>
            </a:lvl1pPr>
            <a:lvl2pPr marL="0" marR="0" lvl="1"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2pPr>
            <a:lvl3pPr marL="0" marR="0" lvl="2"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3pPr>
            <a:lvl4pPr marL="0" marR="0" lvl="3"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4pPr>
            <a:lvl5pPr marL="0" marR="0" lvl="4"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5pPr>
            <a:lvl6pPr marL="449039" marR="0" lvl="5"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6pPr>
            <a:lvl7pPr marL="915349" marR="0" lvl="6"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7pPr>
            <a:lvl8pPr marL="1364388" marR="0" lvl="7"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8pPr>
            <a:lvl9pPr marL="1830697" marR="0" lvl="8"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9pPr>
          </a:lstStyle>
          <a:p>
            <a:endParaRPr/>
          </a:p>
        </p:txBody>
      </p:sp>
      <p:sp>
        <p:nvSpPr>
          <p:cNvPr id="828" name="Shape 828"/>
          <p:cNvSpPr txBox="1">
            <a:spLocks noGrp="1"/>
          </p:cNvSpPr>
          <p:nvPr>
            <p:ph type="sldNum" idx="12"/>
          </p:nvPr>
        </p:nvSpPr>
        <p:spPr>
          <a:xfrm>
            <a:off x="11595099" y="6565900"/>
            <a:ext cx="566741" cy="136668"/>
          </a:xfrm>
          <a:prstGeom prst="rect">
            <a:avLst/>
          </a:prstGeom>
          <a:noFill/>
          <a:ln>
            <a:noFill/>
          </a:ln>
        </p:spPr>
        <p:txBody>
          <a:bodyPr lIns="68575" tIns="0" rIns="0" bIns="0" anchor="ctr" anchorCtr="0">
            <a:noAutofit/>
          </a:bodyPr>
          <a:lstStyle/>
          <a:p>
            <a:pPr algn="r">
              <a:buSzPct val="25000"/>
            </a:pPr>
            <a:fld id="{00000000-1234-1234-1234-123412341234}" type="slidenum">
              <a:rPr lang="en" sz="952" smtClean="0">
                <a:solidFill>
                  <a:srgbClr val="505050"/>
                </a:solidFill>
                <a:latin typeface="Quattrocento Sans"/>
                <a:ea typeface="Quattrocento Sans"/>
                <a:cs typeface="Quattrocento Sans"/>
                <a:sym typeface="Quattrocento Sans"/>
              </a:rPr>
              <a:pPr algn="r">
                <a:buSzPct val="25000"/>
              </a:pPr>
              <a:t>‹#›</a:t>
            </a:fld>
            <a:endParaRPr lang="en" sz="952">
              <a:solidFill>
                <a:srgbClr val="505050"/>
              </a:solidFill>
              <a:latin typeface="Quattrocento Sans"/>
              <a:ea typeface="Quattrocento Sans"/>
              <a:cs typeface="Quattrocento Sans"/>
              <a:sym typeface="Quattrocento Sans"/>
            </a:endParaRPr>
          </a:p>
        </p:txBody>
      </p:sp>
      <p:sp>
        <p:nvSpPr>
          <p:cNvPr id="829" name="Shape 829"/>
          <p:cNvSpPr txBox="1">
            <a:spLocks noGrp="1"/>
          </p:cNvSpPr>
          <p:nvPr>
            <p:ph type="body" idx="1"/>
          </p:nvPr>
        </p:nvSpPr>
        <p:spPr>
          <a:xfrm>
            <a:off x="5586006" y="1130133"/>
            <a:ext cx="6576072" cy="4840889"/>
          </a:xfrm>
          <a:prstGeom prst="rect">
            <a:avLst/>
          </a:prstGeom>
          <a:noFill/>
          <a:ln>
            <a:noFill/>
          </a:ln>
        </p:spPr>
        <p:txBody>
          <a:bodyPr lIns="68575" tIns="68575" rIns="68575" bIns="68575" anchor="t" anchorCtr="0"/>
          <a:lstStyle>
            <a:lvl1pPr marL="0" marR="0" lvl="0" indent="0" algn="l" rtl="0">
              <a:lnSpc>
                <a:spcPct val="90000"/>
              </a:lnSpc>
              <a:spcBef>
                <a:spcPts val="1224"/>
              </a:spcBef>
              <a:spcAft>
                <a:spcPts val="0"/>
              </a:spcAft>
              <a:buClr>
                <a:schemeClr val="accent1"/>
              </a:buClr>
              <a:buFont typeface="Arial"/>
              <a:buNone/>
              <a:defRPr sz="2856" b="0" i="0" u="none" strike="noStrike" cap="none">
                <a:solidFill>
                  <a:schemeClr val="accent1"/>
                </a:solidFill>
                <a:latin typeface="Quattrocento Sans"/>
                <a:ea typeface="Quattrocento Sans"/>
                <a:cs typeface="Quattrocento Sans"/>
                <a:sym typeface="Quattrocento Sans"/>
              </a:defRPr>
            </a:lvl1pPr>
            <a:lvl2pPr marL="0" marR="0" lvl="1" indent="0" algn="l" rtl="0">
              <a:lnSpc>
                <a:spcPct val="90000"/>
              </a:lnSpc>
              <a:spcBef>
                <a:spcPts val="1224"/>
              </a:spcBef>
              <a:spcAft>
                <a:spcPts val="0"/>
              </a:spcAft>
              <a:buClr>
                <a:schemeClr val="dk2"/>
              </a:buClr>
              <a:buFont typeface="Arial"/>
              <a:buNone/>
              <a:defRPr sz="1768" b="0" i="0" u="none" strike="noStrike" cap="none">
                <a:solidFill>
                  <a:schemeClr val="dk2"/>
                </a:solidFill>
                <a:latin typeface="Quattrocento Sans"/>
                <a:ea typeface="Quattrocento Sans"/>
                <a:cs typeface="Quattrocento Sans"/>
                <a:sym typeface="Quattrocento Sans"/>
              </a:defRPr>
            </a:lvl2pPr>
            <a:lvl3pPr marL="794454" marR="0" lvl="2" indent="-120895" algn="l" rtl="0">
              <a:lnSpc>
                <a:spcPct val="90000"/>
              </a:lnSpc>
              <a:spcBef>
                <a:spcPts val="408"/>
              </a:spcBef>
              <a:spcAft>
                <a:spcPts val="0"/>
              </a:spcAft>
              <a:buClr>
                <a:schemeClr val="dk2"/>
              </a:buClr>
              <a:buSzPct val="92307"/>
              <a:buFont typeface="Arial"/>
              <a:buChar char="•"/>
              <a:defRPr sz="1768" b="0" i="0" u="none" strike="noStrike" cap="none">
                <a:solidFill>
                  <a:schemeClr val="dk2"/>
                </a:solidFill>
                <a:latin typeface="Quattrocento Sans"/>
                <a:ea typeface="Quattrocento Sans"/>
                <a:cs typeface="Quattrocento Sans"/>
                <a:sym typeface="Quattrocento Sans"/>
              </a:defRPr>
            </a:lvl3pPr>
            <a:lvl4pPr marL="1036244" marR="0" lvl="3" indent="-138166" algn="l" rtl="0">
              <a:lnSpc>
                <a:spcPct val="90000"/>
              </a:lnSpc>
              <a:spcBef>
                <a:spcPts val="408"/>
              </a:spcBef>
              <a:spcAft>
                <a:spcPts val="0"/>
              </a:spcAft>
              <a:buClr>
                <a:schemeClr val="dk2"/>
              </a:buClr>
              <a:buSzPct val="85714"/>
              <a:buFont typeface="Arial"/>
              <a:buChar char="•"/>
              <a:defRPr sz="1904" b="0" i="0" u="none" strike="noStrike" cap="none">
                <a:solidFill>
                  <a:schemeClr val="dk2"/>
                </a:solidFill>
                <a:latin typeface="Quattrocento Sans"/>
                <a:ea typeface="Quattrocento Sans"/>
                <a:cs typeface="Quattrocento Sans"/>
                <a:sym typeface="Quattrocento Sans"/>
              </a:defRPr>
            </a:lvl4pPr>
            <a:lvl5pPr marL="1260763" marR="0" lvl="4" indent="-138166" algn="l" rtl="0">
              <a:lnSpc>
                <a:spcPct val="90000"/>
              </a:lnSpc>
              <a:spcBef>
                <a:spcPts val="408"/>
              </a:spcBef>
              <a:spcAft>
                <a:spcPts val="0"/>
              </a:spcAft>
              <a:buClr>
                <a:schemeClr val="dk2"/>
              </a:buClr>
              <a:buSzPct val="85714"/>
              <a:buFont typeface="Arial"/>
              <a:buChar char="•"/>
              <a:defRPr sz="1904" b="0" i="0" u="none" strike="noStrike" cap="none">
                <a:solidFill>
                  <a:schemeClr val="dk2"/>
                </a:solidFill>
                <a:latin typeface="Quattrocento Sans"/>
                <a:ea typeface="Quattrocento Sans"/>
                <a:cs typeface="Quattrocento Sans"/>
                <a:sym typeface="Quattrocento Sans"/>
              </a:defRPr>
            </a:lvl5pPr>
            <a:lvl6pPr marL="2556068" marR="0" lvl="5"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6pPr>
            <a:lvl7pPr marL="3022378" marR="0" lvl="6"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7pPr>
            <a:lvl8pPr marL="3488687" marR="0" lvl="7"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8pPr>
            <a:lvl9pPr marL="3954997" marR="0" lvl="8"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9pPr>
          </a:lstStyle>
          <a:p>
            <a:endParaRPr/>
          </a:p>
        </p:txBody>
      </p:sp>
    </p:spTree>
    <p:extLst>
      <p:ext uri="{BB962C8B-B14F-4D97-AF65-F5344CB8AC3E}">
        <p14:creationId xmlns:p14="http://schemas.microsoft.com/office/powerpoint/2010/main" val="271836725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cSld name="Color Block Content on Right">
    <p:spTree>
      <p:nvGrpSpPr>
        <p:cNvPr id="1" name="Shape 830"/>
        <p:cNvGrpSpPr/>
        <p:nvPr/>
      </p:nvGrpSpPr>
      <p:grpSpPr>
        <a:xfrm>
          <a:off x="0" y="0"/>
          <a:ext cx="0" cy="0"/>
          <a:chOff x="0" y="0"/>
          <a:chExt cx="0" cy="0"/>
        </a:xfrm>
      </p:grpSpPr>
      <p:sp>
        <p:nvSpPr>
          <p:cNvPr id="831" name="Shape 831"/>
          <p:cNvSpPr/>
          <p:nvPr/>
        </p:nvSpPr>
        <p:spPr>
          <a:xfrm>
            <a:off x="4090186" y="-1"/>
            <a:ext cx="8346066" cy="6994525"/>
          </a:xfrm>
          <a:custGeom>
            <a:avLst/>
            <a:gdLst/>
            <a:ahLst/>
            <a:cxnLst/>
            <a:rect l="0" t="0" r="0" b="0"/>
            <a:pathLst>
              <a:path w="120000" h="120000" extrusionOk="0">
                <a:moveTo>
                  <a:pt x="21378" y="0"/>
                </a:moveTo>
                <a:lnTo>
                  <a:pt x="59321" y="0"/>
                </a:lnTo>
                <a:lnTo>
                  <a:pt x="80313" y="0"/>
                </a:lnTo>
                <a:lnTo>
                  <a:pt x="120000" y="0"/>
                </a:lnTo>
                <a:lnTo>
                  <a:pt x="120000" y="119999"/>
                </a:lnTo>
                <a:lnTo>
                  <a:pt x="80313" y="119999"/>
                </a:lnTo>
                <a:lnTo>
                  <a:pt x="59321" y="119999"/>
                </a:lnTo>
                <a:lnTo>
                  <a:pt x="0" y="119999"/>
                </a:lnTo>
                <a:close/>
              </a:path>
            </a:pathLst>
          </a:custGeom>
          <a:solidFill>
            <a:schemeClr val="accent1"/>
          </a:solidFill>
          <a:ln>
            <a:noFill/>
          </a:ln>
        </p:spPr>
        <p:txBody>
          <a:bodyPr lIns="186473" tIns="149178" rIns="186473" bIns="149178" anchor="t" anchorCtr="0">
            <a:noAutofit/>
          </a:bodyPr>
          <a:lstStyle/>
          <a:p>
            <a:pPr marL="0" marR="0" lvl="0" indent="0" algn="ctr" rtl="0">
              <a:lnSpc>
                <a:spcPct val="90000"/>
              </a:lnSpc>
              <a:spcBef>
                <a:spcPts val="0"/>
              </a:spcBef>
              <a:spcAft>
                <a:spcPts val="0"/>
              </a:spcAft>
              <a:buClr>
                <a:schemeClr val="lt1"/>
              </a:buClr>
              <a:buFont typeface="Quattrocento Sans"/>
              <a:buNone/>
            </a:pPr>
            <a:endParaRPr sz="2040" b="1" i="0" u="none" strike="noStrike" cap="none">
              <a:solidFill>
                <a:srgbClr val="FFFFFF"/>
              </a:solidFill>
              <a:latin typeface="Quattrocento Sans"/>
              <a:ea typeface="Quattrocento Sans"/>
              <a:cs typeface="Quattrocento Sans"/>
              <a:sym typeface="Quattrocento Sans"/>
            </a:endParaRPr>
          </a:p>
        </p:txBody>
      </p:sp>
      <p:sp>
        <p:nvSpPr>
          <p:cNvPr id="832" name="Shape 832"/>
          <p:cNvSpPr txBox="1">
            <a:spLocks noGrp="1"/>
          </p:cNvSpPr>
          <p:nvPr>
            <p:ph type="title"/>
          </p:nvPr>
        </p:nvSpPr>
        <p:spPr>
          <a:xfrm>
            <a:off x="481595" y="1130743"/>
            <a:ext cx="4522095" cy="946474"/>
          </a:xfrm>
          <a:prstGeom prst="rect">
            <a:avLst/>
          </a:prstGeom>
          <a:noFill/>
          <a:ln>
            <a:noFill/>
          </a:ln>
        </p:spPr>
        <p:txBody>
          <a:bodyPr lIns="68575" tIns="68575" rIns="68575" bIns="68575" anchor="t" anchorCtr="0"/>
          <a:lstStyle>
            <a:lvl1pPr marL="0" marR="0" lvl="0" indent="0" algn="l" rtl="0">
              <a:lnSpc>
                <a:spcPct val="90000"/>
              </a:lnSpc>
              <a:spcBef>
                <a:spcPts val="0"/>
              </a:spcBef>
              <a:spcAft>
                <a:spcPts val="0"/>
              </a:spcAft>
              <a:buNone/>
              <a:defRPr sz="4488" b="0" i="0" u="none" strike="noStrike" cap="none">
                <a:solidFill>
                  <a:schemeClr val="dk2"/>
                </a:solidFill>
                <a:latin typeface="Quattrocento Sans"/>
                <a:ea typeface="Quattrocento Sans"/>
                <a:cs typeface="Quattrocento Sans"/>
                <a:sym typeface="Quattrocento Sans"/>
              </a:defRPr>
            </a:lvl1pPr>
            <a:lvl2pPr marL="0" marR="0" lvl="1"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2pPr>
            <a:lvl3pPr marL="0" marR="0" lvl="2"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3pPr>
            <a:lvl4pPr marL="0" marR="0" lvl="3"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4pPr>
            <a:lvl5pPr marL="0" marR="0" lvl="4"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5pPr>
            <a:lvl6pPr marL="449039" marR="0" lvl="5"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6pPr>
            <a:lvl7pPr marL="915349" marR="0" lvl="6"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7pPr>
            <a:lvl8pPr marL="1364388" marR="0" lvl="7"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8pPr>
            <a:lvl9pPr marL="1830697" marR="0" lvl="8" indent="0" algn="l" rtl="0">
              <a:lnSpc>
                <a:spcPct val="90000"/>
              </a:lnSpc>
              <a:spcBef>
                <a:spcPts val="0"/>
              </a:spcBef>
              <a:spcAft>
                <a:spcPts val="0"/>
              </a:spcAft>
              <a:buNone/>
              <a:defRPr sz="5440" b="0" i="0" u="none" strike="noStrike" cap="none">
                <a:solidFill>
                  <a:schemeClr val="dk2"/>
                </a:solidFill>
                <a:latin typeface="Quattrocento Sans"/>
                <a:ea typeface="Quattrocento Sans"/>
                <a:cs typeface="Quattrocento Sans"/>
                <a:sym typeface="Quattrocento Sans"/>
              </a:defRPr>
            </a:lvl9pPr>
          </a:lstStyle>
          <a:p>
            <a:endParaRPr/>
          </a:p>
        </p:txBody>
      </p:sp>
      <p:sp>
        <p:nvSpPr>
          <p:cNvPr id="833" name="Shape 833"/>
          <p:cNvSpPr txBox="1">
            <a:spLocks noGrp="1"/>
          </p:cNvSpPr>
          <p:nvPr>
            <p:ph type="sldNum" idx="12"/>
          </p:nvPr>
        </p:nvSpPr>
        <p:spPr>
          <a:xfrm>
            <a:off x="11595099" y="6565900"/>
            <a:ext cx="566741" cy="136668"/>
          </a:xfrm>
          <a:prstGeom prst="rect">
            <a:avLst/>
          </a:prstGeom>
          <a:noFill/>
          <a:ln>
            <a:noFill/>
          </a:ln>
        </p:spPr>
        <p:txBody>
          <a:bodyPr lIns="68575" tIns="0" rIns="0" bIns="0" anchor="ctr" anchorCtr="0">
            <a:noAutofit/>
          </a:bodyPr>
          <a:lstStyle/>
          <a:p>
            <a:pPr algn="r">
              <a:buSzPct val="25000"/>
            </a:pPr>
            <a:fld id="{00000000-1234-1234-1234-123412341234}" type="slidenum">
              <a:rPr lang="en" sz="952" smtClean="0">
                <a:solidFill>
                  <a:srgbClr val="FFFFFF"/>
                </a:solidFill>
                <a:latin typeface="Quattrocento Sans"/>
                <a:ea typeface="Quattrocento Sans"/>
                <a:cs typeface="Quattrocento Sans"/>
                <a:sym typeface="Quattrocento Sans"/>
              </a:rPr>
              <a:pPr algn="r">
                <a:buSzPct val="25000"/>
              </a:pPr>
              <a:t>‹#›</a:t>
            </a:fld>
            <a:endParaRPr lang="en" sz="952">
              <a:solidFill>
                <a:srgbClr val="FFFFFF"/>
              </a:solidFill>
              <a:latin typeface="Quattrocento Sans"/>
              <a:ea typeface="Quattrocento Sans"/>
              <a:cs typeface="Quattrocento Sans"/>
              <a:sym typeface="Quattrocento Sans"/>
            </a:endParaRPr>
          </a:p>
        </p:txBody>
      </p:sp>
      <p:sp>
        <p:nvSpPr>
          <p:cNvPr id="834" name="Shape 834"/>
          <p:cNvSpPr txBox="1">
            <a:spLocks noGrp="1"/>
          </p:cNvSpPr>
          <p:nvPr>
            <p:ph type="body" idx="1"/>
          </p:nvPr>
        </p:nvSpPr>
        <p:spPr>
          <a:xfrm>
            <a:off x="5586006" y="1130133"/>
            <a:ext cx="6576072" cy="4840889"/>
          </a:xfrm>
          <a:prstGeom prst="rect">
            <a:avLst/>
          </a:prstGeom>
          <a:noFill/>
          <a:ln>
            <a:noFill/>
          </a:ln>
        </p:spPr>
        <p:txBody>
          <a:bodyPr lIns="68575" tIns="68575" rIns="68575" bIns="68575" anchor="t" anchorCtr="0"/>
          <a:lstStyle>
            <a:lvl1pPr marL="0" marR="0" lvl="0" indent="0" algn="l" rtl="0">
              <a:lnSpc>
                <a:spcPct val="90000"/>
              </a:lnSpc>
              <a:spcBef>
                <a:spcPts val="1224"/>
              </a:spcBef>
              <a:spcAft>
                <a:spcPts val="0"/>
              </a:spcAft>
              <a:buClr>
                <a:schemeClr val="lt1"/>
              </a:buClr>
              <a:buFont typeface="Arial"/>
              <a:buNone/>
              <a:defRPr sz="2856" b="0" i="0" u="none" strike="noStrike" cap="none">
                <a:solidFill>
                  <a:schemeClr val="lt1"/>
                </a:solidFill>
                <a:latin typeface="Quattrocento Sans"/>
                <a:ea typeface="Quattrocento Sans"/>
                <a:cs typeface="Quattrocento Sans"/>
                <a:sym typeface="Quattrocento Sans"/>
              </a:defRPr>
            </a:lvl1pPr>
            <a:lvl2pPr marL="0" marR="0" lvl="1" indent="0" algn="l" rtl="0">
              <a:lnSpc>
                <a:spcPct val="90000"/>
              </a:lnSpc>
              <a:spcBef>
                <a:spcPts val="1224"/>
              </a:spcBef>
              <a:spcAft>
                <a:spcPts val="0"/>
              </a:spcAft>
              <a:buClr>
                <a:schemeClr val="lt1"/>
              </a:buClr>
              <a:buFont typeface="Arial"/>
              <a:buNone/>
              <a:defRPr sz="1768" b="0" i="0" u="none" strike="noStrike" cap="none">
                <a:solidFill>
                  <a:schemeClr val="lt1"/>
                </a:solidFill>
                <a:latin typeface="Quattrocento Sans"/>
                <a:ea typeface="Quattrocento Sans"/>
                <a:cs typeface="Quattrocento Sans"/>
                <a:sym typeface="Quattrocento Sans"/>
              </a:defRPr>
            </a:lvl2pPr>
            <a:lvl3pPr marL="794454" marR="0" lvl="2" indent="-120895" algn="l" rtl="0">
              <a:lnSpc>
                <a:spcPct val="90000"/>
              </a:lnSpc>
              <a:spcBef>
                <a:spcPts val="408"/>
              </a:spcBef>
              <a:spcAft>
                <a:spcPts val="0"/>
              </a:spcAft>
              <a:buClr>
                <a:schemeClr val="lt1"/>
              </a:buClr>
              <a:buSzPct val="92307"/>
              <a:buFont typeface="Arial"/>
              <a:buChar char="•"/>
              <a:defRPr sz="1768" b="0" i="0" u="none" strike="noStrike" cap="none">
                <a:solidFill>
                  <a:schemeClr val="lt1"/>
                </a:solidFill>
                <a:latin typeface="Quattrocento Sans"/>
                <a:ea typeface="Quattrocento Sans"/>
                <a:cs typeface="Quattrocento Sans"/>
                <a:sym typeface="Quattrocento Sans"/>
              </a:defRPr>
            </a:lvl3pPr>
            <a:lvl4pPr marL="1036244" marR="0" lvl="3" indent="-138166" algn="l" rtl="0">
              <a:lnSpc>
                <a:spcPct val="90000"/>
              </a:lnSpc>
              <a:spcBef>
                <a:spcPts val="408"/>
              </a:spcBef>
              <a:spcAft>
                <a:spcPts val="0"/>
              </a:spcAft>
              <a:buClr>
                <a:schemeClr val="dk2"/>
              </a:buClr>
              <a:buSzPct val="85714"/>
              <a:buFont typeface="Arial"/>
              <a:buChar char="•"/>
              <a:defRPr sz="1904" b="0" i="0" u="none" strike="noStrike" cap="none">
                <a:solidFill>
                  <a:schemeClr val="dk2"/>
                </a:solidFill>
                <a:latin typeface="Quattrocento Sans"/>
                <a:ea typeface="Quattrocento Sans"/>
                <a:cs typeface="Quattrocento Sans"/>
                <a:sym typeface="Quattrocento Sans"/>
              </a:defRPr>
            </a:lvl4pPr>
            <a:lvl5pPr marL="1260763" marR="0" lvl="4" indent="-138166" algn="l" rtl="0">
              <a:lnSpc>
                <a:spcPct val="90000"/>
              </a:lnSpc>
              <a:spcBef>
                <a:spcPts val="408"/>
              </a:spcBef>
              <a:spcAft>
                <a:spcPts val="0"/>
              </a:spcAft>
              <a:buClr>
                <a:schemeClr val="dk2"/>
              </a:buClr>
              <a:buSzPct val="85714"/>
              <a:buFont typeface="Arial"/>
              <a:buChar char="•"/>
              <a:defRPr sz="1904" b="0" i="0" u="none" strike="noStrike" cap="none">
                <a:solidFill>
                  <a:schemeClr val="dk2"/>
                </a:solidFill>
                <a:latin typeface="Quattrocento Sans"/>
                <a:ea typeface="Quattrocento Sans"/>
                <a:cs typeface="Quattrocento Sans"/>
                <a:sym typeface="Quattrocento Sans"/>
              </a:defRPr>
            </a:lvl5pPr>
            <a:lvl6pPr marL="2556068" marR="0" lvl="5"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6pPr>
            <a:lvl7pPr marL="3022378" marR="0" lvl="6"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7pPr>
            <a:lvl8pPr marL="3488687" marR="0" lvl="7"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8pPr>
            <a:lvl9pPr marL="3954997" marR="0" lvl="8"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9pPr>
          </a:lstStyle>
          <a:p>
            <a:endParaRPr/>
          </a:p>
        </p:txBody>
      </p:sp>
    </p:spTree>
    <p:extLst>
      <p:ext uri="{BB962C8B-B14F-4D97-AF65-F5344CB8AC3E}">
        <p14:creationId xmlns:p14="http://schemas.microsoft.com/office/powerpoint/2010/main" val="191166225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cSld name="1_Color Block Content on Right">
    <p:spTree>
      <p:nvGrpSpPr>
        <p:cNvPr id="1" name="Shape 835"/>
        <p:cNvGrpSpPr/>
        <p:nvPr/>
      </p:nvGrpSpPr>
      <p:grpSpPr>
        <a:xfrm>
          <a:off x="0" y="0"/>
          <a:ext cx="0" cy="0"/>
          <a:chOff x="0" y="0"/>
          <a:chExt cx="0" cy="0"/>
        </a:xfrm>
      </p:grpSpPr>
      <p:sp>
        <p:nvSpPr>
          <p:cNvPr id="836" name="Shape 836"/>
          <p:cNvSpPr/>
          <p:nvPr/>
        </p:nvSpPr>
        <p:spPr>
          <a:xfrm>
            <a:off x="1044699" y="0"/>
            <a:ext cx="11406222" cy="7045520"/>
          </a:xfrm>
          <a:custGeom>
            <a:avLst/>
            <a:gdLst/>
            <a:ahLst/>
            <a:cxnLst/>
            <a:rect l="0" t="0" r="0" b="0"/>
            <a:pathLst>
              <a:path w="120000" h="120000" extrusionOk="0">
                <a:moveTo>
                  <a:pt x="15846" y="0"/>
                </a:moveTo>
                <a:lnTo>
                  <a:pt x="55857" y="0"/>
                </a:lnTo>
                <a:lnTo>
                  <a:pt x="77994" y="0"/>
                </a:lnTo>
                <a:lnTo>
                  <a:pt x="119844" y="0"/>
                </a:lnTo>
                <a:lnTo>
                  <a:pt x="120000" y="120000"/>
                </a:lnTo>
                <a:lnTo>
                  <a:pt x="0" y="119495"/>
                </a:lnTo>
                <a:lnTo>
                  <a:pt x="15846" y="0"/>
                </a:lnTo>
                <a:close/>
              </a:path>
            </a:pathLst>
          </a:custGeom>
          <a:solidFill>
            <a:schemeClr val="accent1"/>
          </a:solidFill>
          <a:ln>
            <a:noFill/>
          </a:ln>
        </p:spPr>
        <p:txBody>
          <a:bodyPr lIns="186473" tIns="149178" rIns="186473" bIns="149178" anchor="t" anchorCtr="0">
            <a:noAutofit/>
          </a:bodyPr>
          <a:lstStyle/>
          <a:p>
            <a:pPr marL="0" marR="0" lvl="0" indent="0" algn="ctr" rtl="0">
              <a:lnSpc>
                <a:spcPct val="90000"/>
              </a:lnSpc>
              <a:spcBef>
                <a:spcPts val="0"/>
              </a:spcBef>
              <a:spcAft>
                <a:spcPts val="0"/>
              </a:spcAft>
              <a:buClr>
                <a:schemeClr val="lt1"/>
              </a:buClr>
              <a:buFont typeface="Quattrocento Sans"/>
              <a:buNone/>
            </a:pPr>
            <a:endParaRPr sz="2040" b="1" i="0" u="none" strike="noStrike" cap="none">
              <a:solidFill>
                <a:srgbClr val="FFFFFF"/>
              </a:solidFill>
              <a:latin typeface="Quattrocento Sans"/>
              <a:ea typeface="Quattrocento Sans"/>
              <a:cs typeface="Quattrocento Sans"/>
              <a:sym typeface="Quattrocento Sans"/>
            </a:endParaRPr>
          </a:p>
        </p:txBody>
      </p:sp>
      <p:sp>
        <p:nvSpPr>
          <p:cNvPr id="837" name="Shape 837"/>
          <p:cNvSpPr txBox="1">
            <a:spLocks noGrp="1"/>
          </p:cNvSpPr>
          <p:nvPr>
            <p:ph type="sldNum" idx="12"/>
          </p:nvPr>
        </p:nvSpPr>
        <p:spPr>
          <a:xfrm>
            <a:off x="11595099" y="6565900"/>
            <a:ext cx="566741" cy="136668"/>
          </a:xfrm>
          <a:prstGeom prst="rect">
            <a:avLst/>
          </a:prstGeom>
          <a:noFill/>
          <a:ln>
            <a:noFill/>
          </a:ln>
        </p:spPr>
        <p:txBody>
          <a:bodyPr lIns="68575" tIns="0" rIns="0" bIns="0" anchor="ctr" anchorCtr="0">
            <a:noAutofit/>
          </a:bodyPr>
          <a:lstStyle/>
          <a:p>
            <a:pPr algn="r">
              <a:buSzPct val="25000"/>
            </a:pPr>
            <a:fld id="{00000000-1234-1234-1234-123412341234}" type="slidenum">
              <a:rPr lang="en" sz="952" smtClean="0">
                <a:solidFill>
                  <a:srgbClr val="FFFFFF"/>
                </a:solidFill>
                <a:latin typeface="Quattrocento Sans"/>
                <a:ea typeface="Quattrocento Sans"/>
                <a:cs typeface="Quattrocento Sans"/>
                <a:sym typeface="Quattrocento Sans"/>
              </a:rPr>
              <a:pPr algn="r">
                <a:buSzPct val="25000"/>
              </a:pPr>
              <a:t>‹#›</a:t>
            </a:fld>
            <a:endParaRPr lang="en" sz="952">
              <a:solidFill>
                <a:srgbClr val="FFFFFF"/>
              </a:solidFill>
              <a:latin typeface="Quattrocento Sans"/>
              <a:ea typeface="Quattrocento Sans"/>
              <a:cs typeface="Quattrocento Sans"/>
              <a:sym typeface="Quattrocento Sans"/>
            </a:endParaRPr>
          </a:p>
        </p:txBody>
      </p:sp>
      <p:sp>
        <p:nvSpPr>
          <p:cNvPr id="838" name="Shape 838"/>
          <p:cNvSpPr txBox="1">
            <a:spLocks noGrp="1"/>
          </p:cNvSpPr>
          <p:nvPr>
            <p:ph type="body" idx="1"/>
          </p:nvPr>
        </p:nvSpPr>
        <p:spPr>
          <a:xfrm>
            <a:off x="5586006" y="1130133"/>
            <a:ext cx="6576072" cy="4840889"/>
          </a:xfrm>
          <a:prstGeom prst="rect">
            <a:avLst/>
          </a:prstGeom>
          <a:noFill/>
          <a:ln>
            <a:noFill/>
          </a:ln>
        </p:spPr>
        <p:txBody>
          <a:bodyPr lIns="68575" tIns="68575" rIns="68575" bIns="68575" anchor="t" anchorCtr="0"/>
          <a:lstStyle>
            <a:lvl1pPr marL="0" marR="0" lvl="0" indent="0" algn="l" rtl="0">
              <a:lnSpc>
                <a:spcPct val="90000"/>
              </a:lnSpc>
              <a:spcBef>
                <a:spcPts val="1224"/>
              </a:spcBef>
              <a:spcAft>
                <a:spcPts val="0"/>
              </a:spcAft>
              <a:buClr>
                <a:schemeClr val="lt1"/>
              </a:buClr>
              <a:buFont typeface="Arial"/>
              <a:buNone/>
              <a:defRPr sz="2856" b="0" i="0" u="none" strike="noStrike" cap="none">
                <a:solidFill>
                  <a:schemeClr val="lt1"/>
                </a:solidFill>
                <a:latin typeface="Quattrocento Sans"/>
                <a:ea typeface="Quattrocento Sans"/>
                <a:cs typeface="Quattrocento Sans"/>
                <a:sym typeface="Quattrocento Sans"/>
              </a:defRPr>
            </a:lvl1pPr>
            <a:lvl2pPr marL="0" marR="0" lvl="1" indent="0" algn="l" rtl="0">
              <a:lnSpc>
                <a:spcPct val="90000"/>
              </a:lnSpc>
              <a:spcBef>
                <a:spcPts val="1224"/>
              </a:spcBef>
              <a:spcAft>
                <a:spcPts val="0"/>
              </a:spcAft>
              <a:buClr>
                <a:schemeClr val="lt1"/>
              </a:buClr>
              <a:buFont typeface="Arial"/>
              <a:buNone/>
              <a:defRPr sz="1768" b="0" i="0" u="none" strike="noStrike" cap="none">
                <a:solidFill>
                  <a:schemeClr val="lt1"/>
                </a:solidFill>
                <a:latin typeface="Quattrocento Sans"/>
                <a:ea typeface="Quattrocento Sans"/>
                <a:cs typeface="Quattrocento Sans"/>
                <a:sym typeface="Quattrocento Sans"/>
              </a:defRPr>
            </a:lvl2pPr>
            <a:lvl3pPr marL="794454" marR="0" lvl="2" indent="-120895" algn="l" rtl="0">
              <a:lnSpc>
                <a:spcPct val="90000"/>
              </a:lnSpc>
              <a:spcBef>
                <a:spcPts val="408"/>
              </a:spcBef>
              <a:spcAft>
                <a:spcPts val="0"/>
              </a:spcAft>
              <a:buClr>
                <a:schemeClr val="lt1"/>
              </a:buClr>
              <a:buSzPct val="92307"/>
              <a:buFont typeface="Arial"/>
              <a:buChar char="•"/>
              <a:defRPr sz="1768" b="0" i="0" u="none" strike="noStrike" cap="none">
                <a:solidFill>
                  <a:schemeClr val="lt1"/>
                </a:solidFill>
                <a:latin typeface="Quattrocento Sans"/>
                <a:ea typeface="Quattrocento Sans"/>
                <a:cs typeface="Quattrocento Sans"/>
                <a:sym typeface="Quattrocento Sans"/>
              </a:defRPr>
            </a:lvl3pPr>
            <a:lvl4pPr marL="1036244" marR="0" lvl="3" indent="-138166" algn="l" rtl="0">
              <a:lnSpc>
                <a:spcPct val="90000"/>
              </a:lnSpc>
              <a:spcBef>
                <a:spcPts val="408"/>
              </a:spcBef>
              <a:spcAft>
                <a:spcPts val="0"/>
              </a:spcAft>
              <a:buClr>
                <a:schemeClr val="dk2"/>
              </a:buClr>
              <a:buSzPct val="85714"/>
              <a:buFont typeface="Arial"/>
              <a:buChar char="•"/>
              <a:defRPr sz="1904" b="0" i="0" u="none" strike="noStrike" cap="none">
                <a:solidFill>
                  <a:schemeClr val="dk2"/>
                </a:solidFill>
                <a:latin typeface="Quattrocento Sans"/>
                <a:ea typeface="Quattrocento Sans"/>
                <a:cs typeface="Quattrocento Sans"/>
                <a:sym typeface="Quattrocento Sans"/>
              </a:defRPr>
            </a:lvl4pPr>
            <a:lvl5pPr marL="1260763" marR="0" lvl="4" indent="-138166" algn="l" rtl="0">
              <a:lnSpc>
                <a:spcPct val="90000"/>
              </a:lnSpc>
              <a:spcBef>
                <a:spcPts val="408"/>
              </a:spcBef>
              <a:spcAft>
                <a:spcPts val="0"/>
              </a:spcAft>
              <a:buClr>
                <a:schemeClr val="dk2"/>
              </a:buClr>
              <a:buSzPct val="85714"/>
              <a:buFont typeface="Arial"/>
              <a:buChar char="•"/>
              <a:defRPr sz="1904" b="0" i="0" u="none" strike="noStrike" cap="none">
                <a:solidFill>
                  <a:schemeClr val="dk2"/>
                </a:solidFill>
                <a:latin typeface="Quattrocento Sans"/>
                <a:ea typeface="Quattrocento Sans"/>
                <a:cs typeface="Quattrocento Sans"/>
                <a:sym typeface="Quattrocento Sans"/>
              </a:defRPr>
            </a:lvl5pPr>
            <a:lvl6pPr marL="2556068" marR="0" lvl="5"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6pPr>
            <a:lvl7pPr marL="3022378" marR="0" lvl="6"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7pPr>
            <a:lvl8pPr marL="3488687" marR="0" lvl="7"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8pPr>
            <a:lvl9pPr marL="3954997" marR="0" lvl="8" indent="-103624" algn="l" rtl="0">
              <a:spcBef>
                <a:spcPts val="408"/>
              </a:spcBef>
              <a:buClr>
                <a:schemeClr val="dk1"/>
              </a:buClr>
              <a:buSzPct val="100000"/>
              <a:buFont typeface="Arial"/>
              <a:buChar char="•"/>
              <a:defRPr sz="2040" b="0" i="0" u="none" strike="noStrike" cap="none">
                <a:solidFill>
                  <a:schemeClr val="dk1"/>
                </a:solidFill>
                <a:latin typeface="Quattrocento Sans"/>
                <a:ea typeface="Quattrocento Sans"/>
                <a:cs typeface="Quattrocento Sans"/>
                <a:sym typeface="Quattrocento Sans"/>
              </a:defRPr>
            </a:lvl9pPr>
          </a:lstStyle>
          <a:p>
            <a:endParaRPr/>
          </a:p>
        </p:txBody>
      </p:sp>
    </p:spTree>
    <p:extLst>
      <p:ext uri="{BB962C8B-B14F-4D97-AF65-F5344CB8AC3E}">
        <p14:creationId xmlns:p14="http://schemas.microsoft.com/office/powerpoint/2010/main" val="2932192784"/>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2_Blank">
    <p:spTree>
      <p:nvGrpSpPr>
        <p:cNvPr id="1" name="Shape 839"/>
        <p:cNvGrpSpPr/>
        <p:nvPr/>
      </p:nvGrpSpPr>
      <p:grpSpPr>
        <a:xfrm>
          <a:off x="0" y="0"/>
          <a:ext cx="0" cy="0"/>
          <a:chOff x="0" y="0"/>
          <a:chExt cx="0" cy="0"/>
        </a:xfrm>
      </p:grpSpPr>
    </p:spTree>
    <p:extLst>
      <p:ext uri="{BB962C8B-B14F-4D97-AF65-F5344CB8AC3E}">
        <p14:creationId xmlns:p14="http://schemas.microsoft.com/office/powerpoint/2010/main" val="2197603147"/>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Shape 67"/>
        <p:cNvGrpSpPr/>
        <p:nvPr/>
      </p:nvGrpSpPr>
      <p:grpSpPr>
        <a:xfrm>
          <a:off x="0" y="0"/>
          <a:ext cx="0" cy="0"/>
          <a:chOff x="0" y="0"/>
          <a:chExt cx="0" cy="0"/>
        </a:xfrm>
      </p:grpSpPr>
    </p:spTree>
    <p:extLst>
      <p:ext uri="{BB962C8B-B14F-4D97-AF65-F5344CB8AC3E}">
        <p14:creationId xmlns:p14="http://schemas.microsoft.com/office/powerpoint/2010/main" val="78551019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obj">
  <p:cSld name="Title, Content">
    <p:spTree>
      <p:nvGrpSpPr>
        <p:cNvPr id="1" name="Shape 68"/>
        <p:cNvGrpSpPr/>
        <p:nvPr/>
      </p:nvGrpSpPr>
      <p:grpSpPr>
        <a:xfrm>
          <a:off x="0" y="0"/>
          <a:ext cx="0" cy="0"/>
          <a:chOff x="0" y="0"/>
          <a:chExt cx="0" cy="0"/>
        </a:xfrm>
      </p:grpSpPr>
      <p:sp>
        <p:nvSpPr>
          <p:cNvPr id="69" name="Shape 69"/>
          <p:cNvSpPr txBox="1">
            <a:spLocks noGrp="1"/>
          </p:cNvSpPr>
          <p:nvPr>
            <p:ph type="title"/>
          </p:nvPr>
        </p:nvSpPr>
        <p:spPr>
          <a:xfrm>
            <a:off x="621719" y="278999"/>
            <a:ext cx="11192419" cy="1167590"/>
          </a:xfrm>
          <a:prstGeom prst="rect">
            <a:avLst/>
          </a:prstGeom>
          <a:noFill/>
          <a:ln>
            <a:noFill/>
          </a:ln>
        </p:spPr>
        <p:txBody>
          <a:bodyPr lIns="67225" tIns="67225" rIns="67225" bIns="67225" anchor="ctr" anchorCtr="0"/>
          <a:lstStyle>
            <a:lvl1pPr marL="0" marR="0" lvl="0" indent="0" algn="l" rtl="0">
              <a:spcBef>
                <a:spcPts val="0"/>
              </a:spcBef>
              <a:buNone/>
              <a:defRPr sz="1768" b="0" i="0" u="none" strike="noStrike" cap="none"/>
            </a:lvl1pPr>
            <a:lvl2pPr marL="0" marR="0" lvl="1" indent="0" algn="l" rtl="0">
              <a:spcBef>
                <a:spcPts val="0"/>
              </a:spcBef>
              <a:buNone/>
              <a:defRPr sz="1768" b="0" i="0" u="none" strike="noStrike" cap="none"/>
            </a:lvl2pPr>
            <a:lvl3pPr marL="0" marR="0" lvl="2" indent="0" algn="l" rtl="0">
              <a:spcBef>
                <a:spcPts val="0"/>
              </a:spcBef>
              <a:buNone/>
              <a:defRPr sz="1768" b="0" i="0" u="none" strike="noStrike" cap="none"/>
            </a:lvl3pPr>
            <a:lvl4pPr marL="0" marR="0" lvl="3" indent="0" algn="l" rtl="0">
              <a:spcBef>
                <a:spcPts val="0"/>
              </a:spcBef>
              <a:buNone/>
              <a:defRPr sz="1768" b="0" i="0" u="none" strike="noStrike" cap="none"/>
            </a:lvl4pPr>
            <a:lvl5pPr marL="0" marR="0" lvl="4" indent="0" algn="l" rtl="0">
              <a:spcBef>
                <a:spcPts val="0"/>
              </a:spcBef>
              <a:buNone/>
              <a:defRPr sz="1768" b="0" i="0" u="none" strike="noStrike" cap="none"/>
            </a:lvl5pPr>
            <a:lvl6pPr marL="0" marR="0" lvl="5" indent="0" algn="l" rtl="0">
              <a:spcBef>
                <a:spcPts val="0"/>
              </a:spcBef>
              <a:buNone/>
              <a:defRPr sz="1768" b="0" i="0" u="none" strike="noStrike" cap="none"/>
            </a:lvl6pPr>
            <a:lvl7pPr marL="0" marR="0" lvl="6" indent="0" algn="l" rtl="0">
              <a:spcBef>
                <a:spcPts val="0"/>
              </a:spcBef>
              <a:buNone/>
              <a:defRPr sz="1768" b="0" i="0" u="none" strike="noStrike" cap="none"/>
            </a:lvl7pPr>
            <a:lvl8pPr marL="0" marR="0" lvl="7" indent="0" algn="l" rtl="0">
              <a:spcBef>
                <a:spcPts val="0"/>
              </a:spcBef>
              <a:buNone/>
              <a:defRPr sz="1768" b="0" i="0" u="none" strike="noStrike" cap="none"/>
            </a:lvl8pPr>
            <a:lvl9pPr marL="0" marR="0" lvl="8" indent="0" algn="l" rtl="0">
              <a:spcBef>
                <a:spcPts val="0"/>
              </a:spcBef>
              <a:buNone/>
              <a:defRPr sz="1768" b="0" i="0" u="none" strike="noStrike" cap="none"/>
            </a:lvl9pPr>
          </a:lstStyle>
          <a:p>
            <a:endParaRPr/>
          </a:p>
        </p:txBody>
      </p:sp>
      <p:sp>
        <p:nvSpPr>
          <p:cNvPr id="70" name="Shape 70"/>
          <p:cNvSpPr txBox="1">
            <a:spLocks noGrp="1"/>
          </p:cNvSpPr>
          <p:nvPr>
            <p:ph type="body" idx="1"/>
          </p:nvPr>
        </p:nvSpPr>
        <p:spPr>
          <a:xfrm>
            <a:off x="621719" y="1636560"/>
            <a:ext cx="11192419" cy="4055968"/>
          </a:xfrm>
          <a:prstGeom prst="rect">
            <a:avLst/>
          </a:prstGeom>
          <a:noFill/>
          <a:ln>
            <a:noFill/>
          </a:ln>
        </p:spPr>
        <p:txBody>
          <a:bodyPr lIns="67225" tIns="67225" rIns="67225" bIns="67225" anchor="t" anchorCtr="0"/>
          <a:lstStyle>
            <a:lvl1pPr marL="0" marR="0" lvl="0" indent="0" algn="l" rtl="0">
              <a:spcBef>
                <a:spcPts val="0"/>
              </a:spcBef>
              <a:buNone/>
              <a:defRPr sz="1768" b="0" i="0" u="none" strike="noStrike" cap="none"/>
            </a:lvl1pPr>
            <a:lvl2pPr marL="449039" marR="0" lvl="1" indent="0" algn="l" rtl="0">
              <a:spcBef>
                <a:spcPts val="0"/>
              </a:spcBef>
              <a:buNone/>
              <a:defRPr sz="1768" b="0" i="0" u="none" strike="noStrike" cap="none"/>
            </a:lvl2pPr>
            <a:lvl3pPr marL="915349" marR="0" lvl="2" indent="0" algn="l" rtl="0">
              <a:spcBef>
                <a:spcPts val="0"/>
              </a:spcBef>
              <a:buNone/>
              <a:defRPr sz="1768" b="0" i="0" u="none" strike="noStrike" cap="none"/>
            </a:lvl3pPr>
            <a:lvl4pPr marL="1364388" marR="0" lvl="3" indent="0" algn="l" rtl="0">
              <a:spcBef>
                <a:spcPts val="0"/>
              </a:spcBef>
              <a:buNone/>
              <a:defRPr sz="1768" b="0" i="0" u="none" strike="noStrike" cap="none"/>
            </a:lvl4pPr>
            <a:lvl5pPr marL="1830697" marR="0" lvl="4" indent="0" algn="l" rtl="0">
              <a:spcBef>
                <a:spcPts val="0"/>
              </a:spcBef>
              <a:buNone/>
              <a:defRPr sz="1768" b="0" i="0" u="none" strike="noStrike" cap="none"/>
            </a:lvl5pPr>
            <a:lvl6pPr marL="2279736" marR="0" lvl="5" indent="0" algn="l" rtl="0">
              <a:spcBef>
                <a:spcPts val="0"/>
              </a:spcBef>
              <a:buNone/>
              <a:defRPr sz="1768" b="0" i="0" u="none" strike="noStrike" cap="none"/>
            </a:lvl6pPr>
            <a:lvl7pPr marL="2746046" marR="0" lvl="6" indent="0" algn="l" rtl="0">
              <a:spcBef>
                <a:spcPts val="0"/>
              </a:spcBef>
              <a:buNone/>
              <a:defRPr sz="1768" b="0" i="0" u="none" strike="noStrike" cap="none"/>
            </a:lvl7pPr>
            <a:lvl8pPr marL="3195085" marR="0" lvl="7" indent="0" algn="l" rtl="0">
              <a:spcBef>
                <a:spcPts val="0"/>
              </a:spcBef>
              <a:buNone/>
              <a:defRPr sz="1768" b="0" i="0" u="none" strike="noStrike" cap="none"/>
            </a:lvl8pPr>
            <a:lvl9pPr marL="3661395" marR="0" lvl="8" indent="0" algn="l" rtl="0">
              <a:spcBef>
                <a:spcPts val="0"/>
              </a:spcBef>
              <a:buNone/>
              <a:defRPr sz="1768" b="0" i="0" u="none" strike="noStrike" cap="none"/>
            </a:lvl9pPr>
          </a:lstStyle>
          <a:p>
            <a:endParaRPr/>
          </a:p>
        </p:txBody>
      </p:sp>
    </p:spTree>
    <p:extLst>
      <p:ext uri="{BB962C8B-B14F-4D97-AF65-F5344CB8AC3E}">
        <p14:creationId xmlns:p14="http://schemas.microsoft.com/office/powerpoint/2010/main" val="24613929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Thank You 2">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910"/>
            <a:ext cx="12436605" cy="6992775"/>
          </a:xfrm>
          <a:prstGeom prst="rect">
            <a:avLst/>
          </a:prstGeom>
        </p:spPr>
      </p:pic>
      <p:sp>
        <p:nvSpPr>
          <p:cNvPr id="8" name="Footer Placeholder 4"/>
          <p:cNvSpPr>
            <a:spLocks noGrp="1"/>
          </p:cNvSpPr>
          <p:nvPr>
            <p:ph type="ftr" sz="quarter" idx="3"/>
          </p:nvPr>
        </p:nvSpPr>
        <p:spPr>
          <a:xfrm>
            <a:off x="907244" y="6601589"/>
            <a:ext cx="6671614" cy="245277"/>
          </a:xfrm>
          <a:prstGeom prst="rect">
            <a:avLst/>
          </a:prstGeom>
        </p:spPr>
        <p:txBody>
          <a:bodyPr vert="horz" wrap="square" lIns="91521" tIns="45761" rIns="91521" bIns="45761" rtlCol="0" anchor="b">
            <a:noAutofit/>
          </a:bodyPr>
          <a:lstStyle>
            <a:lvl1pPr>
              <a:defRPr lang="en-US" sz="816" smtClean="0">
                <a:solidFill>
                  <a:schemeClr val="bg2"/>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dirty="0">
                <a:ln>
                  <a:noFill/>
                </a:ln>
                <a:solidFill>
                  <a:srgbClr val="EAEAEA"/>
                </a:solidFill>
                <a:effectLst/>
                <a:uLnTx/>
                <a:uFillTx/>
                <a:latin typeface="Segoe UI"/>
                <a:ea typeface="+mn-ea"/>
                <a:cs typeface="+mn-cs"/>
              </a:rPr>
              <a:t>© 2016 NetApp, Inc. All rights reserved. </a:t>
            </a:r>
          </a:p>
        </p:txBody>
      </p:sp>
      <p:sp>
        <p:nvSpPr>
          <p:cNvPr id="9" name="Slide Number Placeholder 5"/>
          <p:cNvSpPr>
            <a:spLocks noGrp="1"/>
          </p:cNvSpPr>
          <p:nvPr>
            <p:ph type="sldNum" sz="quarter" idx="4"/>
          </p:nvPr>
        </p:nvSpPr>
        <p:spPr>
          <a:xfrm>
            <a:off x="300395" y="6591227"/>
            <a:ext cx="457650" cy="266001"/>
          </a:xfrm>
          <a:prstGeom prst="rect">
            <a:avLst/>
          </a:prstGeom>
        </p:spPr>
        <p:txBody>
          <a:bodyPr vert="horz" wrap="square" lIns="91521" tIns="45761" rIns="91521" bIns="45761" rtlCol="0" anchor="b">
            <a:noAutofit/>
          </a:bodyPr>
          <a:lstStyle>
            <a:lvl1pPr>
              <a:defRPr lang="en-US" sz="1071" b="1" smtClean="0">
                <a:solidFill>
                  <a:schemeClr val="bg2">
                    <a:lumMod val="50000"/>
                  </a:schemeClr>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fld id="{B071A5F3-A4FF-4CEE-8215-C08835B585C1}" type="slidenum">
              <a:rPr kumimoji="0" lang="en-US" sz="1071" b="1" i="0" u="none" strike="noStrike" kern="1200" cap="none" spc="0" normalizeH="0" baseline="0" noProof="0" smtClean="0">
                <a:ln>
                  <a:noFill/>
                </a:ln>
                <a:solidFill>
                  <a:srgbClr val="EAEAEA">
                    <a:lumMod val="50000"/>
                  </a:srgbClr>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071" b="1" i="0" u="none" strike="noStrike" kern="1200" cap="none" spc="0" normalizeH="0" baseline="0" noProof="0" dirty="0">
              <a:ln>
                <a:noFill/>
              </a:ln>
              <a:solidFill>
                <a:srgbClr val="EAEAEA">
                  <a:lumMod val="50000"/>
                </a:srgbClr>
              </a:solidFill>
              <a:effectLst/>
              <a:uLnTx/>
              <a:uFillTx/>
              <a:latin typeface="Segoe UI"/>
              <a:ea typeface="+mn-ea"/>
              <a:cs typeface="+mn-cs"/>
            </a:endParaRP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90020" y="6624481"/>
            <a:ext cx="1065387" cy="194276"/>
          </a:xfrm>
          <a:prstGeom prst="rect">
            <a:avLst/>
          </a:prstGeom>
        </p:spPr>
      </p:pic>
      <p:sp>
        <p:nvSpPr>
          <p:cNvPr id="4" name="Text Placeholder 3"/>
          <p:cNvSpPr>
            <a:spLocks noGrp="1"/>
          </p:cNvSpPr>
          <p:nvPr>
            <p:ph type="body" sz="quarter" idx="10"/>
          </p:nvPr>
        </p:nvSpPr>
        <p:spPr>
          <a:xfrm>
            <a:off x="1603922" y="3331479"/>
            <a:ext cx="9228438" cy="806246"/>
          </a:xfrm>
        </p:spPr>
        <p:txBody>
          <a:bodyPr anchor="b"/>
          <a:lstStyle>
            <a:lvl1pPr marL="0" indent="0">
              <a:buNone/>
              <a:defRPr sz="4488"/>
            </a:lvl1pPr>
          </a:lstStyle>
          <a:p>
            <a:pPr lvl="0"/>
            <a:r>
              <a:rPr lang="en-US" dirty="0"/>
              <a:t>Click to edit Master text styles</a:t>
            </a:r>
          </a:p>
        </p:txBody>
      </p:sp>
    </p:spTree>
    <p:extLst>
      <p:ext uri="{BB962C8B-B14F-4D97-AF65-F5344CB8AC3E}">
        <p14:creationId xmlns:p14="http://schemas.microsoft.com/office/powerpoint/2010/main" val="2218931407"/>
      </p:ext>
    </p:extLst>
  </p:cSld>
  <p:clrMapOvr>
    <a:masterClrMapping/>
  </p:clrMapOvr>
  <p:transition spd="med">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type="tx">
  <p:cSld name="Title Slide">
    <p:spTree>
      <p:nvGrpSpPr>
        <p:cNvPr id="1" name="Shape 71"/>
        <p:cNvGrpSpPr/>
        <p:nvPr/>
      </p:nvGrpSpPr>
      <p:grpSpPr>
        <a:xfrm>
          <a:off x="0" y="0"/>
          <a:ext cx="0" cy="0"/>
          <a:chOff x="0" y="0"/>
          <a:chExt cx="0" cy="0"/>
        </a:xfrm>
      </p:grpSpPr>
      <p:sp>
        <p:nvSpPr>
          <p:cNvPr id="72" name="Shape 72"/>
          <p:cNvSpPr txBox="1">
            <a:spLocks noGrp="1"/>
          </p:cNvSpPr>
          <p:nvPr>
            <p:ph type="title"/>
          </p:nvPr>
        </p:nvSpPr>
        <p:spPr>
          <a:xfrm>
            <a:off x="621719" y="278999"/>
            <a:ext cx="11192419" cy="1167590"/>
          </a:xfrm>
          <a:prstGeom prst="rect">
            <a:avLst/>
          </a:prstGeom>
          <a:noFill/>
          <a:ln>
            <a:noFill/>
          </a:ln>
        </p:spPr>
        <p:txBody>
          <a:bodyPr lIns="67225" tIns="67225" rIns="67225" bIns="67225" anchor="ctr" anchorCtr="0"/>
          <a:lstStyle>
            <a:lvl1pPr marL="0" marR="0" lvl="0" indent="0" algn="l" rtl="0">
              <a:spcBef>
                <a:spcPts val="0"/>
              </a:spcBef>
              <a:buNone/>
              <a:defRPr sz="1768" b="0" i="0" u="none" strike="noStrike" cap="none"/>
            </a:lvl1pPr>
            <a:lvl2pPr marL="0" marR="0" lvl="1" indent="0" algn="l" rtl="0">
              <a:spcBef>
                <a:spcPts val="0"/>
              </a:spcBef>
              <a:buNone/>
              <a:defRPr sz="1768" b="0" i="0" u="none" strike="noStrike" cap="none"/>
            </a:lvl2pPr>
            <a:lvl3pPr marL="0" marR="0" lvl="2" indent="0" algn="l" rtl="0">
              <a:spcBef>
                <a:spcPts val="0"/>
              </a:spcBef>
              <a:buNone/>
              <a:defRPr sz="1768" b="0" i="0" u="none" strike="noStrike" cap="none"/>
            </a:lvl3pPr>
            <a:lvl4pPr marL="0" marR="0" lvl="3" indent="0" algn="l" rtl="0">
              <a:spcBef>
                <a:spcPts val="0"/>
              </a:spcBef>
              <a:buNone/>
              <a:defRPr sz="1768" b="0" i="0" u="none" strike="noStrike" cap="none"/>
            </a:lvl4pPr>
            <a:lvl5pPr marL="0" marR="0" lvl="4" indent="0" algn="l" rtl="0">
              <a:spcBef>
                <a:spcPts val="0"/>
              </a:spcBef>
              <a:buNone/>
              <a:defRPr sz="1768" b="0" i="0" u="none" strike="noStrike" cap="none"/>
            </a:lvl5pPr>
            <a:lvl6pPr marL="0" marR="0" lvl="5" indent="0" algn="l" rtl="0">
              <a:spcBef>
                <a:spcPts val="0"/>
              </a:spcBef>
              <a:buNone/>
              <a:defRPr sz="1768" b="0" i="0" u="none" strike="noStrike" cap="none"/>
            </a:lvl6pPr>
            <a:lvl7pPr marL="0" marR="0" lvl="6" indent="0" algn="l" rtl="0">
              <a:spcBef>
                <a:spcPts val="0"/>
              </a:spcBef>
              <a:buNone/>
              <a:defRPr sz="1768" b="0" i="0" u="none" strike="noStrike" cap="none"/>
            </a:lvl7pPr>
            <a:lvl8pPr marL="0" marR="0" lvl="7" indent="0" algn="l" rtl="0">
              <a:spcBef>
                <a:spcPts val="0"/>
              </a:spcBef>
              <a:buNone/>
              <a:defRPr sz="1768" b="0" i="0" u="none" strike="noStrike" cap="none"/>
            </a:lvl8pPr>
            <a:lvl9pPr marL="0" marR="0" lvl="8" indent="0" algn="l" rtl="0">
              <a:spcBef>
                <a:spcPts val="0"/>
              </a:spcBef>
              <a:buNone/>
              <a:defRPr sz="1768" b="0" i="0" u="none" strike="noStrike" cap="none"/>
            </a:lvl9pPr>
          </a:lstStyle>
          <a:p>
            <a:endParaRPr/>
          </a:p>
        </p:txBody>
      </p:sp>
      <p:sp>
        <p:nvSpPr>
          <p:cNvPr id="73" name="Shape 73"/>
          <p:cNvSpPr txBox="1">
            <a:spLocks noGrp="1"/>
          </p:cNvSpPr>
          <p:nvPr>
            <p:ph type="subTitle" idx="1"/>
          </p:nvPr>
        </p:nvSpPr>
        <p:spPr>
          <a:xfrm>
            <a:off x="621719" y="1636560"/>
            <a:ext cx="11192419" cy="4055968"/>
          </a:xfrm>
          <a:prstGeom prst="rect">
            <a:avLst/>
          </a:prstGeom>
          <a:noFill/>
          <a:ln>
            <a:noFill/>
          </a:ln>
        </p:spPr>
        <p:txBody>
          <a:bodyPr lIns="67225" tIns="67225" rIns="67225" bIns="67225" anchor="ctr" anchorCtr="0"/>
          <a:lstStyle>
            <a:lvl1pPr marL="0" marR="0" lvl="0" indent="0" algn="l" rtl="0">
              <a:spcBef>
                <a:spcPts val="0"/>
              </a:spcBef>
              <a:buNone/>
              <a:defRPr sz="1768" b="0" i="0" u="none" strike="noStrike" cap="none"/>
            </a:lvl1pPr>
            <a:lvl2pPr marL="449039" marR="0" lvl="1" indent="0" algn="l" rtl="0">
              <a:spcBef>
                <a:spcPts val="0"/>
              </a:spcBef>
              <a:buNone/>
              <a:defRPr sz="1768" b="0" i="0" u="none" strike="noStrike" cap="none"/>
            </a:lvl2pPr>
            <a:lvl3pPr marL="915349" marR="0" lvl="2" indent="0" algn="l" rtl="0">
              <a:spcBef>
                <a:spcPts val="0"/>
              </a:spcBef>
              <a:buNone/>
              <a:defRPr sz="1768" b="0" i="0" u="none" strike="noStrike" cap="none"/>
            </a:lvl3pPr>
            <a:lvl4pPr marL="1364388" marR="0" lvl="3" indent="0" algn="l" rtl="0">
              <a:spcBef>
                <a:spcPts val="0"/>
              </a:spcBef>
              <a:buNone/>
              <a:defRPr sz="1768" b="0" i="0" u="none" strike="noStrike" cap="none"/>
            </a:lvl4pPr>
            <a:lvl5pPr marL="1830697" marR="0" lvl="4" indent="0" algn="l" rtl="0">
              <a:spcBef>
                <a:spcPts val="0"/>
              </a:spcBef>
              <a:buNone/>
              <a:defRPr sz="1768" b="0" i="0" u="none" strike="noStrike" cap="none"/>
            </a:lvl5pPr>
            <a:lvl6pPr marL="2279736" marR="0" lvl="5" indent="0" algn="l" rtl="0">
              <a:spcBef>
                <a:spcPts val="0"/>
              </a:spcBef>
              <a:buNone/>
              <a:defRPr sz="1768" b="0" i="0" u="none" strike="noStrike" cap="none"/>
            </a:lvl6pPr>
            <a:lvl7pPr marL="2746046" marR="0" lvl="6" indent="0" algn="l" rtl="0">
              <a:spcBef>
                <a:spcPts val="0"/>
              </a:spcBef>
              <a:buNone/>
              <a:defRPr sz="1768" b="0" i="0" u="none" strike="noStrike" cap="none"/>
            </a:lvl7pPr>
            <a:lvl8pPr marL="3195085" marR="0" lvl="7" indent="0" algn="l" rtl="0">
              <a:spcBef>
                <a:spcPts val="0"/>
              </a:spcBef>
              <a:buNone/>
              <a:defRPr sz="1768" b="0" i="0" u="none" strike="noStrike" cap="none"/>
            </a:lvl8pPr>
            <a:lvl9pPr marL="3661395" marR="0" lvl="8" indent="0" algn="l" rtl="0">
              <a:spcBef>
                <a:spcPts val="0"/>
              </a:spcBef>
              <a:buNone/>
              <a:defRPr sz="1768" b="0" i="0" u="none" strike="noStrike" cap="none"/>
            </a:lvl9pPr>
          </a:lstStyle>
          <a:p>
            <a:endParaRPr/>
          </a:p>
        </p:txBody>
      </p:sp>
    </p:spTree>
    <p:extLst>
      <p:ext uri="{BB962C8B-B14F-4D97-AF65-F5344CB8AC3E}">
        <p14:creationId xmlns:p14="http://schemas.microsoft.com/office/powerpoint/2010/main" val="1270886242"/>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Obj">
  <p:cSld name="Title, 2 Content">
    <p:spTree>
      <p:nvGrpSpPr>
        <p:cNvPr id="1" name="Shape 74"/>
        <p:cNvGrpSpPr/>
        <p:nvPr/>
      </p:nvGrpSpPr>
      <p:grpSpPr>
        <a:xfrm>
          <a:off x="0" y="0"/>
          <a:ext cx="0" cy="0"/>
          <a:chOff x="0" y="0"/>
          <a:chExt cx="0" cy="0"/>
        </a:xfrm>
      </p:grpSpPr>
      <p:sp>
        <p:nvSpPr>
          <p:cNvPr id="75" name="Shape 75"/>
          <p:cNvSpPr txBox="1">
            <a:spLocks noGrp="1"/>
          </p:cNvSpPr>
          <p:nvPr>
            <p:ph type="title"/>
          </p:nvPr>
        </p:nvSpPr>
        <p:spPr>
          <a:xfrm>
            <a:off x="621719" y="278999"/>
            <a:ext cx="11192419" cy="1167590"/>
          </a:xfrm>
          <a:prstGeom prst="rect">
            <a:avLst/>
          </a:prstGeom>
          <a:noFill/>
          <a:ln>
            <a:noFill/>
          </a:ln>
        </p:spPr>
        <p:txBody>
          <a:bodyPr lIns="67225" tIns="67225" rIns="67225" bIns="67225" anchor="ctr" anchorCtr="0"/>
          <a:lstStyle>
            <a:lvl1pPr marL="0" marR="0" lvl="0" indent="0" algn="l" rtl="0">
              <a:spcBef>
                <a:spcPts val="0"/>
              </a:spcBef>
              <a:buNone/>
              <a:defRPr sz="1768" b="0" i="0" u="none" strike="noStrike" cap="none"/>
            </a:lvl1pPr>
            <a:lvl2pPr marL="0" marR="0" lvl="1" indent="0" algn="l" rtl="0">
              <a:spcBef>
                <a:spcPts val="0"/>
              </a:spcBef>
              <a:buNone/>
              <a:defRPr sz="1768" b="0" i="0" u="none" strike="noStrike" cap="none"/>
            </a:lvl2pPr>
            <a:lvl3pPr marL="0" marR="0" lvl="2" indent="0" algn="l" rtl="0">
              <a:spcBef>
                <a:spcPts val="0"/>
              </a:spcBef>
              <a:buNone/>
              <a:defRPr sz="1768" b="0" i="0" u="none" strike="noStrike" cap="none"/>
            </a:lvl3pPr>
            <a:lvl4pPr marL="0" marR="0" lvl="3" indent="0" algn="l" rtl="0">
              <a:spcBef>
                <a:spcPts val="0"/>
              </a:spcBef>
              <a:buNone/>
              <a:defRPr sz="1768" b="0" i="0" u="none" strike="noStrike" cap="none"/>
            </a:lvl4pPr>
            <a:lvl5pPr marL="0" marR="0" lvl="4" indent="0" algn="l" rtl="0">
              <a:spcBef>
                <a:spcPts val="0"/>
              </a:spcBef>
              <a:buNone/>
              <a:defRPr sz="1768" b="0" i="0" u="none" strike="noStrike" cap="none"/>
            </a:lvl5pPr>
            <a:lvl6pPr marL="0" marR="0" lvl="5" indent="0" algn="l" rtl="0">
              <a:spcBef>
                <a:spcPts val="0"/>
              </a:spcBef>
              <a:buNone/>
              <a:defRPr sz="1768" b="0" i="0" u="none" strike="noStrike" cap="none"/>
            </a:lvl6pPr>
            <a:lvl7pPr marL="0" marR="0" lvl="6" indent="0" algn="l" rtl="0">
              <a:spcBef>
                <a:spcPts val="0"/>
              </a:spcBef>
              <a:buNone/>
              <a:defRPr sz="1768" b="0" i="0" u="none" strike="noStrike" cap="none"/>
            </a:lvl7pPr>
            <a:lvl8pPr marL="0" marR="0" lvl="7" indent="0" algn="l" rtl="0">
              <a:spcBef>
                <a:spcPts val="0"/>
              </a:spcBef>
              <a:buNone/>
              <a:defRPr sz="1768" b="0" i="0" u="none" strike="noStrike" cap="none"/>
            </a:lvl8pPr>
            <a:lvl9pPr marL="0" marR="0" lvl="8" indent="0" algn="l" rtl="0">
              <a:spcBef>
                <a:spcPts val="0"/>
              </a:spcBef>
              <a:buNone/>
              <a:defRPr sz="1768" b="0" i="0" u="none" strike="noStrike" cap="none"/>
            </a:lvl9pPr>
          </a:lstStyle>
          <a:p>
            <a:endParaRPr/>
          </a:p>
        </p:txBody>
      </p:sp>
      <p:sp>
        <p:nvSpPr>
          <p:cNvPr id="76" name="Shape 76"/>
          <p:cNvSpPr txBox="1">
            <a:spLocks noGrp="1"/>
          </p:cNvSpPr>
          <p:nvPr>
            <p:ph type="body" idx="1"/>
          </p:nvPr>
        </p:nvSpPr>
        <p:spPr>
          <a:xfrm>
            <a:off x="621719" y="1636560"/>
            <a:ext cx="5461359" cy="4055968"/>
          </a:xfrm>
          <a:prstGeom prst="rect">
            <a:avLst/>
          </a:prstGeom>
          <a:noFill/>
          <a:ln>
            <a:noFill/>
          </a:ln>
        </p:spPr>
        <p:txBody>
          <a:bodyPr lIns="67225" tIns="67225" rIns="67225" bIns="67225" anchor="t" anchorCtr="0"/>
          <a:lstStyle>
            <a:lvl1pPr marL="0" marR="0" lvl="0" indent="0" algn="l" rtl="0">
              <a:spcBef>
                <a:spcPts val="0"/>
              </a:spcBef>
              <a:buNone/>
              <a:defRPr sz="1768" b="0" i="0" u="none" strike="noStrike" cap="none"/>
            </a:lvl1pPr>
            <a:lvl2pPr marL="449039" marR="0" lvl="1" indent="0" algn="l" rtl="0">
              <a:spcBef>
                <a:spcPts val="0"/>
              </a:spcBef>
              <a:buNone/>
              <a:defRPr sz="1768" b="0" i="0" u="none" strike="noStrike" cap="none"/>
            </a:lvl2pPr>
            <a:lvl3pPr marL="915349" marR="0" lvl="2" indent="0" algn="l" rtl="0">
              <a:spcBef>
                <a:spcPts val="0"/>
              </a:spcBef>
              <a:buNone/>
              <a:defRPr sz="1768" b="0" i="0" u="none" strike="noStrike" cap="none"/>
            </a:lvl3pPr>
            <a:lvl4pPr marL="1364388" marR="0" lvl="3" indent="0" algn="l" rtl="0">
              <a:spcBef>
                <a:spcPts val="0"/>
              </a:spcBef>
              <a:buNone/>
              <a:defRPr sz="1768" b="0" i="0" u="none" strike="noStrike" cap="none"/>
            </a:lvl4pPr>
            <a:lvl5pPr marL="1830697" marR="0" lvl="4" indent="0" algn="l" rtl="0">
              <a:spcBef>
                <a:spcPts val="0"/>
              </a:spcBef>
              <a:buNone/>
              <a:defRPr sz="1768" b="0" i="0" u="none" strike="noStrike" cap="none"/>
            </a:lvl5pPr>
            <a:lvl6pPr marL="2279736" marR="0" lvl="5" indent="0" algn="l" rtl="0">
              <a:spcBef>
                <a:spcPts val="0"/>
              </a:spcBef>
              <a:buNone/>
              <a:defRPr sz="1768" b="0" i="0" u="none" strike="noStrike" cap="none"/>
            </a:lvl6pPr>
            <a:lvl7pPr marL="2746046" marR="0" lvl="6" indent="0" algn="l" rtl="0">
              <a:spcBef>
                <a:spcPts val="0"/>
              </a:spcBef>
              <a:buNone/>
              <a:defRPr sz="1768" b="0" i="0" u="none" strike="noStrike" cap="none"/>
            </a:lvl7pPr>
            <a:lvl8pPr marL="3195085" marR="0" lvl="7" indent="0" algn="l" rtl="0">
              <a:spcBef>
                <a:spcPts val="0"/>
              </a:spcBef>
              <a:buNone/>
              <a:defRPr sz="1768" b="0" i="0" u="none" strike="noStrike" cap="none"/>
            </a:lvl8pPr>
            <a:lvl9pPr marL="3661395" marR="0" lvl="8" indent="0" algn="l" rtl="0">
              <a:spcBef>
                <a:spcPts val="0"/>
              </a:spcBef>
              <a:buNone/>
              <a:defRPr sz="1768" b="0" i="0" u="none" strike="noStrike" cap="none"/>
            </a:lvl9pPr>
          </a:lstStyle>
          <a:p>
            <a:endParaRPr/>
          </a:p>
        </p:txBody>
      </p:sp>
      <p:sp>
        <p:nvSpPr>
          <p:cNvPr id="77" name="Shape 77"/>
          <p:cNvSpPr txBox="1">
            <a:spLocks noGrp="1"/>
          </p:cNvSpPr>
          <p:nvPr>
            <p:ph type="body" idx="2"/>
          </p:nvPr>
        </p:nvSpPr>
        <p:spPr>
          <a:xfrm>
            <a:off x="6356879" y="1636560"/>
            <a:ext cx="5461359" cy="4055968"/>
          </a:xfrm>
          <a:prstGeom prst="rect">
            <a:avLst/>
          </a:prstGeom>
          <a:noFill/>
          <a:ln>
            <a:noFill/>
          </a:ln>
        </p:spPr>
        <p:txBody>
          <a:bodyPr lIns="67225" tIns="67225" rIns="67225" bIns="67225" anchor="t" anchorCtr="0"/>
          <a:lstStyle>
            <a:lvl1pPr marL="0" marR="0" lvl="0" indent="0" algn="l" rtl="0">
              <a:spcBef>
                <a:spcPts val="0"/>
              </a:spcBef>
              <a:buNone/>
              <a:defRPr sz="1768" b="0" i="0" u="none" strike="noStrike" cap="none"/>
            </a:lvl1pPr>
            <a:lvl2pPr marL="449039" marR="0" lvl="1" indent="0" algn="l" rtl="0">
              <a:spcBef>
                <a:spcPts val="0"/>
              </a:spcBef>
              <a:buNone/>
              <a:defRPr sz="1768" b="0" i="0" u="none" strike="noStrike" cap="none"/>
            </a:lvl2pPr>
            <a:lvl3pPr marL="915349" marR="0" lvl="2" indent="0" algn="l" rtl="0">
              <a:spcBef>
                <a:spcPts val="0"/>
              </a:spcBef>
              <a:buNone/>
              <a:defRPr sz="1768" b="0" i="0" u="none" strike="noStrike" cap="none"/>
            </a:lvl3pPr>
            <a:lvl4pPr marL="1364388" marR="0" lvl="3" indent="0" algn="l" rtl="0">
              <a:spcBef>
                <a:spcPts val="0"/>
              </a:spcBef>
              <a:buNone/>
              <a:defRPr sz="1768" b="0" i="0" u="none" strike="noStrike" cap="none"/>
            </a:lvl4pPr>
            <a:lvl5pPr marL="1830697" marR="0" lvl="4" indent="0" algn="l" rtl="0">
              <a:spcBef>
                <a:spcPts val="0"/>
              </a:spcBef>
              <a:buNone/>
              <a:defRPr sz="1768" b="0" i="0" u="none" strike="noStrike" cap="none"/>
            </a:lvl5pPr>
            <a:lvl6pPr marL="2279736" marR="0" lvl="5" indent="0" algn="l" rtl="0">
              <a:spcBef>
                <a:spcPts val="0"/>
              </a:spcBef>
              <a:buNone/>
              <a:defRPr sz="1768" b="0" i="0" u="none" strike="noStrike" cap="none"/>
            </a:lvl6pPr>
            <a:lvl7pPr marL="2746046" marR="0" lvl="6" indent="0" algn="l" rtl="0">
              <a:spcBef>
                <a:spcPts val="0"/>
              </a:spcBef>
              <a:buNone/>
              <a:defRPr sz="1768" b="0" i="0" u="none" strike="noStrike" cap="none"/>
            </a:lvl7pPr>
            <a:lvl8pPr marL="3195085" marR="0" lvl="7" indent="0" algn="l" rtl="0">
              <a:spcBef>
                <a:spcPts val="0"/>
              </a:spcBef>
              <a:buNone/>
              <a:defRPr sz="1768" b="0" i="0" u="none" strike="noStrike" cap="none"/>
            </a:lvl8pPr>
            <a:lvl9pPr marL="3661395" marR="0" lvl="8" indent="0" algn="l" rtl="0">
              <a:spcBef>
                <a:spcPts val="0"/>
              </a:spcBef>
              <a:buNone/>
              <a:defRPr sz="1768" b="0" i="0" u="none" strike="noStrike" cap="none"/>
            </a:lvl9pPr>
          </a:lstStyle>
          <a:p>
            <a:endParaRPr/>
          </a:p>
        </p:txBody>
      </p:sp>
    </p:spTree>
    <p:extLst>
      <p:ext uri="{BB962C8B-B14F-4D97-AF65-F5344CB8AC3E}">
        <p14:creationId xmlns:p14="http://schemas.microsoft.com/office/powerpoint/2010/main" val="211085651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78"/>
        <p:cNvGrpSpPr/>
        <p:nvPr/>
      </p:nvGrpSpPr>
      <p:grpSpPr>
        <a:xfrm>
          <a:off x="0" y="0"/>
          <a:ext cx="0" cy="0"/>
          <a:chOff x="0" y="0"/>
          <a:chExt cx="0" cy="0"/>
        </a:xfrm>
      </p:grpSpPr>
      <p:sp>
        <p:nvSpPr>
          <p:cNvPr id="79" name="Shape 79"/>
          <p:cNvSpPr txBox="1">
            <a:spLocks noGrp="1"/>
          </p:cNvSpPr>
          <p:nvPr>
            <p:ph type="title"/>
          </p:nvPr>
        </p:nvSpPr>
        <p:spPr>
          <a:xfrm>
            <a:off x="621719" y="278999"/>
            <a:ext cx="11192419" cy="1167590"/>
          </a:xfrm>
          <a:prstGeom prst="rect">
            <a:avLst/>
          </a:prstGeom>
          <a:noFill/>
          <a:ln>
            <a:noFill/>
          </a:ln>
        </p:spPr>
        <p:txBody>
          <a:bodyPr lIns="67225" tIns="67225" rIns="67225" bIns="67225" anchor="ctr" anchorCtr="0"/>
          <a:lstStyle>
            <a:lvl1pPr marL="0" marR="0" lvl="0" indent="0" algn="l" rtl="0">
              <a:spcBef>
                <a:spcPts val="0"/>
              </a:spcBef>
              <a:buNone/>
              <a:defRPr sz="1768" b="0" i="0" u="none" strike="noStrike" cap="none"/>
            </a:lvl1pPr>
            <a:lvl2pPr marL="0" marR="0" lvl="1" indent="0" algn="l" rtl="0">
              <a:spcBef>
                <a:spcPts val="0"/>
              </a:spcBef>
              <a:buNone/>
              <a:defRPr sz="1768" b="0" i="0" u="none" strike="noStrike" cap="none"/>
            </a:lvl2pPr>
            <a:lvl3pPr marL="0" marR="0" lvl="2" indent="0" algn="l" rtl="0">
              <a:spcBef>
                <a:spcPts val="0"/>
              </a:spcBef>
              <a:buNone/>
              <a:defRPr sz="1768" b="0" i="0" u="none" strike="noStrike" cap="none"/>
            </a:lvl3pPr>
            <a:lvl4pPr marL="0" marR="0" lvl="3" indent="0" algn="l" rtl="0">
              <a:spcBef>
                <a:spcPts val="0"/>
              </a:spcBef>
              <a:buNone/>
              <a:defRPr sz="1768" b="0" i="0" u="none" strike="noStrike" cap="none"/>
            </a:lvl4pPr>
            <a:lvl5pPr marL="0" marR="0" lvl="4" indent="0" algn="l" rtl="0">
              <a:spcBef>
                <a:spcPts val="0"/>
              </a:spcBef>
              <a:buNone/>
              <a:defRPr sz="1768" b="0" i="0" u="none" strike="noStrike" cap="none"/>
            </a:lvl5pPr>
            <a:lvl6pPr marL="0" marR="0" lvl="5" indent="0" algn="l" rtl="0">
              <a:spcBef>
                <a:spcPts val="0"/>
              </a:spcBef>
              <a:buNone/>
              <a:defRPr sz="1768" b="0" i="0" u="none" strike="noStrike" cap="none"/>
            </a:lvl6pPr>
            <a:lvl7pPr marL="0" marR="0" lvl="6" indent="0" algn="l" rtl="0">
              <a:spcBef>
                <a:spcPts val="0"/>
              </a:spcBef>
              <a:buNone/>
              <a:defRPr sz="1768" b="0" i="0" u="none" strike="noStrike" cap="none"/>
            </a:lvl7pPr>
            <a:lvl8pPr marL="0" marR="0" lvl="7" indent="0" algn="l" rtl="0">
              <a:spcBef>
                <a:spcPts val="0"/>
              </a:spcBef>
              <a:buNone/>
              <a:defRPr sz="1768" b="0" i="0" u="none" strike="noStrike" cap="none"/>
            </a:lvl8pPr>
            <a:lvl9pPr marL="0" marR="0" lvl="8" indent="0" algn="l" rtl="0">
              <a:spcBef>
                <a:spcPts val="0"/>
              </a:spcBef>
              <a:buNone/>
              <a:defRPr sz="1768" b="0" i="0" u="none" strike="noStrike" cap="none"/>
            </a:lvl9pPr>
          </a:lstStyle>
          <a:p>
            <a:endParaRPr/>
          </a:p>
        </p:txBody>
      </p:sp>
    </p:spTree>
    <p:extLst>
      <p:ext uri="{BB962C8B-B14F-4D97-AF65-F5344CB8AC3E}">
        <p14:creationId xmlns:p14="http://schemas.microsoft.com/office/powerpoint/2010/main" val="98150803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objOnly">
  <p:cSld name="Centered Text">
    <p:spTree>
      <p:nvGrpSpPr>
        <p:cNvPr id="1" name="Shape 80"/>
        <p:cNvGrpSpPr/>
        <p:nvPr/>
      </p:nvGrpSpPr>
      <p:grpSpPr>
        <a:xfrm>
          <a:off x="0" y="0"/>
          <a:ext cx="0" cy="0"/>
          <a:chOff x="0" y="0"/>
          <a:chExt cx="0" cy="0"/>
        </a:xfrm>
      </p:grpSpPr>
      <p:sp>
        <p:nvSpPr>
          <p:cNvPr id="81" name="Shape 81"/>
          <p:cNvSpPr txBox="1">
            <a:spLocks noGrp="1"/>
          </p:cNvSpPr>
          <p:nvPr>
            <p:ph type="subTitle" idx="1"/>
          </p:nvPr>
        </p:nvSpPr>
        <p:spPr>
          <a:xfrm>
            <a:off x="621719" y="278999"/>
            <a:ext cx="11192419" cy="5412853"/>
          </a:xfrm>
          <a:prstGeom prst="rect">
            <a:avLst/>
          </a:prstGeom>
          <a:noFill/>
          <a:ln>
            <a:noFill/>
          </a:ln>
        </p:spPr>
        <p:txBody>
          <a:bodyPr lIns="67225" tIns="67225" rIns="67225" bIns="67225" anchor="ctr" anchorCtr="0"/>
          <a:lstStyle>
            <a:lvl1pPr marL="0" marR="0" lvl="0" indent="0" algn="l" rtl="0">
              <a:spcBef>
                <a:spcPts val="0"/>
              </a:spcBef>
              <a:buNone/>
              <a:defRPr sz="1768" b="0" i="0" u="none" strike="noStrike" cap="none"/>
            </a:lvl1pPr>
            <a:lvl2pPr marL="449039" marR="0" lvl="1" indent="0" algn="l" rtl="0">
              <a:spcBef>
                <a:spcPts val="0"/>
              </a:spcBef>
              <a:buNone/>
              <a:defRPr sz="1768" b="0" i="0" u="none" strike="noStrike" cap="none"/>
            </a:lvl2pPr>
            <a:lvl3pPr marL="915349" marR="0" lvl="2" indent="0" algn="l" rtl="0">
              <a:spcBef>
                <a:spcPts val="0"/>
              </a:spcBef>
              <a:buNone/>
              <a:defRPr sz="1768" b="0" i="0" u="none" strike="noStrike" cap="none"/>
            </a:lvl3pPr>
            <a:lvl4pPr marL="1364388" marR="0" lvl="3" indent="0" algn="l" rtl="0">
              <a:spcBef>
                <a:spcPts val="0"/>
              </a:spcBef>
              <a:buNone/>
              <a:defRPr sz="1768" b="0" i="0" u="none" strike="noStrike" cap="none"/>
            </a:lvl4pPr>
            <a:lvl5pPr marL="1830697" marR="0" lvl="4" indent="0" algn="l" rtl="0">
              <a:spcBef>
                <a:spcPts val="0"/>
              </a:spcBef>
              <a:buNone/>
              <a:defRPr sz="1768" b="0" i="0" u="none" strike="noStrike" cap="none"/>
            </a:lvl5pPr>
            <a:lvl6pPr marL="2279736" marR="0" lvl="5" indent="0" algn="l" rtl="0">
              <a:spcBef>
                <a:spcPts val="0"/>
              </a:spcBef>
              <a:buNone/>
              <a:defRPr sz="1768" b="0" i="0" u="none" strike="noStrike" cap="none"/>
            </a:lvl6pPr>
            <a:lvl7pPr marL="2746046" marR="0" lvl="6" indent="0" algn="l" rtl="0">
              <a:spcBef>
                <a:spcPts val="0"/>
              </a:spcBef>
              <a:buNone/>
              <a:defRPr sz="1768" b="0" i="0" u="none" strike="noStrike" cap="none"/>
            </a:lvl7pPr>
            <a:lvl8pPr marL="3195085" marR="0" lvl="7" indent="0" algn="l" rtl="0">
              <a:spcBef>
                <a:spcPts val="0"/>
              </a:spcBef>
              <a:buNone/>
              <a:defRPr sz="1768" b="0" i="0" u="none" strike="noStrike" cap="none"/>
            </a:lvl8pPr>
            <a:lvl9pPr marL="3661395" marR="0" lvl="8" indent="0" algn="l" rtl="0">
              <a:spcBef>
                <a:spcPts val="0"/>
              </a:spcBef>
              <a:buNone/>
              <a:defRPr sz="1768" b="0" i="0" u="none" strike="noStrike" cap="none"/>
            </a:lvl9pPr>
          </a:lstStyle>
          <a:p>
            <a:endParaRPr/>
          </a:p>
        </p:txBody>
      </p:sp>
    </p:spTree>
    <p:extLst>
      <p:ext uri="{BB962C8B-B14F-4D97-AF65-F5344CB8AC3E}">
        <p14:creationId xmlns:p14="http://schemas.microsoft.com/office/powerpoint/2010/main" val="2464405818"/>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twoObjAndObj">
  <p:cSld name="Title, 2 Content and Content">
    <p:spTree>
      <p:nvGrpSpPr>
        <p:cNvPr id="1" name="Shape 82"/>
        <p:cNvGrpSpPr/>
        <p:nvPr/>
      </p:nvGrpSpPr>
      <p:grpSpPr>
        <a:xfrm>
          <a:off x="0" y="0"/>
          <a:ext cx="0" cy="0"/>
          <a:chOff x="0" y="0"/>
          <a:chExt cx="0" cy="0"/>
        </a:xfrm>
      </p:grpSpPr>
      <p:sp>
        <p:nvSpPr>
          <p:cNvPr id="83" name="Shape 83"/>
          <p:cNvSpPr txBox="1">
            <a:spLocks noGrp="1"/>
          </p:cNvSpPr>
          <p:nvPr>
            <p:ph type="title"/>
          </p:nvPr>
        </p:nvSpPr>
        <p:spPr>
          <a:xfrm>
            <a:off x="621719" y="278999"/>
            <a:ext cx="11192419" cy="1167590"/>
          </a:xfrm>
          <a:prstGeom prst="rect">
            <a:avLst/>
          </a:prstGeom>
          <a:noFill/>
          <a:ln>
            <a:noFill/>
          </a:ln>
        </p:spPr>
        <p:txBody>
          <a:bodyPr lIns="67225" tIns="67225" rIns="67225" bIns="67225" anchor="ctr" anchorCtr="0"/>
          <a:lstStyle>
            <a:lvl1pPr marL="0" marR="0" lvl="0" indent="0" algn="l" rtl="0">
              <a:spcBef>
                <a:spcPts val="0"/>
              </a:spcBef>
              <a:buNone/>
              <a:defRPr sz="1768" b="0" i="0" u="none" strike="noStrike" cap="none"/>
            </a:lvl1pPr>
            <a:lvl2pPr marL="0" marR="0" lvl="1" indent="0" algn="l" rtl="0">
              <a:spcBef>
                <a:spcPts val="0"/>
              </a:spcBef>
              <a:buNone/>
              <a:defRPr sz="1768" b="0" i="0" u="none" strike="noStrike" cap="none"/>
            </a:lvl2pPr>
            <a:lvl3pPr marL="0" marR="0" lvl="2" indent="0" algn="l" rtl="0">
              <a:spcBef>
                <a:spcPts val="0"/>
              </a:spcBef>
              <a:buNone/>
              <a:defRPr sz="1768" b="0" i="0" u="none" strike="noStrike" cap="none"/>
            </a:lvl3pPr>
            <a:lvl4pPr marL="0" marR="0" lvl="3" indent="0" algn="l" rtl="0">
              <a:spcBef>
                <a:spcPts val="0"/>
              </a:spcBef>
              <a:buNone/>
              <a:defRPr sz="1768" b="0" i="0" u="none" strike="noStrike" cap="none"/>
            </a:lvl4pPr>
            <a:lvl5pPr marL="0" marR="0" lvl="4" indent="0" algn="l" rtl="0">
              <a:spcBef>
                <a:spcPts val="0"/>
              </a:spcBef>
              <a:buNone/>
              <a:defRPr sz="1768" b="0" i="0" u="none" strike="noStrike" cap="none"/>
            </a:lvl5pPr>
            <a:lvl6pPr marL="0" marR="0" lvl="5" indent="0" algn="l" rtl="0">
              <a:spcBef>
                <a:spcPts val="0"/>
              </a:spcBef>
              <a:buNone/>
              <a:defRPr sz="1768" b="0" i="0" u="none" strike="noStrike" cap="none"/>
            </a:lvl6pPr>
            <a:lvl7pPr marL="0" marR="0" lvl="6" indent="0" algn="l" rtl="0">
              <a:spcBef>
                <a:spcPts val="0"/>
              </a:spcBef>
              <a:buNone/>
              <a:defRPr sz="1768" b="0" i="0" u="none" strike="noStrike" cap="none"/>
            </a:lvl7pPr>
            <a:lvl8pPr marL="0" marR="0" lvl="7" indent="0" algn="l" rtl="0">
              <a:spcBef>
                <a:spcPts val="0"/>
              </a:spcBef>
              <a:buNone/>
              <a:defRPr sz="1768" b="0" i="0" u="none" strike="noStrike" cap="none"/>
            </a:lvl8pPr>
            <a:lvl9pPr marL="0" marR="0" lvl="8" indent="0" algn="l" rtl="0">
              <a:spcBef>
                <a:spcPts val="0"/>
              </a:spcBef>
              <a:buNone/>
              <a:defRPr sz="1768" b="0" i="0" u="none" strike="noStrike" cap="none"/>
            </a:lvl9pPr>
          </a:lstStyle>
          <a:p>
            <a:endParaRPr/>
          </a:p>
        </p:txBody>
      </p:sp>
      <p:sp>
        <p:nvSpPr>
          <p:cNvPr id="84" name="Shape 84"/>
          <p:cNvSpPr txBox="1">
            <a:spLocks noGrp="1"/>
          </p:cNvSpPr>
          <p:nvPr>
            <p:ph type="body" idx="1"/>
          </p:nvPr>
        </p:nvSpPr>
        <p:spPr>
          <a:xfrm>
            <a:off x="621719" y="1636560"/>
            <a:ext cx="5461359" cy="1934559"/>
          </a:xfrm>
          <a:prstGeom prst="rect">
            <a:avLst/>
          </a:prstGeom>
          <a:noFill/>
          <a:ln>
            <a:noFill/>
          </a:ln>
        </p:spPr>
        <p:txBody>
          <a:bodyPr lIns="67225" tIns="67225" rIns="67225" bIns="67225" anchor="t" anchorCtr="0"/>
          <a:lstStyle>
            <a:lvl1pPr marL="0" marR="0" lvl="0" indent="0" algn="l" rtl="0">
              <a:spcBef>
                <a:spcPts val="0"/>
              </a:spcBef>
              <a:buNone/>
              <a:defRPr sz="1768" b="0" i="0" u="none" strike="noStrike" cap="none"/>
            </a:lvl1pPr>
            <a:lvl2pPr marL="449039" marR="0" lvl="1" indent="0" algn="l" rtl="0">
              <a:spcBef>
                <a:spcPts val="0"/>
              </a:spcBef>
              <a:buNone/>
              <a:defRPr sz="1768" b="0" i="0" u="none" strike="noStrike" cap="none"/>
            </a:lvl2pPr>
            <a:lvl3pPr marL="915349" marR="0" lvl="2" indent="0" algn="l" rtl="0">
              <a:spcBef>
                <a:spcPts val="0"/>
              </a:spcBef>
              <a:buNone/>
              <a:defRPr sz="1768" b="0" i="0" u="none" strike="noStrike" cap="none"/>
            </a:lvl3pPr>
            <a:lvl4pPr marL="1364388" marR="0" lvl="3" indent="0" algn="l" rtl="0">
              <a:spcBef>
                <a:spcPts val="0"/>
              </a:spcBef>
              <a:buNone/>
              <a:defRPr sz="1768" b="0" i="0" u="none" strike="noStrike" cap="none"/>
            </a:lvl4pPr>
            <a:lvl5pPr marL="1830697" marR="0" lvl="4" indent="0" algn="l" rtl="0">
              <a:spcBef>
                <a:spcPts val="0"/>
              </a:spcBef>
              <a:buNone/>
              <a:defRPr sz="1768" b="0" i="0" u="none" strike="noStrike" cap="none"/>
            </a:lvl5pPr>
            <a:lvl6pPr marL="2279736" marR="0" lvl="5" indent="0" algn="l" rtl="0">
              <a:spcBef>
                <a:spcPts val="0"/>
              </a:spcBef>
              <a:buNone/>
              <a:defRPr sz="1768" b="0" i="0" u="none" strike="noStrike" cap="none"/>
            </a:lvl6pPr>
            <a:lvl7pPr marL="2746046" marR="0" lvl="6" indent="0" algn="l" rtl="0">
              <a:spcBef>
                <a:spcPts val="0"/>
              </a:spcBef>
              <a:buNone/>
              <a:defRPr sz="1768" b="0" i="0" u="none" strike="noStrike" cap="none"/>
            </a:lvl7pPr>
            <a:lvl8pPr marL="3195085" marR="0" lvl="7" indent="0" algn="l" rtl="0">
              <a:spcBef>
                <a:spcPts val="0"/>
              </a:spcBef>
              <a:buNone/>
              <a:defRPr sz="1768" b="0" i="0" u="none" strike="noStrike" cap="none"/>
            </a:lvl8pPr>
            <a:lvl9pPr marL="3661395" marR="0" lvl="8" indent="0" algn="l" rtl="0">
              <a:spcBef>
                <a:spcPts val="0"/>
              </a:spcBef>
              <a:buNone/>
              <a:defRPr sz="1768" b="0" i="0" u="none" strike="noStrike" cap="none"/>
            </a:lvl9pPr>
          </a:lstStyle>
          <a:p>
            <a:endParaRPr/>
          </a:p>
        </p:txBody>
      </p:sp>
      <p:sp>
        <p:nvSpPr>
          <p:cNvPr id="85" name="Shape 85"/>
          <p:cNvSpPr txBox="1">
            <a:spLocks noGrp="1"/>
          </p:cNvSpPr>
          <p:nvPr>
            <p:ph type="body" idx="2"/>
          </p:nvPr>
        </p:nvSpPr>
        <p:spPr>
          <a:xfrm>
            <a:off x="621719" y="3755520"/>
            <a:ext cx="5461359" cy="1934559"/>
          </a:xfrm>
          <a:prstGeom prst="rect">
            <a:avLst/>
          </a:prstGeom>
          <a:noFill/>
          <a:ln>
            <a:noFill/>
          </a:ln>
        </p:spPr>
        <p:txBody>
          <a:bodyPr lIns="67225" tIns="67225" rIns="67225" bIns="67225" anchor="t" anchorCtr="0"/>
          <a:lstStyle>
            <a:lvl1pPr marL="0" marR="0" lvl="0" indent="0" algn="l" rtl="0">
              <a:spcBef>
                <a:spcPts val="0"/>
              </a:spcBef>
              <a:buNone/>
              <a:defRPr sz="1768" b="0" i="0" u="none" strike="noStrike" cap="none"/>
            </a:lvl1pPr>
            <a:lvl2pPr marL="449039" marR="0" lvl="1" indent="0" algn="l" rtl="0">
              <a:spcBef>
                <a:spcPts val="0"/>
              </a:spcBef>
              <a:buNone/>
              <a:defRPr sz="1768" b="0" i="0" u="none" strike="noStrike" cap="none"/>
            </a:lvl2pPr>
            <a:lvl3pPr marL="915349" marR="0" lvl="2" indent="0" algn="l" rtl="0">
              <a:spcBef>
                <a:spcPts val="0"/>
              </a:spcBef>
              <a:buNone/>
              <a:defRPr sz="1768" b="0" i="0" u="none" strike="noStrike" cap="none"/>
            </a:lvl3pPr>
            <a:lvl4pPr marL="1364388" marR="0" lvl="3" indent="0" algn="l" rtl="0">
              <a:spcBef>
                <a:spcPts val="0"/>
              </a:spcBef>
              <a:buNone/>
              <a:defRPr sz="1768" b="0" i="0" u="none" strike="noStrike" cap="none"/>
            </a:lvl4pPr>
            <a:lvl5pPr marL="1830697" marR="0" lvl="4" indent="0" algn="l" rtl="0">
              <a:spcBef>
                <a:spcPts val="0"/>
              </a:spcBef>
              <a:buNone/>
              <a:defRPr sz="1768" b="0" i="0" u="none" strike="noStrike" cap="none"/>
            </a:lvl5pPr>
            <a:lvl6pPr marL="2279736" marR="0" lvl="5" indent="0" algn="l" rtl="0">
              <a:spcBef>
                <a:spcPts val="0"/>
              </a:spcBef>
              <a:buNone/>
              <a:defRPr sz="1768" b="0" i="0" u="none" strike="noStrike" cap="none"/>
            </a:lvl6pPr>
            <a:lvl7pPr marL="2746046" marR="0" lvl="6" indent="0" algn="l" rtl="0">
              <a:spcBef>
                <a:spcPts val="0"/>
              </a:spcBef>
              <a:buNone/>
              <a:defRPr sz="1768" b="0" i="0" u="none" strike="noStrike" cap="none"/>
            </a:lvl7pPr>
            <a:lvl8pPr marL="3195085" marR="0" lvl="7" indent="0" algn="l" rtl="0">
              <a:spcBef>
                <a:spcPts val="0"/>
              </a:spcBef>
              <a:buNone/>
              <a:defRPr sz="1768" b="0" i="0" u="none" strike="noStrike" cap="none"/>
            </a:lvl8pPr>
            <a:lvl9pPr marL="3661395" marR="0" lvl="8" indent="0" algn="l" rtl="0">
              <a:spcBef>
                <a:spcPts val="0"/>
              </a:spcBef>
              <a:buNone/>
              <a:defRPr sz="1768" b="0" i="0" u="none" strike="noStrike" cap="none"/>
            </a:lvl9pPr>
          </a:lstStyle>
          <a:p>
            <a:endParaRPr/>
          </a:p>
        </p:txBody>
      </p:sp>
      <p:sp>
        <p:nvSpPr>
          <p:cNvPr id="86" name="Shape 86"/>
          <p:cNvSpPr txBox="1">
            <a:spLocks noGrp="1"/>
          </p:cNvSpPr>
          <p:nvPr>
            <p:ph type="body" idx="3"/>
          </p:nvPr>
        </p:nvSpPr>
        <p:spPr>
          <a:xfrm>
            <a:off x="6356879" y="1636560"/>
            <a:ext cx="5461359" cy="4055968"/>
          </a:xfrm>
          <a:prstGeom prst="rect">
            <a:avLst/>
          </a:prstGeom>
          <a:noFill/>
          <a:ln>
            <a:noFill/>
          </a:ln>
        </p:spPr>
        <p:txBody>
          <a:bodyPr lIns="67225" tIns="67225" rIns="67225" bIns="67225" anchor="t" anchorCtr="0"/>
          <a:lstStyle>
            <a:lvl1pPr marL="0" marR="0" lvl="0" indent="0" algn="l" rtl="0">
              <a:spcBef>
                <a:spcPts val="0"/>
              </a:spcBef>
              <a:buNone/>
              <a:defRPr sz="1768" b="0" i="0" u="none" strike="noStrike" cap="none"/>
            </a:lvl1pPr>
            <a:lvl2pPr marL="449039" marR="0" lvl="1" indent="0" algn="l" rtl="0">
              <a:spcBef>
                <a:spcPts val="0"/>
              </a:spcBef>
              <a:buNone/>
              <a:defRPr sz="1768" b="0" i="0" u="none" strike="noStrike" cap="none"/>
            </a:lvl2pPr>
            <a:lvl3pPr marL="915349" marR="0" lvl="2" indent="0" algn="l" rtl="0">
              <a:spcBef>
                <a:spcPts val="0"/>
              </a:spcBef>
              <a:buNone/>
              <a:defRPr sz="1768" b="0" i="0" u="none" strike="noStrike" cap="none"/>
            </a:lvl3pPr>
            <a:lvl4pPr marL="1364388" marR="0" lvl="3" indent="0" algn="l" rtl="0">
              <a:spcBef>
                <a:spcPts val="0"/>
              </a:spcBef>
              <a:buNone/>
              <a:defRPr sz="1768" b="0" i="0" u="none" strike="noStrike" cap="none"/>
            </a:lvl4pPr>
            <a:lvl5pPr marL="1830697" marR="0" lvl="4" indent="0" algn="l" rtl="0">
              <a:spcBef>
                <a:spcPts val="0"/>
              </a:spcBef>
              <a:buNone/>
              <a:defRPr sz="1768" b="0" i="0" u="none" strike="noStrike" cap="none"/>
            </a:lvl5pPr>
            <a:lvl6pPr marL="2279736" marR="0" lvl="5" indent="0" algn="l" rtl="0">
              <a:spcBef>
                <a:spcPts val="0"/>
              </a:spcBef>
              <a:buNone/>
              <a:defRPr sz="1768" b="0" i="0" u="none" strike="noStrike" cap="none"/>
            </a:lvl6pPr>
            <a:lvl7pPr marL="2746046" marR="0" lvl="6" indent="0" algn="l" rtl="0">
              <a:spcBef>
                <a:spcPts val="0"/>
              </a:spcBef>
              <a:buNone/>
              <a:defRPr sz="1768" b="0" i="0" u="none" strike="noStrike" cap="none"/>
            </a:lvl7pPr>
            <a:lvl8pPr marL="3195085" marR="0" lvl="7" indent="0" algn="l" rtl="0">
              <a:spcBef>
                <a:spcPts val="0"/>
              </a:spcBef>
              <a:buNone/>
              <a:defRPr sz="1768" b="0" i="0" u="none" strike="noStrike" cap="none"/>
            </a:lvl8pPr>
            <a:lvl9pPr marL="3661395" marR="0" lvl="8" indent="0" algn="l" rtl="0">
              <a:spcBef>
                <a:spcPts val="0"/>
              </a:spcBef>
              <a:buNone/>
              <a:defRPr sz="1768" b="0" i="0" u="none" strike="noStrike" cap="none"/>
            </a:lvl9pPr>
          </a:lstStyle>
          <a:p>
            <a:endParaRPr/>
          </a:p>
        </p:txBody>
      </p:sp>
    </p:spTree>
    <p:extLst>
      <p:ext uri="{BB962C8B-B14F-4D97-AF65-F5344CB8AC3E}">
        <p14:creationId xmlns:p14="http://schemas.microsoft.com/office/powerpoint/2010/main" val="4214297948"/>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Shape 87"/>
        <p:cNvGrpSpPr/>
        <p:nvPr/>
      </p:nvGrpSpPr>
      <p:grpSpPr>
        <a:xfrm>
          <a:off x="0" y="0"/>
          <a:ext cx="0" cy="0"/>
          <a:chOff x="0" y="0"/>
          <a:chExt cx="0" cy="0"/>
        </a:xfrm>
      </p:grpSpPr>
      <p:sp>
        <p:nvSpPr>
          <p:cNvPr id="88" name="Shape 88"/>
          <p:cNvSpPr txBox="1">
            <a:spLocks noGrp="1"/>
          </p:cNvSpPr>
          <p:nvPr>
            <p:ph type="title"/>
          </p:nvPr>
        </p:nvSpPr>
        <p:spPr>
          <a:xfrm>
            <a:off x="621719" y="278999"/>
            <a:ext cx="11192419" cy="1167590"/>
          </a:xfrm>
          <a:prstGeom prst="rect">
            <a:avLst/>
          </a:prstGeom>
          <a:noFill/>
          <a:ln>
            <a:noFill/>
          </a:ln>
        </p:spPr>
        <p:txBody>
          <a:bodyPr lIns="67225" tIns="67225" rIns="67225" bIns="67225" anchor="ctr" anchorCtr="0"/>
          <a:lstStyle>
            <a:lvl1pPr marL="0" marR="0" lvl="0" indent="0" algn="l" rtl="0">
              <a:spcBef>
                <a:spcPts val="0"/>
              </a:spcBef>
              <a:buNone/>
              <a:defRPr sz="1768" b="0" i="0" u="none" strike="noStrike" cap="none"/>
            </a:lvl1pPr>
            <a:lvl2pPr marL="0" marR="0" lvl="1" indent="0" algn="l" rtl="0">
              <a:spcBef>
                <a:spcPts val="0"/>
              </a:spcBef>
              <a:buNone/>
              <a:defRPr sz="1768" b="0" i="0" u="none" strike="noStrike" cap="none"/>
            </a:lvl2pPr>
            <a:lvl3pPr marL="0" marR="0" lvl="2" indent="0" algn="l" rtl="0">
              <a:spcBef>
                <a:spcPts val="0"/>
              </a:spcBef>
              <a:buNone/>
              <a:defRPr sz="1768" b="0" i="0" u="none" strike="noStrike" cap="none"/>
            </a:lvl3pPr>
            <a:lvl4pPr marL="0" marR="0" lvl="3" indent="0" algn="l" rtl="0">
              <a:spcBef>
                <a:spcPts val="0"/>
              </a:spcBef>
              <a:buNone/>
              <a:defRPr sz="1768" b="0" i="0" u="none" strike="noStrike" cap="none"/>
            </a:lvl4pPr>
            <a:lvl5pPr marL="0" marR="0" lvl="4" indent="0" algn="l" rtl="0">
              <a:spcBef>
                <a:spcPts val="0"/>
              </a:spcBef>
              <a:buNone/>
              <a:defRPr sz="1768" b="0" i="0" u="none" strike="noStrike" cap="none"/>
            </a:lvl5pPr>
            <a:lvl6pPr marL="0" marR="0" lvl="5" indent="0" algn="l" rtl="0">
              <a:spcBef>
                <a:spcPts val="0"/>
              </a:spcBef>
              <a:buNone/>
              <a:defRPr sz="1768" b="0" i="0" u="none" strike="noStrike" cap="none"/>
            </a:lvl6pPr>
            <a:lvl7pPr marL="0" marR="0" lvl="6" indent="0" algn="l" rtl="0">
              <a:spcBef>
                <a:spcPts val="0"/>
              </a:spcBef>
              <a:buNone/>
              <a:defRPr sz="1768" b="0" i="0" u="none" strike="noStrike" cap="none"/>
            </a:lvl7pPr>
            <a:lvl8pPr marL="0" marR="0" lvl="7" indent="0" algn="l" rtl="0">
              <a:spcBef>
                <a:spcPts val="0"/>
              </a:spcBef>
              <a:buNone/>
              <a:defRPr sz="1768" b="0" i="0" u="none" strike="noStrike" cap="none"/>
            </a:lvl8pPr>
            <a:lvl9pPr marL="0" marR="0" lvl="8" indent="0" algn="l" rtl="0">
              <a:spcBef>
                <a:spcPts val="0"/>
              </a:spcBef>
              <a:buNone/>
              <a:defRPr sz="1768" b="0" i="0" u="none" strike="noStrike" cap="none"/>
            </a:lvl9pPr>
          </a:lstStyle>
          <a:p>
            <a:endParaRPr/>
          </a:p>
        </p:txBody>
      </p:sp>
      <p:sp>
        <p:nvSpPr>
          <p:cNvPr id="89" name="Shape 89"/>
          <p:cNvSpPr txBox="1">
            <a:spLocks noGrp="1"/>
          </p:cNvSpPr>
          <p:nvPr>
            <p:ph type="body" idx="1"/>
          </p:nvPr>
        </p:nvSpPr>
        <p:spPr>
          <a:xfrm>
            <a:off x="621719" y="1636560"/>
            <a:ext cx="5461359" cy="4055968"/>
          </a:xfrm>
          <a:prstGeom prst="rect">
            <a:avLst/>
          </a:prstGeom>
          <a:noFill/>
          <a:ln>
            <a:noFill/>
          </a:ln>
        </p:spPr>
        <p:txBody>
          <a:bodyPr lIns="67225" tIns="67225" rIns="67225" bIns="67225" anchor="t" anchorCtr="0"/>
          <a:lstStyle>
            <a:lvl1pPr marL="0" marR="0" lvl="0" indent="0" algn="l" rtl="0">
              <a:spcBef>
                <a:spcPts val="0"/>
              </a:spcBef>
              <a:buNone/>
              <a:defRPr sz="1768" b="0" i="0" u="none" strike="noStrike" cap="none"/>
            </a:lvl1pPr>
            <a:lvl2pPr marL="449039" marR="0" lvl="1" indent="0" algn="l" rtl="0">
              <a:spcBef>
                <a:spcPts val="0"/>
              </a:spcBef>
              <a:buNone/>
              <a:defRPr sz="1768" b="0" i="0" u="none" strike="noStrike" cap="none"/>
            </a:lvl2pPr>
            <a:lvl3pPr marL="915349" marR="0" lvl="2" indent="0" algn="l" rtl="0">
              <a:spcBef>
                <a:spcPts val="0"/>
              </a:spcBef>
              <a:buNone/>
              <a:defRPr sz="1768" b="0" i="0" u="none" strike="noStrike" cap="none"/>
            </a:lvl3pPr>
            <a:lvl4pPr marL="1364388" marR="0" lvl="3" indent="0" algn="l" rtl="0">
              <a:spcBef>
                <a:spcPts val="0"/>
              </a:spcBef>
              <a:buNone/>
              <a:defRPr sz="1768" b="0" i="0" u="none" strike="noStrike" cap="none"/>
            </a:lvl4pPr>
            <a:lvl5pPr marL="1830697" marR="0" lvl="4" indent="0" algn="l" rtl="0">
              <a:spcBef>
                <a:spcPts val="0"/>
              </a:spcBef>
              <a:buNone/>
              <a:defRPr sz="1768" b="0" i="0" u="none" strike="noStrike" cap="none"/>
            </a:lvl5pPr>
            <a:lvl6pPr marL="2279736" marR="0" lvl="5" indent="0" algn="l" rtl="0">
              <a:spcBef>
                <a:spcPts val="0"/>
              </a:spcBef>
              <a:buNone/>
              <a:defRPr sz="1768" b="0" i="0" u="none" strike="noStrike" cap="none"/>
            </a:lvl6pPr>
            <a:lvl7pPr marL="2746046" marR="0" lvl="6" indent="0" algn="l" rtl="0">
              <a:spcBef>
                <a:spcPts val="0"/>
              </a:spcBef>
              <a:buNone/>
              <a:defRPr sz="1768" b="0" i="0" u="none" strike="noStrike" cap="none"/>
            </a:lvl7pPr>
            <a:lvl8pPr marL="3195085" marR="0" lvl="7" indent="0" algn="l" rtl="0">
              <a:spcBef>
                <a:spcPts val="0"/>
              </a:spcBef>
              <a:buNone/>
              <a:defRPr sz="1768" b="0" i="0" u="none" strike="noStrike" cap="none"/>
            </a:lvl8pPr>
            <a:lvl9pPr marL="3661395" marR="0" lvl="8" indent="0" algn="l" rtl="0">
              <a:spcBef>
                <a:spcPts val="0"/>
              </a:spcBef>
              <a:buNone/>
              <a:defRPr sz="1768" b="0" i="0" u="none" strike="noStrike" cap="none"/>
            </a:lvl9pPr>
          </a:lstStyle>
          <a:p>
            <a:endParaRPr/>
          </a:p>
        </p:txBody>
      </p:sp>
      <p:sp>
        <p:nvSpPr>
          <p:cNvPr id="90" name="Shape 90"/>
          <p:cNvSpPr txBox="1">
            <a:spLocks noGrp="1"/>
          </p:cNvSpPr>
          <p:nvPr>
            <p:ph type="body" idx="2"/>
          </p:nvPr>
        </p:nvSpPr>
        <p:spPr>
          <a:xfrm>
            <a:off x="6356879" y="1636560"/>
            <a:ext cx="5461359" cy="1934559"/>
          </a:xfrm>
          <a:prstGeom prst="rect">
            <a:avLst/>
          </a:prstGeom>
          <a:noFill/>
          <a:ln>
            <a:noFill/>
          </a:ln>
        </p:spPr>
        <p:txBody>
          <a:bodyPr lIns="67225" tIns="67225" rIns="67225" bIns="67225" anchor="t" anchorCtr="0"/>
          <a:lstStyle>
            <a:lvl1pPr marL="0" marR="0" lvl="0" indent="0" algn="l" rtl="0">
              <a:spcBef>
                <a:spcPts val="0"/>
              </a:spcBef>
              <a:buNone/>
              <a:defRPr sz="1768" b="0" i="0" u="none" strike="noStrike" cap="none"/>
            </a:lvl1pPr>
            <a:lvl2pPr marL="449039" marR="0" lvl="1" indent="0" algn="l" rtl="0">
              <a:spcBef>
                <a:spcPts val="0"/>
              </a:spcBef>
              <a:buNone/>
              <a:defRPr sz="1768" b="0" i="0" u="none" strike="noStrike" cap="none"/>
            </a:lvl2pPr>
            <a:lvl3pPr marL="915349" marR="0" lvl="2" indent="0" algn="l" rtl="0">
              <a:spcBef>
                <a:spcPts val="0"/>
              </a:spcBef>
              <a:buNone/>
              <a:defRPr sz="1768" b="0" i="0" u="none" strike="noStrike" cap="none"/>
            </a:lvl3pPr>
            <a:lvl4pPr marL="1364388" marR="0" lvl="3" indent="0" algn="l" rtl="0">
              <a:spcBef>
                <a:spcPts val="0"/>
              </a:spcBef>
              <a:buNone/>
              <a:defRPr sz="1768" b="0" i="0" u="none" strike="noStrike" cap="none"/>
            </a:lvl4pPr>
            <a:lvl5pPr marL="1830697" marR="0" lvl="4" indent="0" algn="l" rtl="0">
              <a:spcBef>
                <a:spcPts val="0"/>
              </a:spcBef>
              <a:buNone/>
              <a:defRPr sz="1768" b="0" i="0" u="none" strike="noStrike" cap="none"/>
            </a:lvl5pPr>
            <a:lvl6pPr marL="2279736" marR="0" lvl="5" indent="0" algn="l" rtl="0">
              <a:spcBef>
                <a:spcPts val="0"/>
              </a:spcBef>
              <a:buNone/>
              <a:defRPr sz="1768" b="0" i="0" u="none" strike="noStrike" cap="none"/>
            </a:lvl6pPr>
            <a:lvl7pPr marL="2746046" marR="0" lvl="6" indent="0" algn="l" rtl="0">
              <a:spcBef>
                <a:spcPts val="0"/>
              </a:spcBef>
              <a:buNone/>
              <a:defRPr sz="1768" b="0" i="0" u="none" strike="noStrike" cap="none"/>
            </a:lvl7pPr>
            <a:lvl8pPr marL="3195085" marR="0" lvl="7" indent="0" algn="l" rtl="0">
              <a:spcBef>
                <a:spcPts val="0"/>
              </a:spcBef>
              <a:buNone/>
              <a:defRPr sz="1768" b="0" i="0" u="none" strike="noStrike" cap="none"/>
            </a:lvl8pPr>
            <a:lvl9pPr marL="3661395" marR="0" lvl="8" indent="0" algn="l" rtl="0">
              <a:spcBef>
                <a:spcPts val="0"/>
              </a:spcBef>
              <a:buNone/>
              <a:defRPr sz="1768" b="0" i="0" u="none" strike="noStrike" cap="none"/>
            </a:lvl9pPr>
          </a:lstStyle>
          <a:p>
            <a:endParaRPr/>
          </a:p>
        </p:txBody>
      </p:sp>
      <p:sp>
        <p:nvSpPr>
          <p:cNvPr id="91" name="Shape 91"/>
          <p:cNvSpPr txBox="1">
            <a:spLocks noGrp="1"/>
          </p:cNvSpPr>
          <p:nvPr>
            <p:ph type="body" idx="3"/>
          </p:nvPr>
        </p:nvSpPr>
        <p:spPr>
          <a:xfrm>
            <a:off x="6356879" y="3755520"/>
            <a:ext cx="5461359" cy="1934559"/>
          </a:xfrm>
          <a:prstGeom prst="rect">
            <a:avLst/>
          </a:prstGeom>
          <a:noFill/>
          <a:ln>
            <a:noFill/>
          </a:ln>
        </p:spPr>
        <p:txBody>
          <a:bodyPr lIns="67225" tIns="67225" rIns="67225" bIns="67225" anchor="t" anchorCtr="0"/>
          <a:lstStyle>
            <a:lvl1pPr marL="0" marR="0" lvl="0" indent="0" algn="l" rtl="0">
              <a:spcBef>
                <a:spcPts val="0"/>
              </a:spcBef>
              <a:buNone/>
              <a:defRPr sz="1768" b="0" i="0" u="none" strike="noStrike" cap="none"/>
            </a:lvl1pPr>
            <a:lvl2pPr marL="449039" marR="0" lvl="1" indent="0" algn="l" rtl="0">
              <a:spcBef>
                <a:spcPts val="0"/>
              </a:spcBef>
              <a:buNone/>
              <a:defRPr sz="1768" b="0" i="0" u="none" strike="noStrike" cap="none"/>
            </a:lvl2pPr>
            <a:lvl3pPr marL="915349" marR="0" lvl="2" indent="0" algn="l" rtl="0">
              <a:spcBef>
                <a:spcPts val="0"/>
              </a:spcBef>
              <a:buNone/>
              <a:defRPr sz="1768" b="0" i="0" u="none" strike="noStrike" cap="none"/>
            </a:lvl3pPr>
            <a:lvl4pPr marL="1364388" marR="0" lvl="3" indent="0" algn="l" rtl="0">
              <a:spcBef>
                <a:spcPts val="0"/>
              </a:spcBef>
              <a:buNone/>
              <a:defRPr sz="1768" b="0" i="0" u="none" strike="noStrike" cap="none"/>
            </a:lvl4pPr>
            <a:lvl5pPr marL="1830697" marR="0" lvl="4" indent="0" algn="l" rtl="0">
              <a:spcBef>
                <a:spcPts val="0"/>
              </a:spcBef>
              <a:buNone/>
              <a:defRPr sz="1768" b="0" i="0" u="none" strike="noStrike" cap="none"/>
            </a:lvl5pPr>
            <a:lvl6pPr marL="2279736" marR="0" lvl="5" indent="0" algn="l" rtl="0">
              <a:spcBef>
                <a:spcPts val="0"/>
              </a:spcBef>
              <a:buNone/>
              <a:defRPr sz="1768" b="0" i="0" u="none" strike="noStrike" cap="none"/>
            </a:lvl6pPr>
            <a:lvl7pPr marL="2746046" marR="0" lvl="6" indent="0" algn="l" rtl="0">
              <a:spcBef>
                <a:spcPts val="0"/>
              </a:spcBef>
              <a:buNone/>
              <a:defRPr sz="1768" b="0" i="0" u="none" strike="noStrike" cap="none"/>
            </a:lvl7pPr>
            <a:lvl8pPr marL="3195085" marR="0" lvl="7" indent="0" algn="l" rtl="0">
              <a:spcBef>
                <a:spcPts val="0"/>
              </a:spcBef>
              <a:buNone/>
              <a:defRPr sz="1768" b="0" i="0" u="none" strike="noStrike" cap="none"/>
            </a:lvl8pPr>
            <a:lvl9pPr marL="3661395" marR="0" lvl="8" indent="0" algn="l" rtl="0">
              <a:spcBef>
                <a:spcPts val="0"/>
              </a:spcBef>
              <a:buNone/>
              <a:defRPr sz="1768" b="0" i="0" u="none" strike="noStrike" cap="none"/>
            </a:lvl9pPr>
          </a:lstStyle>
          <a:p>
            <a:endParaRPr/>
          </a:p>
        </p:txBody>
      </p:sp>
    </p:spTree>
    <p:extLst>
      <p:ext uri="{BB962C8B-B14F-4D97-AF65-F5344CB8AC3E}">
        <p14:creationId xmlns:p14="http://schemas.microsoft.com/office/powerpoint/2010/main" val="3598708771"/>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woObjOverTx">
  <p:cSld name="Title, 2 Content over Content">
    <p:spTree>
      <p:nvGrpSpPr>
        <p:cNvPr id="1" name="Shape 92"/>
        <p:cNvGrpSpPr/>
        <p:nvPr/>
      </p:nvGrpSpPr>
      <p:grpSpPr>
        <a:xfrm>
          <a:off x="0" y="0"/>
          <a:ext cx="0" cy="0"/>
          <a:chOff x="0" y="0"/>
          <a:chExt cx="0" cy="0"/>
        </a:xfrm>
      </p:grpSpPr>
      <p:sp>
        <p:nvSpPr>
          <p:cNvPr id="93" name="Shape 93"/>
          <p:cNvSpPr txBox="1">
            <a:spLocks noGrp="1"/>
          </p:cNvSpPr>
          <p:nvPr>
            <p:ph type="title"/>
          </p:nvPr>
        </p:nvSpPr>
        <p:spPr>
          <a:xfrm>
            <a:off x="621719" y="278999"/>
            <a:ext cx="11192419" cy="1167590"/>
          </a:xfrm>
          <a:prstGeom prst="rect">
            <a:avLst/>
          </a:prstGeom>
          <a:noFill/>
          <a:ln>
            <a:noFill/>
          </a:ln>
        </p:spPr>
        <p:txBody>
          <a:bodyPr lIns="67225" tIns="67225" rIns="67225" bIns="67225" anchor="ctr" anchorCtr="0"/>
          <a:lstStyle>
            <a:lvl1pPr marL="0" marR="0" lvl="0" indent="0" algn="l" rtl="0">
              <a:spcBef>
                <a:spcPts val="0"/>
              </a:spcBef>
              <a:buNone/>
              <a:defRPr sz="1768" b="0" i="0" u="none" strike="noStrike" cap="none"/>
            </a:lvl1pPr>
            <a:lvl2pPr marL="0" marR="0" lvl="1" indent="0" algn="l" rtl="0">
              <a:spcBef>
                <a:spcPts val="0"/>
              </a:spcBef>
              <a:buNone/>
              <a:defRPr sz="1768" b="0" i="0" u="none" strike="noStrike" cap="none"/>
            </a:lvl2pPr>
            <a:lvl3pPr marL="0" marR="0" lvl="2" indent="0" algn="l" rtl="0">
              <a:spcBef>
                <a:spcPts val="0"/>
              </a:spcBef>
              <a:buNone/>
              <a:defRPr sz="1768" b="0" i="0" u="none" strike="noStrike" cap="none"/>
            </a:lvl3pPr>
            <a:lvl4pPr marL="0" marR="0" lvl="3" indent="0" algn="l" rtl="0">
              <a:spcBef>
                <a:spcPts val="0"/>
              </a:spcBef>
              <a:buNone/>
              <a:defRPr sz="1768" b="0" i="0" u="none" strike="noStrike" cap="none"/>
            </a:lvl4pPr>
            <a:lvl5pPr marL="0" marR="0" lvl="4" indent="0" algn="l" rtl="0">
              <a:spcBef>
                <a:spcPts val="0"/>
              </a:spcBef>
              <a:buNone/>
              <a:defRPr sz="1768" b="0" i="0" u="none" strike="noStrike" cap="none"/>
            </a:lvl5pPr>
            <a:lvl6pPr marL="0" marR="0" lvl="5" indent="0" algn="l" rtl="0">
              <a:spcBef>
                <a:spcPts val="0"/>
              </a:spcBef>
              <a:buNone/>
              <a:defRPr sz="1768" b="0" i="0" u="none" strike="noStrike" cap="none"/>
            </a:lvl6pPr>
            <a:lvl7pPr marL="0" marR="0" lvl="6" indent="0" algn="l" rtl="0">
              <a:spcBef>
                <a:spcPts val="0"/>
              </a:spcBef>
              <a:buNone/>
              <a:defRPr sz="1768" b="0" i="0" u="none" strike="noStrike" cap="none"/>
            </a:lvl7pPr>
            <a:lvl8pPr marL="0" marR="0" lvl="7" indent="0" algn="l" rtl="0">
              <a:spcBef>
                <a:spcPts val="0"/>
              </a:spcBef>
              <a:buNone/>
              <a:defRPr sz="1768" b="0" i="0" u="none" strike="noStrike" cap="none"/>
            </a:lvl8pPr>
            <a:lvl9pPr marL="0" marR="0" lvl="8" indent="0" algn="l" rtl="0">
              <a:spcBef>
                <a:spcPts val="0"/>
              </a:spcBef>
              <a:buNone/>
              <a:defRPr sz="1768" b="0" i="0" u="none" strike="noStrike" cap="none"/>
            </a:lvl9pPr>
          </a:lstStyle>
          <a:p>
            <a:endParaRPr/>
          </a:p>
        </p:txBody>
      </p:sp>
      <p:sp>
        <p:nvSpPr>
          <p:cNvPr id="94" name="Shape 94"/>
          <p:cNvSpPr txBox="1">
            <a:spLocks noGrp="1"/>
          </p:cNvSpPr>
          <p:nvPr>
            <p:ph type="body" idx="1"/>
          </p:nvPr>
        </p:nvSpPr>
        <p:spPr>
          <a:xfrm>
            <a:off x="621719" y="1636560"/>
            <a:ext cx="5461359" cy="1934559"/>
          </a:xfrm>
          <a:prstGeom prst="rect">
            <a:avLst/>
          </a:prstGeom>
          <a:noFill/>
          <a:ln>
            <a:noFill/>
          </a:ln>
        </p:spPr>
        <p:txBody>
          <a:bodyPr lIns="67225" tIns="67225" rIns="67225" bIns="67225" anchor="t" anchorCtr="0"/>
          <a:lstStyle>
            <a:lvl1pPr marL="0" marR="0" lvl="0" indent="0" algn="l" rtl="0">
              <a:spcBef>
                <a:spcPts val="0"/>
              </a:spcBef>
              <a:buNone/>
              <a:defRPr sz="1768" b="0" i="0" u="none" strike="noStrike" cap="none"/>
            </a:lvl1pPr>
            <a:lvl2pPr marL="449039" marR="0" lvl="1" indent="0" algn="l" rtl="0">
              <a:spcBef>
                <a:spcPts val="0"/>
              </a:spcBef>
              <a:buNone/>
              <a:defRPr sz="1768" b="0" i="0" u="none" strike="noStrike" cap="none"/>
            </a:lvl2pPr>
            <a:lvl3pPr marL="915349" marR="0" lvl="2" indent="0" algn="l" rtl="0">
              <a:spcBef>
                <a:spcPts val="0"/>
              </a:spcBef>
              <a:buNone/>
              <a:defRPr sz="1768" b="0" i="0" u="none" strike="noStrike" cap="none"/>
            </a:lvl3pPr>
            <a:lvl4pPr marL="1364388" marR="0" lvl="3" indent="0" algn="l" rtl="0">
              <a:spcBef>
                <a:spcPts val="0"/>
              </a:spcBef>
              <a:buNone/>
              <a:defRPr sz="1768" b="0" i="0" u="none" strike="noStrike" cap="none"/>
            </a:lvl4pPr>
            <a:lvl5pPr marL="1830697" marR="0" lvl="4" indent="0" algn="l" rtl="0">
              <a:spcBef>
                <a:spcPts val="0"/>
              </a:spcBef>
              <a:buNone/>
              <a:defRPr sz="1768" b="0" i="0" u="none" strike="noStrike" cap="none"/>
            </a:lvl5pPr>
            <a:lvl6pPr marL="2279736" marR="0" lvl="5" indent="0" algn="l" rtl="0">
              <a:spcBef>
                <a:spcPts val="0"/>
              </a:spcBef>
              <a:buNone/>
              <a:defRPr sz="1768" b="0" i="0" u="none" strike="noStrike" cap="none"/>
            </a:lvl6pPr>
            <a:lvl7pPr marL="2746046" marR="0" lvl="6" indent="0" algn="l" rtl="0">
              <a:spcBef>
                <a:spcPts val="0"/>
              </a:spcBef>
              <a:buNone/>
              <a:defRPr sz="1768" b="0" i="0" u="none" strike="noStrike" cap="none"/>
            </a:lvl7pPr>
            <a:lvl8pPr marL="3195085" marR="0" lvl="7" indent="0" algn="l" rtl="0">
              <a:spcBef>
                <a:spcPts val="0"/>
              </a:spcBef>
              <a:buNone/>
              <a:defRPr sz="1768" b="0" i="0" u="none" strike="noStrike" cap="none"/>
            </a:lvl8pPr>
            <a:lvl9pPr marL="3661395" marR="0" lvl="8" indent="0" algn="l" rtl="0">
              <a:spcBef>
                <a:spcPts val="0"/>
              </a:spcBef>
              <a:buNone/>
              <a:defRPr sz="1768" b="0" i="0" u="none" strike="noStrike" cap="none"/>
            </a:lvl9pPr>
          </a:lstStyle>
          <a:p>
            <a:endParaRPr/>
          </a:p>
        </p:txBody>
      </p:sp>
      <p:sp>
        <p:nvSpPr>
          <p:cNvPr id="95" name="Shape 95"/>
          <p:cNvSpPr txBox="1">
            <a:spLocks noGrp="1"/>
          </p:cNvSpPr>
          <p:nvPr>
            <p:ph type="body" idx="2"/>
          </p:nvPr>
        </p:nvSpPr>
        <p:spPr>
          <a:xfrm>
            <a:off x="6356879" y="1636560"/>
            <a:ext cx="5461359" cy="1934559"/>
          </a:xfrm>
          <a:prstGeom prst="rect">
            <a:avLst/>
          </a:prstGeom>
          <a:noFill/>
          <a:ln>
            <a:noFill/>
          </a:ln>
        </p:spPr>
        <p:txBody>
          <a:bodyPr lIns="67225" tIns="67225" rIns="67225" bIns="67225" anchor="t" anchorCtr="0"/>
          <a:lstStyle>
            <a:lvl1pPr marL="0" marR="0" lvl="0" indent="0" algn="l" rtl="0">
              <a:spcBef>
                <a:spcPts val="0"/>
              </a:spcBef>
              <a:buNone/>
              <a:defRPr sz="1768" b="0" i="0" u="none" strike="noStrike" cap="none"/>
            </a:lvl1pPr>
            <a:lvl2pPr marL="449039" marR="0" lvl="1" indent="0" algn="l" rtl="0">
              <a:spcBef>
                <a:spcPts val="0"/>
              </a:spcBef>
              <a:buNone/>
              <a:defRPr sz="1768" b="0" i="0" u="none" strike="noStrike" cap="none"/>
            </a:lvl2pPr>
            <a:lvl3pPr marL="915349" marR="0" lvl="2" indent="0" algn="l" rtl="0">
              <a:spcBef>
                <a:spcPts val="0"/>
              </a:spcBef>
              <a:buNone/>
              <a:defRPr sz="1768" b="0" i="0" u="none" strike="noStrike" cap="none"/>
            </a:lvl3pPr>
            <a:lvl4pPr marL="1364388" marR="0" lvl="3" indent="0" algn="l" rtl="0">
              <a:spcBef>
                <a:spcPts val="0"/>
              </a:spcBef>
              <a:buNone/>
              <a:defRPr sz="1768" b="0" i="0" u="none" strike="noStrike" cap="none"/>
            </a:lvl4pPr>
            <a:lvl5pPr marL="1830697" marR="0" lvl="4" indent="0" algn="l" rtl="0">
              <a:spcBef>
                <a:spcPts val="0"/>
              </a:spcBef>
              <a:buNone/>
              <a:defRPr sz="1768" b="0" i="0" u="none" strike="noStrike" cap="none"/>
            </a:lvl5pPr>
            <a:lvl6pPr marL="2279736" marR="0" lvl="5" indent="0" algn="l" rtl="0">
              <a:spcBef>
                <a:spcPts val="0"/>
              </a:spcBef>
              <a:buNone/>
              <a:defRPr sz="1768" b="0" i="0" u="none" strike="noStrike" cap="none"/>
            </a:lvl6pPr>
            <a:lvl7pPr marL="2746046" marR="0" lvl="6" indent="0" algn="l" rtl="0">
              <a:spcBef>
                <a:spcPts val="0"/>
              </a:spcBef>
              <a:buNone/>
              <a:defRPr sz="1768" b="0" i="0" u="none" strike="noStrike" cap="none"/>
            </a:lvl7pPr>
            <a:lvl8pPr marL="3195085" marR="0" lvl="7" indent="0" algn="l" rtl="0">
              <a:spcBef>
                <a:spcPts val="0"/>
              </a:spcBef>
              <a:buNone/>
              <a:defRPr sz="1768" b="0" i="0" u="none" strike="noStrike" cap="none"/>
            </a:lvl8pPr>
            <a:lvl9pPr marL="3661395" marR="0" lvl="8" indent="0" algn="l" rtl="0">
              <a:spcBef>
                <a:spcPts val="0"/>
              </a:spcBef>
              <a:buNone/>
              <a:defRPr sz="1768" b="0" i="0" u="none" strike="noStrike" cap="none"/>
            </a:lvl9pPr>
          </a:lstStyle>
          <a:p>
            <a:endParaRPr/>
          </a:p>
        </p:txBody>
      </p:sp>
      <p:sp>
        <p:nvSpPr>
          <p:cNvPr id="96" name="Shape 96"/>
          <p:cNvSpPr txBox="1">
            <a:spLocks noGrp="1"/>
          </p:cNvSpPr>
          <p:nvPr>
            <p:ph type="body" idx="3"/>
          </p:nvPr>
        </p:nvSpPr>
        <p:spPr>
          <a:xfrm>
            <a:off x="621719" y="3755520"/>
            <a:ext cx="11192419" cy="1934559"/>
          </a:xfrm>
          <a:prstGeom prst="rect">
            <a:avLst/>
          </a:prstGeom>
          <a:noFill/>
          <a:ln>
            <a:noFill/>
          </a:ln>
        </p:spPr>
        <p:txBody>
          <a:bodyPr lIns="67225" tIns="67225" rIns="67225" bIns="67225" anchor="t" anchorCtr="0"/>
          <a:lstStyle>
            <a:lvl1pPr marL="0" marR="0" lvl="0" indent="0" algn="l" rtl="0">
              <a:spcBef>
                <a:spcPts val="0"/>
              </a:spcBef>
              <a:buNone/>
              <a:defRPr sz="1768" b="0" i="0" u="none" strike="noStrike" cap="none"/>
            </a:lvl1pPr>
            <a:lvl2pPr marL="449039" marR="0" lvl="1" indent="0" algn="l" rtl="0">
              <a:spcBef>
                <a:spcPts val="0"/>
              </a:spcBef>
              <a:buNone/>
              <a:defRPr sz="1768" b="0" i="0" u="none" strike="noStrike" cap="none"/>
            </a:lvl2pPr>
            <a:lvl3pPr marL="915349" marR="0" lvl="2" indent="0" algn="l" rtl="0">
              <a:spcBef>
                <a:spcPts val="0"/>
              </a:spcBef>
              <a:buNone/>
              <a:defRPr sz="1768" b="0" i="0" u="none" strike="noStrike" cap="none"/>
            </a:lvl3pPr>
            <a:lvl4pPr marL="1364388" marR="0" lvl="3" indent="0" algn="l" rtl="0">
              <a:spcBef>
                <a:spcPts val="0"/>
              </a:spcBef>
              <a:buNone/>
              <a:defRPr sz="1768" b="0" i="0" u="none" strike="noStrike" cap="none"/>
            </a:lvl4pPr>
            <a:lvl5pPr marL="1830697" marR="0" lvl="4" indent="0" algn="l" rtl="0">
              <a:spcBef>
                <a:spcPts val="0"/>
              </a:spcBef>
              <a:buNone/>
              <a:defRPr sz="1768" b="0" i="0" u="none" strike="noStrike" cap="none"/>
            </a:lvl5pPr>
            <a:lvl6pPr marL="2279736" marR="0" lvl="5" indent="0" algn="l" rtl="0">
              <a:spcBef>
                <a:spcPts val="0"/>
              </a:spcBef>
              <a:buNone/>
              <a:defRPr sz="1768" b="0" i="0" u="none" strike="noStrike" cap="none"/>
            </a:lvl6pPr>
            <a:lvl7pPr marL="2746046" marR="0" lvl="6" indent="0" algn="l" rtl="0">
              <a:spcBef>
                <a:spcPts val="0"/>
              </a:spcBef>
              <a:buNone/>
              <a:defRPr sz="1768" b="0" i="0" u="none" strike="noStrike" cap="none"/>
            </a:lvl7pPr>
            <a:lvl8pPr marL="3195085" marR="0" lvl="7" indent="0" algn="l" rtl="0">
              <a:spcBef>
                <a:spcPts val="0"/>
              </a:spcBef>
              <a:buNone/>
              <a:defRPr sz="1768" b="0" i="0" u="none" strike="noStrike" cap="none"/>
            </a:lvl8pPr>
            <a:lvl9pPr marL="3661395" marR="0" lvl="8" indent="0" algn="l" rtl="0">
              <a:spcBef>
                <a:spcPts val="0"/>
              </a:spcBef>
              <a:buNone/>
              <a:defRPr sz="1768" b="0" i="0" u="none" strike="noStrike" cap="none"/>
            </a:lvl9pPr>
          </a:lstStyle>
          <a:p>
            <a:endParaRPr/>
          </a:p>
        </p:txBody>
      </p:sp>
    </p:spTree>
    <p:extLst>
      <p:ext uri="{BB962C8B-B14F-4D97-AF65-F5344CB8AC3E}">
        <p14:creationId xmlns:p14="http://schemas.microsoft.com/office/powerpoint/2010/main" val="321230569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objOverTx">
  <p:cSld name="Title, Content over Content">
    <p:spTree>
      <p:nvGrpSpPr>
        <p:cNvPr id="1" name="Shape 97"/>
        <p:cNvGrpSpPr/>
        <p:nvPr/>
      </p:nvGrpSpPr>
      <p:grpSpPr>
        <a:xfrm>
          <a:off x="0" y="0"/>
          <a:ext cx="0" cy="0"/>
          <a:chOff x="0" y="0"/>
          <a:chExt cx="0" cy="0"/>
        </a:xfrm>
      </p:grpSpPr>
      <p:sp>
        <p:nvSpPr>
          <p:cNvPr id="98" name="Shape 98"/>
          <p:cNvSpPr txBox="1">
            <a:spLocks noGrp="1"/>
          </p:cNvSpPr>
          <p:nvPr>
            <p:ph type="title"/>
          </p:nvPr>
        </p:nvSpPr>
        <p:spPr>
          <a:xfrm>
            <a:off x="621719" y="278999"/>
            <a:ext cx="11192419" cy="1167590"/>
          </a:xfrm>
          <a:prstGeom prst="rect">
            <a:avLst/>
          </a:prstGeom>
          <a:noFill/>
          <a:ln>
            <a:noFill/>
          </a:ln>
        </p:spPr>
        <p:txBody>
          <a:bodyPr lIns="67225" tIns="67225" rIns="67225" bIns="67225" anchor="ctr" anchorCtr="0"/>
          <a:lstStyle>
            <a:lvl1pPr marL="0" marR="0" lvl="0" indent="0" algn="l" rtl="0">
              <a:spcBef>
                <a:spcPts val="0"/>
              </a:spcBef>
              <a:buNone/>
              <a:defRPr sz="1768" b="0" i="0" u="none" strike="noStrike" cap="none"/>
            </a:lvl1pPr>
            <a:lvl2pPr marL="0" marR="0" lvl="1" indent="0" algn="l" rtl="0">
              <a:spcBef>
                <a:spcPts val="0"/>
              </a:spcBef>
              <a:buNone/>
              <a:defRPr sz="1768" b="0" i="0" u="none" strike="noStrike" cap="none"/>
            </a:lvl2pPr>
            <a:lvl3pPr marL="0" marR="0" lvl="2" indent="0" algn="l" rtl="0">
              <a:spcBef>
                <a:spcPts val="0"/>
              </a:spcBef>
              <a:buNone/>
              <a:defRPr sz="1768" b="0" i="0" u="none" strike="noStrike" cap="none"/>
            </a:lvl3pPr>
            <a:lvl4pPr marL="0" marR="0" lvl="3" indent="0" algn="l" rtl="0">
              <a:spcBef>
                <a:spcPts val="0"/>
              </a:spcBef>
              <a:buNone/>
              <a:defRPr sz="1768" b="0" i="0" u="none" strike="noStrike" cap="none"/>
            </a:lvl4pPr>
            <a:lvl5pPr marL="0" marR="0" lvl="4" indent="0" algn="l" rtl="0">
              <a:spcBef>
                <a:spcPts val="0"/>
              </a:spcBef>
              <a:buNone/>
              <a:defRPr sz="1768" b="0" i="0" u="none" strike="noStrike" cap="none"/>
            </a:lvl5pPr>
            <a:lvl6pPr marL="0" marR="0" lvl="5" indent="0" algn="l" rtl="0">
              <a:spcBef>
                <a:spcPts val="0"/>
              </a:spcBef>
              <a:buNone/>
              <a:defRPr sz="1768" b="0" i="0" u="none" strike="noStrike" cap="none"/>
            </a:lvl6pPr>
            <a:lvl7pPr marL="0" marR="0" lvl="6" indent="0" algn="l" rtl="0">
              <a:spcBef>
                <a:spcPts val="0"/>
              </a:spcBef>
              <a:buNone/>
              <a:defRPr sz="1768" b="0" i="0" u="none" strike="noStrike" cap="none"/>
            </a:lvl7pPr>
            <a:lvl8pPr marL="0" marR="0" lvl="7" indent="0" algn="l" rtl="0">
              <a:spcBef>
                <a:spcPts val="0"/>
              </a:spcBef>
              <a:buNone/>
              <a:defRPr sz="1768" b="0" i="0" u="none" strike="noStrike" cap="none"/>
            </a:lvl8pPr>
            <a:lvl9pPr marL="0" marR="0" lvl="8" indent="0" algn="l" rtl="0">
              <a:spcBef>
                <a:spcPts val="0"/>
              </a:spcBef>
              <a:buNone/>
              <a:defRPr sz="1768" b="0" i="0" u="none" strike="noStrike" cap="none"/>
            </a:lvl9pPr>
          </a:lstStyle>
          <a:p>
            <a:endParaRPr/>
          </a:p>
        </p:txBody>
      </p:sp>
      <p:sp>
        <p:nvSpPr>
          <p:cNvPr id="99" name="Shape 99"/>
          <p:cNvSpPr txBox="1">
            <a:spLocks noGrp="1"/>
          </p:cNvSpPr>
          <p:nvPr>
            <p:ph type="body" idx="1"/>
          </p:nvPr>
        </p:nvSpPr>
        <p:spPr>
          <a:xfrm>
            <a:off x="621719" y="1636560"/>
            <a:ext cx="11192419" cy="1934559"/>
          </a:xfrm>
          <a:prstGeom prst="rect">
            <a:avLst/>
          </a:prstGeom>
          <a:noFill/>
          <a:ln>
            <a:noFill/>
          </a:ln>
        </p:spPr>
        <p:txBody>
          <a:bodyPr lIns="67225" tIns="67225" rIns="67225" bIns="67225" anchor="t" anchorCtr="0"/>
          <a:lstStyle>
            <a:lvl1pPr marL="0" marR="0" lvl="0" indent="0" algn="l" rtl="0">
              <a:spcBef>
                <a:spcPts val="0"/>
              </a:spcBef>
              <a:buNone/>
              <a:defRPr sz="1768" b="0" i="0" u="none" strike="noStrike" cap="none"/>
            </a:lvl1pPr>
            <a:lvl2pPr marL="449039" marR="0" lvl="1" indent="0" algn="l" rtl="0">
              <a:spcBef>
                <a:spcPts val="0"/>
              </a:spcBef>
              <a:buNone/>
              <a:defRPr sz="1768" b="0" i="0" u="none" strike="noStrike" cap="none"/>
            </a:lvl2pPr>
            <a:lvl3pPr marL="915349" marR="0" lvl="2" indent="0" algn="l" rtl="0">
              <a:spcBef>
                <a:spcPts val="0"/>
              </a:spcBef>
              <a:buNone/>
              <a:defRPr sz="1768" b="0" i="0" u="none" strike="noStrike" cap="none"/>
            </a:lvl3pPr>
            <a:lvl4pPr marL="1364388" marR="0" lvl="3" indent="0" algn="l" rtl="0">
              <a:spcBef>
                <a:spcPts val="0"/>
              </a:spcBef>
              <a:buNone/>
              <a:defRPr sz="1768" b="0" i="0" u="none" strike="noStrike" cap="none"/>
            </a:lvl4pPr>
            <a:lvl5pPr marL="1830697" marR="0" lvl="4" indent="0" algn="l" rtl="0">
              <a:spcBef>
                <a:spcPts val="0"/>
              </a:spcBef>
              <a:buNone/>
              <a:defRPr sz="1768" b="0" i="0" u="none" strike="noStrike" cap="none"/>
            </a:lvl5pPr>
            <a:lvl6pPr marL="2279736" marR="0" lvl="5" indent="0" algn="l" rtl="0">
              <a:spcBef>
                <a:spcPts val="0"/>
              </a:spcBef>
              <a:buNone/>
              <a:defRPr sz="1768" b="0" i="0" u="none" strike="noStrike" cap="none"/>
            </a:lvl6pPr>
            <a:lvl7pPr marL="2746046" marR="0" lvl="6" indent="0" algn="l" rtl="0">
              <a:spcBef>
                <a:spcPts val="0"/>
              </a:spcBef>
              <a:buNone/>
              <a:defRPr sz="1768" b="0" i="0" u="none" strike="noStrike" cap="none"/>
            </a:lvl7pPr>
            <a:lvl8pPr marL="3195085" marR="0" lvl="7" indent="0" algn="l" rtl="0">
              <a:spcBef>
                <a:spcPts val="0"/>
              </a:spcBef>
              <a:buNone/>
              <a:defRPr sz="1768" b="0" i="0" u="none" strike="noStrike" cap="none"/>
            </a:lvl8pPr>
            <a:lvl9pPr marL="3661395" marR="0" lvl="8" indent="0" algn="l" rtl="0">
              <a:spcBef>
                <a:spcPts val="0"/>
              </a:spcBef>
              <a:buNone/>
              <a:defRPr sz="1768" b="0" i="0" u="none" strike="noStrike" cap="none"/>
            </a:lvl9pPr>
          </a:lstStyle>
          <a:p>
            <a:endParaRPr/>
          </a:p>
        </p:txBody>
      </p:sp>
      <p:sp>
        <p:nvSpPr>
          <p:cNvPr id="100" name="Shape 100"/>
          <p:cNvSpPr txBox="1">
            <a:spLocks noGrp="1"/>
          </p:cNvSpPr>
          <p:nvPr>
            <p:ph type="body" idx="2"/>
          </p:nvPr>
        </p:nvSpPr>
        <p:spPr>
          <a:xfrm>
            <a:off x="621719" y="3755520"/>
            <a:ext cx="11192419" cy="1934559"/>
          </a:xfrm>
          <a:prstGeom prst="rect">
            <a:avLst/>
          </a:prstGeom>
          <a:noFill/>
          <a:ln>
            <a:noFill/>
          </a:ln>
        </p:spPr>
        <p:txBody>
          <a:bodyPr lIns="67225" tIns="67225" rIns="67225" bIns="67225" anchor="t" anchorCtr="0"/>
          <a:lstStyle>
            <a:lvl1pPr marL="0" marR="0" lvl="0" indent="0" algn="l" rtl="0">
              <a:spcBef>
                <a:spcPts val="0"/>
              </a:spcBef>
              <a:buNone/>
              <a:defRPr sz="1768" b="0" i="0" u="none" strike="noStrike" cap="none"/>
            </a:lvl1pPr>
            <a:lvl2pPr marL="449039" marR="0" lvl="1" indent="0" algn="l" rtl="0">
              <a:spcBef>
                <a:spcPts val="0"/>
              </a:spcBef>
              <a:buNone/>
              <a:defRPr sz="1768" b="0" i="0" u="none" strike="noStrike" cap="none"/>
            </a:lvl2pPr>
            <a:lvl3pPr marL="915349" marR="0" lvl="2" indent="0" algn="l" rtl="0">
              <a:spcBef>
                <a:spcPts val="0"/>
              </a:spcBef>
              <a:buNone/>
              <a:defRPr sz="1768" b="0" i="0" u="none" strike="noStrike" cap="none"/>
            </a:lvl3pPr>
            <a:lvl4pPr marL="1364388" marR="0" lvl="3" indent="0" algn="l" rtl="0">
              <a:spcBef>
                <a:spcPts val="0"/>
              </a:spcBef>
              <a:buNone/>
              <a:defRPr sz="1768" b="0" i="0" u="none" strike="noStrike" cap="none"/>
            </a:lvl4pPr>
            <a:lvl5pPr marL="1830697" marR="0" lvl="4" indent="0" algn="l" rtl="0">
              <a:spcBef>
                <a:spcPts val="0"/>
              </a:spcBef>
              <a:buNone/>
              <a:defRPr sz="1768" b="0" i="0" u="none" strike="noStrike" cap="none"/>
            </a:lvl5pPr>
            <a:lvl6pPr marL="2279736" marR="0" lvl="5" indent="0" algn="l" rtl="0">
              <a:spcBef>
                <a:spcPts val="0"/>
              </a:spcBef>
              <a:buNone/>
              <a:defRPr sz="1768" b="0" i="0" u="none" strike="noStrike" cap="none"/>
            </a:lvl6pPr>
            <a:lvl7pPr marL="2746046" marR="0" lvl="6" indent="0" algn="l" rtl="0">
              <a:spcBef>
                <a:spcPts val="0"/>
              </a:spcBef>
              <a:buNone/>
              <a:defRPr sz="1768" b="0" i="0" u="none" strike="noStrike" cap="none"/>
            </a:lvl7pPr>
            <a:lvl8pPr marL="3195085" marR="0" lvl="7" indent="0" algn="l" rtl="0">
              <a:spcBef>
                <a:spcPts val="0"/>
              </a:spcBef>
              <a:buNone/>
              <a:defRPr sz="1768" b="0" i="0" u="none" strike="noStrike" cap="none"/>
            </a:lvl8pPr>
            <a:lvl9pPr marL="3661395" marR="0" lvl="8" indent="0" algn="l" rtl="0">
              <a:spcBef>
                <a:spcPts val="0"/>
              </a:spcBef>
              <a:buNone/>
              <a:defRPr sz="1768" b="0" i="0" u="none" strike="noStrike" cap="none"/>
            </a:lvl9pPr>
          </a:lstStyle>
          <a:p>
            <a:endParaRPr/>
          </a:p>
        </p:txBody>
      </p:sp>
    </p:spTree>
    <p:extLst>
      <p:ext uri="{BB962C8B-B14F-4D97-AF65-F5344CB8AC3E}">
        <p14:creationId xmlns:p14="http://schemas.microsoft.com/office/powerpoint/2010/main" val="276986893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fourObj">
  <p:cSld name="Title, 4 Content">
    <p:spTree>
      <p:nvGrpSpPr>
        <p:cNvPr id="1" name="Shape 101"/>
        <p:cNvGrpSpPr/>
        <p:nvPr/>
      </p:nvGrpSpPr>
      <p:grpSpPr>
        <a:xfrm>
          <a:off x="0" y="0"/>
          <a:ext cx="0" cy="0"/>
          <a:chOff x="0" y="0"/>
          <a:chExt cx="0" cy="0"/>
        </a:xfrm>
      </p:grpSpPr>
      <p:sp>
        <p:nvSpPr>
          <p:cNvPr id="102" name="Shape 102"/>
          <p:cNvSpPr txBox="1">
            <a:spLocks noGrp="1"/>
          </p:cNvSpPr>
          <p:nvPr>
            <p:ph type="title"/>
          </p:nvPr>
        </p:nvSpPr>
        <p:spPr>
          <a:xfrm>
            <a:off x="621719" y="278999"/>
            <a:ext cx="11192419" cy="1167590"/>
          </a:xfrm>
          <a:prstGeom prst="rect">
            <a:avLst/>
          </a:prstGeom>
          <a:noFill/>
          <a:ln>
            <a:noFill/>
          </a:ln>
        </p:spPr>
        <p:txBody>
          <a:bodyPr lIns="67225" tIns="67225" rIns="67225" bIns="67225" anchor="ctr" anchorCtr="0"/>
          <a:lstStyle>
            <a:lvl1pPr marL="0" marR="0" lvl="0" indent="0" algn="l" rtl="0">
              <a:spcBef>
                <a:spcPts val="0"/>
              </a:spcBef>
              <a:buNone/>
              <a:defRPr sz="1768" b="0" i="0" u="none" strike="noStrike" cap="none"/>
            </a:lvl1pPr>
            <a:lvl2pPr marL="0" marR="0" lvl="1" indent="0" algn="l" rtl="0">
              <a:spcBef>
                <a:spcPts val="0"/>
              </a:spcBef>
              <a:buNone/>
              <a:defRPr sz="1768" b="0" i="0" u="none" strike="noStrike" cap="none"/>
            </a:lvl2pPr>
            <a:lvl3pPr marL="0" marR="0" lvl="2" indent="0" algn="l" rtl="0">
              <a:spcBef>
                <a:spcPts val="0"/>
              </a:spcBef>
              <a:buNone/>
              <a:defRPr sz="1768" b="0" i="0" u="none" strike="noStrike" cap="none"/>
            </a:lvl3pPr>
            <a:lvl4pPr marL="0" marR="0" lvl="3" indent="0" algn="l" rtl="0">
              <a:spcBef>
                <a:spcPts val="0"/>
              </a:spcBef>
              <a:buNone/>
              <a:defRPr sz="1768" b="0" i="0" u="none" strike="noStrike" cap="none"/>
            </a:lvl4pPr>
            <a:lvl5pPr marL="0" marR="0" lvl="4" indent="0" algn="l" rtl="0">
              <a:spcBef>
                <a:spcPts val="0"/>
              </a:spcBef>
              <a:buNone/>
              <a:defRPr sz="1768" b="0" i="0" u="none" strike="noStrike" cap="none"/>
            </a:lvl5pPr>
            <a:lvl6pPr marL="0" marR="0" lvl="5" indent="0" algn="l" rtl="0">
              <a:spcBef>
                <a:spcPts val="0"/>
              </a:spcBef>
              <a:buNone/>
              <a:defRPr sz="1768" b="0" i="0" u="none" strike="noStrike" cap="none"/>
            </a:lvl6pPr>
            <a:lvl7pPr marL="0" marR="0" lvl="6" indent="0" algn="l" rtl="0">
              <a:spcBef>
                <a:spcPts val="0"/>
              </a:spcBef>
              <a:buNone/>
              <a:defRPr sz="1768" b="0" i="0" u="none" strike="noStrike" cap="none"/>
            </a:lvl7pPr>
            <a:lvl8pPr marL="0" marR="0" lvl="7" indent="0" algn="l" rtl="0">
              <a:spcBef>
                <a:spcPts val="0"/>
              </a:spcBef>
              <a:buNone/>
              <a:defRPr sz="1768" b="0" i="0" u="none" strike="noStrike" cap="none"/>
            </a:lvl8pPr>
            <a:lvl9pPr marL="0" marR="0" lvl="8" indent="0" algn="l" rtl="0">
              <a:spcBef>
                <a:spcPts val="0"/>
              </a:spcBef>
              <a:buNone/>
              <a:defRPr sz="1768" b="0" i="0" u="none" strike="noStrike" cap="none"/>
            </a:lvl9pPr>
          </a:lstStyle>
          <a:p>
            <a:endParaRPr/>
          </a:p>
        </p:txBody>
      </p:sp>
      <p:sp>
        <p:nvSpPr>
          <p:cNvPr id="103" name="Shape 103"/>
          <p:cNvSpPr txBox="1">
            <a:spLocks noGrp="1"/>
          </p:cNvSpPr>
          <p:nvPr>
            <p:ph type="body" idx="1"/>
          </p:nvPr>
        </p:nvSpPr>
        <p:spPr>
          <a:xfrm>
            <a:off x="621719" y="1636560"/>
            <a:ext cx="5461359" cy="1934559"/>
          </a:xfrm>
          <a:prstGeom prst="rect">
            <a:avLst/>
          </a:prstGeom>
          <a:noFill/>
          <a:ln>
            <a:noFill/>
          </a:ln>
        </p:spPr>
        <p:txBody>
          <a:bodyPr lIns="67225" tIns="67225" rIns="67225" bIns="67225" anchor="t" anchorCtr="0"/>
          <a:lstStyle>
            <a:lvl1pPr marL="0" marR="0" lvl="0" indent="0" algn="l" rtl="0">
              <a:spcBef>
                <a:spcPts val="0"/>
              </a:spcBef>
              <a:buNone/>
              <a:defRPr sz="1768" b="0" i="0" u="none" strike="noStrike" cap="none"/>
            </a:lvl1pPr>
            <a:lvl2pPr marL="449039" marR="0" lvl="1" indent="0" algn="l" rtl="0">
              <a:spcBef>
                <a:spcPts val="0"/>
              </a:spcBef>
              <a:buNone/>
              <a:defRPr sz="1768" b="0" i="0" u="none" strike="noStrike" cap="none"/>
            </a:lvl2pPr>
            <a:lvl3pPr marL="915349" marR="0" lvl="2" indent="0" algn="l" rtl="0">
              <a:spcBef>
                <a:spcPts val="0"/>
              </a:spcBef>
              <a:buNone/>
              <a:defRPr sz="1768" b="0" i="0" u="none" strike="noStrike" cap="none"/>
            </a:lvl3pPr>
            <a:lvl4pPr marL="1364388" marR="0" lvl="3" indent="0" algn="l" rtl="0">
              <a:spcBef>
                <a:spcPts val="0"/>
              </a:spcBef>
              <a:buNone/>
              <a:defRPr sz="1768" b="0" i="0" u="none" strike="noStrike" cap="none"/>
            </a:lvl4pPr>
            <a:lvl5pPr marL="1830697" marR="0" lvl="4" indent="0" algn="l" rtl="0">
              <a:spcBef>
                <a:spcPts val="0"/>
              </a:spcBef>
              <a:buNone/>
              <a:defRPr sz="1768" b="0" i="0" u="none" strike="noStrike" cap="none"/>
            </a:lvl5pPr>
            <a:lvl6pPr marL="2279736" marR="0" lvl="5" indent="0" algn="l" rtl="0">
              <a:spcBef>
                <a:spcPts val="0"/>
              </a:spcBef>
              <a:buNone/>
              <a:defRPr sz="1768" b="0" i="0" u="none" strike="noStrike" cap="none"/>
            </a:lvl6pPr>
            <a:lvl7pPr marL="2746046" marR="0" lvl="6" indent="0" algn="l" rtl="0">
              <a:spcBef>
                <a:spcPts val="0"/>
              </a:spcBef>
              <a:buNone/>
              <a:defRPr sz="1768" b="0" i="0" u="none" strike="noStrike" cap="none"/>
            </a:lvl7pPr>
            <a:lvl8pPr marL="3195085" marR="0" lvl="7" indent="0" algn="l" rtl="0">
              <a:spcBef>
                <a:spcPts val="0"/>
              </a:spcBef>
              <a:buNone/>
              <a:defRPr sz="1768" b="0" i="0" u="none" strike="noStrike" cap="none"/>
            </a:lvl8pPr>
            <a:lvl9pPr marL="3661395" marR="0" lvl="8" indent="0" algn="l" rtl="0">
              <a:spcBef>
                <a:spcPts val="0"/>
              </a:spcBef>
              <a:buNone/>
              <a:defRPr sz="1768" b="0" i="0" u="none" strike="noStrike" cap="none"/>
            </a:lvl9pPr>
          </a:lstStyle>
          <a:p>
            <a:endParaRPr/>
          </a:p>
        </p:txBody>
      </p:sp>
      <p:sp>
        <p:nvSpPr>
          <p:cNvPr id="104" name="Shape 104"/>
          <p:cNvSpPr txBox="1">
            <a:spLocks noGrp="1"/>
          </p:cNvSpPr>
          <p:nvPr>
            <p:ph type="body" idx="2"/>
          </p:nvPr>
        </p:nvSpPr>
        <p:spPr>
          <a:xfrm>
            <a:off x="6356879" y="1636560"/>
            <a:ext cx="5461359" cy="1934559"/>
          </a:xfrm>
          <a:prstGeom prst="rect">
            <a:avLst/>
          </a:prstGeom>
          <a:noFill/>
          <a:ln>
            <a:noFill/>
          </a:ln>
        </p:spPr>
        <p:txBody>
          <a:bodyPr lIns="67225" tIns="67225" rIns="67225" bIns="67225" anchor="t" anchorCtr="0"/>
          <a:lstStyle>
            <a:lvl1pPr marL="0" marR="0" lvl="0" indent="0" algn="l" rtl="0">
              <a:spcBef>
                <a:spcPts val="0"/>
              </a:spcBef>
              <a:buNone/>
              <a:defRPr sz="1768" b="0" i="0" u="none" strike="noStrike" cap="none"/>
            </a:lvl1pPr>
            <a:lvl2pPr marL="449039" marR="0" lvl="1" indent="0" algn="l" rtl="0">
              <a:spcBef>
                <a:spcPts val="0"/>
              </a:spcBef>
              <a:buNone/>
              <a:defRPr sz="1768" b="0" i="0" u="none" strike="noStrike" cap="none"/>
            </a:lvl2pPr>
            <a:lvl3pPr marL="915349" marR="0" lvl="2" indent="0" algn="l" rtl="0">
              <a:spcBef>
                <a:spcPts val="0"/>
              </a:spcBef>
              <a:buNone/>
              <a:defRPr sz="1768" b="0" i="0" u="none" strike="noStrike" cap="none"/>
            </a:lvl3pPr>
            <a:lvl4pPr marL="1364388" marR="0" lvl="3" indent="0" algn="l" rtl="0">
              <a:spcBef>
                <a:spcPts val="0"/>
              </a:spcBef>
              <a:buNone/>
              <a:defRPr sz="1768" b="0" i="0" u="none" strike="noStrike" cap="none"/>
            </a:lvl4pPr>
            <a:lvl5pPr marL="1830697" marR="0" lvl="4" indent="0" algn="l" rtl="0">
              <a:spcBef>
                <a:spcPts val="0"/>
              </a:spcBef>
              <a:buNone/>
              <a:defRPr sz="1768" b="0" i="0" u="none" strike="noStrike" cap="none"/>
            </a:lvl5pPr>
            <a:lvl6pPr marL="2279736" marR="0" lvl="5" indent="0" algn="l" rtl="0">
              <a:spcBef>
                <a:spcPts val="0"/>
              </a:spcBef>
              <a:buNone/>
              <a:defRPr sz="1768" b="0" i="0" u="none" strike="noStrike" cap="none"/>
            </a:lvl6pPr>
            <a:lvl7pPr marL="2746046" marR="0" lvl="6" indent="0" algn="l" rtl="0">
              <a:spcBef>
                <a:spcPts val="0"/>
              </a:spcBef>
              <a:buNone/>
              <a:defRPr sz="1768" b="0" i="0" u="none" strike="noStrike" cap="none"/>
            </a:lvl7pPr>
            <a:lvl8pPr marL="3195085" marR="0" lvl="7" indent="0" algn="l" rtl="0">
              <a:spcBef>
                <a:spcPts val="0"/>
              </a:spcBef>
              <a:buNone/>
              <a:defRPr sz="1768" b="0" i="0" u="none" strike="noStrike" cap="none"/>
            </a:lvl8pPr>
            <a:lvl9pPr marL="3661395" marR="0" lvl="8" indent="0" algn="l" rtl="0">
              <a:spcBef>
                <a:spcPts val="0"/>
              </a:spcBef>
              <a:buNone/>
              <a:defRPr sz="1768" b="0" i="0" u="none" strike="noStrike" cap="none"/>
            </a:lvl9pPr>
          </a:lstStyle>
          <a:p>
            <a:endParaRPr/>
          </a:p>
        </p:txBody>
      </p:sp>
      <p:sp>
        <p:nvSpPr>
          <p:cNvPr id="105" name="Shape 105"/>
          <p:cNvSpPr txBox="1">
            <a:spLocks noGrp="1"/>
          </p:cNvSpPr>
          <p:nvPr>
            <p:ph type="body" idx="3"/>
          </p:nvPr>
        </p:nvSpPr>
        <p:spPr>
          <a:xfrm>
            <a:off x="6356879" y="3755520"/>
            <a:ext cx="5461359" cy="1934559"/>
          </a:xfrm>
          <a:prstGeom prst="rect">
            <a:avLst/>
          </a:prstGeom>
          <a:noFill/>
          <a:ln>
            <a:noFill/>
          </a:ln>
        </p:spPr>
        <p:txBody>
          <a:bodyPr lIns="67225" tIns="67225" rIns="67225" bIns="67225" anchor="t" anchorCtr="0"/>
          <a:lstStyle>
            <a:lvl1pPr marL="0" marR="0" lvl="0" indent="0" algn="l" rtl="0">
              <a:spcBef>
                <a:spcPts val="0"/>
              </a:spcBef>
              <a:buNone/>
              <a:defRPr sz="1768" b="0" i="0" u="none" strike="noStrike" cap="none"/>
            </a:lvl1pPr>
            <a:lvl2pPr marL="449039" marR="0" lvl="1" indent="0" algn="l" rtl="0">
              <a:spcBef>
                <a:spcPts val="0"/>
              </a:spcBef>
              <a:buNone/>
              <a:defRPr sz="1768" b="0" i="0" u="none" strike="noStrike" cap="none"/>
            </a:lvl2pPr>
            <a:lvl3pPr marL="915349" marR="0" lvl="2" indent="0" algn="l" rtl="0">
              <a:spcBef>
                <a:spcPts val="0"/>
              </a:spcBef>
              <a:buNone/>
              <a:defRPr sz="1768" b="0" i="0" u="none" strike="noStrike" cap="none"/>
            </a:lvl3pPr>
            <a:lvl4pPr marL="1364388" marR="0" lvl="3" indent="0" algn="l" rtl="0">
              <a:spcBef>
                <a:spcPts val="0"/>
              </a:spcBef>
              <a:buNone/>
              <a:defRPr sz="1768" b="0" i="0" u="none" strike="noStrike" cap="none"/>
            </a:lvl4pPr>
            <a:lvl5pPr marL="1830697" marR="0" lvl="4" indent="0" algn="l" rtl="0">
              <a:spcBef>
                <a:spcPts val="0"/>
              </a:spcBef>
              <a:buNone/>
              <a:defRPr sz="1768" b="0" i="0" u="none" strike="noStrike" cap="none"/>
            </a:lvl5pPr>
            <a:lvl6pPr marL="2279736" marR="0" lvl="5" indent="0" algn="l" rtl="0">
              <a:spcBef>
                <a:spcPts val="0"/>
              </a:spcBef>
              <a:buNone/>
              <a:defRPr sz="1768" b="0" i="0" u="none" strike="noStrike" cap="none"/>
            </a:lvl6pPr>
            <a:lvl7pPr marL="2746046" marR="0" lvl="6" indent="0" algn="l" rtl="0">
              <a:spcBef>
                <a:spcPts val="0"/>
              </a:spcBef>
              <a:buNone/>
              <a:defRPr sz="1768" b="0" i="0" u="none" strike="noStrike" cap="none"/>
            </a:lvl7pPr>
            <a:lvl8pPr marL="3195085" marR="0" lvl="7" indent="0" algn="l" rtl="0">
              <a:spcBef>
                <a:spcPts val="0"/>
              </a:spcBef>
              <a:buNone/>
              <a:defRPr sz="1768" b="0" i="0" u="none" strike="noStrike" cap="none"/>
            </a:lvl8pPr>
            <a:lvl9pPr marL="3661395" marR="0" lvl="8" indent="0" algn="l" rtl="0">
              <a:spcBef>
                <a:spcPts val="0"/>
              </a:spcBef>
              <a:buNone/>
              <a:defRPr sz="1768" b="0" i="0" u="none" strike="noStrike" cap="none"/>
            </a:lvl9pPr>
          </a:lstStyle>
          <a:p>
            <a:endParaRPr/>
          </a:p>
        </p:txBody>
      </p:sp>
      <p:sp>
        <p:nvSpPr>
          <p:cNvPr id="106" name="Shape 106"/>
          <p:cNvSpPr txBox="1">
            <a:spLocks noGrp="1"/>
          </p:cNvSpPr>
          <p:nvPr>
            <p:ph type="body" idx="4"/>
          </p:nvPr>
        </p:nvSpPr>
        <p:spPr>
          <a:xfrm>
            <a:off x="621719" y="3755520"/>
            <a:ext cx="5461359" cy="1934559"/>
          </a:xfrm>
          <a:prstGeom prst="rect">
            <a:avLst/>
          </a:prstGeom>
          <a:noFill/>
          <a:ln>
            <a:noFill/>
          </a:ln>
        </p:spPr>
        <p:txBody>
          <a:bodyPr lIns="67225" tIns="67225" rIns="67225" bIns="67225" anchor="t" anchorCtr="0"/>
          <a:lstStyle>
            <a:lvl1pPr marL="0" marR="0" lvl="0" indent="0" algn="l" rtl="0">
              <a:spcBef>
                <a:spcPts val="0"/>
              </a:spcBef>
              <a:buNone/>
              <a:defRPr sz="1768" b="0" i="0" u="none" strike="noStrike" cap="none"/>
            </a:lvl1pPr>
            <a:lvl2pPr marL="449039" marR="0" lvl="1" indent="0" algn="l" rtl="0">
              <a:spcBef>
                <a:spcPts val="0"/>
              </a:spcBef>
              <a:buNone/>
              <a:defRPr sz="1768" b="0" i="0" u="none" strike="noStrike" cap="none"/>
            </a:lvl2pPr>
            <a:lvl3pPr marL="915349" marR="0" lvl="2" indent="0" algn="l" rtl="0">
              <a:spcBef>
                <a:spcPts val="0"/>
              </a:spcBef>
              <a:buNone/>
              <a:defRPr sz="1768" b="0" i="0" u="none" strike="noStrike" cap="none"/>
            </a:lvl3pPr>
            <a:lvl4pPr marL="1364388" marR="0" lvl="3" indent="0" algn="l" rtl="0">
              <a:spcBef>
                <a:spcPts val="0"/>
              </a:spcBef>
              <a:buNone/>
              <a:defRPr sz="1768" b="0" i="0" u="none" strike="noStrike" cap="none"/>
            </a:lvl4pPr>
            <a:lvl5pPr marL="1830697" marR="0" lvl="4" indent="0" algn="l" rtl="0">
              <a:spcBef>
                <a:spcPts val="0"/>
              </a:spcBef>
              <a:buNone/>
              <a:defRPr sz="1768" b="0" i="0" u="none" strike="noStrike" cap="none"/>
            </a:lvl5pPr>
            <a:lvl6pPr marL="2279736" marR="0" lvl="5" indent="0" algn="l" rtl="0">
              <a:spcBef>
                <a:spcPts val="0"/>
              </a:spcBef>
              <a:buNone/>
              <a:defRPr sz="1768" b="0" i="0" u="none" strike="noStrike" cap="none"/>
            </a:lvl6pPr>
            <a:lvl7pPr marL="2746046" marR="0" lvl="6" indent="0" algn="l" rtl="0">
              <a:spcBef>
                <a:spcPts val="0"/>
              </a:spcBef>
              <a:buNone/>
              <a:defRPr sz="1768" b="0" i="0" u="none" strike="noStrike" cap="none"/>
            </a:lvl7pPr>
            <a:lvl8pPr marL="3195085" marR="0" lvl="7" indent="0" algn="l" rtl="0">
              <a:spcBef>
                <a:spcPts val="0"/>
              </a:spcBef>
              <a:buNone/>
              <a:defRPr sz="1768" b="0" i="0" u="none" strike="noStrike" cap="none"/>
            </a:lvl8pPr>
            <a:lvl9pPr marL="3661395" marR="0" lvl="8" indent="0" algn="l" rtl="0">
              <a:spcBef>
                <a:spcPts val="0"/>
              </a:spcBef>
              <a:buNone/>
              <a:defRPr sz="1768" b="0" i="0" u="none" strike="noStrike" cap="none"/>
            </a:lvl9pPr>
          </a:lstStyle>
          <a:p>
            <a:endParaRPr/>
          </a:p>
        </p:txBody>
      </p:sp>
    </p:spTree>
    <p:extLst>
      <p:ext uri="{BB962C8B-B14F-4D97-AF65-F5344CB8AC3E}">
        <p14:creationId xmlns:p14="http://schemas.microsoft.com/office/powerpoint/2010/main" val="361828246"/>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cSld name="Title, 6 Content">
    <p:spTree>
      <p:nvGrpSpPr>
        <p:cNvPr id="1" name="Shape 107"/>
        <p:cNvGrpSpPr/>
        <p:nvPr/>
      </p:nvGrpSpPr>
      <p:grpSpPr>
        <a:xfrm>
          <a:off x="0" y="0"/>
          <a:ext cx="0" cy="0"/>
          <a:chOff x="0" y="0"/>
          <a:chExt cx="0" cy="0"/>
        </a:xfrm>
      </p:grpSpPr>
      <p:sp>
        <p:nvSpPr>
          <p:cNvPr id="108" name="Shape 108"/>
          <p:cNvSpPr txBox="1">
            <a:spLocks noGrp="1"/>
          </p:cNvSpPr>
          <p:nvPr>
            <p:ph type="title"/>
          </p:nvPr>
        </p:nvSpPr>
        <p:spPr>
          <a:xfrm>
            <a:off x="621719" y="278999"/>
            <a:ext cx="11192419" cy="1167590"/>
          </a:xfrm>
          <a:prstGeom prst="rect">
            <a:avLst/>
          </a:prstGeom>
          <a:noFill/>
          <a:ln>
            <a:noFill/>
          </a:ln>
        </p:spPr>
        <p:txBody>
          <a:bodyPr lIns="67225" tIns="67225" rIns="67225" bIns="67225" anchor="ctr" anchorCtr="0"/>
          <a:lstStyle>
            <a:lvl1pPr marL="0" marR="0" lvl="0" indent="0" algn="l" rtl="0">
              <a:spcBef>
                <a:spcPts val="0"/>
              </a:spcBef>
              <a:buNone/>
              <a:defRPr sz="1768" b="0" i="0" u="none" strike="noStrike" cap="none"/>
            </a:lvl1pPr>
            <a:lvl2pPr marL="0" marR="0" lvl="1" indent="0" algn="l" rtl="0">
              <a:spcBef>
                <a:spcPts val="0"/>
              </a:spcBef>
              <a:buNone/>
              <a:defRPr sz="1768" b="0" i="0" u="none" strike="noStrike" cap="none"/>
            </a:lvl2pPr>
            <a:lvl3pPr marL="0" marR="0" lvl="2" indent="0" algn="l" rtl="0">
              <a:spcBef>
                <a:spcPts val="0"/>
              </a:spcBef>
              <a:buNone/>
              <a:defRPr sz="1768" b="0" i="0" u="none" strike="noStrike" cap="none"/>
            </a:lvl3pPr>
            <a:lvl4pPr marL="0" marR="0" lvl="3" indent="0" algn="l" rtl="0">
              <a:spcBef>
                <a:spcPts val="0"/>
              </a:spcBef>
              <a:buNone/>
              <a:defRPr sz="1768" b="0" i="0" u="none" strike="noStrike" cap="none"/>
            </a:lvl4pPr>
            <a:lvl5pPr marL="0" marR="0" lvl="4" indent="0" algn="l" rtl="0">
              <a:spcBef>
                <a:spcPts val="0"/>
              </a:spcBef>
              <a:buNone/>
              <a:defRPr sz="1768" b="0" i="0" u="none" strike="noStrike" cap="none"/>
            </a:lvl5pPr>
            <a:lvl6pPr marL="0" marR="0" lvl="5" indent="0" algn="l" rtl="0">
              <a:spcBef>
                <a:spcPts val="0"/>
              </a:spcBef>
              <a:buNone/>
              <a:defRPr sz="1768" b="0" i="0" u="none" strike="noStrike" cap="none"/>
            </a:lvl6pPr>
            <a:lvl7pPr marL="0" marR="0" lvl="6" indent="0" algn="l" rtl="0">
              <a:spcBef>
                <a:spcPts val="0"/>
              </a:spcBef>
              <a:buNone/>
              <a:defRPr sz="1768" b="0" i="0" u="none" strike="noStrike" cap="none"/>
            </a:lvl7pPr>
            <a:lvl8pPr marL="0" marR="0" lvl="7" indent="0" algn="l" rtl="0">
              <a:spcBef>
                <a:spcPts val="0"/>
              </a:spcBef>
              <a:buNone/>
              <a:defRPr sz="1768" b="0" i="0" u="none" strike="noStrike" cap="none"/>
            </a:lvl8pPr>
            <a:lvl9pPr marL="0" marR="0" lvl="8" indent="0" algn="l" rtl="0">
              <a:spcBef>
                <a:spcPts val="0"/>
              </a:spcBef>
              <a:buNone/>
              <a:defRPr sz="1768" b="0" i="0" u="none" strike="noStrike" cap="none"/>
            </a:lvl9pPr>
          </a:lstStyle>
          <a:p>
            <a:endParaRPr/>
          </a:p>
        </p:txBody>
      </p:sp>
      <p:sp>
        <p:nvSpPr>
          <p:cNvPr id="109" name="Shape 109"/>
          <p:cNvSpPr txBox="1">
            <a:spLocks noGrp="1"/>
          </p:cNvSpPr>
          <p:nvPr>
            <p:ph type="body" idx="1"/>
          </p:nvPr>
        </p:nvSpPr>
        <p:spPr>
          <a:xfrm>
            <a:off x="621719" y="1636560"/>
            <a:ext cx="11192419" cy="4055968"/>
          </a:xfrm>
          <a:prstGeom prst="rect">
            <a:avLst/>
          </a:prstGeom>
          <a:noFill/>
          <a:ln>
            <a:noFill/>
          </a:ln>
        </p:spPr>
        <p:txBody>
          <a:bodyPr lIns="67225" tIns="67225" rIns="67225" bIns="67225" anchor="t" anchorCtr="0"/>
          <a:lstStyle>
            <a:lvl1pPr marL="0" marR="0" lvl="0" indent="0" algn="l" rtl="0">
              <a:spcBef>
                <a:spcPts val="0"/>
              </a:spcBef>
              <a:buNone/>
              <a:defRPr sz="1768" b="0" i="0" u="none" strike="noStrike" cap="none"/>
            </a:lvl1pPr>
            <a:lvl2pPr marL="449039" marR="0" lvl="1" indent="0" algn="l" rtl="0">
              <a:spcBef>
                <a:spcPts val="0"/>
              </a:spcBef>
              <a:buNone/>
              <a:defRPr sz="1768" b="0" i="0" u="none" strike="noStrike" cap="none"/>
            </a:lvl2pPr>
            <a:lvl3pPr marL="915349" marR="0" lvl="2" indent="0" algn="l" rtl="0">
              <a:spcBef>
                <a:spcPts val="0"/>
              </a:spcBef>
              <a:buNone/>
              <a:defRPr sz="1768" b="0" i="0" u="none" strike="noStrike" cap="none"/>
            </a:lvl3pPr>
            <a:lvl4pPr marL="1364388" marR="0" lvl="3" indent="0" algn="l" rtl="0">
              <a:spcBef>
                <a:spcPts val="0"/>
              </a:spcBef>
              <a:buNone/>
              <a:defRPr sz="1768" b="0" i="0" u="none" strike="noStrike" cap="none"/>
            </a:lvl4pPr>
            <a:lvl5pPr marL="1830697" marR="0" lvl="4" indent="0" algn="l" rtl="0">
              <a:spcBef>
                <a:spcPts val="0"/>
              </a:spcBef>
              <a:buNone/>
              <a:defRPr sz="1768" b="0" i="0" u="none" strike="noStrike" cap="none"/>
            </a:lvl5pPr>
            <a:lvl6pPr marL="2279736" marR="0" lvl="5" indent="0" algn="l" rtl="0">
              <a:spcBef>
                <a:spcPts val="0"/>
              </a:spcBef>
              <a:buNone/>
              <a:defRPr sz="1768" b="0" i="0" u="none" strike="noStrike" cap="none"/>
            </a:lvl6pPr>
            <a:lvl7pPr marL="2746046" marR="0" lvl="6" indent="0" algn="l" rtl="0">
              <a:spcBef>
                <a:spcPts val="0"/>
              </a:spcBef>
              <a:buNone/>
              <a:defRPr sz="1768" b="0" i="0" u="none" strike="noStrike" cap="none"/>
            </a:lvl7pPr>
            <a:lvl8pPr marL="3195085" marR="0" lvl="7" indent="0" algn="l" rtl="0">
              <a:spcBef>
                <a:spcPts val="0"/>
              </a:spcBef>
              <a:buNone/>
              <a:defRPr sz="1768" b="0" i="0" u="none" strike="noStrike" cap="none"/>
            </a:lvl8pPr>
            <a:lvl9pPr marL="3661395" marR="0" lvl="8" indent="0" algn="l" rtl="0">
              <a:spcBef>
                <a:spcPts val="0"/>
              </a:spcBef>
              <a:buNone/>
              <a:defRPr sz="1768" b="0" i="0" u="none" strike="noStrike" cap="none"/>
            </a:lvl9pPr>
          </a:lstStyle>
          <a:p>
            <a:endParaRPr/>
          </a:p>
        </p:txBody>
      </p:sp>
      <p:sp>
        <p:nvSpPr>
          <p:cNvPr id="110" name="Shape 110"/>
          <p:cNvSpPr txBox="1">
            <a:spLocks noGrp="1"/>
          </p:cNvSpPr>
          <p:nvPr>
            <p:ph type="body" idx="2"/>
          </p:nvPr>
        </p:nvSpPr>
        <p:spPr>
          <a:xfrm>
            <a:off x="621719" y="1636560"/>
            <a:ext cx="11192419" cy="4055968"/>
          </a:xfrm>
          <a:prstGeom prst="rect">
            <a:avLst/>
          </a:prstGeom>
          <a:noFill/>
          <a:ln>
            <a:noFill/>
          </a:ln>
        </p:spPr>
        <p:txBody>
          <a:bodyPr lIns="67225" tIns="67225" rIns="67225" bIns="67225" anchor="t" anchorCtr="0"/>
          <a:lstStyle>
            <a:lvl1pPr marL="0" marR="0" lvl="0" indent="0" algn="l" rtl="0">
              <a:spcBef>
                <a:spcPts val="0"/>
              </a:spcBef>
              <a:buNone/>
              <a:defRPr sz="1768" b="0" i="0" u="none" strike="noStrike" cap="none"/>
            </a:lvl1pPr>
            <a:lvl2pPr marL="449039" marR="0" lvl="1" indent="0" algn="l" rtl="0">
              <a:spcBef>
                <a:spcPts val="0"/>
              </a:spcBef>
              <a:buNone/>
              <a:defRPr sz="1768" b="0" i="0" u="none" strike="noStrike" cap="none"/>
            </a:lvl2pPr>
            <a:lvl3pPr marL="915349" marR="0" lvl="2" indent="0" algn="l" rtl="0">
              <a:spcBef>
                <a:spcPts val="0"/>
              </a:spcBef>
              <a:buNone/>
              <a:defRPr sz="1768" b="0" i="0" u="none" strike="noStrike" cap="none"/>
            </a:lvl3pPr>
            <a:lvl4pPr marL="1364388" marR="0" lvl="3" indent="0" algn="l" rtl="0">
              <a:spcBef>
                <a:spcPts val="0"/>
              </a:spcBef>
              <a:buNone/>
              <a:defRPr sz="1768" b="0" i="0" u="none" strike="noStrike" cap="none"/>
            </a:lvl4pPr>
            <a:lvl5pPr marL="1830697" marR="0" lvl="4" indent="0" algn="l" rtl="0">
              <a:spcBef>
                <a:spcPts val="0"/>
              </a:spcBef>
              <a:buNone/>
              <a:defRPr sz="1768" b="0" i="0" u="none" strike="noStrike" cap="none"/>
            </a:lvl5pPr>
            <a:lvl6pPr marL="2279736" marR="0" lvl="5" indent="0" algn="l" rtl="0">
              <a:spcBef>
                <a:spcPts val="0"/>
              </a:spcBef>
              <a:buNone/>
              <a:defRPr sz="1768" b="0" i="0" u="none" strike="noStrike" cap="none"/>
            </a:lvl6pPr>
            <a:lvl7pPr marL="2746046" marR="0" lvl="6" indent="0" algn="l" rtl="0">
              <a:spcBef>
                <a:spcPts val="0"/>
              </a:spcBef>
              <a:buNone/>
              <a:defRPr sz="1768" b="0" i="0" u="none" strike="noStrike" cap="none"/>
            </a:lvl7pPr>
            <a:lvl8pPr marL="3195085" marR="0" lvl="7" indent="0" algn="l" rtl="0">
              <a:spcBef>
                <a:spcPts val="0"/>
              </a:spcBef>
              <a:buNone/>
              <a:defRPr sz="1768" b="0" i="0" u="none" strike="noStrike" cap="none"/>
            </a:lvl8pPr>
            <a:lvl9pPr marL="3661395" marR="0" lvl="8" indent="0" algn="l" rtl="0">
              <a:spcBef>
                <a:spcPts val="0"/>
              </a:spcBef>
              <a:buNone/>
              <a:defRPr sz="1768" b="0" i="0" u="none" strike="noStrike" cap="none"/>
            </a:lvl9pPr>
          </a:lstStyle>
          <a:p>
            <a:endParaRPr/>
          </a:p>
        </p:txBody>
      </p:sp>
      <p:sp>
        <p:nvSpPr>
          <p:cNvPr id="111" name="Shape 111"/>
          <p:cNvSpPr/>
          <p:nvPr/>
        </p:nvSpPr>
        <p:spPr>
          <a:xfrm>
            <a:off x="621719" y="1636560"/>
            <a:ext cx="11192419" cy="4055968"/>
          </a:xfrm>
          <a:prstGeom prst="rect">
            <a:avLst/>
          </a:prstGeom>
          <a:noFill/>
          <a:ln>
            <a:noFill/>
          </a:ln>
        </p:spPr>
        <p:txBody>
          <a:bodyPr lIns="91418" tIns="91418" rIns="91418" bIns="91418" anchor="ctr" anchorCtr="0">
            <a:noAutofit/>
          </a:bodyPr>
          <a:lstStyle/>
          <a:p>
            <a:pPr lvl="0">
              <a:spcBef>
                <a:spcPts val="0"/>
              </a:spcBef>
              <a:buNone/>
            </a:pPr>
            <a:endParaRPr sz="2448"/>
          </a:p>
        </p:txBody>
      </p:sp>
      <p:sp>
        <p:nvSpPr>
          <p:cNvPr id="112" name="Shape 112"/>
          <p:cNvSpPr/>
          <p:nvPr/>
        </p:nvSpPr>
        <p:spPr>
          <a:xfrm>
            <a:off x="621719" y="1636560"/>
            <a:ext cx="11192419" cy="4055968"/>
          </a:xfrm>
          <a:prstGeom prst="rect">
            <a:avLst/>
          </a:prstGeom>
          <a:noFill/>
          <a:ln>
            <a:noFill/>
          </a:ln>
        </p:spPr>
        <p:txBody>
          <a:bodyPr lIns="91418" tIns="91418" rIns="91418" bIns="91418" anchor="ctr" anchorCtr="0">
            <a:noAutofit/>
          </a:bodyPr>
          <a:lstStyle/>
          <a:p>
            <a:pPr lvl="0">
              <a:spcBef>
                <a:spcPts val="0"/>
              </a:spcBef>
              <a:buNone/>
            </a:pPr>
            <a:endParaRPr sz="2448"/>
          </a:p>
        </p:txBody>
      </p:sp>
    </p:spTree>
    <p:extLst>
      <p:ext uri="{BB962C8B-B14F-4D97-AF65-F5344CB8AC3E}">
        <p14:creationId xmlns:p14="http://schemas.microsoft.com/office/powerpoint/2010/main" val="8482059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Cover page">
    <p:spTree>
      <p:nvGrpSpPr>
        <p:cNvPr id="1" name=""/>
        <p:cNvGrpSpPr/>
        <p:nvPr/>
      </p:nvGrpSpPr>
      <p:grpSpPr>
        <a:xfrm>
          <a:off x="0" y="0"/>
          <a:ext cx="0" cy="0"/>
          <a:chOff x="0" y="0"/>
          <a:chExt cx="0" cy="0"/>
        </a:xfrm>
      </p:grpSpPr>
      <p:pic>
        <p:nvPicPr>
          <p:cNvPr id="47" name="Image 46" descr="cover-widescreen.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436475" cy="4151107"/>
          </a:xfrm>
          <a:prstGeom prst="rect">
            <a:avLst/>
          </a:prstGeom>
        </p:spPr>
      </p:pic>
      <p:pic>
        <p:nvPicPr>
          <p:cNvPr id="51" name="Picture 6" descr="cover_bg_beet_part2.jpg &lt;IGNORE&gt;"/>
          <p:cNvPicPr>
            <a:picLocks/>
          </p:cNvPicPr>
          <p:nvPr userDrawn="1"/>
        </p:nvPicPr>
        <p:blipFill>
          <a:blip r:embed="rId3" cstate="print"/>
          <a:stretch>
            <a:fillRect/>
          </a:stretch>
        </p:blipFill>
        <p:spPr>
          <a:xfrm>
            <a:off x="1" y="4150085"/>
            <a:ext cx="12436475" cy="1557448"/>
          </a:xfrm>
          <a:prstGeom prst="rect">
            <a:avLst/>
          </a:prstGeom>
        </p:spPr>
      </p:pic>
      <p:sp>
        <p:nvSpPr>
          <p:cNvPr id="2" name="Title 1"/>
          <p:cNvSpPr>
            <a:spLocks noGrp="1"/>
          </p:cNvSpPr>
          <p:nvPr userDrawn="1">
            <p:ph type="ctrTitle" hasCustomPrompt="1"/>
          </p:nvPr>
        </p:nvSpPr>
        <p:spPr bwMode="white">
          <a:xfrm>
            <a:off x="611029" y="4288215"/>
            <a:ext cx="11220895" cy="1269597"/>
          </a:xfrm>
        </p:spPr>
        <p:txBody>
          <a:bodyPr wrap="square" lIns="0" tIns="0" rIns="0" bIns="0" anchor="t" anchorCtr="0">
            <a:normAutofit/>
          </a:bodyPr>
          <a:lstStyle>
            <a:lvl1pPr algn="l">
              <a:defRPr sz="3672" b="0" baseline="0">
                <a:solidFill>
                  <a:srgbClr val="FFFFFF"/>
                </a:solidFill>
              </a:defRPr>
            </a:lvl1pPr>
          </a:lstStyle>
          <a:p>
            <a:r>
              <a:rPr lang="en-US" noProof="0"/>
              <a:t>Click to edit Master </a:t>
            </a:r>
            <a:br>
              <a:rPr lang="en-US" noProof="0"/>
            </a:br>
            <a:r>
              <a:rPr lang="en-US" noProof="0"/>
              <a:t>title style</a:t>
            </a:r>
            <a:endParaRPr lang="en-US" noProof="0" dirty="0"/>
          </a:p>
        </p:txBody>
      </p:sp>
      <p:sp>
        <p:nvSpPr>
          <p:cNvPr id="3" name="Subtitle 2"/>
          <p:cNvSpPr>
            <a:spLocks noGrp="1"/>
          </p:cNvSpPr>
          <p:nvPr>
            <p:ph type="subTitle" idx="1"/>
          </p:nvPr>
        </p:nvSpPr>
        <p:spPr>
          <a:xfrm>
            <a:off x="608870" y="5835248"/>
            <a:ext cx="7999122" cy="692977"/>
          </a:xfrm>
          <a:prstGeom prst="rect">
            <a:avLst/>
          </a:prstGeom>
        </p:spPr>
        <p:txBody>
          <a:bodyPr lIns="0" tIns="0" rIns="0" bIns="0" anchor="t" anchorCtr="0">
            <a:normAutofit/>
          </a:bodyPr>
          <a:lstStyle>
            <a:lvl1pPr marL="0" indent="0" algn="l">
              <a:spcBef>
                <a:spcPts val="0"/>
              </a:spcBef>
              <a:buNone/>
              <a:defRPr lang="en-GB" sz="1428" kern="1200" noProof="0" dirty="0">
                <a:solidFill>
                  <a:srgbClr val="666666"/>
                </a:solidFill>
                <a:latin typeface="Arial" pitchFamily="34" charset="0"/>
                <a:ea typeface="+mn-ea"/>
                <a:cs typeface="Arial" pitchFamily="34" charset="0"/>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noProof="0"/>
              <a:t>Click to edit Master subtitle style</a:t>
            </a:r>
            <a:endParaRPr lang="en-US" noProof="0" dirty="0"/>
          </a:p>
        </p:txBody>
      </p:sp>
      <p:sp>
        <p:nvSpPr>
          <p:cNvPr id="20" name="TextBox 19"/>
          <p:cNvSpPr txBox="1"/>
          <p:nvPr userDrawn="1"/>
        </p:nvSpPr>
        <p:spPr bwMode="auto">
          <a:xfrm>
            <a:off x="611028" y="6645349"/>
            <a:ext cx="3090992" cy="349176"/>
          </a:xfrm>
          <a:prstGeom prst="rect">
            <a:avLst/>
          </a:prstGeom>
          <a:noFill/>
          <a:ln w="3175" algn="ctr">
            <a:noFill/>
            <a:miter lim="800000"/>
            <a:headEnd/>
            <a:tailEnd/>
          </a:ln>
          <a:effectLst/>
        </p:spPr>
        <p:txBody>
          <a:bodyPr vert="horz" wrap="square" lIns="0" tIns="0" rIns="0" bIns="0" rtlCol="0" anchor="t" anchorCtr="0">
            <a:norm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666666"/>
                </a:solidFill>
                <a:effectLst/>
                <a:uLnTx/>
                <a:uFillTx/>
                <a:latin typeface="Arial" pitchFamily="34" charset="0"/>
                <a:ea typeface="+mn-ea"/>
                <a:cs typeface="Arial" pitchFamily="34" charset="0"/>
              </a:rPr>
              <a:t>© CGI Group Inc. CONFIDENTIAL</a:t>
            </a:r>
          </a:p>
        </p:txBody>
      </p:sp>
      <p:pic>
        <p:nvPicPr>
          <p:cNvPr id="48" name="Picture 8" descr="cover_bg_beet_part1.jpg &lt;IGNORE&gt;"/>
          <p:cNvPicPr>
            <a:picLocks noChangeAspect="1"/>
          </p:cNvPicPr>
          <p:nvPr userDrawn="1"/>
        </p:nvPicPr>
        <p:blipFill>
          <a:blip r:embed="rId4" cstate="print"/>
          <a:stretch>
            <a:fillRect/>
          </a:stretch>
        </p:blipFill>
        <p:spPr>
          <a:xfrm>
            <a:off x="27" y="3983803"/>
            <a:ext cx="12436422" cy="182147"/>
          </a:xfrm>
          <a:prstGeom prst="rect">
            <a:avLst/>
          </a:prstGeom>
        </p:spPr>
      </p:pic>
      <p:pic>
        <p:nvPicPr>
          <p:cNvPr id="49" name="Image 48" descr="CGI Logo tagline EN.emf"/>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772951" y="5946875"/>
            <a:ext cx="2131622" cy="876647"/>
          </a:xfrm>
          <a:prstGeom prst="rect">
            <a:avLst/>
          </a:prstGeom>
        </p:spPr>
      </p:pic>
    </p:spTree>
    <p:extLst>
      <p:ext uri="{BB962C8B-B14F-4D97-AF65-F5344CB8AC3E}">
        <p14:creationId xmlns:p14="http://schemas.microsoft.com/office/powerpoint/2010/main" val="3356555004"/>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8" name="Rectangle 17"/>
          <p:cNvSpPr/>
          <p:nvPr userDrawn="1"/>
        </p:nvSpPr>
        <p:spPr bwMode="auto">
          <a:xfrm>
            <a:off x="1" y="5655148"/>
            <a:ext cx="12433236" cy="1339377"/>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6" name="TextBox 45"/>
          <p:cNvSpPr txBox="1"/>
          <p:nvPr userDrawn="1"/>
        </p:nvSpPr>
        <p:spPr>
          <a:xfrm>
            <a:off x="564406" y="6387679"/>
            <a:ext cx="4251458" cy="270285"/>
          </a:xfrm>
          <a:prstGeom prst="rect">
            <a:avLst/>
          </a:prstGeom>
          <a:noFill/>
          <a:effectLst/>
        </p:spPr>
        <p:txBody>
          <a:bodyPr wrap="square" rtlCol="0">
            <a:spAutoFit/>
          </a:bodyPr>
          <a:lstStyle/>
          <a:p>
            <a:r>
              <a:rPr lang="en-US" sz="1122" dirty="0">
                <a:solidFill>
                  <a:prstClr val="white"/>
                </a:solidFill>
                <a:ea typeface="Segoe UI" panose="020B0502040204020203" pitchFamily="34" charset="0"/>
                <a:cs typeface="Segoe UI" panose="020B0502040204020203" pitchFamily="34" charset="0"/>
              </a:rPr>
              <a:t>Accessible content is available upon request. </a:t>
            </a:r>
          </a:p>
        </p:txBody>
      </p:sp>
      <p:grpSp>
        <p:nvGrpSpPr>
          <p:cNvPr id="22" name="Group 21"/>
          <p:cNvGrpSpPr>
            <a:grpSpLocks noChangeAspect="1"/>
          </p:cNvGrpSpPr>
          <p:nvPr userDrawn="1"/>
        </p:nvGrpSpPr>
        <p:grpSpPr bwMode="auto">
          <a:xfrm>
            <a:off x="650972" y="2463776"/>
            <a:ext cx="3002244" cy="567531"/>
            <a:chOff x="384" y="785"/>
            <a:chExt cx="1920" cy="363"/>
          </a:xfrm>
        </p:grpSpPr>
        <p:sp>
          <p:nvSpPr>
            <p:cNvPr id="23" name="AutoShape 5"/>
            <p:cNvSpPr>
              <a:spLocks noChangeAspect="1" noChangeArrowheads="1" noTextEdit="1"/>
            </p:cNvSpPr>
            <p:nvPr/>
          </p:nvSpPr>
          <p:spPr bwMode="auto">
            <a:xfrm>
              <a:off x="384" y="785"/>
              <a:ext cx="1920"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solidFill>
                  <a:prstClr val="black"/>
                </a:solidFill>
              </a:endParaRPr>
            </a:p>
          </p:txBody>
        </p:sp>
        <p:sp>
          <p:nvSpPr>
            <p:cNvPr id="39" name="Freeform 38"/>
            <p:cNvSpPr>
              <a:spLocks/>
            </p:cNvSpPr>
            <p:nvPr/>
          </p:nvSpPr>
          <p:spPr bwMode="auto">
            <a:xfrm>
              <a:off x="384" y="801"/>
              <a:ext cx="355" cy="347"/>
            </a:xfrm>
            <a:custGeom>
              <a:avLst/>
              <a:gdLst>
                <a:gd name="T0" fmla="*/ 125 w 432"/>
                <a:gd name="T1" fmla="*/ 341 h 422"/>
                <a:gd name="T2" fmla="*/ 215 w 432"/>
                <a:gd name="T3" fmla="*/ 251 h 422"/>
                <a:gd name="T4" fmla="*/ 305 w 432"/>
                <a:gd name="T5" fmla="*/ 341 h 422"/>
                <a:gd name="T6" fmla="*/ 254 w 432"/>
                <a:gd name="T7" fmla="*/ 422 h 422"/>
                <a:gd name="T8" fmla="*/ 432 w 432"/>
                <a:gd name="T9" fmla="*/ 422 h 422"/>
                <a:gd name="T10" fmla="*/ 216 w 432"/>
                <a:gd name="T11" fmla="*/ 0 h 422"/>
                <a:gd name="T12" fmla="*/ 0 w 432"/>
                <a:gd name="T13" fmla="*/ 422 h 422"/>
                <a:gd name="T14" fmla="*/ 176 w 432"/>
                <a:gd name="T15" fmla="*/ 422 h 422"/>
                <a:gd name="T16" fmla="*/ 125 w 432"/>
                <a:gd name="T17" fmla="*/ 341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422">
                  <a:moveTo>
                    <a:pt x="125" y="341"/>
                  </a:moveTo>
                  <a:cubicBezTo>
                    <a:pt x="125" y="291"/>
                    <a:pt x="165" y="251"/>
                    <a:pt x="215" y="251"/>
                  </a:cubicBezTo>
                  <a:cubicBezTo>
                    <a:pt x="265" y="251"/>
                    <a:pt x="305" y="291"/>
                    <a:pt x="305" y="341"/>
                  </a:cubicBezTo>
                  <a:cubicBezTo>
                    <a:pt x="305" y="377"/>
                    <a:pt x="284" y="408"/>
                    <a:pt x="254" y="422"/>
                  </a:cubicBezTo>
                  <a:cubicBezTo>
                    <a:pt x="432" y="422"/>
                    <a:pt x="432" y="422"/>
                    <a:pt x="432" y="422"/>
                  </a:cubicBezTo>
                  <a:cubicBezTo>
                    <a:pt x="216" y="0"/>
                    <a:pt x="216" y="0"/>
                    <a:pt x="216" y="0"/>
                  </a:cubicBezTo>
                  <a:cubicBezTo>
                    <a:pt x="0" y="422"/>
                    <a:pt x="0" y="422"/>
                    <a:pt x="0" y="422"/>
                  </a:cubicBezTo>
                  <a:cubicBezTo>
                    <a:pt x="176" y="422"/>
                    <a:pt x="176" y="422"/>
                    <a:pt x="176" y="422"/>
                  </a:cubicBezTo>
                  <a:cubicBezTo>
                    <a:pt x="146" y="408"/>
                    <a:pt x="125" y="377"/>
                    <a:pt x="125" y="341"/>
                  </a:cubicBezTo>
                  <a:close/>
                </a:path>
              </a:pathLst>
            </a:custGeom>
            <a:solidFill>
              <a:srgbClr val="E10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prstClr val="black"/>
                </a:solidFill>
              </a:endParaRPr>
            </a:p>
          </p:txBody>
        </p:sp>
        <p:sp>
          <p:nvSpPr>
            <p:cNvPr id="40" name="Oval 39"/>
            <p:cNvSpPr>
              <a:spLocks noChangeArrowheads="1"/>
            </p:cNvSpPr>
            <p:nvPr/>
          </p:nvSpPr>
          <p:spPr bwMode="auto">
            <a:xfrm>
              <a:off x="595" y="784"/>
              <a:ext cx="104" cy="104"/>
            </a:xfrm>
            <a:prstGeom prst="ellipse">
              <a:avLst/>
            </a:prstGeom>
            <a:solidFill>
              <a:srgbClr val="E10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prstClr val="black"/>
                </a:solidFill>
              </a:endParaRPr>
            </a:p>
          </p:txBody>
        </p:sp>
        <p:sp>
          <p:nvSpPr>
            <p:cNvPr id="41" name="Freeform 40"/>
            <p:cNvSpPr>
              <a:spLocks noEditPoints="1"/>
            </p:cNvSpPr>
            <p:nvPr/>
          </p:nvSpPr>
          <p:spPr bwMode="auto">
            <a:xfrm>
              <a:off x="796" y="922"/>
              <a:ext cx="215" cy="226"/>
            </a:xfrm>
            <a:custGeom>
              <a:avLst/>
              <a:gdLst>
                <a:gd name="T0" fmla="*/ 0 w 215"/>
                <a:gd name="T1" fmla="*/ 226 h 226"/>
                <a:gd name="T2" fmla="*/ 77 w 215"/>
                <a:gd name="T3" fmla="*/ 0 h 226"/>
                <a:gd name="T4" fmla="*/ 138 w 215"/>
                <a:gd name="T5" fmla="*/ 0 h 226"/>
                <a:gd name="T6" fmla="*/ 215 w 215"/>
                <a:gd name="T7" fmla="*/ 226 h 226"/>
                <a:gd name="T8" fmla="*/ 156 w 215"/>
                <a:gd name="T9" fmla="*/ 226 h 226"/>
                <a:gd name="T10" fmla="*/ 142 w 215"/>
                <a:gd name="T11" fmla="*/ 180 h 226"/>
                <a:gd name="T12" fmla="*/ 72 w 215"/>
                <a:gd name="T13" fmla="*/ 180 h 226"/>
                <a:gd name="T14" fmla="*/ 58 w 215"/>
                <a:gd name="T15" fmla="*/ 226 h 226"/>
                <a:gd name="T16" fmla="*/ 0 w 215"/>
                <a:gd name="T17" fmla="*/ 226 h 226"/>
                <a:gd name="T18" fmla="*/ 130 w 215"/>
                <a:gd name="T19" fmla="*/ 139 h 226"/>
                <a:gd name="T20" fmla="*/ 107 w 215"/>
                <a:gd name="T21" fmla="*/ 64 h 226"/>
                <a:gd name="T22" fmla="*/ 84 w 215"/>
                <a:gd name="T23" fmla="*/ 139 h 226"/>
                <a:gd name="T24" fmla="*/ 130 w 215"/>
                <a:gd name="T25" fmla="*/ 139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226">
                  <a:moveTo>
                    <a:pt x="0" y="226"/>
                  </a:moveTo>
                  <a:lnTo>
                    <a:pt x="77" y="0"/>
                  </a:lnTo>
                  <a:lnTo>
                    <a:pt x="138" y="0"/>
                  </a:lnTo>
                  <a:lnTo>
                    <a:pt x="215" y="226"/>
                  </a:lnTo>
                  <a:lnTo>
                    <a:pt x="156" y="226"/>
                  </a:lnTo>
                  <a:lnTo>
                    <a:pt x="142" y="180"/>
                  </a:lnTo>
                  <a:lnTo>
                    <a:pt x="72" y="180"/>
                  </a:lnTo>
                  <a:lnTo>
                    <a:pt x="58" y="226"/>
                  </a:lnTo>
                  <a:lnTo>
                    <a:pt x="0" y="226"/>
                  </a:lnTo>
                  <a:close/>
                  <a:moveTo>
                    <a:pt x="130" y="139"/>
                  </a:moveTo>
                  <a:lnTo>
                    <a:pt x="107" y="64"/>
                  </a:lnTo>
                  <a:lnTo>
                    <a:pt x="84" y="139"/>
                  </a:lnTo>
                  <a:lnTo>
                    <a:pt x="130" y="13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prstClr val="black"/>
                </a:solidFill>
              </a:endParaRPr>
            </a:p>
          </p:txBody>
        </p:sp>
        <p:sp>
          <p:nvSpPr>
            <p:cNvPr id="42" name="Freeform 41"/>
            <p:cNvSpPr>
              <a:spLocks/>
            </p:cNvSpPr>
            <p:nvPr/>
          </p:nvSpPr>
          <p:spPr bwMode="auto">
            <a:xfrm>
              <a:off x="997" y="977"/>
              <a:ext cx="181" cy="171"/>
            </a:xfrm>
            <a:custGeom>
              <a:avLst/>
              <a:gdLst>
                <a:gd name="T0" fmla="*/ 181 w 181"/>
                <a:gd name="T1" fmla="*/ 0 h 171"/>
                <a:gd name="T2" fmla="*/ 119 w 181"/>
                <a:gd name="T3" fmla="*/ 171 h 171"/>
                <a:gd name="T4" fmla="*/ 61 w 181"/>
                <a:gd name="T5" fmla="*/ 171 h 171"/>
                <a:gd name="T6" fmla="*/ 0 w 181"/>
                <a:gd name="T7" fmla="*/ 0 h 171"/>
                <a:gd name="T8" fmla="*/ 57 w 181"/>
                <a:gd name="T9" fmla="*/ 0 h 171"/>
                <a:gd name="T10" fmla="*/ 91 w 181"/>
                <a:gd name="T11" fmla="*/ 113 h 171"/>
                <a:gd name="T12" fmla="*/ 126 w 181"/>
                <a:gd name="T13" fmla="*/ 0 h 171"/>
                <a:gd name="T14" fmla="*/ 181 w 181"/>
                <a:gd name="T15" fmla="*/ 0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1" h="171">
                  <a:moveTo>
                    <a:pt x="181" y="0"/>
                  </a:moveTo>
                  <a:lnTo>
                    <a:pt x="119" y="171"/>
                  </a:lnTo>
                  <a:lnTo>
                    <a:pt x="61" y="171"/>
                  </a:lnTo>
                  <a:lnTo>
                    <a:pt x="0" y="0"/>
                  </a:lnTo>
                  <a:lnTo>
                    <a:pt x="57" y="0"/>
                  </a:lnTo>
                  <a:lnTo>
                    <a:pt x="91" y="113"/>
                  </a:lnTo>
                  <a:lnTo>
                    <a:pt x="126" y="0"/>
                  </a:lnTo>
                  <a:lnTo>
                    <a:pt x="181"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prstClr val="black"/>
                </a:solidFill>
              </a:endParaRPr>
            </a:p>
          </p:txBody>
        </p:sp>
        <p:sp>
          <p:nvSpPr>
            <p:cNvPr id="43" name="Freeform 42"/>
            <p:cNvSpPr>
              <a:spLocks noEditPoints="1"/>
            </p:cNvSpPr>
            <p:nvPr/>
          </p:nvSpPr>
          <p:spPr bwMode="auto">
            <a:xfrm>
              <a:off x="1189" y="967"/>
              <a:ext cx="170" cy="181"/>
            </a:xfrm>
            <a:custGeom>
              <a:avLst/>
              <a:gdLst>
                <a:gd name="T0" fmla="*/ 121 w 207"/>
                <a:gd name="T1" fmla="*/ 220 h 220"/>
                <a:gd name="T2" fmla="*/ 31 w 207"/>
                <a:gd name="T3" fmla="*/ 192 h 220"/>
                <a:gd name="T4" fmla="*/ 0 w 207"/>
                <a:gd name="T5" fmla="*/ 112 h 220"/>
                <a:gd name="T6" fmla="*/ 29 w 207"/>
                <a:gd name="T7" fmla="*/ 30 h 220"/>
                <a:gd name="T8" fmla="*/ 111 w 207"/>
                <a:gd name="T9" fmla="*/ 0 h 220"/>
                <a:gd name="T10" fmla="*/ 183 w 207"/>
                <a:gd name="T11" fmla="*/ 26 h 220"/>
                <a:gd name="T12" fmla="*/ 207 w 207"/>
                <a:gd name="T13" fmla="*/ 99 h 220"/>
                <a:gd name="T14" fmla="*/ 207 w 207"/>
                <a:gd name="T15" fmla="*/ 123 h 220"/>
                <a:gd name="T16" fmla="*/ 65 w 207"/>
                <a:gd name="T17" fmla="*/ 123 h 220"/>
                <a:gd name="T18" fmla="*/ 71 w 207"/>
                <a:gd name="T19" fmla="*/ 147 h 220"/>
                <a:gd name="T20" fmla="*/ 84 w 207"/>
                <a:gd name="T21" fmla="*/ 163 h 220"/>
                <a:gd name="T22" fmla="*/ 104 w 207"/>
                <a:gd name="T23" fmla="*/ 171 h 220"/>
                <a:gd name="T24" fmla="*/ 128 w 207"/>
                <a:gd name="T25" fmla="*/ 174 h 220"/>
                <a:gd name="T26" fmla="*/ 150 w 207"/>
                <a:gd name="T27" fmla="*/ 171 h 220"/>
                <a:gd name="T28" fmla="*/ 170 w 207"/>
                <a:gd name="T29" fmla="*/ 164 h 220"/>
                <a:gd name="T30" fmla="*/ 185 w 207"/>
                <a:gd name="T31" fmla="*/ 157 h 220"/>
                <a:gd name="T32" fmla="*/ 196 w 207"/>
                <a:gd name="T33" fmla="*/ 149 h 220"/>
                <a:gd name="T34" fmla="*/ 203 w 207"/>
                <a:gd name="T35" fmla="*/ 149 h 220"/>
                <a:gd name="T36" fmla="*/ 203 w 207"/>
                <a:gd name="T37" fmla="*/ 203 h 220"/>
                <a:gd name="T38" fmla="*/ 189 w 207"/>
                <a:gd name="T39" fmla="*/ 209 h 220"/>
                <a:gd name="T40" fmla="*/ 170 w 207"/>
                <a:gd name="T41" fmla="*/ 214 h 220"/>
                <a:gd name="T42" fmla="*/ 149 w 207"/>
                <a:gd name="T43" fmla="*/ 218 h 220"/>
                <a:gd name="T44" fmla="*/ 121 w 207"/>
                <a:gd name="T45" fmla="*/ 220 h 220"/>
                <a:gd name="T46" fmla="*/ 143 w 207"/>
                <a:gd name="T47" fmla="*/ 84 h 220"/>
                <a:gd name="T48" fmla="*/ 133 w 207"/>
                <a:gd name="T49" fmla="*/ 52 h 220"/>
                <a:gd name="T50" fmla="*/ 106 w 207"/>
                <a:gd name="T51" fmla="*/ 41 h 220"/>
                <a:gd name="T52" fmla="*/ 76 w 207"/>
                <a:gd name="T53" fmla="*/ 53 h 220"/>
                <a:gd name="T54" fmla="*/ 64 w 207"/>
                <a:gd name="T55" fmla="*/ 84 h 220"/>
                <a:gd name="T56" fmla="*/ 143 w 207"/>
                <a:gd name="T57" fmla="*/ 8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7" h="220">
                  <a:moveTo>
                    <a:pt x="121" y="220"/>
                  </a:moveTo>
                  <a:cubicBezTo>
                    <a:pt x="82" y="220"/>
                    <a:pt x="52" y="211"/>
                    <a:pt x="31" y="192"/>
                  </a:cubicBezTo>
                  <a:cubicBezTo>
                    <a:pt x="10" y="173"/>
                    <a:pt x="0" y="146"/>
                    <a:pt x="0" y="112"/>
                  </a:cubicBezTo>
                  <a:cubicBezTo>
                    <a:pt x="0" y="78"/>
                    <a:pt x="10" y="51"/>
                    <a:pt x="29" y="30"/>
                  </a:cubicBezTo>
                  <a:cubicBezTo>
                    <a:pt x="49" y="10"/>
                    <a:pt x="76" y="0"/>
                    <a:pt x="111" y="0"/>
                  </a:cubicBezTo>
                  <a:cubicBezTo>
                    <a:pt x="143" y="0"/>
                    <a:pt x="167" y="9"/>
                    <a:pt x="183" y="26"/>
                  </a:cubicBezTo>
                  <a:cubicBezTo>
                    <a:pt x="199" y="43"/>
                    <a:pt x="207" y="68"/>
                    <a:pt x="207" y="99"/>
                  </a:cubicBezTo>
                  <a:cubicBezTo>
                    <a:pt x="207" y="123"/>
                    <a:pt x="207" y="123"/>
                    <a:pt x="207" y="123"/>
                  </a:cubicBezTo>
                  <a:cubicBezTo>
                    <a:pt x="65" y="123"/>
                    <a:pt x="65" y="123"/>
                    <a:pt x="65" y="123"/>
                  </a:cubicBezTo>
                  <a:cubicBezTo>
                    <a:pt x="65" y="132"/>
                    <a:pt x="67" y="141"/>
                    <a:pt x="71" y="147"/>
                  </a:cubicBezTo>
                  <a:cubicBezTo>
                    <a:pt x="74" y="154"/>
                    <a:pt x="79" y="159"/>
                    <a:pt x="84" y="163"/>
                  </a:cubicBezTo>
                  <a:cubicBezTo>
                    <a:pt x="90" y="167"/>
                    <a:pt x="97" y="169"/>
                    <a:pt x="104" y="171"/>
                  </a:cubicBezTo>
                  <a:cubicBezTo>
                    <a:pt x="111" y="173"/>
                    <a:pt x="119" y="174"/>
                    <a:pt x="128" y="174"/>
                  </a:cubicBezTo>
                  <a:cubicBezTo>
                    <a:pt x="136" y="174"/>
                    <a:pt x="143" y="173"/>
                    <a:pt x="150" y="171"/>
                  </a:cubicBezTo>
                  <a:cubicBezTo>
                    <a:pt x="158" y="169"/>
                    <a:pt x="164" y="167"/>
                    <a:pt x="170" y="164"/>
                  </a:cubicBezTo>
                  <a:cubicBezTo>
                    <a:pt x="176" y="162"/>
                    <a:pt x="181" y="159"/>
                    <a:pt x="185" y="157"/>
                  </a:cubicBezTo>
                  <a:cubicBezTo>
                    <a:pt x="190" y="154"/>
                    <a:pt x="193" y="151"/>
                    <a:pt x="196" y="149"/>
                  </a:cubicBezTo>
                  <a:cubicBezTo>
                    <a:pt x="203" y="149"/>
                    <a:pt x="203" y="149"/>
                    <a:pt x="203" y="149"/>
                  </a:cubicBezTo>
                  <a:cubicBezTo>
                    <a:pt x="203" y="203"/>
                    <a:pt x="203" y="203"/>
                    <a:pt x="203" y="203"/>
                  </a:cubicBezTo>
                  <a:cubicBezTo>
                    <a:pt x="198" y="205"/>
                    <a:pt x="193" y="207"/>
                    <a:pt x="189" y="209"/>
                  </a:cubicBezTo>
                  <a:cubicBezTo>
                    <a:pt x="184" y="210"/>
                    <a:pt x="178" y="212"/>
                    <a:pt x="170" y="214"/>
                  </a:cubicBezTo>
                  <a:cubicBezTo>
                    <a:pt x="163" y="216"/>
                    <a:pt x="156" y="217"/>
                    <a:pt x="149" y="218"/>
                  </a:cubicBezTo>
                  <a:cubicBezTo>
                    <a:pt x="141" y="219"/>
                    <a:pt x="132" y="220"/>
                    <a:pt x="121" y="220"/>
                  </a:cubicBezTo>
                  <a:close/>
                  <a:moveTo>
                    <a:pt x="143" y="84"/>
                  </a:moveTo>
                  <a:cubicBezTo>
                    <a:pt x="143" y="70"/>
                    <a:pt x="139" y="59"/>
                    <a:pt x="133" y="52"/>
                  </a:cubicBezTo>
                  <a:cubicBezTo>
                    <a:pt x="127" y="45"/>
                    <a:pt x="118" y="41"/>
                    <a:pt x="106" y="41"/>
                  </a:cubicBezTo>
                  <a:cubicBezTo>
                    <a:pt x="93" y="41"/>
                    <a:pt x="83" y="45"/>
                    <a:pt x="76" y="53"/>
                  </a:cubicBezTo>
                  <a:cubicBezTo>
                    <a:pt x="69" y="60"/>
                    <a:pt x="65" y="71"/>
                    <a:pt x="64" y="84"/>
                  </a:cubicBezTo>
                  <a:lnTo>
                    <a:pt x="143" y="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prstClr val="black"/>
                </a:solidFill>
              </a:endParaRPr>
            </a:p>
          </p:txBody>
        </p:sp>
        <p:sp>
          <p:nvSpPr>
            <p:cNvPr id="44" name="Freeform 43"/>
            <p:cNvSpPr>
              <a:spLocks noEditPoints="1"/>
            </p:cNvSpPr>
            <p:nvPr/>
          </p:nvSpPr>
          <p:spPr bwMode="auto">
            <a:xfrm>
              <a:off x="1393" y="922"/>
              <a:ext cx="173" cy="226"/>
            </a:xfrm>
            <a:custGeom>
              <a:avLst/>
              <a:gdLst>
                <a:gd name="T0" fmla="*/ 211 w 211"/>
                <a:gd name="T1" fmla="*/ 87 h 275"/>
                <a:gd name="T2" fmla="*/ 205 w 211"/>
                <a:gd name="T3" fmla="*/ 123 h 275"/>
                <a:gd name="T4" fmla="*/ 188 w 211"/>
                <a:gd name="T5" fmla="*/ 152 h 275"/>
                <a:gd name="T6" fmla="*/ 172 w 211"/>
                <a:gd name="T7" fmla="*/ 166 h 275"/>
                <a:gd name="T8" fmla="*/ 154 w 211"/>
                <a:gd name="T9" fmla="*/ 176 h 275"/>
                <a:gd name="T10" fmla="*/ 132 w 211"/>
                <a:gd name="T11" fmla="*/ 183 h 275"/>
                <a:gd name="T12" fmla="*/ 105 w 211"/>
                <a:gd name="T13" fmla="*/ 185 h 275"/>
                <a:gd name="T14" fmla="*/ 69 w 211"/>
                <a:gd name="T15" fmla="*/ 185 h 275"/>
                <a:gd name="T16" fmla="*/ 69 w 211"/>
                <a:gd name="T17" fmla="*/ 275 h 275"/>
                <a:gd name="T18" fmla="*/ 0 w 211"/>
                <a:gd name="T19" fmla="*/ 275 h 275"/>
                <a:gd name="T20" fmla="*/ 0 w 211"/>
                <a:gd name="T21" fmla="*/ 0 h 275"/>
                <a:gd name="T22" fmla="*/ 106 w 211"/>
                <a:gd name="T23" fmla="*/ 0 h 275"/>
                <a:gd name="T24" fmla="*/ 147 w 211"/>
                <a:gd name="T25" fmla="*/ 4 h 275"/>
                <a:gd name="T26" fmla="*/ 179 w 211"/>
                <a:gd name="T27" fmla="*/ 18 h 275"/>
                <a:gd name="T28" fmla="*/ 203 w 211"/>
                <a:gd name="T29" fmla="*/ 45 h 275"/>
                <a:gd name="T30" fmla="*/ 211 w 211"/>
                <a:gd name="T31" fmla="*/ 87 h 275"/>
                <a:gd name="T32" fmla="*/ 140 w 211"/>
                <a:gd name="T33" fmla="*/ 88 h 275"/>
                <a:gd name="T34" fmla="*/ 134 w 211"/>
                <a:gd name="T35" fmla="*/ 68 h 275"/>
                <a:gd name="T36" fmla="*/ 121 w 211"/>
                <a:gd name="T37" fmla="*/ 56 h 275"/>
                <a:gd name="T38" fmla="*/ 103 w 211"/>
                <a:gd name="T39" fmla="*/ 52 h 275"/>
                <a:gd name="T40" fmla="*/ 78 w 211"/>
                <a:gd name="T41" fmla="*/ 51 h 275"/>
                <a:gd name="T42" fmla="*/ 69 w 211"/>
                <a:gd name="T43" fmla="*/ 51 h 275"/>
                <a:gd name="T44" fmla="*/ 69 w 211"/>
                <a:gd name="T45" fmla="*/ 134 h 275"/>
                <a:gd name="T46" fmla="*/ 73 w 211"/>
                <a:gd name="T47" fmla="*/ 134 h 275"/>
                <a:gd name="T48" fmla="*/ 92 w 211"/>
                <a:gd name="T49" fmla="*/ 134 h 275"/>
                <a:gd name="T50" fmla="*/ 107 w 211"/>
                <a:gd name="T51" fmla="*/ 132 h 275"/>
                <a:gd name="T52" fmla="*/ 119 w 211"/>
                <a:gd name="T53" fmla="*/ 129 h 275"/>
                <a:gd name="T54" fmla="*/ 128 w 211"/>
                <a:gd name="T55" fmla="*/ 123 h 275"/>
                <a:gd name="T56" fmla="*/ 137 w 211"/>
                <a:gd name="T57" fmla="*/ 108 h 275"/>
                <a:gd name="T58" fmla="*/ 140 w 211"/>
                <a:gd name="T59" fmla="*/ 88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1" h="275">
                  <a:moveTo>
                    <a:pt x="211" y="87"/>
                  </a:moveTo>
                  <a:cubicBezTo>
                    <a:pt x="211" y="99"/>
                    <a:pt x="209" y="112"/>
                    <a:pt x="205" y="123"/>
                  </a:cubicBezTo>
                  <a:cubicBezTo>
                    <a:pt x="201" y="135"/>
                    <a:pt x="195" y="144"/>
                    <a:pt x="188" y="152"/>
                  </a:cubicBezTo>
                  <a:cubicBezTo>
                    <a:pt x="183" y="157"/>
                    <a:pt x="178" y="161"/>
                    <a:pt x="172" y="166"/>
                  </a:cubicBezTo>
                  <a:cubicBezTo>
                    <a:pt x="167" y="170"/>
                    <a:pt x="160" y="173"/>
                    <a:pt x="154" y="176"/>
                  </a:cubicBezTo>
                  <a:cubicBezTo>
                    <a:pt x="147" y="179"/>
                    <a:pt x="140" y="181"/>
                    <a:pt x="132" y="183"/>
                  </a:cubicBezTo>
                  <a:cubicBezTo>
                    <a:pt x="124" y="184"/>
                    <a:pt x="115" y="185"/>
                    <a:pt x="105" y="185"/>
                  </a:cubicBezTo>
                  <a:cubicBezTo>
                    <a:pt x="69" y="185"/>
                    <a:pt x="69" y="185"/>
                    <a:pt x="69" y="185"/>
                  </a:cubicBezTo>
                  <a:cubicBezTo>
                    <a:pt x="69" y="275"/>
                    <a:pt x="69" y="275"/>
                    <a:pt x="69" y="275"/>
                  </a:cubicBezTo>
                  <a:cubicBezTo>
                    <a:pt x="0" y="275"/>
                    <a:pt x="0" y="275"/>
                    <a:pt x="0" y="275"/>
                  </a:cubicBezTo>
                  <a:cubicBezTo>
                    <a:pt x="0" y="0"/>
                    <a:pt x="0" y="0"/>
                    <a:pt x="0" y="0"/>
                  </a:cubicBezTo>
                  <a:cubicBezTo>
                    <a:pt x="106" y="0"/>
                    <a:pt x="106" y="0"/>
                    <a:pt x="106" y="0"/>
                  </a:cubicBezTo>
                  <a:cubicBezTo>
                    <a:pt x="122" y="0"/>
                    <a:pt x="136" y="1"/>
                    <a:pt x="147" y="4"/>
                  </a:cubicBezTo>
                  <a:cubicBezTo>
                    <a:pt x="159" y="7"/>
                    <a:pt x="169" y="11"/>
                    <a:pt x="179" y="18"/>
                  </a:cubicBezTo>
                  <a:cubicBezTo>
                    <a:pt x="189" y="25"/>
                    <a:pt x="197" y="34"/>
                    <a:pt x="203" y="45"/>
                  </a:cubicBezTo>
                  <a:cubicBezTo>
                    <a:pt x="208" y="57"/>
                    <a:pt x="211" y="71"/>
                    <a:pt x="211" y="87"/>
                  </a:cubicBezTo>
                  <a:close/>
                  <a:moveTo>
                    <a:pt x="140" y="88"/>
                  </a:moveTo>
                  <a:cubicBezTo>
                    <a:pt x="140" y="80"/>
                    <a:pt x="138" y="74"/>
                    <a:pt x="134" y="68"/>
                  </a:cubicBezTo>
                  <a:cubicBezTo>
                    <a:pt x="131" y="62"/>
                    <a:pt x="126" y="59"/>
                    <a:pt x="121" y="56"/>
                  </a:cubicBezTo>
                  <a:cubicBezTo>
                    <a:pt x="115" y="54"/>
                    <a:pt x="108" y="52"/>
                    <a:pt x="103" y="52"/>
                  </a:cubicBezTo>
                  <a:cubicBezTo>
                    <a:pt x="97" y="51"/>
                    <a:pt x="89" y="51"/>
                    <a:pt x="78" y="51"/>
                  </a:cubicBezTo>
                  <a:cubicBezTo>
                    <a:pt x="69" y="51"/>
                    <a:pt x="69" y="51"/>
                    <a:pt x="69" y="51"/>
                  </a:cubicBezTo>
                  <a:cubicBezTo>
                    <a:pt x="69" y="134"/>
                    <a:pt x="69" y="134"/>
                    <a:pt x="69" y="134"/>
                  </a:cubicBezTo>
                  <a:cubicBezTo>
                    <a:pt x="73" y="134"/>
                    <a:pt x="73" y="134"/>
                    <a:pt x="73" y="134"/>
                  </a:cubicBezTo>
                  <a:cubicBezTo>
                    <a:pt x="80" y="134"/>
                    <a:pt x="86" y="134"/>
                    <a:pt x="92" y="134"/>
                  </a:cubicBezTo>
                  <a:cubicBezTo>
                    <a:pt x="98" y="133"/>
                    <a:pt x="103" y="133"/>
                    <a:pt x="107" y="132"/>
                  </a:cubicBezTo>
                  <a:cubicBezTo>
                    <a:pt x="111" y="132"/>
                    <a:pt x="114" y="130"/>
                    <a:pt x="119" y="129"/>
                  </a:cubicBezTo>
                  <a:cubicBezTo>
                    <a:pt x="123" y="127"/>
                    <a:pt x="126" y="125"/>
                    <a:pt x="128" y="123"/>
                  </a:cubicBezTo>
                  <a:cubicBezTo>
                    <a:pt x="133" y="118"/>
                    <a:pt x="136" y="113"/>
                    <a:pt x="137" y="108"/>
                  </a:cubicBezTo>
                  <a:cubicBezTo>
                    <a:pt x="139" y="103"/>
                    <a:pt x="140" y="97"/>
                    <a:pt x="140" y="8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prstClr val="black"/>
                </a:solidFill>
              </a:endParaRPr>
            </a:p>
          </p:txBody>
        </p:sp>
        <p:sp>
          <p:nvSpPr>
            <p:cNvPr id="45" name="Freeform 44"/>
            <p:cNvSpPr>
              <a:spLocks noEditPoints="1"/>
            </p:cNvSpPr>
            <p:nvPr/>
          </p:nvSpPr>
          <p:spPr bwMode="auto">
            <a:xfrm>
              <a:off x="1582" y="966"/>
              <a:ext cx="177" cy="182"/>
            </a:xfrm>
            <a:custGeom>
              <a:avLst/>
              <a:gdLst>
                <a:gd name="T0" fmla="*/ 215 w 215"/>
                <a:gd name="T1" fmla="*/ 111 h 221"/>
                <a:gd name="T2" fmla="*/ 187 w 215"/>
                <a:gd name="T3" fmla="*/ 191 h 221"/>
                <a:gd name="T4" fmla="*/ 107 w 215"/>
                <a:gd name="T5" fmla="*/ 221 h 221"/>
                <a:gd name="T6" fmla="*/ 28 w 215"/>
                <a:gd name="T7" fmla="*/ 191 h 221"/>
                <a:gd name="T8" fmla="*/ 0 w 215"/>
                <a:gd name="T9" fmla="*/ 111 h 221"/>
                <a:gd name="T10" fmla="*/ 28 w 215"/>
                <a:gd name="T11" fmla="*/ 30 h 221"/>
                <a:gd name="T12" fmla="*/ 107 w 215"/>
                <a:gd name="T13" fmla="*/ 0 h 221"/>
                <a:gd name="T14" fmla="*/ 187 w 215"/>
                <a:gd name="T15" fmla="*/ 30 h 221"/>
                <a:gd name="T16" fmla="*/ 215 w 215"/>
                <a:gd name="T17" fmla="*/ 111 h 221"/>
                <a:gd name="T18" fmla="*/ 148 w 215"/>
                <a:gd name="T19" fmla="*/ 111 h 221"/>
                <a:gd name="T20" fmla="*/ 145 w 215"/>
                <a:gd name="T21" fmla="*/ 80 h 221"/>
                <a:gd name="T22" fmla="*/ 137 w 215"/>
                <a:gd name="T23" fmla="*/ 60 h 221"/>
                <a:gd name="T24" fmla="*/ 124 w 215"/>
                <a:gd name="T25" fmla="*/ 50 h 221"/>
                <a:gd name="T26" fmla="*/ 107 w 215"/>
                <a:gd name="T27" fmla="*/ 46 h 221"/>
                <a:gd name="T28" fmla="*/ 92 w 215"/>
                <a:gd name="T29" fmla="*/ 49 h 221"/>
                <a:gd name="T30" fmla="*/ 79 w 215"/>
                <a:gd name="T31" fmla="*/ 59 h 221"/>
                <a:gd name="T32" fmla="*/ 70 w 215"/>
                <a:gd name="T33" fmla="*/ 79 h 221"/>
                <a:gd name="T34" fmla="*/ 66 w 215"/>
                <a:gd name="T35" fmla="*/ 111 h 221"/>
                <a:gd name="T36" fmla="*/ 70 w 215"/>
                <a:gd name="T37" fmla="*/ 142 h 221"/>
                <a:gd name="T38" fmla="*/ 78 w 215"/>
                <a:gd name="T39" fmla="*/ 161 h 221"/>
                <a:gd name="T40" fmla="*/ 91 w 215"/>
                <a:gd name="T41" fmla="*/ 171 h 221"/>
                <a:gd name="T42" fmla="*/ 108 w 215"/>
                <a:gd name="T43" fmla="*/ 175 h 221"/>
                <a:gd name="T44" fmla="*/ 124 w 215"/>
                <a:gd name="T45" fmla="*/ 171 h 221"/>
                <a:gd name="T46" fmla="*/ 137 w 215"/>
                <a:gd name="T47" fmla="*/ 161 h 221"/>
                <a:gd name="T48" fmla="*/ 145 w 215"/>
                <a:gd name="T49" fmla="*/ 142 h 221"/>
                <a:gd name="T50" fmla="*/ 148 w 215"/>
                <a:gd name="T51" fmla="*/ 11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5" h="221">
                  <a:moveTo>
                    <a:pt x="215" y="111"/>
                  </a:moveTo>
                  <a:cubicBezTo>
                    <a:pt x="215" y="145"/>
                    <a:pt x="205" y="172"/>
                    <a:pt x="187" y="191"/>
                  </a:cubicBezTo>
                  <a:cubicBezTo>
                    <a:pt x="168" y="211"/>
                    <a:pt x="142" y="221"/>
                    <a:pt x="107" y="221"/>
                  </a:cubicBezTo>
                  <a:cubicBezTo>
                    <a:pt x="73" y="221"/>
                    <a:pt x="47" y="211"/>
                    <a:pt x="28" y="191"/>
                  </a:cubicBezTo>
                  <a:cubicBezTo>
                    <a:pt x="9" y="172"/>
                    <a:pt x="0" y="145"/>
                    <a:pt x="0" y="111"/>
                  </a:cubicBezTo>
                  <a:cubicBezTo>
                    <a:pt x="0" y="76"/>
                    <a:pt x="9" y="49"/>
                    <a:pt x="28" y="30"/>
                  </a:cubicBezTo>
                  <a:cubicBezTo>
                    <a:pt x="47" y="10"/>
                    <a:pt x="73" y="0"/>
                    <a:pt x="107" y="0"/>
                  </a:cubicBezTo>
                  <a:cubicBezTo>
                    <a:pt x="141" y="0"/>
                    <a:pt x="168" y="10"/>
                    <a:pt x="187" y="30"/>
                  </a:cubicBezTo>
                  <a:cubicBezTo>
                    <a:pt x="205" y="49"/>
                    <a:pt x="215" y="76"/>
                    <a:pt x="215" y="111"/>
                  </a:cubicBezTo>
                  <a:close/>
                  <a:moveTo>
                    <a:pt x="148" y="111"/>
                  </a:moveTo>
                  <a:cubicBezTo>
                    <a:pt x="148" y="99"/>
                    <a:pt x="147" y="88"/>
                    <a:pt x="145" y="80"/>
                  </a:cubicBezTo>
                  <a:cubicBezTo>
                    <a:pt x="143" y="72"/>
                    <a:pt x="140" y="65"/>
                    <a:pt x="137" y="60"/>
                  </a:cubicBezTo>
                  <a:cubicBezTo>
                    <a:pt x="133" y="55"/>
                    <a:pt x="129" y="52"/>
                    <a:pt x="124" y="50"/>
                  </a:cubicBezTo>
                  <a:cubicBezTo>
                    <a:pt x="119" y="48"/>
                    <a:pt x="114" y="46"/>
                    <a:pt x="107" y="46"/>
                  </a:cubicBezTo>
                  <a:cubicBezTo>
                    <a:pt x="102" y="46"/>
                    <a:pt x="96" y="47"/>
                    <a:pt x="92" y="49"/>
                  </a:cubicBezTo>
                  <a:cubicBezTo>
                    <a:pt x="87" y="51"/>
                    <a:pt x="83" y="54"/>
                    <a:pt x="79" y="59"/>
                  </a:cubicBezTo>
                  <a:cubicBezTo>
                    <a:pt x="75" y="64"/>
                    <a:pt x="72" y="71"/>
                    <a:pt x="70" y="79"/>
                  </a:cubicBezTo>
                  <a:cubicBezTo>
                    <a:pt x="68" y="88"/>
                    <a:pt x="66" y="98"/>
                    <a:pt x="66" y="111"/>
                  </a:cubicBezTo>
                  <a:cubicBezTo>
                    <a:pt x="66" y="124"/>
                    <a:pt x="68" y="134"/>
                    <a:pt x="70" y="142"/>
                  </a:cubicBezTo>
                  <a:cubicBezTo>
                    <a:pt x="72" y="150"/>
                    <a:pt x="74" y="156"/>
                    <a:pt x="78" y="161"/>
                  </a:cubicBezTo>
                  <a:cubicBezTo>
                    <a:pt x="81" y="166"/>
                    <a:pt x="86" y="169"/>
                    <a:pt x="91" y="171"/>
                  </a:cubicBezTo>
                  <a:cubicBezTo>
                    <a:pt x="96" y="174"/>
                    <a:pt x="102" y="175"/>
                    <a:pt x="108" y="175"/>
                  </a:cubicBezTo>
                  <a:cubicBezTo>
                    <a:pt x="113" y="175"/>
                    <a:pt x="118" y="174"/>
                    <a:pt x="124" y="171"/>
                  </a:cubicBezTo>
                  <a:cubicBezTo>
                    <a:pt x="129" y="169"/>
                    <a:pt x="133" y="166"/>
                    <a:pt x="137" y="161"/>
                  </a:cubicBezTo>
                  <a:cubicBezTo>
                    <a:pt x="140" y="156"/>
                    <a:pt x="143" y="150"/>
                    <a:pt x="145" y="142"/>
                  </a:cubicBezTo>
                  <a:cubicBezTo>
                    <a:pt x="147" y="135"/>
                    <a:pt x="148" y="124"/>
                    <a:pt x="148" y="11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prstClr val="black"/>
                </a:solidFill>
              </a:endParaRPr>
            </a:p>
          </p:txBody>
        </p:sp>
        <p:sp>
          <p:nvSpPr>
            <p:cNvPr id="47" name="Freeform 46"/>
            <p:cNvSpPr>
              <a:spLocks noEditPoints="1"/>
            </p:cNvSpPr>
            <p:nvPr/>
          </p:nvSpPr>
          <p:spPr bwMode="auto">
            <a:xfrm>
              <a:off x="1785" y="911"/>
              <a:ext cx="56" cy="237"/>
            </a:xfrm>
            <a:custGeom>
              <a:avLst/>
              <a:gdLst>
                <a:gd name="T0" fmla="*/ 56 w 56"/>
                <a:gd name="T1" fmla="*/ 42 h 237"/>
                <a:gd name="T2" fmla="*/ 0 w 56"/>
                <a:gd name="T3" fmla="*/ 42 h 237"/>
                <a:gd name="T4" fmla="*/ 0 w 56"/>
                <a:gd name="T5" fmla="*/ 0 h 237"/>
                <a:gd name="T6" fmla="*/ 56 w 56"/>
                <a:gd name="T7" fmla="*/ 0 h 237"/>
                <a:gd name="T8" fmla="*/ 56 w 56"/>
                <a:gd name="T9" fmla="*/ 42 h 237"/>
                <a:gd name="T10" fmla="*/ 55 w 56"/>
                <a:gd name="T11" fmla="*/ 237 h 237"/>
                <a:gd name="T12" fmla="*/ 2 w 56"/>
                <a:gd name="T13" fmla="*/ 237 h 237"/>
                <a:gd name="T14" fmla="*/ 2 w 56"/>
                <a:gd name="T15" fmla="*/ 66 h 237"/>
                <a:gd name="T16" fmla="*/ 55 w 56"/>
                <a:gd name="T17" fmla="*/ 66 h 237"/>
                <a:gd name="T18" fmla="*/ 55 w 56"/>
                <a:gd name="T19"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237">
                  <a:moveTo>
                    <a:pt x="56" y="42"/>
                  </a:moveTo>
                  <a:lnTo>
                    <a:pt x="0" y="42"/>
                  </a:lnTo>
                  <a:lnTo>
                    <a:pt x="0" y="0"/>
                  </a:lnTo>
                  <a:lnTo>
                    <a:pt x="56" y="0"/>
                  </a:lnTo>
                  <a:lnTo>
                    <a:pt x="56" y="42"/>
                  </a:lnTo>
                  <a:close/>
                  <a:moveTo>
                    <a:pt x="55" y="237"/>
                  </a:moveTo>
                  <a:lnTo>
                    <a:pt x="2" y="237"/>
                  </a:lnTo>
                  <a:lnTo>
                    <a:pt x="2" y="66"/>
                  </a:lnTo>
                  <a:lnTo>
                    <a:pt x="55" y="66"/>
                  </a:lnTo>
                  <a:lnTo>
                    <a:pt x="55" y="23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prstClr val="black"/>
                </a:solidFill>
              </a:endParaRPr>
            </a:p>
          </p:txBody>
        </p:sp>
        <p:sp>
          <p:nvSpPr>
            <p:cNvPr id="48" name="Freeform 47"/>
            <p:cNvSpPr>
              <a:spLocks/>
            </p:cNvSpPr>
            <p:nvPr/>
          </p:nvSpPr>
          <p:spPr bwMode="auto">
            <a:xfrm>
              <a:off x="1881" y="973"/>
              <a:ext cx="161" cy="175"/>
            </a:xfrm>
            <a:custGeom>
              <a:avLst/>
              <a:gdLst>
                <a:gd name="T0" fmla="*/ 195 w 195"/>
                <a:gd name="T1" fmla="*/ 213 h 213"/>
                <a:gd name="T2" fmla="*/ 130 w 195"/>
                <a:gd name="T3" fmla="*/ 213 h 213"/>
                <a:gd name="T4" fmla="*/ 130 w 195"/>
                <a:gd name="T5" fmla="*/ 110 h 213"/>
                <a:gd name="T6" fmla="*/ 129 w 195"/>
                <a:gd name="T7" fmla="*/ 85 h 213"/>
                <a:gd name="T8" fmla="*/ 125 w 195"/>
                <a:gd name="T9" fmla="*/ 67 h 213"/>
                <a:gd name="T10" fmla="*/ 116 w 195"/>
                <a:gd name="T11" fmla="*/ 57 h 213"/>
                <a:gd name="T12" fmla="*/ 99 w 195"/>
                <a:gd name="T13" fmla="*/ 54 h 213"/>
                <a:gd name="T14" fmla="*/ 83 w 195"/>
                <a:gd name="T15" fmla="*/ 57 h 213"/>
                <a:gd name="T16" fmla="*/ 65 w 195"/>
                <a:gd name="T17" fmla="*/ 66 h 213"/>
                <a:gd name="T18" fmla="*/ 65 w 195"/>
                <a:gd name="T19" fmla="*/ 213 h 213"/>
                <a:gd name="T20" fmla="*/ 0 w 195"/>
                <a:gd name="T21" fmla="*/ 213 h 213"/>
                <a:gd name="T22" fmla="*/ 0 w 195"/>
                <a:gd name="T23" fmla="*/ 5 h 213"/>
                <a:gd name="T24" fmla="*/ 65 w 195"/>
                <a:gd name="T25" fmla="*/ 5 h 213"/>
                <a:gd name="T26" fmla="*/ 65 w 195"/>
                <a:gd name="T27" fmla="*/ 28 h 213"/>
                <a:gd name="T28" fmla="*/ 96 w 195"/>
                <a:gd name="T29" fmla="*/ 7 h 213"/>
                <a:gd name="T30" fmla="*/ 130 w 195"/>
                <a:gd name="T31" fmla="*/ 0 h 213"/>
                <a:gd name="T32" fmla="*/ 178 w 195"/>
                <a:gd name="T33" fmla="*/ 20 h 213"/>
                <a:gd name="T34" fmla="*/ 195 w 195"/>
                <a:gd name="T35" fmla="*/ 78 h 213"/>
                <a:gd name="T36" fmla="*/ 195 w 195"/>
                <a:gd name="T37"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5" h="213">
                  <a:moveTo>
                    <a:pt x="195" y="213"/>
                  </a:moveTo>
                  <a:cubicBezTo>
                    <a:pt x="130" y="213"/>
                    <a:pt x="130" y="213"/>
                    <a:pt x="130" y="213"/>
                  </a:cubicBezTo>
                  <a:cubicBezTo>
                    <a:pt x="130" y="110"/>
                    <a:pt x="130" y="110"/>
                    <a:pt x="130" y="110"/>
                  </a:cubicBezTo>
                  <a:cubicBezTo>
                    <a:pt x="130" y="102"/>
                    <a:pt x="130" y="93"/>
                    <a:pt x="129" y="85"/>
                  </a:cubicBezTo>
                  <a:cubicBezTo>
                    <a:pt x="129" y="77"/>
                    <a:pt x="127" y="71"/>
                    <a:pt x="125" y="67"/>
                  </a:cubicBezTo>
                  <a:cubicBezTo>
                    <a:pt x="123" y="62"/>
                    <a:pt x="120" y="59"/>
                    <a:pt x="116" y="57"/>
                  </a:cubicBezTo>
                  <a:cubicBezTo>
                    <a:pt x="112" y="55"/>
                    <a:pt x="106" y="54"/>
                    <a:pt x="99" y="54"/>
                  </a:cubicBezTo>
                  <a:cubicBezTo>
                    <a:pt x="94" y="54"/>
                    <a:pt x="88" y="55"/>
                    <a:pt x="83" y="57"/>
                  </a:cubicBezTo>
                  <a:cubicBezTo>
                    <a:pt x="77" y="59"/>
                    <a:pt x="71" y="62"/>
                    <a:pt x="65" y="66"/>
                  </a:cubicBezTo>
                  <a:cubicBezTo>
                    <a:pt x="65" y="213"/>
                    <a:pt x="65" y="213"/>
                    <a:pt x="65" y="213"/>
                  </a:cubicBezTo>
                  <a:cubicBezTo>
                    <a:pt x="0" y="213"/>
                    <a:pt x="0" y="213"/>
                    <a:pt x="0" y="213"/>
                  </a:cubicBezTo>
                  <a:cubicBezTo>
                    <a:pt x="0" y="5"/>
                    <a:pt x="0" y="5"/>
                    <a:pt x="0" y="5"/>
                  </a:cubicBezTo>
                  <a:cubicBezTo>
                    <a:pt x="65" y="5"/>
                    <a:pt x="65" y="5"/>
                    <a:pt x="65" y="5"/>
                  </a:cubicBezTo>
                  <a:cubicBezTo>
                    <a:pt x="65" y="28"/>
                    <a:pt x="65" y="28"/>
                    <a:pt x="65" y="28"/>
                  </a:cubicBezTo>
                  <a:cubicBezTo>
                    <a:pt x="76" y="19"/>
                    <a:pt x="86" y="12"/>
                    <a:pt x="96" y="7"/>
                  </a:cubicBezTo>
                  <a:cubicBezTo>
                    <a:pt x="106" y="2"/>
                    <a:pt x="117" y="0"/>
                    <a:pt x="130" y="0"/>
                  </a:cubicBezTo>
                  <a:cubicBezTo>
                    <a:pt x="151" y="0"/>
                    <a:pt x="167" y="6"/>
                    <a:pt x="178" y="20"/>
                  </a:cubicBezTo>
                  <a:cubicBezTo>
                    <a:pt x="189" y="33"/>
                    <a:pt x="195" y="53"/>
                    <a:pt x="195" y="78"/>
                  </a:cubicBezTo>
                  <a:lnTo>
                    <a:pt x="195" y="2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prstClr val="black"/>
                </a:solidFill>
              </a:endParaRPr>
            </a:p>
          </p:txBody>
        </p:sp>
        <p:sp>
          <p:nvSpPr>
            <p:cNvPr id="49" name="Freeform 48"/>
            <p:cNvSpPr>
              <a:spLocks/>
            </p:cNvSpPr>
            <p:nvPr/>
          </p:nvSpPr>
          <p:spPr bwMode="auto">
            <a:xfrm>
              <a:off x="2068" y="925"/>
              <a:ext cx="124" cy="223"/>
            </a:xfrm>
            <a:custGeom>
              <a:avLst/>
              <a:gdLst>
                <a:gd name="T0" fmla="*/ 100 w 151"/>
                <a:gd name="T1" fmla="*/ 271 h 271"/>
                <a:gd name="T2" fmla="*/ 42 w 151"/>
                <a:gd name="T3" fmla="*/ 255 h 271"/>
                <a:gd name="T4" fmla="*/ 24 w 151"/>
                <a:gd name="T5" fmla="*/ 201 h 271"/>
                <a:gd name="T6" fmla="*/ 24 w 151"/>
                <a:gd name="T7" fmla="*/ 104 h 271"/>
                <a:gd name="T8" fmla="*/ 0 w 151"/>
                <a:gd name="T9" fmla="*/ 104 h 271"/>
                <a:gd name="T10" fmla="*/ 0 w 151"/>
                <a:gd name="T11" fmla="*/ 59 h 271"/>
                <a:gd name="T12" fmla="*/ 24 w 151"/>
                <a:gd name="T13" fmla="*/ 59 h 271"/>
                <a:gd name="T14" fmla="*/ 24 w 151"/>
                <a:gd name="T15" fmla="*/ 0 h 271"/>
                <a:gd name="T16" fmla="*/ 89 w 151"/>
                <a:gd name="T17" fmla="*/ 0 h 271"/>
                <a:gd name="T18" fmla="*/ 89 w 151"/>
                <a:gd name="T19" fmla="*/ 59 h 271"/>
                <a:gd name="T20" fmla="*/ 151 w 151"/>
                <a:gd name="T21" fmla="*/ 59 h 271"/>
                <a:gd name="T22" fmla="*/ 151 w 151"/>
                <a:gd name="T23" fmla="*/ 104 h 271"/>
                <a:gd name="T24" fmla="*/ 89 w 151"/>
                <a:gd name="T25" fmla="*/ 104 h 271"/>
                <a:gd name="T26" fmla="*/ 89 w 151"/>
                <a:gd name="T27" fmla="*/ 178 h 271"/>
                <a:gd name="T28" fmla="*/ 89 w 151"/>
                <a:gd name="T29" fmla="*/ 197 h 271"/>
                <a:gd name="T30" fmla="*/ 92 w 151"/>
                <a:gd name="T31" fmla="*/ 212 h 271"/>
                <a:gd name="T32" fmla="*/ 101 w 151"/>
                <a:gd name="T33" fmla="*/ 222 h 271"/>
                <a:gd name="T34" fmla="*/ 120 w 151"/>
                <a:gd name="T35" fmla="*/ 226 h 271"/>
                <a:gd name="T36" fmla="*/ 134 w 151"/>
                <a:gd name="T37" fmla="*/ 224 h 271"/>
                <a:gd name="T38" fmla="*/ 146 w 151"/>
                <a:gd name="T39" fmla="*/ 220 h 271"/>
                <a:gd name="T40" fmla="*/ 151 w 151"/>
                <a:gd name="T41" fmla="*/ 220 h 271"/>
                <a:gd name="T42" fmla="*/ 151 w 151"/>
                <a:gd name="T43" fmla="*/ 265 h 271"/>
                <a:gd name="T44" fmla="*/ 129 w 151"/>
                <a:gd name="T45" fmla="*/ 269 h 271"/>
                <a:gd name="T46" fmla="*/ 100 w 151"/>
                <a:gd name="T47"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1" h="271">
                  <a:moveTo>
                    <a:pt x="100" y="271"/>
                  </a:moveTo>
                  <a:cubicBezTo>
                    <a:pt x="73" y="271"/>
                    <a:pt x="54" y="266"/>
                    <a:pt x="42" y="255"/>
                  </a:cubicBezTo>
                  <a:cubicBezTo>
                    <a:pt x="30" y="244"/>
                    <a:pt x="24" y="226"/>
                    <a:pt x="24" y="201"/>
                  </a:cubicBezTo>
                  <a:cubicBezTo>
                    <a:pt x="24" y="104"/>
                    <a:pt x="24" y="104"/>
                    <a:pt x="24" y="104"/>
                  </a:cubicBezTo>
                  <a:cubicBezTo>
                    <a:pt x="0" y="104"/>
                    <a:pt x="0" y="104"/>
                    <a:pt x="0" y="104"/>
                  </a:cubicBezTo>
                  <a:cubicBezTo>
                    <a:pt x="0" y="59"/>
                    <a:pt x="0" y="59"/>
                    <a:pt x="0" y="59"/>
                  </a:cubicBezTo>
                  <a:cubicBezTo>
                    <a:pt x="24" y="59"/>
                    <a:pt x="24" y="59"/>
                    <a:pt x="24" y="59"/>
                  </a:cubicBezTo>
                  <a:cubicBezTo>
                    <a:pt x="24" y="0"/>
                    <a:pt x="24" y="0"/>
                    <a:pt x="24" y="0"/>
                  </a:cubicBezTo>
                  <a:cubicBezTo>
                    <a:pt x="89" y="0"/>
                    <a:pt x="89" y="0"/>
                    <a:pt x="89" y="0"/>
                  </a:cubicBezTo>
                  <a:cubicBezTo>
                    <a:pt x="89" y="59"/>
                    <a:pt x="89" y="59"/>
                    <a:pt x="89" y="59"/>
                  </a:cubicBezTo>
                  <a:cubicBezTo>
                    <a:pt x="151" y="59"/>
                    <a:pt x="151" y="59"/>
                    <a:pt x="151" y="59"/>
                  </a:cubicBezTo>
                  <a:cubicBezTo>
                    <a:pt x="151" y="104"/>
                    <a:pt x="151" y="104"/>
                    <a:pt x="151" y="104"/>
                  </a:cubicBezTo>
                  <a:cubicBezTo>
                    <a:pt x="89" y="104"/>
                    <a:pt x="89" y="104"/>
                    <a:pt x="89" y="104"/>
                  </a:cubicBezTo>
                  <a:cubicBezTo>
                    <a:pt x="89" y="178"/>
                    <a:pt x="89" y="178"/>
                    <a:pt x="89" y="178"/>
                  </a:cubicBezTo>
                  <a:cubicBezTo>
                    <a:pt x="89" y="185"/>
                    <a:pt x="89" y="192"/>
                    <a:pt x="89" y="197"/>
                  </a:cubicBezTo>
                  <a:cubicBezTo>
                    <a:pt x="89" y="203"/>
                    <a:pt x="90" y="208"/>
                    <a:pt x="92" y="212"/>
                  </a:cubicBezTo>
                  <a:cubicBezTo>
                    <a:pt x="94" y="216"/>
                    <a:pt x="97" y="220"/>
                    <a:pt x="101" y="222"/>
                  </a:cubicBezTo>
                  <a:cubicBezTo>
                    <a:pt x="106" y="225"/>
                    <a:pt x="112" y="226"/>
                    <a:pt x="120" y="226"/>
                  </a:cubicBezTo>
                  <a:cubicBezTo>
                    <a:pt x="124" y="226"/>
                    <a:pt x="128" y="225"/>
                    <a:pt x="134" y="224"/>
                  </a:cubicBezTo>
                  <a:cubicBezTo>
                    <a:pt x="140" y="222"/>
                    <a:pt x="144" y="221"/>
                    <a:pt x="146" y="220"/>
                  </a:cubicBezTo>
                  <a:cubicBezTo>
                    <a:pt x="151" y="220"/>
                    <a:pt x="151" y="220"/>
                    <a:pt x="151" y="220"/>
                  </a:cubicBezTo>
                  <a:cubicBezTo>
                    <a:pt x="151" y="265"/>
                    <a:pt x="151" y="265"/>
                    <a:pt x="151" y="265"/>
                  </a:cubicBezTo>
                  <a:cubicBezTo>
                    <a:pt x="144" y="267"/>
                    <a:pt x="137" y="268"/>
                    <a:pt x="129" y="269"/>
                  </a:cubicBezTo>
                  <a:cubicBezTo>
                    <a:pt x="121" y="270"/>
                    <a:pt x="111" y="271"/>
                    <a:pt x="100" y="27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prstClr val="black"/>
                </a:solidFill>
              </a:endParaRPr>
            </a:p>
          </p:txBody>
        </p:sp>
        <p:sp>
          <p:nvSpPr>
            <p:cNvPr id="50" name="Freeform 49"/>
            <p:cNvSpPr>
              <a:spLocks noEditPoints="1"/>
            </p:cNvSpPr>
            <p:nvPr/>
          </p:nvSpPr>
          <p:spPr bwMode="auto">
            <a:xfrm>
              <a:off x="2217" y="911"/>
              <a:ext cx="88" cy="88"/>
            </a:xfrm>
            <a:custGeom>
              <a:avLst/>
              <a:gdLst>
                <a:gd name="T0" fmla="*/ 107 w 107"/>
                <a:gd name="T1" fmla="*/ 54 h 107"/>
                <a:gd name="T2" fmla="*/ 91 w 107"/>
                <a:gd name="T3" fmla="*/ 91 h 107"/>
                <a:gd name="T4" fmla="*/ 53 w 107"/>
                <a:gd name="T5" fmla="*/ 107 h 107"/>
                <a:gd name="T6" fmla="*/ 15 w 107"/>
                <a:gd name="T7" fmla="*/ 91 h 107"/>
                <a:gd name="T8" fmla="*/ 0 w 107"/>
                <a:gd name="T9" fmla="*/ 54 h 107"/>
                <a:gd name="T10" fmla="*/ 15 w 107"/>
                <a:gd name="T11" fmla="*/ 16 h 107"/>
                <a:gd name="T12" fmla="*/ 53 w 107"/>
                <a:gd name="T13" fmla="*/ 0 h 107"/>
                <a:gd name="T14" fmla="*/ 91 w 107"/>
                <a:gd name="T15" fmla="*/ 16 h 107"/>
                <a:gd name="T16" fmla="*/ 107 w 107"/>
                <a:gd name="T17" fmla="*/ 54 h 107"/>
                <a:gd name="T18" fmla="*/ 95 w 107"/>
                <a:gd name="T19" fmla="*/ 54 h 107"/>
                <a:gd name="T20" fmla="*/ 83 w 107"/>
                <a:gd name="T21" fmla="*/ 24 h 107"/>
                <a:gd name="T22" fmla="*/ 53 w 107"/>
                <a:gd name="T23" fmla="*/ 12 h 107"/>
                <a:gd name="T24" fmla="*/ 24 w 107"/>
                <a:gd name="T25" fmla="*/ 24 h 107"/>
                <a:gd name="T26" fmla="*/ 12 w 107"/>
                <a:gd name="T27" fmla="*/ 54 h 107"/>
                <a:gd name="T28" fmla="*/ 24 w 107"/>
                <a:gd name="T29" fmla="*/ 83 h 107"/>
                <a:gd name="T30" fmla="*/ 53 w 107"/>
                <a:gd name="T31" fmla="*/ 96 h 107"/>
                <a:gd name="T32" fmla="*/ 83 w 107"/>
                <a:gd name="T33" fmla="*/ 83 h 107"/>
                <a:gd name="T34" fmla="*/ 95 w 107"/>
                <a:gd name="T35" fmla="*/ 54 h 107"/>
                <a:gd name="T36" fmla="*/ 82 w 107"/>
                <a:gd name="T37" fmla="*/ 79 h 107"/>
                <a:gd name="T38" fmla="*/ 66 w 107"/>
                <a:gd name="T39" fmla="*/ 79 h 107"/>
                <a:gd name="T40" fmla="*/ 51 w 107"/>
                <a:gd name="T41" fmla="*/ 59 h 107"/>
                <a:gd name="T42" fmla="*/ 45 w 107"/>
                <a:gd name="T43" fmla="*/ 59 h 107"/>
                <a:gd name="T44" fmla="*/ 45 w 107"/>
                <a:gd name="T45" fmla="*/ 79 h 107"/>
                <a:gd name="T46" fmla="*/ 33 w 107"/>
                <a:gd name="T47" fmla="*/ 79 h 107"/>
                <a:gd name="T48" fmla="*/ 33 w 107"/>
                <a:gd name="T49" fmla="*/ 26 h 107"/>
                <a:gd name="T50" fmla="*/ 52 w 107"/>
                <a:gd name="T51" fmla="*/ 26 h 107"/>
                <a:gd name="T52" fmla="*/ 61 w 107"/>
                <a:gd name="T53" fmla="*/ 26 h 107"/>
                <a:gd name="T54" fmla="*/ 67 w 107"/>
                <a:gd name="T55" fmla="*/ 28 h 107"/>
                <a:gd name="T56" fmla="*/ 73 w 107"/>
                <a:gd name="T57" fmla="*/ 33 h 107"/>
                <a:gd name="T58" fmla="*/ 74 w 107"/>
                <a:gd name="T59" fmla="*/ 41 h 107"/>
                <a:gd name="T60" fmla="*/ 71 w 107"/>
                <a:gd name="T61" fmla="*/ 50 h 107"/>
                <a:gd name="T62" fmla="*/ 63 w 107"/>
                <a:gd name="T63" fmla="*/ 56 h 107"/>
                <a:gd name="T64" fmla="*/ 82 w 107"/>
                <a:gd name="T65" fmla="*/ 79 h 107"/>
                <a:gd name="T66" fmla="*/ 60 w 107"/>
                <a:gd name="T67" fmla="*/ 42 h 107"/>
                <a:gd name="T68" fmla="*/ 59 w 107"/>
                <a:gd name="T69" fmla="*/ 38 h 107"/>
                <a:gd name="T70" fmla="*/ 57 w 107"/>
                <a:gd name="T71" fmla="*/ 36 h 107"/>
                <a:gd name="T72" fmla="*/ 54 w 107"/>
                <a:gd name="T73" fmla="*/ 35 h 107"/>
                <a:gd name="T74" fmla="*/ 49 w 107"/>
                <a:gd name="T75" fmla="*/ 35 h 107"/>
                <a:gd name="T76" fmla="*/ 45 w 107"/>
                <a:gd name="T77" fmla="*/ 35 h 107"/>
                <a:gd name="T78" fmla="*/ 45 w 107"/>
                <a:gd name="T79" fmla="*/ 50 h 107"/>
                <a:gd name="T80" fmla="*/ 48 w 107"/>
                <a:gd name="T81" fmla="*/ 50 h 107"/>
                <a:gd name="T82" fmla="*/ 54 w 107"/>
                <a:gd name="T83" fmla="*/ 49 h 107"/>
                <a:gd name="T84" fmla="*/ 57 w 107"/>
                <a:gd name="T85" fmla="*/ 48 h 107"/>
                <a:gd name="T86" fmla="*/ 59 w 107"/>
                <a:gd name="T87" fmla="*/ 45 h 107"/>
                <a:gd name="T88" fmla="*/ 60 w 107"/>
                <a:gd name="T89" fmla="*/ 4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7" h="107">
                  <a:moveTo>
                    <a:pt x="107" y="54"/>
                  </a:moveTo>
                  <a:cubicBezTo>
                    <a:pt x="107" y="68"/>
                    <a:pt x="101" y="81"/>
                    <a:pt x="91" y="91"/>
                  </a:cubicBezTo>
                  <a:cubicBezTo>
                    <a:pt x="81" y="102"/>
                    <a:pt x="68" y="107"/>
                    <a:pt x="53" y="107"/>
                  </a:cubicBezTo>
                  <a:cubicBezTo>
                    <a:pt x="38" y="107"/>
                    <a:pt x="26" y="102"/>
                    <a:pt x="15" y="91"/>
                  </a:cubicBezTo>
                  <a:cubicBezTo>
                    <a:pt x="5" y="81"/>
                    <a:pt x="0" y="68"/>
                    <a:pt x="0" y="54"/>
                  </a:cubicBezTo>
                  <a:cubicBezTo>
                    <a:pt x="0" y="39"/>
                    <a:pt x="5" y="26"/>
                    <a:pt x="15" y="16"/>
                  </a:cubicBezTo>
                  <a:cubicBezTo>
                    <a:pt x="26" y="5"/>
                    <a:pt x="38" y="0"/>
                    <a:pt x="53" y="0"/>
                  </a:cubicBezTo>
                  <a:cubicBezTo>
                    <a:pt x="68" y="0"/>
                    <a:pt x="81" y="5"/>
                    <a:pt x="91" y="16"/>
                  </a:cubicBezTo>
                  <a:cubicBezTo>
                    <a:pt x="101" y="26"/>
                    <a:pt x="107" y="39"/>
                    <a:pt x="107" y="54"/>
                  </a:cubicBezTo>
                  <a:close/>
                  <a:moveTo>
                    <a:pt x="95" y="54"/>
                  </a:moveTo>
                  <a:cubicBezTo>
                    <a:pt x="95" y="42"/>
                    <a:pt x="91" y="32"/>
                    <a:pt x="83" y="24"/>
                  </a:cubicBezTo>
                  <a:cubicBezTo>
                    <a:pt x="75" y="16"/>
                    <a:pt x="65" y="12"/>
                    <a:pt x="53" y="12"/>
                  </a:cubicBezTo>
                  <a:cubicBezTo>
                    <a:pt x="42" y="12"/>
                    <a:pt x="32" y="16"/>
                    <a:pt x="24" y="24"/>
                  </a:cubicBezTo>
                  <a:cubicBezTo>
                    <a:pt x="16" y="32"/>
                    <a:pt x="12" y="42"/>
                    <a:pt x="12" y="54"/>
                  </a:cubicBezTo>
                  <a:cubicBezTo>
                    <a:pt x="12" y="65"/>
                    <a:pt x="16" y="75"/>
                    <a:pt x="24" y="83"/>
                  </a:cubicBezTo>
                  <a:cubicBezTo>
                    <a:pt x="32" y="91"/>
                    <a:pt x="42" y="96"/>
                    <a:pt x="53" y="96"/>
                  </a:cubicBezTo>
                  <a:cubicBezTo>
                    <a:pt x="65" y="96"/>
                    <a:pt x="75" y="91"/>
                    <a:pt x="83" y="83"/>
                  </a:cubicBezTo>
                  <a:cubicBezTo>
                    <a:pt x="91" y="75"/>
                    <a:pt x="95" y="65"/>
                    <a:pt x="95" y="54"/>
                  </a:cubicBezTo>
                  <a:close/>
                  <a:moveTo>
                    <a:pt x="82" y="79"/>
                  </a:moveTo>
                  <a:cubicBezTo>
                    <a:pt x="66" y="79"/>
                    <a:pt x="66" y="79"/>
                    <a:pt x="66" y="79"/>
                  </a:cubicBezTo>
                  <a:cubicBezTo>
                    <a:pt x="51" y="59"/>
                    <a:pt x="51" y="59"/>
                    <a:pt x="51" y="59"/>
                  </a:cubicBezTo>
                  <a:cubicBezTo>
                    <a:pt x="45" y="59"/>
                    <a:pt x="45" y="59"/>
                    <a:pt x="45" y="59"/>
                  </a:cubicBezTo>
                  <a:cubicBezTo>
                    <a:pt x="45" y="79"/>
                    <a:pt x="45" y="79"/>
                    <a:pt x="45" y="79"/>
                  </a:cubicBezTo>
                  <a:cubicBezTo>
                    <a:pt x="33" y="79"/>
                    <a:pt x="33" y="79"/>
                    <a:pt x="33" y="79"/>
                  </a:cubicBezTo>
                  <a:cubicBezTo>
                    <a:pt x="33" y="26"/>
                    <a:pt x="33" y="26"/>
                    <a:pt x="33" y="26"/>
                  </a:cubicBezTo>
                  <a:cubicBezTo>
                    <a:pt x="52" y="26"/>
                    <a:pt x="52" y="26"/>
                    <a:pt x="52" y="26"/>
                  </a:cubicBezTo>
                  <a:cubicBezTo>
                    <a:pt x="56" y="26"/>
                    <a:pt x="59" y="26"/>
                    <a:pt x="61" y="26"/>
                  </a:cubicBezTo>
                  <a:cubicBezTo>
                    <a:pt x="63" y="26"/>
                    <a:pt x="65" y="27"/>
                    <a:pt x="67" y="28"/>
                  </a:cubicBezTo>
                  <a:cubicBezTo>
                    <a:pt x="70" y="30"/>
                    <a:pt x="71" y="31"/>
                    <a:pt x="73" y="33"/>
                  </a:cubicBezTo>
                  <a:cubicBezTo>
                    <a:pt x="74" y="35"/>
                    <a:pt x="74" y="38"/>
                    <a:pt x="74" y="41"/>
                  </a:cubicBezTo>
                  <a:cubicBezTo>
                    <a:pt x="74" y="44"/>
                    <a:pt x="73" y="48"/>
                    <a:pt x="71" y="50"/>
                  </a:cubicBezTo>
                  <a:cubicBezTo>
                    <a:pt x="69" y="53"/>
                    <a:pt x="66" y="55"/>
                    <a:pt x="63" y="56"/>
                  </a:cubicBezTo>
                  <a:lnTo>
                    <a:pt x="82" y="79"/>
                  </a:lnTo>
                  <a:close/>
                  <a:moveTo>
                    <a:pt x="60" y="42"/>
                  </a:moveTo>
                  <a:cubicBezTo>
                    <a:pt x="60" y="40"/>
                    <a:pt x="60" y="39"/>
                    <a:pt x="59" y="38"/>
                  </a:cubicBezTo>
                  <a:cubicBezTo>
                    <a:pt x="59" y="38"/>
                    <a:pt x="58" y="37"/>
                    <a:pt x="57" y="36"/>
                  </a:cubicBezTo>
                  <a:cubicBezTo>
                    <a:pt x="56" y="36"/>
                    <a:pt x="55" y="35"/>
                    <a:pt x="54" y="35"/>
                  </a:cubicBezTo>
                  <a:cubicBezTo>
                    <a:pt x="53" y="35"/>
                    <a:pt x="51" y="35"/>
                    <a:pt x="49" y="35"/>
                  </a:cubicBezTo>
                  <a:cubicBezTo>
                    <a:pt x="45" y="35"/>
                    <a:pt x="45" y="35"/>
                    <a:pt x="45" y="35"/>
                  </a:cubicBezTo>
                  <a:cubicBezTo>
                    <a:pt x="45" y="50"/>
                    <a:pt x="45" y="50"/>
                    <a:pt x="45" y="50"/>
                  </a:cubicBezTo>
                  <a:cubicBezTo>
                    <a:pt x="48" y="50"/>
                    <a:pt x="48" y="50"/>
                    <a:pt x="48" y="50"/>
                  </a:cubicBezTo>
                  <a:cubicBezTo>
                    <a:pt x="50" y="50"/>
                    <a:pt x="52" y="50"/>
                    <a:pt x="54" y="49"/>
                  </a:cubicBezTo>
                  <a:cubicBezTo>
                    <a:pt x="55" y="49"/>
                    <a:pt x="57" y="49"/>
                    <a:pt x="57" y="48"/>
                  </a:cubicBezTo>
                  <a:cubicBezTo>
                    <a:pt x="58" y="47"/>
                    <a:pt x="59" y="46"/>
                    <a:pt x="59" y="45"/>
                  </a:cubicBezTo>
                  <a:cubicBezTo>
                    <a:pt x="60" y="44"/>
                    <a:pt x="60" y="43"/>
                    <a:pt x="60" y="4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prstClr val="black"/>
                </a:solidFill>
              </a:endParaRPr>
            </a:p>
          </p:txBody>
        </p:sp>
      </p:grpSp>
      <p:pic>
        <p:nvPicPr>
          <p:cNvPr id="17" name="Picture 1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789803" y="6073554"/>
            <a:ext cx="2126610" cy="529034"/>
          </a:xfrm>
          <a:prstGeom prst="rect">
            <a:avLst/>
          </a:prstGeom>
          <a:effectLst/>
        </p:spPr>
      </p:pic>
      <p:sp>
        <p:nvSpPr>
          <p:cNvPr id="19" name="Title 1"/>
          <p:cNvSpPr>
            <a:spLocks noGrp="1"/>
          </p:cNvSpPr>
          <p:nvPr>
            <p:ph type="ctrTitle" hasCustomPrompt="1"/>
          </p:nvPr>
        </p:nvSpPr>
        <p:spPr>
          <a:xfrm>
            <a:off x="631106" y="3077646"/>
            <a:ext cx="10995411" cy="665777"/>
          </a:xfrm>
          <a:prstGeom prst="rect">
            <a:avLst/>
          </a:prstGeom>
        </p:spPr>
        <p:txBody>
          <a:bodyPr/>
          <a:lstStyle>
            <a:lvl1pPr algn="l">
              <a:defRPr sz="4080" b="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0" name="Subtitle 2"/>
          <p:cNvSpPr>
            <a:spLocks noGrp="1"/>
          </p:cNvSpPr>
          <p:nvPr>
            <p:ph type="subTitle" idx="1" hasCustomPrompt="1"/>
          </p:nvPr>
        </p:nvSpPr>
        <p:spPr>
          <a:xfrm>
            <a:off x="621824" y="3627071"/>
            <a:ext cx="10995412" cy="848883"/>
          </a:xfrm>
          <a:prstGeom prst="rect">
            <a:avLst/>
          </a:prstGeom>
        </p:spPr>
        <p:txBody>
          <a:bodyPr/>
          <a:lstStyle>
            <a:lvl1pPr marL="0" indent="0" algn="l" defTabSz="466298" rtl="0" eaLnBrk="1" latinLnBrk="0" hangingPunct="1">
              <a:spcBef>
                <a:spcPct val="20000"/>
              </a:spcBef>
              <a:buFont typeface="Arial"/>
              <a:buNone/>
              <a:defRPr kumimoji="0" lang="en-US" sz="2448" b="0" i="0" u="none" strike="noStrike" kern="1200" cap="none" spc="-102" normalizeH="0" baseline="0" dirty="0">
                <a:ln w="3175">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32251256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Non-Bulleted Content_New">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3"/>
            <a:ext cx="11375536" cy="762786"/>
          </a:xfrm>
        </p:spPr>
        <p:txBody>
          <a:bodyPr/>
          <a:lstStyle/>
          <a:p>
            <a:r>
              <a:rPr lang="en-US" dirty="0"/>
              <a:t>Click to edit Master title style</a:t>
            </a:r>
          </a:p>
        </p:txBody>
      </p:sp>
      <p:sp>
        <p:nvSpPr>
          <p:cNvPr id="9" name="Text Placeholder 4"/>
          <p:cNvSpPr>
            <a:spLocks noGrp="1"/>
          </p:cNvSpPr>
          <p:nvPr>
            <p:ph type="body" sz="quarter" idx="10"/>
          </p:nvPr>
        </p:nvSpPr>
        <p:spPr>
          <a:xfrm>
            <a:off x="529661" y="1476621"/>
            <a:ext cx="11375536" cy="965254"/>
          </a:xfrm>
        </p:spPr>
        <p:txBody>
          <a:bodyPr/>
          <a:lstStyle>
            <a:lvl1pPr marL="0" indent="0">
              <a:spcBef>
                <a:spcPts val="0"/>
              </a:spcBef>
              <a:spcAft>
                <a:spcPts val="918"/>
              </a:spcAft>
              <a:buNone/>
              <a:defRPr sz="4080" spc="-102" baseline="0">
                <a:latin typeface="Segoe UI" panose="020B0502040204020203" pitchFamily="34" charset="0"/>
                <a:cs typeface="Segoe UI" panose="020B0502040204020203" pitchFamily="34" charset="0"/>
              </a:defRPr>
            </a:lvl1pPr>
            <a:lvl2pPr marL="0" indent="0">
              <a:spcBef>
                <a:spcPts val="0"/>
              </a:spcBef>
              <a:spcAft>
                <a:spcPts val="408"/>
              </a:spcAft>
              <a:buNone/>
              <a:defRPr sz="2040" spc="-52" baseline="0">
                <a:latin typeface="Segoe UI" panose="020B0502040204020203" pitchFamily="34" charset="0"/>
                <a:ea typeface="Segoe UI" panose="020B0502040204020203" pitchFamily="34" charset="0"/>
                <a:cs typeface="Segoe UI" panose="020B0502040204020203" pitchFamily="34" charset="0"/>
              </a:defRPr>
            </a:lvl2pPr>
            <a:lvl3pPr marL="0" indent="0">
              <a:spcBef>
                <a:spcPts val="0"/>
              </a:spcBef>
              <a:spcAft>
                <a:spcPts val="408"/>
              </a:spcAft>
              <a:buNone/>
              <a:defRPr sz="2040"/>
            </a:lvl3pPr>
            <a:lvl4pPr marL="0" indent="0">
              <a:spcBef>
                <a:spcPts val="0"/>
              </a:spcBef>
              <a:spcAft>
                <a:spcPts val="408"/>
              </a:spcAft>
              <a:buNone/>
              <a:defRPr/>
            </a:lvl4pPr>
            <a:lvl5pPr marL="0" indent="0">
              <a:spcBef>
                <a:spcPts val="0"/>
              </a:spcBef>
              <a:spcAft>
                <a:spcPts val="408"/>
              </a:spcAft>
              <a:buNone/>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586367"/>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Bulleted Content_New">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3"/>
            <a:ext cx="11375536" cy="762786"/>
          </a:xfrm>
        </p:spPr>
        <p:txBody>
          <a:bodyPr/>
          <a:lstStyle/>
          <a:p>
            <a:r>
              <a:rPr lang="en-US" dirty="0"/>
              <a:t>Click to edit Master title style</a:t>
            </a:r>
          </a:p>
        </p:txBody>
      </p:sp>
      <p:sp>
        <p:nvSpPr>
          <p:cNvPr id="5" name="Text Placeholder 4"/>
          <p:cNvSpPr>
            <a:spLocks noGrp="1"/>
          </p:cNvSpPr>
          <p:nvPr>
            <p:ph type="body" sz="quarter" idx="10"/>
          </p:nvPr>
        </p:nvSpPr>
        <p:spPr>
          <a:xfrm>
            <a:off x="529661" y="1476622"/>
            <a:ext cx="11375536" cy="1739026"/>
          </a:xfrm>
        </p:spPr>
        <p:txBody>
          <a:bodyPr/>
          <a:lstStyle>
            <a:lvl1pPr marL="279772">
              <a:defRPr/>
            </a:lvl1pPr>
            <a:lvl2pPr marL="466287">
              <a:defRPr>
                <a:latin typeface="Segoe UI" panose="020B0502040204020203" pitchFamily="34" charset="0"/>
                <a:cs typeface="Segoe UI" panose="020B0502040204020203" pitchFamily="34" charset="0"/>
              </a:defRPr>
            </a:lvl2pPr>
            <a:lvl3pPr marL="652801">
              <a:defRPr/>
            </a:lvl3pPr>
            <a:lvl4pPr marL="839315">
              <a:defRPr/>
            </a:lvl4pPr>
            <a:lvl5pPr marL="1025831">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49102276"/>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Non-Bulleted Content &amp; Media_New">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3"/>
            <a:ext cx="11375536" cy="762786"/>
          </a:xfrm>
        </p:spPr>
        <p:txBody>
          <a:bodyPr/>
          <a:lstStyle/>
          <a:p>
            <a:r>
              <a:rPr lang="en-US" dirty="0"/>
              <a:t>Click to edit Master title style</a:t>
            </a:r>
          </a:p>
        </p:txBody>
      </p:sp>
      <p:sp>
        <p:nvSpPr>
          <p:cNvPr id="6" name="Content Placeholder 12"/>
          <p:cNvSpPr>
            <a:spLocks noGrp="1"/>
          </p:cNvSpPr>
          <p:nvPr>
            <p:ph sz="quarter" idx="11"/>
          </p:nvPr>
        </p:nvSpPr>
        <p:spPr>
          <a:xfrm>
            <a:off x="529660" y="1476621"/>
            <a:ext cx="5409867" cy="1475347"/>
          </a:xfrm>
        </p:spPr>
        <p:txBody>
          <a:bodyPr/>
          <a:lstStyle>
            <a:lvl1pPr marL="0" indent="0">
              <a:buNone/>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a:p>
            <a:pPr lvl="1"/>
            <a:r>
              <a:rPr lang="en-US" dirty="0"/>
              <a:t>Second level</a:t>
            </a:r>
          </a:p>
        </p:txBody>
      </p:sp>
      <p:sp>
        <p:nvSpPr>
          <p:cNvPr id="7" name="Content Placeholder 12"/>
          <p:cNvSpPr>
            <a:spLocks noGrp="1"/>
          </p:cNvSpPr>
          <p:nvPr>
            <p:ph sz="quarter" idx="12"/>
          </p:nvPr>
        </p:nvSpPr>
        <p:spPr>
          <a:xfrm>
            <a:off x="6495329" y="1476621"/>
            <a:ext cx="5409867" cy="1475347"/>
          </a:xfrm>
        </p:spPr>
        <p:txBody>
          <a:bodyPr/>
          <a:lstStyle>
            <a:lvl1pPr marL="0" indent="0">
              <a:buNone/>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58737279"/>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nd Bulleted Content &amp; Media_New">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3"/>
            <a:ext cx="11375536" cy="762786"/>
          </a:xfrm>
        </p:spPr>
        <p:txBody>
          <a:bodyPr/>
          <a:lstStyle/>
          <a:p>
            <a:r>
              <a:rPr lang="en-US" dirty="0"/>
              <a:t>Click to edit Master title style</a:t>
            </a:r>
          </a:p>
        </p:txBody>
      </p:sp>
      <p:sp>
        <p:nvSpPr>
          <p:cNvPr id="8" name="Content Placeholder 3"/>
          <p:cNvSpPr>
            <a:spLocks noGrp="1"/>
          </p:cNvSpPr>
          <p:nvPr>
            <p:ph sz="quarter" idx="12"/>
          </p:nvPr>
        </p:nvSpPr>
        <p:spPr>
          <a:xfrm>
            <a:off x="529660" y="1476618"/>
            <a:ext cx="5409867" cy="2349960"/>
          </a:xfrm>
        </p:spPr>
        <p:txBody>
          <a:bodyPr/>
          <a:lstStyle>
            <a:lvl1pPr marL="509678" indent="-582859">
              <a:buNone/>
              <a:defRPr lang="en-US" sz="4080" kern="1200" dirty="0" smtClean="0">
                <a:solidFill>
                  <a:srgbClr val="FF0000"/>
                </a:solidFill>
                <a:latin typeface="Segoe UI" panose="020B0502040204020203" pitchFamily="34" charset="0"/>
                <a:ea typeface="+mn-ea"/>
                <a:cs typeface="Segoe UI" panose="020B0502040204020203" pitchFamily="34" charset="0"/>
              </a:defRPr>
            </a:lvl1pPr>
            <a:lvl2pPr>
              <a:defRPr>
                <a:latin typeface="Segoe UI" panose="020B0502040204020203" pitchFamily="34" charset="0"/>
                <a:cs typeface="Segoe UI" panose="020B0502040204020203" pitchFamily="34" charset="0"/>
              </a:defRPr>
            </a:lvl2pPr>
            <a:lvl3pPr>
              <a:defRPr>
                <a:latin typeface="Segoe UI" panose="020B0502040204020203" pitchFamily="34" charset="0"/>
                <a:cs typeface="Segoe UI" panose="020B0502040204020203" pitchFamily="34" charset="0"/>
              </a:defRPr>
            </a:lvl3pPr>
            <a:lvl4pPr>
              <a:defRPr>
                <a:latin typeface="Segoe UI" panose="020B0502040204020203" pitchFamily="34" charset="0"/>
                <a:cs typeface="Segoe UI" panose="020B0502040204020203" pitchFamily="34" charset="0"/>
              </a:defRPr>
            </a:lvl4pPr>
            <a:lvl5pPr>
              <a:defRPr>
                <a:latin typeface="Segoe UI" panose="020B0502040204020203" pitchFamily="34" charset="0"/>
                <a:cs typeface="Segoe UI" panose="020B0502040204020203" pitchFamily="34" charset="0"/>
              </a:defRPr>
            </a:lvl5pPr>
          </a:lstStyle>
          <a:p>
            <a:pPr marL="279772" lvl="0" indent="-352953" algn="l" defTabSz="932535" rtl="0" eaLnBrk="1" latinLnBrk="0" hangingPunct="1">
              <a:lnSpc>
                <a:spcPct val="90000"/>
              </a:lnSpc>
              <a:spcBef>
                <a:spcPct val="20000"/>
              </a:spcBef>
              <a:buSzPct val="90000"/>
              <a:buFont typeface="Arial" pitchFamily="34" charset="0"/>
              <a:buChar cha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4"/>
          </p:nvPr>
        </p:nvSpPr>
        <p:spPr>
          <a:xfrm>
            <a:off x="6495329" y="1476617"/>
            <a:ext cx="5409867" cy="2349960"/>
          </a:xfrm>
        </p:spPr>
        <p:txBody>
          <a:bodyPr/>
          <a:lstStyle>
            <a:lvl1pPr marL="509678" indent="-582859">
              <a:buNone/>
              <a:defRPr lang="en-US" sz="4080" kern="1200" dirty="0" smtClean="0">
                <a:solidFill>
                  <a:srgbClr val="FF0000"/>
                </a:solidFill>
                <a:latin typeface="Segoe UI" panose="020B0502040204020203" pitchFamily="34" charset="0"/>
                <a:ea typeface="+mn-ea"/>
                <a:cs typeface="Segoe UI" panose="020B0502040204020203" pitchFamily="34" charset="0"/>
              </a:defRPr>
            </a:lvl1pPr>
            <a:lvl2pPr>
              <a:defRPr>
                <a:latin typeface="Segoe UI" panose="020B0502040204020203" pitchFamily="34" charset="0"/>
                <a:cs typeface="Segoe UI" panose="020B0502040204020203" pitchFamily="34" charset="0"/>
              </a:defRPr>
            </a:lvl2pPr>
            <a:lvl3pPr>
              <a:defRPr>
                <a:latin typeface="Segoe UI" panose="020B0502040204020203" pitchFamily="34" charset="0"/>
                <a:cs typeface="Segoe UI" panose="020B0502040204020203" pitchFamily="34" charset="0"/>
              </a:defRPr>
            </a:lvl3pPr>
            <a:lvl4pPr>
              <a:defRPr>
                <a:latin typeface="Segoe UI" panose="020B0502040204020203" pitchFamily="34" charset="0"/>
                <a:cs typeface="Segoe UI" panose="020B0502040204020203" pitchFamily="34" charset="0"/>
              </a:defRPr>
            </a:lvl4pPr>
            <a:lvl5pPr>
              <a:defRPr>
                <a:latin typeface="Segoe UI" panose="020B0502040204020203" pitchFamily="34" charset="0"/>
                <a:cs typeface="Segoe UI" panose="020B0502040204020203" pitchFamily="34" charset="0"/>
              </a:defRPr>
            </a:lvl5pPr>
          </a:lstStyle>
          <a:p>
            <a:pPr marL="279772" lvl="0" indent="-352953" algn="l" defTabSz="932535" rtl="0" eaLnBrk="1" latinLnBrk="0" hangingPunct="1">
              <a:lnSpc>
                <a:spcPct val="90000"/>
              </a:lnSpc>
              <a:spcBef>
                <a:spcPct val="20000"/>
              </a:spcBef>
              <a:buSzPct val="90000"/>
              <a:buFont typeface="Arial" pitchFamily="34" charset="0"/>
              <a:buChar cha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4042032"/>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Non-Bulleted Content and Media_Ne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529660" y="1477749"/>
            <a:ext cx="11379375" cy="910320"/>
          </a:xfrm>
        </p:spPr>
        <p:txBody>
          <a:bodyPr/>
          <a:lstStyle>
            <a:lvl1pPr marL="0" indent="0">
              <a:buNone/>
              <a:defRPr/>
            </a:lvl1pPr>
            <a:lvl2pPr marL="0" indent="0">
              <a:buNone/>
              <a:defRPr>
                <a:latin typeface="Segoe UI" panose="020B0502040204020203" pitchFamily="34" charset="0"/>
                <a:cs typeface="Segoe UI" panose="020B0502040204020203" pitchFamily="34" charset="0"/>
              </a:defRPr>
            </a:lvl2pPr>
            <a:lvl3pPr marL="362991" indent="0">
              <a:buNone/>
              <a:defRPr/>
            </a:lvl3pPr>
            <a:lvl4pPr marL="611030" indent="0">
              <a:buNone/>
              <a:defRPr/>
            </a:lvl4pPr>
            <a:lvl5pPr marL="791068" indent="0">
              <a:buNone/>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03546619"/>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Bulleted Content and Me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529661" y="1476622"/>
            <a:ext cx="11375536" cy="1739026"/>
          </a:xfrm>
        </p:spPr>
        <p:txBody>
          <a:bodyPr/>
          <a:lstStyle>
            <a:lvl1pPr>
              <a:lnSpc>
                <a:spcPct val="90000"/>
              </a:lnSpc>
              <a:defRPr/>
            </a:lvl1pPr>
            <a:lvl2pPr>
              <a:lnSpc>
                <a:spcPct val="90000"/>
              </a:lnSpc>
              <a:defRPr>
                <a:latin typeface="Segoe UI" panose="020B0502040204020203" pitchFamily="34" charset="0"/>
                <a:cs typeface="Segoe UI" panose="020B0502040204020203" pitchFamily="34" charset="0"/>
              </a:defRPr>
            </a:lvl2pPr>
            <a:lvl3pPr>
              <a:lnSpc>
                <a:spcPct val="90000"/>
              </a:lnSpc>
              <a:defRPr/>
            </a:lvl3pPr>
            <a:lvl4pPr>
              <a:lnSpc>
                <a:spcPct val="90000"/>
              </a:lnSpc>
              <a:defRPr/>
            </a:lvl4pPr>
            <a:lvl5pPr>
              <a:lnSpc>
                <a:spcPct val="9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8674488"/>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ection Break_New">
    <p:spTree>
      <p:nvGrpSpPr>
        <p:cNvPr id="1" name=""/>
        <p:cNvGrpSpPr/>
        <p:nvPr/>
      </p:nvGrpSpPr>
      <p:grpSpPr>
        <a:xfrm>
          <a:off x="0" y="0"/>
          <a:ext cx="0" cy="0"/>
          <a:chOff x="0" y="0"/>
          <a:chExt cx="0" cy="0"/>
        </a:xfrm>
      </p:grpSpPr>
      <p:sp>
        <p:nvSpPr>
          <p:cNvPr id="3" name="Rectangle 2"/>
          <p:cNvSpPr/>
          <p:nvPr userDrawn="1"/>
        </p:nvSpPr>
        <p:spPr>
          <a:xfrm>
            <a:off x="0" y="2396997"/>
            <a:ext cx="12436475" cy="11745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FFFFFF"/>
              </a:solidFill>
            </a:endParaRPr>
          </a:p>
        </p:txBody>
      </p:sp>
      <p:sp>
        <p:nvSpPr>
          <p:cNvPr id="7" name="Text Placeholder 5"/>
          <p:cNvSpPr>
            <a:spLocks noGrp="1"/>
          </p:cNvSpPr>
          <p:nvPr>
            <p:ph type="body" sz="quarter" idx="10" hasCustomPrompt="1"/>
          </p:nvPr>
        </p:nvSpPr>
        <p:spPr>
          <a:xfrm>
            <a:off x="597536" y="2713323"/>
            <a:ext cx="11234930" cy="536775"/>
          </a:xfrm>
        </p:spPr>
        <p:txBody>
          <a:bodyPr anchor="ctr"/>
          <a:lstStyle>
            <a:lvl1pPr marL="0" indent="0" algn="l" defTabSz="932535" rtl="0" eaLnBrk="1" latinLnBrk="0" hangingPunct="1">
              <a:lnSpc>
                <a:spcPct val="90000"/>
              </a:lnSpc>
              <a:spcBef>
                <a:spcPct val="0"/>
              </a:spcBef>
              <a:buNone/>
              <a:defRPr lang="en-US" sz="3876" b="0" kern="1200" cap="none" spc="-102" baseline="0" dirty="0" smtClean="0">
                <a:ln w="3175">
                  <a:noFill/>
                </a:ln>
                <a:solidFill>
                  <a:srgbClr val="FFFFFF"/>
                </a:solidFill>
                <a:effectLst/>
                <a:latin typeface="Segoe UI" panose="020B0502040204020203" pitchFamily="34" charset="0"/>
                <a:ea typeface="+mn-ea"/>
                <a:cs typeface="Segoe UI"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1102091550"/>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Section Break_New">
    <p:spTree>
      <p:nvGrpSpPr>
        <p:cNvPr id="1" name=""/>
        <p:cNvGrpSpPr/>
        <p:nvPr/>
      </p:nvGrpSpPr>
      <p:grpSpPr>
        <a:xfrm>
          <a:off x="0" y="0"/>
          <a:ext cx="0" cy="0"/>
          <a:chOff x="0" y="0"/>
          <a:chExt cx="0" cy="0"/>
        </a:xfrm>
      </p:grpSpPr>
      <p:sp>
        <p:nvSpPr>
          <p:cNvPr id="3" name="Rectangle 2"/>
          <p:cNvSpPr/>
          <p:nvPr userDrawn="1"/>
        </p:nvSpPr>
        <p:spPr>
          <a:xfrm>
            <a:off x="0" y="2396997"/>
            <a:ext cx="12436475" cy="1174552"/>
          </a:xfrm>
          <a:prstGeom prst="rect">
            <a:avLst/>
          </a:prstGeom>
          <a:solidFill>
            <a:srgbClr val="E31A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FFFFFF"/>
              </a:solidFill>
            </a:endParaRPr>
          </a:p>
        </p:txBody>
      </p:sp>
      <p:sp>
        <p:nvSpPr>
          <p:cNvPr id="7" name="Text Placeholder 5"/>
          <p:cNvSpPr>
            <a:spLocks noGrp="1"/>
          </p:cNvSpPr>
          <p:nvPr>
            <p:ph type="body" sz="quarter" idx="10" hasCustomPrompt="1"/>
          </p:nvPr>
        </p:nvSpPr>
        <p:spPr>
          <a:xfrm>
            <a:off x="597536" y="2713323"/>
            <a:ext cx="11234930" cy="536775"/>
          </a:xfrm>
        </p:spPr>
        <p:txBody>
          <a:bodyPr anchor="ctr"/>
          <a:lstStyle>
            <a:lvl1pPr marL="0" indent="0" algn="l" defTabSz="932535" rtl="0" eaLnBrk="1" latinLnBrk="0" hangingPunct="1">
              <a:lnSpc>
                <a:spcPct val="90000"/>
              </a:lnSpc>
              <a:spcBef>
                <a:spcPct val="0"/>
              </a:spcBef>
              <a:buNone/>
              <a:defRPr lang="en-US" sz="3876" b="0" kern="1200" cap="none" spc="-102" baseline="0" dirty="0" smtClean="0">
                <a:ln w="3175">
                  <a:noFill/>
                </a:ln>
                <a:solidFill>
                  <a:srgbClr val="FFFFFF"/>
                </a:solidFill>
                <a:effectLst/>
                <a:latin typeface="Segoe UI" panose="020B0502040204020203" pitchFamily="34" charset="0"/>
                <a:ea typeface="+mn-ea"/>
                <a:cs typeface="Segoe UI"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3619822076"/>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2_Section Break_New">
    <p:spTree>
      <p:nvGrpSpPr>
        <p:cNvPr id="1" name=""/>
        <p:cNvGrpSpPr/>
        <p:nvPr/>
      </p:nvGrpSpPr>
      <p:grpSpPr>
        <a:xfrm>
          <a:off x="0" y="0"/>
          <a:ext cx="0" cy="0"/>
          <a:chOff x="0" y="0"/>
          <a:chExt cx="0" cy="0"/>
        </a:xfrm>
      </p:grpSpPr>
      <p:sp>
        <p:nvSpPr>
          <p:cNvPr id="3" name="Rectangle 2"/>
          <p:cNvSpPr/>
          <p:nvPr userDrawn="1"/>
        </p:nvSpPr>
        <p:spPr>
          <a:xfrm>
            <a:off x="0" y="2396997"/>
            <a:ext cx="12436475" cy="1174552"/>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FFFFFF"/>
              </a:solidFill>
            </a:endParaRPr>
          </a:p>
        </p:txBody>
      </p:sp>
      <p:sp>
        <p:nvSpPr>
          <p:cNvPr id="7" name="Text Placeholder 5"/>
          <p:cNvSpPr>
            <a:spLocks noGrp="1"/>
          </p:cNvSpPr>
          <p:nvPr>
            <p:ph type="body" sz="quarter" idx="10" hasCustomPrompt="1"/>
          </p:nvPr>
        </p:nvSpPr>
        <p:spPr>
          <a:xfrm>
            <a:off x="597536" y="2713323"/>
            <a:ext cx="11234930" cy="536775"/>
          </a:xfrm>
        </p:spPr>
        <p:txBody>
          <a:bodyPr anchor="ctr"/>
          <a:lstStyle>
            <a:lvl1pPr marL="0" indent="0" algn="l" defTabSz="932535" rtl="0" eaLnBrk="1" latinLnBrk="0" hangingPunct="1">
              <a:lnSpc>
                <a:spcPct val="90000"/>
              </a:lnSpc>
              <a:spcBef>
                <a:spcPct val="0"/>
              </a:spcBef>
              <a:buNone/>
              <a:defRPr lang="en-US" sz="3876" b="0" kern="1200" cap="none" spc="-102" baseline="0" dirty="0" smtClean="0">
                <a:ln w="3175">
                  <a:noFill/>
                </a:ln>
                <a:solidFill>
                  <a:srgbClr val="FFFFFF"/>
                </a:solidFill>
                <a:effectLst/>
                <a:latin typeface="Segoe UI" panose="020B0502040204020203" pitchFamily="34" charset="0"/>
                <a:ea typeface="+mn-ea"/>
                <a:cs typeface="Segoe UI"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124384858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Multiple Image">
    <p:spTree>
      <p:nvGrpSpPr>
        <p:cNvPr id="1" name=""/>
        <p:cNvGrpSpPr/>
        <p:nvPr/>
      </p:nvGrpSpPr>
      <p:grpSpPr>
        <a:xfrm>
          <a:off x="0" y="0"/>
          <a:ext cx="0" cy="0"/>
          <a:chOff x="0" y="0"/>
          <a:chExt cx="0" cy="0"/>
        </a:xfrm>
      </p:grpSpPr>
      <p:pic>
        <p:nvPicPr>
          <p:cNvPr id="18" name="Image 17" descr="footer-LowDNA.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642250"/>
            <a:ext cx="9309720" cy="1352275"/>
          </a:xfrm>
          <a:prstGeom prst="rect">
            <a:avLst/>
          </a:prstGeom>
        </p:spPr>
      </p:pic>
      <p:sp>
        <p:nvSpPr>
          <p:cNvPr id="20" name="Slide Number Placeholder 5"/>
          <p:cNvSpPr>
            <a:spLocks noGrp="1"/>
          </p:cNvSpPr>
          <p:nvPr>
            <p:ph type="sldNum" sz="quarter" idx="12"/>
          </p:nvPr>
        </p:nvSpPr>
        <p:spPr>
          <a:xfrm>
            <a:off x="5688861" y="6645808"/>
            <a:ext cx="1058755" cy="246002"/>
          </a:xfrm>
          <a:prstGeom prst="rect">
            <a:avLst/>
          </a:prstGeom>
        </p:spPr>
        <p:txBody>
          <a:bodyPr wrap="none" lIns="0" tIns="0" rIns="0" bIns="0" anchor="t" anchorCtr="0">
            <a:noAutofit/>
          </a:bodyPr>
          <a:lstStyle>
            <a:lvl1pPr algn="ctr">
              <a:defRPr lang="en-GB" sz="1122" kern="1200" noProof="0" dirty="0" smtClean="0">
                <a:solidFill>
                  <a:srgbClr val="666666"/>
                </a:solidFill>
                <a:latin typeface="Arial" pitchFamily="34" charset="0"/>
                <a:ea typeface="+mn-ea"/>
                <a:cs typeface="Arial" pitchFamily="34" charset="0"/>
              </a:defRPr>
            </a:lvl1pPr>
          </a:lstStyle>
          <a:p>
            <a:pPr marL="0" marR="0" lvl="0" indent="0" algn="ctr" defTabSz="932742" rtl="0" eaLnBrk="1" fontAlgn="auto" latinLnBrk="0" hangingPunct="1">
              <a:lnSpc>
                <a:spcPct val="100000"/>
              </a:lnSpc>
              <a:spcBef>
                <a:spcPts val="0"/>
              </a:spcBef>
              <a:spcAft>
                <a:spcPts val="0"/>
              </a:spcAft>
              <a:buClrTx/>
              <a:buSzTx/>
              <a:buFontTx/>
              <a:buNone/>
              <a:tabLst/>
              <a:defRPr/>
            </a:pPr>
            <a:fld id="{525A3C56-E491-49B2-93F3-63532DF516BC}" type="slidenum">
              <a:rPr kumimoji="0" lang="en-US" sz="1122" b="0" i="0" u="none" strike="noStrike" kern="1200" cap="none" spc="0" normalizeH="0" baseline="0" noProof="0" smtClean="0">
                <a:ln>
                  <a:noFill/>
                </a:ln>
                <a:solidFill>
                  <a:srgbClr val="666666"/>
                </a:solidFill>
                <a:effectLst/>
                <a:uLnTx/>
                <a:uFillTx/>
                <a:latin typeface="Arial" pitchFamily="34" charset="0"/>
                <a:ea typeface="+mn-ea"/>
                <a:cs typeface="Arial" pitchFamily="34" charset="0"/>
              </a:rPr>
              <a:pPr marL="0" marR="0" lvl="0" indent="0" algn="ctr" defTabSz="932742" rtl="0" eaLnBrk="1" fontAlgn="auto" latinLnBrk="0" hangingPunct="1">
                <a:lnSpc>
                  <a:spcPct val="100000"/>
                </a:lnSpc>
                <a:spcBef>
                  <a:spcPts val="0"/>
                </a:spcBef>
                <a:spcAft>
                  <a:spcPts val="0"/>
                </a:spcAft>
                <a:buClrTx/>
                <a:buSzTx/>
                <a:buFontTx/>
                <a:buNone/>
                <a:tabLst/>
                <a:defRPr/>
              </a:pPr>
              <a:t>‹#›</a:t>
            </a:fld>
            <a:endParaRPr kumimoji="0" lang="en-US" sz="1122" b="0" i="0" u="none" strike="noStrike" kern="1200" cap="none" spc="0" normalizeH="0" baseline="0" noProof="0" dirty="0">
              <a:ln>
                <a:noFill/>
              </a:ln>
              <a:solidFill>
                <a:srgbClr val="666666"/>
              </a:solidFill>
              <a:effectLst/>
              <a:uLnTx/>
              <a:uFillTx/>
              <a:latin typeface="Arial" pitchFamily="34" charset="0"/>
              <a:ea typeface="+mn-ea"/>
              <a:cs typeface="Arial" pitchFamily="34" charset="0"/>
            </a:endParaRPr>
          </a:p>
        </p:txBody>
      </p:sp>
      <p:sp>
        <p:nvSpPr>
          <p:cNvPr id="21" name="Picture Placeholder 20"/>
          <p:cNvSpPr>
            <a:spLocks noGrp="1"/>
          </p:cNvSpPr>
          <p:nvPr>
            <p:ph type="pic" sz="quarter" idx="14"/>
          </p:nvPr>
        </p:nvSpPr>
        <p:spPr>
          <a:xfrm>
            <a:off x="608871" y="1351951"/>
            <a:ext cx="3509972" cy="3203870"/>
          </a:xfrm>
          <a:prstGeom prst="rect">
            <a:avLst/>
          </a:prstGeom>
        </p:spPr>
        <p:txBody>
          <a:bodyPr lIns="0" tIns="0" rIns="0" bIns="0">
            <a:normAutofit/>
          </a:bodyPr>
          <a:lstStyle>
            <a:lvl1pPr>
              <a:buNone/>
              <a:defRPr lang="en-GB" sz="1836" kern="1200" baseline="0" noProof="0" dirty="0" smtClean="0">
                <a:solidFill>
                  <a:schemeClr val="tx1"/>
                </a:solidFill>
                <a:latin typeface="Arial" pitchFamily="34" charset="0"/>
                <a:ea typeface="+mn-ea"/>
                <a:cs typeface="+mn-cs"/>
              </a:defRPr>
            </a:lvl1pPr>
          </a:lstStyle>
          <a:p>
            <a:r>
              <a:rPr lang="en-US"/>
              <a:t>Click icon to add picture</a:t>
            </a:r>
            <a:endParaRPr lang="en-US" dirty="0"/>
          </a:p>
        </p:txBody>
      </p:sp>
      <p:sp>
        <p:nvSpPr>
          <p:cNvPr id="11" name="Picture Placeholder 20"/>
          <p:cNvSpPr>
            <a:spLocks noGrp="1"/>
          </p:cNvSpPr>
          <p:nvPr>
            <p:ph type="pic" sz="quarter" idx="15"/>
          </p:nvPr>
        </p:nvSpPr>
        <p:spPr>
          <a:xfrm>
            <a:off x="4393458" y="1351951"/>
            <a:ext cx="3573289" cy="3203870"/>
          </a:xfrm>
          <a:prstGeom prst="rect">
            <a:avLst/>
          </a:prstGeom>
        </p:spPr>
        <p:txBody>
          <a:bodyPr lIns="0" tIns="0" rIns="0" bIns="0">
            <a:normAutofit/>
          </a:bodyPr>
          <a:lstStyle>
            <a:lvl1pPr>
              <a:buNone/>
              <a:defRPr lang="en-GB" sz="1836" kern="1200" baseline="0" noProof="0" dirty="0" smtClean="0">
                <a:solidFill>
                  <a:schemeClr val="tx1"/>
                </a:solidFill>
                <a:latin typeface="Arial" pitchFamily="34" charset="0"/>
                <a:ea typeface="+mn-ea"/>
                <a:cs typeface="+mn-cs"/>
              </a:defRPr>
            </a:lvl1pPr>
          </a:lstStyle>
          <a:p>
            <a:r>
              <a:rPr lang="en-US"/>
              <a:t>Click icon to add picture</a:t>
            </a:r>
            <a:endParaRPr lang="en-US" dirty="0"/>
          </a:p>
        </p:txBody>
      </p:sp>
      <p:sp>
        <p:nvSpPr>
          <p:cNvPr id="12" name="Picture Placeholder 20"/>
          <p:cNvSpPr>
            <a:spLocks noGrp="1"/>
          </p:cNvSpPr>
          <p:nvPr>
            <p:ph type="pic" sz="quarter" idx="16"/>
          </p:nvPr>
        </p:nvSpPr>
        <p:spPr>
          <a:xfrm>
            <a:off x="8241363" y="1351951"/>
            <a:ext cx="3573289" cy="3203870"/>
          </a:xfrm>
          <a:prstGeom prst="rect">
            <a:avLst/>
          </a:prstGeom>
        </p:spPr>
        <p:txBody>
          <a:bodyPr lIns="0" tIns="0" rIns="0" bIns="0">
            <a:normAutofit/>
          </a:bodyPr>
          <a:lstStyle>
            <a:lvl1pPr>
              <a:buNone/>
              <a:defRPr lang="en-GB" sz="1836" kern="1200" baseline="0" noProof="0" dirty="0" smtClean="0">
                <a:solidFill>
                  <a:schemeClr val="tx1"/>
                </a:solidFill>
                <a:latin typeface="Arial" pitchFamily="34" charset="0"/>
                <a:ea typeface="+mn-ea"/>
                <a:cs typeface="+mn-cs"/>
              </a:defRPr>
            </a:lvl1pPr>
          </a:lstStyle>
          <a:p>
            <a:r>
              <a:rPr lang="en-US"/>
              <a:t>Click icon to add picture</a:t>
            </a:r>
            <a:endParaRPr lang="en-US" dirty="0"/>
          </a:p>
        </p:txBody>
      </p:sp>
      <p:sp>
        <p:nvSpPr>
          <p:cNvPr id="14" name="Title Placeholder 1"/>
          <p:cNvSpPr>
            <a:spLocks noGrp="1"/>
          </p:cNvSpPr>
          <p:nvPr>
            <p:ph type="title"/>
          </p:nvPr>
        </p:nvSpPr>
        <p:spPr>
          <a:xfrm>
            <a:off x="608870" y="189436"/>
            <a:ext cx="11205782" cy="939080"/>
          </a:xfrm>
          <a:prstGeom prst="rect">
            <a:avLst/>
          </a:prstGeom>
        </p:spPr>
        <p:txBody>
          <a:bodyPr vert="horz" lIns="0" tIns="0" rIns="0" bIns="0" rtlCol="0" anchor="ctr" anchorCtr="0">
            <a:normAutofit/>
          </a:bodyPr>
          <a:lstStyle/>
          <a:p>
            <a:r>
              <a:rPr lang="en-US" noProof="0"/>
              <a:t>Click to edit Master title style</a:t>
            </a:r>
            <a:endParaRPr lang="en-US" noProof="0" dirty="0"/>
          </a:p>
        </p:txBody>
      </p:sp>
      <p:sp>
        <p:nvSpPr>
          <p:cNvPr id="15" name="Content Placeholder 20"/>
          <p:cNvSpPr>
            <a:spLocks noGrp="1"/>
          </p:cNvSpPr>
          <p:nvPr>
            <p:ph sz="quarter" idx="17" hasCustomPrompt="1"/>
          </p:nvPr>
        </p:nvSpPr>
        <p:spPr>
          <a:xfrm>
            <a:off x="608869" y="4705897"/>
            <a:ext cx="3511874" cy="1580467"/>
          </a:xfrm>
          <a:prstGeom prst="rect">
            <a:avLst/>
          </a:prstGeom>
        </p:spPr>
        <p:txBody>
          <a:bodyPr lIns="0" tIns="0" rIns="0" bIns="0">
            <a:normAutofit/>
          </a:bodyPr>
          <a:lstStyle>
            <a:lvl1pPr marL="0" indent="0">
              <a:spcBef>
                <a:spcPts val="510"/>
              </a:spcBef>
              <a:buClr>
                <a:schemeClr val="accent1"/>
              </a:buClr>
              <a:buSzPct val="110000"/>
              <a:buFont typeface="Arial" pitchFamily="34" charset="0"/>
              <a:buNone/>
              <a:defRPr sz="1632">
                <a:solidFill>
                  <a:schemeClr val="tx1"/>
                </a:solidFill>
                <a:latin typeface="Arial" pitchFamily="34" charset="0"/>
              </a:defRPr>
            </a:lvl1pPr>
            <a:lvl2pPr marL="268769" indent="-268769">
              <a:spcBef>
                <a:spcPts val="510"/>
              </a:spcBef>
              <a:buClr>
                <a:schemeClr val="accent1"/>
              </a:buClr>
              <a:buSzPct val="110000"/>
              <a:buFont typeface="Arial" pitchFamily="34" charset="0"/>
              <a:buChar char="•"/>
              <a:defRPr sz="1632" baseline="0">
                <a:solidFill>
                  <a:schemeClr val="tx1"/>
                </a:solidFill>
                <a:latin typeface="Arial" pitchFamily="34" charset="0"/>
              </a:defRPr>
            </a:lvl2pPr>
            <a:lvl3pPr marL="547253" indent="-278484">
              <a:spcBef>
                <a:spcPts val="510"/>
              </a:spcBef>
              <a:buClr>
                <a:schemeClr val="accent1"/>
              </a:buClr>
              <a:buSzPct val="110000"/>
              <a:buFont typeface="Arial" pitchFamily="34" charset="0"/>
              <a:buChar char="•"/>
              <a:defRPr sz="1428">
                <a:solidFill>
                  <a:schemeClr val="tx1"/>
                </a:solidFill>
                <a:latin typeface="Arial" pitchFamily="34" charset="0"/>
              </a:defRPr>
            </a:lvl3pPr>
            <a:lvl4pPr marL="827356" indent="-280103">
              <a:spcBef>
                <a:spcPts val="510"/>
              </a:spcBef>
              <a:buClr>
                <a:schemeClr val="accent1"/>
              </a:buClr>
              <a:buSzPct val="110000"/>
              <a:buFont typeface="Arial" pitchFamily="34" charset="0"/>
              <a:buChar char="•"/>
              <a:defRPr sz="1224">
                <a:solidFill>
                  <a:schemeClr val="tx1"/>
                </a:solidFill>
                <a:latin typeface="Arial" pitchFamily="34" charset="0"/>
              </a:defRPr>
            </a:lvl4pPr>
            <a:lvl5pPr marL="1096125" indent="-268769">
              <a:spcBef>
                <a:spcPts val="510"/>
              </a:spcBef>
              <a:buClr>
                <a:schemeClr val="accent1"/>
              </a:buClr>
              <a:buSzPct val="110000"/>
              <a:buFont typeface="Arial" pitchFamily="34" charset="0"/>
              <a:buChar char="•"/>
              <a:defRPr sz="1122">
                <a:solidFill>
                  <a:schemeClr val="tx1"/>
                </a:solidFill>
                <a:latin typeface="Arial" pitchFamily="34" charset="0"/>
              </a:defRPr>
            </a:lvl5pPr>
            <a:lvl6pPr marL="1159269" indent="-220196">
              <a:spcBef>
                <a:spcPts val="510"/>
              </a:spcBef>
              <a:buClr>
                <a:schemeClr val="tx1">
                  <a:lumMod val="60000"/>
                  <a:lumOff val="40000"/>
                </a:schemeClr>
              </a:buClr>
              <a:buFont typeface="Verdana" pitchFamily="34" charset="0"/>
              <a:buChar char="•"/>
              <a:defRPr sz="1428" baseline="0">
                <a:solidFill>
                  <a:schemeClr val="tx1"/>
                </a:solidFill>
              </a:defRPr>
            </a:lvl6pPr>
            <a:lvl7pPr marL="1369751" indent="-233149">
              <a:spcBef>
                <a:spcPts val="510"/>
              </a:spcBef>
              <a:buClr>
                <a:schemeClr val="tx1">
                  <a:lumMod val="60000"/>
                  <a:lumOff val="40000"/>
                </a:schemeClr>
              </a:buClr>
              <a:buFont typeface="Verdana" pitchFamily="34" charset="0"/>
              <a:buChar char="•"/>
              <a:defRPr sz="1428" baseline="0">
                <a:solidFill>
                  <a:schemeClr val="tx1"/>
                </a:solidFill>
              </a:defRPr>
            </a:lvl7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20"/>
          <p:cNvSpPr>
            <a:spLocks noGrp="1"/>
          </p:cNvSpPr>
          <p:nvPr>
            <p:ph sz="quarter" idx="22" hasCustomPrompt="1"/>
          </p:nvPr>
        </p:nvSpPr>
        <p:spPr>
          <a:xfrm>
            <a:off x="4397333" y="4705896"/>
            <a:ext cx="3565724" cy="1580467"/>
          </a:xfrm>
          <a:prstGeom prst="rect">
            <a:avLst/>
          </a:prstGeom>
        </p:spPr>
        <p:txBody>
          <a:bodyPr lIns="0" tIns="0" rIns="0" bIns="0">
            <a:normAutofit/>
          </a:bodyPr>
          <a:lstStyle>
            <a:lvl1pPr marL="0" indent="0">
              <a:spcBef>
                <a:spcPts val="510"/>
              </a:spcBef>
              <a:buClr>
                <a:schemeClr val="accent1"/>
              </a:buClr>
              <a:buSzPct val="110000"/>
              <a:buFont typeface="Arial" pitchFamily="34" charset="0"/>
              <a:buNone/>
              <a:defRPr sz="1632">
                <a:solidFill>
                  <a:schemeClr val="tx1"/>
                </a:solidFill>
                <a:latin typeface="Arial" pitchFamily="34" charset="0"/>
              </a:defRPr>
            </a:lvl1pPr>
            <a:lvl2pPr marL="268769" indent="-268769">
              <a:spcBef>
                <a:spcPts val="510"/>
              </a:spcBef>
              <a:buClr>
                <a:schemeClr val="accent1"/>
              </a:buClr>
              <a:buSzPct val="110000"/>
              <a:buFont typeface="Arial" pitchFamily="34" charset="0"/>
              <a:buChar char="•"/>
              <a:defRPr sz="1632" baseline="0">
                <a:solidFill>
                  <a:schemeClr val="tx1"/>
                </a:solidFill>
                <a:latin typeface="Arial" pitchFamily="34" charset="0"/>
              </a:defRPr>
            </a:lvl2pPr>
            <a:lvl3pPr marL="547253" indent="-278484">
              <a:spcBef>
                <a:spcPts val="510"/>
              </a:spcBef>
              <a:buClr>
                <a:schemeClr val="accent1"/>
              </a:buClr>
              <a:buSzPct val="110000"/>
              <a:buFont typeface="Arial" pitchFamily="34" charset="0"/>
              <a:buChar char="•"/>
              <a:defRPr sz="1428">
                <a:solidFill>
                  <a:schemeClr val="tx1"/>
                </a:solidFill>
                <a:latin typeface="Arial" pitchFamily="34" charset="0"/>
              </a:defRPr>
            </a:lvl3pPr>
            <a:lvl4pPr marL="827356" indent="-280103">
              <a:spcBef>
                <a:spcPts val="510"/>
              </a:spcBef>
              <a:buClr>
                <a:schemeClr val="accent1"/>
              </a:buClr>
              <a:buSzPct val="110000"/>
              <a:buFont typeface="Arial" pitchFamily="34" charset="0"/>
              <a:buChar char="•"/>
              <a:defRPr sz="1224">
                <a:solidFill>
                  <a:schemeClr val="tx1"/>
                </a:solidFill>
                <a:latin typeface="Arial" pitchFamily="34" charset="0"/>
              </a:defRPr>
            </a:lvl4pPr>
            <a:lvl5pPr marL="1096125" indent="-268769">
              <a:spcBef>
                <a:spcPts val="510"/>
              </a:spcBef>
              <a:buClr>
                <a:schemeClr val="accent1"/>
              </a:buClr>
              <a:buSzPct val="110000"/>
              <a:buFont typeface="Arial" pitchFamily="34" charset="0"/>
              <a:buChar char="•"/>
              <a:defRPr sz="1122">
                <a:solidFill>
                  <a:schemeClr val="tx1"/>
                </a:solidFill>
                <a:latin typeface="Arial" pitchFamily="34" charset="0"/>
              </a:defRPr>
            </a:lvl5pPr>
            <a:lvl6pPr marL="1159269" indent="-220196">
              <a:spcBef>
                <a:spcPts val="510"/>
              </a:spcBef>
              <a:buClr>
                <a:schemeClr val="tx1">
                  <a:lumMod val="60000"/>
                  <a:lumOff val="40000"/>
                </a:schemeClr>
              </a:buClr>
              <a:buFont typeface="Verdana" pitchFamily="34" charset="0"/>
              <a:buChar char="•"/>
              <a:defRPr sz="1428" baseline="0">
                <a:solidFill>
                  <a:schemeClr val="tx1"/>
                </a:solidFill>
              </a:defRPr>
            </a:lvl6pPr>
            <a:lvl7pPr marL="1369751" indent="-233149">
              <a:spcBef>
                <a:spcPts val="510"/>
              </a:spcBef>
              <a:buClr>
                <a:schemeClr val="tx1">
                  <a:lumMod val="60000"/>
                  <a:lumOff val="40000"/>
                </a:schemeClr>
              </a:buClr>
              <a:buFont typeface="Verdana" pitchFamily="34" charset="0"/>
              <a:buChar char="•"/>
              <a:defRPr sz="1428" baseline="0">
                <a:solidFill>
                  <a:schemeClr val="tx1"/>
                </a:solidFill>
              </a:defRPr>
            </a:lvl7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0"/>
          <p:cNvSpPr>
            <a:spLocks noGrp="1"/>
          </p:cNvSpPr>
          <p:nvPr>
            <p:ph sz="quarter" idx="23" hasCustomPrompt="1"/>
          </p:nvPr>
        </p:nvSpPr>
        <p:spPr>
          <a:xfrm>
            <a:off x="8250766" y="4705896"/>
            <a:ext cx="3581158" cy="1580467"/>
          </a:xfrm>
          <a:prstGeom prst="rect">
            <a:avLst/>
          </a:prstGeom>
        </p:spPr>
        <p:txBody>
          <a:bodyPr lIns="0" tIns="0" rIns="0" bIns="0">
            <a:normAutofit/>
          </a:bodyPr>
          <a:lstStyle>
            <a:lvl1pPr marL="0" indent="0">
              <a:spcBef>
                <a:spcPts val="510"/>
              </a:spcBef>
              <a:buClr>
                <a:schemeClr val="accent1"/>
              </a:buClr>
              <a:buSzPct val="110000"/>
              <a:buFont typeface="Arial" pitchFamily="34" charset="0"/>
              <a:buNone/>
              <a:defRPr sz="1632">
                <a:solidFill>
                  <a:schemeClr val="tx1"/>
                </a:solidFill>
                <a:latin typeface="Arial" pitchFamily="34" charset="0"/>
              </a:defRPr>
            </a:lvl1pPr>
            <a:lvl2pPr marL="268769" indent="-268769">
              <a:spcBef>
                <a:spcPts val="510"/>
              </a:spcBef>
              <a:buClr>
                <a:schemeClr val="accent1"/>
              </a:buClr>
              <a:buSzPct val="110000"/>
              <a:buFont typeface="Arial" pitchFamily="34" charset="0"/>
              <a:buChar char="•"/>
              <a:defRPr sz="1632" baseline="0">
                <a:solidFill>
                  <a:schemeClr val="tx1"/>
                </a:solidFill>
                <a:latin typeface="Arial" pitchFamily="34" charset="0"/>
              </a:defRPr>
            </a:lvl2pPr>
            <a:lvl3pPr marL="547253" indent="-278484">
              <a:spcBef>
                <a:spcPts val="510"/>
              </a:spcBef>
              <a:buClr>
                <a:schemeClr val="accent1"/>
              </a:buClr>
              <a:buSzPct val="110000"/>
              <a:buFont typeface="Arial" pitchFamily="34" charset="0"/>
              <a:buChar char="•"/>
              <a:defRPr sz="1428">
                <a:solidFill>
                  <a:schemeClr val="tx1"/>
                </a:solidFill>
                <a:latin typeface="Arial" pitchFamily="34" charset="0"/>
              </a:defRPr>
            </a:lvl3pPr>
            <a:lvl4pPr marL="827356" indent="-280103">
              <a:spcBef>
                <a:spcPts val="510"/>
              </a:spcBef>
              <a:buClr>
                <a:schemeClr val="accent1"/>
              </a:buClr>
              <a:buSzPct val="110000"/>
              <a:buFont typeface="Arial" pitchFamily="34" charset="0"/>
              <a:buChar char="•"/>
              <a:defRPr sz="1224">
                <a:solidFill>
                  <a:schemeClr val="tx1"/>
                </a:solidFill>
                <a:latin typeface="Arial" pitchFamily="34" charset="0"/>
              </a:defRPr>
            </a:lvl4pPr>
            <a:lvl5pPr marL="1096125" indent="-268769">
              <a:spcBef>
                <a:spcPts val="510"/>
              </a:spcBef>
              <a:buClr>
                <a:schemeClr val="accent1"/>
              </a:buClr>
              <a:buSzPct val="110000"/>
              <a:buFont typeface="Arial" pitchFamily="34" charset="0"/>
              <a:buChar char="•"/>
              <a:defRPr sz="1122">
                <a:solidFill>
                  <a:schemeClr val="tx1"/>
                </a:solidFill>
                <a:latin typeface="Arial" pitchFamily="34" charset="0"/>
              </a:defRPr>
            </a:lvl5pPr>
            <a:lvl6pPr marL="1159269" indent="-220196">
              <a:spcBef>
                <a:spcPts val="510"/>
              </a:spcBef>
              <a:buClr>
                <a:schemeClr val="tx1">
                  <a:lumMod val="60000"/>
                  <a:lumOff val="40000"/>
                </a:schemeClr>
              </a:buClr>
              <a:buFont typeface="Verdana" pitchFamily="34" charset="0"/>
              <a:buChar char="•"/>
              <a:defRPr sz="1428" baseline="0">
                <a:solidFill>
                  <a:schemeClr val="tx1"/>
                </a:solidFill>
              </a:defRPr>
            </a:lvl6pPr>
            <a:lvl7pPr marL="1369751" indent="-233149">
              <a:spcBef>
                <a:spcPts val="510"/>
              </a:spcBef>
              <a:buClr>
                <a:schemeClr val="tx1">
                  <a:lumMod val="60000"/>
                  <a:lumOff val="40000"/>
                </a:schemeClr>
              </a:buClr>
              <a:buFont typeface="Verdana" pitchFamily="34" charset="0"/>
              <a:buChar char="•"/>
              <a:defRPr sz="1428" baseline="0">
                <a:solidFill>
                  <a:schemeClr val="tx1"/>
                </a:solidFill>
              </a:defRPr>
            </a:lvl7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2" name="Image 21" descr="CGI Logo 2012.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079121" y="6443443"/>
            <a:ext cx="741860" cy="345063"/>
          </a:xfrm>
          <a:prstGeom prst="rect">
            <a:avLst/>
          </a:prstGeom>
        </p:spPr>
      </p:pic>
    </p:spTree>
    <p:extLst>
      <p:ext uri="{BB962C8B-B14F-4D97-AF65-F5344CB8AC3E}">
        <p14:creationId xmlns:p14="http://schemas.microsoft.com/office/powerpoint/2010/main" val="2454531611"/>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itleOnly" preserve="1">
  <p:cSld name="Title Only_Ne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700460604"/>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9108555"/>
      </p:ext>
    </p:extLst>
  </p:cSld>
  <p:clrMapOvr>
    <a:masterClrMapping/>
  </p:clrMapOvr>
  <p:transition spd="slow">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Section Title Accent Color 5">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407008"/>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61682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28550" y="233154"/>
            <a:ext cx="11379375" cy="762786"/>
          </a:xfrm>
          <a:prstGeom prst="rect">
            <a:avLst/>
          </a:prstGeo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1851597"/>
          </a:xfrm>
          <a:prstGeom prst="rect">
            <a:avLst/>
          </a:prstGeo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8711960"/>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Thank You">
    <p:spTree>
      <p:nvGrpSpPr>
        <p:cNvPr id="1" name=""/>
        <p:cNvGrpSpPr/>
        <p:nvPr/>
      </p:nvGrpSpPr>
      <p:grpSpPr>
        <a:xfrm>
          <a:off x="0" y="0"/>
          <a:ext cx="0" cy="0"/>
          <a:chOff x="0" y="0"/>
          <a:chExt cx="0" cy="0"/>
        </a:xfrm>
      </p:grpSpPr>
      <p:sp>
        <p:nvSpPr>
          <p:cNvPr id="288" name="Rectangle 287"/>
          <p:cNvSpPr/>
          <p:nvPr userDrawn="1"/>
        </p:nvSpPr>
        <p:spPr bwMode="auto">
          <a:xfrm>
            <a:off x="0" y="0"/>
            <a:ext cx="12436475"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zh-CN" altLang="en-US" sz="1836" spc="-51" dirty="0" err="1">
              <a:ln>
                <a:no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 name="Group 1"/>
          <p:cNvGrpSpPr>
            <a:grpSpLocks noChangeAspect="1"/>
          </p:cNvGrpSpPr>
          <p:nvPr userDrawn="1"/>
        </p:nvGrpSpPr>
        <p:grpSpPr>
          <a:xfrm>
            <a:off x="4772" y="61801"/>
            <a:ext cx="12476488" cy="6870923"/>
            <a:chOff x="-60806" y="84976"/>
            <a:chExt cx="12326696" cy="6789394"/>
          </a:xfrm>
        </p:grpSpPr>
        <p:sp>
          <p:nvSpPr>
            <p:cNvPr id="3" name="Rectangle 2"/>
            <p:cNvSpPr/>
            <p:nvPr/>
          </p:nvSpPr>
          <p:spPr>
            <a:xfrm>
              <a:off x="6813911" y="2839111"/>
              <a:ext cx="5409376" cy="4035259"/>
            </a:xfrm>
            <a:prstGeom prst="rect">
              <a:avLst/>
            </a:prstGeom>
            <a:solidFill>
              <a:srgbClr val="E31A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537" tIns="243537" rIns="243537" bIns="243537" numCol="1" rtlCol="0" anchor="ctr" anchorCtr="0" compatLnSpc="1">
              <a:prstTxWarp prst="textNoShape">
                <a:avLst/>
              </a:prstTxWarp>
            </a:bodyPr>
            <a:lstStyle/>
            <a:p>
              <a:pPr defTabSz="1241292" fontAlgn="base">
                <a:spcBef>
                  <a:spcPct val="0"/>
                </a:spcBef>
                <a:spcAft>
                  <a:spcPct val="0"/>
                </a:spcAft>
              </a:pPr>
              <a:endParaRPr lang="en-US" sz="2550" dirty="0">
                <a:solidFill>
                  <a:prstClr val="white"/>
                </a:solidFill>
                <a:latin typeface="Segoe UI" pitchFamily="34" charset="0"/>
                <a:ea typeface="Segoe UI" pitchFamily="34" charset="0"/>
                <a:cs typeface="Segoe UI" pitchFamily="34" charset="0"/>
              </a:endParaRPr>
            </a:p>
          </p:txBody>
        </p:sp>
        <p:sp>
          <p:nvSpPr>
            <p:cNvPr id="4" name="Rectangle 3"/>
            <p:cNvSpPr/>
            <p:nvPr/>
          </p:nvSpPr>
          <p:spPr>
            <a:xfrm>
              <a:off x="-60806"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121674" tIns="60837" rIns="121674" bIns="60837" rtlCol="0" anchor="ctr"/>
            <a:lstStyle/>
            <a:p>
              <a:pPr algn="ctr"/>
              <a:r>
                <a:rPr lang="en-US" sz="1632" dirty="0" err="1">
                  <a:solidFill>
                    <a:srgbClr val="FFFFFF">
                      <a:alpha val="99000"/>
                    </a:srgbClr>
                  </a:solidFill>
                  <a:latin typeface="Segoe UI" pitchFamily="34" charset="0"/>
                  <a:ea typeface="Segoe UI" pitchFamily="34" charset="0"/>
                  <a:cs typeface="Segoe UI" pitchFamily="34" charset="0"/>
                </a:rPr>
                <a:t>Ahsante</a:t>
              </a:r>
              <a:endParaRPr lang="en-US" sz="1632" dirty="0">
                <a:solidFill>
                  <a:srgbClr val="FFFFFF">
                    <a:alpha val="99000"/>
                  </a:srgbClr>
                </a:solidFill>
                <a:latin typeface="Segoe UI" pitchFamily="34" charset="0"/>
                <a:ea typeface="Segoe UI" pitchFamily="34" charset="0"/>
                <a:cs typeface="Segoe UI" pitchFamily="34" charset="0"/>
              </a:endParaRPr>
            </a:p>
          </p:txBody>
        </p:sp>
        <p:sp>
          <p:nvSpPr>
            <p:cNvPr id="5" name="Rectangle 4"/>
            <p:cNvSpPr/>
            <p:nvPr/>
          </p:nvSpPr>
          <p:spPr>
            <a:xfrm>
              <a:off x="4064021"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6" name="Group 5"/>
            <p:cNvGrpSpPr/>
            <p:nvPr/>
          </p:nvGrpSpPr>
          <p:grpSpPr>
            <a:xfrm>
              <a:off x="4193870" y="2019679"/>
              <a:ext cx="1024849" cy="165844"/>
              <a:chOff x="891368" y="5611897"/>
              <a:chExt cx="1049730" cy="170204"/>
            </a:xfrm>
            <a:solidFill>
              <a:srgbClr val="FFFFFF"/>
            </a:solidFill>
            <a:effectLst/>
          </p:grpSpPr>
          <p:sp>
            <p:nvSpPr>
              <p:cNvPr id="279" name="Freeform 32"/>
              <p:cNvSpPr>
                <a:spLocks/>
              </p:cNvSpPr>
              <p:nvPr/>
            </p:nvSpPr>
            <p:spPr bwMode="invGray">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80" name="Freeform 33"/>
              <p:cNvSpPr>
                <a:spLocks noEditPoints="1"/>
              </p:cNvSpPr>
              <p:nvPr/>
            </p:nvSpPr>
            <p:spPr bwMode="invGray">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81" name="Rectangle 34"/>
              <p:cNvSpPr>
                <a:spLocks noChangeArrowheads="1"/>
              </p:cNvSpPr>
              <p:nvPr/>
            </p:nvSpPr>
            <p:spPr bwMode="invGray">
              <a:xfrm>
                <a:off x="1115570" y="5611897"/>
                <a:ext cx="25055" cy="167180"/>
              </a:xfrm>
              <a:prstGeom prst="rect">
                <a:avLst/>
              </a:pr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82" name="Freeform 35"/>
              <p:cNvSpPr>
                <a:spLocks noEditPoints="1"/>
              </p:cNvSpPr>
              <p:nvPr/>
            </p:nvSpPr>
            <p:spPr bwMode="invGray">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83" name="Freeform 36"/>
              <p:cNvSpPr>
                <a:spLocks/>
              </p:cNvSpPr>
              <p:nvPr/>
            </p:nvSpPr>
            <p:spPr bwMode="invGray">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84" name="Freeform 37"/>
              <p:cNvSpPr>
                <a:spLocks noEditPoints="1"/>
              </p:cNvSpPr>
              <p:nvPr/>
            </p:nvSpPr>
            <p:spPr bwMode="invGray">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85" name="Freeform 38"/>
              <p:cNvSpPr>
                <a:spLocks/>
              </p:cNvSpPr>
              <p:nvPr/>
            </p:nvSpPr>
            <p:spPr bwMode="invGray">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86" name="Freeform 39"/>
              <p:cNvSpPr>
                <a:spLocks noEditPoints="1"/>
              </p:cNvSpPr>
              <p:nvPr/>
            </p:nvSpPr>
            <p:spPr bwMode="invGray">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87" name="Freeform 40"/>
              <p:cNvSpPr>
                <a:spLocks noEditPoints="1"/>
              </p:cNvSpPr>
              <p:nvPr/>
            </p:nvSpPr>
            <p:spPr bwMode="invGray">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7" name="Rectangle 6"/>
            <p:cNvSpPr/>
            <p:nvPr/>
          </p:nvSpPr>
          <p:spPr>
            <a:xfrm>
              <a:off x="1314134"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8" name="Group 7"/>
            <p:cNvGrpSpPr/>
            <p:nvPr/>
          </p:nvGrpSpPr>
          <p:grpSpPr>
            <a:xfrm>
              <a:off x="1498375" y="631173"/>
              <a:ext cx="916061" cy="188732"/>
              <a:chOff x="1382110" y="560118"/>
              <a:chExt cx="1085320" cy="224189"/>
            </a:xfrm>
          </p:grpSpPr>
          <p:sp>
            <p:nvSpPr>
              <p:cNvPr id="270" name="Freeform 22"/>
              <p:cNvSpPr>
                <a:spLocks/>
              </p:cNvSpPr>
              <p:nvPr/>
            </p:nvSpPr>
            <p:spPr bwMode="invGray">
              <a:xfrm>
                <a:off x="1382110" y="614823"/>
                <a:ext cx="89549" cy="119813"/>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71" name="Freeform 23"/>
              <p:cNvSpPr>
                <a:spLocks/>
              </p:cNvSpPr>
              <p:nvPr/>
            </p:nvSpPr>
            <p:spPr bwMode="invGray">
              <a:xfrm>
                <a:off x="1476355" y="617173"/>
                <a:ext cx="122081" cy="117464"/>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72" name="Freeform 24"/>
              <p:cNvSpPr>
                <a:spLocks/>
              </p:cNvSpPr>
              <p:nvPr/>
            </p:nvSpPr>
            <p:spPr bwMode="invGray">
              <a:xfrm>
                <a:off x="1600784" y="614823"/>
                <a:ext cx="124429" cy="169484"/>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73" name="Freeform 25"/>
              <p:cNvSpPr>
                <a:spLocks noEditPoints="1"/>
              </p:cNvSpPr>
              <p:nvPr/>
            </p:nvSpPr>
            <p:spPr bwMode="invGray">
              <a:xfrm>
                <a:off x="1721189" y="614823"/>
                <a:ext cx="130131" cy="119813"/>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74" name="Freeform 26"/>
              <p:cNvSpPr>
                <a:spLocks noEditPoints="1"/>
              </p:cNvSpPr>
              <p:nvPr/>
            </p:nvSpPr>
            <p:spPr bwMode="invGray">
              <a:xfrm>
                <a:off x="1863729" y="614823"/>
                <a:ext cx="111684" cy="160759"/>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75" name="Freeform 27"/>
              <p:cNvSpPr>
                <a:spLocks/>
              </p:cNvSpPr>
              <p:nvPr/>
            </p:nvSpPr>
            <p:spPr bwMode="invGray">
              <a:xfrm>
                <a:off x="1996878" y="617173"/>
                <a:ext cx="47625" cy="116458"/>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76" name="Freeform 28"/>
              <p:cNvSpPr>
                <a:spLocks noEditPoints="1"/>
              </p:cNvSpPr>
              <p:nvPr/>
            </p:nvSpPr>
            <p:spPr bwMode="invGray">
              <a:xfrm>
                <a:off x="2053224" y="617173"/>
                <a:ext cx="125771" cy="117464"/>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77" name="Freeform 29"/>
              <p:cNvSpPr>
                <a:spLocks/>
              </p:cNvSpPr>
              <p:nvPr/>
            </p:nvSpPr>
            <p:spPr bwMode="invGray">
              <a:xfrm>
                <a:off x="2184697" y="617173"/>
                <a:ext cx="111684" cy="117464"/>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78" name="Freeform 30"/>
              <p:cNvSpPr>
                <a:spLocks noEditPoints="1"/>
              </p:cNvSpPr>
              <p:nvPr/>
            </p:nvSpPr>
            <p:spPr bwMode="invGray">
              <a:xfrm>
                <a:off x="2301077" y="560118"/>
                <a:ext cx="166353" cy="174518"/>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9" name="Rectangle 8"/>
            <p:cNvSpPr/>
            <p:nvPr/>
          </p:nvSpPr>
          <p:spPr>
            <a:xfrm>
              <a:off x="-60806" y="4216164"/>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pic>
          <p:nvPicPr>
            <p:cNvPr id="10" name="Picture 2"/>
            <p:cNvPicPr>
              <a:picLocks noChangeAspect="1" noChangeArrowheads="1"/>
            </p:cNvPicPr>
            <p:nvPr/>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27827" y="4649563"/>
              <a:ext cx="907281" cy="414337"/>
            </a:xfrm>
            <a:prstGeom prst="rect">
              <a:avLst/>
            </a:prstGeom>
            <a:noFill/>
            <a:ln w="9525">
              <a:noFill/>
              <a:miter lim="800000"/>
              <a:headEnd/>
              <a:tailEnd/>
            </a:ln>
            <a:effectLst/>
          </p:spPr>
        </p:pic>
        <p:sp>
          <p:nvSpPr>
            <p:cNvPr id="11" name="Rectangle 10"/>
            <p:cNvSpPr/>
            <p:nvPr/>
          </p:nvSpPr>
          <p:spPr>
            <a:xfrm>
              <a:off x="-60806"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12" name="Group 11"/>
            <p:cNvGrpSpPr/>
            <p:nvPr/>
          </p:nvGrpSpPr>
          <p:grpSpPr>
            <a:xfrm>
              <a:off x="239269" y="639949"/>
              <a:ext cx="684397" cy="171182"/>
              <a:chOff x="2321681" y="5571144"/>
              <a:chExt cx="701013" cy="175680"/>
            </a:xfrm>
            <a:solidFill>
              <a:srgbClr val="FFFFFF"/>
            </a:solidFill>
            <a:effectLst/>
          </p:grpSpPr>
          <p:sp>
            <p:nvSpPr>
              <p:cNvPr id="263" name="Freeform 23"/>
              <p:cNvSpPr>
                <a:spLocks/>
              </p:cNvSpPr>
              <p:nvPr/>
            </p:nvSpPr>
            <p:spPr bwMode="invGray">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64" name="Freeform 24"/>
              <p:cNvSpPr>
                <a:spLocks/>
              </p:cNvSpPr>
              <p:nvPr/>
            </p:nvSpPr>
            <p:spPr bwMode="invGray">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65" name="Freeform 25"/>
              <p:cNvSpPr>
                <a:spLocks noEditPoints="1"/>
              </p:cNvSpPr>
              <p:nvPr/>
            </p:nvSpPr>
            <p:spPr bwMode="invGray">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66" name="Freeform 26"/>
              <p:cNvSpPr>
                <a:spLocks/>
              </p:cNvSpPr>
              <p:nvPr/>
            </p:nvSpPr>
            <p:spPr bwMode="invGray">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67" name="Freeform 27"/>
              <p:cNvSpPr>
                <a:spLocks noEditPoints="1"/>
              </p:cNvSpPr>
              <p:nvPr/>
            </p:nvSpPr>
            <p:spPr bwMode="invGray">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68" name="Freeform 28"/>
              <p:cNvSpPr>
                <a:spLocks noEditPoints="1"/>
              </p:cNvSpPr>
              <p:nvPr/>
            </p:nvSpPr>
            <p:spPr bwMode="invGray">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69" name="Freeform 29"/>
              <p:cNvSpPr>
                <a:spLocks/>
              </p:cNvSpPr>
              <p:nvPr/>
            </p:nvSpPr>
            <p:spPr bwMode="invGray">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13" name="Rectangle 12"/>
            <p:cNvSpPr/>
            <p:nvPr/>
          </p:nvSpPr>
          <p:spPr>
            <a:xfrm>
              <a:off x="8188846"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14" name="Group 13"/>
            <p:cNvGrpSpPr/>
            <p:nvPr/>
          </p:nvGrpSpPr>
          <p:grpSpPr>
            <a:xfrm>
              <a:off x="8336721" y="2006581"/>
              <a:ext cx="988793" cy="140356"/>
              <a:chOff x="3403273" y="5616873"/>
              <a:chExt cx="1088404" cy="154797"/>
            </a:xfrm>
            <a:solidFill>
              <a:srgbClr val="FFFFFF"/>
            </a:solidFill>
            <a:effectLst/>
          </p:grpSpPr>
          <p:sp>
            <p:nvSpPr>
              <p:cNvPr id="252" name="Freeform 36"/>
              <p:cNvSpPr>
                <a:spLocks/>
              </p:cNvSpPr>
              <p:nvPr/>
            </p:nvSpPr>
            <p:spPr bwMode="invGray">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53" name="Freeform 37"/>
              <p:cNvSpPr>
                <a:spLocks noEditPoints="1"/>
              </p:cNvSpPr>
              <p:nvPr/>
            </p:nvSpPr>
            <p:spPr bwMode="invGray">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54" name="Freeform 38"/>
              <p:cNvSpPr>
                <a:spLocks/>
              </p:cNvSpPr>
              <p:nvPr/>
            </p:nvSpPr>
            <p:spPr bwMode="invGray">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55" name="Freeform 39"/>
              <p:cNvSpPr>
                <a:spLocks noEditPoints="1"/>
              </p:cNvSpPr>
              <p:nvPr/>
            </p:nvSpPr>
            <p:spPr bwMode="invGray">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56" name="Freeform 40"/>
              <p:cNvSpPr>
                <a:spLocks/>
              </p:cNvSpPr>
              <p:nvPr/>
            </p:nvSpPr>
            <p:spPr bwMode="invGray">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57" name="Freeform 41"/>
              <p:cNvSpPr>
                <a:spLocks noEditPoints="1"/>
              </p:cNvSpPr>
              <p:nvPr/>
            </p:nvSpPr>
            <p:spPr bwMode="invGray">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58" name="Freeform 42"/>
              <p:cNvSpPr>
                <a:spLocks/>
              </p:cNvSpPr>
              <p:nvPr/>
            </p:nvSpPr>
            <p:spPr bwMode="invGray">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59" name="Freeform 43"/>
              <p:cNvSpPr>
                <a:spLocks noEditPoints="1"/>
              </p:cNvSpPr>
              <p:nvPr/>
            </p:nvSpPr>
            <p:spPr bwMode="invGray">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60" name="Freeform 44"/>
              <p:cNvSpPr>
                <a:spLocks/>
              </p:cNvSpPr>
              <p:nvPr/>
            </p:nvSpPr>
            <p:spPr bwMode="invGray">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61" name="Freeform 45"/>
              <p:cNvSpPr>
                <a:spLocks noEditPoints="1"/>
              </p:cNvSpPr>
              <p:nvPr/>
            </p:nvSpPr>
            <p:spPr bwMode="invGray">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62" name="Freeform 46"/>
              <p:cNvSpPr>
                <a:spLocks/>
              </p:cNvSpPr>
              <p:nvPr/>
            </p:nvSpPr>
            <p:spPr bwMode="invGray">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15" name="Rectangle 14"/>
            <p:cNvSpPr/>
            <p:nvPr/>
          </p:nvSpPr>
          <p:spPr>
            <a:xfrm>
              <a:off x="2689079" y="2839103"/>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16" name="Group 15"/>
            <p:cNvGrpSpPr/>
            <p:nvPr/>
          </p:nvGrpSpPr>
          <p:grpSpPr>
            <a:xfrm>
              <a:off x="2954323" y="3294341"/>
              <a:ext cx="754059" cy="162989"/>
              <a:chOff x="2861106" y="3252744"/>
              <a:chExt cx="762252" cy="165192"/>
            </a:xfrm>
          </p:grpSpPr>
          <p:sp>
            <p:nvSpPr>
              <p:cNvPr id="247" name="Freeform 19"/>
              <p:cNvSpPr>
                <a:spLocks noEditPoints="1"/>
              </p:cNvSpPr>
              <p:nvPr/>
            </p:nvSpPr>
            <p:spPr bwMode="invGray">
              <a:xfrm>
                <a:off x="2861106" y="3254621"/>
                <a:ext cx="145385" cy="156746"/>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48" name="Freeform 20"/>
              <p:cNvSpPr>
                <a:spLocks/>
              </p:cNvSpPr>
              <p:nvPr/>
            </p:nvSpPr>
            <p:spPr bwMode="invGray">
              <a:xfrm>
                <a:off x="3047448" y="3260566"/>
                <a:ext cx="83791" cy="150175"/>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49" name="Freeform 21"/>
              <p:cNvSpPr>
                <a:spLocks noEditPoints="1"/>
              </p:cNvSpPr>
              <p:nvPr/>
            </p:nvSpPr>
            <p:spPr bwMode="invGray">
              <a:xfrm>
                <a:off x="3180639" y="3255247"/>
                <a:ext cx="149449" cy="150175"/>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50" name="Freeform 22"/>
              <p:cNvSpPr>
                <a:spLocks/>
              </p:cNvSpPr>
              <p:nvPr/>
            </p:nvSpPr>
            <p:spPr bwMode="invGray">
              <a:xfrm>
                <a:off x="3365731" y="3256811"/>
                <a:ext cx="103176" cy="150801"/>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51" name="Freeform 23"/>
              <p:cNvSpPr>
                <a:spLocks noEditPoints="1"/>
              </p:cNvSpPr>
              <p:nvPr/>
            </p:nvSpPr>
            <p:spPr bwMode="invGray">
              <a:xfrm>
                <a:off x="3538941" y="3252744"/>
                <a:ext cx="84417" cy="165192"/>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grpSp>
          <p:nvGrpSpPr>
            <p:cNvPr id="17" name="Group 16"/>
            <p:cNvGrpSpPr/>
            <p:nvPr/>
          </p:nvGrpSpPr>
          <p:grpSpPr>
            <a:xfrm>
              <a:off x="2937467" y="3611545"/>
              <a:ext cx="787771" cy="170707"/>
              <a:chOff x="3681825" y="3245548"/>
              <a:chExt cx="796331" cy="173014"/>
            </a:xfrm>
          </p:grpSpPr>
          <p:sp>
            <p:nvSpPr>
              <p:cNvPr id="242" name="Freeform 24"/>
              <p:cNvSpPr>
                <a:spLocks noEditPoints="1"/>
              </p:cNvSpPr>
              <p:nvPr/>
            </p:nvSpPr>
            <p:spPr bwMode="invGray">
              <a:xfrm>
                <a:off x="3681825" y="3249615"/>
                <a:ext cx="146323" cy="150175"/>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43" name="Freeform 25"/>
              <p:cNvSpPr>
                <a:spLocks noEditPoints="1"/>
              </p:cNvSpPr>
              <p:nvPr/>
            </p:nvSpPr>
            <p:spPr bwMode="invGray">
              <a:xfrm>
                <a:off x="3847532" y="3245548"/>
                <a:ext cx="141632" cy="164567"/>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44" name="Freeform 26"/>
              <p:cNvSpPr>
                <a:spLocks noEditPoints="1"/>
              </p:cNvSpPr>
              <p:nvPr/>
            </p:nvSpPr>
            <p:spPr bwMode="invGray">
              <a:xfrm>
                <a:off x="3987914" y="3276209"/>
                <a:ext cx="157578" cy="12170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45" name="Freeform 27"/>
              <p:cNvSpPr>
                <a:spLocks noEditPoints="1"/>
              </p:cNvSpPr>
              <p:nvPr/>
            </p:nvSpPr>
            <p:spPr bwMode="invGray">
              <a:xfrm>
                <a:off x="4155496" y="3257437"/>
                <a:ext cx="137568" cy="150801"/>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46" name="Freeform 28"/>
              <p:cNvSpPr>
                <a:spLocks noEditPoints="1"/>
              </p:cNvSpPr>
              <p:nvPr/>
            </p:nvSpPr>
            <p:spPr bwMode="invGray">
              <a:xfrm>
                <a:off x="4306821" y="3253370"/>
                <a:ext cx="171335" cy="165192"/>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18" name="Rectangle 17"/>
            <p:cNvSpPr/>
            <p:nvPr/>
          </p:nvSpPr>
          <p:spPr>
            <a:xfrm>
              <a:off x="5438963" y="5593229"/>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19" name="Group 18"/>
            <p:cNvGrpSpPr/>
            <p:nvPr/>
          </p:nvGrpSpPr>
          <p:grpSpPr>
            <a:xfrm>
              <a:off x="5676032" y="6124010"/>
              <a:ext cx="810410" cy="219571"/>
              <a:chOff x="7458381" y="5575585"/>
              <a:chExt cx="830083" cy="225342"/>
            </a:xfrm>
            <a:solidFill>
              <a:srgbClr val="FFFFFF"/>
            </a:solidFill>
            <a:effectLst/>
          </p:grpSpPr>
          <p:sp>
            <p:nvSpPr>
              <p:cNvPr id="234" name="Freeform 21"/>
              <p:cNvSpPr>
                <a:spLocks noEditPoints="1"/>
              </p:cNvSpPr>
              <p:nvPr/>
            </p:nvSpPr>
            <p:spPr bwMode="invGray">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35" name="Freeform 22"/>
              <p:cNvSpPr>
                <a:spLocks/>
              </p:cNvSpPr>
              <p:nvPr/>
            </p:nvSpPr>
            <p:spPr bwMode="invGray">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36" name="Freeform 23"/>
              <p:cNvSpPr>
                <a:spLocks noEditPoints="1"/>
              </p:cNvSpPr>
              <p:nvPr/>
            </p:nvSpPr>
            <p:spPr bwMode="invGray">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37" name="Freeform 24"/>
              <p:cNvSpPr>
                <a:spLocks noEditPoints="1"/>
              </p:cNvSpPr>
              <p:nvPr/>
            </p:nvSpPr>
            <p:spPr bwMode="invGray">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38" name="Freeform 25"/>
              <p:cNvSpPr>
                <a:spLocks/>
              </p:cNvSpPr>
              <p:nvPr/>
            </p:nvSpPr>
            <p:spPr bwMode="invGray">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39" name="Freeform 26"/>
              <p:cNvSpPr>
                <a:spLocks/>
              </p:cNvSpPr>
              <p:nvPr/>
            </p:nvSpPr>
            <p:spPr bwMode="invGray">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40" name="Freeform 27"/>
              <p:cNvSpPr>
                <a:spLocks noEditPoints="1"/>
              </p:cNvSpPr>
              <p:nvPr/>
            </p:nvSpPr>
            <p:spPr bwMode="invGray">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41" name="Freeform 28"/>
              <p:cNvSpPr>
                <a:spLocks noEditPoints="1"/>
              </p:cNvSpPr>
              <p:nvPr/>
            </p:nvSpPr>
            <p:spPr bwMode="invGray">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20" name="Rectangle 19"/>
            <p:cNvSpPr/>
            <p:nvPr/>
          </p:nvSpPr>
          <p:spPr>
            <a:xfrm>
              <a:off x="2689079" y="4216164"/>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21" name="Group 20"/>
            <p:cNvGrpSpPr/>
            <p:nvPr/>
          </p:nvGrpSpPr>
          <p:grpSpPr>
            <a:xfrm>
              <a:off x="2954320" y="4783766"/>
              <a:ext cx="747789" cy="192947"/>
              <a:chOff x="4872260" y="5575584"/>
              <a:chExt cx="765942" cy="198016"/>
            </a:xfrm>
            <a:solidFill>
              <a:srgbClr val="FFFFFF"/>
            </a:solidFill>
            <a:effectLst/>
          </p:grpSpPr>
          <p:sp>
            <p:nvSpPr>
              <p:cNvPr id="229" name="Freeform 30"/>
              <p:cNvSpPr>
                <a:spLocks noEditPoints="1"/>
              </p:cNvSpPr>
              <p:nvPr/>
            </p:nvSpPr>
            <p:spPr bwMode="invGray">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30" name="Freeform 31"/>
              <p:cNvSpPr>
                <a:spLocks noEditPoints="1"/>
              </p:cNvSpPr>
              <p:nvPr/>
            </p:nvSpPr>
            <p:spPr bwMode="invGray">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31" name="Freeform 32"/>
              <p:cNvSpPr>
                <a:spLocks/>
              </p:cNvSpPr>
              <p:nvPr/>
            </p:nvSpPr>
            <p:spPr bwMode="invGray">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32" name="Freeform 33"/>
              <p:cNvSpPr>
                <a:spLocks/>
              </p:cNvSpPr>
              <p:nvPr/>
            </p:nvSpPr>
            <p:spPr bwMode="invGray">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33" name="Freeform 34"/>
              <p:cNvSpPr>
                <a:spLocks noEditPoints="1"/>
              </p:cNvSpPr>
              <p:nvPr/>
            </p:nvSpPr>
            <p:spPr bwMode="invGray">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22" name="Rectangle 21"/>
            <p:cNvSpPr/>
            <p:nvPr/>
          </p:nvSpPr>
          <p:spPr>
            <a:xfrm>
              <a:off x="9563785"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23" name="Group 22"/>
            <p:cNvGrpSpPr/>
            <p:nvPr/>
          </p:nvGrpSpPr>
          <p:grpSpPr>
            <a:xfrm>
              <a:off x="9689103" y="2013268"/>
              <a:ext cx="1033914" cy="160559"/>
              <a:chOff x="6018781" y="5575586"/>
              <a:chExt cx="1059017" cy="164779"/>
            </a:xfrm>
            <a:solidFill>
              <a:srgbClr val="FFFFFF"/>
            </a:solidFill>
            <a:effectLst/>
          </p:grpSpPr>
          <p:sp>
            <p:nvSpPr>
              <p:cNvPr id="221" name="Freeform 17"/>
              <p:cNvSpPr>
                <a:spLocks noEditPoints="1"/>
              </p:cNvSpPr>
              <p:nvPr/>
            </p:nvSpPr>
            <p:spPr bwMode="invGray">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22" name="Freeform 18"/>
              <p:cNvSpPr>
                <a:spLocks noEditPoints="1"/>
              </p:cNvSpPr>
              <p:nvPr/>
            </p:nvSpPr>
            <p:spPr bwMode="invGray">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23" name="Freeform 19"/>
              <p:cNvSpPr>
                <a:spLocks/>
              </p:cNvSpPr>
              <p:nvPr/>
            </p:nvSpPr>
            <p:spPr bwMode="invGray">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24" name="Freeform 20"/>
              <p:cNvSpPr>
                <a:spLocks/>
              </p:cNvSpPr>
              <p:nvPr/>
            </p:nvSpPr>
            <p:spPr bwMode="invGray">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25" name="Freeform 21"/>
              <p:cNvSpPr>
                <a:spLocks/>
              </p:cNvSpPr>
              <p:nvPr/>
            </p:nvSpPr>
            <p:spPr bwMode="invGray">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26" name="Freeform 22"/>
              <p:cNvSpPr>
                <a:spLocks/>
              </p:cNvSpPr>
              <p:nvPr/>
            </p:nvSpPr>
            <p:spPr bwMode="invGray">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27" name="Freeform 23"/>
              <p:cNvSpPr>
                <a:spLocks noEditPoints="1"/>
              </p:cNvSpPr>
              <p:nvPr/>
            </p:nvSpPr>
            <p:spPr bwMode="invGray">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28" name="Rectangle 24"/>
              <p:cNvSpPr>
                <a:spLocks noChangeArrowheads="1"/>
              </p:cNvSpPr>
              <p:nvPr/>
            </p:nvSpPr>
            <p:spPr bwMode="invGray">
              <a:xfrm>
                <a:off x="7052744" y="5575586"/>
                <a:ext cx="25054" cy="161888"/>
              </a:xfrm>
              <a:prstGeom prst="rect">
                <a:avLst/>
              </a:pr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24" name="Rectangle 23"/>
            <p:cNvSpPr/>
            <p:nvPr/>
          </p:nvSpPr>
          <p:spPr>
            <a:xfrm>
              <a:off x="6813902"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25" name="Group 24"/>
            <p:cNvGrpSpPr/>
            <p:nvPr/>
          </p:nvGrpSpPr>
          <p:grpSpPr>
            <a:xfrm>
              <a:off x="7010219" y="618132"/>
              <a:ext cx="891915" cy="214814"/>
              <a:chOff x="9053746" y="4958394"/>
              <a:chExt cx="913569" cy="220459"/>
            </a:xfrm>
            <a:solidFill>
              <a:srgbClr val="FFFFFF"/>
            </a:solidFill>
            <a:effectLst/>
          </p:grpSpPr>
          <p:sp>
            <p:nvSpPr>
              <p:cNvPr id="213" name="Freeform 25"/>
              <p:cNvSpPr>
                <a:spLocks noEditPoints="1"/>
              </p:cNvSpPr>
              <p:nvPr/>
            </p:nvSpPr>
            <p:spPr bwMode="invGray">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14" name="Freeform 26"/>
              <p:cNvSpPr>
                <a:spLocks noEditPoints="1"/>
              </p:cNvSpPr>
              <p:nvPr/>
            </p:nvSpPr>
            <p:spPr bwMode="invGray">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15" name="Freeform 27"/>
              <p:cNvSpPr>
                <a:spLocks/>
              </p:cNvSpPr>
              <p:nvPr/>
            </p:nvSpPr>
            <p:spPr bwMode="invGray">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16" name="Freeform 28"/>
              <p:cNvSpPr>
                <a:spLocks noEditPoints="1"/>
              </p:cNvSpPr>
              <p:nvPr/>
            </p:nvSpPr>
            <p:spPr bwMode="invGray">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17" name="Freeform 29"/>
              <p:cNvSpPr>
                <a:spLocks noEditPoints="1"/>
              </p:cNvSpPr>
              <p:nvPr/>
            </p:nvSpPr>
            <p:spPr bwMode="invGray">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18" name="Freeform 30"/>
              <p:cNvSpPr>
                <a:spLocks noEditPoints="1"/>
              </p:cNvSpPr>
              <p:nvPr/>
            </p:nvSpPr>
            <p:spPr bwMode="invGray">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19" name="Freeform 31"/>
              <p:cNvSpPr>
                <a:spLocks noEditPoints="1"/>
              </p:cNvSpPr>
              <p:nvPr/>
            </p:nvSpPr>
            <p:spPr bwMode="invGray">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20" name="Freeform 32"/>
              <p:cNvSpPr>
                <a:spLocks noEditPoints="1"/>
              </p:cNvSpPr>
              <p:nvPr/>
            </p:nvSpPr>
            <p:spPr bwMode="invGray">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26" name="Rectangle 25"/>
            <p:cNvSpPr/>
            <p:nvPr/>
          </p:nvSpPr>
          <p:spPr>
            <a:xfrm>
              <a:off x="5438963" y="4216164"/>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27" name="Group 26"/>
            <p:cNvGrpSpPr/>
            <p:nvPr/>
          </p:nvGrpSpPr>
          <p:grpSpPr>
            <a:xfrm>
              <a:off x="5661319" y="4763765"/>
              <a:ext cx="845791" cy="176576"/>
              <a:chOff x="5513886" y="4978012"/>
              <a:chExt cx="866327" cy="181218"/>
            </a:xfrm>
            <a:solidFill>
              <a:srgbClr val="FFFFFF"/>
            </a:solidFill>
            <a:effectLst/>
          </p:grpSpPr>
          <p:sp>
            <p:nvSpPr>
              <p:cNvPr id="206" name="Freeform 29"/>
              <p:cNvSpPr>
                <a:spLocks/>
              </p:cNvSpPr>
              <p:nvPr/>
            </p:nvSpPr>
            <p:spPr bwMode="invGray">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07" name="Freeform 30"/>
              <p:cNvSpPr>
                <a:spLocks/>
              </p:cNvSpPr>
              <p:nvPr/>
            </p:nvSpPr>
            <p:spPr bwMode="invGray">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08" name="Freeform 31"/>
              <p:cNvSpPr>
                <a:spLocks noEditPoints="1"/>
              </p:cNvSpPr>
              <p:nvPr/>
            </p:nvSpPr>
            <p:spPr bwMode="invGray">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09" name="Freeform 32"/>
              <p:cNvSpPr>
                <a:spLocks/>
              </p:cNvSpPr>
              <p:nvPr/>
            </p:nvSpPr>
            <p:spPr bwMode="invGray">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10" name="Freeform 209"/>
              <p:cNvSpPr>
                <a:spLocks/>
              </p:cNvSpPr>
              <p:nvPr/>
            </p:nvSpPr>
            <p:spPr bwMode="invGray">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11" name="Freeform 210"/>
              <p:cNvSpPr>
                <a:spLocks noEditPoints="1"/>
              </p:cNvSpPr>
              <p:nvPr/>
            </p:nvSpPr>
            <p:spPr bwMode="invGray">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12" name="Freeform 211"/>
              <p:cNvSpPr>
                <a:spLocks noEditPoints="1"/>
              </p:cNvSpPr>
              <p:nvPr/>
            </p:nvSpPr>
            <p:spPr bwMode="invGray">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28" name="Rectangle 27"/>
            <p:cNvSpPr/>
            <p:nvPr/>
          </p:nvSpPr>
          <p:spPr>
            <a:xfrm>
              <a:off x="2689079"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29" name="Group 28"/>
            <p:cNvGrpSpPr/>
            <p:nvPr/>
          </p:nvGrpSpPr>
          <p:grpSpPr>
            <a:xfrm>
              <a:off x="3049190" y="637213"/>
              <a:ext cx="564327" cy="160566"/>
              <a:chOff x="4664767" y="4986232"/>
              <a:chExt cx="578026" cy="164783"/>
            </a:xfrm>
            <a:solidFill>
              <a:srgbClr val="FFFFFF"/>
            </a:solidFill>
            <a:effectLst/>
          </p:grpSpPr>
          <p:sp>
            <p:nvSpPr>
              <p:cNvPr id="201" name="Freeform 22"/>
              <p:cNvSpPr>
                <a:spLocks noEditPoints="1"/>
              </p:cNvSpPr>
              <p:nvPr/>
            </p:nvSpPr>
            <p:spPr bwMode="invGray">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02" name="Freeform 23"/>
              <p:cNvSpPr>
                <a:spLocks noEditPoints="1"/>
              </p:cNvSpPr>
              <p:nvPr/>
            </p:nvSpPr>
            <p:spPr bwMode="invGray">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03" name="Freeform 24"/>
              <p:cNvSpPr>
                <a:spLocks/>
              </p:cNvSpPr>
              <p:nvPr/>
            </p:nvSpPr>
            <p:spPr bwMode="invGray">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04" name="Freeform 25"/>
              <p:cNvSpPr>
                <a:spLocks/>
              </p:cNvSpPr>
              <p:nvPr/>
            </p:nvSpPr>
            <p:spPr bwMode="invGray">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05" name="Freeform 26"/>
              <p:cNvSpPr>
                <a:spLocks noEditPoints="1"/>
              </p:cNvSpPr>
              <p:nvPr/>
            </p:nvSpPr>
            <p:spPr bwMode="invGray">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30" name="Rectangle 29"/>
            <p:cNvSpPr/>
            <p:nvPr/>
          </p:nvSpPr>
          <p:spPr>
            <a:xfrm>
              <a:off x="2689079" y="5593229"/>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31" name="Group 30"/>
            <p:cNvGrpSpPr/>
            <p:nvPr/>
          </p:nvGrpSpPr>
          <p:grpSpPr>
            <a:xfrm>
              <a:off x="2843324" y="6137898"/>
              <a:ext cx="976048" cy="191797"/>
              <a:chOff x="1502088" y="4970205"/>
              <a:chExt cx="999744" cy="196837"/>
            </a:xfrm>
            <a:solidFill>
              <a:srgbClr val="FFFFFF"/>
            </a:solidFill>
            <a:effectLst/>
          </p:grpSpPr>
          <p:sp>
            <p:nvSpPr>
              <p:cNvPr id="196" name="Freeform 19"/>
              <p:cNvSpPr>
                <a:spLocks noEditPoints="1"/>
              </p:cNvSpPr>
              <p:nvPr/>
            </p:nvSpPr>
            <p:spPr bwMode="invGray">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97" name="Freeform 20"/>
              <p:cNvSpPr>
                <a:spLocks noEditPoints="1"/>
              </p:cNvSpPr>
              <p:nvPr/>
            </p:nvSpPr>
            <p:spPr bwMode="invGray">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98" name="Freeform 21"/>
              <p:cNvSpPr>
                <a:spLocks noEditPoints="1"/>
              </p:cNvSpPr>
              <p:nvPr/>
            </p:nvSpPr>
            <p:spPr bwMode="invGray">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99" name="Freeform 22"/>
              <p:cNvSpPr>
                <a:spLocks/>
              </p:cNvSpPr>
              <p:nvPr/>
            </p:nvSpPr>
            <p:spPr bwMode="invGray">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200" name="Freeform 23"/>
              <p:cNvSpPr>
                <a:spLocks/>
              </p:cNvSpPr>
              <p:nvPr/>
            </p:nvSpPr>
            <p:spPr bwMode="invGray">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32" name="Rectangle 31"/>
            <p:cNvSpPr/>
            <p:nvPr/>
          </p:nvSpPr>
          <p:spPr>
            <a:xfrm>
              <a:off x="6813902"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33" name="Group 32"/>
            <p:cNvGrpSpPr/>
            <p:nvPr/>
          </p:nvGrpSpPr>
          <p:grpSpPr>
            <a:xfrm>
              <a:off x="7084921" y="1954785"/>
              <a:ext cx="742508" cy="295635"/>
              <a:chOff x="6651306" y="4916921"/>
              <a:chExt cx="760536" cy="303406"/>
            </a:xfrm>
            <a:solidFill>
              <a:srgbClr val="FFFFFF"/>
            </a:solidFill>
            <a:effectLst/>
          </p:grpSpPr>
          <p:sp>
            <p:nvSpPr>
              <p:cNvPr id="191" name="Freeform 18"/>
              <p:cNvSpPr>
                <a:spLocks/>
              </p:cNvSpPr>
              <p:nvPr/>
            </p:nvSpPr>
            <p:spPr bwMode="invGray">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92" name="Freeform 19"/>
              <p:cNvSpPr>
                <a:spLocks/>
              </p:cNvSpPr>
              <p:nvPr/>
            </p:nvSpPr>
            <p:spPr bwMode="invGray">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93" name="Freeform 20"/>
              <p:cNvSpPr>
                <a:spLocks/>
              </p:cNvSpPr>
              <p:nvPr/>
            </p:nvSpPr>
            <p:spPr bwMode="invGray">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94" name="Freeform 21"/>
              <p:cNvSpPr>
                <a:spLocks/>
              </p:cNvSpPr>
              <p:nvPr/>
            </p:nvSpPr>
            <p:spPr bwMode="invGray">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95" name="Freeform 22"/>
              <p:cNvSpPr>
                <a:spLocks/>
              </p:cNvSpPr>
              <p:nvPr/>
            </p:nvSpPr>
            <p:spPr bwMode="invGray">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34" name="Rectangle 33"/>
            <p:cNvSpPr/>
            <p:nvPr/>
          </p:nvSpPr>
          <p:spPr>
            <a:xfrm>
              <a:off x="5438963" y="2839103"/>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35" name="Group 34"/>
            <p:cNvGrpSpPr/>
            <p:nvPr/>
          </p:nvGrpSpPr>
          <p:grpSpPr>
            <a:xfrm>
              <a:off x="5605324" y="3383635"/>
              <a:ext cx="951827" cy="192063"/>
              <a:chOff x="3393928" y="4967561"/>
              <a:chExt cx="999744" cy="202126"/>
            </a:xfrm>
            <a:solidFill>
              <a:srgbClr val="FFFFFF"/>
            </a:solidFill>
            <a:effectLst/>
          </p:grpSpPr>
          <p:sp>
            <p:nvSpPr>
              <p:cNvPr id="182" name="Freeform 27"/>
              <p:cNvSpPr>
                <a:spLocks/>
              </p:cNvSpPr>
              <p:nvPr/>
            </p:nvSpPr>
            <p:spPr bwMode="invGray">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83" name="Freeform 28"/>
              <p:cNvSpPr>
                <a:spLocks/>
              </p:cNvSpPr>
              <p:nvPr/>
            </p:nvSpPr>
            <p:spPr bwMode="invGray">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84" name="Rectangle 29"/>
              <p:cNvSpPr>
                <a:spLocks noChangeArrowheads="1"/>
              </p:cNvSpPr>
              <p:nvPr/>
            </p:nvSpPr>
            <p:spPr bwMode="invGray">
              <a:xfrm>
                <a:off x="3703957" y="4967561"/>
                <a:ext cx="23633" cy="156414"/>
              </a:xfrm>
              <a:prstGeom prst="rect">
                <a:avLst/>
              </a:pr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85" name="Freeform 30"/>
              <p:cNvSpPr>
                <a:spLocks/>
              </p:cNvSpPr>
              <p:nvPr/>
            </p:nvSpPr>
            <p:spPr bwMode="invGray">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86" name="Freeform 31"/>
              <p:cNvSpPr>
                <a:spLocks/>
              </p:cNvSpPr>
              <p:nvPr/>
            </p:nvSpPr>
            <p:spPr bwMode="invGray">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87" name="Freeform 32"/>
              <p:cNvSpPr>
                <a:spLocks/>
              </p:cNvSpPr>
              <p:nvPr/>
            </p:nvSpPr>
            <p:spPr bwMode="invGray">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88" name="Freeform 33"/>
              <p:cNvSpPr>
                <a:spLocks noEditPoints="1"/>
              </p:cNvSpPr>
              <p:nvPr/>
            </p:nvSpPr>
            <p:spPr bwMode="invGray">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89" name="Freeform 34"/>
              <p:cNvSpPr>
                <a:spLocks/>
              </p:cNvSpPr>
              <p:nvPr/>
            </p:nvSpPr>
            <p:spPr bwMode="invGray">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90" name="Freeform 35"/>
              <p:cNvSpPr>
                <a:spLocks/>
              </p:cNvSpPr>
              <p:nvPr/>
            </p:nvSpPr>
            <p:spPr bwMode="invGray">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36" name="Rectangle 35"/>
            <p:cNvSpPr/>
            <p:nvPr/>
          </p:nvSpPr>
          <p:spPr>
            <a:xfrm>
              <a:off x="5438963"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37" name="Group 36"/>
            <p:cNvGrpSpPr/>
            <p:nvPr/>
          </p:nvGrpSpPr>
          <p:grpSpPr>
            <a:xfrm>
              <a:off x="5806767" y="630952"/>
              <a:ext cx="548376" cy="181607"/>
              <a:chOff x="10238410" y="4967852"/>
              <a:chExt cx="561691" cy="186381"/>
            </a:xfrm>
            <a:solidFill>
              <a:srgbClr val="FFFFFF"/>
            </a:solidFill>
            <a:effectLst/>
          </p:grpSpPr>
          <p:sp>
            <p:nvSpPr>
              <p:cNvPr id="177" name="Freeform 34"/>
              <p:cNvSpPr>
                <a:spLocks/>
              </p:cNvSpPr>
              <p:nvPr/>
            </p:nvSpPr>
            <p:spPr bwMode="invGray">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78" name="Freeform 35"/>
              <p:cNvSpPr>
                <a:spLocks/>
              </p:cNvSpPr>
              <p:nvPr/>
            </p:nvSpPr>
            <p:spPr bwMode="invGray">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79" name="Freeform 36"/>
              <p:cNvSpPr>
                <a:spLocks noEditPoints="1"/>
              </p:cNvSpPr>
              <p:nvPr/>
            </p:nvSpPr>
            <p:spPr bwMode="invGray">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80" name="Rectangle 37"/>
              <p:cNvSpPr>
                <a:spLocks noChangeArrowheads="1"/>
              </p:cNvSpPr>
              <p:nvPr/>
            </p:nvSpPr>
            <p:spPr bwMode="invGray">
              <a:xfrm>
                <a:off x="10646846" y="4967852"/>
                <a:ext cx="27666" cy="183105"/>
              </a:xfrm>
              <a:prstGeom prst="rect">
                <a:avLst/>
              </a:pr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81" name="Freeform 38"/>
              <p:cNvSpPr>
                <a:spLocks noEditPoints="1"/>
              </p:cNvSpPr>
              <p:nvPr/>
            </p:nvSpPr>
            <p:spPr bwMode="invGray">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38" name="Rectangle 37"/>
            <p:cNvSpPr/>
            <p:nvPr/>
          </p:nvSpPr>
          <p:spPr>
            <a:xfrm>
              <a:off x="1314134" y="5593229"/>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39" name="Group 38"/>
            <p:cNvGrpSpPr/>
            <p:nvPr/>
          </p:nvGrpSpPr>
          <p:grpSpPr>
            <a:xfrm>
              <a:off x="1776292" y="6161674"/>
              <a:ext cx="341617" cy="184726"/>
              <a:chOff x="2772926" y="4973833"/>
              <a:chExt cx="349910" cy="189581"/>
            </a:xfrm>
            <a:solidFill>
              <a:srgbClr val="FFFFFF"/>
            </a:solidFill>
            <a:effectLst/>
          </p:grpSpPr>
          <p:sp>
            <p:nvSpPr>
              <p:cNvPr id="174" name="Freeform 21"/>
              <p:cNvSpPr>
                <a:spLocks/>
              </p:cNvSpPr>
              <p:nvPr/>
            </p:nvSpPr>
            <p:spPr bwMode="invGray">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75" name="Freeform 22"/>
              <p:cNvSpPr>
                <a:spLocks noEditPoints="1"/>
              </p:cNvSpPr>
              <p:nvPr/>
            </p:nvSpPr>
            <p:spPr bwMode="invGray">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76" name="Freeform 23"/>
              <p:cNvSpPr>
                <a:spLocks/>
              </p:cNvSpPr>
              <p:nvPr/>
            </p:nvSpPr>
            <p:spPr bwMode="invGray">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40" name="Rectangle 39"/>
            <p:cNvSpPr/>
            <p:nvPr/>
          </p:nvSpPr>
          <p:spPr>
            <a:xfrm>
              <a:off x="1314134"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41" name="Group 40"/>
            <p:cNvGrpSpPr/>
            <p:nvPr/>
          </p:nvGrpSpPr>
          <p:grpSpPr>
            <a:xfrm>
              <a:off x="1426111" y="2013268"/>
              <a:ext cx="1060588" cy="210024"/>
              <a:chOff x="5953627" y="6205329"/>
              <a:chExt cx="1086337" cy="215543"/>
            </a:xfrm>
            <a:solidFill>
              <a:srgbClr val="FFFFFF"/>
            </a:solidFill>
            <a:effectLst/>
          </p:grpSpPr>
          <p:sp>
            <p:nvSpPr>
              <p:cNvPr id="163" name="Freeform 24"/>
              <p:cNvSpPr>
                <a:spLocks/>
              </p:cNvSpPr>
              <p:nvPr/>
            </p:nvSpPr>
            <p:spPr bwMode="invGray">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64" name="Freeform 25"/>
              <p:cNvSpPr>
                <a:spLocks noEditPoints="1"/>
              </p:cNvSpPr>
              <p:nvPr/>
            </p:nvSpPr>
            <p:spPr bwMode="invGray">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65" name="Freeform 26"/>
              <p:cNvSpPr>
                <a:spLocks/>
              </p:cNvSpPr>
              <p:nvPr/>
            </p:nvSpPr>
            <p:spPr bwMode="invGray">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66" name="Freeform 27"/>
              <p:cNvSpPr>
                <a:spLocks noEditPoints="1"/>
              </p:cNvSpPr>
              <p:nvPr/>
            </p:nvSpPr>
            <p:spPr bwMode="invGray">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67" name="Freeform 28"/>
              <p:cNvSpPr>
                <a:spLocks/>
              </p:cNvSpPr>
              <p:nvPr/>
            </p:nvSpPr>
            <p:spPr bwMode="invGray">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68" name="Freeform 29"/>
              <p:cNvSpPr>
                <a:spLocks/>
              </p:cNvSpPr>
              <p:nvPr/>
            </p:nvSpPr>
            <p:spPr bwMode="invGray">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69" name="Freeform 30"/>
              <p:cNvSpPr>
                <a:spLocks noEditPoints="1"/>
              </p:cNvSpPr>
              <p:nvPr/>
            </p:nvSpPr>
            <p:spPr bwMode="invGray">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70" name="Freeform 31"/>
              <p:cNvSpPr>
                <a:spLocks/>
              </p:cNvSpPr>
              <p:nvPr/>
            </p:nvSpPr>
            <p:spPr bwMode="invGray">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71" name="Rectangle 32"/>
              <p:cNvSpPr>
                <a:spLocks noChangeArrowheads="1"/>
              </p:cNvSpPr>
              <p:nvPr/>
            </p:nvSpPr>
            <p:spPr bwMode="invGray">
              <a:xfrm>
                <a:off x="6805851" y="6205329"/>
                <a:ext cx="25534" cy="166797"/>
              </a:xfrm>
              <a:prstGeom prst="rect">
                <a:avLst/>
              </a:pr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72" name="Freeform 33"/>
              <p:cNvSpPr>
                <a:spLocks noEditPoints="1"/>
              </p:cNvSpPr>
              <p:nvPr/>
            </p:nvSpPr>
            <p:spPr bwMode="invGray">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73" name="Freeform 34"/>
              <p:cNvSpPr>
                <a:spLocks/>
              </p:cNvSpPr>
              <p:nvPr/>
            </p:nvSpPr>
            <p:spPr bwMode="invGray">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42" name="Rectangle 41"/>
            <p:cNvSpPr/>
            <p:nvPr/>
          </p:nvSpPr>
          <p:spPr>
            <a:xfrm>
              <a:off x="2689079"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43" name="Group 42"/>
            <p:cNvGrpSpPr/>
            <p:nvPr/>
          </p:nvGrpSpPr>
          <p:grpSpPr>
            <a:xfrm>
              <a:off x="2882682" y="1938687"/>
              <a:ext cx="897339" cy="327830"/>
              <a:chOff x="7376591" y="6134773"/>
              <a:chExt cx="919129" cy="336446"/>
            </a:xfrm>
            <a:solidFill>
              <a:srgbClr val="FFFFFF"/>
            </a:solidFill>
            <a:effectLst/>
          </p:grpSpPr>
          <p:sp>
            <p:nvSpPr>
              <p:cNvPr id="156" name="Freeform 24"/>
              <p:cNvSpPr>
                <a:spLocks/>
              </p:cNvSpPr>
              <p:nvPr/>
            </p:nvSpPr>
            <p:spPr bwMode="invGray">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57" name="Freeform 25"/>
              <p:cNvSpPr>
                <a:spLocks/>
              </p:cNvSpPr>
              <p:nvPr/>
            </p:nvSpPr>
            <p:spPr bwMode="invGray">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58" name="Freeform 26"/>
              <p:cNvSpPr>
                <a:spLocks/>
              </p:cNvSpPr>
              <p:nvPr/>
            </p:nvSpPr>
            <p:spPr bwMode="invGray">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59" name="Freeform 27"/>
              <p:cNvSpPr>
                <a:spLocks/>
              </p:cNvSpPr>
              <p:nvPr/>
            </p:nvSpPr>
            <p:spPr bwMode="invGray">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60" name="Freeform 28"/>
              <p:cNvSpPr>
                <a:spLocks/>
              </p:cNvSpPr>
              <p:nvPr/>
            </p:nvSpPr>
            <p:spPr bwMode="invGray">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61" name="Freeform 29"/>
              <p:cNvSpPr>
                <a:spLocks/>
              </p:cNvSpPr>
              <p:nvPr/>
            </p:nvSpPr>
            <p:spPr bwMode="invGray">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62" name="Freeform 30"/>
              <p:cNvSpPr>
                <a:spLocks noEditPoints="1"/>
              </p:cNvSpPr>
              <p:nvPr/>
            </p:nvSpPr>
            <p:spPr bwMode="invGray">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44" name="Rectangle 43"/>
            <p:cNvSpPr/>
            <p:nvPr/>
          </p:nvSpPr>
          <p:spPr>
            <a:xfrm>
              <a:off x="5438963"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45" name="Group 44"/>
            <p:cNvGrpSpPr/>
            <p:nvPr/>
          </p:nvGrpSpPr>
          <p:grpSpPr>
            <a:xfrm>
              <a:off x="5740618" y="2013268"/>
              <a:ext cx="697934" cy="182711"/>
              <a:chOff x="420233" y="6191684"/>
              <a:chExt cx="714879" cy="187513"/>
            </a:xfrm>
            <a:solidFill>
              <a:srgbClr val="FFFFFF"/>
            </a:solidFill>
            <a:effectLst/>
          </p:grpSpPr>
          <p:sp>
            <p:nvSpPr>
              <p:cNvPr id="144" name="Freeform 20"/>
              <p:cNvSpPr>
                <a:spLocks/>
              </p:cNvSpPr>
              <p:nvPr/>
            </p:nvSpPr>
            <p:spPr bwMode="invGray">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45" name="Freeform 21"/>
              <p:cNvSpPr>
                <a:spLocks/>
              </p:cNvSpPr>
              <p:nvPr/>
            </p:nvSpPr>
            <p:spPr bwMode="invGray">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46" name="Freeform 22"/>
              <p:cNvSpPr>
                <a:spLocks/>
              </p:cNvSpPr>
              <p:nvPr/>
            </p:nvSpPr>
            <p:spPr bwMode="invGray">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47" name="Freeform 25"/>
              <p:cNvSpPr>
                <a:spLocks/>
              </p:cNvSpPr>
              <p:nvPr/>
            </p:nvSpPr>
            <p:spPr bwMode="invGray">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48" name="Freeform 26"/>
              <p:cNvSpPr>
                <a:spLocks/>
              </p:cNvSpPr>
              <p:nvPr/>
            </p:nvSpPr>
            <p:spPr bwMode="invGray">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49" name="Freeform 36"/>
              <p:cNvSpPr>
                <a:spLocks/>
              </p:cNvSpPr>
              <p:nvPr/>
            </p:nvSpPr>
            <p:spPr bwMode="invGray">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50" name="Freeform 37"/>
              <p:cNvSpPr>
                <a:spLocks noEditPoints="1"/>
              </p:cNvSpPr>
              <p:nvPr/>
            </p:nvSpPr>
            <p:spPr bwMode="invGray">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51" name="Freeform 38"/>
              <p:cNvSpPr>
                <a:spLocks/>
              </p:cNvSpPr>
              <p:nvPr/>
            </p:nvSpPr>
            <p:spPr bwMode="invGray">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52" name="Freeform 39"/>
              <p:cNvSpPr>
                <a:spLocks/>
              </p:cNvSpPr>
              <p:nvPr/>
            </p:nvSpPr>
            <p:spPr bwMode="invGray">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53" name="Freeform 42"/>
              <p:cNvSpPr>
                <a:spLocks/>
              </p:cNvSpPr>
              <p:nvPr/>
            </p:nvSpPr>
            <p:spPr bwMode="invGray">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54" name="Freeform 43"/>
              <p:cNvSpPr>
                <a:spLocks noEditPoints="1"/>
              </p:cNvSpPr>
              <p:nvPr/>
            </p:nvSpPr>
            <p:spPr bwMode="invGray">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55" name="Freeform 44"/>
              <p:cNvSpPr>
                <a:spLocks/>
              </p:cNvSpPr>
              <p:nvPr/>
            </p:nvSpPr>
            <p:spPr bwMode="invGray">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46" name="Rectangle 45"/>
            <p:cNvSpPr/>
            <p:nvPr/>
          </p:nvSpPr>
          <p:spPr>
            <a:xfrm>
              <a:off x="4064021" y="2839103"/>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47" name="Group 46"/>
            <p:cNvGrpSpPr/>
            <p:nvPr/>
          </p:nvGrpSpPr>
          <p:grpSpPr>
            <a:xfrm>
              <a:off x="4170773" y="3326415"/>
              <a:ext cx="1071036" cy="306513"/>
              <a:chOff x="2649884" y="6146155"/>
              <a:chExt cx="1395225" cy="400069"/>
            </a:xfrm>
            <a:solidFill>
              <a:srgbClr val="FFFFFF"/>
            </a:solidFill>
            <a:effectLst/>
          </p:grpSpPr>
          <p:sp>
            <p:nvSpPr>
              <p:cNvPr id="133" name="Line 6"/>
              <p:cNvSpPr>
                <a:spLocks noChangeShapeType="1"/>
              </p:cNvSpPr>
              <p:nvPr/>
            </p:nvSpPr>
            <p:spPr bwMode="invGray">
              <a:xfrm>
                <a:off x="2649884" y="6545967"/>
                <a:ext cx="257" cy="257"/>
              </a:xfrm>
              <a:prstGeom prst="line">
                <a:avLst/>
              </a:pr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34" name="Freeform 7"/>
              <p:cNvSpPr>
                <a:spLocks noEditPoints="1"/>
              </p:cNvSpPr>
              <p:nvPr/>
            </p:nvSpPr>
            <p:spPr bwMode="invGray">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35" name="Freeform 8"/>
              <p:cNvSpPr>
                <a:spLocks noEditPoints="1"/>
              </p:cNvSpPr>
              <p:nvPr/>
            </p:nvSpPr>
            <p:spPr bwMode="invGray">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36" name="Freeform 9"/>
              <p:cNvSpPr>
                <a:spLocks noEditPoints="1"/>
              </p:cNvSpPr>
              <p:nvPr/>
            </p:nvSpPr>
            <p:spPr bwMode="invGray">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37" name="Freeform 10"/>
              <p:cNvSpPr>
                <a:spLocks noEditPoints="1"/>
              </p:cNvSpPr>
              <p:nvPr/>
            </p:nvSpPr>
            <p:spPr bwMode="invGray">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38" name="Freeform 11"/>
              <p:cNvSpPr>
                <a:spLocks noEditPoints="1"/>
              </p:cNvSpPr>
              <p:nvPr/>
            </p:nvSpPr>
            <p:spPr bwMode="invGray">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39" name="Freeform 12"/>
              <p:cNvSpPr>
                <a:spLocks noEditPoints="1"/>
              </p:cNvSpPr>
              <p:nvPr/>
            </p:nvSpPr>
            <p:spPr bwMode="invGray">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40" name="Freeform 13"/>
              <p:cNvSpPr>
                <a:spLocks noEditPoints="1"/>
              </p:cNvSpPr>
              <p:nvPr/>
            </p:nvSpPr>
            <p:spPr bwMode="invGray">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41" name="Freeform 14"/>
              <p:cNvSpPr>
                <a:spLocks noEditPoints="1"/>
              </p:cNvSpPr>
              <p:nvPr/>
            </p:nvSpPr>
            <p:spPr bwMode="invGray">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42" name="Freeform 15"/>
              <p:cNvSpPr>
                <a:spLocks noEditPoints="1"/>
              </p:cNvSpPr>
              <p:nvPr/>
            </p:nvSpPr>
            <p:spPr bwMode="invGray">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43" name="Freeform 16"/>
              <p:cNvSpPr>
                <a:spLocks noEditPoints="1"/>
              </p:cNvSpPr>
              <p:nvPr/>
            </p:nvSpPr>
            <p:spPr bwMode="invGray">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48" name="Rectangle 47"/>
            <p:cNvSpPr/>
            <p:nvPr/>
          </p:nvSpPr>
          <p:spPr>
            <a:xfrm>
              <a:off x="1314134" y="4216164"/>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49" name="Group 48"/>
            <p:cNvGrpSpPr/>
            <p:nvPr/>
          </p:nvGrpSpPr>
          <p:grpSpPr>
            <a:xfrm>
              <a:off x="1546250" y="4718508"/>
              <a:ext cx="820313" cy="264966"/>
              <a:chOff x="8632347" y="6167032"/>
              <a:chExt cx="840228" cy="271928"/>
            </a:xfrm>
            <a:solidFill>
              <a:srgbClr val="FFFFFF"/>
            </a:solidFill>
            <a:effectLst/>
          </p:grpSpPr>
          <p:sp>
            <p:nvSpPr>
              <p:cNvPr id="130" name="Freeform 17"/>
              <p:cNvSpPr>
                <a:spLocks noEditPoints="1"/>
              </p:cNvSpPr>
              <p:nvPr/>
            </p:nvSpPr>
            <p:spPr bwMode="invGray">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31" name="Freeform 18"/>
              <p:cNvSpPr>
                <a:spLocks noEditPoints="1"/>
              </p:cNvSpPr>
              <p:nvPr/>
            </p:nvSpPr>
            <p:spPr bwMode="invGray">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32" name="Freeform 19"/>
              <p:cNvSpPr>
                <a:spLocks noEditPoints="1"/>
              </p:cNvSpPr>
              <p:nvPr/>
            </p:nvSpPr>
            <p:spPr bwMode="invGray">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50" name="Rectangle 49"/>
            <p:cNvSpPr/>
            <p:nvPr/>
          </p:nvSpPr>
          <p:spPr>
            <a:xfrm>
              <a:off x="1314134" y="2839103"/>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51" name="Group 50"/>
            <p:cNvGrpSpPr/>
            <p:nvPr/>
          </p:nvGrpSpPr>
          <p:grpSpPr>
            <a:xfrm>
              <a:off x="1424607" y="3393629"/>
              <a:ext cx="1050866" cy="171430"/>
              <a:chOff x="9809204" y="6215358"/>
              <a:chExt cx="1072317" cy="175273"/>
            </a:xfrm>
            <a:solidFill>
              <a:srgbClr val="FFFFFF"/>
            </a:solidFill>
            <a:effectLst/>
          </p:grpSpPr>
          <p:sp>
            <p:nvSpPr>
              <p:cNvPr id="122" name="Freeform 23"/>
              <p:cNvSpPr>
                <a:spLocks/>
              </p:cNvSpPr>
              <p:nvPr/>
            </p:nvSpPr>
            <p:spPr bwMode="invGray">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23" name="Freeform 24"/>
              <p:cNvSpPr>
                <a:spLocks noEditPoints="1"/>
              </p:cNvSpPr>
              <p:nvPr/>
            </p:nvSpPr>
            <p:spPr bwMode="invGray">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24" name="Freeform 25"/>
              <p:cNvSpPr>
                <a:spLocks/>
              </p:cNvSpPr>
              <p:nvPr/>
            </p:nvSpPr>
            <p:spPr bwMode="invGray">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25" name="Freeform 26"/>
              <p:cNvSpPr>
                <a:spLocks/>
              </p:cNvSpPr>
              <p:nvPr/>
            </p:nvSpPr>
            <p:spPr bwMode="invGray">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26" name="Freeform 27"/>
              <p:cNvSpPr>
                <a:spLocks noEditPoints="1"/>
              </p:cNvSpPr>
              <p:nvPr/>
            </p:nvSpPr>
            <p:spPr bwMode="invGray">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27" name="Freeform 28"/>
              <p:cNvSpPr>
                <a:spLocks/>
              </p:cNvSpPr>
              <p:nvPr/>
            </p:nvSpPr>
            <p:spPr bwMode="invGray">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28" name="Freeform 29"/>
              <p:cNvSpPr>
                <a:spLocks noEditPoints="1"/>
              </p:cNvSpPr>
              <p:nvPr/>
            </p:nvSpPr>
            <p:spPr bwMode="invGray">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29" name="Freeform 30"/>
              <p:cNvSpPr>
                <a:spLocks/>
              </p:cNvSpPr>
              <p:nvPr/>
            </p:nvSpPr>
            <p:spPr bwMode="invGray">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52" name="Rectangle 51"/>
            <p:cNvSpPr/>
            <p:nvPr/>
          </p:nvSpPr>
          <p:spPr>
            <a:xfrm>
              <a:off x="-60806" y="5593229"/>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53" name="Group 52"/>
            <p:cNvGrpSpPr/>
            <p:nvPr/>
          </p:nvGrpSpPr>
          <p:grpSpPr>
            <a:xfrm>
              <a:off x="114640" y="6163757"/>
              <a:ext cx="933657" cy="192039"/>
              <a:chOff x="4381738" y="6174707"/>
              <a:chExt cx="1235264" cy="254570"/>
            </a:xfrm>
            <a:solidFill>
              <a:srgbClr val="FFFFFF"/>
            </a:solidFill>
            <a:effectLst/>
          </p:grpSpPr>
          <p:sp>
            <p:nvSpPr>
              <p:cNvPr id="113" name="Freeform 5"/>
              <p:cNvSpPr>
                <a:spLocks noEditPoints="1"/>
              </p:cNvSpPr>
              <p:nvPr/>
            </p:nvSpPr>
            <p:spPr bwMode="invGray">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14" name="Freeform 6"/>
              <p:cNvSpPr>
                <a:spLocks noEditPoints="1"/>
              </p:cNvSpPr>
              <p:nvPr/>
            </p:nvSpPr>
            <p:spPr bwMode="invGray">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15" name="Freeform 7"/>
              <p:cNvSpPr>
                <a:spLocks/>
              </p:cNvSpPr>
              <p:nvPr/>
            </p:nvSpPr>
            <p:spPr bwMode="invGray">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16" name="Freeform 8"/>
              <p:cNvSpPr>
                <a:spLocks/>
              </p:cNvSpPr>
              <p:nvPr/>
            </p:nvSpPr>
            <p:spPr bwMode="invGray">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17" name="Freeform 9"/>
              <p:cNvSpPr>
                <a:spLocks noEditPoints="1"/>
              </p:cNvSpPr>
              <p:nvPr/>
            </p:nvSpPr>
            <p:spPr bwMode="invGray">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18" name="Freeform 10"/>
              <p:cNvSpPr>
                <a:spLocks noEditPoints="1"/>
              </p:cNvSpPr>
              <p:nvPr/>
            </p:nvSpPr>
            <p:spPr bwMode="invGray">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19" name="Freeform 11"/>
              <p:cNvSpPr>
                <a:spLocks noEditPoints="1"/>
              </p:cNvSpPr>
              <p:nvPr/>
            </p:nvSpPr>
            <p:spPr bwMode="invGray">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20" name="Freeform 12"/>
              <p:cNvSpPr>
                <a:spLocks noEditPoints="1"/>
              </p:cNvSpPr>
              <p:nvPr/>
            </p:nvSpPr>
            <p:spPr bwMode="invGray">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21" name="Freeform 13"/>
              <p:cNvSpPr>
                <a:spLocks noEditPoints="1"/>
              </p:cNvSpPr>
              <p:nvPr/>
            </p:nvSpPr>
            <p:spPr bwMode="invGray">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54" name="Rectangle 53"/>
            <p:cNvSpPr/>
            <p:nvPr/>
          </p:nvSpPr>
          <p:spPr>
            <a:xfrm>
              <a:off x="4064021" y="5593229"/>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55" name="Group 54"/>
            <p:cNvGrpSpPr/>
            <p:nvPr/>
          </p:nvGrpSpPr>
          <p:grpSpPr>
            <a:xfrm>
              <a:off x="4382252" y="6112561"/>
              <a:ext cx="648085" cy="242469"/>
              <a:chOff x="11218145" y="6191686"/>
              <a:chExt cx="663815" cy="248839"/>
            </a:xfrm>
            <a:solidFill>
              <a:srgbClr val="FFFFFF"/>
            </a:solidFill>
            <a:effectLst/>
          </p:grpSpPr>
          <p:sp>
            <p:nvSpPr>
              <p:cNvPr id="107" name="Freeform 18"/>
              <p:cNvSpPr>
                <a:spLocks noEditPoints="1"/>
              </p:cNvSpPr>
              <p:nvPr/>
            </p:nvSpPr>
            <p:spPr bwMode="invGray">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08" name="Freeform 19"/>
              <p:cNvSpPr>
                <a:spLocks noEditPoints="1"/>
              </p:cNvSpPr>
              <p:nvPr/>
            </p:nvSpPr>
            <p:spPr bwMode="invGray">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09" name="Freeform 20"/>
              <p:cNvSpPr>
                <a:spLocks/>
              </p:cNvSpPr>
              <p:nvPr/>
            </p:nvSpPr>
            <p:spPr bwMode="invGray">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10" name="Freeform 21"/>
              <p:cNvSpPr>
                <a:spLocks/>
              </p:cNvSpPr>
              <p:nvPr/>
            </p:nvSpPr>
            <p:spPr bwMode="invGray">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11" name="Freeform 22"/>
              <p:cNvSpPr>
                <a:spLocks noEditPoints="1"/>
              </p:cNvSpPr>
              <p:nvPr/>
            </p:nvSpPr>
            <p:spPr bwMode="invGray">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12" name="Freeform 23"/>
              <p:cNvSpPr>
                <a:spLocks noEditPoints="1"/>
              </p:cNvSpPr>
              <p:nvPr/>
            </p:nvSpPr>
            <p:spPr bwMode="invGray">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56" name="Rectangle 55"/>
            <p:cNvSpPr/>
            <p:nvPr/>
          </p:nvSpPr>
          <p:spPr>
            <a:xfrm>
              <a:off x="4064021" y="4216164"/>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57" name="Group 56"/>
            <p:cNvGrpSpPr/>
            <p:nvPr/>
          </p:nvGrpSpPr>
          <p:grpSpPr>
            <a:xfrm>
              <a:off x="4295508" y="4708732"/>
              <a:ext cx="821573" cy="254309"/>
              <a:chOff x="1471737" y="6192453"/>
              <a:chExt cx="841520" cy="260991"/>
            </a:xfrm>
            <a:solidFill>
              <a:srgbClr val="FFFFFF"/>
            </a:solidFill>
            <a:effectLst/>
          </p:grpSpPr>
          <p:sp>
            <p:nvSpPr>
              <p:cNvPr id="100" name="Freeform 20"/>
              <p:cNvSpPr>
                <a:spLocks noEditPoints="1"/>
              </p:cNvSpPr>
              <p:nvPr/>
            </p:nvSpPr>
            <p:spPr bwMode="invGray">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01" name="Freeform 21"/>
              <p:cNvSpPr>
                <a:spLocks noEditPoints="1"/>
              </p:cNvSpPr>
              <p:nvPr/>
            </p:nvSpPr>
            <p:spPr bwMode="invGray">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02" name="Freeform 22"/>
              <p:cNvSpPr>
                <a:spLocks/>
              </p:cNvSpPr>
              <p:nvPr/>
            </p:nvSpPr>
            <p:spPr bwMode="invGray">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03" name="Freeform 23"/>
              <p:cNvSpPr>
                <a:spLocks/>
              </p:cNvSpPr>
              <p:nvPr/>
            </p:nvSpPr>
            <p:spPr bwMode="invGray">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04" name="Freeform 24"/>
              <p:cNvSpPr>
                <a:spLocks noEditPoints="1"/>
              </p:cNvSpPr>
              <p:nvPr/>
            </p:nvSpPr>
            <p:spPr bwMode="invGray">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05" name="Freeform 25"/>
              <p:cNvSpPr>
                <a:spLocks noEditPoints="1"/>
              </p:cNvSpPr>
              <p:nvPr/>
            </p:nvSpPr>
            <p:spPr bwMode="invGray">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106" name="Freeform 26"/>
              <p:cNvSpPr>
                <a:spLocks/>
              </p:cNvSpPr>
              <p:nvPr/>
            </p:nvSpPr>
            <p:spPr bwMode="invGray">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58" name="Rectangle 57"/>
            <p:cNvSpPr/>
            <p:nvPr/>
          </p:nvSpPr>
          <p:spPr>
            <a:xfrm>
              <a:off x="9563785"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59" name="Group 58"/>
            <p:cNvGrpSpPr/>
            <p:nvPr/>
          </p:nvGrpSpPr>
          <p:grpSpPr>
            <a:xfrm>
              <a:off x="9933348" y="550126"/>
              <a:ext cx="545420" cy="350835"/>
              <a:chOff x="2481885" y="4360116"/>
              <a:chExt cx="558662" cy="360056"/>
            </a:xfrm>
            <a:solidFill>
              <a:srgbClr val="FFFFFF"/>
            </a:solidFill>
            <a:effectLst/>
          </p:grpSpPr>
          <p:sp>
            <p:nvSpPr>
              <p:cNvPr id="93" name="Freeform 21"/>
              <p:cNvSpPr>
                <a:spLocks/>
              </p:cNvSpPr>
              <p:nvPr/>
            </p:nvSpPr>
            <p:spPr bwMode="invGray">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94" name="Freeform 22"/>
              <p:cNvSpPr>
                <a:spLocks/>
              </p:cNvSpPr>
              <p:nvPr/>
            </p:nvSpPr>
            <p:spPr bwMode="invGray">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95" name="Freeform 23"/>
              <p:cNvSpPr>
                <a:spLocks/>
              </p:cNvSpPr>
              <p:nvPr/>
            </p:nvSpPr>
            <p:spPr bwMode="invGray">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96" name="Freeform 24"/>
              <p:cNvSpPr>
                <a:spLocks/>
              </p:cNvSpPr>
              <p:nvPr/>
            </p:nvSpPr>
            <p:spPr bwMode="invGray">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97" name="Freeform 25"/>
              <p:cNvSpPr>
                <a:spLocks/>
              </p:cNvSpPr>
              <p:nvPr/>
            </p:nvSpPr>
            <p:spPr bwMode="invGray">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98" name="Freeform 26"/>
              <p:cNvSpPr>
                <a:spLocks/>
              </p:cNvSpPr>
              <p:nvPr/>
            </p:nvSpPr>
            <p:spPr bwMode="invGray">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99" name="Freeform 27"/>
              <p:cNvSpPr>
                <a:spLocks/>
              </p:cNvSpPr>
              <p:nvPr/>
            </p:nvSpPr>
            <p:spPr bwMode="invGray">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60" name="Rectangle 59"/>
            <p:cNvSpPr/>
            <p:nvPr/>
          </p:nvSpPr>
          <p:spPr>
            <a:xfrm>
              <a:off x="4064021"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61" name="Group 60"/>
            <p:cNvGrpSpPr/>
            <p:nvPr/>
          </p:nvGrpSpPr>
          <p:grpSpPr>
            <a:xfrm>
              <a:off x="4390034" y="634958"/>
              <a:ext cx="634430" cy="181162"/>
              <a:chOff x="6791943" y="4414224"/>
              <a:chExt cx="649833" cy="185924"/>
            </a:xfrm>
            <a:solidFill>
              <a:srgbClr val="FFFFFF"/>
            </a:solidFill>
            <a:effectLst/>
          </p:grpSpPr>
          <p:sp>
            <p:nvSpPr>
              <p:cNvPr id="87" name="Freeform 22"/>
              <p:cNvSpPr>
                <a:spLocks/>
              </p:cNvSpPr>
              <p:nvPr/>
            </p:nvSpPr>
            <p:spPr bwMode="invGray">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88" name="Freeform 23"/>
              <p:cNvSpPr>
                <a:spLocks/>
              </p:cNvSpPr>
              <p:nvPr/>
            </p:nvSpPr>
            <p:spPr bwMode="invGray">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89" name="Freeform 24"/>
              <p:cNvSpPr>
                <a:spLocks noEditPoints="1"/>
              </p:cNvSpPr>
              <p:nvPr/>
            </p:nvSpPr>
            <p:spPr bwMode="invGray">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90" name="Freeform 25"/>
              <p:cNvSpPr>
                <a:spLocks/>
              </p:cNvSpPr>
              <p:nvPr/>
            </p:nvSpPr>
            <p:spPr bwMode="invGray">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91" name="Freeform 26"/>
              <p:cNvSpPr>
                <a:spLocks noEditPoints="1"/>
              </p:cNvSpPr>
              <p:nvPr/>
            </p:nvSpPr>
            <p:spPr bwMode="invGray">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92" name="Freeform 27"/>
              <p:cNvSpPr>
                <a:spLocks noEditPoints="1"/>
              </p:cNvSpPr>
              <p:nvPr/>
            </p:nvSpPr>
            <p:spPr bwMode="invGray">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62" name="Rectangle 61"/>
            <p:cNvSpPr/>
            <p:nvPr/>
          </p:nvSpPr>
          <p:spPr>
            <a:xfrm>
              <a:off x="-60806" y="2839104"/>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63" name="Group 62"/>
            <p:cNvGrpSpPr/>
            <p:nvPr/>
          </p:nvGrpSpPr>
          <p:grpSpPr>
            <a:xfrm>
              <a:off x="230698" y="3357405"/>
              <a:ext cx="701534" cy="291019"/>
              <a:chOff x="7844547" y="4357855"/>
              <a:chExt cx="718565" cy="298667"/>
            </a:xfrm>
            <a:solidFill>
              <a:srgbClr val="FFFFFF"/>
            </a:solidFill>
            <a:effectLst/>
          </p:grpSpPr>
          <p:sp>
            <p:nvSpPr>
              <p:cNvPr id="83" name="Freeform 18"/>
              <p:cNvSpPr>
                <a:spLocks/>
              </p:cNvSpPr>
              <p:nvPr/>
            </p:nvSpPr>
            <p:spPr bwMode="invGray">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84" name="Freeform 20"/>
              <p:cNvSpPr>
                <a:spLocks/>
              </p:cNvSpPr>
              <p:nvPr/>
            </p:nvSpPr>
            <p:spPr bwMode="invGray">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85" name="Freeform 21"/>
              <p:cNvSpPr>
                <a:spLocks noEditPoints="1"/>
              </p:cNvSpPr>
              <p:nvPr/>
            </p:nvSpPr>
            <p:spPr bwMode="invGray">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86" name="Oval 85"/>
              <p:cNvSpPr>
                <a:spLocks noChangeAspect="1"/>
              </p:cNvSpPr>
              <p:nvPr/>
            </p:nvSpPr>
            <p:spPr bwMode="invGray">
              <a:xfrm>
                <a:off x="8159966" y="4376370"/>
                <a:ext cx="41897" cy="41897"/>
              </a:xfrm>
              <a:prstGeom prst="ellipse">
                <a:avLst/>
              </a:pr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64" name="Rectangle 63"/>
            <p:cNvSpPr/>
            <p:nvPr/>
          </p:nvSpPr>
          <p:spPr>
            <a:xfrm>
              <a:off x="10938731"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65" name="Group 64"/>
            <p:cNvGrpSpPr/>
            <p:nvPr/>
          </p:nvGrpSpPr>
          <p:grpSpPr>
            <a:xfrm>
              <a:off x="11361396" y="2020053"/>
              <a:ext cx="439213" cy="179551"/>
              <a:chOff x="4491504" y="4454449"/>
              <a:chExt cx="449878" cy="184270"/>
            </a:xfrm>
            <a:solidFill>
              <a:srgbClr val="FFFFFF"/>
            </a:solidFill>
            <a:effectLst/>
          </p:grpSpPr>
          <p:sp>
            <p:nvSpPr>
              <p:cNvPr id="79" name="Freeform 22"/>
              <p:cNvSpPr>
                <a:spLocks/>
              </p:cNvSpPr>
              <p:nvPr/>
            </p:nvSpPr>
            <p:spPr bwMode="invGray">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80" name="Freeform 23"/>
              <p:cNvSpPr>
                <a:spLocks noEditPoints="1"/>
              </p:cNvSpPr>
              <p:nvPr/>
            </p:nvSpPr>
            <p:spPr bwMode="invGray">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81" name="Freeform 24"/>
              <p:cNvSpPr>
                <a:spLocks/>
              </p:cNvSpPr>
              <p:nvPr/>
            </p:nvSpPr>
            <p:spPr bwMode="invGray">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82" name="Freeform 25"/>
              <p:cNvSpPr>
                <a:spLocks/>
              </p:cNvSpPr>
              <p:nvPr/>
            </p:nvSpPr>
            <p:spPr bwMode="invGray">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66" name="Rectangle 65"/>
            <p:cNvSpPr/>
            <p:nvPr/>
          </p:nvSpPr>
          <p:spPr>
            <a:xfrm>
              <a:off x="8188846"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67" name="Group 66"/>
            <p:cNvGrpSpPr/>
            <p:nvPr/>
          </p:nvGrpSpPr>
          <p:grpSpPr>
            <a:xfrm>
              <a:off x="8527651" y="624842"/>
              <a:ext cx="606932" cy="201396"/>
              <a:chOff x="3467068" y="4450074"/>
              <a:chExt cx="621665" cy="206687"/>
            </a:xfrm>
            <a:solidFill>
              <a:srgbClr val="FFFFFF"/>
            </a:solidFill>
            <a:effectLst/>
          </p:grpSpPr>
          <p:sp>
            <p:nvSpPr>
              <p:cNvPr id="73" name="Freeform 23"/>
              <p:cNvSpPr>
                <a:spLocks/>
              </p:cNvSpPr>
              <p:nvPr/>
            </p:nvSpPr>
            <p:spPr bwMode="invGray">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74" name="Freeform 24"/>
              <p:cNvSpPr>
                <a:spLocks noEditPoints="1"/>
              </p:cNvSpPr>
              <p:nvPr/>
            </p:nvSpPr>
            <p:spPr bwMode="invGray">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75" name="Freeform 25"/>
              <p:cNvSpPr>
                <a:spLocks noEditPoints="1"/>
              </p:cNvSpPr>
              <p:nvPr/>
            </p:nvSpPr>
            <p:spPr bwMode="invGray">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76" name="Freeform 26"/>
              <p:cNvSpPr>
                <a:spLocks/>
              </p:cNvSpPr>
              <p:nvPr/>
            </p:nvSpPr>
            <p:spPr bwMode="invGray">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77" name="Freeform 27"/>
              <p:cNvSpPr>
                <a:spLocks noEditPoints="1"/>
              </p:cNvSpPr>
              <p:nvPr/>
            </p:nvSpPr>
            <p:spPr bwMode="invGray">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78" name="Freeform 28"/>
              <p:cNvSpPr>
                <a:spLocks/>
              </p:cNvSpPr>
              <p:nvPr/>
            </p:nvSpPr>
            <p:spPr bwMode="invGray">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68" name="Rectangle 67"/>
            <p:cNvSpPr/>
            <p:nvPr/>
          </p:nvSpPr>
          <p:spPr>
            <a:xfrm>
              <a:off x="10938730"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algn="ctr"/>
              <a:endParaRPr lang="en-US" sz="2550" dirty="0">
                <a:solidFill>
                  <a:srgbClr val="FFFFFF"/>
                </a:solidFill>
                <a:latin typeface="Segoe UI" pitchFamily="34" charset="0"/>
                <a:ea typeface="Segoe UI" pitchFamily="34" charset="0"/>
                <a:cs typeface="Segoe UI" pitchFamily="34" charset="0"/>
              </a:endParaRPr>
            </a:p>
          </p:txBody>
        </p:sp>
        <p:grpSp>
          <p:nvGrpSpPr>
            <p:cNvPr id="69" name="Group 68"/>
            <p:cNvGrpSpPr/>
            <p:nvPr/>
          </p:nvGrpSpPr>
          <p:grpSpPr>
            <a:xfrm>
              <a:off x="11255573" y="643430"/>
              <a:ext cx="598370" cy="281126"/>
              <a:chOff x="8669045" y="5484723"/>
              <a:chExt cx="612897" cy="288514"/>
            </a:xfrm>
            <a:solidFill>
              <a:srgbClr val="FFFFFF"/>
            </a:solidFill>
            <a:effectLst/>
          </p:grpSpPr>
          <p:sp>
            <p:nvSpPr>
              <p:cNvPr id="71" name="Freeform 16"/>
              <p:cNvSpPr>
                <a:spLocks noEditPoints="1"/>
              </p:cNvSpPr>
              <p:nvPr/>
            </p:nvSpPr>
            <p:spPr bwMode="invGray">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sp>
            <p:nvSpPr>
              <p:cNvPr id="72" name="Freeform 17"/>
              <p:cNvSpPr>
                <a:spLocks noEditPoints="1"/>
              </p:cNvSpPr>
              <p:nvPr/>
            </p:nvSpPr>
            <p:spPr bwMode="invGray">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defTabSz="1033446"/>
                <a:endParaRPr lang="en-US" sz="2244" dirty="0">
                  <a:gradFill>
                    <a:gsLst>
                      <a:gs pos="0">
                        <a:srgbClr val="FFFFFF"/>
                      </a:gs>
                      <a:gs pos="50000">
                        <a:srgbClr val="F0D77C"/>
                      </a:gs>
                      <a:gs pos="100000">
                        <a:srgbClr val="E3A535"/>
                      </a:gs>
                    </a:gsLst>
                    <a:lin ang="10800000" scaled="1"/>
                  </a:gradFill>
                  <a:latin typeface="Segoe UI" pitchFamily="34" charset="0"/>
                  <a:ea typeface="Segoe UI" pitchFamily="34" charset="0"/>
                  <a:cs typeface="Segoe UI" pitchFamily="34" charset="0"/>
                </a:endParaRPr>
              </a:p>
            </p:txBody>
          </p:sp>
        </p:grpSp>
        <p:sp>
          <p:nvSpPr>
            <p:cNvPr id="70" name="Rectangle 69"/>
            <p:cNvSpPr/>
            <p:nvPr/>
          </p:nvSpPr>
          <p:spPr>
            <a:xfrm>
              <a:off x="6938293" y="3094060"/>
              <a:ext cx="5327597" cy="1515749"/>
            </a:xfrm>
            <a:prstGeom prst="rect">
              <a:avLst/>
            </a:prstGeom>
          </p:spPr>
          <p:txBody>
            <a:bodyPr wrap="none" lIns="121674" tIns="60837" rIns="121674" bIns="60837">
              <a:spAutoFit/>
            </a:bodyPr>
            <a:lstStyle/>
            <a:p>
              <a:r>
                <a:rPr lang="en-US" sz="8975" dirty="0">
                  <a:solidFill>
                    <a:srgbClr val="FFFFFF">
                      <a:alpha val="99000"/>
                    </a:srgbClr>
                  </a:solidFill>
                  <a:latin typeface="Segoe UI" pitchFamily="34" charset="0"/>
                  <a:ea typeface="Segoe UI" pitchFamily="34" charset="0"/>
                  <a:cs typeface="Segoe UI" pitchFamily="34" charset="0"/>
                </a:rPr>
                <a:t>thank you</a:t>
              </a:r>
            </a:p>
          </p:txBody>
        </p:sp>
      </p:grpSp>
    </p:spTree>
    <p:extLst>
      <p:ext uri="{BB962C8B-B14F-4D97-AF65-F5344CB8AC3E}">
        <p14:creationId xmlns:p14="http://schemas.microsoft.com/office/powerpoint/2010/main" val="2585841004"/>
      </p:ext>
    </p:extLst>
  </p:cSld>
  <p:clrMapOvr>
    <a:masterClrMapping/>
  </p:clrMapOvr>
  <p:transition spd="slow">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2_Title and  Non-Bulleted Content_New">
    <p:spTree>
      <p:nvGrpSpPr>
        <p:cNvPr id="1" name=""/>
        <p:cNvGrpSpPr/>
        <p:nvPr/>
      </p:nvGrpSpPr>
      <p:grpSpPr>
        <a:xfrm>
          <a:off x="0" y="0"/>
          <a:ext cx="0" cy="0"/>
          <a:chOff x="0" y="0"/>
          <a:chExt cx="0" cy="0"/>
        </a:xfrm>
      </p:grpSpPr>
      <p:sp>
        <p:nvSpPr>
          <p:cNvPr id="4" name="Rectangle 3"/>
          <p:cNvSpPr/>
          <p:nvPr userDrawn="1"/>
        </p:nvSpPr>
        <p:spPr>
          <a:xfrm>
            <a:off x="0" y="6191258"/>
            <a:ext cx="12436477" cy="803268"/>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2" name="Title 1"/>
          <p:cNvSpPr>
            <a:spLocks noGrp="1"/>
          </p:cNvSpPr>
          <p:nvPr>
            <p:ph type="title"/>
          </p:nvPr>
        </p:nvSpPr>
        <p:spPr>
          <a:xfrm>
            <a:off x="660688" y="233152"/>
            <a:ext cx="11244508" cy="762786"/>
          </a:xfrm>
        </p:spPr>
        <p:txBody>
          <a:bodyPr/>
          <a:lstStyle/>
          <a:p>
            <a:r>
              <a:rPr lang="en-US" dirty="0"/>
              <a:t>Click to edit Master title style</a:t>
            </a:r>
          </a:p>
        </p:txBody>
      </p:sp>
      <p:sp>
        <p:nvSpPr>
          <p:cNvPr id="9" name="Text Placeholder 4"/>
          <p:cNvSpPr>
            <a:spLocks noGrp="1"/>
          </p:cNvSpPr>
          <p:nvPr>
            <p:ph type="body" sz="quarter" idx="10"/>
          </p:nvPr>
        </p:nvSpPr>
        <p:spPr>
          <a:xfrm>
            <a:off x="660688" y="1476621"/>
            <a:ext cx="11244508" cy="963021"/>
          </a:xfrm>
        </p:spPr>
        <p:txBody>
          <a:bodyPr/>
          <a:lstStyle>
            <a:lvl1pPr marL="0" indent="0">
              <a:spcBef>
                <a:spcPts val="0"/>
              </a:spcBef>
              <a:spcAft>
                <a:spcPts val="918"/>
              </a:spcAft>
              <a:buNone/>
              <a:defRPr sz="4080" spc="-102" baseline="0">
                <a:latin typeface="Segoe UI" panose="020B0502040204020203" pitchFamily="34" charset="0"/>
                <a:cs typeface="Segoe UI" panose="020B0502040204020203" pitchFamily="34" charset="0"/>
              </a:defRPr>
            </a:lvl1pPr>
            <a:lvl2pPr marL="0" indent="0">
              <a:spcBef>
                <a:spcPts val="0"/>
              </a:spcBef>
              <a:spcAft>
                <a:spcPts val="408"/>
              </a:spcAft>
              <a:buNone/>
              <a:defRPr sz="2040" spc="-51" baseline="0">
                <a:latin typeface="Segoe UI" panose="020B0502040204020203" pitchFamily="34" charset="0"/>
                <a:ea typeface="Segoe UI" panose="020B0502040204020203" pitchFamily="34" charset="0"/>
                <a:cs typeface="Segoe UI" panose="020B0502040204020203" pitchFamily="34" charset="0"/>
              </a:defRPr>
            </a:lvl2pPr>
            <a:lvl3pPr marL="0" indent="0">
              <a:spcBef>
                <a:spcPts val="0"/>
              </a:spcBef>
              <a:spcAft>
                <a:spcPts val="408"/>
              </a:spcAft>
              <a:buNone/>
              <a:defRPr sz="2040"/>
            </a:lvl3pPr>
            <a:lvl4pPr marL="0" indent="0">
              <a:spcBef>
                <a:spcPts val="0"/>
              </a:spcBef>
              <a:spcAft>
                <a:spcPts val="408"/>
              </a:spcAft>
              <a:buNone/>
              <a:defRPr/>
            </a:lvl4pPr>
            <a:lvl5pPr marL="0" indent="0">
              <a:spcBef>
                <a:spcPts val="0"/>
              </a:spcBef>
              <a:spcAft>
                <a:spcPts val="408"/>
              </a:spcAft>
              <a:buNone/>
              <a:defRPr/>
            </a:lvl5pPr>
          </a:lstStyle>
          <a:p>
            <a:pPr lvl="0"/>
            <a:r>
              <a:rPr lang="en-US" dirty="0"/>
              <a:t>Click to edit Master text styles</a:t>
            </a:r>
          </a:p>
          <a:p>
            <a:pPr lvl="1"/>
            <a:r>
              <a:rPr lang="en-US" dirty="0"/>
              <a:t>Second level</a:t>
            </a:r>
          </a:p>
        </p:txBody>
      </p:sp>
      <p:grpSp>
        <p:nvGrpSpPr>
          <p:cNvPr id="8" name="Group 5"/>
          <p:cNvGrpSpPr>
            <a:grpSpLocks noChangeAspect="1"/>
          </p:cNvGrpSpPr>
          <p:nvPr userDrawn="1"/>
        </p:nvGrpSpPr>
        <p:grpSpPr bwMode="auto">
          <a:xfrm>
            <a:off x="10837201" y="6617852"/>
            <a:ext cx="1197362" cy="226542"/>
            <a:chOff x="335" y="1100"/>
            <a:chExt cx="1411" cy="267"/>
          </a:xfrm>
        </p:grpSpPr>
        <p:sp>
          <p:nvSpPr>
            <p:cNvPr id="10" name="Freeform 6"/>
            <p:cNvSpPr>
              <a:spLocks/>
            </p:cNvSpPr>
            <p:nvPr/>
          </p:nvSpPr>
          <p:spPr bwMode="auto">
            <a:xfrm>
              <a:off x="335" y="1112"/>
              <a:ext cx="261" cy="255"/>
            </a:xfrm>
            <a:custGeom>
              <a:avLst/>
              <a:gdLst>
                <a:gd name="T0" fmla="*/ 151 w 522"/>
                <a:gd name="T1" fmla="*/ 412 h 510"/>
                <a:gd name="T2" fmla="*/ 151 w 522"/>
                <a:gd name="T3" fmla="*/ 412 h 510"/>
                <a:gd name="T4" fmla="*/ 152 w 522"/>
                <a:gd name="T5" fmla="*/ 400 h 510"/>
                <a:gd name="T6" fmla="*/ 153 w 522"/>
                <a:gd name="T7" fmla="*/ 390 h 510"/>
                <a:gd name="T8" fmla="*/ 156 w 522"/>
                <a:gd name="T9" fmla="*/ 380 h 510"/>
                <a:gd name="T10" fmla="*/ 160 w 522"/>
                <a:gd name="T11" fmla="*/ 370 h 510"/>
                <a:gd name="T12" fmla="*/ 164 w 522"/>
                <a:gd name="T13" fmla="*/ 360 h 510"/>
                <a:gd name="T14" fmla="*/ 170 w 522"/>
                <a:gd name="T15" fmla="*/ 351 h 510"/>
                <a:gd name="T16" fmla="*/ 176 w 522"/>
                <a:gd name="T17" fmla="*/ 342 h 510"/>
                <a:gd name="T18" fmla="*/ 184 w 522"/>
                <a:gd name="T19" fmla="*/ 335 h 510"/>
                <a:gd name="T20" fmla="*/ 191 w 522"/>
                <a:gd name="T21" fmla="*/ 328 h 510"/>
                <a:gd name="T22" fmla="*/ 199 w 522"/>
                <a:gd name="T23" fmla="*/ 322 h 510"/>
                <a:gd name="T24" fmla="*/ 208 w 522"/>
                <a:gd name="T25" fmla="*/ 315 h 510"/>
                <a:gd name="T26" fmla="*/ 218 w 522"/>
                <a:gd name="T27" fmla="*/ 312 h 510"/>
                <a:gd name="T28" fmla="*/ 227 w 522"/>
                <a:gd name="T29" fmla="*/ 308 h 510"/>
                <a:gd name="T30" fmla="*/ 238 w 522"/>
                <a:gd name="T31" fmla="*/ 305 h 510"/>
                <a:gd name="T32" fmla="*/ 249 w 522"/>
                <a:gd name="T33" fmla="*/ 303 h 510"/>
                <a:gd name="T34" fmla="*/ 260 w 522"/>
                <a:gd name="T35" fmla="*/ 303 h 510"/>
                <a:gd name="T36" fmla="*/ 260 w 522"/>
                <a:gd name="T37" fmla="*/ 303 h 510"/>
                <a:gd name="T38" fmla="*/ 271 w 522"/>
                <a:gd name="T39" fmla="*/ 303 h 510"/>
                <a:gd name="T40" fmla="*/ 282 w 522"/>
                <a:gd name="T41" fmla="*/ 305 h 510"/>
                <a:gd name="T42" fmla="*/ 292 w 522"/>
                <a:gd name="T43" fmla="*/ 308 h 510"/>
                <a:gd name="T44" fmla="*/ 302 w 522"/>
                <a:gd name="T45" fmla="*/ 312 h 510"/>
                <a:gd name="T46" fmla="*/ 312 w 522"/>
                <a:gd name="T47" fmla="*/ 315 h 510"/>
                <a:gd name="T48" fmla="*/ 321 w 522"/>
                <a:gd name="T49" fmla="*/ 322 h 510"/>
                <a:gd name="T50" fmla="*/ 330 w 522"/>
                <a:gd name="T51" fmla="*/ 328 h 510"/>
                <a:gd name="T52" fmla="*/ 337 w 522"/>
                <a:gd name="T53" fmla="*/ 335 h 510"/>
                <a:gd name="T54" fmla="*/ 344 w 522"/>
                <a:gd name="T55" fmla="*/ 342 h 510"/>
                <a:gd name="T56" fmla="*/ 350 w 522"/>
                <a:gd name="T57" fmla="*/ 351 h 510"/>
                <a:gd name="T58" fmla="*/ 355 w 522"/>
                <a:gd name="T59" fmla="*/ 360 h 510"/>
                <a:gd name="T60" fmla="*/ 360 w 522"/>
                <a:gd name="T61" fmla="*/ 370 h 510"/>
                <a:gd name="T62" fmla="*/ 364 w 522"/>
                <a:gd name="T63" fmla="*/ 380 h 510"/>
                <a:gd name="T64" fmla="*/ 366 w 522"/>
                <a:gd name="T65" fmla="*/ 390 h 510"/>
                <a:gd name="T66" fmla="*/ 369 w 522"/>
                <a:gd name="T67" fmla="*/ 400 h 510"/>
                <a:gd name="T68" fmla="*/ 369 w 522"/>
                <a:gd name="T69" fmla="*/ 412 h 510"/>
                <a:gd name="T70" fmla="*/ 369 w 522"/>
                <a:gd name="T71" fmla="*/ 412 h 510"/>
                <a:gd name="T72" fmla="*/ 367 w 522"/>
                <a:gd name="T73" fmla="*/ 428 h 510"/>
                <a:gd name="T74" fmla="*/ 365 w 522"/>
                <a:gd name="T75" fmla="*/ 442 h 510"/>
                <a:gd name="T76" fmla="*/ 359 w 522"/>
                <a:gd name="T77" fmla="*/ 457 h 510"/>
                <a:gd name="T78" fmla="*/ 352 w 522"/>
                <a:gd name="T79" fmla="*/ 470 h 510"/>
                <a:gd name="T80" fmla="*/ 343 w 522"/>
                <a:gd name="T81" fmla="*/ 482 h 510"/>
                <a:gd name="T82" fmla="*/ 332 w 522"/>
                <a:gd name="T83" fmla="*/ 493 h 510"/>
                <a:gd name="T84" fmla="*/ 320 w 522"/>
                <a:gd name="T85" fmla="*/ 503 h 510"/>
                <a:gd name="T86" fmla="*/ 307 w 522"/>
                <a:gd name="T87" fmla="*/ 510 h 510"/>
                <a:gd name="T88" fmla="*/ 522 w 522"/>
                <a:gd name="T89" fmla="*/ 510 h 510"/>
                <a:gd name="T90" fmla="*/ 261 w 522"/>
                <a:gd name="T91" fmla="*/ 0 h 510"/>
                <a:gd name="T92" fmla="*/ 0 w 522"/>
                <a:gd name="T93" fmla="*/ 510 h 510"/>
                <a:gd name="T94" fmla="*/ 213 w 522"/>
                <a:gd name="T95" fmla="*/ 510 h 510"/>
                <a:gd name="T96" fmla="*/ 213 w 522"/>
                <a:gd name="T97" fmla="*/ 510 h 510"/>
                <a:gd name="T98" fmla="*/ 201 w 522"/>
                <a:gd name="T99" fmla="*/ 503 h 510"/>
                <a:gd name="T100" fmla="*/ 189 w 522"/>
                <a:gd name="T101" fmla="*/ 493 h 510"/>
                <a:gd name="T102" fmla="*/ 178 w 522"/>
                <a:gd name="T103" fmla="*/ 482 h 510"/>
                <a:gd name="T104" fmla="*/ 168 w 522"/>
                <a:gd name="T105" fmla="*/ 470 h 510"/>
                <a:gd name="T106" fmla="*/ 161 w 522"/>
                <a:gd name="T107" fmla="*/ 457 h 510"/>
                <a:gd name="T108" fmla="*/ 156 w 522"/>
                <a:gd name="T109" fmla="*/ 442 h 510"/>
                <a:gd name="T110" fmla="*/ 152 w 522"/>
                <a:gd name="T111" fmla="*/ 428 h 510"/>
                <a:gd name="T112" fmla="*/ 151 w 522"/>
                <a:gd name="T113" fmla="*/ 412 h 510"/>
                <a:gd name="T114" fmla="*/ 151 w 522"/>
                <a:gd name="T115" fmla="*/ 412 h 510"/>
                <a:gd name="T116" fmla="*/ 151 w 522"/>
                <a:gd name="T117" fmla="*/ 412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2" h="510">
                  <a:moveTo>
                    <a:pt x="151" y="412"/>
                  </a:moveTo>
                  <a:lnTo>
                    <a:pt x="151" y="412"/>
                  </a:lnTo>
                  <a:lnTo>
                    <a:pt x="152" y="400"/>
                  </a:lnTo>
                  <a:lnTo>
                    <a:pt x="153" y="390"/>
                  </a:lnTo>
                  <a:lnTo>
                    <a:pt x="156" y="380"/>
                  </a:lnTo>
                  <a:lnTo>
                    <a:pt x="160" y="370"/>
                  </a:lnTo>
                  <a:lnTo>
                    <a:pt x="164" y="360"/>
                  </a:lnTo>
                  <a:lnTo>
                    <a:pt x="170" y="351"/>
                  </a:lnTo>
                  <a:lnTo>
                    <a:pt x="176" y="342"/>
                  </a:lnTo>
                  <a:lnTo>
                    <a:pt x="184" y="335"/>
                  </a:lnTo>
                  <a:lnTo>
                    <a:pt x="191" y="328"/>
                  </a:lnTo>
                  <a:lnTo>
                    <a:pt x="199" y="322"/>
                  </a:lnTo>
                  <a:lnTo>
                    <a:pt x="208" y="315"/>
                  </a:lnTo>
                  <a:lnTo>
                    <a:pt x="218" y="312"/>
                  </a:lnTo>
                  <a:lnTo>
                    <a:pt x="227" y="308"/>
                  </a:lnTo>
                  <a:lnTo>
                    <a:pt x="238" y="305"/>
                  </a:lnTo>
                  <a:lnTo>
                    <a:pt x="249" y="303"/>
                  </a:lnTo>
                  <a:lnTo>
                    <a:pt x="260" y="303"/>
                  </a:lnTo>
                  <a:lnTo>
                    <a:pt x="260" y="303"/>
                  </a:lnTo>
                  <a:lnTo>
                    <a:pt x="271" y="303"/>
                  </a:lnTo>
                  <a:lnTo>
                    <a:pt x="282" y="305"/>
                  </a:lnTo>
                  <a:lnTo>
                    <a:pt x="292" y="308"/>
                  </a:lnTo>
                  <a:lnTo>
                    <a:pt x="302" y="312"/>
                  </a:lnTo>
                  <a:lnTo>
                    <a:pt x="312" y="315"/>
                  </a:lnTo>
                  <a:lnTo>
                    <a:pt x="321" y="322"/>
                  </a:lnTo>
                  <a:lnTo>
                    <a:pt x="330" y="328"/>
                  </a:lnTo>
                  <a:lnTo>
                    <a:pt x="337" y="335"/>
                  </a:lnTo>
                  <a:lnTo>
                    <a:pt x="344" y="342"/>
                  </a:lnTo>
                  <a:lnTo>
                    <a:pt x="350" y="351"/>
                  </a:lnTo>
                  <a:lnTo>
                    <a:pt x="355" y="360"/>
                  </a:lnTo>
                  <a:lnTo>
                    <a:pt x="360" y="370"/>
                  </a:lnTo>
                  <a:lnTo>
                    <a:pt x="364" y="380"/>
                  </a:lnTo>
                  <a:lnTo>
                    <a:pt x="366" y="390"/>
                  </a:lnTo>
                  <a:lnTo>
                    <a:pt x="369" y="400"/>
                  </a:lnTo>
                  <a:lnTo>
                    <a:pt x="369" y="412"/>
                  </a:lnTo>
                  <a:lnTo>
                    <a:pt x="369" y="412"/>
                  </a:lnTo>
                  <a:lnTo>
                    <a:pt x="367" y="428"/>
                  </a:lnTo>
                  <a:lnTo>
                    <a:pt x="365" y="442"/>
                  </a:lnTo>
                  <a:lnTo>
                    <a:pt x="359" y="457"/>
                  </a:lnTo>
                  <a:lnTo>
                    <a:pt x="352" y="470"/>
                  </a:lnTo>
                  <a:lnTo>
                    <a:pt x="343" y="482"/>
                  </a:lnTo>
                  <a:lnTo>
                    <a:pt x="332" y="493"/>
                  </a:lnTo>
                  <a:lnTo>
                    <a:pt x="320" y="503"/>
                  </a:lnTo>
                  <a:lnTo>
                    <a:pt x="307" y="510"/>
                  </a:lnTo>
                  <a:lnTo>
                    <a:pt x="522" y="510"/>
                  </a:lnTo>
                  <a:lnTo>
                    <a:pt x="261" y="0"/>
                  </a:lnTo>
                  <a:lnTo>
                    <a:pt x="0" y="510"/>
                  </a:lnTo>
                  <a:lnTo>
                    <a:pt x="213" y="510"/>
                  </a:lnTo>
                  <a:lnTo>
                    <a:pt x="213" y="510"/>
                  </a:lnTo>
                  <a:lnTo>
                    <a:pt x="201" y="503"/>
                  </a:lnTo>
                  <a:lnTo>
                    <a:pt x="189" y="493"/>
                  </a:lnTo>
                  <a:lnTo>
                    <a:pt x="178" y="482"/>
                  </a:lnTo>
                  <a:lnTo>
                    <a:pt x="168" y="470"/>
                  </a:lnTo>
                  <a:lnTo>
                    <a:pt x="161" y="457"/>
                  </a:lnTo>
                  <a:lnTo>
                    <a:pt x="156" y="442"/>
                  </a:lnTo>
                  <a:lnTo>
                    <a:pt x="152" y="428"/>
                  </a:lnTo>
                  <a:lnTo>
                    <a:pt x="151" y="412"/>
                  </a:lnTo>
                  <a:lnTo>
                    <a:pt x="151" y="412"/>
                  </a:lnTo>
                  <a:lnTo>
                    <a:pt x="151" y="412"/>
                  </a:lnTo>
                  <a:close/>
                </a:path>
              </a:pathLst>
            </a:custGeom>
            <a:solidFill>
              <a:srgbClr val="E31B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p>
          </p:txBody>
        </p:sp>
        <p:sp>
          <p:nvSpPr>
            <p:cNvPr id="11" name="Freeform 7"/>
            <p:cNvSpPr>
              <a:spLocks/>
            </p:cNvSpPr>
            <p:nvPr/>
          </p:nvSpPr>
          <p:spPr bwMode="auto">
            <a:xfrm>
              <a:off x="490" y="1100"/>
              <a:ext cx="76" cy="76"/>
            </a:xfrm>
            <a:custGeom>
              <a:avLst/>
              <a:gdLst>
                <a:gd name="T0" fmla="*/ 152 w 152"/>
                <a:gd name="T1" fmla="*/ 76 h 152"/>
                <a:gd name="T2" fmla="*/ 152 w 152"/>
                <a:gd name="T3" fmla="*/ 76 h 152"/>
                <a:gd name="T4" fmla="*/ 152 w 152"/>
                <a:gd name="T5" fmla="*/ 85 h 152"/>
                <a:gd name="T6" fmla="*/ 151 w 152"/>
                <a:gd name="T7" fmla="*/ 92 h 152"/>
                <a:gd name="T8" fmla="*/ 149 w 152"/>
                <a:gd name="T9" fmla="*/ 99 h 152"/>
                <a:gd name="T10" fmla="*/ 146 w 152"/>
                <a:gd name="T11" fmla="*/ 106 h 152"/>
                <a:gd name="T12" fmla="*/ 140 w 152"/>
                <a:gd name="T13" fmla="*/ 120 h 152"/>
                <a:gd name="T14" fmla="*/ 130 w 152"/>
                <a:gd name="T15" fmla="*/ 130 h 152"/>
                <a:gd name="T16" fmla="*/ 119 w 152"/>
                <a:gd name="T17" fmla="*/ 140 h 152"/>
                <a:gd name="T18" fmla="*/ 106 w 152"/>
                <a:gd name="T19" fmla="*/ 146 h 152"/>
                <a:gd name="T20" fmla="*/ 99 w 152"/>
                <a:gd name="T21" fmla="*/ 150 h 152"/>
                <a:gd name="T22" fmla="*/ 91 w 152"/>
                <a:gd name="T23" fmla="*/ 151 h 152"/>
                <a:gd name="T24" fmla="*/ 84 w 152"/>
                <a:gd name="T25" fmla="*/ 152 h 152"/>
                <a:gd name="T26" fmla="*/ 76 w 152"/>
                <a:gd name="T27" fmla="*/ 152 h 152"/>
                <a:gd name="T28" fmla="*/ 76 w 152"/>
                <a:gd name="T29" fmla="*/ 152 h 152"/>
                <a:gd name="T30" fmla="*/ 68 w 152"/>
                <a:gd name="T31" fmla="*/ 152 h 152"/>
                <a:gd name="T32" fmla="*/ 61 w 152"/>
                <a:gd name="T33" fmla="*/ 151 h 152"/>
                <a:gd name="T34" fmla="*/ 54 w 152"/>
                <a:gd name="T35" fmla="*/ 150 h 152"/>
                <a:gd name="T36" fmla="*/ 47 w 152"/>
                <a:gd name="T37" fmla="*/ 146 h 152"/>
                <a:gd name="T38" fmla="*/ 33 w 152"/>
                <a:gd name="T39" fmla="*/ 140 h 152"/>
                <a:gd name="T40" fmla="*/ 23 w 152"/>
                <a:gd name="T41" fmla="*/ 130 h 152"/>
                <a:gd name="T42" fmla="*/ 13 w 152"/>
                <a:gd name="T43" fmla="*/ 120 h 152"/>
                <a:gd name="T44" fmla="*/ 6 w 152"/>
                <a:gd name="T45" fmla="*/ 106 h 152"/>
                <a:gd name="T46" fmla="*/ 3 w 152"/>
                <a:gd name="T47" fmla="*/ 99 h 152"/>
                <a:gd name="T48" fmla="*/ 2 w 152"/>
                <a:gd name="T49" fmla="*/ 92 h 152"/>
                <a:gd name="T50" fmla="*/ 1 w 152"/>
                <a:gd name="T51" fmla="*/ 85 h 152"/>
                <a:gd name="T52" fmla="*/ 0 w 152"/>
                <a:gd name="T53" fmla="*/ 76 h 152"/>
                <a:gd name="T54" fmla="*/ 0 w 152"/>
                <a:gd name="T55" fmla="*/ 76 h 152"/>
                <a:gd name="T56" fmla="*/ 1 w 152"/>
                <a:gd name="T57" fmla="*/ 69 h 152"/>
                <a:gd name="T58" fmla="*/ 2 w 152"/>
                <a:gd name="T59" fmla="*/ 62 h 152"/>
                <a:gd name="T60" fmla="*/ 3 w 152"/>
                <a:gd name="T61" fmla="*/ 54 h 152"/>
                <a:gd name="T62" fmla="*/ 6 w 152"/>
                <a:gd name="T63" fmla="*/ 47 h 152"/>
                <a:gd name="T64" fmla="*/ 13 w 152"/>
                <a:gd name="T65" fmla="*/ 34 h 152"/>
                <a:gd name="T66" fmla="*/ 23 w 152"/>
                <a:gd name="T67" fmla="*/ 23 h 152"/>
                <a:gd name="T68" fmla="*/ 33 w 152"/>
                <a:gd name="T69" fmla="*/ 13 h 152"/>
                <a:gd name="T70" fmla="*/ 47 w 152"/>
                <a:gd name="T71" fmla="*/ 6 h 152"/>
                <a:gd name="T72" fmla="*/ 54 w 152"/>
                <a:gd name="T73" fmla="*/ 4 h 152"/>
                <a:gd name="T74" fmla="*/ 61 w 152"/>
                <a:gd name="T75" fmla="*/ 2 h 152"/>
                <a:gd name="T76" fmla="*/ 68 w 152"/>
                <a:gd name="T77" fmla="*/ 1 h 152"/>
                <a:gd name="T78" fmla="*/ 76 w 152"/>
                <a:gd name="T79" fmla="*/ 0 h 152"/>
                <a:gd name="T80" fmla="*/ 76 w 152"/>
                <a:gd name="T81" fmla="*/ 0 h 152"/>
                <a:gd name="T82" fmla="*/ 84 w 152"/>
                <a:gd name="T83" fmla="*/ 1 h 152"/>
                <a:gd name="T84" fmla="*/ 91 w 152"/>
                <a:gd name="T85" fmla="*/ 2 h 152"/>
                <a:gd name="T86" fmla="*/ 99 w 152"/>
                <a:gd name="T87" fmla="*/ 4 h 152"/>
                <a:gd name="T88" fmla="*/ 106 w 152"/>
                <a:gd name="T89" fmla="*/ 6 h 152"/>
                <a:gd name="T90" fmla="*/ 119 w 152"/>
                <a:gd name="T91" fmla="*/ 13 h 152"/>
                <a:gd name="T92" fmla="*/ 130 w 152"/>
                <a:gd name="T93" fmla="*/ 23 h 152"/>
                <a:gd name="T94" fmla="*/ 140 w 152"/>
                <a:gd name="T95" fmla="*/ 34 h 152"/>
                <a:gd name="T96" fmla="*/ 146 w 152"/>
                <a:gd name="T97" fmla="*/ 47 h 152"/>
                <a:gd name="T98" fmla="*/ 149 w 152"/>
                <a:gd name="T99" fmla="*/ 54 h 152"/>
                <a:gd name="T100" fmla="*/ 151 w 152"/>
                <a:gd name="T101" fmla="*/ 62 h 152"/>
                <a:gd name="T102" fmla="*/ 152 w 152"/>
                <a:gd name="T103" fmla="*/ 69 h 152"/>
                <a:gd name="T104" fmla="*/ 152 w 152"/>
                <a:gd name="T105" fmla="*/ 76 h 152"/>
                <a:gd name="T106" fmla="*/ 152 w 152"/>
                <a:gd name="T107" fmla="*/ 76 h 152"/>
                <a:gd name="T108" fmla="*/ 152 w 152"/>
                <a:gd name="T10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152">
                  <a:moveTo>
                    <a:pt x="152" y="76"/>
                  </a:moveTo>
                  <a:lnTo>
                    <a:pt x="152" y="76"/>
                  </a:lnTo>
                  <a:lnTo>
                    <a:pt x="152" y="85"/>
                  </a:lnTo>
                  <a:lnTo>
                    <a:pt x="151" y="92"/>
                  </a:lnTo>
                  <a:lnTo>
                    <a:pt x="149" y="99"/>
                  </a:lnTo>
                  <a:lnTo>
                    <a:pt x="146" y="106"/>
                  </a:lnTo>
                  <a:lnTo>
                    <a:pt x="140" y="120"/>
                  </a:lnTo>
                  <a:lnTo>
                    <a:pt x="130" y="130"/>
                  </a:lnTo>
                  <a:lnTo>
                    <a:pt x="119" y="140"/>
                  </a:lnTo>
                  <a:lnTo>
                    <a:pt x="106" y="146"/>
                  </a:lnTo>
                  <a:lnTo>
                    <a:pt x="99" y="150"/>
                  </a:lnTo>
                  <a:lnTo>
                    <a:pt x="91" y="151"/>
                  </a:lnTo>
                  <a:lnTo>
                    <a:pt x="84" y="152"/>
                  </a:lnTo>
                  <a:lnTo>
                    <a:pt x="76" y="152"/>
                  </a:lnTo>
                  <a:lnTo>
                    <a:pt x="76" y="152"/>
                  </a:lnTo>
                  <a:lnTo>
                    <a:pt x="68" y="152"/>
                  </a:lnTo>
                  <a:lnTo>
                    <a:pt x="61" y="151"/>
                  </a:lnTo>
                  <a:lnTo>
                    <a:pt x="54" y="150"/>
                  </a:lnTo>
                  <a:lnTo>
                    <a:pt x="47" y="146"/>
                  </a:lnTo>
                  <a:lnTo>
                    <a:pt x="33" y="140"/>
                  </a:lnTo>
                  <a:lnTo>
                    <a:pt x="23" y="130"/>
                  </a:lnTo>
                  <a:lnTo>
                    <a:pt x="13" y="120"/>
                  </a:lnTo>
                  <a:lnTo>
                    <a:pt x="6" y="106"/>
                  </a:lnTo>
                  <a:lnTo>
                    <a:pt x="3" y="99"/>
                  </a:lnTo>
                  <a:lnTo>
                    <a:pt x="2" y="92"/>
                  </a:lnTo>
                  <a:lnTo>
                    <a:pt x="1" y="85"/>
                  </a:lnTo>
                  <a:lnTo>
                    <a:pt x="0" y="76"/>
                  </a:lnTo>
                  <a:lnTo>
                    <a:pt x="0" y="76"/>
                  </a:lnTo>
                  <a:lnTo>
                    <a:pt x="1" y="69"/>
                  </a:lnTo>
                  <a:lnTo>
                    <a:pt x="2" y="62"/>
                  </a:lnTo>
                  <a:lnTo>
                    <a:pt x="3" y="54"/>
                  </a:lnTo>
                  <a:lnTo>
                    <a:pt x="6" y="47"/>
                  </a:lnTo>
                  <a:lnTo>
                    <a:pt x="13" y="34"/>
                  </a:lnTo>
                  <a:lnTo>
                    <a:pt x="23" y="23"/>
                  </a:lnTo>
                  <a:lnTo>
                    <a:pt x="33" y="13"/>
                  </a:lnTo>
                  <a:lnTo>
                    <a:pt x="47" y="6"/>
                  </a:lnTo>
                  <a:lnTo>
                    <a:pt x="54" y="4"/>
                  </a:lnTo>
                  <a:lnTo>
                    <a:pt x="61" y="2"/>
                  </a:lnTo>
                  <a:lnTo>
                    <a:pt x="68" y="1"/>
                  </a:lnTo>
                  <a:lnTo>
                    <a:pt x="76" y="0"/>
                  </a:lnTo>
                  <a:lnTo>
                    <a:pt x="76" y="0"/>
                  </a:lnTo>
                  <a:lnTo>
                    <a:pt x="84" y="1"/>
                  </a:lnTo>
                  <a:lnTo>
                    <a:pt x="91" y="2"/>
                  </a:lnTo>
                  <a:lnTo>
                    <a:pt x="99" y="4"/>
                  </a:lnTo>
                  <a:lnTo>
                    <a:pt x="106" y="6"/>
                  </a:lnTo>
                  <a:lnTo>
                    <a:pt x="119" y="13"/>
                  </a:lnTo>
                  <a:lnTo>
                    <a:pt x="130" y="23"/>
                  </a:lnTo>
                  <a:lnTo>
                    <a:pt x="140" y="34"/>
                  </a:lnTo>
                  <a:lnTo>
                    <a:pt x="146" y="47"/>
                  </a:lnTo>
                  <a:lnTo>
                    <a:pt x="149" y="54"/>
                  </a:lnTo>
                  <a:lnTo>
                    <a:pt x="151" y="62"/>
                  </a:lnTo>
                  <a:lnTo>
                    <a:pt x="152" y="69"/>
                  </a:lnTo>
                  <a:lnTo>
                    <a:pt x="152" y="76"/>
                  </a:lnTo>
                  <a:lnTo>
                    <a:pt x="152" y="76"/>
                  </a:lnTo>
                  <a:lnTo>
                    <a:pt x="152" y="76"/>
                  </a:lnTo>
                  <a:close/>
                </a:path>
              </a:pathLst>
            </a:custGeom>
            <a:solidFill>
              <a:srgbClr val="E31B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p>
          </p:txBody>
        </p:sp>
        <p:sp>
          <p:nvSpPr>
            <p:cNvPr id="12" name="Freeform 8"/>
            <p:cNvSpPr>
              <a:spLocks noEditPoints="1"/>
            </p:cNvSpPr>
            <p:nvPr/>
          </p:nvSpPr>
          <p:spPr bwMode="auto">
            <a:xfrm>
              <a:off x="638" y="1201"/>
              <a:ext cx="157" cy="166"/>
            </a:xfrm>
            <a:custGeom>
              <a:avLst/>
              <a:gdLst>
                <a:gd name="T0" fmla="*/ 0 w 316"/>
                <a:gd name="T1" fmla="*/ 332 h 332"/>
                <a:gd name="T2" fmla="*/ 113 w 316"/>
                <a:gd name="T3" fmla="*/ 0 h 332"/>
                <a:gd name="T4" fmla="*/ 204 w 316"/>
                <a:gd name="T5" fmla="*/ 0 h 332"/>
                <a:gd name="T6" fmla="*/ 316 w 316"/>
                <a:gd name="T7" fmla="*/ 332 h 332"/>
                <a:gd name="T8" fmla="*/ 230 w 316"/>
                <a:gd name="T9" fmla="*/ 332 h 332"/>
                <a:gd name="T10" fmla="*/ 210 w 316"/>
                <a:gd name="T11" fmla="*/ 264 h 332"/>
                <a:gd name="T12" fmla="*/ 106 w 316"/>
                <a:gd name="T13" fmla="*/ 264 h 332"/>
                <a:gd name="T14" fmla="*/ 85 w 316"/>
                <a:gd name="T15" fmla="*/ 332 h 332"/>
                <a:gd name="T16" fmla="*/ 0 w 316"/>
                <a:gd name="T17" fmla="*/ 332 h 332"/>
                <a:gd name="T18" fmla="*/ 0 w 316"/>
                <a:gd name="T19" fmla="*/ 332 h 332"/>
                <a:gd name="T20" fmla="*/ 191 w 316"/>
                <a:gd name="T21" fmla="*/ 204 h 332"/>
                <a:gd name="T22" fmla="*/ 158 w 316"/>
                <a:gd name="T23" fmla="*/ 94 h 332"/>
                <a:gd name="T24" fmla="*/ 124 w 316"/>
                <a:gd name="T25" fmla="*/ 204 h 332"/>
                <a:gd name="T26" fmla="*/ 191 w 316"/>
                <a:gd name="T27" fmla="*/ 204 h 332"/>
                <a:gd name="T28" fmla="*/ 191 w 316"/>
                <a:gd name="T29" fmla="*/ 20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6" h="332">
                  <a:moveTo>
                    <a:pt x="0" y="332"/>
                  </a:moveTo>
                  <a:lnTo>
                    <a:pt x="113" y="0"/>
                  </a:lnTo>
                  <a:lnTo>
                    <a:pt x="204" y="0"/>
                  </a:lnTo>
                  <a:lnTo>
                    <a:pt x="316" y="332"/>
                  </a:lnTo>
                  <a:lnTo>
                    <a:pt x="230" y="332"/>
                  </a:lnTo>
                  <a:lnTo>
                    <a:pt x="210" y="264"/>
                  </a:lnTo>
                  <a:lnTo>
                    <a:pt x="106" y="264"/>
                  </a:lnTo>
                  <a:lnTo>
                    <a:pt x="85" y="332"/>
                  </a:lnTo>
                  <a:lnTo>
                    <a:pt x="0" y="332"/>
                  </a:lnTo>
                  <a:lnTo>
                    <a:pt x="0" y="332"/>
                  </a:lnTo>
                  <a:close/>
                  <a:moveTo>
                    <a:pt x="191" y="204"/>
                  </a:moveTo>
                  <a:lnTo>
                    <a:pt x="158" y="94"/>
                  </a:lnTo>
                  <a:lnTo>
                    <a:pt x="124" y="204"/>
                  </a:lnTo>
                  <a:lnTo>
                    <a:pt x="191" y="204"/>
                  </a:lnTo>
                  <a:lnTo>
                    <a:pt x="191" y="20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p>
          </p:txBody>
        </p:sp>
        <p:sp>
          <p:nvSpPr>
            <p:cNvPr id="13" name="Freeform 9"/>
            <p:cNvSpPr>
              <a:spLocks/>
            </p:cNvSpPr>
            <p:nvPr/>
          </p:nvSpPr>
          <p:spPr bwMode="auto">
            <a:xfrm>
              <a:off x="785" y="1241"/>
              <a:ext cx="133" cy="126"/>
            </a:xfrm>
            <a:custGeom>
              <a:avLst/>
              <a:gdLst>
                <a:gd name="T0" fmla="*/ 266 w 266"/>
                <a:gd name="T1" fmla="*/ 0 h 251"/>
                <a:gd name="T2" fmla="*/ 176 w 266"/>
                <a:gd name="T3" fmla="*/ 251 h 251"/>
                <a:gd name="T4" fmla="*/ 90 w 266"/>
                <a:gd name="T5" fmla="*/ 251 h 251"/>
                <a:gd name="T6" fmla="*/ 0 w 266"/>
                <a:gd name="T7" fmla="*/ 0 h 251"/>
                <a:gd name="T8" fmla="*/ 84 w 266"/>
                <a:gd name="T9" fmla="*/ 0 h 251"/>
                <a:gd name="T10" fmla="*/ 135 w 266"/>
                <a:gd name="T11" fmla="*/ 165 h 251"/>
                <a:gd name="T12" fmla="*/ 185 w 266"/>
                <a:gd name="T13" fmla="*/ 0 h 251"/>
                <a:gd name="T14" fmla="*/ 266 w 266"/>
                <a:gd name="T15" fmla="*/ 0 h 251"/>
                <a:gd name="T16" fmla="*/ 266 w 266"/>
                <a:gd name="T17"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6" h="251">
                  <a:moveTo>
                    <a:pt x="266" y="0"/>
                  </a:moveTo>
                  <a:lnTo>
                    <a:pt x="176" y="251"/>
                  </a:lnTo>
                  <a:lnTo>
                    <a:pt x="90" y="251"/>
                  </a:lnTo>
                  <a:lnTo>
                    <a:pt x="0" y="0"/>
                  </a:lnTo>
                  <a:lnTo>
                    <a:pt x="84" y="0"/>
                  </a:lnTo>
                  <a:lnTo>
                    <a:pt x="135" y="165"/>
                  </a:lnTo>
                  <a:lnTo>
                    <a:pt x="185" y="0"/>
                  </a:lnTo>
                  <a:lnTo>
                    <a:pt x="266" y="0"/>
                  </a:lnTo>
                  <a:lnTo>
                    <a:pt x="266"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p>
          </p:txBody>
        </p:sp>
        <p:sp>
          <p:nvSpPr>
            <p:cNvPr id="14" name="Freeform 10"/>
            <p:cNvSpPr>
              <a:spLocks noEditPoints="1"/>
            </p:cNvSpPr>
            <p:nvPr/>
          </p:nvSpPr>
          <p:spPr bwMode="auto">
            <a:xfrm>
              <a:off x="926" y="1234"/>
              <a:ext cx="125" cy="133"/>
            </a:xfrm>
            <a:custGeom>
              <a:avLst/>
              <a:gdLst>
                <a:gd name="T0" fmla="*/ 146 w 250"/>
                <a:gd name="T1" fmla="*/ 266 h 266"/>
                <a:gd name="T2" fmla="*/ 114 w 250"/>
                <a:gd name="T3" fmla="*/ 264 h 266"/>
                <a:gd name="T4" fmla="*/ 83 w 250"/>
                <a:gd name="T5" fmla="*/ 258 h 266"/>
                <a:gd name="T6" fmla="*/ 59 w 250"/>
                <a:gd name="T7" fmla="*/ 247 h 266"/>
                <a:gd name="T8" fmla="*/ 37 w 250"/>
                <a:gd name="T9" fmla="*/ 232 h 266"/>
                <a:gd name="T10" fmla="*/ 29 w 250"/>
                <a:gd name="T11" fmla="*/ 223 h 266"/>
                <a:gd name="T12" fmla="*/ 14 w 250"/>
                <a:gd name="T13" fmla="*/ 202 h 266"/>
                <a:gd name="T14" fmla="*/ 5 w 250"/>
                <a:gd name="T15" fmla="*/ 178 h 266"/>
                <a:gd name="T16" fmla="*/ 0 w 250"/>
                <a:gd name="T17" fmla="*/ 150 h 266"/>
                <a:gd name="T18" fmla="*/ 0 w 250"/>
                <a:gd name="T19" fmla="*/ 136 h 266"/>
                <a:gd name="T20" fmla="*/ 2 w 250"/>
                <a:gd name="T21" fmla="*/ 107 h 266"/>
                <a:gd name="T22" fmla="*/ 8 w 250"/>
                <a:gd name="T23" fmla="*/ 80 h 266"/>
                <a:gd name="T24" fmla="*/ 19 w 250"/>
                <a:gd name="T25" fmla="*/ 57 h 266"/>
                <a:gd name="T26" fmla="*/ 35 w 250"/>
                <a:gd name="T27" fmla="*/ 36 h 266"/>
                <a:gd name="T28" fmla="*/ 45 w 250"/>
                <a:gd name="T29" fmla="*/ 28 h 266"/>
                <a:gd name="T30" fmla="*/ 65 w 250"/>
                <a:gd name="T31" fmla="*/ 15 h 266"/>
                <a:gd name="T32" fmla="*/ 91 w 250"/>
                <a:gd name="T33" fmla="*/ 5 h 266"/>
                <a:gd name="T34" fmla="*/ 118 w 250"/>
                <a:gd name="T35" fmla="*/ 1 h 266"/>
                <a:gd name="T36" fmla="*/ 134 w 250"/>
                <a:gd name="T37" fmla="*/ 0 h 266"/>
                <a:gd name="T38" fmla="*/ 161 w 250"/>
                <a:gd name="T39" fmla="*/ 3 h 266"/>
                <a:gd name="T40" fmla="*/ 185 w 250"/>
                <a:gd name="T41" fmla="*/ 9 h 266"/>
                <a:gd name="T42" fmla="*/ 204 w 250"/>
                <a:gd name="T43" fmla="*/ 18 h 266"/>
                <a:gd name="T44" fmla="*/ 221 w 250"/>
                <a:gd name="T45" fmla="*/ 32 h 266"/>
                <a:gd name="T46" fmla="*/ 227 w 250"/>
                <a:gd name="T47" fmla="*/ 40 h 266"/>
                <a:gd name="T48" fmla="*/ 238 w 250"/>
                <a:gd name="T49" fmla="*/ 58 h 266"/>
                <a:gd name="T50" fmla="*/ 245 w 250"/>
                <a:gd name="T51" fmla="*/ 81 h 266"/>
                <a:gd name="T52" fmla="*/ 249 w 250"/>
                <a:gd name="T53" fmla="*/ 107 h 266"/>
                <a:gd name="T54" fmla="*/ 250 w 250"/>
                <a:gd name="T55" fmla="*/ 149 h 266"/>
                <a:gd name="T56" fmla="*/ 79 w 250"/>
                <a:gd name="T57" fmla="*/ 149 h 266"/>
                <a:gd name="T58" fmla="*/ 81 w 250"/>
                <a:gd name="T59" fmla="*/ 165 h 266"/>
                <a:gd name="T60" fmla="*/ 86 w 250"/>
                <a:gd name="T61" fmla="*/ 178 h 266"/>
                <a:gd name="T62" fmla="*/ 89 w 250"/>
                <a:gd name="T63" fmla="*/ 184 h 266"/>
                <a:gd name="T64" fmla="*/ 97 w 250"/>
                <a:gd name="T65" fmla="*/ 194 h 266"/>
                <a:gd name="T66" fmla="*/ 101 w 250"/>
                <a:gd name="T67" fmla="*/ 197 h 266"/>
                <a:gd name="T68" fmla="*/ 126 w 250"/>
                <a:gd name="T69" fmla="*/ 207 h 266"/>
                <a:gd name="T70" fmla="*/ 140 w 250"/>
                <a:gd name="T71" fmla="*/ 209 h 266"/>
                <a:gd name="T72" fmla="*/ 155 w 250"/>
                <a:gd name="T73" fmla="*/ 210 h 266"/>
                <a:gd name="T74" fmla="*/ 181 w 250"/>
                <a:gd name="T75" fmla="*/ 207 h 266"/>
                <a:gd name="T76" fmla="*/ 195 w 250"/>
                <a:gd name="T77" fmla="*/ 203 h 266"/>
                <a:gd name="T78" fmla="*/ 205 w 250"/>
                <a:gd name="T79" fmla="*/ 198 h 266"/>
                <a:gd name="T80" fmla="*/ 224 w 250"/>
                <a:gd name="T81" fmla="*/ 190 h 266"/>
                <a:gd name="T82" fmla="*/ 245 w 250"/>
                <a:gd name="T83" fmla="*/ 180 h 266"/>
                <a:gd name="T84" fmla="*/ 245 w 250"/>
                <a:gd name="T85" fmla="*/ 245 h 266"/>
                <a:gd name="T86" fmla="*/ 228 w 250"/>
                <a:gd name="T87" fmla="*/ 253 h 266"/>
                <a:gd name="T88" fmla="*/ 205 w 250"/>
                <a:gd name="T89" fmla="*/ 259 h 266"/>
                <a:gd name="T90" fmla="*/ 193 w 250"/>
                <a:gd name="T91" fmla="*/ 262 h 266"/>
                <a:gd name="T92" fmla="*/ 180 w 250"/>
                <a:gd name="T93" fmla="*/ 264 h 266"/>
                <a:gd name="T94" fmla="*/ 146 w 250"/>
                <a:gd name="T95" fmla="*/ 266 h 266"/>
                <a:gd name="T96" fmla="*/ 146 w 250"/>
                <a:gd name="T97" fmla="*/ 266 h 266"/>
                <a:gd name="T98" fmla="*/ 173 w 250"/>
                <a:gd name="T99" fmla="*/ 102 h 266"/>
                <a:gd name="T100" fmla="*/ 169 w 250"/>
                <a:gd name="T101" fmla="*/ 79 h 266"/>
                <a:gd name="T102" fmla="*/ 161 w 250"/>
                <a:gd name="T103" fmla="*/ 63 h 266"/>
                <a:gd name="T104" fmla="*/ 155 w 250"/>
                <a:gd name="T105" fmla="*/ 57 h 266"/>
                <a:gd name="T106" fmla="*/ 138 w 250"/>
                <a:gd name="T107" fmla="*/ 51 h 266"/>
                <a:gd name="T108" fmla="*/ 128 w 250"/>
                <a:gd name="T109" fmla="*/ 50 h 266"/>
                <a:gd name="T110" fmla="*/ 108 w 250"/>
                <a:gd name="T111" fmla="*/ 53 h 266"/>
                <a:gd name="T112" fmla="*/ 92 w 250"/>
                <a:gd name="T113" fmla="*/ 64 h 266"/>
                <a:gd name="T114" fmla="*/ 87 w 250"/>
                <a:gd name="T115" fmla="*/ 71 h 266"/>
                <a:gd name="T116" fmla="*/ 80 w 250"/>
                <a:gd name="T117" fmla="*/ 90 h 266"/>
                <a:gd name="T118" fmla="*/ 173 w 250"/>
                <a:gd name="T119" fmla="*/ 102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0" h="266">
                  <a:moveTo>
                    <a:pt x="146" y="266"/>
                  </a:moveTo>
                  <a:lnTo>
                    <a:pt x="146" y="266"/>
                  </a:lnTo>
                  <a:lnTo>
                    <a:pt x="129" y="266"/>
                  </a:lnTo>
                  <a:lnTo>
                    <a:pt x="114" y="264"/>
                  </a:lnTo>
                  <a:lnTo>
                    <a:pt x="98" y="261"/>
                  </a:lnTo>
                  <a:lnTo>
                    <a:pt x="83" y="258"/>
                  </a:lnTo>
                  <a:lnTo>
                    <a:pt x="71" y="253"/>
                  </a:lnTo>
                  <a:lnTo>
                    <a:pt x="59" y="247"/>
                  </a:lnTo>
                  <a:lnTo>
                    <a:pt x="48" y="239"/>
                  </a:lnTo>
                  <a:lnTo>
                    <a:pt x="37" y="232"/>
                  </a:lnTo>
                  <a:lnTo>
                    <a:pt x="37" y="232"/>
                  </a:lnTo>
                  <a:lnTo>
                    <a:pt x="29" y="223"/>
                  </a:lnTo>
                  <a:lnTo>
                    <a:pt x="22" y="213"/>
                  </a:lnTo>
                  <a:lnTo>
                    <a:pt x="14" y="202"/>
                  </a:lnTo>
                  <a:lnTo>
                    <a:pt x="10" y="191"/>
                  </a:lnTo>
                  <a:lnTo>
                    <a:pt x="5" y="178"/>
                  </a:lnTo>
                  <a:lnTo>
                    <a:pt x="2" y="165"/>
                  </a:lnTo>
                  <a:lnTo>
                    <a:pt x="0" y="150"/>
                  </a:lnTo>
                  <a:lnTo>
                    <a:pt x="0" y="136"/>
                  </a:lnTo>
                  <a:lnTo>
                    <a:pt x="0" y="136"/>
                  </a:lnTo>
                  <a:lnTo>
                    <a:pt x="0" y="120"/>
                  </a:lnTo>
                  <a:lnTo>
                    <a:pt x="2" y="107"/>
                  </a:lnTo>
                  <a:lnTo>
                    <a:pt x="5" y="92"/>
                  </a:lnTo>
                  <a:lnTo>
                    <a:pt x="8" y="80"/>
                  </a:lnTo>
                  <a:lnTo>
                    <a:pt x="13" y="68"/>
                  </a:lnTo>
                  <a:lnTo>
                    <a:pt x="19" y="57"/>
                  </a:lnTo>
                  <a:lnTo>
                    <a:pt x="27" y="46"/>
                  </a:lnTo>
                  <a:lnTo>
                    <a:pt x="35" y="36"/>
                  </a:lnTo>
                  <a:lnTo>
                    <a:pt x="35" y="36"/>
                  </a:lnTo>
                  <a:lnTo>
                    <a:pt x="45" y="28"/>
                  </a:lnTo>
                  <a:lnTo>
                    <a:pt x="54" y="21"/>
                  </a:lnTo>
                  <a:lnTo>
                    <a:pt x="65" y="15"/>
                  </a:lnTo>
                  <a:lnTo>
                    <a:pt x="77" y="10"/>
                  </a:lnTo>
                  <a:lnTo>
                    <a:pt x="91" y="5"/>
                  </a:lnTo>
                  <a:lnTo>
                    <a:pt x="104" y="3"/>
                  </a:lnTo>
                  <a:lnTo>
                    <a:pt x="118" y="1"/>
                  </a:lnTo>
                  <a:lnTo>
                    <a:pt x="134" y="0"/>
                  </a:lnTo>
                  <a:lnTo>
                    <a:pt x="134" y="0"/>
                  </a:lnTo>
                  <a:lnTo>
                    <a:pt x="147" y="1"/>
                  </a:lnTo>
                  <a:lnTo>
                    <a:pt x="161" y="3"/>
                  </a:lnTo>
                  <a:lnTo>
                    <a:pt x="173" y="5"/>
                  </a:lnTo>
                  <a:lnTo>
                    <a:pt x="185" y="9"/>
                  </a:lnTo>
                  <a:lnTo>
                    <a:pt x="195" y="12"/>
                  </a:lnTo>
                  <a:lnTo>
                    <a:pt x="204" y="18"/>
                  </a:lnTo>
                  <a:lnTo>
                    <a:pt x="213" y="24"/>
                  </a:lnTo>
                  <a:lnTo>
                    <a:pt x="221" y="32"/>
                  </a:lnTo>
                  <a:lnTo>
                    <a:pt x="221" y="32"/>
                  </a:lnTo>
                  <a:lnTo>
                    <a:pt x="227" y="40"/>
                  </a:lnTo>
                  <a:lnTo>
                    <a:pt x="233" y="49"/>
                  </a:lnTo>
                  <a:lnTo>
                    <a:pt x="238" y="58"/>
                  </a:lnTo>
                  <a:lnTo>
                    <a:pt x="243" y="69"/>
                  </a:lnTo>
                  <a:lnTo>
                    <a:pt x="245" y="81"/>
                  </a:lnTo>
                  <a:lnTo>
                    <a:pt x="248" y="93"/>
                  </a:lnTo>
                  <a:lnTo>
                    <a:pt x="249" y="107"/>
                  </a:lnTo>
                  <a:lnTo>
                    <a:pt x="250" y="120"/>
                  </a:lnTo>
                  <a:lnTo>
                    <a:pt x="250" y="149"/>
                  </a:lnTo>
                  <a:lnTo>
                    <a:pt x="79" y="149"/>
                  </a:lnTo>
                  <a:lnTo>
                    <a:pt x="79" y="149"/>
                  </a:lnTo>
                  <a:lnTo>
                    <a:pt x="79" y="157"/>
                  </a:lnTo>
                  <a:lnTo>
                    <a:pt x="81" y="165"/>
                  </a:lnTo>
                  <a:lnTo>
                    <a:pt x="82" y="172"/>
                  </a:lnTo>
                  <a:lnTo>
                    <a:pt x="86" y="178"/>
                  </a:lnTo>
                  <a:lnTo>
                    <a:pt x="86" y="178"/>
                  </a:lnTo>
                  <a:lnTo>
                    <a:pt x="89" y="184"/>
                  </a:lnTo>
                  <a:lnTo>
                    <a:pt x="93" y="189"/>
                  </a:lnTo>
                  <a:lnTo>
                    <a:pt x="97" y="194"/>
                  </a:lnTo>
                  <a:lnTo>
                    <a:pt x="101" y="197"/>
                  </a:lnTo>
                  <a:lnTo>
                    <a:pt x="101" y="197"/>
                  </a:lnTo>
                  <a:lnTo>
                    <a:pt x="114" y="203"/>
                  </a:lnTo>
                  <a:lnTo>
                    <a:pt x="126" y="207"/>
                  </a:lnTo>
                  <a:lnTo>
                    <a:pt x="126" y="207"/>
                  </a:lnTo>
                  <a:lnTo>
                    <a:pt x="140" y="209"/>
                  </a:lnTo>
                  <a:lnTo>
                    <a:pt x="155" y="210"/>
                  </a:lnTo>
                  <a:lnTo>
                    <a:pt x="155" y="210"/>
                  </a:lnTo>
                  <a:lnTo>
                    <a:pt x="168" y="209"/>
                  </a:lnTo>
                  <a:lnTo>
                    <a:pt x="181" y="207"/>
                  </a:lnTo>
                  <a:lnTo>
                    <a:pt x="181" y="207"/>
                  </a:lnTo>
                  <a:lnTo>
                    <a:pt x="195" y="203"/>
                  </a:lnTo>
                  <a:lnTo>
                    <a:pt x="205" y="198"/>
                  </a:lnTo>
                  <a:lnTo>
                    <a:pt x="205" y="198"/>
                  </a:lnTo>
                  <a:lnTo>
                    <a:pt x="224" y="190"/>
                  </a:lnTo>
                  <a:lnTo>
                    <a:pt x="224" y="190"/>
                  </a:lnTo>
                  <a:lnTo>
                    <a:pt x="237" y="180"/>
                  </a:lnTo>
                  <a:lnTo>
                    <a:pt x="245" y="180"/>
                  </a:lnTo>
                  <a:lnTo>
                    <a:pt x="245" y="245"/>
                  </a:lnTo>
                  <a:lnTo>
                    <a:pt x="245" y="245"/>
                  </a:lnTo>
                  <a:lnTo>
                    <a:pt x="228" y="253"/>
                  </a:lnTo>
                  <a:lnTo>
                    <a:pt x="228" y="253"/>
                  </a:lnTo>
                  <a:lnTo>
                    <a:pt x="219" y="255"/>
                  </a:lnTo>
                  <a:lnTo>
                    <a:pt x="205" y="259"/>
                  </a:lnTo>
                  <a:lnTo>
                    <a:pt x="205" y="259"/>
                  </a:lnTo>
                  <a:lnTo>
                    <a:pt x="193" y="262"/>
                  </a:lnTo>
                  <a:lnTo>
                    <a:pt x="180" y="264"/>
                  </a:lnTo>
                  <a:lnTo>
                    <a:pt x="180" y="264"/>
                  </a:lnTo>
                  <a:lnTo>
                    <a:pt x="164" y="266"/>
                  </a:lnTo>
                  <a:lnTo>
                    <a:pt x="146" y="266"/>
                  </a:lnTo>
                  <a:lnTo>
                    <a:pt x="146" y="266"/>
                  </a:lnTo>
                  <a:lnTo>
                    <a:pt x="146" y="266"/>
                  </a:lnTo>
                  <a:close/>
                  <a:moveTo>
                    <a:pt x="173" y="102"/>
                  </a:moveTo>
                  <a:lnTo>
                    <a:pt x="173" y="102"/>
                  </a:lnTo>
                  <a:lnTo>
                    <a:pt x="172" y="90"/>
                  </a:lnTo>
                  <a:lnTo>
                    <a:pt x="169" y="79"/>
                  </a:lnTo>
                  <a:lnTo>
                    <a:pt x="166" y="70"/>
                  </a:lnTo>
                  <a:lnTo>
                    <a:pt x="161" y="63"/>
                  </a:lnTo>
                  <a:lnTo>
                    <a:pt x="161" y="63"/>
                  </a:lnTo>
                  <a:lnTo>
                    <a:pt x="155" y="57"/>
                  </a:lnTo>
                  <a:lnTo>
                    <a:pt x="147" y="53"/>
                  </a:lnTo>
                  <a:lnTo>
                    <a:pt x="138" y="51"/>
                  </a:lnTo>
                  <a:lnTo>
                    <a:pt x="128" y="50"/>
                  </a:lnTo>
                  <a:lnTo>
                    <a:pt x="128" y="50"/>
                  </a:lnTo>
                  <a:lnTo>
                    <a:pt x="117" y="51"/>
                  </a:lnTo>
                  <a:lnTo>
                    <a:pt x="108" y="53"/>
                  </a:lnTo>
                  <a:lnTo>
                    <a:pt x="99" y="58"/>
                  </a:lnTo>
                  <a:lnTo>
                    <a:pt x="92" y="64"/>
                  </a:lnTo>
                  <a:lnTo>
                    <a:pt x="92" y="64"/>
                  </a:lnTo>
                  <a:lnTo>
                    <a:pt x="87" y="71"/>
                  </a:lnTo>
                  <a:lnTo>
                    <a:pt x="82" y="80"/>
                  </a:lnTo>
                  <a:lnTo>
                    <a:pt x="80" y="90"/>
                  </a:lnTo>
                  <a:lnTo>
                    <a:pt x="77" y="102"/>
                  </a:lnTo>
                  <a:lnTo>
                    <a:pt x="173" y="102"/>
                  </a:lnTo>
                  <a:lnTo>
                    <a:pt x="173"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p>
          </p:txBody>
        </p:sp>
        <p:sp>
          <p:nvSpPr>
            <p:cNvPr id="15" name="Freeform 11"/>
            <p:cNvSpPr>
              <a:spLocks noEditPoints="1"/>
            </p:cNvSpPr>
            <p:nvPr/>
          </p:nvSpPr>
          <p:spPr bwMode="auto">
            <a:xfrm>
              <a:off x="1076" y="1201"/>
              <a:ext cx="127" cy="166"/>
            </a:xfrm>
            <a:custGeom>
              <a:avLst/>
              <a:gdLst>
                <a:gd name="T0" fmla="*/ 255 w 255"/>
                <a:gd name="T1" fmla="*/ 105 h 332"/>
                <a:gd name="T2" fmla="*/ 253 w 255"/>
                <a:gd name="T3" fmla="*/ 127 h 332"/>
                <a:gd name="T4" fmla="*/ 247 w 255"/>
                <a:gd name="T5" fmla="*/ 148 h 332"/>
                <a:gd name="T6" fmla="*/ 244 w 255"/>
                <a:gd name="T7" fmla="*/ 159 h 332"/>
                <a:gd name="T8" fmla="*/ 233 w 255"/>
                <a:gd name="T9" fmla="*/ 176 h 332"/>
                <a:gd name="T10" fmla="*/ 227 w 255"/>
                <a:gd name="T11" fmla="*/ 183 h 332"/>
                <a:gd name="T12" fmla="*/ 208 w 255"/>
                <a:gd name="T13" fmla="*/ 200 h 332"/>
                <a:gd name="T14" fmla="*/ 197 w 255"/>
                <a:gd name="T15" fmla="*/ 206 h 332"/>
                <a:gd name="T16" fmla="*/ 186 w 255"/>
                <a:gd name="T17" fmla="*/ 212 h 332"/>
                <a:gd name="T18" fmla="*/ 159 w 255"/>
                <a:gd name="T19" fmla="*/ 221 h 332"/>
                <a:gd name="T20" fmla="*/ 144 w 255"/>
                <a:gd name="T21" fmla="*/ 222 h 332"/>
                <a:gd name="T22" fmla="*/ 83 w 255"/>
                <a:gd name="T23" fmla="*/ 223 h 332"/>
                <a:gd name="T24" fmla="*/ 0 w 255"/>
                <a:gd name="T25" fmla="*/ 332 h 332"/>
                <a:gd name="T26" fmla="*/ 128 w 255"/>
                <a:gd name="T27" fmla="*/ 0 h 332"/>
                <a:gd name="T28" fmla="*/ 156 w 255"/>
                <a:gd name="T29" fmla="*/ 1 h 332"/>
                <a:gd name="T30" fmla="*/ 177 w 255"/>
                <a:gd name="T31" fmla="*/ 5 h 332"/>
                <a:gd name="T32" fmla="*/ 188 w 255"/>
                <a:gd name="T33" fmla="*/ 7 h 332"/>
                <a:gd name="T34" fmla="*/ 208 w 255"/>
                <a:gd name="T35" fmla="*/ 15 h 332"/>
                <a:gd name="T36" fmla="*/ 216 w 255"/>
                <a:gd name="T37" fmla="*/ 22 h 332"/>
                <a:gd name="T38" fmla="*/ 233 w 255"/>
                <a:gd name="T39" fmla="*/ 36 h 332"/>
                <a:gd name="T40" fmla="*/ 245 w 255"/>
                <a:gd name="T41" fmla="*/ 54 h 332"/>
                <a:gd name="T42" fmla="*/ 250 w 255"/>
                <a:gd name="T43" fmla="*/ 65 h 332"/>
                <a:gd name="T44" fmla="*/ 255 w 255"/>
                <a:gd name="T45" fmla="*/ 90 h 332"/>
                <a:gd name="T46" fmla="*/ 255 w 255"/>
                <a:gd name="T47" fmla="*/ 105 h 332"/>
                <a:gd name="T48" fmla="*/ 169 w 255"/>
                <a:gd name="T49" fmla="*/ 106 h 332"/>
                <a:gd name="T50" fmla="*/ 169 w 255"/>
                <a:gd name="T51" fmla="*/ 100 h 332"/>
                <a:gd name="T52" fmla="*/ 165 w 255"/>
                <a:gd name="T53" fmla="*/ 87 h 332"/>
                <a:gd name="T54" fmla="*/ 162 w 255"/>
                <a:gd name="T55" fmla="*/ 82 h 332"/>
                <a:gd name="T56" fmla="*/ 154 w 255"/>
                <a:gd name="T57" fmla="*/ 73 h 332"/>
                <a:gd name="T58" fmla="*/ 146 w 255"/>
                <a:gd name="T59" fmla="*/ 67 h 332"/>
                <a:gd name="T60" fmla="*/ 135 w 255"/>
                <a:gd name="T61" fmla="*/ 64 h 332"/>
                <a:gd name="T62" fmla="*/ 124 w 255"/>
                <a:gd name="T63" fmla="*/ 63 h 332"/>
                <a:gd name="T64" fmla="*/ 83 w 255"/>
                <a:gd name="T65" fmla="*/ 61 h 332"/>
                <a:gd name="T66" fmla="*/ 88 w 255"/>
                <a:gd name="T67" fmla="*/ 162 h 332"/>
                <a:gd name="T68" fmla="*/ 111 w 255"/>
                <a:gd name="T69" fmla="*/ 162 h 332"/>
                <a:gd name="T70" fmla="*/ 129 w 255"/>
                <a:gd name="T71" fmla="*/ 159 h 332"/>
                <a:gd name="T72" fmla="*/ 136 w 255"/>
                <a:gd name="T73" fmla="*/ 158 h 332"/>
                <a:gd name="T74" fmla="*/ 144 w 255"/>
                <a:gd name="T75" fmla="*/ 156 h 332"/>
                <a:gd name="T76" fmla="*/ 154 w 255"/>
                <a:gd name="T77" fmla="*/ 148 h 332"/>
                <a:gd name="T78" fmla="*/ 162 w 255"/>
                <a:gd name="T79" fmla="*/ 140 h 332"/>
                <a:gd name="T80" fmla="*/ 165 w 255"/>
                <a:gd name="T81" fmla="*/ 130 h 332"/>
                <a:gd name="T82" fmla="*/ 169 w 255"/>
                <a:gd name="T83" fmla="*/ 106 h 332"/>
                <a:gd name="T84" fmla="*/ 169 w 255"/>
                <a:gd name="T85" fmla="*/ 10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5" h="332">
                  <a:moveTo>
                    <a:pt x="255" y="105"/>
                  </a:moveTo>
                  <a:lnTo>
                    <a:pt x="255" y="105"/>
                  </a:lnTo>
                  <a:lnTo>
                    <a:pt x="255" y="116"/>
                  </a:lnTo>
                  <a:lnTo>
                    <a:pt x="253" y="127"/>
                  </a:lnTo>
                  <a:lnTo>
                    <a:pt x="251" y="137"/>
                  </a:lnTo>
                  <a:lnTo>
                    <a:pt x="247" y="148"/>
                  </a:lnTo>
                  <a:lnTo>
                    <a:pt x="247" y="148"/>
                  </a:lnTo>
                  <a:lnTo>
                    <a:pt x="244" y="159"/>
                  </a:lnTo>
                  <a:lnTo>
                    <a:pt x="239" y="168"/>
                  </a:lnTo>
                  <a:lnTo>
                    <a:pt x="233" y="176"/>
                  </a:lnTo>
                  <a:lnTo>
                    <a:pt x="227" y="183"/>
                  </a:lnTo>
                  <a:lnTo>
                    <a:pt x="227" y="183"/>
                  </a:lnTo>
                  <a:lnTo>
                    <a:pt x="217" y="192"/>
                  </a:lnTo>
                  <a:lnTo>
                    <a:pt x="208" y="200"/>
                  </a:lnTo>
                  <a:lnTo>
                    <a:pt x="208" y="200"/>
                  </a:lnTo>
                  <a:lnTo>
                    <a:pt x="197" y="206"/>
                  </a:lnTo>
                  <a:lnTo>
                    <a:pt x="186" y="212"/>
                  </a:lnTo>
                  <a:lnTo>
                    <a:pt x="186" y="212"/>
                  </a:lnTo>
                  <a:lnTo>
                    <a:pt x="173" y="217"/>
                  </a:lnTo>
                  <a:lnTo>
                    <a:pt x="159" y="221"/>
                  </a:lnTo>
                  <a:lnTo>
                    <a:pt x="159" y="221"/>
                  </a:lnTo>
                  <a:lnTo>
                    <a:pt x="144" y="222"/>
                  </a:lnTo>
                  <a:lnTo>
                    <a:pt x="127" y="223"/>
                  </a:lnTo>
                  <a:lnTo>
                    <a:pt x="83" y="223"/>
                  </a:lnTo>
                  <a:lnTo>
                    <a:pt x="83" y="332"/>
                  </a:lnTo>
                  <a:lnTo>
                    <a:pt x="0" y="332"/>
                  </a:lnTo>
                  <a:lnTo>
                    <a:pt x="0" y="0"/>
                  </a:lnTo>
                  <a:lnTo>
                    <a:pt x="128" y="0"/>
                  </a:lnTo>
                  <a:lnTo>
                    <a:pt x="128" y="0"/>
                  </a:lnTo>
                  <a:lnTo>
                    <a:pt x="156" y="1"/>
                  </a:lnTo>
                  <a:lnTo>
                    <a:pt x="166" y="2"/>
                  </a:lnTo>
                  <a:lnTo>
                    <a:pt x="177" y="5"/>
                  </a:lnTo>
                  <a:lnTo>
                    <a:pt x="177" y="5"/>
                  </a:lnTo>
                  <a:lnTo>
                    <a:pt x="188" y="7"/>
                  </a:lnTo>
                  <a:lnTo>
                    <a:pt x="198" y="12"/>
                  </a:lnTo>
                  <a:lnTo>
                    <a:pt x="208" y="15"/>
                  </a:lnTo>
                  <a:lnTo>
                    <a:pt x="216" y="22"/>
                  </a:lnTo>
                  <a:lnTo>
                    <a:pt x="216" y="22"/>
                  </a:lnTo>
                  <a:lnTo>
                    <a:pt x="224" y="28"/>
                  </a:lnTo>
                  <a:lnTo>
                    <a:pt x="233" y="36"/>
                  </a:lnTo>
                  <a:lnTo>
                    <a:pt x="239" y="44"/>
                  </a:lnTo>
                  <a:lnTo>
                    <a:pt x="245" y="54"/>
                  </a:lnTo>
                  <a:lnTo>
                    <a:pt x="245" y="54"/>
                  </a:lnTo>
                  <a:lnTo>
                    <a:pt x="250" y="65"/>
                  </a:lnTo>
                  <a:lnTo>
                    <a:pt x="252" y="77"/>
                  </a:lnTo>
                  <a:lnTo>
                    <a:pt x="255" y="90"/>
                  </a:lnTo>
                  <a:lnTo>
                    <a:pt x="255" y="105"/>
                  </a:lnTo>
                  <a:lnTo>
                    <a:pt x="255" y="105"/>
                  </a:lnTo>
                  <a:lnTo>
                    <a:pt x="255" y="105"/>
                  </a:lnTo>
                  <a:close/>
                  <a:moveTo>
                    <a:pt x="169" y="106"/>
                  </a:moveTo>
                  <a:lnTo>
                    <a:pt x="169" y="106"/>
                  </a:lnTo>
                  <a:lnTo>
                    <a:pt x="169" y="100"/>
                  </a:lnTo>
                  <a:lnTo>
                    <a:pt x="168" y="93"/>
                  </a:lnTo>
                  <a:lnTo>
                    <a:pt x="165" y="87"/>
                  </a:lnTo>
                  <a:lnTo>
                    <a:pt x="162" y="82"/>
                  </a:lnTo>
                  <a:lnTo>
                    <a:pt x="162" y="82"/>
                  </a:lnTo>
                  <a:lnTo>
                    <a:pt x="159" y="77"/>
                  </a:lnTo>
                  <a:lnTo>
                    <a:pt x="154" y="73"/>
                  </a:lnTo>
                  <a:lnTo>
                    <a:pt x="151" y="70"/>
                  </a:lnTo>
                  <a:lnTo>
                    <a:pt x="146" y="67"/>
                  </a:lnTo>
                  <a:lnTo>
                    <a:pt x="146" y="67"/>
                  </a:lnTo>
                  <a:lnTo>
                    <a:pt x="135" y="64"/>
                  </a:lnTo>
                  <a:lnTo>
                    <a:pt x="124" y="63"/>
                  </a:lnTo>
                  <a:lnTo>
                    <a:pt x="124" y="63"/>
                  </a:lnTo>
                  <a:lnTo>
                    <a:pt x="94" y="61"/>
                  </a:lnTo>
                  <a:lnTo>
                    <a:pt x="83" y="61"/>
                  </a:lnTo>
                  <a:lnTo>
                    <a:pt x="83" y="162"/>
                  </a:lnTo>
                  <a:lnTo>
                    <a:pt x="88" y="162"/>
                  </a:lnTo>
                  <a:lnTo>
                    <a:pt x="88" y="162"/>
                  </a:lnTo>
                  <a:lnTo>
                    <a:pt x="111" y="162"/>
                  </a:lnTo>
                  <a:lnTo>
                    <a:pt x="111" y="162"/>
                  </a:lnTo>
                  <a:lnTo>
                    <a:pt x="129" y="159"/>
                  </a:lnTo>
                  <a:lnTo>
                    <a:pt x="129" y="159"/>
                  </a:lnTo>
                  <a:lnTo>
                    <a:pt x="136" y="158"/>
                  </a:lnTo>
                  <a:lnTo>
                    <a:pt x="144" y="156"/>
                  </a:lnTo>
                  <a:lnTo>
                    <a:pt x="144" y="156"/>
                  </a:lnTo>
                  <a:lnTo>
                    <a:pt x="150" y="152"/>
                  </a:lnTo>
                  <a:lnTo>
                    <a:pt x="154" y="148"/>
                  </a:lnTo>
                  <a:lnTo>
                    <a:pt x="154" y="148"/>
                  </a:lnTo>
                  <a:lnTo>
                    <a:pt x="162" y="140"/>
                  </a:lnTo>
                  <a:lnTo>
                    <a:pt x="165" y="130"/>
                  </a:lnTo>
                  <a:lnTo>
                    <a:pt x="165" y="130"/>
                  </a:lnTo>
                  <a:lnTo>
                    <a:pt x="168" y="121"/>
                  </a:lnTo>
                  <a:lnTo>
                    <a:pt x="169" y="106"/>
                  </a:lnTo>
                  <a:lnTo>
                    <a:pt x="169" y="106"/>
                  </a:lnTo>
                  <a:lnTo>
                    <a:pt x="169" y="10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p>
          </p:txBody>
        </p:sp>
        <p:sp>
          <p:nvSpPr>
            <p:cNvPr id="16" name="Freeform 12"/>
            <p:cNvSpPr>
              <a:spLocks noEditPoints="1"/>
            </p:cNvSpPr>
            <p:nvPr/>
          </p:nvSpPr>
          <p:spPr bwMode="auto">
            <a:xfrm>
              <a:off x="1215" y="1234"/>
              <a:ext cx="130" cy="133"/>
            </a:xfrm>
            <a:custGeom>
              <a:avLst/>
              <a:gdLst>
                <a:gd name="T0" fmla="*/ 260 w 260"/>
                <a:gd name="T1" fmla="*/ 134 h 267"/>
                <a:gd name="T2" fmla="*/ 257 w 260"/>
                <a:gd name="T3" fmla="*/ 163 h 267"/>
                <a:gd name="T4" fmla="*/ 251 w 260"/>
                <a:gd name="T5" fmla="*/ 190 h 267"/>
                <a:gd name="T6" fmla="*/ 240 w 260"/>
                <a:gd name="T7" fmla="*/ 211 h 267"/>
                <a:gd name="T8" fmla="*/ 226 w 260"/>
                <a:gd name="T9" fmla="*/ 231 h 267"/>
                <a:gd name="T10" fmla="*/ 216 w 260"/>
                <a:gd name="T11" fmla="*/ 239 h 267"/>
                <a:gd name="T12" fmla="*/ 195 w 260"/>
                <a:gd name="T13" fmla="*/ 253 h 267"/>
                <a:gd name="T14" fmla="*/ 172 w 260"/>
                <a:gd name="T15" fmla="*/ 262 h 267"/>
                <a:gd name="T16" fmla="*/ 145 w 260"/>
                <a:gd name="T17" fmla="*/ 267 h 267"/>
                <a:gd name="T18" fmla="*/ 129 w 260"/>
                <a:gd name="T19" fmla="*/ 267 h 267"/>
                <a:gd name="T20" fmla="*/ 100 w 260"/>
                <a:gd name="T21" fmla="*/ 265 h 267"/>
                <a:gd name="T22" fmla="*/ 75 w 260"/>
                <a:gd name="T23" fmla="*/ 259 h 267"/>
                <a:gd name="T24" fmla="*/ 53 w 260"/>
                <a:gd name="T25" fmla="*/ 246 h 267"/>
                <a:gd name="T26" fmla="*/ 34 w 260"/>
                <a:gd name="T27" fmla="*/ 231 h 267"/>
                <a:gd name="T28" fmla="*/ 26 w 260"/>
                <a:gd name="T29" fmla="*/ 222 h 267"/>
                <a:gd name="T30" fmla="*/ 13 w 260"/>
                <a:gd name="T31" fmla="*/ 201 h 267"/>
                <a:gd name="T32" fmla="*/ 5 w 260"/>
                <a:gd name="T33" fmla="*/ 176 h 267"/>
                <a:gd name="T34" fmla="*/ 1 w 260"/>
                <a:gd name="T35" fmla="*/ 149 h 267"/>
                <a:gd name="T36" fmla="*/ 0 w 260"/>
                <a:gd name="T37" fmla="*/ 134 h 267"/>
                <a:gd name="T38" fmla="*/ 2 w 260"/>
                <a:gd name="T39" fmla="*/ 104 h 267"/>
                <a:gd name="T40" fmla="*/ 8 w 260"/>
                <a:gd name="T41" fmla="*/ 77 h 267"/>
                <a:gd name="T42" fmla="*/ 19 w 260"/>
                <a:gd name="T43" fmla="*/ 56 h 267"/>
                <a:gd name="T44" fmla="*/ 34 w 260"/>
                <a:gd name="T45" fmla="*/ 36 h 267"/>
                <a:gd name="T46" fmla="*/ 43 w 260"/>
                <a:gd name="T47" fmla="*/ 28 h 267"/>
                <a:gd name="T48" fmla="*/ 64 w 260"/>
                <a:gd name="T49" fmla="*/ 14 h 267"/>
                <a:gd name="T50" fmla="*/ 87 w 260"/>
                <a:gd name="T51" fmla="*/ 5 h 267"/>
                <a:gd name="T52" fmla="*/ 114 w 260"/>
                <a:gd name="T53" fmla="*/ 1 h 267"/>
                <a:gd name="T54" fmla="*/ 129 w 260"/>
                <a:gd name="T55" fmla="*/ 0 h 267"/>
                <a:gd name="T56" fmla="*/ 158 w 260"/>
                <a:gd name="T57" fmla="*/ 2 h 267"/>
                <a:gd name="T58" fmla="*/ 185 w 260"/>
                <a:gd name="T59" fmla="*/ 10 h 267"/>
                <a:gd name="T60" fmla="*/ 206 w 260"/>
                <a:gd name="T61" fmla="*/ 21 h 267"/>
                <a:gd name="T62" fmla="*/ 226 w 260"/>
                <a:gd name="T63" fmla="*/ 36 h 267"/>
                <a:gd name="T64" fmla="*/ 233 w 260"/>
                <a:gd name="T65" fmla="*/ 45 h 267"/>
                <a:gd name="T66" fmla="*/ 246 w 260"/>
                <a:gd name="T67" fmla="*/ 66 h 267"/>
                <a:gd name="T68" fmla="*/ 255 w 260"/>
                <a:gd name="T69" fmla="*/ 91 h 267"/>
                <a:gd name="T70" fmla="*/ 258 w 260"/>
                <a:gd name="T71" fmla="*/ 118 h 267"/>
                <a:gd name="T72" fmla="*/ 260 w 260"/>
                <a:gd name="T73" fmla="*/ 134 h 267"/>
                <a:gd name="T74" fmla="*/ 179 w 260"/>
                <a:gd name="T75" fmla="*/ 134 h 267"/>
                <a:gd name="T76" fmla="*/ 179 w 260"/>
                <a:gd name="T77" fmla="*/ 114 h 267"/>
                <a:gd name="T78" fmla="*/ 175 w 260"/>
                <a:gd name="T79" fmla="*/ 97 h 267"/>
                <a:gd name="T80" fmla="*/ 165 w 260"/>
                <a:gd name="T81" fmla="*/ 72 h 267"/>
                <a:gd name="T82" fmla="*/ 158 w 260"/>
                <a:gd name="T83" fmla="*/ 65 h 267"/>
                <a:gd name="T84" fmla="*/ 150 w 260"/>
                <a:gd name="T85" fmla="*/ 60 h 267"/>
                <a:gd name="T86" fmla="*/ 129 w 260"/>
                <a:gd name="T87" fmla="*/ 56 h 267"/>
                <a:gd name="T88" fmla="*/ 119 w 260"/>
                <a:gd name="T89" fmla="*/ 57 h 267"/>
                <a:gd name="T90" fmla="*/ 111 w 260"/>
                <a:gd name="T91" fmla="*/ 59 h 267"/>
                <a:gd name="T92" fmla="*/ 95 w 260"/>
                <a:gd name="T93" fmla="*/ 71 h 267"/>
                <a:gd name="T94" fmla="*/ 89 w 260"/>
                <a:gd name="T95" fmla="*/ 82 h 267"/>
                <a:gd name="T96" fmla="*/ 84 w 260"/>
                <a:gd name="T97" fmla="*/ 95 h 267"/>
                <a:gd name="T98" fmla="*/ 79 w 260"/>
                <a:gd name="T99" fmla="*/ 134 h 267"/>
                <a:gd name="T100" fmla="*/ 81 w 260"/>
                <a:gd name="T101" fmla="*/ 155 h 267"/>
                <a:gd name="T102" fmla="*/ 84 w 260"/>
                <a:gd name="T103" fmla="*/ 172 h 267"/>
                <a:gd name="T104" fmla="*/ 94 w 260"/>
                <a:gd name="T105" fmla="*/ 195 h 267"/>
                <a:gd name="T106" fmla="*/ 101 w 260"/>
                <a:gd name="T107" fmla="*/ 202 h 267"/>
                <a:gd name="T108" fmla="*/ 110 w 260"/>
                <a:gd name="T109" fmla="*/ 207 h 267"/>
                <a:gd name="T110" fmla="*/ 130 w 260"/>
                <a:gd name="T111" fmla="*/ 211 h 267"/>
                <a:gd name="T112" fmla="*/ 140 w 260"/>
                <a:gd name="T113" fmla="*/ 210 h 267"/>
                <a:gd name="T114" fmla="*/ 150 w 260"/>
                <a:gd name="T115" fmla="*/ 207 h 267"/>
                <a:gd name="T116" fmla="*/ 165 w 260"/>
                <a:gd name="T117" fmla="*/ 195 h 267"/>
                <a:gd name="T118" fmla="*/ 171 w 260"/>
                <a:gd name="T119" fmla="*/ 185 h 267"/>
                <a:gd name="T120" fmla="*/ 175 w 260"/>
                <a:gd name="T121" fmla="*/ 172 h 267"/>
                <a:gd name="T122" fmla="*/ 179 w 260"/>
                <a:gd name="T123" fmla="*/ 134 h 267"/>
                <a:gd name="T124" fmla="*/ 179 w 260"/>
                <a:gd name="T125" fmla="*/ 13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0" h="267">
                  <a:moveTo>
                    <a:pt x="260" y="134"/>
                  </a:moveTo>
                  <a:lnTo>
                    <a:pt x="260" y="134"/>
                  </a:lnTo>
                  <a:lnTo>
                    <a:pt x="258" y="149"/>
                  </a:lnTo>
                  <a:lnTo>
                    <a:pt x="257" y="163"/>
                  </a:lnTo>
                  <a:lnTo>
                    <a:pt x="255" y="176"/>
                  </a:lnTo>
                  <a:lnTo>
                    <a:pt x="251" y="190"/>
                  </a:lnTo>
                  <a:lnTo>
                    <a:pt x="246" y="201"/>
                  </a:lnTo>
                  <a:lnTo>
                    <a:pt x="240" y="211"/>
                  </a:lnTo>
                  <a:lnTo>
                    <a:pt x="233" y="222"/>
                  </a:lnTo>
                  <a:lnTo>
                    <a:pt x="226" y="231"/>
                  </a:lnTo>
                  <a:lnTo>
                    <a:pt x="226" y="231"/>
                  </a:lnTo>
                  <a:lnTo>
                    <a:pt x="216" y="239"/>
                  </a:lnTo>
                  <a:lnTo>
                    <a:pt x="206" y="246"/>
                  </a:lnTo>
                  <a:lnTo>
                    <a:pt x="195" y="253"/>
                  </a:lnTo>
                  <a:lnTo>
                    <a:pt x="185" y="259"/>
                  </a:lnTo>
                  <a:lnTo>
                    <a:pt x="172" y="262"/>
                  </a:lnTo>
                  <a:lnTo>
                    <a:pt x="159" y="265"/>
                  </a:lnTo>
                  <a:lnTo>
                    <a:pt x="145" y="267"/>
                  </a:lnTo>
                  <a:lnTo>
                    <a:pt x="129" y="267"/>
                  </a:lnTo>
                  <a:lnTo>
                    <a:pt x="129" y="267"/>
                  </a:lnTo>
                  <a:lnTo>
                    <a:pt x="114" y="267"/>
                  </a:lnTo>
                  <a:lnTo>
                    <a:pt x="100" y="265"/>
                  </a:lnTo>
                  <a:lnTo>
                    <a:pt x="87" y="262"/>
                  </a:lnTo>
                  <a:lnTo>
                    <a:pt x="75" y="259"/>
                  </a:lnTo>
                  <a:lnTo>
                    <a:pt x="64" y="253"/>
                  </a:lnTo>
                  <a:lnTo>
                    <a:pt x="53" y="246"/>
                  </a:lnTo>
                  <a:lnTo>
                    <a:pt x="43" y="239"/>
                  </a:lnTo>
                  <a:lnTo>
                    <a:pt x="34" y="231"/>
                  </a:lnTo>
                  <a:lnTo>
                    <a:pt x="34" y="231"/>
                  </a:lnTo>
                  <a:lnTo>
                    <a:pt x="26" y="222"/>
                  </a:lnTo>
                  <a:lnTo>
                    <a:pt x="19" y="211"/>
                  </a:lnTo>
                  <a:lnTo>
                    <a:pt x="13" y="201"/>
                  </a:lnTo>
                  <a:lnTo>
                    <a:pt x="8" y="190"/>
                  </a:lnTo>
                  <a:lnTo>
                    <a:pt x="5" y="176"/>
                  </a:lnTo>
                  <a:lnTo>
                    <a:pt x="2" y="163"/>
                  </a:lnTo>
                  <a:lnTo>
                    <a:pt x="1" y="149"/>
                  </a:lnTo>
                  <a:lnTo>
                    <a:pt x="0" y="134"/>
                  </a:lnTo>
                  <a:lnTo>
                    <a:pt x="0" y="134"/>
                  </a:lnTo>
                  <a:lnTo>
                    <a:pt x="1" y="118"/>
                  </a:lnTo>
                  <a:lnTo>
                    <a:pt x="2" y="104"/>
                  </a:lnTo>
                  <a:lnTo>
                    <a:pt x="5" y="91"/>
                  </a:lnTo>
                  <a:lnTo>
                    <a:pt x="8" y="77"/>
                  </a:lnTo>
                  <a:lnTo>
                    <a:pt x="13" y="66"/>
                  </a:lnTo>
                  <a:lnTo>
                    <a:pt x="19" y="56"/>
                  </a:lnTo>
                  <a:lnTo>
                    <a:pt x="26" y="45"/>
                  </a:lnTo>
                  <a:lnTo>
                    <a:pt x="34" y="36"/>
                  </a:lnTo>
                  <a:lnTo>
                    <a:pt x="34" y="36"/>
                  </a:lnTo>
                  <a:lnTo>
                    <a:pt x="43" y="28"/>
                  </a:lnTo>
                  <a:lnTo>
                    <a:pt x="53" y="21"/>
                  </a:lnTo>
                  <a:lnTo>
                    <a:pt x="64" y="14"/>
                  </a:lnTo>
                  <a:lnTo>
                    <a:pt x="75" y="8"/>
                  </a:lnTo>
                  <a:lnTo>
                    <a:pt x="87" y="5"/>
                  </a:lnTo>
                  <a:lnTo>
                    <a:pt x="100" y="2"/>
                  </a:lnTo>
                  <a:lnTo>
                    <a:pt x="114" y="1"/>
                  </a:lnTo>
                  <a:lnTo>
                    <a:pt x="129" y="0"/>
                  </a:lnTo>
                  <a:lnTo>
                    <a:pt x="129" y="0"/>
                  </a:lnTo>
                  <a:lnTo>
                    <a:pt x="145" y="1"/>
                  </a:lnTo>
                  <a:lnTo>
                    <a:pt x="158" y="2"/>
                  </a:lnTo>
                  <a:lnTo>
                    <a:pt x="171" y="5"/>
                  </a:lnTo>
                  <a:lnTo>
                    <a:pt x="185" y="10"/>
                  </a:lnTo>
                  <a:lnTo>
                    <a:pt x="195" y="14"/>
                  </a:lnTo>
                  <a:lnTo>
                    <a:pt x="206" y="21"/>
                  </a:lnTo>
                  <a:lnTo>
                    <a:pt x="216" y="28"/>
                  </a:lnTo>
                  <a:lnTo>
                    <a:pt x="226" y="36"/>
                  </a:lnTo>
                  <a:lnTo>
                    <a:pt x="226" y="36"/>
                  </a:lnTo>
                  <a:lnTo>
                    <a:pt x="233" y="45"/>
                  </a:lnTo>
                  <a:lnTo>
                    <a:pt x="240" y="56"/>
                  </a:lnTo>
                  <a:lnTo>
                    <a:pt x="246" y="66"/>
                  </a:lnTo>
                  <a:lnTo>
                    <a:pt x="251" y="79"/>
                  </a:lnTo>
                  <a:lnTo>
                    <a:pt x="255" y="91"/>
                  </a:lnTo>
                  <a:lnTo>
                    <a:pt x="257" y="104"/>
                  </a:lnTo>
                  <a:lnTo>
                    <a:pt x="258" y="118"/>
                  </a:lnTo>
                  <a:lnTo>
                    <a:pt x="260" y="134"/>
                  </a:lnTo>
                  <a:lnTo>
                    <a:pt x="260" y="134"/>
                  </a:lnTo>
                  <a:lnTo>
                    <a:pt x="260" y="134"/>
                  </a:lnTo>
                  <a:close/>
                  <a:moveTo>
                    <a:pt x="179" y="134"/>
                  </a:moveTo>
                  <a:lnTo>
                    <a:pt x="179" y="134"/>
                  </a:lnTo>
                  <a:lnTo>
                    <a:pt x="179" y="114"/>
                  </a:lnTo>
                  <a:lnTo>
                    <a:pt x="175" y="97"/>
                  </a:lnTo>
                  <a:lnTo>
                    <a:pt x="175" y="97"/>
                  </a:lnTo>
                  <a:lnTo>
                    <a:pt x="171" y="83"/>
                  </a:lnTo>
                  <a:lnTo>
                    <a:pt x="165" y="72"/>
                  </a:lnTo>
                  <a:lnTo>
                    <a:pt x="165" y="72"/>
                  </a:lnTo>
                  <a:lnTo>
                    <a:pt x="158" y="65"/>
                  </a:lnTo>
                  <a:lnTo>
                    <a:pt x="150" y="60"/>
                  </a:lnTo>
                  <a:lnTo>
                    <a:pt x="150" y="60"/>
                  </a:lnTo>
                  <a:lnTo>
                    <a:pt x="140" y="57"/>
                  </a:lnTo>
                  <a:lnTo>
                    <a:pt x="129" y="56"/>
                  </a:lnTo>
                  <a:lnTo>
                    <a:pt x="129" y="56"/>
                  </a:lnTo>
                  <a:lnTo>
                    <a:pt x="119" y="57"/>
                  </a:lnTo>
                  <a:lnTo>
                    <a:pt x="111" y="59"/>
                  </a:lnTo>
                  <a:lnTo>
                    <a:pt x="111" y="59"/>
                  </a:lnTo>
                  <a:lnTo>
                    <a:pt x="102" y="64"/>
                  </a:lnTo>
                  <a:lnTo>
                    <a:pt x="95" y="71"/>
                  </a:lnTo>
                  <a:lnTo>
                    <a:pt x="95" y="71"/>
                  </a:lnTo>
                  <a:lnTo>
                    <a:pt x="89" y="82"/>
                  </a:lnTo>
                  <a:lnTo>
                    <a:pt x="84" y="95"/>
                  </a:lnTo>
                  <a:lnTo>
                    <a:pt x="84" y="95"/>
                  </a:lnTo>
                  <a:lnTo>
                    <a:pt x="81" y="114"/>
                  </a:lnTo>
                  <a:lnTo>
                    <a:pt x="79" y="134"/>
                  </a:lnTo>
                  <a:lnTo>
                    <a:pt x="79" y="134"/>
                  </a:lnTo>
                  <a:lnTo>
                    <a:pt x="81" y="155"/>
                  </a:lnTo>
                  <a:lnTo>
                    <a:pt x="84" y="172"/>
                  </a:lnTo>
                  <a:lnTo>
                    <a:pt x="84" y="172"/>
                  </a:lnTo>
                  <a:lnTo>
                    <a:pt x="88" y="185"/>
                  </a:lnTo>
                  <a:lnTo>
                    <a:pt x="94" y="195"/>
                  </a:lnTo>
                  <a:lnTo>
                    <a:pt x="94" y="195"/>
                  </a:lnTo>
                  <a:lnTo>
                    <a:pt x="101" y="202"/>
                  </a:lnTo>
                  <a:lnTo>
                    <a:pt x="110" y="207"/>
                  </a:lnTo>
                  <a:lnTo>
                    <a:pt x="110" y="207"/>
                  </a:lnTo>
                  <a:lnTo>
                    <a:pt x="119" y="210"/>
                  </a:lnTo>
                  <a:lnTo>
                    <a:pt x="130" y="211"/>
                  </a:lnTo>
                  <a:lnTo>
                    <a:pt x="130" y="211"/>
                  </a:lnTo>
                  <a:lnTo>
                    <a:pt x="140" y="210"/>
                  </a:lnTo>
                  <a:lnTo>
                    <a:pt x="150" y="207"/>
                  </a:lnTo>
                  <a:lnTo>
                    <a:pt x="150" y="207"/>
                  </a:lnTo>
                  <a:lnTo>
                    <a:pt x="158" y="202"/>
                  </a:lnTo>
                  <a:lnTo>
                    <a:pt x="165" y="195"/>
                  </a:lnTo>
                  <a:lnTo>
                    <a:pt x="165" y="195"/>
                  </a:lnTo>
                  <a:lnTo>
                    <a:pt x="171" y="185"/>
                  </a:lnTo>
                  <a:lnTo>
                    <a:pt x="175" y="172"/>
                  </a:lnTo>
                  <a:lnTo>
                    <a:pt x="175" y="172"/>
                  </a:lnTo>
                  <a:lnTo>
                    <a:pt x="179" y="156"/>
                  </a:lnTo>
                  <a:lnTo>
                    <a:pt x="179" y="134"/>
                  </a:lnTo>
                  <a:lnTo>
                    <a:pt x="179" y="134"/>
                  </a:lnTo>
                  <a:lnTo>
                    <a:pt x="179" y="13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p>
          </p:txBody>
        </p:sp>
        <p:sp>
          <p:nvSpPr>
            <p:cNvPr id="17" name="Freeform 13"/>
            <p:cNvSpPr>
              <a:spLocks noEditPoints="1"/>
            </p:cNvSpPr>
            <p:nvPr/>
          </p:nvSpPr>
          <p:spPr bwMode="auto">
            <a:xfrm>
              <a:off x="1364" y="1193"/>
              <a:ext cx="41" cy="174"/>
            </a:xfrm>
            <a:custGeom>
              <a:avLst/>
              <a:gdLst>
                <a:gd name="T0" fmla="*/ 82 w 82"/>
                <a:gd name="T1" fmla="*/ 62 h 348"/>
                <a:gd name="T2" fmla="*/ 0 w 82"/>
                <a:gd name="T3" fmla="*/ 62 h 348"/>
                <a:gd name="T4" fmla="*/ 0 w 82"/>
                <a:gd name="T5" fmla="*/ 0 h 348"/>
                <a:gd name="T6" fmla="*/ 82 w 82"/>
                <a:gd name="T7" fmla="*/ 0 h 348"/>
                <a:gd name="T8" fmla="*/ 82 w 82"/>
                <a:gd name="T9" fmla="*/ 62 h 348"/>
                <a:gd name="T10" fmla="*/ 82 w 82"/>
                <a:gd name="T11" fmla="*/ 62 h 348"/>
                <a:gd name="T12" fmla="*/ 81 w 82"/>
                <a:gd name="T13" fmla="*/ 348 h 348"/>
                <a:gd name="T14" fmla="*/ 3 w 82"/>
                <a:gd name="T15" fmla="*/ 348 h 348"/>
                <a:gd name="T16" fmla="*/ 3 w 82"/>
                <a:gd name="T17" fmla="*/ 97 h 348"/>
                <a:gd name="T18" fmla="*/ 81 w 82"/>
                <a:gd name="T19" fmla="*/ 97 h 348"/>
                <a:gd name="T20" fmla="*/ 81 w 82"/>
                <a:gd name="T21" fmla="*/ 348 h 348"/>
                <a:gd name="T22" fmla="*/ 81 w 82"/>
                <a:gd name="T2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348">
                  <a:moveTo>
                    <a:pt x="82" y="62"/>
                  </a:moveTo>
                  <a:lnTo>
                    <a:pt x="0" y="62"/>
                  </a:lnTo>
                  <a:lnTo>
                    <a:pt x="0" y="0"/>
                  </a:lnTo>
                  <a:lnTo>
                    <a:pt x="82" y="0"/>
                  </a:lnTo>
                  <a:lnTo>
                    <a:pt x="82" y="62"/>
                  </a:lnTo>
                  <a:lnTo>
                    <a:pt x="82" y="62"/>
                  </a:lnTo>
                  <a:close/>
                  <a:moveTo>
                    <a:pt x="81" y="348"/>
                  </a:moveTo>
                  <a:lnTo>
                    <a:pt x="3" y="348"/>
                  </a:lnTo>
                  <a:lnTo>
                    <a:pt x="3" y="97"/>
                  </a:lnTo>
                  <a:lnTo>
                    <a:pt x="81" y="97"/>
                  </a:lnTo>
                  <a:lnTo>
                    <a:pt x="81" y="348"/>
                  </a:lnTo>
                  <a:lnTo>
                    <a:pt x="81" y="34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p>
          </p:txBody>
        </p:sp>
        <p:sp>
          <p:nvSpPr>
            <p:cNvPr id="18" name="Freeform 14"/>
            <p:cNvSpPr>
              <a:spLocks/>
            </p:cNvSpPr>
            <p:nvPr/>
          </p:nvSpPr>
          <p:spPr bwMode="auto">
            <a:xfrm>
              <a:off x="1435" y="1238"/>
              <a:ext cx="118" cy="129"/>
            </a:xfrm>
            <a:custGeom>
              <a:avLst/>
              <a:gdLst>
                <a:gd name="T0" fmla="*/ 235 w 235"/>
                <a:gd name="T1" fmla="*/ 257 h 257"/>
                <a:gd name="T2" fmla="*/ 157 w 235"/>
                <a:gd name="T3" fmla="*/ 257 h 257"/>
                <a:gd name="T4" fmla="*/ 157 w 235"/>
                <a:gd name="T5" fmla="*/ 133 h 257"/>
                <a:gd name="T6" fmla="*/ 157 w 235"/>
                <a:gd name="T7" fmla="*/ 133 h 257"/>
                <a:gd name="T8" fmla="*/ 155 w 235"/>
                <a:gd name="T9" fmla="*/ 102 h 257"/>
                <a:gd name="T10" fmla="*/ 155 w 235"/>
                <a:gd name="T11" fmla="*/ 102 h 257"/>
                <a:gd name="T12" fmla="*/ 154 w 235"/>
                <a:gd name="T13" fmla="*/ 89 h 257"/>
                <a:gd name="T14" fmla="*/ 151 w 235"/>
                <a:gd name="T15" fmla="*/ 81 h 257"/>
                <a:gd name="T16" fmla="*/ 151 w 235"/>
                <a:gd name="T17" fmla="*/ 81 h 257"/>
                <a:gd name="T18" fmla="*/ 146 w 235"/>
                <a:gd name="T19" fmla="*/ 73 h 257"/>
                <a:gd name="T20" fmla="*/ 143 w 235"/>
                <a:gd name="T21" fmla="*/ 70 h 257"/>
                <a:gd name="T22" fmla="*/ 140 w 235"/>
                <a:gd name="T23" fmla="*/ 69 h 257"/>
                <a:gd name="T24" fmla="*/ 140 w 235"/>
                <a:gd name="T25" fmla="*/ 69 h 257"/>
                <a:gd name="T26" fmla="*/ 130 w 235"/>
                <a:gd name="T27" fmla="*/ 65 h 257"/>
                <a:gd name="T28" fmla="*/ 119 w 235"/>
                <a:gd name="T29" fmla="*/ 65 h 257"/>
                <a:gd name="T30" fmla="*/ 119 w 235"/>
                <a:gd name="T31" fmla="*/ 65 h 257"/>
                <a:gd name="T32" fmla="*/ 110 w 235"/>
                <a:gd name="T33" fmla="*/ 65 h 257"/>
                <a:gd name="T34" fmla="*/ 100 w 235"/>
                <a:gd name="T35" fmla="*/ 69 h 257"/>
                <a:gd name="T36" fmla="*/ 100 w 235"/>
                <a:gd name="T37" fmla="*/ 69 h 257"/>
                <a:gd name="T38" fmla="*/ 89 w 235"/>
                <a:gd name="T39" fmla="*/ 72 h 257"/>
                <a:gd name="T40" fmla="*/ 78 w 235"/>
                <a:gd name="T41" fmla="*/ 79 h 257"/>
                <a:gd name="T42" fmla="*/ 78 w 235"/>
                <a:gd name="T43" fmla="*/ 257 h 257"/>
                <a:gd name="T44" fmla="*/ 0 w 235"/>
                <a:gd name="T45" fmla="*/ 257 h 257"/>
                <a:gd name="T46" fmla="*/ 0 w 235"/>
                <a:gd name="T47" fmla="*/ 6 h 257"/>
                <a:gd name="T48" fmla="*/ 78 w 235"/>
                <a:gd name="T49" fmla="*/ 6 h 257"/>
                <a:gd name="T50" fmla="*/ 78 w 235"/>
                <a:gd name="T51" fmla="*/ 33 h 257"/>
                <a:gd name="T52" fmla="*/ 78 w 235"/>
                <a:gd name="T53" fmla="*/ 33 h 257"/>
                <a:gd name="T54" fmla="*/ 97 w 235"/>
                <a:gd name="T55" fmla="*/ 19 h 257"/>
                <a:gd name="T56" fmla="*/ 116 w 235"/>
                <a:gd name="T57" fmla="*/ 8 h 257"/>
                <a:gd name="T58" fmla="*/ 116 w 235"/>
                <a:gd name="T59" fmla="*/ 8 h 257"/>
                <a:gd name="T60" fmla="*/ 125 w 235"/>
                <a:gd name="T61" fmla="*/ 4 h 257"/>
                <a:gd name="T62" fmla="*/ 135 w 235"/>
                <a:gd name="T63" fmla="*/ 2 h 257"/>
                <a:gd name="T64" fmla="*/ 146 w 235"/>
                <a:gd name="T65" fmla="*/ 0 h 257"/>
                <a:gd name="T66" fmla="*/ 157 w 235"/>
                <a:gd name="T67" fmla="*/ 0 h 257"/>
                <a:gd name="T68" fmla="*/ 157 w 235"/>
                <a:gd name="T69" fmla="*/ 0 h 257"/>
                <a:gd name="T70" fmla="*/ 165 w 235"/>
                <a:gd name="T71" fmla="*/ 0 h 257"/>
                <a:gd name="T72" fmla="*/ 175 w 235"/>
                <a:gd name="T73" fmla="*/ 1 h 257"/>
                <a:gd name="T74" fmla="*/ 182 w 235"/>
                <a:gd name="T75" fmla="*/ 3 h 257"/>
                <a:gd name="T76" fmla="*/ 191 w 235"/>
                <a:gd name="T77" fmla="*/ 6 h 257"/>
                <a:gd name="T78" fmla="*/ 197 w 235"/>
                <a:gd name="T79" fmla="*/ 9 h 257"/>
                <a:gd name="T80" fmla="*/ 204 w 235"/>
                <a:gd name="T81" fmla="*/ 13 h 257"/>
                <a:gd name="T82" fmla="*/ 210 w 235"/>
                <a:gd name="T83" fmla="*/ 18 h 257"/>
                <a:gd name="T84" fmla="*/ 215 w 235"/>
                <a:gd name="T85" fmla="*/ 24 h 257"/>
                <a:gd name="T86" fmla="*/ 215 w 235"/>
                <a:gd name="T87" fmla="*/ 24 h 257"/>
                <a:gd name="T88" fmla="*/ 220 w 235"/>
                <a:gd name="T89" fmla="*/ 30 h 257"/>
                <a:gd name="T90" fmla="*/ 224 w 235"/>
                <a:gd name="T91" fmla="*/ 37 h 257"/>
                <a:gd name="T92" fmla="*/ 227 w 235"/>
                <a:gd name="T93" fmla="*/ 44 h 257"/>
                <a:gd name="T94" fmla="*/ 230 w 235"/>
                <a:gd name="T95" fmla="*/ 53 h 257"/>
                <a:gd name="T96" fmla="*/ 233 w 235"/>
                <a:gd name="T97" fmla="*/ 62 h 257"/>
                <a:gd name="T98" fmla="*/ 234 w 235"/>
                <a:gd name="T99" fmla="*/ 72 h 257"/>
                <a:gd name="T100" fmla="*/ 235 w 235"/>
                <a:gd name="T101" fmla="*/ 94 h 257"/>
                <a:gd name="T102" fmla="*/ 235 w 235"/>
                <a:gd name="T103" fmla="*/ 257 h 257"/>
                <a:gd name="T104" fmla="*/ 235 w 235"/>
                <a:gd name="T105"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257">
                  <a:moveTo>
                    <a:pt x="235" y="257"/>
                  </a:moveTo>
                  <a:lnTo>
                    <a:pt x="157" y="257"/>
                  </a:lnTo>
                  <a:lnTo>
                    <a:pt x="157" y="133"/>
                  </a:lnTo>
                  <a:lnTo>
                    <a:pt x="157" y="133"/>
                  </a:lnTo>
                  <a:lnTo>
                    <a:pt x="155" y="102"/>
                  </a:lnTo>
                  <a:lnTo>
                    <a:pt x="155" y="102"/>
                  </a:lnTo>
                  <a:lnTo>
                    <a:pt x="154" y="89"/>
                  </a:lnTo>
                  <a:lnTo>
                    <a:pt x="151" y="81"/>
                  </a:lnTo>
                  <a:lnTo>
                    <a:pt x="151" y="81"/>
                  </a:lnTo>
                  <a:lnTo>
                    <a:pt x="146" y="73"/>
                  </a:lnTo>
                  <a:lnTo>
                    <a:pt x="143" y="70"/>
                  </a:lnTo>
                  <a:lnTo>
                    <a:pt x="140" y="69"/>
                  </a:lnTo>
                  <a:lnTo>
                    <a:pt x="140" y="69"/>
                  </a:lnTo>
                  <a:lnTo>
                    <a:pt x="130" y="65"/>
                  </a:lnTo>
                  <a:lnTo>
                    <a:pt x="119" y="65"/>
                  </a:lnTo>
                  <a:lnTo>
                    <a:pt x="119" y="65"/>
                  </a:lnTo>
                  <a:lnTo>
                    <a:pt x="110" y="65"/>
                  </a:lnTo>
                  <a:lnTo>
                    <a:pt x="100" y="69"/>
                  </a:lnTo>
                  <a:lnTo>
                    <a:pt x="100" y="69"/>
                  </a:lnTo>
                  <a:lnTo>
                    <a:pt x="89" y="72"/>
                  </a:lnTo>
                  <a:lnTo>
                    <a:pt x="78" y="79"/>
                  </a:lnTo>
                  <a:lnTo>
                    <a:pt x="78" y="257"/>
                  </a:lnTo>
                  <a:lnTo>
                    <a:pt x="0" y="257"/>
                  </a:lnTo>
                  <a:lnTo>
                    <a:pt x="0" y="6"/>
                  </a:lnTo>
                  <a:lnTo>
                    <a:pt x="78" y="6"/>
                  </a:lnTo>
                  <a:lnTo>
                    <a:pt x="78" y="33"/>
                  </a:lnTo>
                  <a:lnTo>
                    <a:pt x="78" y="33"/>
                  </a:lnTo>
                  <a:lnTo>
                    <a:pt x="97" y="19"/>
                  </a:lnTo>
                  <a:lnTo>
                    <a:pt x="116" y="8"/>
                  </a:lnTo>
                  <a:lnTo>
                    <a:pt x="116" y="8"/>
                  </a:lnTo>
                  <a:lnTo>
                    <a:pt x="125" y="4"/>
                  </a:lnTo>
                  <a:lnTo>
                    <a:pt x="135" y="2"/>
                  </a:lnTo>
                  <a:lnTo>
                    <a:pt x="146" y="0"/>
                  </a:lnTo>
                  <a:lnTo>
                    <a:pt x="157" y="0"/>
                  </a:lnTo>
                  <a:lnTo>
                    <a:pt x="157" y="0"/>
                  </a:lnTo>
                  <a:lnTo>
                    <a:pt x="165" y="0"/>
                  </a:lnTo>
                  <a:lnTo>
                    <a:pt x="175" y="1"/>
                  </a:lnTo>
                  <a:lnTo>
                    <a:pt x="182" y="3"/>
                  </a:lnTo>
                  <a:lnTo>
                    <a:pt x="191" y="6"/>
                  </a:lnTo>
                  <a:lnTo>
                    <a:pt x="197" y="9"/>
                  </a:lnTo>
                  <a:lnTo>
                    <a:pt x="204" y="13"/>
                  </a:lnTo>
                  <a:lnTo>
                    <a:pt x="210" y="18"/>
                  </a:lnTo>
                  <a:lnTo>
                    <a:pt x="215" y="24"/>
                  </a:lnTo>
                  <a:lnTo>
                    <a:pt x="215" y="24"/>
                  </a:lnTo>
                  <a:lnTo>
                    <a:pt x="220" y="30"/>
                  </a:lnTo>
                  <a:lnTo>
                    <a:pt x="224" y="37"/>
                  </a:lnTo>
                  <a:lnTo>
                    <a:pt x="227" y="44"/>
                  </a:lnTo>
                  <a:lnTo>
                    <a:pt x="230" y="53"/>
                  </a:lnTo>
                  <a:lnTo>
                    <a:pt x="233" y="62"/>
                  </a:lnTo>
                  <a:lnTo>
                    <a:pt x="234" y="72"/>
                  </a:lnTo>
                  <a:lnTo>
                    <a:pt x="235" y="94"/>
                  </a:lnTo>
                  <a:lnTo>
                    <a:pt x="235" y="257"/>
                  </a:lnTo>
                  <a:lnTo>
                    <a:pt x="235" y="25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p>
          </p:txBody>
        </p:sp>
        <p:sp>
          <p:nvSpPr>
            <p:cNvPr id="19" name="Freeform 15"/>
            <p:cNvSpPr>
              <a:spLocks/>
            </p:cNvSpPr>
            <p:nvPr/>
          </p:nvSpPr>
          <p:spPr bwMode="auto">
            <a:xfrm>
              <a:off x="1572" y="1203"/>
              <a:ext cx="91" cy="164"/>
            </a:xfrm>
            <a:custGeom>
              <a:avLst/>
              <a:gdLst>
                <a:gd name="T0" fmla="*/ 121 w 182"/>
                <a:gd name="T1" fmla="*/ 327 h 327"/>
                <a:gd name="T2" fmla="*/ 121 w 182"/>
                <a:gd name="T3" fmla="*/ 327 h 327"/>
                <a:gd name="T4" fmla="*/ 98 w 182"/>
                <a:gd name="T5" fmla="*/ 326 h 327"/>
                <a:gd name="T6" fmla="*/ 88 w 182"/>
                <a:gd name="T7" fmla="*/ 325 h 327"/>
                <a:gd name="T8" fmla="*/ 80 w 182"/>
                <a:gd name="T9" fmla="*/ 322 h 327"/>
                <a:gd name="T10" fmla="*/ 71 w 182"/>
                <a:gd name="T11" fmla="*/ 320 h 327"/>
                <a:gd name="T12" fmla="*/ 64 w 182"/>
                <a:gd name="T13" fmla="*/ 316 h 327"/>
                <a:gd name="T14" fmla="*/ 57 w 182"/>
                <a:gd name="T15" fmla="*/ 313 h 327"/>
                <a:gd name="T16" fmla="*/ 51 w 182"/>
                <a:gd name="T17" fmla="*/ 308 h 327"/>
                <a:gd name="T18" fmla="*/ 51 w 182"/>
                <a:gd name="T19" fmla="*/ 308 h 327"/>
                <a:gd name="T20" fmla="*/ 46 w 182"/>
                <a:gd name="T21" fmla="*/ 302 h 327"/>
                <a:gd name="T22" fmla="*/ 41 w 182"/>
                <a:gd name="T23" fmla="*/ 296 h 327"/>
                <a:gd name="T24" fmla="*/ 37 w 182"/>
                <a:gd name="T25" fmla="*/ 290 h 327"/>
                <a:gd name="T26" fmla="*/ 35 w 182"/>
                <a:gd name="T27" fmla="*/ 281 h 327"/>
                <a:gd name="T28" fmla="*/ 33 w 182"/>
                <a:gd name="T29" fmla="*/ 273 h 327"/>
                <a:gd name="T30" fmla="*/ 30 w 182"/>
                <a:gd name="T31" fmla="*/ 264 h 327"/>
                <a:gd name="T32" fmla="*/ 29 w 182"/>
                <a:gd name="T33" fmla="*/ 253 h 327"/>
                <a:gd name="T34" fmla="*/ 29 w 182"/>
                <a:gd name="T35" fmla="*/ 242 h 327"/>
                <a:gd name="T36" fmla="*/ 29 w 182"/>
                <a:gd name="T37" fmla="*/ 125 h 327"/>
                <a:gd name="T38" fmla="*/ 0 w 182"/>
                <a:gd name="T39" fmla="*/ 125 h 327"/>
                <a:gd name="T40" fmla="*/ 0 w 182"/>
                <a:gd name="T41" fmla="*/ 71 h 327"/>
                <a:gd name="T42" fmla="*/ 29 w 182"/>
                <a:gd name="T43" fmla="*/ 71 h 327"/>
                <a:gd name="T44" fmla="*/ 29 w 182"/>
                <a:gd name="T45" fmla="*/ 0 h 327"/>
                <a:gd name="T46" fmla="*/ 107 w 182"/>
                <a:gd name="T47" fmla="*/ 0 h 327"/>
                <a:gd name="T48" fmla="*/ 107 w 182"/>
                <a:gd name="T49" fmla="*/ 71 h 327"/>
                <a:gd name="T50" fmla="*/ 182 w 182"/>
                <a:gd name="T51" fmla="*/ 71 h 327"/>
                <a:gd name="T52" fmla="*/ 182 w 182"/>
                <a:gd name="T53" fmla="*/ 125 h 327"/>
                <a:gd name="T54" fmla="*/ 107 w 182"/>
                <a:gd name="T55" fmla="*/ 125 h 327"/>
                <a:gd name="T56" fmla="*/ 107 w 182"/>
                <a:gd name="T57" fmla="*/ 215 h 327"/>
                <a:gd name="T58" fmla="*/ 107 w 182"/>
                <a:gd name="T59" fmla="*/ 215 h 327"/>
                <a:gd name="T60" fmla="*/ 107 w 182"/>
                <a:gd name="T61" fmla="*/ 238 h 327"/>
                <a:gd name="T62" fmla="*/ 107 w 182"/>
                <a:gd name="T63" fmla="*/ 238 h 327"/>
                <a:gd name="T64" fmla="*/ 109 w 182"/>
                <a:gd name="T65" fmla="*/ 247 h 327"/>
                <a:gd name="T66" fmla="*/ 111 w 182"/>
                <a:gd name="T67" fmla="*/ 256 h 327"/>
                <a:gd name="T68" fmla="*/ 111 w 182"/>
                <a:gd name="T69" fmla="*/ 256 h 327"/>
                <a:gd name="T70" fmla="*/ 114 w 182"/>
                <a:gd name="T71" fmla="*/ 259 h 327"/>
                <a:gd name="T72" fmla="*/ 116 w 182"/>
                <a:gd name="T73" fmla="*/ 263 h 327"/>
                <a:gd name="T74" fmla="*/ 122 w 182"/>
                <a:gd name="T75" fmla="*/ 268 h 327"/>
                <a:gd name="T76" fmla="*/ 122 w 182"/>
                <a:gd name="T77" fmla="*/ 268 h 327"/>
                <a:gd name="T78" fmla="*/ 127 w 182"/>
                <a:gd name="T79" fmla="*/ 270 h 327"/>
                <a:gd name="T80" fmla="*/ 132 w 182"/>
                <a:gd name="T81" fmla="*/ 271 h 327"/>
                <a:gd name="T82" fmla="*/ 145 w 182"/>
                <a:gd name="T83" fmla="*/ 273 h 327"/>
                <a:gd name="T84" fmla="*/ 145 w 182"/>
                <a:gd name="T85" fmla="*/ 273 h 327"/>
                <a:gd name="T86" fmla="*/ 152 w 182"/>
                <a:gd name="T87" fmla="*/ 271 h 327"/>
                <a:gd name="T88" fmla="*/ 162 w 182"/>
                <a:gd name="T89" fmla="*/ 270 h 327"/>
                <a:gd name="T90" fmla="*/ 162 w 182"/>
                <a:gd name="T91" fmla="*/ 270 h 327"/>
                <a:gd name="T92" fmla="*/ 170 w 182"/>
                <a:gd name="T93" fmla="*/ 268 h 327"/>
                <a:gd name="T94" fmla="*/ 176 w 182"/>
                <a:gd name="T95" fmla="*/ 265 h 327"/>
                <a:gd name="T96" fmla="*/ 182 w 182"/>
                <a:gd name="T97" fmla="*/ 265 h 327"/>
                <a:gd name="T98" fmla="*/ 182 w 182"/>
                <a:gd name="T99" fmla="*/ 320 h 327"/>
                <a:gd name="T100" fmla="*/ 182 w 182"/>
                <a:gd name="T101" fmla="*/ 320 h 327"/>
                <a:gd name="T102" fmla="*/ 170 w 182"/>
                <a:gd name="T103" fmla="*/ 323 h 327"/>
                <a:gd name="T104" fmla="*/ 156 w 182"/>
                <a:gd name="T105" fmla="*/ 325 h 327"/>
                <a:gd name="T106" fmla="*/ 156 w 182"/>
                <a:gd name="T107" fmla="*/ 325 h 327"/>
                <a:gd name="T108" fmla="*/ 140 w 182"/>
                <a:gd name="T109" fmla="*/ 327 h 327"/>
                <a:gd name="T110" fmla="*/ 121 w 182"/>
                <a:gd name="T111" fmla="*/ 327 h 327"/>
                <a:gd name="T112" fmla="*/ 121 w 182"/>
                <a:gd name="T113" fmla="*/ 327 h 327"/>
                <a:gd name="T114" fmla="*/ 121 w 182"/>
                <a:gd name="T115"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2" h="327">
                  <a:moveTo>
                    <a:pt x="121" y="327"/>
                  </a:moveTo>
                  <a:lnTo>
                    <a:pt x="121" y="327"/>
                  </a:lnTo>
                  <a:lnTo>
                    <a:pt x="98" y="326"/>
                  </a:lnTo>
                  <a:lnTo>
                    <a:pt x="88" y="325"/>
                  </a:lnTo>
                  <a:lnTo>
                    <a:pt x="80" y="322"/>
                  </a:lnTo>
                  <a:lnTo>
                    <a:pt x="71" y="320"/>
                  </a:lnTo>
                  <a:lnTo>
                    <a:pt x="64" y="316"/>
                  </a:lnTo>
                  <a:lnTo>
                    <a:pt x="57" y="313"/>
                  </a:lnTo>
                  <a:lnTo>
                    <a:pt x="51" y="308"/>
                  </a:lnTo>
                  <a:lnTo>
                    <a:pt x="51" y="308"/>
                  </a:lnTo>
                  <a:lnTo>
                    <a:pt x="46" y="302"/>
                  </a:lnTo>
                  <a:lnTo>
                    <a:pt x="41" y="296"/>
                  </a:lnTo>
                  <a:lnTo>
                    <a:pt x="37" y="290"/>
                  </a:lnTo>
                  <a:lnTo>
                    <a:pt x="35" y="281"/>
                  </a:lnTo>
                  <a:lnTo>
                    <a:pt x="33" y="273"/>
                  </a:lnTo>
                  <a:lnTo>
                    <a:pt x="30" y="264"/>
                  </a:lnTo>
                  <a:lnTo>
                    <a:pt x="29" y="253"/>
                  </a:lnTo>
                  <a:lnTo>
                    <a:pt x="29" y="242"/>
                  </a:lnTo>
                  <a:lnTo>
                    <a:pt x="29" y="125"/>
                  </a:lnTo>
                  <a:lnTo>
                    <a:pt x="0" y="125"/>
                  </a:lnTo>
                  <a:lnTo>
                    <a:pt x="0" y="71"/>
                  </a:lnTo>
                  <a:lnTo>
                    <a:pt x="29" y="71"/>
                  </a:lnTo>
                  <a:lnTo>
                    <a:pt x="29" y="0"/>
                  </a:lnTo>
                  <a:lnTo>
                    <a:pt x="107" y="0"/>
                  </a:lnTo>
                  <a:lnTo>
                    <a:pt x="107" y="71"/>
                  </a:lnTo>
                  <a:lnTo>
                    <a:pt x="182" y="71"/>
                  </a:lnTo>
                  <a:lnTo>
                    <a:pt x="182" y="125"/>
                  </a:lnTo>
                  <a:lnTo>
                    <a:pt x="107" y="125"/>
                  </a:lnTo>
                  <a:lnTo>
                    <a:pt x="107" y="215"/>
                  </a:lnTo>
                  <a:lnTo>
                    <a:pt x="107" y="215"/>
                  </a:lnTo>
                  <a:lnTo>
                    <a:pt x="107" y="238"/>
                  </a:lnTo>
                  <a:lnTo>
                    <a:pt x="107" y="238"/>
                  </a:lnTo>
                  <a:lnTo>
                    <a:pt x="109" y="247"/>
                  </a:lnTo>
                  <a:lnTo>
                    <a:pt x="111" y="256"/>
                  </a:lnTo>
                  <a:lnTo>
                    <a:pt x="111" y="256"/>
                  </a:lnTo>
                  <a:lnTo>
                    <a:pt x="114" y="259"/>
                  </a:lnTo>
                  <a:lnTo>
                    <a:pt x="116" y="263"/>
                  </a:lnTo>
                  <a:lnTo>
                    <a:pt x="122" y="268"/>
                  </a:lnTo>
                  <a:lnTo>
                    <a:pt x="122" y="268"/>
                  </a:lnTo>
                  <a:lnTo>
                    <a:pt x="127" y="270"/>
                  </a:lnTo>
                  <a:lnTo>
                    <a:pt x="132" y="271"/>
                  </a:lnTo>
                  <a:lnTo>
                    <a:pt x="145" y="273"/>
                  </a:lnTo>
                  <a:lnTo>
                    <a:pt x="145" y="273"/>
                  </a:lnTo>
                  <a:lnTo>
                    <a:pt x="152" y="271"/>
                  </a:lnTo>
                  <a:lnTo>
                    <a:pt x="162" y="270"/>
                  </a:lnTo>
                  <a:lnTo>
                    <a:pt x="162" y="270"/>
                  </a:lnTo>
                  <a:lnTo>
                    <a:pt x="170" y="268"/>
                  </a:lnTo>
                  <a:lnTo>
                    <a:pt x="176" y="265"/>
                  </a:lnTo>
                  <a:lnTo>
                    <a:pt x="182" y="265"/>
                  </a:lnTo>
                  <a:lnTo>
                    <a:pt x="182" y="320"/>
                  </a:lnTo>
                  <a:lnTo>
                    <a:pt x="182" y="320"/>
                  </a:lnTo>
                  <a:lnTo>
                    <a:pt x="170" y="323"/>
                  </a:lnTo>
                  <a:lnTo>
                    <a:pt x="156" y="325"/>
                  </a:lnTo>
                  <a:lnTo>
                    <a:pt x="156" y="325"/>
                  </a:lnTo>
                  <a:lnTo>
                    <a:pt x="140" y="327"/>
                  </a:lnTo>
                  <a:lnTo>
                    <a:pt x="121" y="327"/>
                  </a:lnTo>
                  <a:lnTo>
                    <a:pt x="121" y="327"/>
                  </a:lnTo>
                  <a:lnTo>
                    <a:pt x="121" y="32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p>
          </p:txBody>
        </p:sp>
        <p:sp>
          <p:nvSpPr>
            <p:cNvPr id="20" name="Freeform 16"/>
            <p:cNvSpPr>
              <a:spLocks noEditPoints="1"/>
            </p:cNvSpPr>
            <p:nvPr/>
          </p:nvSpPr>
          <p:spPr bwMode="auto">
            <a:xfrm>
              <a:off x="1681" y="1193"/>
              <a:ext cx="65" cy="65"/>
            </a:xfrm>
            <a:custGeom>
              <a:avLst/>
              <a:gdLst>
                <a:gd name="T0" fmla="*/ 128 w 129"/>
                <a:gd name="T1" fmla="*/ 77 h 129"/>
                <a:gd name="T2" fmla="*/ 110 w 129"/>
                <a:gd name="T3" fmla="*/ 110 h 129"/>
                <a:gd name="T4" fmla="*/ 89 w 129"/>
                <a:gd name="T5" fmla="*/ 124 h 129"/>
                <a:gd name="T6" fmla="*/ 64 w 129"/>
                <a:gd name="T7" fmla="*/ 129 h 129"/>
                <a:gd name="T8" fmla="*/ 29 w 129"/>
                <a:gd name="T9" fmla="*/ 118 h 129"/>
                <a:gd name="T10" fmla="*/ 11 w 129"/>
                <a:gd name="T11" fmla="*/ 100 h 129"/>
                <a:gd name="T12" fmla="*/ 0 w 129"/>
                <a:gd name="T13" fmla="*/ 65 h 129"/>
                <a:gd name="T14" fmla="*/ 5 w 129"/>
                <a:gd name="T15" fmla="*/ 40 h 129"/>
                <a:gd name="T16" fmla="*/ 18 w 129"/>
                <a:gd name="T17" fmla="*/ 19 h 129"/>
                <a:gd name="T18" fmla="*/ 52 w 129"/>
                <a:gd name="T19" fmla="*/ 1 h 129"/>
                <a:gd name="T20" fmla="*/ 77 w 129"/>
                <a:gd name="T21" fmla="*/ 1 h 129"/>
                <a:gd name="T22" fmla="*/ 110 w 129"/>
                <a:gd name="T23" fmla="*/ 19 h 129"/>
                <a:gd name="T24" fmla="*/ 124 w 129"/>
                <a:gd name="T25" fmla="*/ 40 h 129"/>
                <a:gd name="T26" fmla="*/ 129 w 129"/>
                <a:gd name="T27" fmla="*/ 65 h 129"/>
                <a:gd name="T28" fmla="*/ 114 w 129"/>
                <a:gd name="T29" fmla="*/ 65 h 129"/>
                <a:gd name="T30" fmla="*/ 106 w 129"/>
                <a:gd name="T31" fmla="*/ 36 h 129"/>
                <a:gd name="T32" fmla="*/ 92 w 129"/>
                <a:gd name="T33" fmla="*/ 23 h 129"/>
                <a:gd name="T34" fmla="*/ 64 w 129"/>
                <a:gd name="T35" fmla="*/ 15 h 129"/>
                <a:gd name="T36" fmla="*/ 44 w 129"/>
                <a:gd name="T37" fmla="*/ 18 h 129"/>
                <a:gd name="T38" fmla="*/ 29 w 129"/>
                <a:gd name="T39" fmla="*/ 29 h 129"/>
                <a:gd name="T40" fmla="*/ 14 w 129"/>
                <a:gd name="T41" fmla="*/ 54 h 129"/>
                <a:gd name="T42" fmla="*/ 14 w 129"/>
                <a:gd name="T43" fmla="*/ 75 h 129"/>
                <a:gd name="T44" fmla="*/ 29 w 129"/>
                <a:gd name="T45" fmla="*/ 100 h 129"/>
                <a:gd name="T46" fmla="*/ 44 w 129"/>
                <a:gd name="T47" fmla="*/ 111 h 129"/>
                <a:gd name="T48" fmla="*/ 64 w 129"/>
                <a:gd name="T49" fmla="*/ 116 h 129"/>
                <a:gd name="T50" fmla="*/ 92 w 129"/>
                <a:gd name="T51" fmla="*/ 108 h 129"/>
                <a:gd name="T52" fmla="*/ 106 w 129"/>
                <a:gd name="T53" fmla="*/ 93 h 129"/>
                <a:gd name="T54" fmla="*/ 114 w 129"/>
                <a:gd name="T55" fmla="*/ 65 h 129"/>
                <a:gd name="T56" fmla="*/ 99 w 129"/>
                <a:gd name="T57" fmla="*/ 95 h 129"/>
                <a:gd name="T58" fmla="*/ 54 w 129"/>
                <a:gd name="T59" fmla="*/ 71 h 129"/>
                <a:gd name="T60" fmla="*/ 40 w 129"/>
                <a:gd name="T61" fmla="*/ 31 h 129"/>
                <a:gd name="T62" fmla="*/ 73 w 129"/>
                <a:gd name="T63" fmla="*/ 31 h 129"/>
                <a:gd name="T64" fmla="*/ 81 w 129"/>
                <a:gd name="T65" fmla="*/ 34 h 129"/>
                <a:gd name="T66" fmla="*/ 88 w 129"/>
                <a:gd name="T67" fmla="*/ 40 h 129"/>
                <a:gd name="T68" fmla="*/ 89 w 129"/>
                <a:gd name="T69" fmla="*/ 50 h 129"/>
                <a:gd name="T70" fmla="*/ 85 w 129"/>
                <a:gd name="T71" fmla="*/ 60 h 129"/>
                <a:gd name="T72" fmla="*/ 76 w 129"/>
                <a:gd name="T73" fmla="*/ 68 h 129"/>
                <a:gd name="T74" fmla="*/ 72 w 129"/>
                <a:gd name="T75" fmla="*/ 51 h 129"/>
                <a:gd name="T76" fmla="*/ 71 w 129"/>
                <a:gd name="T77" fmla="*/ 46 h 129"/>
                <a:gd name="T78" fmla="*/ 65 w 129"/>
                <a:gd name="T79" fmla="*/ 42 h 129"/>
                <a:gd name="T80" fmla="*/ 54 w 129"/>
                <a:gd name="T81" fmla="*/ 42 h 129"/>
                <a:gd name="T82" fmla="*/ 58 w 129"/>
                <a:gd name="T83" fmla="*/ 60 h 129"/>
                <a:gd name="T84" fmla="*/ 69 w 129"/>
                <a:gd name="T85" fmla="*/ 58 h 129"/>
                <a:gd name="T86" fmla="*/ 71 w 129"/>
                <a:gd name="T87" fmla="*/ 54 h 129"/>
                <a:gd name="T88" fmla="*/ 72 w 129"/>
                <a:gd name="T89" fmla="*/ 5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9" h="129">
                  <a:moveTo>
                    <a:pt x="129" y="65"/>
                  </a:moveTo>
                  <a:lnTo>
                    <a:pt x="129" y="65"/>
                  </a:lnTo>
                  <a:lnTo>
                    <a:pt x="128" y="77"/>
                  </a:lnTo>
                  <a:lnTo>
                    <a:pt x="124" y="89"/>
                  </a:lnTo>
                  <a:lnTo>
                    <a:pt x="118" y="100"/>
                  </a:lnTo>
                  <a:lnTo>
                    <a:pt x="110" y="110"/>
                  </a:lnTo>
                  <a:lnTo>
                    <a:pt x="110" y="110"/>
                  </a:lnTo>
                  <a:lnTo>
                    <a:pt x="100" y="118"/>
                  </a:lnTo>
                  <a:lnTo>
                    <a:pt x="89" y="124"/>
                  </a:lnTo>
                  <a:lnTo>
                    <a:pt x="77" y="128"/>
                  </a:lnTo>
                  <a:lnTo>
                    <a:pt x="64" y="129"/>
                  </a:lnTo>
                  <a:lnTo>
                    <a:pt x="64" y="129"/>
                  </a:lnTo>
                  <a:lnTo>
                    <a:pt x="52" y="128"/>
                  </a:lnTo>
                  <a:lnTo>
                    <a:pt x="40" y="124"/>
                  </a:lnTo>
                  <a:lnTo>
                    <a:pt x="29" y="118"/>
                  </a:lnTo>
                  <a:lnTo>
                    <a:pt x="18" y="110"/>
                  </a:lnTo>
                  <a:lnTo>
                    <a:pt x="18" y="110"/>
                  </a:lnTo>
                  <a:lnTo>
                    <a:pt x="11" y="100"/>
                  </a:lnTo>
                  <a:lnTo>
                    <a:pt x="5" y="89"/>
                  </a:lnTo>
                  <a:lnTo>
                    <a:pt x="1" y="77"/>
                  </a:lnTo>
                  <a:lnTo>
                    <a:pt x="0" y="65"/>
                  </a:lnTo>
                  <a:lnTo>
                    <a:pt x="0" y="65"/>
                  </a:lnTo>
                  <a:lnTo>
                    <a:pt x="1" y="52"/>
                  </a:lnTo>
                  <a:lnTo>
                    <a:pt x="5" y="40"/>
                  </a:lnTo>
                  <a:lnTo>
                    <a:pt x="11" y="29"/>
                  </a:lnTo>
                  <a:lnTo>
                    <a:pt x="18" y="19"/>
                  </a:lnTo>
                  <a:lnTo>
                    <a:pt x="18" y="19"/>
                  </a:lnTo>
                  <a:lnTo>
                    <a:pt x="29" y="11"/>
                  </a:lnTo>
                  <a:lnTo>
                    <a:pt x="40" y="5"/>
                  </a:lnTo>
                  <a:lnTo>
                    <a:pt x="52" y="1"/>
                  </a:lnTo>
                  <a:lnTo>
                    <a:pt x="64" y="0"/>
                  </a:lnTo>
                  <a:lnTo>
                    <a:pt x="64" y="0"/>
                  </a:lnTo>
                  <a:lnTo>
                    <a:pt x="77" y="1"/>
                  </a:lnTo>
                  <a:lnTo>
                    <a:pt x="89" y="5"/>
                  </a:lnTo>
                  <a:lnTo>
                    <a:pt x="100" y="11"/>
                  </a:lnTo>
                  <a:lnTo>
                    <a:pt x="110" y="19"/>
                  </a:lnTo>
                  <a:lnTo>
                    <a:pt x="110" y="19"/>
                  </a:lnTo>
                  <a:lnTo>
                    <a:pt x="118" y="29"/>
                  </a:lnTo>
                  <a:lnTo>
                    <a:pt x="124" y="40"/>
                  </a:lnTo>
                  <a:lnTo>
                    <a:pt x="128" y="52"/>
                  </a:lnTo>
                  <a:lnTo>
                    <a:pt x="129" y="65"/>
                  </a:lnTo>
                  <a:lnTo>
                    <a:pt x="129" y="65"/>
                  </a:lnTo>
                  <a:lnTo>
                    <a:pt x="129" y="65"/>
                  </a:lnTo>
                  <a:close/>
                  <a:moveTo>
                    <a:pt x="114" y="65"/>
                  </a:moveTo>
                  <a:lnTo>
                    <a:pt x="114" y="65"/>
                  </a:lnTo>
                  <a:lnTo>
                    <a:pt x="113" y="54"/>
                  </a:lnTo>
                  <a:lnTo>
                    <a:pt x="111" y="46"/>
                  </a:lnTo>
                  <a:lnTo>
                    <a:pt x="106" y="36"/>
                  </a:lnTo>
                  <a:lnTo>
                    <a:pt x="100" y="29"/>
                  </a:lnTo>
                  <a:lnTo>
                    <a:pt x="100" y="29"/>
                  </a:lnTo>
                  <a:lnTo>
                    <a:pt x="92" y="23"/>
                  </a:lnTo>
                  <a:lnTo>
                    <a:pt x="83" y="18"/>
                  </a:lnTo>
                  <a:lnTo>
                    <a:pt x="75" y="15"/>
                  </a:lnTo>
                  <a:lnTo>
                    <a:pt x="64" y="15"/>
                  </a:lnTo>
                  <a:lnTo>
                    <a:pt x="64" y="15"/>
                  </a:lnTo>
                  <a:lnTo>
                    <a:pt x="54" y="15"/>
                  </a:lnTo>
                  <a:lnTo>
                    <a:pt x="44" y="18"/>
                  </a:lnTo>
                  <a:lnTo>
                    <a:pt x="36" y="23"/>
                  </a:lnTo>
                  <a:lnTo>
                    <a:pt x="29" y="29"/>
                  </a:lnTo>
                  <a:lnTo>
                    <a:pt x="29" y="29"/>
                  </a:lnTo>
                  <a:lnTo>
                    <a:pt x="21" y="36"/>
                  </a:lnTo>
                  <a:lnTo>
                    <a:pt x="18" y="46"/>
                  </a:lnTo>
                  <a:lnTo>
                    <a:pt x="14" y="54"/>
                  </a:lnTo>
                  <a:lnTo>
                    <a:pt x="14" y="65"/>
                  </a:lnTo>
                  <a:lnTo>
                    <a:pt x="14" y="65"/>
                  </a:lnTo>
                  <a:lnTo>
                    <a:pt x="14" y="75"/>
                  </a:lnTo>
                  <a:lnTo>
                    <a:pt x="18" y="85"/>
                  </a:lnTo>
                  <a:lnTo>
                    <a:pt x="21" y="93"/>
                  </a:lnTo>
                  <a:lnTo>
                    <a:pt x="29" y="100"/>
                  </a:lnTo>
                  <a:lnTo>
                    <a:pt x="29" y="100"/>
                  </a:lnTo>
                  <a:lnTo>
                    <a:pt x="36" y="108"/>
                  </a:lnTo>
                  <a:lnTo>
                    <a:pt x="44" y="111"/>
                  </a:lnTo>
                  <a:lnTo>
                    <a:pt x="54" y="115"/>
                  </a:lnTo>
                  <a:lnTo>
                    <a:pt x="64" y="116"/>
                  </a:lnTo>
                  <a:lnTo>
                    <a:pt x="64" y="116"/>
                  </a:lnTo>
                  <a:lnTo>
                    <a:pt x="75" y="115"/>
                  </a:lnTo>
                  <a:lnTo>
                    <a:pt x="83" y="111"/>
                  </a:lnTo>
                  <a:lnTo>
                    <a:pt x="92" y="108"/>
                  </a:lnTo>
                  <a:lnTo>
                    <a:pt x="100" y="100"/>
                  </a:lnTo>
                  <a:lnTo>
                    <a:pt x="100" y="100"/>
                  </a:lnTo>
                  <a:lnTo>
                    <a:pt x="106" y="93"/>
                  </a:lnTo>
                  <a:lnTo>
                    <a:pt x="111" y="85"/>
                  </a:lnTo>
                  <a:lnTo>
                    <a:pt x="113" y="75"/>
                  </a:lnTo>
                  <a:lnTo>
                    <a:pt x="114" y="65"/>
                  </a:lnTo>
                  <a:lnTo>
                    <a:pt x="114" y="65"/>
                  </a:lnTo>
                  <a:lnTo>
                    <a:pt x="114" y="65"/>
                  </a:lnTo>
                  <a:close/>
                  <a:moveTo>
                    <a:pt x="99" y="95"/>
                  </a:moveTo>
                  <a:lnTo>
                    <a:pt x="79" y="95"/>
                  </a:lnTo>
                  <a:lnTo>
                    <a:pt x="61" y="71"/>
                  </a:lnTo>
                  <a:lnTo>
                    <a:pt x="54" y="71"/>
                  </a:lnTo>
                  <a:lnTo>
                    <a:pt x="54" y="95"/>
                  </a:lnTo>
                  <a:lnTo>
                    <a:pt x="40" y="95"/>
                  </a:lnTo>
                  <a:lnTo>
                    <a:pt x="40" y="31"/>
                  </a:lnTo>
                  <a:lnTo>
                    <a:pt x="63" y="31"/>
                  </a:lnTo>
                  <a:lnTo>
                    <a:pt x="63" y="31"/>
                  </a:lnTo>
                  <a:lnTo>
                    <a:pt x="73" y="31"/>
                  </a:lnTo>
                  <a:lnTo>
                    <a:pt x="73" y="31"/>
                  </a:lnTo>
                  <a:lnTo>
                    <a:pt x="77" y="33"/>
                  </a:lnTo>
                  <a:lnTo>
                    <a:pt x="81" y="34"/>
                  </a:lnTo>
                  <a:lnTo>
                    <a:pt x="81" y="34"/>
                  </a:lnTo>
                  <a:lnTo>
                    <a:pt x="84" y="38"/>
                  </a:lnTo>
                  <a:lnTo>
                    <a:pt x="88" y="40"/>
                  </a:lnTo>
                  <a:lnTo>
                    <a:pt x="88" y="40"/>
                  </a:lnTo>
                  <a:lnTo>
                    <a:pt x="89" y="45"/>
                  </a:lnTo>
                  <a:lnTo>
                    <a:pt x="89" y="50"/>
                  </a:lnTo>
                  <a:lnTo>
                    <a:pt x="89" y="50"/>
                  </a:lnTo>
                  <a:lnTo>
                    <a:pt x="88" y="56"/>
                  </a:lnTo>
                  <a:lnTo>
                    <a:pt x="85" y="60"/>
                  </a:lnTo>
                  <a:lnTo>
                    <a:pt x="85" y="60"/>
                  </a:lnTo>
                  <a:lnTo>
                    <a:pt x="81" y="64"/>
                  </a:lnTo>
                  <a:lnTo>
                    <a:pt x="76" y="68"/>
                  </a:lnTo>
                  <a:lnTo>
                    <a:pt x="99" y="95"/>
                  </a:lnTo>
                  <a:lnTo>
                    <a:pt x="99" y="95"/>
                  </a:lnTo>
                  <a:close/>
                  <a:moveTo>
                    <a:pt x="72" y="51"/>
                  </a:moveTo>
                  <a:lnTo>
                    <a:pt x="72" y="51"/>
                  </a:lnTo>
                  <a:lnTo>
                    <a:pt x="71" y="46"/>
                  </a:lnTo>
                  <a:lnTo>
                    <a:pt x="71" y="46"/>
                  </a:lnTo>
                  <a:lnTo>
                    <a:pt x="69" y="44"/>
                  </a:lnTo>
                  <a:lnTo>
                    <a:pt x="69" y="44"/>
                  </a:lnTo>
                  <a:lnTo>
                    <a:pt x="65" y="42"/>
                  </a:lnTo>
                  <a:lnTo>
                    <a:pt x="65" y="42"/>
                  </a:lnTo>
                  <a:lnTo>
                    <a:pt x="59" y="42"/>
                  </a:lnTo>
                  <a:lnTo>
                    <a:pt x="54" y="42"/>
                  </a:lnTo>
                  <a:lnTo>
                    <a:pt x="54" y="60"/>
                  </a:lnTo>
                  <a:lnTo>
                    <a:pt x="58" y="60"/>
                  </a:lnTo>
                  <a:lnTo>
                    <a:pt x="58" y="60"/>
                  </a:lnTo>
                  <a:lnTo>
                    <a:pt x="65" y="59"/>
                  </a:lnTo>
                  <a:lnTo>
                    <a:pt x="65" y="59"/>
                  </a:lnTo>
                  <a:lnTo>
                    <a:pt x="69" y="58"/>
                  </a:lnTo>
                  <a:lnTo>
                    <a:pt x="69" y="58"/>
                  </a:lnTo>
                  <a:lnTo>
                    <a:pt x="71" y="54"/>
                  </a:lnTo>
                  <a:lnTo>
                    <a:pt x="71" y="54"/>
                  </a:lnTo>
                  <a:lnTo>
                    <a:pt x="72" y="51"/>
                  </a:lnTo>
                  <a:lnTo>
                    <a:pt x="72" y="51"/>
                  </a:lnTo>
                  <a:lnTo>
                    <a:pt x="72" y="5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p>
          </p:txBody>
        </p:sp>
      </p:grpSp>
      <p:sp>
        <p:nvSpPr>
          <p:cNvPr id="21" name="Rectangle 20"/>
          <p:cNvSpPr/>
          <p:nvPr userDrawn="1"/>
        </p:nvSpPr>
        <p:spPr>
          <a:xfrm>
            <a:off x="441824" y="6632012"/>
            <a:ext cx="11839195" cy="238043"/>
          </a:xfrm>
          <a:prstGeom prst="rect">
            <a:avLst/>
          </a:prstGeom>
        </p:spPr>
        <p:txBody>
          <a:bodyPr wrap="square" anchor="ctr">
            <a:spAutoFit/>
          </a:bodyPr>
          <a:lstStyle/>
          <a:p>
            <a:pPr algn="ctr">
              <a:lnSpc>
                <a:spcPts val="1122"/>
              </a:lnSpc>
            </a:pPr>
            <a:r>
              <a:rPr lang="en-US" sz="1020" dirty="0">
                <a:solidFill>
                  <a:schemeClr val="bg1"/>
                </a:solidFill>
                <a:latin typeface="Segoe UI Semilight" panose="020B0402040204020203" pitchFamily="34" charset="0"/>
                <a:cs typeface="Segoe UI Semilight" panose="020B0402040204020203" pitchFamily="34" charset="0"/>
              </a:rPr>
              <a:t>©AvePoint, Inc. All rights reserved. Confidential and proprietary information of AvePoint, Inc. </a:t>
            </a:r>
          </a:p>
        </p:txBody>
      </p:sp>
    </p:spTree>
    <p:extLst>
      <p:ext uri="{BB962C8B-B14F-4D97-AF65-F5344CB8AC3E}">
        <p14:creationId xmlns:p14="http://schemas.microsoft.com/office/powerpoint/2010/main" val="2263123483"/>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itle and  Non-Bulleted Content_New">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p>
            <a:r>
              <a:rPr lang="en-US" dirty="0"/>
              <a:t>Click to edit Master title style</a:t>
            </a:r>
          </a:p>
        </p:txBody>
      </p:sp>
      <p:sp>
        <p:nvSpPr>
          <p:cNvPr id="9" name="Text Placeholder 4"/>
          <p:cNvSpPr>
            <a:spLocks noGrp="1"/>
          </p:cNvSpPr>
          <p:nvPr>
            <p:ph type="body" sz="quarter" idx="10"/>
          </p:nvPr>
        </p:nvSpPr>
        <p:spPr>
          <a:xfrm>
            <a:off x="529661" y="1476621"/>
            <a:ext cx="11375536" cy="963021"/>
          </a:xfrm>
        </p:spPr>
        <p:txBody>
          <a:bodyPr/>
          <a:lstStyle>
            <a:lvl1pPr marL="0" indent="0">
              <a:spcBef>
                <a:spcPts val="0"/>
              </a:spcBef>
              <a:spcAft>
                <a:spcPts val="918"/>
              </a:spcAft>
              <a:buNone/>
              <a:defRPr sz="4080" spc="-102" baseline="0">
                <a:latin typeface="Segoe UI" panose="020B0502040204020203" pitchFamily="34" charset="0"/>
                <a:cs typeface="Segoe UI" panose="020B0502040204020203" pitchFamily="34" charset="0"/>
              </a:defRPr>
            </a:lvl1pPr>
            <a:lvl2pPr marL="0" indent="0">
              <a:spcBef>
                <a:spcPts val="0"/>
              </a:spcBef>
              <a:spcAft>
                <a:spcPts val="408"/>
              </a:spcAft>
              <a:buNone/>
              <a:defRPr sz="2040" spc="-51" baseline="0">
                <a:latin typeface="Segoe UI" panose="020B0502040204020203" pitchFamily="34" charset="0"/>
                <a:ea typeface="Segoe UI" panose="020B0502040204020203" pitchFamily="34" charset="0"/>
                <a:cs typeface="Segoe UI" panose="020B0502040204020203" pitchFamily="34" charset="0"/>
              </a:defRPr>
            </a:lvl2pPr>
            <a:lvl3pPr marL="0" indent="0">
              <a:spcBef>
                <a:spcPts val="0"/>
              </a:spcBef>
              <a:spcAft>
                <a:spcPts val="408"/>
              </a:spcAft>
              <a:buNone/>
              <a:defRPr sz="2040"/>
            </a:lvl3pPr>
            <a:lvl4pPr marL="0" indent="0">
              <a:spcBef>
                <a:spcPts val="0"/>
              </a:spcBef>
              <a:spcAft>
                <a:spcPts val="408"/>
              </a:spcAft>
              <a:buNone/>
              <a:defRPr/>
            </a:lvl4pPr>
            <a:lvl5pPr marL="0" indent="0">
              <a:spcBef>
                <a:spcPts val="0"/>
              </a:spcBef>
              <a:spcAft>
                <a:spcPts val="408"/>
              </a:spcAft>
              <a:buNone/>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621148611"/>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itle and Bulleted Content_New">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p>
            <a:r>
              <a:rPr lang="en-US" dirty="0"/>
              <a:t>Click to edit Master title style</a:t>
            </a:r>
          </a:p>
        </p:txBody>
      </p:sp>
      <p:sp>
        <p:nvSpPr>
          <p:cNvPr id="5" name="Text Placeholder 4"/>
          <p:cNvSpPr>
            <a:spLocks noGrp="1"/>
          </p:cNvSpPr>
          <p:nvPr>
            <p:ph type="body" sz="quarter" idx="10"/>
          </p:nvPr>
        </p:nvSpPr>
        <p:spPr>
          <a:xfrm>
            <a:off x="529661" y="1476621"/>
            <a:ext cx="11375536" cy="1739002"/>
          </a:xfrm>
        </p:spPr>
        <p:txBody>
          <a:bodyPr/>
          <a:lstStyle>
            <a:lvl1pPr marL="279779">
              <a:defRPr/>
            </a:lvl1pPr>
            <a:lvl2pPr marL="466298">
              <a:defRPr>
                <a:latin typeface="Segoe UI" panose="020B0502040204020203" pitchFamily="34" charset="0"/>
                <a:cs typeface="Segoe UI" panose="020B0502040204020203" pitchFamily="34" charset="0"/>
              </a:defRPr>
            </a:lvl2pPr>
            <a:lvl3pPr marL="652818">
              <a:defRPr/>
            </a:lvl3pPr>
            <a:lvl4pPr marL="839337">
              <a:defRPr/>
            </a:lvl4pPr>
            <a:lvl5pPr marL="1025856">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0453840"/>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itle and  Non-Bulleted Content &amp; Media_New">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p>
            <a:r>
              <a:rPr lang="en-US" dirty="0"/>
              <a:t>Click to edit Master title style</a:t>
            </a:r>
          </a:p>
        </p:txBody>
      </p:sp>
      <p:sp>
        <p:nvSpPr>
          <p:cNvPr id="6" name="Content Placeholder 12"/>
          <p:cNvSpPr>
            <a:spLocks noGrp="1"/>
          </p:cNvSpPr>
          <p:nvPr>
            <p:ph sz="quarter" idx="11"/>
          </p:nvPr>
        </p:nvSpPr>
        <p:spPr>
          <a:xfrm>
            <a:off x="529660" y="1476621"/>
            <a:ext cx="5409867" cy="1475469"/>
          </a:xfrm>
        </p:spPr>
        <p:txBody>
          <a:bodyPr/>
          <a:lstStyle>
            <a:lvl1pPr marL="0" indent="0">
              <a:buNone/>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a:p>
            <a:pPr lvl="1"/>
            <a:r>
              <a:rPr lang="en-US" dirty="0"/>
              <a:t>Second level</a:t>
            </a:r>
          </a:p>
        </p:txBody>
      </p:sp>
      <p:sp>
        <p:nvSpPr>
          <p:cNvPr id="7" name="Content Placeholder 12"/>
          <p:cNvSpPr>
            <a:spLocks noGrp="1"/>
          </p:cNvSpPr>
          <p:nvPr>
            <p:ph sz="quarter" idx="12"/>
          </p:nvPr>
        </p:nvSpPr>
        <p:spPr>
          <a:xfrm>
            <a:off x="6495329" y="1476621"/>
            <a:ext cx="5409867" cy="1475469"/>
          </a:xfrm>
        </p:spPr>
        <p:txBody>
          <a:bodyPr/>
          <a:lstStyle>
            <a:lvl1pPr marL="0" indent="0">
              <a:buNone/>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908758506"/>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itle and Bulleted Content &amp; Media_New">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p>
            <a:r>
              <a:rPr lang="en-US" dirty="0"/>
              <a:t>Click to edit Master title style</a:t>
            </a:r>
          </a:p>
        </p:txBody>
      </p:sp>
      <p:sp>
        <p:nvSpPr>
          <p:cNvPr id="8" name="Content Placeholder 3"/>
          <p:cNvSpPr>
            <a:spLocks noGrp="1"/>
          </p:cNvSpPr>
          <p:nvPr>
            <p:ph sz="quarter" idx="12"/>
          </p:nvPr>
        </p:nvSpPr>
        <p:spPr>
          <a:xfrm>
            <a:off x="529660" y="1476618"/>
            <a:ext cx="5409867" cy="2349960"/>
          </a:xfrm>
        </p:spPr>
        <p:txBody>
          <a:bodyPr/>
          <a:lstStyle>
            <a:lvl1pPr marL="509690" indent="-582873">
              <a:buNone/>
              <a:defRPr lang="en-US" sz="4080" kern="1200" dirty="0" smtClean="0">
                <a:solidFill>
                  <a:srgbClr val="FF0000"/>
                </a:solidFill>
                <a:latin typeface="Segoe UI" panose="020B0502040204020203" pitchFamily="34" charset="0"/>
                <a:ea typeface="+mn-ea"/>
                <a:cs typeface="Segoe UI" panose="020B0502040204020203" pitchFamily="34" charset="0"/>
              </a:defRPr>
            </a:lvl1pPr>
            <a:lvl2pPr>
              <a:defRPr>
                <a:latin typeface="Segoe UI" panose="020B0502040204020203" pitchFamily="34" charset="0"/>
                <a:cs typeface="Segoe UI" panose="020B0502040204020203" pitchFamily="34" charset="0"/>
              </a:defRPr>
            </a:lvl2pPr>
            <a:lvl3pPr>
              <a:defRPr>
                <a:latin typeface="Segoe UI" panose="020B0502040204020203" pitchFamily="34" charset="0"/>
                <a:cs typeface="Segoe UI" panose="020B0502040204020203" pitchFamily="34" charset="0"/>
              </a:defRPr>
            </a:lvl3pPr>
            <a:lvl4pPr>
              <a:defRPr>
                <a:latin typeface="Segoe UI" panose="020B0502040204020203" pitchFamily="34" charset="0"/>
                <a:cs typeface="Segoe UI" panose="020B0502040204020203" pitchFamily="34" charset="0"/>
              </a:defRPr>
            </a:lvl4pPr>
            <a:lvl5pPr>
              <a:defRPr>
                <a:latin typeface="Segoe UI" panose="020B0502040204020203" pitchFamily="34" charset="0"/>
                <a:cs typeface="Segoe UI" panose="020B0502040204020203" pitchFamily="34" charset="0"/>
              </a:defRPr>
            </a:lvl5pPr>
          </a:lstStyle>
          <a:p>
            <a:pPr marL="279779" lvl="0" indent="-352962" algn="l" defTabSz="932559" rtl="0" eaLnBrk="1" latinLnBrk="0" hangingPunct="1">
              <a:lnSpc>
                <a:spcPct val="90000"/>
              </a:lnSpc>
              <a:spcBef>
                <a:spcPct val="20000"/>
              </a:spcBef>
              <a:buSzPct val="90000"/>
              <a:buFont typeface="Arial" pitchFamily="34" charset="0"/>
              <a:buChar cha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4"/>
          </p:nvPr>
        </p:nvSpPr>
        <p:spPr>
          <a:xfrm>
            <a:off x="6495329" y="1476617"/>
            <a:ext cx="5409867" cy="2349960"/>
          </a:xfrm>
        </p:spPr>
        <p:txBody>
          <a:bodyPr/>
          <a:lstStyle>
            <a:lvl1pPr marL="509690" indent="-582873">
              <a:buNone/>
              <a:defRPr lang="en-US" sz="4080" kern="1200" dirty="0" smtClean="0">
                <a:solidFill>
                  <a:srgbClr val="FF0000"/>
                </a:solidFill>
                <a:latin typeface="Segoe UI" panose="020B0502040204020203" pitchFamily="34" charset="0"/>
                <a:ea typeface="+mn-ea"/>
                <a:cs typeface="Segoe UI" panose="020B0502040204020203" pitchFamily="34" charset="0"/>
              </a:defRPr>
            </a:lvl1pPr>
            <a:lvl2pPr>
              <a:defRPr>
                <a:latin typeface="Segoe UI" panose="020B0502040204020203" pitchFamily="34" charset="0"/>
                <a:cs typeface="Segoe UI" panose="020B0502040204020203" pitchFamily="34" charset="0"/>
              </a:defRPr>
            </a:lvl2pPr>
            <a:lvl3pPr>
              <a:defRPr>
                <a:latin typeface="Segoe UI" panose="020B0502040204020203" pitchFamily="34" charset="0"/>
                <a:cs typeface="Segoe UI" panose="020B0502040204020203" pitchFamily="34" charset="0"/>
              </a:defRPr>
            </a:lvl3pPr>
            <a:lvl4pPr>
              <a:defRPr>
                <a:latin typeface="Segoe UI" panose="020B0502040204020203" pitchFamily="34" charset="0"/>
                <a:cs typeface="Segoe UI" panose="020B0502040204020203" pitchFamily="34" charset="0"/>
              </a:defRPr>
            </a:lvl4pPr>
            <a:lvl5pPr>
              <a:defRPr>
                <a:latin typeface="Segoe UI" panose="020B0502040204020203" pitchFamily="34" charset="0"/>
                <a:cs typeface="Segoe UI" panose="020B0502040204020203" pitchFamily="34" charset="0"/>
              </a:defRPr>
            </a:lvl5pPr>
          </a:lstStyle>
          <a:p>
            <a:pPr marL="279779" lvl="0" indent="-352962" algn="l" defTabSz="932559" rtl="0" eaLnBrk="1" latinLnBrk="0" hangingPunct="1">
              <a:lnSpc>
                <a:spcPct val="90000"/>
              </a:lnSpc>
              <a:spcBef>
                <a:spcPct val="20000"/>
              </a:spcBef>
              <a:buSzPct val="90000"/>
              <a:buFont typeface="Arial" pitchFamily="34" charset="0"/>
              <a:buChar cha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204701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Quotation page">
    <p:spTree>
      <p:nvGrpSpPr>
        <p:cNvPr id="1" name=""/>
        <p:cNvGrpSpPr/>
        <p:nvPr/>
      </p:nvGrpSpPr>
      <p:grpSpPr>
        <a:xfrm>
          <a:off x="0" y="0"/>
          <a:ext cx="0" cy="0"/>
          <a:chOff x="0" y="0"/>
          <a:chExt cx="0" cy="0"/>
        </a:xfrm>
      </p:grpSpPr>
      <p:pic>
        <p:nvPicPr>
          <p:cNvPr id="40" name="Image 39" descr="molecules-widescreen-bee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593"/>
            <a:ext cx="12436474" cy="6991337"/>
          </a:xfrm>
          <a:prstGeom prst="rect">
            <a:avLst/>
          </a:prstGeom>
        </p:spPr>
      </p:pic>
      <p:sp>
        <p:nvSpPr>
          <p:cNvPr id="2" name="Title 1"/>
          <p:cNvSpPr>
            <a:spLocks noGrp="1"/>
          </p:cNvSpPr>
          <p:nvPr>
            <p:ph type="ctrTitle"/>
          </p:nvPr>
        </p:nvSpPr>
        <p:spPr>
          <a:xfrm>
            <a:off x="608870" y="1292046"/>
            <a:ext cx="8517690" cy="1764822"/>
          </a:xfrm>
        </p:spPr>
        <p:txBody>
          <a:bodyPr wrap="square" lIns="0" tIns="0" rIns="0" bIns="0">
            <a:normAutofit/>
          </a:bodyPr>
          <a:lstStyle>
            <a:lvl1pPr algn="l">
              <a:defRPr sz="3060" baseline="0">
                <a:solidFill>
                  <a:schemeClr val="tx2"/>
                </a:solidFill>
              </a:defRPr>
            </a:lvl1pPr>
          </a:lstStyle>
          <a:p>
            <a:r>
              <a:rPr lang="en-US" noProof="0"/>
              <a:t>Click to edit Master title style</a:t>
            </a:r>
            <a:endParaRPr lang="en-US" noProof="0" dirty="0"/>
          </a:p>
        </p:txBody>
      </p:sp>
      <p:pic>
        <p:nvPicPr>
          <p:cNvPr id="37" name="Image 36" descr="CGI Logo tagline EN.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72951" y="5946875"/>
            <a:ext cx="2131622" cy="876647"/>
          </a:xfrm>
          <a:prstGeom prst="rect">
            <a:avLst/>
          </a:prstGeom>
        </p:spPr>
      </p:pic>
    </p:spTree>
    <p:extLst>
      <p:ext uri="{BB962C8B-B14F-4D97-AF65-F5344CB8AC3E}">
        <p14:creationId xmlns:p14="http://schemas.microsoft.com/office/powerpoint/2010/main" val="177103500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Title, Non-Bulleted Content and Media_Ne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529660" y="1477749"/>
            <a:ext cx="11379375" cy="910377"/>
          </a:xfrm>
        </p:spPr>
        <p:txBody>
          <a:bodyPr/>
          <a:lstStyle>
            <a:lvl1pPr marL="0" indent="0">
              <a:buNone/>
              <a:defRPr/>
            </a:lvl1pPr>
            <a:lvl2pPr marL="0" indent="0">
              <a:buNone/>
              <a:defRPr>
                <a:latin typeface="Segoe UI" panose="020B0502040204020203" pitchFamily="34" charset="0"/>
                <a:cs typeface="Segoe UI" panose="020B0502040204020203" pitchFamily="34" charset="0"/>
              </a:defRPr>
            </a:lvl2pPr>
            <a:lvl3pPr marL="363000" indent="0">
              <a:buNone/>
              <a:defRPr/>
            </a:lvl3pPr>
            <a:lvl4pPr marL="611045" indent="0">
              <a:buNone/>
              <a:defRPr/>
            </a:lvl4pPr>
            <a:lvl5pPr marL="791087" indent="0">
              <a:buNone/>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9851779"/>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Title, Bulleted Content and Me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529661" y="1476621"/>
            <a:ext cx="11375536" cy="1739002"/>
          </a:xfrm>
        </p:spPr>
        <p:txBody>
          <a:bodyPr/>
          <a:lstStyle>
            <a:lvl1pPr>
              <a:lnSpc>
                <a:spcPct val="90000"/>
              </a:lnSpc>
              <a:defRPr/>
            </a:lvl1pPr>
            <a:lvl2pPr>
              <a:lnSpc>
                <a:spcPct val="90000"/>
              </a:lnSpc>
              <a:defRPr>
                <a:latin typeface="Segoe UI" panose="020B0502040204020203" pitchFamily="34" charset="0"/>
                <a:cs typeface="Segoe UI" panose="020B0502040204020203" pitchFamily="34" charset="0"/>
              </a:defRPr>
            </a:lvl2pPr>
            <a:lvl3pPr>
              <a:lnSpc>
                <a:spcPct val="90000"/>
              </a:lnSpc>
              <a:defRPr/>
            </a:lvl3pPr>
            <a:lvl4pPr>
              <a:lnSpc>
                <a:spcPct val="90000"/>
              </a:lnSpc>
              <a:defRPr/>
            </a:lvl4pPr>
            <a:lvl5pPr>
              <a:lnSpc>
                <a:spcPct val="9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3681547"/>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Section Break_New">
    <p:spTree>
      <p:nvGrpSpPr>
        <p:cNvPr id="1" name=""/>
        <p:cNvGrpSpPr/>
        <p:nvPr/>
      </p:nvGrpSpPr>
      <p:grpSpPr>
        <a:xfrm>
          <a:off x="0" y="0"/>
          <a:ext cx="0" cy="0"/>
          <a:chOff x="0" y="0"/>
          <a:chExt cx="0" cy="0"/>
        </a:xfrm>
      </p:grpSpPr>
      <p:sp>
        <p:nvSpPr>
          <p:cNvPr id="3" name="Rectangle 2"/>
          <p:cNvSpPr/>
          <p:nvPr/>
        </p:nvSpPr>
        <p:spPr>
          <a:xfrm>
            <a:off x="0" y="2396997"/>
            <a:ext cx="12436475" cy="11745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5"/>
          <p:cNvSpPr>
            <a:spLocks noGrp="1"/>
          </p:cNvSpPr>
          <p:nvPr>
            <p:ph type="body" sz="quarter" idx="10" hasCustomPrompt="1"/>
          </p:nvPr>
        </p:nvSpPr>
        <p:spPr>
          <a:xfrm>
            <a:off x="597535" y="2713322"/>
            <a:ext cx="11234930" cy="536775"/>
          </a:xfrm>
        </p:spPr>
        <p:txBody>
          <a:bodyPr anchor="ctr"/>
          <a:lstStyle>
            <a:lvl1pPr marL="0" indent="0" algn="l" defTabSz="932559" rtl="0" eaLnBrk="1" latinLnBrk="0" hangingPunct="1">
              <a:lnSpc>
                <a:spcPct val="90000"/>
              </a:lnSpc>
              <a:spcBef>
                <a:spcPct val="0"/>
              </a:spcBef>
              <a:buNone/>
              <a:defRPr lang="en-US" sz="3876" b="0" kern="1200" cap="none" spc="-102" baseline="0" dirty="0" smtClean="0">
                <a:ln w="3175">
                  <a:noFill/>
                </a:ln>
                <a:solidFill>
                  <a:srgbClr val="FFFFFF"/>
                </a:solidFill>
                <a:effectLst/>
                <a:latin typeface="Segoe UI" panose="020B0502040204020203" pitchFamily="34" charset="0"/>
                <a:ea typeface="+mn-ea"/>
                <a:cs typeface="Segoe UI"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322937978"/>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1_Section Break_New">
    <p:spTree>
      <p:nvGrpSpPr>
        <p:cNvPr id="1" name=""/>
        <p:cNvGrpSpPr/>
        <p:nvPr/>
      </p:nvGrpSpPr>
      <p:grpSpPr>
        <a:xfrm>
          <a:off x="0" y="0"/>
          <a:ext cx="0" cy="0"/>
          <a:chOff x="0" y="0"/>
          <a:chExt cx="0" cy="0"/>
        </a:xfrm>
      </p:grpSpPr>
      <p:sp>
        <p:nvSpPr>
          <p:cNvPr id="3" name="Rectangle 2"/>
          <p:cNvSpPr/>
          <p:nvPr/>
        </p:nvSpPr>
        <p:spPr>
          <a:xfrm>
            <a:off x="0" y="2396997"/>
            <a:ext cx="12436475" cy="1174552"/>
          </a:xfrm>
          <a:prstGeom prst="rect">
            <a:avLst/>
          </a:prstGeom>
          <a:solidFill>
            <a:srgbClr val="E31A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5"/>
          <p:cNvSpPr>
            <a:spLocks noGrp="1"/>
          </p:cNvSpPr>
          <p:nvPr>
            <p:ph type="body" sz="quarter" idx="10" hasCustomPrompt="1"/>
          </p:nvPr>
        </p:nvSpPr>
        <p:spPr>
          <a:xfrm>
            <a:off x="597535" y="2713322"/>
            <a:ext cx="11234930" cy="536775"/>
          </a:xfrm>
        </p:spPr>
        <p:txBody>
          <a:bodyPr anchor="ctr"/>
          <a:lstStyle>
            <a:lvl1pPr marL="0" indent="0" algn="l" defTabSz="932559" rtl="0" eaLnBrk="1" latinLnBrk="0" hangingPunct="1">
              <a:lnSpc>
                <a:spcPct val="90000"/>
              </a:lnSpc>
              <a:spcBef>
                <a:spcPct val="0"/>
              </a:spcBef>
              <a:buNone/>
              <a:defRPr lang="en-US" sz="3876" b="0" kern="1200" cap="none" spc="-102" baseline="0" dirty="0" smtClean="0">
                <a:ln w="3175">
                  <a:noFill/>
                </a:ln>
                <a:solidFill>
                  <a:srgbClr val="FFFFFF"/>
                </a:solidFill>
                <a:effectLst/>
                <a:latin typeface="Segoe UI" panose="020B0502040204020203" pitchFamily="34" charset="0"/>
                <a:ea typeface="+mn-ea"/>
                <a:cs typeface="Segoe UI"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732828733"/>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2_Section Break_New">
    <p:spTree>
      <p:nvGrpSpPr>
        <p:cNvPr id="1" name=""/>
        <p:cNvGrpSpPr/>
        <p:nvPr/>
      </p:nvGrpSpPr>
      <p:grpSpPr>
        <a:xfrm>
          <a:off x="0" y="0"/>
          <a:ext cx="0" cy="0"/>
          <a:chOff x="0" y="0"/>
          <a:chExt cx="0" cy="0"/>
        </a:xfrm>
      </p:grpSpPr>
      <p:sp>
        <p:nvSpPr>
          <p:cNvPr id="3" name="Rectangle 2"/>
          <p:cNvSpPr/>
          <p:nvPr/>
        </p:nvSpPr>
        <p:spPr>
          <a:xfrm>
            <a:off x="0" y="2396997"/>
            <a:ext cx="12436475" cy="1174552"/>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5"/>
          <p:cNvSpPr>
            <a:spLocks noGrp="1"/>
          </p:cNvSpPr>
          <p:nvPr>
            <p:ph type="body" sz="quarter" idx="10" hasCustomPrompt="1"/>
          </p:nvPr>
        </p:nvSpPr>
        <p:spPr>
          <a:xfrm>
            <a:off x="597535" y="2713322"/>
            <a:ext cx="11234930" cy="536775"/>
          </a:xfrm>
        </p:spPr>
        <p:txBody>
          <a:bodyPr anchor="ctr"/>
          <a:lstStyle>
            <a:lvl1pPr marL="0" indent="0" algn="l" defTabSz="932559" rtl="0" eaLnBrk="1" latinLnBrk="0" hangingPunct="1">
              <a:lnSpc>
                <a:spcPct val="90000"/>
              </a:lnSpc>
              <a:spcBef>
                <a:spcPct val="0"/>
              </a:spcBef>
              <a:buNone/>
              <a:defRPr lang="en-US" sz="3876" b="0" kern="1200" cap="none" spc="-102" baseline="0" dirty="0" smtClean="0">
                <a:ln w="3175">
                  <a:noFill/>
                </a:ln>
                <a:solidFill>
                  <a:srgbClr val="FFFFFF"/>
                </a:solidFill>
                <a:effectLst/>
                <a:latin typeface="Segoe UI" panose="020B0502040204020203" pitchFamily="34" charset="0"/>
                <a:ea typeface="+mn-ea"/>
                <a:cs typeface="Segoe UI"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393559555"/>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Only" preserve="1">
  <p:cSld name="Title Only_Ne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42468606"/>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noAutofit/>
          </a:bodyPr>
          <a:lstStyle>
            <a:lvl1pPr>
              <a:defRPr kumimoji="0" lang="en-US" sz="5507" b="0" i="0" u="none" strike="noStrike" kern="1200" cap="none" spc="-102" normalizeH="0" baseline="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mj-lt"/>
                <a:ea typeface="+mj-ea"/>
                <a:cs typeface="Arial" charset="0"/>
              </a:defRPr>
            </a:lvl1pPr>
          </a:lstStyle>
          <a:p>
            <a:pPr marL="0" marR="0" lvl="0" indent="0" algn="l" defTabSz="932559" rtl="0" eaLnBrk="1" fontAlgn="auto" latinLnBrk="0" hangingPunct="1">
              <a:lnSpc>
                <a:spcPct val="90000"/>
              </a:lnSpc>
              <a:spcBef>
                <a:spcPct val="0"/>
              </a:spcBef>
              <a:spcAft>
                <a:spcPts val="0"/>
              </a:spcAft>
              <a:buClrTx/>
              <a:buSzTx/>
              <a:buFontTx/>
              <a:buNone/>
              <a:tabLst/>
              <a:defRPr/>
            </a:pPr>
            <a:r>
              <a:rPr lang="en-US" dirty="0"/>
              <a:t>Click to edit Master title style</a:t>
            </a:r>
          </a:p>
        </p:txBody>
      </p:sp>
      <p:sp>
        <p:nvSpPr>
          <p:cNvPr id="5" name="Text Placeholder 4"/>
          <p:cNvSpPr>
            <a:spLocks noGrp="1"/>
          </p:cNvSpPr>
          <p:nvPr>
            <p:ph type="body" sz="quarter" idx="10"/>
          </p:nvPr>
        </p:nvSpPr>
        <p:spPr>
          <a:xfrm>
            <a:off x="529661" y="1476622"/>
            <a:ext cx="11375536" cy="963021"/>
          </a:xfrm>
        </p:spPr>
        <p:txBody>
          <a:bodyPr/>
          <a:lstStyle>
            <a:lvl1pPr marL="0" indent="0">
              <a:spcBef>
                <a:spcPts val="0"/>
              </a:spcBef>
              <a:spcAft>
                <a:spcPts val="918"/>
              </a:spcAft>
              <a:buNone/>
              <a:defRPr sz="4080" spc="-102" baseline="0">
                <a:latin typeface="Segoe UI" panose="020B0502040204020203" pitchFamily="34" charset="0"/>
                <a:cs typeface="Segoe UI" panose="020B0502040204020203" pitchFamily="34" charset="0"/>
              </a:defRPr>
            </a:lvl1pPr>
            <a:lvl2pPr marL="0" indent="0">
              <a:spcBef>
                <a:spcPts val="0"/>
              </a:spcBef>
              <a:spcAft>
                <a:spcPts val="408"/>
              </a:spcAft>
              <a:buNone/>
              <a:defRPr sz="2040" spc="-51" baseline="0">
                <a:latin typeface="Segoe UI" panose="020B0502040204020203" pitchFamily="34" charset="0"/>
                <a:ea typeface="Segoe UI" panose="020B0502040204020203" pitchFamily="34" charset="0"/>
                <a:cs typeface="Segoe UI" panose="020B0502040204020203" pitchFamily="34" charset="0"/>
              </a:defRPr>
            </a:lvl2pPr>
            <a:lvl3pPr marL="0" indent="0">
              <a:spcBef>
                <a:spcPts val="0"/>
              </a:spcBef>
              <a:spcAft>
                <a:spcPts val="408"/>
              </a:spcAft>
              <a:buNone/>
              <a:defRPr sz="2040"/>
            </a:lvl3pPr>
            <a:lvl4pPr marL="0" indent="0">
              <a:spcBef>
                <a:spcPts val="0"/>
              </a:spcBef>
              <a:spcAft>
                <a:spcPts val="408"/>
              </a:spcAft>
              <a:buNone/>
              <a:defRPr/>
            </a:lvl4pPr>
            <a:lvl5pPr marL="0" indent="0">
              <a:spcBef>
                <a:spcPts val="0"/>
              </a:spcBef>
              <a:spcAft>
                <a:spcPts val="408"/>
              </a:spcAft>
              <a:buNone/>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1627942"/>
      </p:ext>
    </p:extLst>
  </p:cSld>
  <p:clrMapOvr>
    <a:masterClrMapping/>
  </p:clrMapOvr>
  <p:transition spd="slow">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21954129"/>
      </p:ext>
    </p:extLst>
  </p:cSld>
  <p:clrMapOvr>
    <a:masterClrMapping/>
  </p:clrMapOvr>
  <p:transition spd="slow">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cSld name="Thank You">
    <p:spTree>
      <p:nvGrpSpPr>
        <p:cNvPr id="1" name=""/>
        <p:cNvGrpSpPr/>
        <p:nvPr/>
      </p:nvGrpSpPr>
      <p:grpSpPr>
        <a:xfrm>
          <a:off x="0" y="0"/>
          <a:ext cx="0" cy="0"/>
          <a:chOff x="0" y="0"/>
          <a:chExt cx="0" cy="0"/>
        </a:xfrm>
      </p:grpSpPr>
      <p:sp>
        <p:nvSpPr>
          <p:cNvPr id="288" name="Rectangle 287"/>
          <p:cNvSpPr/>
          <p:nvPr/>
        </p:nvSpPr>
        <p:spPr bwMode="auto">
          <a:xfrm>
            <a:off x="0" y="0"/>
            <a:ext cx="12436475"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zh-CN" altLang="en-US" sz="1836" b="0" i="0" u="none" strike="noStrike" kern="1200" cap="none" spc="-51"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nvGrpSpPr>
          <p:cNvPr id="2" name="Group 1"/>
          <p:cNvGrpSpPr>
            <a:grpSpLocks noChangeAspect="1"/>
          </p:cNvGrpSpPr>
          <p:nvPr/>
        </p:nvGrpSpPr>
        <p:grpSpPr>
          <a:xfrm>
            <a:off x="4772" y="61801"/>
            <a:ext cx="12476488" cy="6870923"/>
            <a:chOff x="-60806" y="84976"/>
            <a:chExt cx="12326696" cy="6789394"/>
          </a:xfrm>
        </p:grpSpPr>
        <p:sp>
          <p:nvSpPr>
            <p:cNvPr id="3" name="Rectangle 2"/>
            <p:cNvSpPr/>
            <p:nvPr/>
          </p:nvSpPr>
          <p:spPr>
            <a:xfrm>
              <a:off x="6813911" y="2839111"/>
              <a:ext cx="5409376" cy="4035259"/>
            </a:xfrm>
            <a:prstGeom prst="rect">
              <a:avLst/>
            </a:prstGeom>
            <a:solidFill>
              <a:srgbClr val="E31A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537" tIns="243537" rIns="243537" bIns="243537" numCol="1" rtlCol="0" anchor="ctr" anchorCtr="0" compatLnSpc="1">
              <a:prstTxWarp prst="textNoShape">
                <a:avLst/>
              </a:prstTxWarp>
            </a:bodyPr>
            <a:lstStyle/>
            <a:p>
              <a:pPr marL="0" marR="0" lvl="0" indent="0" algn="l" defTabSz="1241292" rtl="0" eaLnBrk="1" fontAlgn="base" latinLnBrk="0" hangingPunct="1">
                <a:lnSpc>
                  <a:spcPct val="100000"/>
                </a:lnSpc>
                <a:spcBef>
                  <a:spcPct val="0"/>
                </a:spcBef>
                <a:spcAft>
                  <a:spcPct val="0"/>
                </a:spcAft>
                <a:buClrTx/>
                <a:buSzTx/>
                <a:buFontTx/>
                <a:buNone/>
                <a:tabLst/>
                <a:defRPr/>
              </a:pPr>
              <a:endParaRPr kumimoji="0" lang="en-US" sz="2550" b="0" i="0" u="none" strike="noStrike" kern="1200" cap="none" spc="0" normalizeH="0" baseline="0" noProof="0" dirty="0">
                <a:ln>
                  <a:noFill/>
                </a:ln>
                <a:solidFill>
                  <a:prstClr val="white"/>
                </a:solidFill>
                <a:effectLst/>
                <a:uLnTx/>
                <a:uFillTx/>
                <a:latin typeface="Segoe UI" pitchFamily="34" charset="0"/>
                <a:ea typeface="Segoe UI" pitchFamily="34" charset="0"/>
                <a:cs typeface="Segoe UI" pitchFamily="34" charset="0"/>
              </a:endParaRPr>
            </a:p>
          </p:txBody>
        </p:sp>
        <p:sp>
          <p:nvSpPr>
            <p:cNvPr id="4" name="Rectangle 3"/>
            <p:cNvSpPr/>
            <p:nvPr/>
          </p:nvSpPr>
          <p:spPr>
            <a:xfrm>
              <a:off x="-60806"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121674" tIns="60837" rIns="121674" bIns="60837"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alpha val="99000"/>
                    </a:srgbClr>
                  </a:solidFill>
                  <a:effectLst/>
                  <a:uLnTx/>
                  <a:uFillTx/>
                  <a:latin typeface="Segoe UI" pitchFamily="34" charset="0"/>
                  <a:ea typeface="Segoe UI" pitchFamily="34" charset="0"/>
                  <a:cs typeface="Segoe UI" pitchFamily="34" charset="0"/>
                </a:rPr>
                <a:t>Ahsante</a:t>
              </a:r>
            </a:p>
          </p:txBody>
        </p:sp>
        <p:sp>
          <p:nvSpPr>
            <p:cNvPr id="5" name="Rectangle 4"/>
            <p:cNvSpPr/>
            <p:nvPr/>
          </p:nvSpPr>
          <p:spPr>
            <a:xfrm>
              <a:off x="4064021"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6" name="Group 5"/>
            <p:cNvGrpSpPr/>
            <p:nvPr/>
          </p:nvGrpSpPr>
          <p:grpSpPr>
            <a:xfrm>
              <a:off x="4193870" y="2019679"/>
              <a:ext cx="1024849" cy="165844"/>
              <a:chOff x="891368" y="5611897"/>
              <a:chExt cx="1049730" cy="170204"/>
            </a:xfrm>
            <a:solidFill>
              <a:srgbClr val="FFFFFF"/>
            </a:solidFill>
            <a:effectLst/>
          </p:grpSpPr>
          <p:sp>
            <p:nvSpPr>
              <p:cNvPr id="279" name="Freeform 32"/>
              <p:cNvSpPr>
                <a:spLocks/>
              </p:cNvSpPr>
              <p:nvPr/>
            </p:nvSpPr>
            <p:spPr bwMode="invGray">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80" name="Freeform 33"/>
              <p:cNvSpPr>
                <a:spLocks noEditPoints="1"/>
              </p:cNvSpPr>
              <p:nvPr/>
            </p:nvSpPr>
            <p:spPr bwMode="invGray">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81" name="Rectangle 34"/>
              <p:cNvSpPr>
                <a:spLocks noChangeArrowheads="1"/>
              </p:cNvSpPr>
              <p:nvPr/>
            </p:nvSpPr>
            <p:spPr bwMode="invGray">
              <a:xfrm>
                <a:off x="1115570" y="5611897"/>
                <a:ext cx="25055" cy="167180"/>
              </a:xfrm>
              <a:prstGeom prst="rect">
                <a:avLst/>
              </a:pr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82" name="Freeform 35"/>
              <p:cNvSpPr>
                <a:spLocks noEditPoints="1"/>
              </p:cNvSpPr>
              <p:nvPr/>
            </p:nvSpPr>
            <p:spPr bwMode="invGray">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83" name="Freeform 36"/>
              <p:cNvSpPr>
                <a:spLocks/>
              </p:cNvSpPr>
              <p:nvPr/>
            </p:nvSpPr>
            <p:spPr bwMode="invGray">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84" name="Freeform 37"/>
              <p:cNvSpPr>
                <a:spLocks noEditPoints="1"/>
              </p:cNvSpPr>
              <p:nvPr/>
            </p:nvSpPr>
            <p:spPr bwMode="invGray">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85" name="Freeform 38"/>
              <p:cNvSpPr>
                <a:spLocks/>
              </p:cNvSpPr>
              <p:nvPr/>
            </p:nvSpPr>
            <p:spPr bwMode="invGray">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86" name="Freeform 39"/>
              <p:cNvSpPr>
                <a:spLocks noEditPoints="1"/>
              </p:cNvSpPr>
              <p:nvPr/>
            </p:nvSpPr>
            <p:spPr bwMode="invGray">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87" name="Freeform 40"/>
              <p:cNvSpPr>
                <a:spLocks noEditPoints="1"/>
              </p:cNvSpPr>
              <p:nvPr/>
            </p:nvSpPr>
            <p:spPr bwMode="invGray">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7" name="Rectangle 6"/>
            <p:cNvSpPr/>
            <p:nvPr/>
          </p:nvSpPr>
          <p:spPr>
            <a:xfrm>
              <a:off x="1314134"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8" name="Group 7"/>
            <p:cNvGrpSpPr/>
            <p:nvPr/>
          </p:nvGrpSpPr>
          <p:grpSpPr>
            <a:xfrm>
              <a:off x="1498375" y="631173"/>
              <a:ext cx="916061" cy="188732"/>
              <a:chOff x="1382110" y="560118"/>
              <a:chExt cx="1085320" cy="224189"/>
            </a:xfrm>
          </p:grpSpPr>
          <p:sp>
            <p:nvSpPr>
              <p:cNvPr id="270" name="Freeform 22"/>
              <p:cNvSpPr>
                <a:spLocks/>
              </p:cNvSpPr>
              <p:nvPr/>
            </p:nvSpPr>
            <p:spPr bwMode="invGray">
              <a:xfrm>
                <a:off x="1382110" y="614823"/>
                <a:ext cx="89549" cy="119813"/>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71" name="Freeform 23"/>
              <p:cNvSpPr>
                <a:spLocks/>
              </p:cNvSpPr>
              <p:nvPr/>
            </p:nvSpPr>
            <p:spPr bwMode="invGray">
              <a:xfrm>
                <a:off x="1476355" y="617173"/>
                <a:ext cx="122081" cy="117464"/>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72" name="Freeform 24"/>
              <p:cNvSpPr>
                <a:spLocks/>
              </p:cNvSpPr>
              <p:nvPr/>
            </p:nvSpPr>
            <p:spPr bwMode="invGray">
              <a:xfrm>
                <a:off x="1600784" y="614823"/>
                <a:ext cx="124429" cy="169484"/>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73" name="Freeform 25"/>
              <p:cNvSpPr>
                <a:spLocks noEditPoints="1"/>
              </p:cNvSpPr>
              <p:nvPr/>
            </p:nvSpPr>
            <p:spPr bwMode="invGray">
              <a:xfrm>
                <a:off x="1721189" y="614823"/>
                <a:ext cx="130131" cy="119813"/>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74" name="Freeform 26"/>
              <p:cNvSpPr>
                <a:spLocks noEditPoints="1"/>
              </p:cNvSpPr>
              <p:nvPr/>
            </p:nvSpPr>
            <p:spPr bwMode="invGray">
              <a:xfrm>
                <a:off x="1863729" y="614823"/>
                <a:ext cx="111684" cy="160759"/>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75" name="Freeform 27"/>
              <p:cNvSpPr>
                <a:spLocks/>
              </p:cNvSpPr>
              <p:nvPr/>
            </p:nvSpPr>
            <p:spPr bwMode="invGray">
              <a:xfrm>
                <a:off x="1996878" y="617173"/>
                <a:ext cx="47625" cy="116458"/>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76" name="Freeform 28"/>
              <p:cNvSpPr>
                <a:spLocks noEditPoints="1"/>
              </p:cNvSpPr>
              <p:nvPr/>
            </p:nvSpPr>
            <p:spPr bwMode="invGray">
              <a:xfrm>
                <a:off x="2053224" y="617173"/>
                <a:ext cx="125771" cy="117464"/>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77" name="Freeform 29"/>
              <p:cNvSpPr>
                <a:spLocks/>
              </p:cNvSpPr>
              <p:nvPr/>
            </p:nvSpPr>
            <p:spPr bwMode="invGray">
              <a:xfrm>
                <a:off x="2184697" y="617173"/>
                <a:ext cx="111684" cy="117464"/>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78" name="Freeform 30"/>
              <p:cNvSpPr>
                <a:spLocks noEditPoints="1"/>
              </p:cNvSpPr>
              <p:nvPr/>
            </p:nvSpPr>
            <p:spPr bwMode="invGray">
              <a:xfrm>
                <a:off x="2301077" y="560118"/>
                <a:ext cx="166353" cy="174518"/>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9" name="Rectangle 8"/>
            <p:cNvSpPr/>
            <p:nvPr/>
          </p:nvSpPr>
          <p:spPr>
            <a:xfrm>
              <a:off x="-60806" y="4216164"/>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pic>
          <p:nvPicPr>
            <p:cNvPr id="10" name="Picture 2"/>
            <p:cNvPicPr>
              <a:picLocks noChangeAspect="1" noChangeArrowheads="1"/>
            </p:cNvPicPr>
            <p:nvPr/>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27827" y="4649563"/>
              <a:ext cx="907281" cy="414337"/>
            </a:xfrm>
            <a:prstGeom prst="rect">
              <a:avLst/>
            </a:prstGeom>
            <a:noFill/>
            <a:ln w="9525">
              <a:noFill/>
              <a:miter lim="800000"/>
              <a:headEnd/>
              <a:tailEnd/>
            </a:ln>
            <a:effectLst/>
          </p:spPr>
        </p:pic>
        <p:sp>
          <p:nvSpPr>
            <p:cNvPr id="11" name="Rectangle 10"/>
            <p:cNvSpPr/>
            <p:nvPr/>
          </p:nvSpPr>
          <p:spPr>
            <a:xfrm>
              <a:off x="-60806"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12" name="Group 11"/>
            <p:cNvGrpSpPr/>
            <p:nvPr/>
          </p:nvGrpSpPr>
          <p:grpSpPr>
            <a:xfrm>
              <a:off x="239269" y="639949"/>
              <a:ext cx="684397" cy="171182"/>
              <a:chOff x="2321681" y="5571144"/>
              <a:chExt cx="701013" cy="175680"/>
            </a:xfrm>
            <a:solidFill>
              <a:srgbClr val="FFFFFF"/>
            </a:solidFill>
            <a:effectLst/>
          </p:grpSpPr>
          <p:sp>
            <p:nvSpPr>
              <p:cNvPr id="263" name="Freeform 23"/>
              <p:cNvSpPr>
                <a:spLocks/>
              </p:cNvSpPr>
              <p:nvPr/>
            </p:nvSpPr>
            <p:spPr bwMode="invGray">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64" name="Freeform 24"/>
              <p:cNvSpPr>
                <a:spLocks/>
              </p:cNvSpPr>
              <p:nvPr/>
            </p:nvSpPr>
            <p:spPr bwMode="invGray">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65" name="Freeform 25"/>
              <p:cNvSpPr>
                <a:spLocks noEditPoints="1"/>
              </p:cNvSpPr>
              <p:nvPr/>
            </p:nvSpPr>
            <p:spPr bwMode="invGray">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66" name="Freeform 26"/>
              <p:cNvSpPr>
                <a:spLocks/>
              </p:cNvSpPr>
              <p:nvPr/>
            </p:nvSpPr>
            <p:spPr bwMode="invGray">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67" name="Freeform 27"/>
              <p:cNvSpPr>
                <a:spLocks noEditPoints="1"/>
              </p:cNvSpPr>
              <p:nvPr/>
            </p:nvSpPr>
            <p:spPr bwMode="invGray">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68" name="Freeform 28"/>
              <p:cNvSpPr>
                <a:spLocks noEditPoints="1"/>
              </p:cNvSpPr>
              <p:nvPr/>
            </p:nvSpPr>
            <p:spPr bwMode="invGray">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69" name="Freeform 29"/>
              <p:cNvSpPr>
                <a:spLocks/>
              </p:cNvSpPr>
              <p:nvPr/>
            </p:nvSpPr>
            <p:spPr bwMode="invGray">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13" name="Rectangle 12"/>
            <p:cNvSpPr/>
            <p:nvPr/>
          </p:nvSpPr>
          <p:spPr>
            <a:xfrm>
              <a:off x="8188846"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14" name="Group 13"/>
            <p:cNvGrpSpPr/>
            <p:nvPr/>
          </p:nvGrpSpPr>
          <p:grpSpPr>
            <a:xfrm>
              <a:off x="8336721" y="2006581"/>
              <a:ext cx="988793" cy="140356"/>
              <a:chOff x="3403273" y="5616873"/>
              <a:chExt cx="1088404" cy="154797"/>
            </a:xfrm>
            <a:solidFill>
              <a:srgbClr val="FFFFFF"/>
            </a:solidFill>
            <a:effectLst/>
          </p:grpSpPr>
          <p:sp>
            <p:nvSpPr>
              <p:cNvPr id="252" name="Freeform 36"/>
              <p:cNvSpPr>
                <a:spLocks/>
              </p:cNvSpPr>
              <p:nvPr/>
            </p:nvSpPr>
            <p:spPr bwMode="invGray">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53" name="Freeform 37"/>
              <p:cNvSpPr>
                <a:spLocks noEditPoints="1"/>
              </p:cNvSpPr>
              <p:nvPr/>
            </p:nvSpPr>
            <p:spPr bwMode="invGray">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54" name="Freeform 38"/>
              <p:cNvSpPr>
                <a:spLocks/>
              </p:cNvSpPr>
              <p:nvPr/>
            </p:nvSpPr>
            <p:spPr bwMode="invGray">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55" name="Freeform 39"/>
              <p:cNvSpPr>
                <a:spLocks noEditPoints="1"/>
              </p:cNvSpPr>
              <p:nvPr/>
            </p:nvSpPr>
            <p:spPr bwMode="invGray">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56" name="Freeform 40"/>
              <p:cNvSpPr>
                <a:spLocks/>
              </p:cNvSpPr>
              <p:nvPr/>
            </p:nvSpPr>
            <p:spPr bwMode="invGray">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57" name="Freeform 41"/>
              <p:cNvSpPr>
                <a:spLocks noEditPoints="1"/>
              </p:cNvSpPr>
              <p:nvPr/>
            </p:nvSpPr>
            <p:spPr bwMode="invGray">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58" name="Freeform 42"/>
              <p:cNvSpPr>
                <a:spLocks/>
              </p:cNvSpPr>
              <p:nvPr/>
            </p:nvSpPr>
            <p:spPr bwMode="invGray">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59" name="Freeform 43"/>
              <p:cNvSpPr>
                <a:spLocks noEditPoints="1"/>
              </p:cNvSpPr>
              <p:nvPr/>
            </p:nvSpPr>
            <p:spPr bwMode="invGray">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60" name="Freeform 44"/>
              <p:cNvSpPr>
                <a:spLocks/>
              </p:cNvSpPr>
              <p:nvPr/>
            </p:nvSpPr>
            <p:spPr bwMode="invGray">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61" name="Freeform 45"/>
              <p:cNvSpPr>
                <a:spLocks noEditPoints="1"/>
              </p:cNvSpPr>
              <p:nvPr/>
            </p:nvSpPr>
            <p:spPr bwMode="invGray">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62" name="Freeform 46"/>
              <p:cNvSpPr>
                <a:spLocks/>
              </p:cNvSpPr>
              <p:nvPr/>
            </p:nvSpPr>
            <p:spPr bwMode="invGray">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15" name="Rectangle 14"/>
            <p:cNvSpPr/>
            <p:nvPr/>
          </p:nvSpPr>
          <p:spPr>
            <a:xfrm>
              <a:off x="2689079" y="2839103"/>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16" name="Group 15"/>
            <p:cNvGrpSpPr/>
            <p:nvPr/>
          </p:nvGrpSpPr>
          <p:grpSpPr>
            <a:xfrm>
              <a:off x="2954323" y="3294341"/>
              <a:ext cx="754059" cy="162989"/>
              <a:chOff x="2861106" y="3252744"/>
              <a:chExt cx="762252" cy="165192"/>
            </a:xfrm>
          </p:grpSpPr>
          <p:sp>
            <p:nvSpPr>
              <p:cNvPr id="247" name="Freeform 19"/>
              <p:cNvSpPr>
                <a:spLocks noEditPoints="1"/>
              </p:cNvSpPr>
              <p:nvPr/>
            </p:nvSpPr>
            <p:spPr bwMode="invGray">
              <a:xfrm>
                <a:off x="2861106" y="3254621"/>
                <a:ext cx="145385" cy="156746"/>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48" name="Freeform 20"/>
              <p:cNvSpPr>
                <a:spLocks/>
              </p:cNvSpPr>
              <p:nvPr/>
            </p:nvSpPr>
            <p:spPr bwMode="invGray">
              <a:xfrm>
                <a:off x="3047448" y="3260566"/>
                <a:ext cx="83791" cy="150175"/>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49" name="Freeform 21"/>
              <p:cNvSpPr>
                <a:spLocks noEditPoints="1"/>
              </p:cNvSpPr>
              <p:nvPr/>
            </p:nvSpPr>
            <p:spPr bwMode="invGray">
              <a:xfrm>
                <a:off x="3180639" y="3255247"/>
                <a:ext cx="149449" cy="150175"/>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50" name="Freeform 22"/>
              <p:cNvSpPr>
                <a:spLocks/>
              </p:cNvSpPr>
              <p:nvPr/>
            </p:nvSpPr>
            <p:spPr bwMode="invGray">
              <a:xfrm>
                <a:off x="3365731" y="3256811"/>
                <a:ext cx="103176" cy="150801"/>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51" name="Freeform 23"/>
              <p:cNvSpPr>
                <a:spLocks noEditPoints="1"/>
              </p:cNvSpPr>
              <p:nvPr/>
            </p:nvSpPr>
            <p:spPr bwMode="invGray">
              <a:xfrm>
                <a:off x="3538941" y="3252744"/>
                <a:ext cx="84417" cy="165192"/>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grpSp>
          <p:nvGrpSpPr>
            <p:cNvPr id="17" name="Group 16"/>
            <p:cNvGrpSpPr/>
            <p:nvPr/>
          </p:nvGrpSpPr>
          <p:grpSpPr>
            <a:xfrm>
              <a:off x="2937467" y="3611545"/>
              <a:ext cx="787771" cy="170707"/>
              <a:chOff x="3681825" y="3245548"/>
              <a:chExt cx="796331" cy="173014"/>
            </a:xfrm>
          </p:grpSpPr>
          <p:sp>
            <p:nvSpPr>
              <p:cNvPr id="242" name="Freeform 24"/>
              <p:cNvSpPr>
                <a:spLocks noEditPoints="1"/>
              </p:cNvSpPr>
              <p:nvPr/>
            </p:nvSpPr>
            <p:spPr bwMode="invGray">
              <a:xfrm>
                <a:off x="3681825" y="3249615"/>
                <a:ext cx="146323" cy="150175"/>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43" name="Freeform 25"/>
              <p:cNvSpPr>
                <a:spLocks noEditPoints="1"/>
              </p:cNvSpPr>
              <p:nvPr/>
            </p:nvSpPr>
            <p:spPr bwMode="invGray">
              <a:xfrm>
                <a:off x="3847532" y="3245548"/>
                <a:ext cx="141632" cy="164567"/>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44" name="Freeform 26"/>
              <p:cNvSpPr>
                <a:spLocks noEditPoints="1"/>
              </p:cNvSpPr>
              <p:nvPr/>
            </p:nvSpPr>
            <p:spPr bwMode="invGray">
              <a:xfrm>
                <a:off x="3987914" y="3276209"/>
                <a:ext cx="157578" cy="12170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45" name="Freeform 27"/>
              <p:cNvSpPr>
                <a:spLocks noEditPoints="1"/>
              </p:cNvSpPr>
              <p:nvPr/>
            </p:nvSpPr>
            <p:spPr bwMode="invGray">
              <a:xfrm>
                <a:off x="4155496" y="3257437"/>
                <a:ext cx="137568" cy="150801"/>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46" name="Freeform 28"/>
              <p:cNvSpPr>
                <a:spLocks noEditPoints="1"/>
              </p:cNvSpPr>
              <p:nvPr/>
            </p:nvSpPr>
            <p:spPr bwMode="invGray">
              <a:xfrm>
                <a:off x="4306821" y="3253370"/>
                <a:ext cx="171335" cy="165192"/>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18" name="Rectangle 17"/>
            <p:cNvSpPr/>
            <p:nvPr/>
          </p:nvSpPr>
          <p:spPr>
            <a:xfrm>
              <a:off x="5438963" y="5593229"/>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19" name="Group 18"/>
            <p:cNvGrpSpPr/>
            <p:nvPr/>
          </p:nvGrpSpPr>
          <p:grpSpPr>
            <a:xfrm>
              <a:off x="5676032" y="6124010"/>
              <a:ext cx="810410" cy="219571"/>
              <a:chOff x="7458381" y="5575585"/>
              <a:chExt cx="830083" cy="225342"/>
            </a:xfrm>
            <a:solidFill>
              <a:srgbClr val="FFFFFF"/>
            </a:solidFill>
            <a:effectLst/>
          </p:grpSpPr>
          <p:sp>
            <p:nvSpPr>
              <p:cNvPr id="234" name="Freeform 21"/>
              <p:cNvSpPr>
                <a:spLocks noEditPoints="1"/>
              </p:cNvSpPr>
              <p:nvPr/>
            </p:nvSpPr>
            <p:spPr bwMode="invGray">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35" name="Freeform 22"/>
              <p:cNvSpPr>
                <a:spLocks/>
              </p:cNvSpPr>
              <p:nvPr/>
            </p:nvSpPr>
            <p:spPr bwMode="invGray">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36" name="Freeform 23"/>
              <p:cNvSpPr>
                <a:spLocks noEditPoints="1"/>
              </p:cNvSpPr>
              <p:nvPr/>
            </p:nvSpPr>
            <p:spPr bwMode="invGray">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37" name="Freeform 24"/>
              <p:cNvSpPr>
                <a:spLocks noEditPoints="1"/>
              </p:cNvSpPr>
              <p:nvPr/>
            </p:nvSpPr>
            <p:spPr bwMode="invGray">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38" name="Freeform 25"/>
              <p:cNvSpPr>
                <a:spLocks/>
              </p:cNvSpPr>
              <p:nvPr/>
            </p:nvSpPr>
            <p:spPr bwMode="invGray">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39" name="Freeform 26"/>
              <p:cNvSpPr>
                <a:spLocks/>
              </p:cNvSpPr>
              <p:nvPr/>
            </p:nvSpPr>
            <p:spPr bwMode="invGray">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40" name="Freeform 27"/>
              <p:cNvSpPr>
                <a:spLocks noEditPoints="1"/>
              </p:cNvSpPr>
              <p:nvPr/>
            </p:nvSpPr>
            <p:spPr bwMode="invGray">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41" name="Freeform 28"/>
              <p:cNvSpPr>
                <a:spLocks noEditPoints="1"/>
              </p:cNvSpPr>
              <p:nvPr/>
            </p:nvSpPr>
            <p:spPr bwMode="invGray">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20" name="Rectangle 19"/>
            <p:cNvSpPr/>
            <p:nvPr/>
          </p:nvSpPr>
          <p:spPr>
            <a:xfrm>
              <a:off x="2689079" y="4216164"/>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21" name="Group 20"/>
            <p:cNvGrpSpPr/>
            <p:nvPr/>
          </p:nvGrpSpPr>
          <p:grpSpPr>
            <a:xfrm>
              <a:off x="2954320" y="4783766"/>
              <a:ext cx="747789" cy="192947"/>
              <a:chOff x="4872260" y="5575584"/>
              <a:chExt cx="765942" cy="198016"/>
            </a:xfrm>
            <a:solidFill>
              <a:srgbClr val="FFFFFF"/>
            </a:solidFill>
            <a:effectLst/>
          </p:grpSpPr>
          <p:sp>
            <p:nvSpPr>
              <p:cNvPr id="229" name="Freeform 30"/>
              <p:cNvSpPr>
                <a:spLocks noEditPoints="1"/>
              </p:cNvSpPr>
              <p:nvPr/>
            </p:nvSpPr>
            <p:spPr bwMode="invGray">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30" name="Freeform 31"/>
              <p:cNvSpPr>
                <a:spLocks noEditPoints="1"/>
              </p:cNvSpPr>
              <p:nvPr/>
            </p:nvSpPr>
            <p:spPr bwMode="invGray">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31" name="Freeform 32"/>
              <p:cNvSpPr>
                <a:spLocks/>
              </p:cNvSpPr>
              <p:nvPr/>
            </p:nvSpPr>
            <p:spPr bwMode="invGray">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32" name="Freeform 33"/>
              <p:cNvSpPr>
                <a:spLocks/>
              </p:cNvSpPr>
              <p:nvPr/>
            </p:nvSpPr>
            <p:spPr bwMode="invGray">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33" name="Freeform 34"/>
              <p:cNvSpPr>
                <a:spLocks noEditPoints="1"/>
              </p:cNvSpPr>
              <p:nvPr/>
            </p:nvSpPr>
            <p:spPr bwMode="invGray">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22" name="Rectangle 21"/>
            <p:cNvSpPr/>
            <p:nvPr/>
          </p:nvSpPr>
          <p:spPr>
            <a:xfrm>
              <a:off x="9563785"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23" name="Group 22"/>
            <p:cNvGrpSpPr/>
            <p:nvPr/>
          </p:nvGrpSpPr>
          <p:grpSpPr>
            <a:xfrm>
              <a:off x="9689103" y="2013268"/>
              <a:ext cx="1033914" cy="160559"/>
              <a:chOff x="6018781" y="5575586"/>
              <a:chExt cx="1059017" cy="164779"/>
            </a:xfrm>
            <a:solidFill>
              <a:srgbClr val="FFFFFF"/>
            </a:solidFill>
            <a:effectLst/>
          </p:grpSpPr>
          <p:sp>
            <p:nvSpPr>
              <p:cNvPr id="221" name="Freeform 17"/>
              <p:cNvSpPr>
                <a:spLocks noEditPoints="1"/>
              </p:cNvSpPr>
              <p:nvPr/>
            </p:nvSpPr>
            <p:spPr bwMode="invGray">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22" name="Freeform 18"/>
              <p:cNvSpPr>
                <a:spLocks noEditPoints="1"/>
              </p:cNvSpPr>
              <p:nvPr/>
            </p:nvSpPr>
            <p:spPr bwMode="invGray">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23" name="Freeform 19"/>
              <p:cNvSpPr>
                <a:spLocks/>
              </p:cNvSpPr>
              <p:nvPr/>
            </p:nvSpPr>
            <p:spPr bwMode="invGray">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24" name="Freeform 20"/>
              <p:cNvSpPr>
                <a:spLocks/>
              </p:cNvSpPr>
              <p:nvPr/>
            </p:nvSpPr>
            <p:spPr bwMode="invGray">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25" name="Freeform 21"/>
              <p:cNvSpPr>
                <a:spLocks/>
              </p:cNvSpPr>
              <p:nvPr/>
            </p:nvSpPr>
            <p:spPr bwMode="invGray">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26" name="Freeform 22"/>
              <p:cNvSpPr>
                <a:spLocks/>
              </p:cNvSpPr>
              <p:nvPr/>
            </p:nvSpPr>
            <p:spPr bwMode="invGray">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27" name="Freeform 23"/>
              <p:cNvSpPr>
                <a:spLocks noEditPoints="1"/>
              </p:cNvSpPr>
              <p:nvPr/>
            </p:nvSpPr>
            <p:spPr bwMode="invGray">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28" name="Rectangle 24"/>
              <p:cNvSpPr>
                <a:spLocks noChangeArrowheads="1"/>
              </p:cNvSpPr>
              <p:nvPr/>
            </p:nvSpPr>
            <p:spPr bwMode="invGray">
              <a:xfrm>
                <a:off x="7052744" y="5575586"/>
                <a:ext cx="25054" cy="161888"/>
              </a:xfrm>
              <a:prstGeom prst="rect">
                <a:avLst/>
              </a:pr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24" name="Rectangle 23"/>
            <p:cNvSpPr/>
            <p:nvPr/>
          </p:nvSpPr>
          <p:spPr>
            <a:xfrm>
              <a:off x="6813902"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25" name="Group 24"/>
            <p:cNvGrpSpPr/>
            <p:nvPr/>
          </p:nvGrpSpPr>
          <p:grpSpPr>
            <a:xfrm>
              <a:off x="7010219" y="618132"/>
              <a:ext cx="891915" cy="214814"/>
              <a:chOff x="9053746" y="4958394"/>
              <a:chExt cx="913569" cy="220459"/>
            </a:xfrm>
            <a:solidFill>
              <a:srgbClr val="FFFFFF"/>
            </a:solidFill>
            <a:effectLst/>
          </p:grpSpPr>
          <p:sp>
            <p:nvSpPr>
              <p:cNvPr id="213" name="Freeform 25"/>
              <p:cNvSpPr>
                <a:spLocks noEditPoints="1"/>
              </p:cNvSpPr>
              <p:nvPr/>
            </p:nvSpPr>
            <p:spPr bwMode="invGray">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14" name="Freeform 26"/>
              <p:cNvSpPr>
                <a:spLocks noEditPoints="1"/>
              </p:cNvSpPr>
              <p:nvPr/>
            </p:nvSpPr>
            <p:spPr bwMode="invGray">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15" name="Freeform 27"/>
              <p:cNvSpPr>
                <a:spLocks/>
              </p:cNvSpPr>
              <p:nvPr/>
            </p:nvSpPr>
            <p:spPr bwMode="invGray">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16" name="Freeform 28"/>
              <p:cNvSpPr>
                <a:spLocks noEditPoints="1"/>
              </p:cNvSpPr>
              <p:nvPr/>
            </p:nvSpPr>
            <p:spPr bwMode="invGray">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17" name="Freeform 29"/>
              <p:cNvSpPr>
                <a:spLocks noEditPoints="1"/>
              </p:cNvSpPr>
              <p:nvPr/>
            </p:nvSpPr>
            <p:spPr bwMode="invGray">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18" name="Freeform 30"/>
              <p:cNvSpPr>
                <a:spLocks noEditPoints="1"/>
              </p:cNvSpPr>
              <p:nvPr/>
            </p:nvSpPr>
            <p:spPr bwMode="invGray">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19" name="Freeform 31"/>
              <p:cNvSpPr>
                <a:spLocks noEditPoints="1"/>
              </p:cNvSpPr>
              <p:nvPr/>
            </p:nvSpPr>
            <p:spPr bwMode="invGray">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20" name="Freeform 32"/>
              <p:cNvSpPr>
                <a:spLocks noEditPoints="1"/>
              </p:cNvSpPr>
              <p:nvPr/>
            </p:nvSpPr>
            <p:spPr bwMode="invGray">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26" name="Rectangle 25"/>
            <p:cNvSpPr/>
            <p:nvPr/>
          </p:nvSpPr>
          <p:spPr>
            <a:xfrm>
              <a:off x="5438963" y="4216164"/>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27" name="Group 26"/>
            <p:cNvGrpSpPr/>
            <p:nvPr/>
          </p:nvGrpSpPr>
          <p:grpSpPr>
            <a:xfrm>
              <a:off x="5661319" y="4763765"/>
              <a:ext cx="845791" cy="176576"/>
              <a:chOff x="5513886" y="4978012"/>
              <a:chExt cx="866327" cy="181218"/>
            </a:xfrm>
            <a:solidFill>
              <a:srgbClr val="FFFFFF"/>
            </a:solidFill>
            <a:effectLst/>
          </p:grpSpPr>
          <p:sp>
            <p:nvSpPr>
              <p:cNvPr id="206" name="Freeform 29"/>
              <p:cNvSpPr>
                <a:spLocks/>
              </p:cNvSpPr>
              <p:nvPr/>
            </p:nvSpPr>
            <p:spPr bwMode="invGray">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07" name="Freeform 30"/>
              <p:cNvSpPr>
                <a:spLocks/>
              </p:cNvSpPr>
              <p:nvPr/>
            </p:nvSpPr>
            <p:spPr bwMode="invGray">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08" name="Freeform 31"/>
              <p:cNvSpPr>
                <a:spLocks noEditPoints="1"/>
              </p:cNvSpPr>
              <p:nvPr/>
            </p:nvSpPr>
            <p:spPr bwMode="invGray">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09" name="Freeform 32"/>
              <p:cNvSpPr>
                <a:spLocks/>
              </p:cNvSpPr>
              <p:nvPr/>
            </p:nvSpPr>
            <p:spPr bwMode="invGray">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10" name="Freeform 209"/>
              <p:cNvSpPr>
                <a:spLocks/>
              </p:cNvSpPr>
              <p:nvPr/>
            </p:nvSpPr>
            <p:spPr bwMode="invGray">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11" name="Freeform 210"/>
              <p:cNvSpPr>
                <a:spLocks noEditPoints="1"/>
              </p:cNvSpPr>
              <p:nvPr/>
            </p:nvSpPr>
            <p:spPr bwMode="invGray">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12" name="Freeform 211"/>
              <p:cNvSpPr>
                <a:spLocks noEditPoints="1"/>
              </p:cNvSpPr>
              <p:nvPr/>
            </p:nvSpPr>
            <p:spPr bwMode="invGray">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28" name="Rectangle 27"/>
            <p:cNvSpPr/>
            <p:nvPr/>
          </p:nvSpPr>
          <p:spPr>
            <a:xfrm>
              <a:off x="2689079"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29" name="Group 28"/>
            <p:cNvGrpSpPr/>
            <p:nvPr/>
          </p:nvGrpSpPr>
          <p:grpSpPr>
            <a:xfrm>
              <a:off x="3049190" y="637213"/>
              <a:ext cx="564327" cy="160566"/>
              <a:chOff x="4664767" y="4986232"/>
              <a:chExt cx="578026" cy="164783"/>
            </a:xfrm>
            <a:solidFill>
              <a:srgbClr val="FFFFFF"/>
            </a:solidFill>
            <a:effectLst/>
          </p:grpSpPr>
          <p:sp>
            <p:nvSpPr>
              <p:cNvPr id="201" name="Freeform 22"/>
              <p:cNvSpPr>
                <a:spLocks noEditPoints="1"/>
              </p:cNvSpPr>
              <p:nvPr/>
            </p:nvSpPr>
            <p:spPr bwMode="invGray">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02" name="Freeform 23"/>
              <p:cNvSpPr>
                <a:spLocks noEditPoints="1"/>
              </p:cNvSpPr>
              <p:nvPr/>
            </p:nvSpPr>
            <p:spPr bwMode="invGray">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03" name="Freeform 24"/>
              <p:cNvSpPr>
                <a:spLocks/>
              </p:cNvSpPr>
              <p:nvPr/>
            </p:nvSpPr>
            <p:spPr bwMode="invGray">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04" name="Freeform 25"/>
              <p:cNvSpPr>
                <a:spLocks/>
              </p:cNvSpPr>
              <p:nvPr/>
            </p:nvSpPr>
            <p:spPr bwMode="invGray">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05" name="Freeform 26"/>
              <p:cNvSpPr>
                <a:spLocks noEditPoints="1"/>
              </p:cNvSpPr>
              <p:nvPr/>
            </p:nvSpPr>
            <p:spPr bwMode="invGray">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30" name="Rectangle 29"/>
            <p:cNvSpPr/>
            <p:nvPr/>
          </p:nvSpPr>
          <p:spPr>
            <a:xfrm>
              <a:off x="2689079" y="5593229"/>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31" name="Group 30"/>
            <p:cNvGrpSpPr/>
            <p:nvPr/>
          </p:nvGrpSpPr>
          <p:grpSpPr>
            <a:xfrm>
              <a:off x="2843324" y="6137898"/>
              <a:ext cx="976048" cy="191797"/>
              <a:chOff x="1502088" y="4970205"/>
              <a:chExt cx="999744" cy="196837"/>
            </a:xfrm>
            <a:solidFill>
              <a:srgbClr val="FFFFFF"/>
            </a:solidFill>
            <a:effectLst/>
          </p:grpSpPr>
          <p:sp>
            <p:nvSpPr>
              <p:cNvPr id="196" name="Freeform 19"/>
              <p:cNvSpPr>
                <a:spLocks noEditPoints="1"/>
              </p:cNvSpPr>
              <p:nvPr/>
            </p:nvSpPr>
            <p:spPr bwMode="invGray">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97" name="Freeform 20"/>
              <p:cNvSpPr>
                <a:spLocks noEditPoints="1"/>
              </p:cNvSpPr>
              <p:nvPr/>
            </p:nvSpPr>
            <p:spPr bwMode="invGray">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98" name="Freeform 21"/>
              <p:cNvSpPr>
                <a:spLocks noEditPoints="1"/>
              </p:cNvSpPr>
              <p:nvPr/>
            </p:nvSpPr>
            <p:spPr bwMode="invGray">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99" name="Freeform 22"/>
              <p:cNvSpPr>
                <a:spLocks/>
              </p:cNvSpPr>
              <p:nvPr/>
            </p:nvSpPr>
            <p:spPr bwMode="invGray">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00" name="Freeform 23"/>
              <p:cNvSpPr>
                <a:spLocks/>
              </p:cNvSpPr>
              <p:nvPr/>
            </p:nvSpPr>
            <p:spPr bwMode="invGray">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32" name="Rectangle 31"/>
            <p:cNvSpPr/>
            <p:nvPr/>
          </p:nvSpPr>
          <p:spPr>
            <a:xfrm>
              <a:off x="6813902"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33" name="Group 32"/>
            <p:cNvGrpSpPr/>
            <p:nvPr/>
          </p:nvGrpSpPr>
          <p:grpSpPr>
            <a:xfrm>
              <a:off x="7084921" y="1954785"/>
              <a:ext cx="742508" cy="295635"/>
              <a:chOff x="6651306" y="4916921"/>
              <a:chExt cx="760536" cy="303406"/>
            </a:xfrm>
            <a:solidFill>
              <a:srgbClr val="FFFFFF"/>
            </a:solidFill>
            <a:effectLst/>
          </p:grpSpPr>
          <p:sp>
            <p:nvSpPr>
              <p:cNvPr id="191" name="Freeform 18"/>
              <p:cNvSpPr>
                <a:spLocks/>
              </p:cNvSpPr>
              <p:nvPr/>
            </p:nvSpPr>
            <p:spPr bwMode="invGray">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92" name="Freeform 19"/>
              <p:cNvSpPr>
                <a:spLocks/>
              </p:cNvSpPr>
              <p:nvPr/>
            </p:nvSpPr>
            <p:spPr bwMode="invGray">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93" name="Freeform 20"/>
              <p:cNvSpPr>
                <a:spLocks/>
              </p:cNvSpPr>
              <p:nvPr/>
            </p:nvSpPr>
            <p:spPr bwMode="invGray">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94" name="Freeform 21"/>
              <p:cNvSpPr>
                <a:spLocks/>
              </p:cNvSpPr>
              <p:nvPr/>
            </p:nvSpPr>
            <p:spPr bwMode="invGray">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95" name="Freeform 22"/>
              <p:cNvSpPr>
                <a:spLocks/>
              </p:cNvSpPr>
              <p:nvPr/>
            </p:nvSpPr>
            <p:spPr bwMode="invGray">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34" name="Rectangle 33"/>
            <p:cNvSpPr/>
            <p:nvPr/>
          </p:nvSpPr>
          <p:spPr>
            <a:xfrm>
              <a:off x="5438963" y="2839103"/>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35" name="Group 34"/>
            <p:cNvGrpSpPr/>
            <p:nvPr/>
          </p:nvGrpSpPr>
          <p:grpSpPr>
            <a:xfrm>
              <a:off x="5605324" y="3383635"/>
              <a:ext cx="951827" cy="192063"/>
              <a:chOff x="3393928" y="4967561"/>
              <a:chExt cx="999744" cy="202126"/>
            </a:xfrm>
            <a:solidFill>
              <a:srgbClr val="FFFFFF"/>
            </a:solidFill>
            <a:effectLst/>
          </p:grpSpPr>
          <p:sp>
            <p:nvSpPr>
              <p:cNvPr id="182" name="Freeform 27"/>
              <p:cNvSpPr>
                <a:spLocks/>
              </p:cNvSpPr>
              <p:nvPr/>
            </p:nvSpPr>
            <p:spPr bwMode="invGray">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83" name="Freeform 28"/>
              <p:cNvSpPr>
                <a:spLocks/>
              </p:cNvSpPr>
              <p:nvPr/>
            </p:nvSpPr>
            <p:spPr bwMode="invGray">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84" name="Rectangle 29"/>
              <p:cNvSpPr>
                <a:spLocks noChangeArrowheads="1"/>
              </p:cNvSpPr>
              <p:nvPr/>
            </p:nvSpPr>
            <p:spPr bwMode="invGray">
              <a:xfrm>
                <a:off x="3703957" y="4967561"/>
                <a:ext cx="23633" cy="156414"/>
              </a:xfrm>
              <a:prstGeom prst="rect">
                <a:avLst/>
              </a:pr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85" name="Freeform 30"/>
              <p:cNvSpPr>
                <a:spLocks/>
              </p:cNvSpPr>
              <p:nvPr/>
            </p:nvSpPr>
            <p:spPr bwMode="invGray">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86" name="Freeform 31"/>
              <p:cNvSpPr>
                <a:spLocks/>
              </p:cNvSpPr>
              <p:nvPr/>
            </p:nvSpPr>
            <p:spPr bwMode="invGray">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87" name="Freeform 32"/>
              <p:cNvSpPr>
                <a:spLocks/>
              </p:cNvSpPr>
              <p:nvPr/>
            </p:nvSpPr>
            <p:spPr bwMode="invGray">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88" name="Freeform 33"/>
              <p:cNvSpPr>
                <a:spLocks noEditPoints="1"/>
              </p:cNvSpPr>
              <p:nvPr/>
            </p:nvSpPr>
            <p:spPr bwMode="invGray">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89" name="Freeform 34"/>
              <p:cNvSpPr>
                <a:spLocks/>
              </p:cNvSpPr>
              <p:nvPr/>
            </p:nvSpPr>
            <p:spPr bwMode="invGray">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90" name="Freeform 35"/>
              <p:cNvSpPr>
                <a:spLocks/>
              </p:cNvSpPr>
              <p:nvPr/>
            </p:nvSpPr>
            <p:spPr bwMode="invGray">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36" name="Rectangle 35"/>
            <p:cNvSpPr/>
            <p:nvPr/>
          </p:nvSpPr>
          <p:spPr>
            <a:xfrm>
              <a:off x="5438963"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37" name="Group 36"/>
            <p:cNvGrpSpPr/>
            <p:nvPr/>
          </p:nvGrpSpPr>
          <p:grpSpPr>
            <a:xfrm>
              <a:off x="5806767" y="630952"/>
              <a:ext cx="548376" cy="181607"/>
              <a:chOff x="10238410" y="4967852"/>
              <a:chExt cx="561691" cy="186381"/>
            </a:xfrm>
            <a:solidFill>
              <a:srgbClr val="FFFFFF"/>
            </a:solidFill>
            <a:effectLst/>
          </p:grpSpPr>
          <p:sp>
            <p:nvSpPr>
              <p:cNvPr id="177" name="Freeform 34"/>
              <p:cNvSpPr>
                <a:spLocks/>
              </p:cNvSpPr>
              <p:nvPr/>
            </p:nvSpPr>
            <p:spPr bwMode="invGray">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78" name="Freeform 35"/>
              <p:cNvSpPr>
                <a:spLocks/>
              </p:cNvSpPr>
              <p:nvPr/>
            </p:nvSpPr>
            <p:spPr bwMode="invGray">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79" name="Freeform 36"/>
              <p:cNvSpPr>
                <a:spLocks noEditPoints="1"/>
              </p:cNvSpPr>
              <p:nvPr/>
            </p:nvSpPr>
            <p:spPr bwMode="invGray">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80" name="Rectangle 37"/>
              <p:cNvSpPr>
                <a:spLocks noChangeArrowheads="1"/>
              </p:cNvSpPr>
              <p:nvPr/>
            </p:nvSpPr>
            <p:spPr bwMode="invGray">
              <a:xfrm>
                <a:off x="10646846" y="4967852"/>
                <a:ext cx="27666" cy="183105"/>
              </a:xfrm>
              <a:prstGeom prst="rect">
                <a:avLst/>
              </a:pr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81" name="Freeform 38"/>
              <p:cNvSpPr>
                <a:spLocks noEditPoints="1"/>
              </p:cNvSpPr>
              <p:nvPr/>
            </p:nvSpPr>
            <p:spPr bwMode="invGray">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38" name="Rectangle 37"/>
            <p:cNvSpPr/>
            <p:nvPr/>
          </p:nvSpPr>
          <p:spPr>
            <a:xfrm>
              <a:off x="1314134" y="5593229"/>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39" name="Group 38"/>
            <p:cNvGrpSpPr/>
            <p:nvPr/>
          </p:nvGrpSpPr>
          <p:grpSpPr>
            <a:xfrm>
              <a:off x="1776292" y="6161674"/>
              <a:ext cx="341617" cy="184726"/>
              <a:chOff x="2772926" y="4973833"/>
              <a:chExt cx="349910" cy="189581"/>
            </a:xfrm>
            <a:solidFill>
              <a:srgbClr val="FFFFFF"/>
            </a:solidFill>
            <a:effectLst/>
          </p:grpSpPr>
          <p:sp>
            <p:nvSpPr>
              <p:cNvPr id="174" name="Freeform 21"/>
              <p:cNvSpPr>
                <a:spLocks/>
              </p:cNvSpPr>
              <p:nvPr/>
            </p:nvSpPr>
            <p:spPr bwMode="invGray">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75" name="Freeform 22"/>
              <p:cNvSpPr>
                <a:spLocks noEditPoints="1"/>
              </p:cNvSpPr>
              <p:nvPr/>
            </p:nvSpPr>
            <p:spPr bwMode="invGray">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76" name="Freeform 23"/>
              <p:cNvSpPr>
                <a:spLocks/>
              </p:cNvSpPr>
              <p:nvPr/>
            </p:nvSpPr>
            <p:spPr bwMode="invGray">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40" name="Rectangle 39"/>
            <p:cNvSpPr/>
            <p:nvPr/>
          </p:nvSpPr>
          <p:spPr>
            <a:xfrm>
              <a:off x="1314134"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41" name="Group 40"/>
            <p:cNvGrpSpPr/>
            <p:nvPr/>
          </p:nvGrpSpPr>
          <p:grpSpPr>
            <a:xfrm>
              <a:off x="1426111" y="2013268"/>
              <a:ext cx="1060588" cy="210024"/>
              <a:chOff x="5953627" y="6205329"/>
              <a:chExt cx="1086337" cy="215543"/>
            </a:xfrm>
            <a:solidFill>
              <a:srgbClr val="FFFFFF"/>
            </a:solidFill>
            <a:effectLst/>
          </p:grpSpPr>
          <p:sp>
            <p:nvSpPr>
              <p:cNvPr id="163" name="Freeform 24"/>
              <p:cNvSpPr>
                <a:spLocks/>
              </p:cNvSpPr>
              <p:nvPr/>
            </p:nvSpPr>
            <p:spPr bwMode="invGray">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64" name="Freeform 25"/>
              <p:cNvSpPr>
                <a:spLocks noEditPoints="1"/>
              </p:cNvSpPr>
              <p:nvPr/>
            </p:nvSpPr>
            <p:spPr bwMode="invGray">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65" name="Freeform 26"/>
              <p:cNvSpPr>
                <a:spLocks/>
              </p:cNvSpPr>
              <p:nvPr/>
            </p:nvSpPr>
            <p:spPr bwMode="invGray">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66" name="Freeform 27"/>
              <p:cNvSpPr>
                <a:spLocks noEditPoints="1"/>
              </p:cNvSpPr>
              <p:nvPr/>
            </p:nvSpPr>
            <p:spPr bwMode="invGray">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67" name="Freeform 28"/>
              <p:cNvSpPr>
                <a:spLocks/>
              </p:cNvSpPr>
              <p:nvPr/>
            </p:nvSpPr>
            <p:spPr bwMode="invGray">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68" name="Freeform 29"/>
              <p:cNvSpPr>
                <a:spLocks/>
              </p:cNvSpPr>
              <p:nvPr/>
            </p:nvSpPr>
            <p:spPr bwMode="invGray">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69" name="Freeform 30"/>
              <p:cNvSpPr>
                <a:spLocks noEditPoints="1"/>
              </p:cNvSpPr>
              <p:nvPr/>
            </p:nvSpPr>
            <p:spPr bwMode="invGray">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70" name="Freeform 31"/>
              <p:cNvSpPr>
                <a:spLocks/>
              </p:cNvSpPr>
              <p:nvPr/>
            </p:nvSpPr>
            <p:spPr bwMode="invGray">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71" name="Rectangle 32"/>
              <p:cNvSpPr>
                <a:spLocks noChangeArrowheads="1"/>
              </p:cNvSpPr>
              <p:nvPr/>
            </p:nvSpPr>
            <p:spPr bwMode="invGray">
              <a:xfrm>
                <a:off x="6805851" y="6205329"/>
                <a:ext cx="25534" cy="166797"/>
              </a:xfrm>
              <a:prstGeom prst="rect">
                <a:avLst/>
              </a:pr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72" name="Freeform 33"/>
              <p:cNvSpPr>
                <a:spLocks noEditPoints="1"/>
              </p:cNvSpPr>
              <p:nvPr/>
            </p:nvSpPr>
            <p:spPr bwMode="invGray">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73" name="Freeform 34"/>
              <p:cNvSpPr>
                <a:spLocks/>
              </p:cNvSpPr>
              <p:nvPr/>
            </p:nvSpPr>
            <p:spPr bwMode="invGray">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42" name="Rectangle 41"/>
            <p:cNvSpPr/>
            <p:nvPr/>
          </p:nvSpPr>
          <p:spPr>
            <a:xfrm>
              <a:off x="2689079"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43" name="Group 42"/>
            <p:cNvGrpSpPr/>
            <p:nvPr/>
          </p:nvGrpSpPr>
          <p:grpSpPr>
            <a:xfrm>
              <a:off x="2882682" y="1938687"/>
              <a:ext cx="897339" cy="327830"/>
              <a:chOff x="7376591" y="6134773"/>
              <a:chExt cx="919129" cy="336446"/>
            </a:xfrm>
            <a:solidFill>
              <a:srgbClr val="FFFFFF"/>
            </a:solidFill>
            <a:effectLst/>
          </p:grpSpPr>
          <p:sp>
            <p:nvSpPr>
              <p:cNvPr id="156" name="Freeform 24"/>
              <p:cNvSpPr>
                <a:spLocks/>
              </p:cNvSpPr>
              <p:nvPr/>
            </p:nvSpPr>
            <p:spPr bwMode="invGray">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57" name="Freeform 25"/>
              <p:cNvSpPr>
                <a:spLocks/>
              </p:cNvSpPr>
              <p:nvPr/>
            </p:nvSpPr>
            <p:spPr bwMode="invGray">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58" name="Freeform 26"/>
              <p:cNvSpPr>
                <a:spLocks/>
              </p:cNvSpPr>
              <p:nvPr/>
            </p:nvSpPr>
            <p:spPr bwMode="invGray">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59" name="Freeform 27"/>
              <p:cNvSpPr>
                <a:spLocks/>
              </p:cNvSpPr>
              <p:nvPr/>
            </p:nvSpPr>
            <p:spPr bwMode="invGray">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60" name="Freeform 28"/>
              <p:cNvSpPr>
                <a:spLocks/>
              </p:cNvSpPr>
              <p:nvPr/>
            </p:nvSpPr>
            <p:spPr bwMode="invGray">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61" name="Freeform 29"/>
              <p:cNvSpPr>
                <a:spLocks/>
              </p:cNvSpPr>
              <p:nvPr/>
            </p:nvSpPr>
            <p:spPr bwMode="invGray">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62" name="Freeform 30"/>
              <p:cNvSpPr>
                <a:spLocks noEditPoints="1"/>
              </p:cNvSpPr>
              <p:nvPr/>
            </p:nvSpPr>
            <p:spPr bwMode="invGray">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44" name="Rectangle 43"/>
            <p:cNvSpPr/>
            <p:nvPr/>
          </p:nvSpPr>
          <p:spPr>
            <a:xfrm>
              <a:off x="5438963"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45" name="Group 44"/>
            <p:cNvGrpSpPr/>
            <p:nvPr/>
          </p:nvGrpSpPr>
          <p:grpSpPr>
            <a:xfrm>
              <a:off x="5740618" y="2013268"/>
              <a:ext cx="697934" cy="182711"/>
              <a:chOff x="420233" y="6191684"/>
              <a:chExt cx="714879" cy="187513"/>
            </a:xfrm>
            <a:solidFill>
              <a:srgbClr val="FFFFFF"/>
            </a:solidFill>
            <a:effectLst/>
          </p:grpSpPr>
          <p:sp>
            <p:nvSpPr>
              <p:cNvPr id="144" name="Freeform 20"/>
              <p:cNvSpPr>
                <a:spLocks/>
              </p:cNvSpPr>
              <p:nvPr/>
            </p:nvSpPr>
            <p:spPr bwMode="invGray">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45" name="Freeform 21"/>
              <p:cNvSpPr>
                <a:spLocks/>
              </p:cNvSpPr>
              <p:nvPr/>
            </p:nvSpPr>
            <p:spPr bwMode="invGray">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46" name="Freeform 22"/>
              <p:cNvSpPr>
                <a:spLocks/>
              </p:cNvSpPr>
              <p:nvPr/>
            </p:nvSpPr>
            <p:spPr bwMode="invGray">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47" name="Freeform 25"/>
              <p:cNvSpPr>
                <a:spLocks/>
              </p:cNvSpPr>
              <p:nvPr/>
            </p:nvSpPr>
            <p:spPr bwMode="invGray">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48" name="Freeform 26"/>
              <p:cNvSpPr>
                <a:spLocks/>
              </p:cNvSpPr>
              <p:nvPr/>
            </p:nvSpPr>
            <p:spPr bwMode="invGray">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49" name="Freeform 36"/>
              <p:cNvSpPr>
                <a:spLocks/>
              </p:cNvSpPr>
              <p:nvPr/>
            </p:nvSpPr>
            <p:spPr bwMode="invGray">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50" name="Freeform 37"/>
              <p:cNvSpPr>
                <a:spLocks noEditPoints="1"/>
              </p:cNvSpPr>
              <p:nvPr/>
            </p:nvSpPr>
            <p:spPr bwMode="invGray">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51" name="Freeform 38"/>
              <p:cNvSpPr>
                <a:spLocks/>
              </p:cNvSpPr>
              <p:nvPr/>
            </p:nvSpPr>
            <p:spPr bwMode="invGray">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52" name="Freeform 39"/>
              <p:cNvSpPr>
                <a:spLocks/>
              </p:cNvSpPr>
              <p:nvPr/>
            </p:nvSpPr>
            <p:spPr bwMode="invGray">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53" name="Freeform 42"/>
              <p:cNvSpPr>
                <a:spLocks/>
              </p:cNvSpPr>
              <p:nvPr/>
            </p:nvSpPr>
            <p:spPr bwMode="invGray">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54" name="Freeform 43"/>
              <p:cNvSpPr>
                <a:spLocks noEditPoints="1"/>
              </p:cNvSpPr>
              <p:nvPr/>
            </p:nvSpPr>
            <p:spPr bwMode="invGray">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55" name="Freeform 44"/>
              <p:cNvSpPr>
                <a:spLocks/>
              </p:cNvSpPr>
              <p:nvPr/>
            </p:nvSpPr>
            <p:spPr bwMode="invGray">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46" name="Rectangle 45"/>
            <p:cNvSpPr/>
            <p:nvPr/>
          </p:nvSpPr>
          <p:spPr>
            <a:xfrm>
              <a:off x="4064021" y="2839103"/>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47" name="Group 46"/>
            <p:cNvGrpSpPr/>
            <p:nvPr/>
          </p:nvGrpSpPr>
          <p:grpSpPr>
            <a:xfrm>
              <a:off x="4170773" y="3326415"/>
              <a:ext cx="1071036" cy="306513"/>
              <a:chOff x="2649884" y="6146155"/>
              <a:chExt cx="1395225" cy="400069"/>
            </a:xfrm>
            <a:solidFill>
              <a:srgbClr val="FFFFFF"/>
            </a:solidFill>
            <a:effectLst/>
          </p:grpSpPr>
          <p:sp>
            <p:nvSpPr>
              <p:cNvPr id="133" name="Line 6"/>
              <p:cNvSpPr>
                <a:spLocks noChangeShapeType="1"/>
              </p:cNvSpPr>
              <p:nvPr/>
            </p:nvSpPr>
            <p:spPr bwMode="invGray">
              <a:xfrm>
                <a:off x="2649884" y="6545967"/>
                <a:ext cx="257" cy="257"/>
              </a:xfrm>
              <a:prstGeom prst="line">
                <a:avLst/>
              </a:pr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34" name="Freeform 7"/>
              <p:cNvSpPr>
                <a:spLocks noEditPoints="1"/>
              </p:cNvSpPr>
              <p:nvPr/>
            </p:nvSpPr>
            <p:spPr bwMode="invGray">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35" name="Freeform 8"/>
              <p:cNvSpPr>
                <a:spLocks noEditPoints="1"/>
              </p:cNvSpPr>
              <p:nvPr/>
            </p:nvSpPr>
            <p:spPr bwMode="invGray">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36" name="Freeform 9"/>
              <p:cNvSpPr>
                <a:spLocks noEditPoints="1"/>
              </p:cNvSpPr>
              <p:nvPr/>
            </p:nvSpPr>
            <p:spPr bwMode="invGray">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37" name="Freeform 10"/>
              <p:cNvSpPr>
                <a:spLocks noEditPoints="1"/>
              </p:cNvSpPr>
              <p:nvPr/>
            </p:nvSpPr>
            <p:spPr bwMode="invGray">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38" name="Freeform 11"/>
              <p:cNvSpPr>
                <a:spLocks noEditPoints="1"/>
              </p:cNvSpPr>
              <p:nvPr/>
            </p:nvSpPr>
            <p:spPr bwMode="invGray">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39" name="Freeform 12"/>
              <p:cNvSpPr>
                <a:spLocks noEditPoints="1"/>
              </p:cNvSpPr>
              <p:nvPr/>
            </p:nvSpPr>
            <p:spPr bwMode="invGray">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40" name="Freeform 13"/>
              <p:cNvSpPr>
                <a:spLocks noEditPoints="1"/>
              </p:cNvSpPr>
              <p:nvPr/>
            </p:nvSpPr>
            <p:spPr bwMode="invGray">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41" name="Freeform 14"/>
              <p:cNvSpPr>
                <a:spLocks noEditPoints="1"/>
              </p:cNvSpPr>
              <p:nvPr/>
            </p:nvSpPr>
            <p:spPr bwMode="invGray">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42" name="Freeform 15"/>
              <p:cNvSpPr>
                <a:spLocks noEditPoints="1"/>
              </p:cNvSpPr>
              <p:nvPr/>
            </p:nvSpPr>
            <p:spPr bwMode="invGray">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43" name="Freeform 16"/>
              <p:cNvSpPr>
                <a:spLocks noEditPoints="1"/>
              </p:cNvSpPr>
              <p:nvPr/>
            </p:nvSpPr>
            <p:spPr bwMode="invGray">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48" name="Rectangle 47"/>
            <p:cNvSpPr/>
            <p:nvPr/>
          </p:nvSpPr>
          <p:spPr>
            <a:xfrm>
              <a:off x="1314134" y="4216164"/>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49" name="Group 48"/>
            <p:cNvGrpSpPr/>
            <p:nvPr/>
          </p:nvGrpSpPr>
          <p:grpSpPr>
            <a:xfrm>
              <a:off x="1546250" y="4718508"/>
              <a:ext cx="820313" cy="264966"/>
              <a:chOff x="8632347" y="6167032"/>
              <a:chExt cx="840228" cy="271928"/>
            </a:xfrm>
            <a:solidFill>
              <a:srgbClr val="FFFFFF"/>
            </a:solidFill>
            <a:effectLst/>
          </p:grpSpPr>
          <p:sp>
            <p:nvSpPr>
              <p:cNvPr id="130" name="Freeform 17"/>
              <p:cNvSpPr>
                <a:spLocks noEditPoints="1"/>
              </p:cNvSpPr>
              <p:nvPr/>
            </p:nvSpPr>
            <p:spPr bwMode="invGray">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31" name="Freeform 18"/>
              <p:cNvSpPr>
                <a:spLocks noEditPoints="1"/>
              </p:cNvSpPr>
              <p:nvPr/>
            </p:nvSpPr>
            <p:spPr bwMode="invGray">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32" name="Freeform 19"/>
              <p:cNvSpPr>
                <a:spLocks noEditPoints="1"/>
              </p:cNvSpPr>
              <p:nvPr/>
            </p:nvSpPr>
            <p:spPr bwMode="invGray">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50" name="Rectangle 49"/>
            <p:cNvSpPr/>
            <p:nvPr/>
          </p:nvSpPr>
          <p:spPr>
            <a:xfrm>
              <a:off x="1314134" y="2839103"/>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51" name="Group 50"/>
            <p:cNvGrpSpPr/>
            <p:nvPr/>
          </p:nvGrpSpPr>
          <p:grpSpPr>
            <a:xfrm>
              <a:off x="1424607" y="3393629"/>
              <a:ext cx="1050866" cy="171430"/>
              <a:chOff x="9809204" y="6215358"/>
              <a:chExt cx="1072317" cy="175273"/>
            </a:xfrm>
            <a:solidFill>
              <a:srgbClr val="FFFFFF"/>
            </a:solidFill>
            <a:effectLst/>
          </p:grpSpPr>
          <p:sp>
            <p:nvSpPr>
              <p:cNvPr id="122" name="Freeform 23"/>
              <p:cNvSpPr>
                <a:spLocks/>
              </p:cNvSpPr>
              <p:nvPr/>
            </p:nvSpPr>
            <p:spPr bwMode="invGray">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23" name="Freeform 24"/>
              <p:cNvSpPr>
                <a:spLocks noEditPoints="1"/>
              </p:cNvSpPr>
              <p:nvPr/>
            </p:nvSpPr>
            <p:spPr bwMode="invGray">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24" name="Freeform 25"/>
              <p:cNvSpPr>
                <a:spLocks/>
              </p:cNvSpPr>
              <p:nvPr/>
            </p:nvSpPr>
            <p:spPr bwMode="invGray">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25" name="Freeform 26"/>
              <p:cNvSpPr>
                <a:spLocks/>
              </p:cNvSpPr>
              <p:nvPr/>
            </p:nvSpPr>
            <p:spPr bwMode="invGray">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26" name="Freeform 27"/>
              <p:cNvSpPr>
                <a:spLocks noEditPoints="1"/>
              </p:cNvSpPr>
              <p:nvPr/>
            </p:nvSpPr>
            <p:spPr bwMode="invGray">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27" name="Freeform 28"/>
              <p:cNvSpPr>
                <a:spLocks/>
              </p:cNvSpPr>
              <p:nvPr/>
            </p:nvSpPr>
            <p:spPr bwMode="invGray">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28" name="Freeform 29"/>
              <p:cNvSpPr>
                <a:spLocks noEditPoints="1"/>
              </p:cNvSpPr>
              <p:nvPr/>
            </p:nvSpPr>
            <p:spPr bwMode="invGray">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29" name="Freeform 30"/>
              <p:cNvSpPr>
                <a:spLocks/>
              </p:cNvSpPr>
              <p:nvPr/>
            </p:nvSpPr>
            <p:spPr bwMode="invGray">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52" name="Rectangle 51"/>
            <p:cNvSpPr/>
            <p:nvPr/>
          </p:nvSpPr>
          <p:spPr>
            <a:xfrm>
              <a:off x="-60806" y="5593229"/>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53" name="Group 52"/>
            <p:cNvGrpSpPr/>
            <p:nvPr/>
          </p:nvGrpSpPr>
          <p:grpSpPr>
            <a:xfrm>
              <a:off x="114640" y="6163757"/>
              <a:ext cx="933657" cy="192039"/>
              <a:chOff x="4381738" y="6174707"/>
              <a:chExt cx="1235264" cy="254570"/>
            </a:xfrm>
            <a:solidFill>
              <a:srgbClr val="FFFFFF"/>
            </a:solidFill>
            <a:effectLst/>
          </p:grpSpPr>
          <p:sp>
            <p:nvSpPr>
              <p:cNvPr id="113" name="Freeform 5"/>
              <p:cNvSpPr>
                <a:spLocks noEditPoints="1"/>
              </p:cNvSpPr>
              <p:nvPr/>
            </p:nvSpPr>
            <p:spPr bwMode="invGray">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14" name="Freeform 6"/>
              <p:cNvSpPr>
                <a:spLocks noEditPoints="1"/>
              </p:cNvSpPr>
              <p:nvPr/>
            </p:nvSpPr>
            <p:spPr bwMode="invGray">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15" name="Freeform 7"/>
              <p:cNvSpPr>
                <a:spLocks/>
              </p:cNvSpPr>
              <p:nvPr/>
            </p:nvSpPr>
            <p:spPr bwMode="invGray">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16" name="Freeform 8"/>
              <p:cNvSpPr>
                <a:spLocks/>
              </p:cNvSpPr>
              <p:nvPr/>
            </p:nvSpPr>
            <p:spPr bwMode="invGray">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17" name="Freeform 9"/>
              <p:cNvSpPr>
                <a:spLocks noEditPoints="1"/>
              </p:cNvSpPr>
              <p:nvPr/>
            </p:nvSpPr>
            <p:spPr bwMode="invGray">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18" name="Freeform 10"/>
              <p:cNvSpPr>
                <a:spLocks noEditPoints="1"/>
              </p:cNvSpPr>
              <p:nvPr/>
            </p:nvSpPr>
            <p:spPr bwMode="invGray">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19" name="Freeform 11"/>
              <p:cNvSpPr>
                <a:spLocks noEditPoints="1"/>
              </p:cNvSpPr>
              <p:nvPr/>
            </p:nvSpPr>
            <p:spPr bwMode="invGray">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20" name="Freeform 12"/>
              <p:cNvSpPr>
                <a:spLocks noEditPoints="1"/>
              </p:cNvSpPr>
              <p:nvPr/>
            </p:nvSpPr>
            <p:spPr bwMode="invGray">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21" name="Freeform 13"/>
              <p:cNvSpPr>
                <a:spLocks noEditPoints="1"/>
              </p:cNvSpPr>
              <p:nvPr/>
            </p:nvSpPr>
            <p:spPr bwMode="invGray">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54" name="Rectangle 53"/>
            <p:cNvSpPr/>
            <p:nvPr/>
          </p:nvSpPr>
          <p:spPr>
            <a:xfrm>
              <a:off x="4064021" y="5593229"/>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55" name="Group 54"/>
            <p:cNvGrpSpPr/>
            <p:nvPr/>
          </p:nvGrpSpPr>
          <p:grpSpPr>
            <a:xfrm>
              <a:off x="4382252" y="6112561"/>
              <a:ext cx="648085" cy="242469"/>
              <a:chOff x="11218145" y="6191686"/>
              <a:chExt cx="663815" cy="248839"/>
            </a:xfrm>
            <a:solidFill>
              <a:srgbClr val="FFFFFF"/>
            </a:solidFill>
            <a:effectLst/>
          </p:grpSpPr>
          <p:sp>
            <p:nvSpPr>
              <p:cNvPr id="107" name="Freeform 18"/>
              <p:cNvSpPr>
                <a:spLocks noEditPoints="1"/>
              </p:cNvSpPr>
              <p:nvPr/>
            </p:nvSpPr>
            <p:spPr bwMode="invGray">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08" name="Freeform 19"/>
              <p:cNvSpPr>
                <a:spLocks noEditPoints="1"/>
              </p:cNvSpPr>
              <p:nvPr/>
            </p:nvSpPr>
            <p:spPr bwMode="invGray">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09" name="Freeform 20"/>
              <p:cNvSpPr>
                <a:spLocks/>
              </p:cNvSpPr>
              <p:nvPr/>
            </p:nvSpPr>
            <p:spPr bwMode="invGray">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10" name="Freeform 21"/>
              <p:cNvSpPr>
                <a:spLocks/>
              </p:cNvSpPr>
              <p:nvPr/>
            </p:nvSpPr>
            <p:spPr bwMode="invGray">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11" name="Freeform 22"/>
              <p:cNvSpPr>
                <a:spLocks noEditPoints="1"/>
              </p:cNvSpPr>
              <p:nvPr/>
            </p:nvSpPr>
            <p:spPr bwMode="invGray">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12" name="Freeform 23"/>
              <p:cNvSpPr>
                <a:spLocks noEditPoints="1"/>
              </p:cNvSpPr>
              <p:nvPr/>
            </p:nvSpPr>
            <p:spPr bwMode="invGray">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56" name="Rectangle 55"/>
            <p:cNvSpPr/>
            <p:nvPr/>
          </p:nvSpPr>
          <p:spPr>
            <a:xfrm>
              <a:off x="4064021" y="4216164"/>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57" name="Group 56"/>
            <p:cNvGrpSpPr/>
            <p:nvPr/>
          </p:nvGrpSpPr>
          <p:grpSpPr>
            <a:xfrm>
              <a:off x="4295508" y="4708732"/>
              <a:ext cx="821573" cy="254309"/>
              <a:chOff x="1471737" y="6192453"/>
              <a:chExt cx="841520" cy="260991"/>
            </a:xfrm>
            <a:solidFill>
              <a:srgbClr val="FFFFFF"/>
            </a:solidFill>
            <a:effectLst/>
          </p:grpSpPr>
          <p:sp>
            <p:nvSpPr>
              <p:cNvPr id="100" name="Freeform 20"/>
              <p:cNvSpPr>
                <a:spLocks noEditPoints="1"/>
              </p:cNvSpPr>
              <p:nvPr/>
            </p:nvSpPr>
            <p:spPr bwMode="invGray">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01" name="Freeform 21"/>
              <p:cNvSpPr>
                <a:spLocks noEditPoints="1"/>
              </p:cNvSpPr>
              <p:nvPr/>
            </p:nvSpPr>
            <p:spPr bwMode="invGray">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02" name="Freeform 22"/>
              <p:cNvSpPr>
                <a:spLocks/>
              </p:cNvSpPr>
              <p:nvPr/>
            </p:nvSpPr>
            <p:spPr bwMode="invGray">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03" name="Freeform 23"/>
              <p:cNvSpPr>
                <a:spLocks/>
              </p:cNvSpPr>
              <p:nvPr/>
            </p:nvSpPr>
            <p:spPr bwMode="invGray">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04" name="Freeform 24"/>
              <p:cNvSpPr>
                <a:spLocks noEditPoints="1"/>
              </p:cNvSpPr>
              <p:nvPr/>
            </p:nvSpPr>
            <p:spPr bwMode="invGray">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05" name="Freeform 25"/>
              <p:cNvSpPr>
                <a:spLocks noEditPoints="1"/>
              </p:cNvSpPr>
              <p:nvPr/>
            </p:nvSpPr>
            <p:spPr bwMode="invGray">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06" name="Freeform 26"/>
              <p:cNvSpPr>
                <a:spLocks/>
              </p:cNvSpPr>
              <p:nvPr/>
            </p:nvSpPr>
            <p:spPr bwMode="invGray">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58" name="Rectangle 57"/>
            <p:cNvSpPr/>
            <p:nvPr/>
          </p:nvSpPr>
          <p:spPr>
            <a:xfrm>
              <a:off x="9563785"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59" name="Group 58"/>
            <p:cNvGrpSpPr/>
            <p:nvPr/>
          </p:nvGrpSpPr>
          <p:grpSpPr>
            <a:xfrm>
              <a:off x="9933348" y="550126"/>
              <a:ext cx="545420" cy="350835"/>
              <a:chOff x="2481885" y="4360116"/>
              <a:chExt cx="558662" cy="360056"/>
            </a:xfrm>
            <a:solidFill>
              <a:srgbClr val="FFFFFF"/>
            </a:solidFill>
            <a:effectLst/>
          </p:grpSpPr>
          <p:sp>
            <p:nvSpPr>
              <p:cNvPr id="93" name="Freeform 21"/>
              <p:cNvSpPr>
                <a:spLocks/>
              </p:cNvSpPr>
              <p:nvPr/>
            </p:nvSpPr>
            <p:spPr bwMode="invGray">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94" name="Freeform 22"/>
              <p:cNvSpPr>
                <a:spLocks/>
              </p:cNvSpPr>
              <p:nvPr/>
            </p:nvSpPr>
            <p:spPr bwMode="invGray">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95" name="Freeform 23"/>
              <p:cNvSpPr>
                <a:spLocks/>
              </p:cNvSpPr>
              <p:nvPr/>
            </p:nvSpPr>
            <p:spPr bwMode="invGray">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96" name="Freeform 24"/>
              <p:cNvSpPr>
                <a:spLocks/>
              </p:cNvSpPr>
              <p:nvPr/>
            </p:nvSpPr>
            <p:spPr bwMode="invGray">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97" name="Freeform 25"/>
              <p:cNvSpPr>
                <a:spLocks/>
              </p:cNvSpPr>
              <p:nvPr/>
            </p:nvSpPr>
            <p:spPr bwMode="invGray">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98" name="Freeform 26"/>
              <p:cNvSpPr>
                <a:spLocks/>
              </p:cNvSpPr>
              <p:nvPr/>
            </p:nvSpPr>
            <p:spPr bwMode="invGray">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99" name="Freeform 27"/>
              <p:cNvSpPr>
                <a:spLocks/>
              </p:cNvSpPr>
              <p:nvPr/>
            </p:nvSpPr>
            <p:spPr bwMode="invGray">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60" name="Rectangle 59"/>
            <p:cNvSpPr/>
            <p:nvPr/>
          </p:nvSpPr>
          <p:spPr>
            <a:xfrm>
              <a:off x="4064021"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61" name="Group 60"/>
            <p:cNvGrpSpPr/>
            <p:nvPr/>
          </p:nvGrpSpPr>
          <p:grpSpPr>
            <a:xfrm>
              <a:off x="4390034" y="634958"/>
              <a:ext cx="634430" cy="181162"/>
              <a:chOff x="6791943" y="4414224"/>
              <a:chExt cx="649833" cy="185924"/>
            </a:xfrm>
            <a:solidFill>
              <a:srgbClr val="FFFFFF"/>
            </a:solidFill>
            <a:effectLst/>
          </p:grpSpPr>
          <p:sp>
            <p:nvSpPr>
              <p:cNvPr id="87" name="Freeform 22"/>
              <p:cNvSpPr>
                <a:spLocks/>
              </p:cNvSpPr>
              <p:nvPr/>
            </p:nvSpPr>
            <p:spPr bwMode="invGray">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88" name="Freeform 23"/>
              <p:cNvSpPr>
                <a:spLocks/>
              </p:cNvSpPr>
              <p:nvPr/>
            </p:nvSpPr>
            <p:spPr bwMode="invGray">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89" name="Freeform 24"/>
              <p:cNvSpPr>
                <a:spLocks noEditPoints="1"/>
              </p:cNvSpPr>
              <p:nvPr/>
            </p:nvSpPr>
            <p:spPr bwMode="invGray">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90" name="Freeform 25"/>
              <p:cNvSpPr>
                <a:spLocks/>
              </p:cNvSpPr>
              <p:nvPr/>
            </p:nvSpPr>
            <p:spPr bwMode="invGray">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91" name="Freeform 26"/>
              <p:cNvSpPr>
                <a:spLocks noEditPoints="1"/>
              </p:cNvSpPr>
              <p:nvPr/>
            </p:nvSpPr>
            <p:spPr bwMode="invGray">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92" name="Freeform 27"/>
              <p:cNvSpPr>
                <a:spLocks noEditPoints="1"/>
              </p:cNvSpPr>
              <p:nvPr/>
            </p:nvSpPr>
            <p:spPr bwMode="invGray">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62" name="Rectangle 61"/>
            <p:cNvSpPr/>
            <p:nvPr/>
          </p:nvSpPr>
          <p:spPr>
            <a:xfrm>
              <a:off x="-60806" y="2839104"/>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63" name="Group 62"/>
            <p:cNvGrpSpPr/>
            <p:nvPr/>
          </p:nvGrpSpPr>
          <p:grpSpPr>
            <a:xfrm>
              <a:off x="230698" y="3357405"/>
              <a:ext cx="701534" cy="291019"/>
              <a:chOff x="7844547" y="4357855"/>
              <a:chExt cx="718565" cy="298667"/>
            </a:xfrm>
            <a:solidFill>
              <a:srgbClr val="FFFFFF"/>
            </a:solidFill>
            <a:effectLst/>
          </p:grpSpPr>
          <p:sp>
            <p:nvSpPr>
              <p:cNvPr id="83" name="Freeform 18"/>
              <p:cNvSpPr>
                <a:spLocks/>
              </p:cNvSpPr>
              <p:nvPr/>
            </p:nvSpPr>
            <p:spPr bwMode="invGray">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84" name="Freeform 20"/>
              <p:cNvSpPr>
                <a:spLocks/>
              </p:cNvSpPr>
              <p:nvPr/>
            </p:nvSpPr>
            <p:spPr bwMode="invGray">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85" name="Freeform 21"/>
              <p:cNvSpPr>
                <a:spLocks noEditPoints="1"/>
              </p:cNvSpPr>
              <p:nvPr/>
            </p:nvSpPr>
            <p:spPr bwMode="invGray">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86" name="Oval 85"/>
              <p:cNvSpPr>
                <a:spLocks noChangeAspect="1"/>
              </p:cNvSpPr>
              <p:nvPr/>
            </p:nvSpPr>
            <p:spPr bwMode="invGray">
              <a:xfrm>
                <a:off x="8159966" y="4376370"/>
                <a:ext cx="41897" cy="41897"/>
              </a:xfrm>
              <a:prstGeom prst="ellipse">
                <a:avLst/>
              </a:pr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64" name="Rectangle 63"/>
            <p:cNvSpPr/>
            <p:nvPr/>
          </p:nvSpPr>
          <p:spPr>
            <a:xfrm>
              <a:off x="10938731"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65" name="Group 64"/>
            <p:cNvGrpSpPr/>
            <p:nvPr/>
          </p:nvGrpSpPr>
          <p:grpSpPr>
            <a:xfrm>
              <a:off x="11361396" y="2020053"/>
              <a:ext cx="439213" cy="179551"/>
              <a:chOff x="4491504" y="4454449"/>
              <a:chExt cx="449878" cy="184270"/>
            </a:xfrm>
            <a:solidFill>
              <a:srgbClr val="FFFFFF"/>
            </a:solidFill>
            <a:effectLst/>
          </p:grpSpPr>
          <p:sp>
            <p:nvSpPr>
              <p:cNvPr id="79" name="Freeform 22"/>
              <p:cNvSpPr>
                <a:spLocks/>
              </p:cNvSpPr>
              <p:nvPr/>
            </p:nvSpPr>
            <p:spPr bwMode="invGray">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80" name="Freeform 23"/>
              <p:cNvSpPr>
                <a:spLocks noEditPoints="1"/>
              </p:cNvSpPr>
              <p:nvPr/>
            </p:nvSpPr>
            <p:spPr bwMode="invGray">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81" name="Freeform 24"/>
              <p:cNvSpPr>
                <a:spLocks/>
              </p:cNvSpPr>
              <p:nvPr/>
            </p:nvSpPr>
            <p:spPr bwMode="invGray">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82" name="Freeform 25"/>
              <p:cNvSpPr>
                <a:spLocks/>
              </p:cNvSpPr>
              <p:nvPr/>
            </p:nvSpPr>
            <p:spPr bwMode="invGray">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66" name="Rectangle 65"/>
            <p:cNvSpPr/>
            <p:nvPr/>
          </p:nvSpPr>
          <p:spPr>
            <a:xfrm>
              <a:off x="8188846"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67" name="Group 66"/>
            <p:cNvGrpSpPr/>
            <p:nvPr/>
          </p:nvGrpSpPr>
          <p:grpSpPr>
            <a:xfrm>
              <a:off x="8527651" y="624842"/>
              <a:ext cx="606932" cy="201396"/>
              <a:chOff x="3467068" y="4450074"/>
              <a:chExt cx="621665" cy="206687"/>
            </a:xfrm>
            <a:solidFill>
              <a:srgbClr val="FFFFFF"/>
            </a:solidFill>
            <a:effectLst/>
          </p:grpSpPr>
          <p:sp>
            <p:nvSpPr>
              <p:cNvPr id="73" name="Freeform 23"/>
              <p:cNvSpPr>
                <a:spLocks/>
              </p:cNvSpPr>
              <p:nvPr/>
            </p:nvSpPr>
            <p:spPr bwMode="invGray">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74" name="Freeform 24"/>
              <p:cNvSpPr>
                <a:spLocks noEditPoints="1"/>
              </p:cNvSpPr>
              <p:nvPr/>
            </p:nvSpPr>
            <p:spPr bwMode="invGray">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75" name="Freeform 25"/>
              <p:cNvSpPr>
                <a:spLocks noEditPoints="1"/>
              </p:cNvSpPr>
              <p:nvPr/>
            </p:nvSpPr>
            <p:spPr bwMode="invGray">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76" name="Freeform 26"/>
              <p:cNvSpPr>
                <a:spLocks/>
              </p:cNvSpPr>
              <p:nvPr/>
            </p:nvSpPr>
            <p:spPr bwMode="invGray">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77" name="Freeform 27"/>
              <p:cNvSpPr>
                <a:spLocks noEditPoints="1"/>
              </p:cNvSpPr>
              <p:nvPr/>
            </p:nvSpPr>
            <p:spPr bwMode="invGray">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78" name="Freeform 28"/>
              <p:cNvSpPr>
                <a:spLocks/>
              </p:cNvSpPr>
              <p:nvPr/>
            </p:nvSpPr>
            <p:spPr bwMode="invGray">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68" name="Rectangle 67"/>
            <p:cNvSpPr/>
            <p:nvPr/>
          </p:nvSpPr>
          <p:spPr>
            <a:xfrm>
              <a:off x="10938730"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69" name="Group 68"/>
            <p:cNvGrpSpPr/>
            <p:nvPr/>
          </p:nvGrpSpPr>
          <p:grpSpPr>
            <a:xfrm>
              <a:off x="11255573" y="643430"/>
              <a:ext cx="598370" cy="281126"/>
              <a:chOff x="8669045" y="5484723"/>
              <a:chExt cx="612897" cy="288514"/>
            </a:xfrm>
            <a:solidFill>
              <a:srgbClr val="FFFFFF"/>
            </a:solidFill>
            <a:effectLst/>
          </p:grpSpPr>
          <p:sp>
            <p:nvSpPr>
              <p:cNvPr id="71" name="Freeform 16"/>
              <p:cNvSpPr>
                <a:spLocks noEditPoints="1"/>
              </p:cNvSpPr>
              <p:nvPr/>
            </p:nvSpPr>
            <p:spPr bwMode="invGray">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72" name="Freeform 17"/>
              <p:cNvSpPr>
                <a:spLocks noEditPoints="1"/>
              </p:cNvSpPr>
              <p:nvPr/>
            </p:nvSpPr>
            <p:spPr bwMode="invGray">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70" name="Rectangle 69"/>
            <p:cNvSpPr/>
            <p:nvPr/>
          </p:nvSpPr>
          <p:spPr>
            <a:xfrm>
              <a:off x="6938293" y="3094060"/>
              <a:ext cx="5327597" cy="1515749"/>
            </a:xfrm>
            <a:prstGeom prst="rect">
              <a:avLst/>
            </a:prstGeom>
          </p:spPr>
          <p:txBody>
            <a:bodyPr wrap="none" lIns="121674" tIns="60837" rIns="121674" bIns="60837">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975" b="0" i="0" u="none" strike="noStrike" kern="1200" cap="none" spc="0" normalizeH="0" baseline="0" noProof="0" dirty="0">
                  <a:ln>
                    <a:noFill/>
                  </a:ln>
                  <a:solidFill>
                    <a:srgbClr val="FFFFFF">
                      <a:alpha val="99000"/>
                    </a:srgbClr>
                  </a:solidFill>
                  <a:effectLst/>
                  <a:uLnTx/>
                  <a:uFillTx/>
                  <a:latin typeface="Segoe UI" pitchFamily="34" charset="0"/>
                  <a:ea typeface="Segoe UI" pitchFamily="34" charset="0"/>
                  <a:cs typeface="Segoe UI" pitchFamily="34" charset="0"/>
                </a:rPr>
                <a:t>thank you</a:t>
              </a:r>
            </a:p>
          </p:txBody>
        </p:sp>
      </p:grpSp>
    </p:spTree>
    <p:extLst>
      <p:ext uri="{BB962C8B-B14F-4D97-AF65-F5344CB8AC3E}">
        <p14:creationId xmlns:p14="http://schemas.microsoft.com/office/powerpoint/2010/main" val="782355963"/>
      </p:ext>
    </p:extLst>
  </p:cSld>
  <p:clrMapOvr>
    <a:masterClrMapping/>
  </p:clrMapOvr>
  <p:transition spd="slow">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cSld name="1_Thank You">
    <p:spTree>
      <p:nvGrpSpPr>
        <p:cNvPr id="1" name=""/>
        <p:cNvGrpSpPr/>
        <p:nvPr/>
      </p:nvGrpSpPr>
      <p:grpSpPr>
        <a:xfrm>
          <a:off x="0" y="0"/>
          <a:ext cx="0" cy="0"/>
          <a:chOff x="0" y="0"/>
          <a:chExt cx="0" cy="0"/>
        </a:xfrm>
      </p:grpSpPr>
      <p:sp>
        <p:nvSpPr>
          <p:cNvPr id="288" name="Rectangle 287"/>
          <p:cNvSpPr/>
          <p:nvPr/>
        </p:nvSpPr>
        <p:spPr bwMode="auto">
          <a:xfrm>
            <a:off x="0" y="0"/>
            <a:ext cx="12436475"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zh-CN" altLang="en-US" sz="1836" b="0" i="0" u="none" strike="noStrike" kern="1200" cap="none" spc="-51"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nvGrpSpPr>
          <p:cNvPr id="2" name="Group 1"/>
          <p:cNvGrpSpPr>
            <a:grpSpLocks noChangeAspect="1"/>
          </p:cNvGrpSpPr>
          <p:nvPr/>
        </p:nvGrpSpPr>
        <p:grpSpPr>
          <a:xfrm>
            <a:off x="4772" y="61801"/>
            <a:ext cx="12476488" cy="6870923"/>
            <a:chOff x="-60806" y="84976"/>
            <a:chExt cx="12326696" cy="6789394"/>
          </a:xfrm>
        </p:grpSpPr>
        <p:sp>
          <p:nvSpPr>
            <p:cNvPr id="3" name="Rectangle 2"/>
            <p:cNvSpPr/>
            <p:nvPr/>
          </p:nvSpPr>
          <p:spPr>
            <a:xfrm>
              <a:off x="6813911" y="2839111"/>
              <a:ext cx="5409376" cy="4035259"/>
            </a:xfrm>
            <a:prstGeom prst="rect">
              <a:avLst/>
            </a:prstGeom>
            <a:solidFill>
              <a:srgbClr val="E31A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537" tIns="243537" rIns="243537" bIns="243537" numCol="1" rtlCol="0" anchor="ctr" anchorCtr="0" compatLnSpc="1">
              <a:prstTxWarp prst="textNoShape">
                <a:avLst/>
              </a:prstTxWarp>
            </a:bodyPr>
            <a:lstStyle/>
            <a:p>
              <a:pPr marL="0" marR="0" lvl="0" indent="0" algn="l" defTabSz="1241292" rtl="0" eaLnBrk="1" fontAlgn="base" latinLnBrk="0" hangingPunct="1">
                <a:lnSpc>
                  <a:spcPct val="100000"/>
                </a:lnSpc>
                <a:spcBef>
                  <a:spcPct val="0"/>
                </a:spcBef>
                <a:spcAft>
                  <a:spcPct val="0"/>
                </a:spcAft>
                <a:buClrTx/>
                <a:buSzTx/>
                <a:buFontTx/>
                <a:buNone/>
                <a:tabLst/>
                <a:defRPr/>
              </a:pPr>
              <a:endParaRPr kumimoji="0" lang="en-US" sz="2550" b="0" i="0" u="none" strike="noStrike" kern="1200" cap="none" spc="0" normalizeH="0" baseline="0" noProof="0" dirty="0">
                <a:ln>
                  <a:noFill/>
                </a:ln>
                <a:solidFill>
                  <a:prstClr val="white"/>
                </a:solidFill>
                <a:effectLst/>
                <a:uLnTx/>
                <a:uFillTx/>
                <a:latin typeface="Segoe UI" pitchFamily="34" charset="0"/>
                <a:ea typeface="Segoe UI" pitchFamily="34" charset="0"/>
                <a:cs typeface="Segoe UI" pitchFamily="34" charset="0"/>
              </a:endParaRPr>
            </a:p>
          </p:txBody>
        </p:sp>
        <p:sp>
          <p:nvSpPr>
            <p:cNvPr id="4" name="Rectangle 3"/>
            <p:cNvSpPr/>
            <p:nvPr/>
          </p:nvSpPr>
          <p:spPr>
            <a:xfrm>
              <a:off x="-60806"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121674" tIns="60837" rIns="121674" bIns="60837"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alpha val="99000"/>
                    </a:srgbClr>
                  </a:solidFill>
                  <a:effectLst/>
                  <a:uLnTx/>
                  <a:uFillTx/>
                  <a:latin typeface="Segoe UI" pitchFamily="34" charset="0"/>
                  <a:ea typeface="Segoe UI" pitchFamily="34" charset="0"/>
                  <a:cs typeface="Segoe UI" pitchFamily="34" charset="0"/>
                </a:rPr>
                <a:t>Ahsante</a:t>
              </a:r>
            </a:p>
          </p:txBody>
        </p:sp>
        <p:sp>
          <p:nvSpPr>
            <p:cNvPr id="5" name="Rectangle 4"/>
            <p:cNvSpPr/>
            <p:nvPr/>
          </p:nvSpPr>
          <p:spPr>
            <a:xfrm>
              <a:off x="4064021"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6" name="Group 5"/>
            <p:cNvGrpSpPr/>
            <p:nvPr/>
          </p:nvGrpSpPr>
          <p:grpSpPr>
            <a:xfrm>
              <a:off x="4193870" y="2019679"/>
              <a:ext cx="1024849" cy="165844"/>
              <a:chOff x="891368" y="5611897"/>
              <a:chExt cx="1049730" cy="170204"/>
            </a:xfrm>
            <a:solidFill>
              <a:srgbClr val="FFFFFF"/>
            </a:solidFill>
            <a:effectLst/>
          </p:grpSpPr>
          <p:sp>
            <p:nvSpPr>
              <p:cNvPr id="279" name="Freeform 32"/>
              <p:cNvSpPr>
                <a:spLocks/>
              </p:cNvSpPr>
              <p:nvPr/>
            </p:nvSpPr>
            <p:spPr bwMode="invGray">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80" name="Freeform 33"/>
              <p:cNvSpPr>
                <a:spLocks noEditPoints="1"/>
              </p:cNvSpPr>
              <p:nvPr/>
            </p:nvSpPr>
            <p:spPr bwMode="invGray">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81" name="Rectangle 34"/>
              <p:cNvSpPr>
                <a:spLocks noChangeArrowheads="1"/>
              </p:cNvSpPr>
              <p:nvPr/>
            </p:nvSpPr>
            <p:spPr bwMode="invGray">
              <a:xfrm>
                <a:off x="1115570" y="5611897"/>
                <a:ext cx="25055" cy="167180"/>
              </a:xfrm>
              <a:prstGeom prst="rect">
                <a:avLst/>
              </a:pr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82" name="Freeform 35"/>
              <p:cNvSpPr>
                <a:spLocks noEditPoints="1"/>
              </p:cNvSpPr>
              <p:nvPr/>
            </p:nvSpPr>
            <p:spPr bwMode="invGray">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83" name="Freeform 36"/>
              <p:cNvSpPr>
                <a:spLocks/>
              </p:cNvSpPr>
              <p:nvPr/>
            </p:nvSpPr>
            <p:spPr bwMode="invGray">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84" name="Freeform 37"/>
              <p:cNvSpPr>
                <a:spLocks noEditPoints="1"/>
              </p:cNvSpPr>
              <p:nvPr/>
            </p:nvSpPr>
            <p:spPr bwMode="invGray">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85" name="Freeform 38"/>
              <p:cNvSpPr>
                <a:spLocks/>
              </p:cNvSpPr>
              <p:nvPr/>
            </p:nvSpPr>
            <p:spPr bwMode="invGray">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86" name="Freeform 39"/>
              <p:cNvSpPr>
                <a:spLocks noEditPoints="1"/>
              </p:cNvSpPr>
              <p:nvPr/>
            </p:nvSpPr>
            <p:spPr bwMode="invGray">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87" name="Freeform 40"/>
              <p:cNvSpPr>
                <a:spLocks noEditPoints="1"/>
              </p:cNvSpPr>
              <p:nvPr/>
            </p:nvSpPr>
            <p:spPr bwMode="invGray">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7" name="Rectangle 6"/>
            <p:cNvSpPr/>
            <p:nvPr/>
          </p:nvSpPr>
          <p:spPr>
            <a:xfrm>
              <a:off x="1314134"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8" name="Group 7"/>
            <p:cNvGrpSpPr/>
            <p:nvPr/>
          </p:nvGrpSpPr>
          <p:grpSpPr>
            <a:xfrm>
              <a:off x="1498375" y="631173"/>
              <a:ext cx="916061" cy="188732"/>
              <a:chOff x="1382110" y="560118"/>
              <a:chExt cx="1085320" cy="224189"/>
            </a:xfrm>
          </p:grpSpPr>
          <p:sp>
            <p:nvSpPr>
              <p:cNvPr id="270" name="Freeform 22"/>
              <p:cNvSpPr>
                <a:spLocks/>
              </p:cNvSpPr>
              <p:nvPr/>
            </p:nvSpPr>
            <p:spPr bwMode="invGray">
              <a:xfrm>
                <a:off x="1382110" y="614823"/>
                <a:ext cx="89549" cy="119813"/>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71" name="Freeform 23"/>
              <p:cNvSpPr>
                <a:spLocks/>
              </p:cNvSpPr>
              <p:nvPr/>
            </p:nvSpPr>
            <p:spPr bwMode="invGray">
              <a:xfrm>
                <a:off x="1476355" y="617173"/>
                <a:ext cx="122081" cy="117464"/>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72" name="Freeform 24"/>
              <p:cNvSpPr>
                <a:spLocks/>
              </p:cNvSpPr>
              <p:nvPr/>
            </p:nvSpPr>
            <p:spPr bwMode="invGray">
              <a:xfrm>
                <a:off x="1600784" y="614823"/>
                <a:ext cx="124429" cy="169484"/>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73" name="Freeform 25"/>
              <p:cNvSpPr>
                <a:spLocks noEditPoints="1"/>
              </p:cNvSpPr>
              <p:nvPr/>
            </p:nvSpPr>
            <p:spPr bwMode="invGray">
              <a:xfrm>
                <a:off x="1721189" y="614823"/>
                <a:ext cx="130131" cy="119813"/>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74" name="Freeform 26"/>
              <p:cNvSpPr>
                <a:spLocks noEditPoints="1"/>
              </p:cNvSpPr>
              <p:nvPr/>
            </p:nvSpPr>
            <p:spPr bwMode="invGray">
              <a:xfrm>
                <a:off x="1863729" y="614823"/>
                <a:ext cx="111684" cy="160759"/>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75" name="Freeform 27"/>
              <p:cNvSpPr>
                <a:spLocks/>
              </p:cNvSpPr>
              <p:nvPr/>
            </p:nvSpPr>
            <p:spPr bwMode="invGray">
              <a:xfrm>
                <a:off x="1996878" y="617173"/>
                <a:ext cx="47625" cy="116458"/>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76" name="Freeform 28"/>
              <p:cNvSpPr>
                <a:spLocks noEditPoints="1"/>
              </p:cNvSpPr>
              <p:nvPr/>
            </p:nvSpPr>
            <p:spPr bwMode="invGray">
              <a:xfrm>
                <a:off x="2053224" y="617173"/>
                <a:ext cx="125771" cy="117464"/>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77" name="Freeform 29"/>
              <p:cNvSpPr>
                <a:spLocks/>
              </p:cNvSpPr>
              <p:nvPr/>
            </p:nvSpPr>
            <p:spPr bwMode="invGray">
              <a:xfrm>
                <a:off x="2184697" y="617173"/>
                <a:ext cx="111684" cy="117464"/>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78" name="Freeform 30"/>
              <p:cNvSpPr>
                <a:spLocks noEditPoints="1"/>
              </p:cNvSpPr>
              <p:nvPr/>
            </p:nvSpPr>
            <p:spPr bwMode="invGray">
              <a:xfrm>
                <a:off x="2301077" y="560118"/>
                <a:ext cx="166353" cy="174518"/>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9" name="Rectangle 8"/>
            <p:cNvSpPr/>
            <p:nvPr/>
          </p:nvSpPr>
          <p:spPr>
            <a:xfrm>
              <a:off x="-60806" y="4216164"/>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pic>
          <p:nvPicPr>
            <p:cNvPr id="10"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27827" y="4649563"/>
              <a:ext cx="907281" cy="414337"/>
            </a:xfrm>
            <a:prstGeom prst="rect">
              <a:avLst/>
            </a:prstGeom>
            <a:noFill/>
            <a:ln w="9525">
              <a:noFill/>
              <a:miter lim="800000"/>
              <a:headEnd/>
              <a:tailEnd/>
            </a:ln>
            <a:effectLst/>
          </p:spPr>
        </p:pic>
        <p:sp>
          <p:nvSpPr>
            <p:cNvPr id="11" name="Rectangle 10"/>
            <p:cNvSpPr/>
            <p:nvPr/>
          </p:nvSpPr>
          <p:spPr>
            <a:xfrm>
              <a:off x="-60806"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12" name="Group 11"/>
            <p:cNvGrpSpPr/>
            <p:nvPr/>
          </p:nvGrpSpPr>
          <p:grpSpPr>
            <a:xfrm>
              <a:off x="239269" y="639949"/>
              <a:ext cx="684397" cy="171182"/>
              <a:chOff x="2321681" y="5571144"/>
              <a:chExt cx="701013" cy="175680"/>
            </a:xfrm>
            <a:solidFill>
              <a:srgbClr val="FFFFFF"/>
            </a:solidFill>
            <a:effectLst/>
          </p:grpSpPr>
          <p:sp>
            <p:nvSpPr>
              <p:cNvPr id="263" name="Freeform 23"/>
              <p:cNvSpPr>
                <a:spLocks/>
              </p:cNvSpPr>
              <p:nvPr/>
            </p:nvSpPr>
            <p:spPr bwMode="invGray">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64" name="Freeform 24"/>
              <p:cNvSpPr>
                <a:spLocks/>
              </p:cNvSpPr>
              <p:nvPr/>
            </p:nvSpPr>
            <p:spPr bwMode="invGray">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65" name="Freeform 25"/>
              <p:cNvSpPr>
                <a:spLocks noEditPoints="1"/>
              </p:cNvSpPr>
              <p:nvPr/>
            </p:nvSpPr>
            <p:spPr bwMode="invGray">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66" name="Freeform 26"/>
              <p:cNvSpPr>
                <a:spLocks/>
              </p:cNvSpPr>
              <p:nvPr/>
            </p:nvSpPr>
            <p:spPr bwMode="invGray">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67" name="Freeform 27"/>
              <p:cNvSpPr>
                <a:spLocks noEditPoints="1"/>
              </p:cNvSpPr>
              <p:nvPr/>
            </p:nvSpPr>
            <p:spPr bwMode="invGray">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68" name="Freeform 28"/>
              <p:cNvSpPr>
                <a:spLocks noEditPoints="1"/>
              </p:cNvSpPr>
              <p:nvPr/>
            </p:nvSpPr>
            <p:spPr bwMode="invGray">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69" name="Freeform 29"/>
              <p:cNvSpPr>
                <a:spLocks/>
              </p:cNvSpPr>
              <p:nvPr/>
            </p:nvSpPr>
            <p:spPr bwMode="invGray">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13" name="Rectangle 12"/>
            <p:cNvSpPr/>
            <p:nvPr/>
          </p:nvSpPr>
          <p:spPr>
            <a:xfrm>
              <a:off x="8188846"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14" name="Group 13"/>
            <p:cNvGrpSpPr/>
            <p:nvPr/>
          </p:nvGrpSpPr>
          <p:grpSpPr>
            <a:xfrm>
              <a:off x="8336721" y="2006581"/>
              <a:ext cx="988793" cy="140356"/>
              <a:chOff x="3403273" y="5616873"/>
              <a:chExt cx="1088404" cy="154797"/>
            </a:xfrm>
            <a:solidFill>
              <a:srgbClr val="FFFFFF"/>
            </a:solidFill>
            <a:effectLst/>
          </p:grpSpPr>
          <p:sp>
            <p:nvSpPr>
              <p:cNvPr id="252" name="Freeform 36"/>
              <p:cNvSpPr>
                <a:spLocks/>
              </p:cNvSpPr>
              <p:nvPr/>
            </p:nvSpPr>
            <p:spPr bwMode="invGray">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53" name="Freeform 37"/>
              <p:cNvSpPr>
                <a:spLocks noEditPoints="1"/>
              </p:cNvSpPr>
              <p:nvPr/>
            </p:nvSpPr>
            <p:spPr bwMode="invGray">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54" name="Freeform 38"/>
              <p:cNvSpPr>
                <a:spLocks/>
              </p:cNvSpPr>
              <p:nvPr/>
            </p:nvSpPr>
            <p:spPr bwMode="invGray">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55" name="Freeform 39"/>
              <p:cNvSpPr>
                <a:spLocks noEditPoints="1"/>
              </p:cNvSpPr>
              <p:nvPr/>
            </p:nvSpPr>
            <p:spPr bwMode="invGray">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56" name="Freeform 40"/>
              <p:cNvSpPr>
                <a:spLocks/>
              </p:cNvSpPr>
              <p:nvPr/>
            </p:nvSpPr>
            <p:spPr bwMode="invGray">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57" name="Freeform 41"/>
              <p:cNvSpPr>
                <a:spLocks noEditPoints="1"/>
              </p:cNvSpPr>
              <p:nvPr/>
            </p:nvSpPr>
            <p:spPr bwMode="invGray">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58" name="Freeform 42"/>
              <p:cNvSpPr>
                <a:spLocks/>
              </p:cNvSpPr>
              <p:nvPr/>
            </p:nvSpPr>
            <p:spPr bwMode="invGray">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59" name="Freeform 43"/>
              <p:cNvSpPr>
                <a:spLocks noEditPoints="1"/>
              </p:cNvSpPr>
              <p:nvPr/>
            </p:nvSpPr>
            <p:spPr bwMode="invGray">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60" name="Freeform 44"/>
              <p:cNvSpPr>
                <a:spLocks/>
              </p:cNvSpPr>
              <p:nvPr/>
            </p:nvSpPr>
            <p:spPr bwMode="invGray">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61" name="Freeform 45"/>
              <p:cNvSpPr>
                <a:spLocks noEditPoints="1"/>
              </p:cNvSpPr>
              <p:nvPr/>
            </p:nvSpPr>
            <p:spPr bwMode="invGray">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62" name="Freeform 46"/>
              <p:cNvSpPr>
                <a:spLocks/>
              </p:cNvSpPr>
              <p:nvPr/>
            </p:nvSpPr>
            <p:spPr bwMode="invGray">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15" name="Rectangle 14"/>
            <p:cNvSpPr/>
            <p:nvPr/>
          </p:nvSpPr>
          <p:spPr>
            <a:xfrm>
              <a:off x="2689079" y="2839103"/>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16" name="Group 15"/>
            <p:cNvGrpSpPr/>
            <p:nvPr/>
          </p:nvGrpSpPr>
          <p:grpSpPr>
            <a:xfrm>
              <a:off x="2954323" y="3294341"/>
              <a:ext cx="754059" cy="162989"/>
              <a:chOff x="2861106" y="3252744"/>
              <a:chExt cx="762252" cy="165192"/>
            </a:xfrm>
          </p:grpSpPr>
          <p:sp>
            <p:nvSpPr>
              <p:cNvPr id="247" name="Freeform 19"/>
              <p:cNvSpPr>
                <a:spLocks noEditPoints="1"/>
              </p:cNvSpPr>
              <p:nvPr/>
            </p:nvSpPr>
            <p:spPr bwMode="invGray">
              <a:xfrm>
                <a:off x="2861106" y="3254621"/>
                <a:ext cx="145385" cy="156746"/>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48" name="Freeform 20"/>
              <p:cNvSpPr>
                <a:spLocks/>
              </p:cNvSpPr>
              <p:nvPr/>
            </p:nvSpPr>
            <p:spPr bwMode="invGray">
              <a:xfrm>
                <a:off x="3047448" y="3260566"/>
                <a:ext cx="83791" cy="150175"/>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49" name="Freeform 21"/>
              <p:cNvSpPr>
                <a:spLocks noEditPoints="1"/>
              </p:cNvSpPr>
              <p:nvPr/>
            </p:nvSpPr>
            <p:spPr bwMode="invGray">
              <a:xfrm>
                <a:off x="3180639" y="3255247"/>
                <a:ext cx="149449" cy="150175"/>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50" name="Freeform 22"/>
              <p:cNvSpPr>
                <a:spLocks/>
              </p:cNvSpPr>
              <p:nvPr/>
            </p:nvSpPr>
            <p:spPr bwMode="invGray">
              <a:xfrm>
                <a:off x="3365731" y="3256811"/>
                <a:ext cx="103176" cy="150801"/>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51" name="Freeform 23"/>
              <p:cNvSpPr>
                <a:spLocks noEditPoints="1"/>
              </p:cNvSpPr>
              <p:nvPr/>
            </p:nvSpPr>
            <p:spPr bwMode="invGray">
              <a:xfrm>
                <a:off x="3538941" y="3252744"/>
                <a:ext cx="84417" cy="165192"/>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grpSp>
          <p:nvGrpSpPr>
            <p:cNvPr id="17" name="Group 16"/>
            <p:cNvGrpSpPr/>
            <p:nvPr/>
          </p:nvGrpSpPr>
          <p:grpSpPr>
            <a:xfrm>
              <a:off x="2937467" y="3611545"/>
              <a:ext cx="787771" cy="170707"/>
              <a:chOff x="3681825" y="3245548"/>
              <a:chExt cx="796331" cy="173014"/>
            </a:xfrm>
          </p:grpSpPr>
          <p:sp>
            <p:nvSpPr>
              <p:cNvPr id="242" name="Freeform 24"/>
              <p:cNvSpPr>
                <a:spLocks noEditPoints="1"/>
              </p:cNvSpPr>
              <p:nvPr/>
            </p:nvSpPr>
            <p:spPr bwMode="invGray">
              <a:xfrm>
                <a:off x="3681825" y="3249615"/>
                <a:ext cx="146323" cy="150175"/>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43" name="Freeform 25"/>
              <p:cNvSpPr>
                <a:spLocks noEditPoints="1"/>
              </p:cNvSpPr>
              <p:nvPr/>
            </p:nvSpPr>
            <p:spPr bwMode="invGray">
              <a:xfrm>
                <a:off x="3847532" y="3245548"/>
                <a:ext cx="141632" cy="164567"/>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44" name="Freeform 26"/>
              <p:cNvSpPr>
                <a:spLocks noEditPoints="1"/>
              </p:cNvSpPr>
              <p:nvPr/>
            </p:nvSpPr>
            <p:spPr bwMode="invGray">
              <a:xfrm>
                <a:off x="3987914" y="3276209"/>
                <a:ext cx="157578" cy="12170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45" name="Freeform 27"/>
              <p:cNvSpPr>
                <a:spLocks noEditPoints="1"/>
              </p:cNvSpPr>
              <p:nvPr/>
            </p:nvSpPr>
            <p:spPr bwMode="invGray">
              <a:xfrm>
                <a:off x="4155496" y="3257437"/>
                <a:ext cx="137568" cy="150801"/>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46" name="Freeform 28"/>
              <p:cNvSpPr>
                <a:spLocks noEditPoints="1"/>
              </p:cNvSpPr>
              <p:nvPr/>
            </p:nvSpPr>
            <p:spPr bwMode="invGray">
              <a:xfrm>
                <a:off x="4306821" y="3253370"/>
                <a:ext cx="171335" cy="165192"/>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solidFill>
                <a:srgbClr val="FFFFFF"/>
              </a:solid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18" name="Rectangle 17"/>
            <p:cNvSpPr/>
            <p:nvPr/>
          </p:nvSpPr>
          <p:spPr>
            <a:xfrm>
              <a:off x="5438963" y="5593229"/>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19" name="Group 18"/>
            <p:cNvGrpSpPr/>
            <p:nvPr/>
          </p:nvGrpSpPr>
          <p:grpSpPr>
            <a:xfrm>
              <a:off x="5676032" y="6124010"/>
              <a:ext cx="810410" cy="219571"/>
              <a:chOff x="7458381" y="5575585"/>
              <a:chExt cx="830083" cy="225342"/>
            </a:xfrm>
            <a:solidFill>
              <a:srgbClr val="FFFFFF"/>
            </a:solidFill>
            <a:effectLst/>
          </p:grpSpPr>
          <p:sp>
            <p:nvSpPr>
              <p:cNvPr id="234" name="Freeform 21"/>
              <p:cNvSpPr>
                <a:spLocks noEditPoints="1"/>
              </p:cNvSpPr>
              <p:nvPr/>
            </p:nvSpPr>
            <p:spPr bwMode="invGray">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35" name="Freeform 22"/>
              <p:cNvSpPr>
                <a:spLocks/>
              </p:cNvSpPr>
              <p:nvPr/>
            </p:nvSpPr>
            <p:spPr bwMode="invGray">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36" name="Freeform 23"/>
              <p:cNvSpPr>
                <a:spLocks noEditPoints="1"/>
              </p:cNvSpPr>
              <p:nvPr/>
            </p:nvSpPr>
            <p:spPr bwMode="invGray">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37" name="Freeform 24"/>
              <p:cNvSpPr>
                <a:spLocks noEditPoints="1"/>
              </p:cNvSpPr>
              <p:nvPr/>
            </p:nvSpPr>
            <p:spPr bwMode="invGray">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38" name="Freeform 25"/>
              <p:cNvSpPr>
                <a:spLocks/>
              </p:cNvSpPr>
              <p:nvPr/>
            </p:nvSpPr>
            <p:spPr bwMode="invGray">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39" name="Freeform 26"/>
              <p:cNvSpPr>
                <a:spLocks/>
              </p:cNvSpPr>
              <p:nvPr/>
            </p:nvSpPr>
            <p:spPr bwMode="invGray">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40" name="Freeform 27"/>
              <p:cNvSpPr>
                <a:spLocks noEditPoints="1"/>
              </p:cNvSpPr>
              <p:nvPr/>
            </p:nvSpPr>
            <p:spPr bwMode="invGray">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41" name="Freeform 28"/>
              <p:cNvSpPr>
                <a:spLocks noEditPoints="1"/>
              </p:cNvSpPr>
              <p:nvPr/>
            </p:nvSpPr>
            <p:spPr bwMode="invGray">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20" name="Rectangle 19"/>
            <p:cNvSpPr/>
            <p:nvPr/>
          </p:nvSpPr>
          <p:spPr>
            <a:xfrm>
              <a:off x="2689079" y="4216164"/>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21" name="Group 20"/>
            <p:cNvGrpSpPr/>
            <p:nvPr/>
          </p:nvGrpSpPr>
          <p:grpSpPr>
            <a:xfrm>
              <a:off x="2954320" y="4783766"/>
              <a:ext cx="747789" cy="192947"/>
              <a:chOff x="4872260" y="5575584"/>
              <a:chExt cx="765942" cy="198016"/>
            </a:xfrm>
            <a:solidFill>
              <a:srgbClr val="FFFFFF"/>
            </a:solidFill>
            <a:effectLst/>
          </p:grpSpPr>
          <p:sp>
            <p:nvSpPr>
              <p:cNvPr id="229" name="Freeform 30"/>
              <p:cNvSpPr>
                <a:spLocks noEditPoints="1"/>
              </p:cNvSpPr>
              <p:nvPr/>
            </p:nvSpPr>
            <p:spPr bwMode="invGray">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30" name="Freeform 31"/>
              <p:cNvSpPr>
                <a:spLocks noEditPoints="1"/>
              </p:cNvSpPr>
              <p:nvPr/>
            </p:nvSpPr>
            <p:spPr bwMode="invGray">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31" name="Freeform 32"/>
              <p:cNvSpPr>
                <a:spLocks/>
              </p:cNvSpPr>
              <p:nvPr/>
            </p:nvSpPr>
            <p:spPr bwMode="invGray">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32" name="Freeform 33"/>
              <p:cNvSpPr>
                <a:spLocks/>
              </p:cNvSpPr>
              <p:nvPr/>
            </p:nvSpPr>
            <p:spPr bwMode="invGray">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33" name="Freeform 34"/>
              <p:cNvSpPr>
                <a:spLocks noEditPoints="1"/>
              </p:cNvSpPr>
              <p:nvPr/>
            </p:nvSpPr>
            <p:spPr bwMode="invGray">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22" name="Rectangle 21"/>
            <p:cNvSpPr/>
            <p:nvPr/>
          </p:nvSpPr>
          <p:spPr>
            <a:xfrm>
              <a:off x="9563785"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23" name="Group 22"/>
            <p:cNvGrpSpPr/>
            <p:nvPr/>
          </p:nvGrpSpPr>
          <p:grpSpPr>
            <a:xfrm>
              <a:off x="9689103" y="2013268"/>
              <a:ext cx="1033914" cy="160559"/>
              <a:chOff x="6018781" y="5575586"/>
              <a:chExt cx="1059017" cy="164779"/>
            </a:xfrm>
            <a:solidFill>
              <a:srgbClr val="FFFFFF"/>
            </a:solidFill>
            <a:effectLst/>
          </p:grpSpPr>
          <p:sp>
            <p:nvSpPr>
              <p:cNvPr id="221" name="Freeform 17"/>
              <p:cNvSpPr>
                <a:spLocks noEditPoints="1"/>
              </p:cNvSpPr>
              <p:nvPr/>
            </p:nvSpPr>
            <p:spPr bwMode="invGray">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22" name="Freeform 18"/>
              <p:cNvSpPr>
                <a:spLocks noEditPoints="1"/>
              </p:cNvSpPr>
              <p:nvPr/>
            </p:nvSpPr>
            <p:spPr bwMode="invGray">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23" name="Freeform 19"/>
              <p:cNvSpPr>
                <a:spLocks/>
              </p:cNvSpPr>
              <p:nvPr/>
            </p:nvSpPr>
            <p:spPr bwMode="invGray">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24" name="Freeform 20"/>
              <p:cNvSpPr>
                <a:spLocks/>
              </p:cNvSpPr>
              <p:nvPr/>
            </p:nvSpPr>
            <p:spPr bwMode="invGray">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25" name="Freeform 21"/>
              <p:cNvSpPr>
                <a:spLocks/>
              </p:cNvSpPr>
              <p:nvPr/>
            </p:nvSpPr>
            <p:spPr bwMode="invGray">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26" name="Freeform 22"/>
              <p:cNvSpPr>
                <a:spLocks/>
              </p:cNvSpPr>
              <p:nvPr/>
            </p:nvSpPr>
            <p:spPr bwMode="invGray">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27" name="Freeform 23"/>
              <p:cNvSpPr>
                <a:spLocks noEditPoints="1"/>
              </p:cNvSpPr>
              <p:nvPr/>
            </p:nvSpPr>
            <p:spPr bwMode="invGray">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28" name="Rectangle 24"/>
              <p:cNvSpPr>
                <a:spLocks noChangeArrowheads="1"/>
              </p:cNvSpPr>
              <p:nvPr/>
            </p:nvSpPr>
            <p:spPr bwMode="invGray">
              <a:xfrm>
                <a:off x="7052744" y="5575586"/>
                <a:ext cx="25054" cy="161888"/>
              </a:xfrm>
              <a:prstGeom prst="rect">
                <a:avLst/>
              </a:pr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24" name="Rectangle 23"/>
            <p:cNvSpPr/>
            <p:nvPr/>
          </p:nvSpPr>
          <p:spPr>
            <a:xfrm>
              <a:off x="6813902"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25" name="Group 24"/>
            <p:cNvGrpSpPr/>
            <p:nvPr/>
          </p:nvGrpSpPr>
          <p:grpSpPr>
            <a:xfrm>
              <a:off x="7010219" y="618132"/>
              <a:ext cx="891915" cy="214814"/>
              <a:chOff x="9053746" y="4958394"/>
              <a:chExt cx="913569" cy="220459"/>
            </a:xfrm>
            <a:solidFill>
              <a:srgbClr val="FFFFFF"/>
            </a:solidFill>
            <a:effectLst/>
          </p:grpSpPr>
          <p:sp>
            <p:nvSpPr>
              <p:cNvPr id="213" name="Freeform 25"/>
              <p:cNvSpPr>
                <a:spLocks noEditPoints="1"/>
              </p:cNvSpPr>
              <p:nvPr/>
            </p:nvSpPr>
            <p:spPr bwMode="invGray">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14" name="Freeform 26"/>
              <p:cNvSpPr>
                <a:spLocks noEditPoints="1"/>
              </p:cNvSpPr>
              <p:nvPr/>
            </p:nvSpPr>
            <p:spPr bwMode="invGray">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15" name="Freeform 27"/>
              <p:cNvSpPr>
                <a:spLocks/>
              </p:cNvSpPr>
              <p:nvPr/>
            </p:nvSpPr>
            <p:spPr bwMode="invGray">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16" name="Freeform 28"/>
              <p:cNvSpPr>
                <a:spLocks noEditPoints="1"/>
              </p:cNvSpPr>
              <p:nvPr/>
            </p:nvSpPr>
            <p:spPr bwMode="invGray">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17" name="Freeform 29"/>
              <p:cNvSpPr>
                <a:spLocks noEditPoints="1"/>
              </p:cNvSpPr>
              <p:nvPr/>
            </p:nvSpPr>
            <p:spPr bwMode="invGray">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18" name="Freeform 30"/>
              <p:cNvSpPr>
                <a:spLocks noEditPoints="1"/>
              </p:cNvSpPr>
              <p:nvPr/>
            </p:nvSpPr>
            <p:spPr bwMode="invGray">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19" name="Freeform 31"/>
              <p:cNvSpPr>
                <a:spLocks noEditPoints="1"/>
              </p:cNvSpPr>
              <p:nvPr/>
            </p:nvSpPr>
            <p:spPr bwMode="invGray">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20" name="Freeform 32"/>
              <p:cNvSpPr>
                <a:spLocks noEditPoints="1"/>
              </p:cNvSpPr>
              <p:nvPr/>
            </p:nvSpPr>
            <p:spPr bwMode="invGray">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26" name="Rectangle 25"/>
            <p:cNvSpPr/>
            <p:nvPr/>
          </p:nvSpPr>
          <p:spPr>
            <a:xfrm>
              <a:off x="5438963" y="4216164"/>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27" name="Group 26"/>
            <p:cNvGrpSpPr/>
            <p:nvPr/>
          </p:nvGrpSpPr>
          <p:grpSpPr>
            <a:xfrm>
              <a:off x="5661319" y="4763765"/>
              <a:ext cx="845791" cy="176576"/>
              <a:chOff x="5513886" y="4978012"/>
              <a:chExt cx="866327" cy="181218"/>
            </a:xfrm>
            <a:solidFill>
              <a:srgbClr val="FFFFFF"/>
            </a:solidFill>
            <a:effectLst/>
          </p:grpSpPr>
          <p:sp>
            <p:nvSpPr>
              <p:cNvPr id="206" name="Freeform 29"/>
              <p:cNvSpPr>
                <a:spLocks/>
              </p:cNvSpPr>
              <p:nvPr/>
            </p:nvSpPr>
            <p:spPr bwMode="invGray">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07" name="Freeform 30"/>
              <p:cNvSpPr>
                <a:spLocks/>
              </p:cNvSpPr>
              <p:nvPr/>
            </p:nvSpPr>
            <p:spPr bwMode="invGray">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08" name="Freeform 31"/>
              <p:cNvSpPr>
                <a:spLocks noEditPoints="1"/>
              </p:cNvSpPr>
              <p:nvPr/>
            </p:nvSpPr>
            <p:spPr bwMode="invGray">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09" name="Freeform 32"/>
              <p:cNvSpPr>
                <a:spLocks/>
              </p:cNvSpPr>
              <p:nvPr/>
            </p:nvSpPr>
            <p:spPr bwMode="invGray">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10" name="Freeform 209"/>
              <p:cNvSpPr>
                <a:spLocks/>
              </p:cNvSpPr>
              <p:nvPr/>
            </p:nvSpPr>
            <p:spPr bwMode="invGray">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11" name="Freeform 210"/>
              <p:cNvSpPr>
                <a:spLocks noEditPoints="1"/>
              </p:cNvSpPr>
              <p:nvPr/>
            </p:nvSpPr>
            <p:spPr bwMode="invGray">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12" name="Freeform 211"/>
              <p:cNvSpPr>
                <a:spLocks noEditPoints="1"/>
              </p:cNvSpPr>
              <p:nvPr/>
            </p:nvSpPr>
            <p:spPr bwMode="invGray">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28" name="Rectangle 27"/>
            <p:cNvSpPr/>
            <p:nvPr/>
          </p:nvSpPr>
          <p:spPr>
            <a:xfrm>
              <a:off x="2689079"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29" name="Group 28"/>
            <p:cNvGrpSpPr/>
            <p:nvPr/>
          </p:nvGrpSpPr>
          <p:grpSpPr>
            <a:xfrm>
              <a:off x="3049190" y="637213"/>
              <a:ext cx="564327" cy="160566"/>
              <a:chOff x="4664767" y="4986232"/>
              <a:chExt cx="578026" cy="164783"/>
            </a:xfrm>
            <a:solidFill>
              <a:srgbClr val="FFFFFF"/>
            </a:solidFill>
            <a:effectLst/>
          </p:grpSpPr>
          <p:sp>
            <p:nvSpPr>
              <p:cNvPr id="201" name="Freeform 22"/>
              <p:cNvSpPr>
                <a:spLocks noEditPoints="1"/>
              </p:cNvSpPr>
              <p:nvPr/>
            </p:nvSpPr>
            <p:spPr bwMode="invGray">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02" name="Freeform 23"/>
              <p:cNvSpPr>
                <a:spLocks noEditPoints="1"/>
              </p:cNvSpPr>
              <p:nvPr/>
            </p:nvSpPr>
            <p:spPr bwMode="invGray">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03" name="Freeform 24"/>
              <p:cNvSpPr>
                <a:spLocks/>
              </p:cNvSpPr>
              <p:nvPr/>
            </p:nvSpPr>
            <p:spPr bwMode="invGray">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04" name="Freeform 25"/>
              <p:cNvSpPr>
                <a:spLocks/>
              </p:cNvSpPr>
              <p:nvPr/>
            </p:nvSpPr>
            <p:spPr bwMode="invGray">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05" name="Freeform 26"/>
              <p:cNvSpPr>
                <a:spLocks noEditPoints="1"/>
              </p:cNvSpPr>
              <p:nvPr/>
            </p:nvSpPr>
            <p:spPr bwMode="invGray">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30" name="Rectangle 29"/>
            <p:cNvSpPr/>
            <p:nvPr/>
          </p:nvSpPr>
          <p:spPr>
            <a:xfrm>
              <a:off x="2689079" y="5593229"/>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31" name="Group 30"/>
            <p:cNvGrpSpPr/>
            <p:nvPr/>
          </p:nvGrpSpPr>
          <p:grpSpPr>
            <a:xfrm>
              <a:off x="2843324" y="6137898"/>
              <a:ext cx="976048" cy="191797"/>
              <a:chOff x="1502088" y="4970205"/>
              <a:chExt cx="999744" cy="196837"/>
            </a:xfrm>
            <a:solidFill>
              <a:srgbClr val="FFFFFF"/>
            </a:solidFill>
            <a:effectLst/>
          </p:grpSpPr>
          <p:sp>
            <p:nvSpPr>
              <p:cNvPr id="196" name="Freeform 19"/>
              <p:cNvSpPr>
                <a:spLocks noEditPoints="1"/>
              </p:cNvSpPr>
              <p:nvPr/>
            </p:nvSpPr>
            <p:spPr bwMode="invGray">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97" name="Freeform 20"/>
              <p:cNvSpPr>
                <a:spLocks noEditPoints="1"/>
              </p:cNvSpPr>
              <p:nvPr/>
            </p:nvSpPr>
            <p:spPr bwMode="invGray">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98" name="Freeform 21"/>
              <p:cNvSpPr>
                <a:spLocks noEditPoints="1"/>
              </p:cNvSpPr>
              <p:nvPr/>
            </p:nvSpPr>
            <p:spPr bwMode="invGray">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99" name="Freeform 22"/>
              <p:cNvSpPr>
                <a:spLocks/>
              </p:cNvSpPr>
              <p:nvPr/>
            </p:nvSpPr>
            <p:spPr bwMode="invGray">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200" name="Freeform 23"/>
              <p:cNvSpPr>
                <a:spLocks/>
              </p:cNvSpPr>
              <p:nvPr/>
            </p:nvSpPr>
            <p:spPr bwMode="invGray">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32" name="Rectangle 31"/>
            <p:cNvSpPr/>
            <p:nvPr/>
          </p:nvSpPr>
          <p:spPr>
            <a:xfrm>
              <a:off x="6813902"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33" name="Group 32"/>
            <p:cNvGrpSpPr/>
            <p:nvPr/>
          </p:nvGrpSpPr>
          <p:grpSpPr>
            <a:xfrm>
              <a:off x="7084921" y="1954785"/>
              <a:ext cx="742508" cy="295635"/>
              <a:chOff x="6651306" y="4916921"/>
              <a:chExt cx="760536" cy="303406"/>
            </a:xfrm>
            <a:solidFill>
              <a:srgbClr val="FFFFFF"/>
            </a:solidFill>
            <a:effectLst/>
          </p:grpSpPr>
          <p:sp>
            <p:nvSpPr>
              <p:cNvPr id="191" name="Freeform 18"/>
              <p:cNvSpPr>
                <a:spLocks/>
              </p:cNvSpPr>
              <p:nvPr/>
            </p:nvSpPr>
            <p:spPr bwMode="invGray">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92" name="Freeform 19"/>
              <p:cNvSpPr>
                <a:spLocks/>
              </p:cNvSpPr>
              <p:nvPr/>
            </p:nvSpPr>
            <p:spPr bwMode="invGray">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93" name="Freeform 20"/>
              <p:cNvSpPr>
                <a:spLocks/>
              </p:cNvSpPr>
              <p:nvPr/>
            </p:nvSpPr>
            <p:spPr bwMode="invGray">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94" name="Freeform 21"/>
              <p:cNvSpPr>
                <a:spLocks/>
              </p:cNvSpPr>
              <p:nvPr/>
            </p:nvSpPr>
            <p:spPr bwMode="invGray">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95" name="Freeform 22"/>
              <p:cNvSpPr>
                <a:spLocks/>
              </p:cNvSpPr>
              <p:nvPr/>
            </p:nvSpPr>
            <p:spPr bwMode="invGray">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34" name="Rectangle 33"/>
            <p:cNvSpPr/>
            <p:nvPr/>
          </p:nvSpPr>
          <p:spPr>
            <a:xfrm>
              <a:off x="5438963" y="2839103"/>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35" name="Group 34"/>
            <p:cNvGrpSpPr/>
            <p:nvPr/>
          </p:nvGrpSpPr>
          <p:grpSpPr>
            <a:xfrm>
              <a:off x="5605324" y="3383635"/>
              <a:ext cx="951827" cy="192063"/>
              <a:chOff x="3393928" y="4967561"/>
              <a:chExt cx="999744" cy="202126"/>
            </a:xfrm>
            <a:solidFill>
              <a:srgbClr val="FFFFFF"/>
            </a:solidFill>
            <a:effectLst/>
          </p:grpSpPr>
          <p:sp>
            <p:nvSpPr>
              <p:cNvPr id="182" name="Freeform 27"/>
              <p:cNvSpPr>
                <a:spLocks/>
              </p:cNvSpPr>
              <p:nvPr/>
            </p:nvSpPr>
            <p:spPr bwMode="invGray">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83" name="Freeform 28"/>
              <p:cNvSpPr>
                <a:spLocks/>
              </p:cNvSpPr>
              <p:nvPr/>
            </p:nvSpPr>
            <p:spPr bwMode="invGray">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84" name="Rectangle 29"/>
              <p:cNvSpPr>
                <a:spLocks noChangeArrowheads="1"/>
              </p:cNvSpPr>
              <p:nvPr/>
            </p:nvSpPr>
            <p:spPr bwMode="invGray">
              <a:xfrm>
                <a:off x="3703957" y="4967561"/>
                <a:ext cx="23633" cy="156414"/>
              </a:xfrm>
              <a:prstGeom prst="rect">
                <a:avLst/>
              </a:pr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85" name="Freeform 30"/>
              <p:cNvSpPr>
                <a:spLocks/>
              </p:cNvSpPr>
              <p:nvPr/>
            </p:nvSpPr>
            <p:spPr bwMode="invGray">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86" name="Freeform 31"/>
              <p:cNvSpPr>
                <a:spLocks/>
              </p:cNvSpPr>
              <p:nvPr/>
            </p:nvSpPr>
            <p:spPr bwMode="invGray">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87" name="Freeform 32"/>
              <p:cNvSpPr>
                <a:spLocks/>
              </p:cNvSpPr>
              <p:nvPr/>
            </p:nvSpPr>
            <p:spPr bwMode="invGray">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88" name="Freeform 33"/>
              <p:cNvSpPr>
                <a:spLocks noEditPoints="1"/>
              </p:cNvSpPr>
              <p:nvPr/>
            </p:nvSpPr>
            <p:spPr bwMode="invGray">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89" name="Freeform 34"/>
              <p:cNvSpPr>
                <a:spLocks/>
              </p:cNvSpPr>
              <p:nvPr/>
            </p:nvSpPr>
            <p:spPr bwMode="invGray">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90" name="Freeform 35"/>
              <p:cNvSpPr>
                <a:spLocks/>
              </p:cNvSpPr>
              <p:nvPr/>
            </p:nvSpPr>
            <p:spPr bwMode="invGray">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36" name="Rectangle 35"/>
            <p:cNvSpPr/>
            <p:nvPr/>
          </p:nvSpPr>
          <p:spPr>
            <a:xfrm>
              <a:off x="5438963"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37" name="Group 36"/>
            <p:cNvGrpSpPr/>
            <p:nvPr/>
          </p:nvGrpSpPr>
          <p:grpSpPr>
            <a:xfrm>
              <a:off x="5806767" y="630952"/>
              <a:ext cx="548376" cy="181607"/>
              <a:chOff x="10238410" y="4967852"/>
              <a:chExt cx="561691" cy="186381"/>
            </a:xfrm>
            <a:solidFill>
              <a:srgbClr val="FFFFFF"/>
            </a:solidFill>
            <a:effectLst/>
          </p:grpSpPr>
          <p:sp>
            <p:nvSpPr>
              <p:cNvPr id="177" name="Freeform 34"/>
              <p:cNvSpPr>
                <a:spLocks/>
              </p:cNvSpPr>
              <p:nvPr/>
            </p:nvSpPr>
            <p:spPr bwMode="invGray">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78" name="Freeform 35"/>
              <p:cNvSpPr>
                <a:spLocks/>
              </p:cNvSpPr>
              <p:nvPr/>
            </p:nvSpPr>
            <p:spPr bwMode="invGray">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79" name="Freeform 36"/>
              <p:cNvSpPr>
                <a:spLocks noEditPoints="1"/>
              </p:cNvSpPr>
              <p:nvPr/>
            </p:nvSpPr>
            <p:spPr bwMode="invGray">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80" name="Rectangle 37"/>
              <p:cNvSpPr>
                <a:spLocks noChangeArrowheads="1"/>
              </p:cNvSpPr>
              <p:nvPr/>
            </p:nvSpPr>
            <p:spPr bwMode="invGray">
              <a:xfrm>
                <a:off x="10646846" y="4967852"/>
                <a:ext cx="27666" cy="183105"/>
              </a:xfrm>
              <a:prstGeom prst="rect">
                <a:avLst/>
              </a:pr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81" name="Freeform 38"/>
              <p:cNvSpPr>
                <a:spLocks noEditPoints="1"/>
              </p:cNvSpPr>
              <p:nvPr/>
            </p:nvSpPr>
            <p:spPr bwMode="invGray">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38" name="Rectangle 37"/>
            <p:cNvSpPr/>
            <p:nvPr/>
          </p:nvSpPr>
          <p:spPr>
            <a:xfrm>
              <a:off x="1314134" y="5593229"/>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39" name="Group 38"/>
            <p:cNvGrpSpPr/>
            <p:nvPr/>
          </p:nvGrpSpPr>
          <p:grpSpPr>
            <a:xfrm>
              <a:off x="1776292" y="6161674"/>
              <a:ext cx="341617" cy="184726"/>
              <a:chOff x="2772926" y="4973833"/>
              <a:chExt cx="349910" cy="189581"/>
            </a:xfrm>
            <a:solidFill>
              <a:srgbClr val="FFFFFF"/>
            </a:solidFill>
            <a:effectLst/>
          </p:grpSpPr>
          <p:sp>
            <p:nvSpPr>
              <p:cNvPr id="174" name="Freeform 21"/>
              <p:cNvSpPr>
                <a:spLocks/>
              </p:cNvSpPr>
              <p:nvPr/>
            </p:nvSpPr>
            <p:spPr bwMode="invGray">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75" name="Freeform 22"/>
              <p:cNvSpPr>
                <a:spLocks noEditPoints="1"/>
              </p:cNvSpPr>
              <p:nvPr/>
            </p:nvSpPr>
            <p:spPr bwMode="invGray">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76" name="Freeform 23"/>
              <p:cNvSpPr>
                <a:spLocks/>
              </p:cNvSpPr>
              <p:nvPr/>
            </p:nvSpPr>
            <p:spPr bwMode="invGray">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40" name="Rectangle 39"/>
            <p:cNvSpPr/>
            <p:nvPr/>
          </p:nvSpPr>
          <p:spPr>
            <a:xfrm>
              <a:off x="1314134"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41" name="Group 40"/>
            <p:cNvGrpSpPr/>
            <p:nvPr/>
          </p:nvGrpSpPr>
          <p:grpSpPr>
            <a:xfrm>
              <a:off x="1426111" y="2013268"/>
              <a:ext cx="1060588" cy="210024"/>
              <a:chOff x="5953627" y="6205329"/>
              <a:chExt cx="1086337" cy="215543"/>
            </a:xfrm>
            <a:solidFill>
              <a:srgbClr val="FFFFFF"/>
            </a:solidFill>
            <a:effectLst/>
          </p:grpSpPr>
          <p:sp>
            <p:nvSpPr>
              <p:cNvPr id="163" name="Freeform 24"/>
              <p:cNvSpPr>
                <a:spLocks/>
              </p:cNvSpPr>
              <p:nvPr/>
            </p:nvSpPr>
            <p:spPr bwMode="invGray">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64" name="Freeform 25"/>
              <p:cNvSpPr>
                <a:spLocks noEditPoints="1"/>
              </p:cNvSpPr>
              <p:nvPr/>
            </p:nvSpPr>
            <p:spPr bwMode="invGray">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65" name="Freeform 26"/>
              <p:cNvSpPr>
                <a:spLocks/>
              </p:cNvSpPr>
              <p:nvPr/>
            </p:nvSpPr>
            <p:spPr bwMode="invGray">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66" name="Freeform 27"/>
              <p:cNvSpPr>
                <a:spLocks noEditPoints="1"/>
              </p:cNvSpPr>
              <p:nvPr/>
            </p:nvSpPr>
            <p:spPr bwMode="invGray">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67" name="Freeform 28"/>
              <p:cNvSpPr>
                <a:spLocks/>
              </p:cNvSpPr>
              <p:nvPr/>
            </p:nvSpPr>
            <p:spPr bwMode="invGray">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68" name="Freeform 29"/>
              <p:cNvSpPr>
                <a:spLocks/>
              </p:cNvSpPr>
              <p:nvPr/>
            </p:nvSpPr>
            <p:spPr bwMode="invGray">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69" name="Freeform 30"/>
              <p:cNvSpPr>
                <a:spLocks noEditPoints="1"/>
              </p:cNvSpPr>
              <p:nvPr/>
            </p:nvSpPr>
            <p:spPr bwMode="invGray">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70" name="Freeform 31"/>
              <p:cNvSpPr>
                <a:spLocks/>
              </p:cNvSpPr>
              <p:nvPr/>
            </p:nvSpPr>
            <p:spPr bwMode="invGray">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71" name="Rectangle 32"/>
              <p:cNvSpPr>
                <a:spLocks noChangeArrowheads="1"/>
              </p:cNvSpPr>
              <p:nvPr/>
            </p:nvSpPr>
            <p:spPr bwMode="invGray">
              <a:xfrm>
                <a:off x="6805851" y="6205329"/>
                <a:ext cx="25534" cy="166797"/>
              </a:xfrm>
              <a:prstGeom prst="rect">
                <a:avLst/>
              </a:pr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72" name="Freeform 33"/>
              <p:cNvSpPr>
                <a:spLocks noEditPoints="1"/>
              </p:cNvSpPr>
              <p:nvPr/>
            </p:nvSpPr>
            <p:spPr bwMode="invGray">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73" name="Freeform 34"/>
              <p:cNvSpPr>
                <a:spLocks/>
              </p:cNvSpPr>
              <p:nvPr/>
            </p:nvSpPr>
            <p:spPr bwMode="invGray">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42" name="Rectangle 41"/>
            <p:cNvSpPr/>
            <p:nvPr/>
          </p:nvSpPr>
          <p:spPr>
            <a:xfrm>
              <a:off x="2689079"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43" name="Group 42"/>
            <p:cNvGrpSpPr/>
            <p:nvPr/>
          </p:nvGrpSpPr>
          <p:grpSpPr>
            <a:xfrm>
              <a:off x="2882682" y="1938687"/>
              <a:ext cx="897339" cy="327830"/>
              <a:chOff x="7376591" y="6134773"/>
              <a:chExt cx="919129" cy="336446"/>
            </a:xfrm>
            <a:solidFill>
              <a:srgbClr val="FFFFFF"/>
            </a:solidFill>
            <a:effectLst/>
          </p:grpSpPr>
          <p:sp>
            <p:nvSpPr>
              <p:cNvPr id="156" name="Freeform 24"/>
              <p:cNvSpPr>
                <a:spLocks/>
              </p:cNvSpPr>
              <p:nvPr/>
            </p:nvSpPr>
            <p:spPr bwMode="invGray">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57" name="Freeform 25"/>
              <p:cNvSpPr>
                <a:spLocks/>
              </p:cNvSpPr>
              <p:nvPr/>
            </p:nvSpPr>
            <p:spPr bwMode="invGray">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58" name="Freeform 26"/>
              <p:cNvSpPr>
                <a:spLocks/>
              </p:cNvSpPr>
              <p:nvPr/>
            </p:nvSpPr>
            <p:spPr bwMode="invGray">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59" name="Freeform 27"/>
              <p:cNvSpPr>
                <a:spLocks/>
              </p:cNvSpPr>
              <p:nvPr/>
            </p:nvSpPr>
            <p:spPr bwMode="invGray">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60" name="Freeform 28"/>
              <p:cNvSpPr>
                <a:spLocks/>
              </p:cNvSpPr>
              <p:nvPr/>
            </p:nvSpPr>
            <p:spPr bwMode="invGray">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61" name="Freeform 29"/>
              <p:cNvSpPr>
                <a:spLocks/>
              </p:cNvSpPr>
              <p:nvPr/>
            </p:nvSpPr>
            <p:spPr bwMode="invGray">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62" name="Freeform 30"/>
              <p:cNvSpPr>
                <a:spLocks noEditPoints="1"/>
              </p:cNvSpPr>
              <p:nvPr/>
            </p:nvSpPr>
            <p:spPr bwMode="invGray">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44" name="Rectangle 43"/>
            <p:cNvSpPr/>
            <p:nvPr/>
          </p:nvSpPr>
          <p:spPr>
            <a:xfrm>
              <a:off x="5438963"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45" name="Group 44"/>
            <p:cNvGrpSpPr/>
            <p:nvPr/>
          </p:nvGrpSpPr>
          <p:grpSpPr>
            <a:xfrm>
              <a:off x="5740618" y="2013268"/>
              <a:ext cx="697934" cy="182711"/>
              <a:chOff x="420233" y="6191684"/>
              <a:chExt cx="714879" cy="187513"/>
            </a:xfrm>
            <a:solidFill>
              <a:srgbClr val="FFFFFF"/>
            </a:solidFill>
            <a:effectLst/>
          </p:grpSpPr>
          <p:sp>
            <p:nvSpPr>
              <p:cNvPr id="144" name="Freeform 20"/>
              <p:cNvSpPr>
                <a:spLocks/>
              </p:cNvSpPr>
              <p:nvPr/>
            </p:nvSpPr>
            <p:spPr bwMode="invGray">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45" name="Freeform 21"/>
              <p:cNvSpPr>
                <a:spLocks/>
              </p:cNvSpPr>
              <p:nvPr/>
            </p:nvSpPr>
            <p:spPr bwMode="invGray">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46" name="Freeform 22"/>
              <p:cNvSpPr>
                <a:spLocks/>
              </p:cNvSpPr>
              <p:nvPr/>
            </p:nvSpPr>
            <p:spPr bwMode="invGray">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47" name="Freeform 25"/>
              <p:cNvSpPr>
                <a:spLocks/>
              </p:cNvSpPr>
              <p:nvPr/>
            </p:nvSpPr>
            <p:spPr bwMode="invGray">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48" name="Freeform 26"/>
              <p:cNvSpPr>
                <a:spLocks/>
              </p:cNvSpPr>
              <p:nvPr/>
            </p:nvSpPr>
            <p:spPr bwMode="invGray">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49" name="Freeform 36"/>
              <p:cNvSpPr>
                <a:spLocks/>
              </p:cNvSpPr>
              <p:nvPr/>
            </p:nvSpPr>
            <p:spPr bwMode="invGray">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50" name="Freeform 37"/>
              <p:cNvSpPr>
                <a:spLocks noEditPoints="1"/>
              </p:cNvSpPr>
              <p:nvPr/>
            </p:nvSpPr>
            <p:spPr bwMode="invGray">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51" name="Freeform 38"/>
              <p:cNvSpPr>
                <a:spLocks/>
              </p:cNvSpPr>
              <p:nvPr/>
            </p:nvSpPr>
            <p:spPr bwMode="invGray">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52" name="Freeform 39"/>
              <p:cNvSpPr>
                <a:spLocks/>
              </p:cNvSpPr>
              <p:nvPr/>
            </p:nvSpPr>
            <p:spPr bwMode="invGray">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53" name="Freeform 42"/>
              <p:cNvSpPr>
                <a:spLocks/>
              </p:cNvSpPr>
              <p:nvPr/>
            </p:nvSpPr>
            <p:spPr bwMode="invGray">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54" name="Freeform 43"/>
              <p:cNvSpPr>
                <a:spLocks noEditPoints="1"/>
              </p:cNvSpPr>
              <p:nvPr/>
            </p:nvSpPr>
            <p:spPr bwMode="invGray">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55" name="Freeform 44"/>
              <p:cNvSpPr>
                <a:spLocks/>
              </p:cNvSpPr>
              <p:nvPr/>
            </p:nvSpPr>
            <p:spPr bwMode="invGray">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46" name="Rectangle 45"/>
            <p:cNvSpPr/>
            <p:nvPr/>
          </p:nvSpPr>
          <p:spPr>
            <a:xfrm>
              <a:off x="4064021" y="2839103"/>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47" name="Group 46"/>
            <p:cNvGrpSpPr/>
            <p:nvPr/>
          </p:nvGrpSpPr>
          <p:grpSpPr>
            <a:xfrm>
              <a:off x="4170773" y="3326415"/>
              <a:ext cx="1071036" cy="306513"/>
              <a:chOff x="2649884" y="6146155"/>
              <a:chExt cx="1395225" cy="400069"/>
            </a:xfrm>
            <a:solidFill>
              <a:srgbClr val="FFFFFF"/>
            </a:solidFill>
            <a:effectLst/>
          </p:grpSpPr>
          <p:sp>
            <p:nvSpPr>
              <p:cNvPr id="133" name="Line 6"/>
              <p:cNvSpPr>
                <a:spLocks noChangeShapeType="1"/>
              </p:cNvSpPr>
              <p:nvPr/>
            </p:nvSpPr>
            <p:spPr bwMode="invGray">
              <a:xfrm>
                <a:off x="2649884" y="6545967"/>
                <a:ext cx="257" cy="257"/>
              </a:xfrm>
              <a:prstGeom prst="line">
                <a:avLst/>
              </a:pr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34" name="Freeform 7"/>
              <p:cNvSpPr>
                <a:spLocks noEditPoints="1"/>
              </p:cNvSpPr>
              <p:nvPr/>
            </p:nvSpPr>
            <p:spPr bwMode="invGray">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35" name="Freeform 8"/>
              <p:cNvSpPr>
                <a:spLocks noEditPoints="1"/>
              </p:cNvSpPr>
              <p:nvPr/>
            </p:nvSpPr>
            <p:spPr bwMode="invGray">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36" name="Freeform 9"/>
              <p:cNvSpPr>
                <a:spLocks noEditPoints="1"/>
              </p:cNvSpPr>
              <p:nvPr/>
            </p:nvSpPr>
            <p:spPr bwMode="invGray">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37" name="Freeform 10"/>
              <p:cNvSpPr>
                <a:spLocks noEditPoints="1"/>
              </p:cNvSpPr>
              <p:nvPr/>
            </p:nvSpPr>
            <p:spPr bwMode="invGray">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38" name="Freeform 11"/>
              <p:cNvSpPr>
                <a:spLocks noEditPoints="1"/>
              </p:cNvSpPr>
              <p:nvPr/>
            </p:nvSpPr>
            <p:spPr bwMode="invGray">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39" name="Freeform 12"/>
              <p:cNvSpPr>
                <a:spLocks noEditPoints="1"/>
              </p:cNvSpPr>
              <p:nvPr/>
            </p:nvSpPr>
            <p:spPr bwMode="invGray">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40" name="Freeform 13"/>
              <p:cNvSpPr>
                <a:spLocks noEditPoints="1"/>
              </p:cNvSpPr>
              <p:nvPr/>
            </p:nvSpPr>
            <p:spPr bwMode="invGray">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41" name="Freeform 14"/>
              <p:cNvSpPr>
                <a:spLocks noEditPoints="1"/>
              </p:cNvSpPr>
              <p:nvPr/>
            </p:nvSpPr>
            <p:spPr bwMode="invGray">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42" name="Freeform 15"/>
              <p:cNvSpPr>
                <a:spLocks noEditPoints="1"/>
              </p:cNvSpPr>
              <p:nvPr/>
            </p:nvSpPr>
            <p:spPr bwMode="invGray">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43" name="Freeform 16"/>
              <p:cNvSpPr>
                <a:spLocks noEditPoints="1"/>
              </p:cNvSpPr>
              <p:nvPr/>
            </p:nvSpPr>
            <p:spPr bwMode="invGray">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48" name="Rectangle 47"/>
            <p:cNvSpPr/>
            <p:nvPr/>
          </p:nvSpPr>
          <p:spPr>
            <a:xfrm>
              <a:off x="1314134" y="4216164"/>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49" name="Group 48"/>
            <p:cNvGrpSpPr/>
            <p:nvPr/>
          </p:nvGrpSpPr>
          <p:grpSpPr>
            <a:xfrm>
              <a:off x="1546250" y="4718508"/>
              <a:ext cx="820313" cy="264966"/>
              <a:chOff x="8632347" y="6167032"/>
              <a:chExt cx="840228" cy="271928"/>
            </a:xfrm>
            <a:solidFill>
              <a:srgbClr val="FFFFFF"/>
            </a:solidFill>
            <a:effectLst/>
          </p:grpSpPr>
          <p:sp>
            <p:nvSpPr>
              <p:cNvPr id="130" name="Freeform 17"/>
              <p:cNvSpPr>
                <a:spLocks noEditPoints="1"/>
              </p:cNvSpPr>
              <p:nvPr/>
            </p:nvSpPr>
            <p:spPr bwMode="invGray">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31" name="Freeform 18"/>
              <p:cNvSpPr>
                <a:spLocks noEditPoints="1"/>
              </p:cNvSpPr>
              <p:nvPr/>
            </p:nvSpPr>
            <p:spPr bwMode="invGray">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32" name="Freeform 19"/>
              <p:cNvSpPr>
                <a:spLocks noEditPoints="1"/>
              </p:cNvSpPr>
              <p:nvPr/>
            </p:nvSpPr>
            <p:spPr bwMode="invGray">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50" name="Rectangle 49"/>
            <p:cNvSpPr/>
            <p:nvPr/>
          </p:nvSpPr>
          <p:spPr>
            <a:xfrm>
              <a:off x="1314134" y="2839103"/>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51" name="Group 50"/>
            <p:cNvGrpSpPr/>
            <p:nvPr/>
          </p:nvGrpSpPr>
          <p:grpSpPr>
            <a:xfrm>
              <a:off x="1424607" y="3393629"/>
              <a:ext cx="1050866" cy="171430"/>
              <a:chOff x="9809204" y="6215358"/>
              <a:chExt cx="1072317" cy="175273"/>
            </a:xfrm>
            <a:solidFill>
              <a:srgbClr val="FFFFFF"/>
            </a:solidFill>
            <a:effectLst/>
          </p:grpSpPr>
          <p:sp>
            <p:nvSpPr>
              <p:cNvPr id="122" name="Freeform 23"/>
              <p:cNvSpPr>
                <a:spLocks/>
              </p:cNvSpPr>
              <p:nvPr/>
            </p:nvSpPr>
            <p:spPr bwMode="invGray">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23" name="Freeform 24"/>
              <p:cNvSpPr>
                <a:spLocks noEditPoints="1"/>
              </p:cNvSpPr>
              <p:nvPr/>
            </p:nvSpPr>
            <p:spPr bwMode="invGray">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24" name="Freeform 25"/>
              <p:cNvSpPr>
                <a:spLocks/>
              </p:cNvSpPr>
              <p:nvPr/>
            </p:nvSpPr>
            <p:spPr bwMode="invGray">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25" name="Freeform 26"/>
              <p:cNvSpPr>
                <a:spLocks/>
              </p:cNvSpPr>
              <p:nvPr/>
            </p:nvSpPr>
            <p:spPr bwMode="invGray">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26" name="Freeform 27"/>
              <p:cNvSpPr>
                <a:spLocks noEditPoints="1"/>
              </p:cNvSpPr>
              <p:nvPr/>
            </p:nvSpPr>
            <p:spPr bwMode="invGray">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27" name="Freeform 28"/>
              <p:cNvSpPr>
                <a:spLocks/>
              </p:cNvSpPr>
              <p:nvPr/>
            </p:nvSpPr>
            <p:spPr bwMode="invGray">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28" name="Freeform 29"/>
              <p:cNvSpPr>
                <a:spLocks noEditPoints="1"/>
              </p:cNvSpPr>
              <p:nvPr/>
            </p:nvSpPr>
            <p:spPr bwMode="invGray">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29" name="Freeform 30"/>
              <p:cNvSpPr>
                <a:spLocks/>
              </p:cNvSpPr>
              <p:nvPr/>
            </p:nvSpPr>
            <p:spPr bwMode="invGray">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52" name="Rectangle 51"/>
            <p:cNvSpPr/>
            <p:nvPr/>
          </p:nvSpPr>
          <p:spPr>
            <a:xfrm>
              <a:off x="-60806" y="5593229"/>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53" name="Group 52"/>
            <p:cNvGrpSpPr/>
            <p:nvPr/>
          </p:nvGrpSpPr>
          <p:grpSpPr>
            <a:xfrm>
              <a:off x="114640" y="6163757"/>
              <a:ext cx="933657" cy="192039"/>
              <a:chOff x="4381738" y="6174707"/>
              <a:chExt cx="1235264" cy="254570"/>
            </a:xfrm>
            <a:solidFill>
              <a:srgbClr val="FFFFFF"/>
            </a:solidFill>
            <a:effectLst/>
          </p:grpSpPr>
          <p:sp>
            <p:nvSpPr>
              <p:cNvPr id="113" name="Freeform 5"/>
              <p:cNvSpPr>
                <a:spLocks noEditPoints="1"/>
              </p:cNvSpPr>
              <p:nvPr/>
            </p:nvSpPr>
            <p:spPr bwMode="invGray">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14" name="Freeform 6"/>
              <p:cNvSpPr>
                <a:spLocks noEditPoints="1"/>
              </p:cNvSpPr>
              <p:nvPr/>
            </p:nvSpPr>
            <p:spPr bwMode="invGray">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15" name="Freeform 7"/>
              <p:cNvSpPr>
                <a:spLocks/>
              </p:cNvSpPr>
              <p:nvPr/>
            </p:nvSpPr>
            <p:spPr bwMode="invGray">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16" name="Freeform 8"/>
              <p:cNvSpPr>
                <a:spLocks/>
              </p:cNvSpPr>
              <p:nvPr/>
            </p:nvSpPr>
            <p:spPr bwMode="invGray">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17" name="Freeform 9"/>
              <p:cNvSpPr>
                <a:spLocks noEditPoints="1"/>
              </p:cNvSpPr>
              <p:nvPr/>
            </p:nvSpPr>
            <p:spPr bwMode="invGray">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18" name="Freeform 10"/>
              <p:cNvSpPr>
                <a:spLocks noEditPoints="1"/>
              </p:cNvSpPr>
              <p:nvPr/>
            </p:nvSpPr>
            <p:spPr bwMode="invGray">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19" name="Freeform 11"/>
              <p:cNvSpPr>
                <a:spLocks noEditPoints="1"/>
              </p:cNvSpPr>
              <p:nvPr/>
            </p:nvSpPr>
            <p:spPr bwMode="invGray">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20" name="Freeform 12"/>
              <p:cNvSpPr>
                <a:spLocks noEditPoints="1"/>
              </p:cNvSpPr>
              <p:nvPr/>
            </p:nvSpPr>
            <p:spPr bwMode="invGray">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21" name="Freeform 13"/>
              <p:cNvSpPr>
                <a:spLocks noEditPoints="1"/>
              </p:cNvSpPr>
              <p:nvPr/>
            </p:nvSpPr>
            <p:spPr bwMode="invGray">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54" name="Rectangle 53"/>
            <p:cNvSpPr/>
            <p:nvPr/>
          </p:nvSpPr>
          <p:spPr>
            <a:xfrm>
              <a:off x="4064021" y="5593229"/>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55" name="Group 54"/>
            <p:cNvGrpSpPr/>
            <p:nvPr/>
          </p:nvGrpSpPr>
          <p:grpSpPr>
            <a:xfrm>
              <a:off x="4382252" y="6112561"/>
              <a:ext cx="648085" cy="242469"/>
              <a:chOff x="11218145" y="6191686"/>
              <a:chExt cx="663815" cy="248839"/>
            </a:xfrm>
            <a:solidFill>
              <a:srgbClr val="FFFFFF"/>
            </a:solidFill>
            <a:effectLst/>
          </p:grpSpPr>
          <p:sp>
            <p:nvSpPr>
              <p:cNvPr id="107" name="Freeform 18"/>
              <p:cNvSpPr>
                <a:spLocks noEditPoints="1"/>
              </p:cNvSpPr>
              <p:nvPr/>
            </p:nvSpPr>
            <p:spPr bwMode="invGray">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08" name="Freeform 19"/>
              <p:cNvSpPr>
                <a:spLocks noEditPoints="1"/>
              </p:cNvSpPr>
              <p:nvPr/>
            </p:nvSpPr>
            <p:spPr bwMode="invGray">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09" name="Freeform 20"/>
              <p:cNvSpPr>
                <a:spLocks/>
              </p:cNvSpPr>
              <p:nvPr/>
            </p:nvSpPr>
            <p:spPr bwMode="invGray">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10" name="Freeform 21"/>
              <p:cNvSpPr>
                <a:spLocks/>
              </p:cNvSpPr>
              <p:nvPr/>
            </p:nvSpPr>
            <p:spPr bwMode="invGray">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11" name="Freeform 22"/>
              <p:cNvSpPr>
                <a:spLocks noEditPoints="1"/>
              </p:cNvSpPr>
              <p:nvPr/>
            </p:nvSpPr>
            <p:spPr bwMode="invGray">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12" name="Freeform 23"/>
              <p:cNvSpPr>
                <a:spLocks noEditPoints="1"/>
              </p:cNvSpPr>
              <p:nvPr/>
            </p:nvSpPr>
            <p:spPr bwMode="invGray">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56" name="Rectangle 55"/>
            <p:cNvSpPr/>
            <p:nvPr/>
          </p:nvSpPr>
          <p:spPr>
            <a:xfrm>
              <a:off x="4064021" y="4216164"/>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57" name="Group 56"/>
            <p:cNvGrpSpPr/>
            <p:nvPr/>
          </p:nvGrpSpPr>
          <p:grpSpPr>
            <a:xfrm>
              <a:off x="4295508" y="4708732"/>
              <a:ext cx="821573" cy="254309"/>
              <a:chOff x="1471737" y="6192453"/>
              <a:chExt cx="841520" cy="260991"/>
            </a:xfrm>
            <a:solidFill>
              <a:srgbClr val="FFFFFF"/>
            </a:solidFill>
            <a:effectLst/>
          </p:grpSpPr>
          <p:sp>
            <p:nvSpPr>
              <p:cNvPr id="100" name="Freeform 20"/>
              <p:cNvSpPr>
                <a:spLocks noEditPoints="1"/>
              </p:cNvSpPr>
              <p:nvPr/>
            </p:nvSpPr>
            <p:spPr bwMode="invGray">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01" name="Freeform 21"/>
              <p:cNvSpPr>
                <a:spLocks noEditPoints="1"/>
              </p:cNvSpPr>
              <p:nvPr/>
            </p:nvSpPr>
            <p:spPr bwMode="invGray">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02" name="Freeform 22"/>
              <p:cNvSpPr>
                <a:spLocks/>
              </p:cNvSpPr>
              <p:nvPr/>
            </p:nvSpPr>
            <p:spPr bwMode="invGray">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03" name="Freeform 23"/>
              <p:cNvSpPr>
                <a:spLocks/>
              </p:cNvSpPr>
              <p:nvPr/>
            </p:nvSpPr>
            <p:spPr bwMode="invGray">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04" name="Freeform 24"/>
              <p:cNvSpPr>
                <a:spLocks noEditPoints="1"/>
              </p:cNvSpPr>
              <p:nvPr/>
            </p:nvSpPr>
            <p:spPr bwMode="invGray">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05" name="Freeform 25"/>
              <p:cNvSpPr>
                <a:spLocks noEditPoints="1"/>
              </p:cNvSpPr>
              <p:nvPr/>
            </p:nvSpPr>
            <p:spPr bwMode="invGray">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106" name="Freeform 26"/>
              <p:cNvSpPr>
                <a:spLocks/>
              </p:cNvSpPr>
              <p:nvPr/>
            </p:nvSpPr>
            <p:spPr bwMode="invGray">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58" name="Rectangle 57"/>
            <p:cNvSpPr/>
            <p:nvPr/>
          </p:nvSpPr>
          <p:spPr>
            <a:xfrm>
              <a:off x="9563785"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59" name="Group 58"/>
            <p:cNvGrpSpPr/>
            <p:nvPr/>
          </p:nvGrpSpPr>
          <p:grpSpPr>
            <a:xfrm>
              <a:off x="9933348" y="550126"/>
              <a:ext cx="545420" cy="350835"/>
              <a:chOff x="2481885" y="4360116"/>
              <a:chExt cx="558662" cy="360056"/>
            </a:xfrm>
            <a:solidFill>
              <a:srgbClr val="FFFFFF"/>
            </a:solidFill>
            <a:effectLst/>
          </p:grpSpPr>
          <p:sp>
            <p:nvSpPr>
              <p:cNvPr id="93" name="Freeform 21"/>
              <p:cNvSpPr>
                <a:spLocks/>
              </p:cNvSpPr>
              <p:nvPr/>
            </p:nvSpPr>
            <p:spPr bwMode="invGray">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94" name="Freeform 22"/>
              <p:cNvSpPr>
                <a:spLocks/>
              </p:cNvSpPr>
              <p:nvPr/>
            </p:nvSpPr>
            <p:spPr bwMode="invGray">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95" name="Freeform 23"/>
              <p:cNvSpPr>
                <a:spLocks/>
              </p:cNvSpPr>
              <p:nvPr/>
            </p:nvSpPr>
            <p:spPr bwMode="invGray">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96" name="Freeform 24"/>
              <p:cNvSpPr>
                <a:spLocks/>
              </p:cNvSpPr>
              <p:nvPr/>
            </p:nvSpPr>
            <p:spPr bwMode="invGray">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97" name="Freeform 25"/>
              <p:cNvSpPr>
                <a:spLocks/>
              </p:cNvSpPr>
              <p:nvPr/>
            </p:nvSpPr>
            <p:spPr bwMode="invGray">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98" name="Freeform 26"/>
              <p:cNvSpPr>
                <a:spLocks/>
              </p:cNvSpPr>
              <p:nvPr/>
            </p:nvSpPr>
            <p:spPr bwMode="invGray">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99" name="Freeform 27"/>
              <p:cNvSpPr>
                <a:spLocks/>
              </p:cNvSpPr>
              <p:nvPr/>
            </p:nvSpPr>
            <p:spPr bwMode="invGray">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60" name="Rectangle 59"/>
            <p:cNvSpPr/>
            <p:nvPr/>
          </p:nvSpPr>
          <p:spPr>
            <a:xfrm>
              <a:off x="4064021"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61" name="Group 60"/>
            <p:cNvGrpSpPr/>
            <p:nvPr/>
          </p:nvGrpSpPr>
          <p:grpSpPr>
            <a:xfrm>
              <a:off x="4390034" y="634958"/>
              <a:ext cx="634430" cy="181162"/>
              <a:chOff x="6791943" y="4414224"/>
              <a:chExt cx="649833" cy="185924"/>
            </a:xfrm>
            <a:solidFill>
              <a:srgbClr val="FFFFFF"/>
            </a:solidFill>
            <a:effectLst/>
          </p:grpSpPr>
          <p:sp>
            <p:nvSpPr>
              <p:cNvPr id="87" name="Freeform 22"/>
              <p:cNvSpPr>
                <a:spLocks/>
              </p:cNvSpPr>
              <p:nvPr/>
            </p:nvSpPr>
            <p:spPr bwMode="invGray">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88" name="Freeform 23"/>
              <p:cNvSpPr>
                <a:spLocks/>
              </p:cNvSpPr>
              <p:nvPr/>
            </p:nvSpPr>
            <p:spPr bwMode="invGray">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89" name="Freeform 24"/>
              <p:cNvSpPr>
                <a:spLocks noEditPoints="1"/>
              </p:cNvSpPr>
              <p:nvPr/>
            </p:nvSpPr>
            <p:spPr bwMode="invGray">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90" name="Freeform 25"/>
              <p:cNvSpPr>
                <a:spLocks/>
              </p:cNvSpPr>
              <p:nvPr/>
            </p:nvSpPr>
            <p:spPr bwMode="invGray">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91" name="Freeform 26"/>
              <p:cNvSpPr>
                <a:spLocks noEditPoints="1"/>
              </p:cNvSpPr>
              <p:nvPr/>
            </p:nvSpPr>
            <p:spPr bwMode="invGray">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92" name="Freeform 27"/>
              <p:cNvSpPr>
                <a:spLocks noEditPoints="1"/>
              </p:cNvSpPr>
              <p:nvPr/>
            </p:nvSpPr>
            <p:spPr bwMode="invGray">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62" name="Rectangle 61"/>
            <p:cNvSpPr/>
            <p:nvPr/>
          </p:nvSpPr>
          <p:spPr>
            <a:xfrm>
              <a:off x="-60806" y="2839104"/>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63" name="Group 62"/>
            <p:cNvGrpSpPr/>
            <p:nvPr/>
          </p:nvGrpSpPr>
          <p:grpSpPr>
            <a:xfrm>
              <a:off x="230698" y="3357405"/>
              <a:ext cx="701534" cy="291019"/>
              <a:chOff x="7844547" y="4357855"/>
              <a:chExt cx="718565" cy="298667"/>
            </a:xfrm>
            <a:solidFill>
              <a:srgbClr val="FFFFFF"/>
            </a:solidFill>
            <a:effectLst/>
          </p:grpSpPr>
          <p:sp>
            <p:nvSpPr>
              <p:cNvPr id="83" name="Freeform 18"/>
              <p:cNvSpPr>
                <a:spLocks/>
              </p:cNvSpPr>
              <p:nvPr/>
            </p:nvSpPr>
            <p:spPr bwMode="invGray">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84" name="Freeform 20"/>
              <p:cNvSpPr>
                <a:spLocks/>
              </p:cNvSpPr>
              <p:nvPr/>
            </p:nvSpPr>
            <p:spPr bwMode="invGray">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85" name="Freeform 21"/>
              <p:cNvSpPr>
                <a:spLocks noEditPoints="1"/>
              </p:cNvSpPr>
              <p:nvPr/>
            </p:nvSpPr>
            <p:spPr bwMode="invGray">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86" name="Oval 85"/>
              <p:cNvSpPr>
                <a:spLocks noChangeAspect="1"/>
              </p:cNvSpPr>
              <p:nvPr/>
            </p:nvSpPr>
            <p:spPr bwMode="invGray">
              <a:xfrm>
                <a:off x="8159966" y="4376370"/>
                <a:ext cx="41897" cy="41897"/>
              </a:xfrm>
              <a:prstGeom prst="ellipse">
                <a:avLst/>
              </a:pr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64" name="Rectangle 63"/>
            <p:cNvSpPr/>
            <p:nvPr/>
          </p:nvSpPr>
          <p:spPr>
            <a:xfrm>
              <a:off x="10938731" y="1462038"/>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65" name="Group 64"/>
            <p:cNvGrpSpPr/>
            <p:nvPr/>
          </p:nvGrpSpPr>
          <p:grpSpPr>
            <a:xfrm>
              <a:off x="11361396" y="2020053"/>
              <a:ext cx="439213" cy="179551"/>
              <a:chOff x="4491504" y="4454449"/>
              <a:chExt cx="449878" cy="184270"/>
            </a:xfrm>
            <a:solidFill>
              <a:srgbClr val="FFFFFF"/>
            </a:solidFill>
            <a:effectLst/>
          </p:grpSpPr>
          <p:sp>
            <p:nvSpPr>
              <p:cNvPr id="79" name="Freeform 22"/>
              <p:cNvSpPr>
                <a:spLocks/>
              </p:cNvSpPr>
              <p:nvPr/>
            </p:nvSpPr>
            <p:spPr bwMode="invGray">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80" name="Freeform 23"/>
              <p:cNvSpPr>
                <a:spLocks noEditPoints="1"/>
              </p:cNvSpPr>
              <p:nvPr/>
            </p:nvSpPr>
            <p:spPr bwMode="invGray">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81" name="Freeform 24"/>
              <p:cNvSpPr>
                <a:spLocks/>
              </p:cNvSpPr>
              <p:nvPr/>
            </p:nvSpPr>
            <p:spPr bwMode="invGray">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82" name="Freeform 25"/>
              <p:cNvSpPr>
                <a:spLocks/>
              </p:cNvSpPr>
              <p:nvPr/>
            </p:nvSpPr>
            <p:spPr bwMode="invGray">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66" name="Rectangle 65"/>
            <p:cNvSpPr/>
            <p:nvPr/>
          </p:nvSpPr>
          <p:spPr>
            <a:xfrm>
              <a:off x="8188846"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67" name="Group 66"/>
            <p:cNvGrpSpPr/>
            <p:nvPr/>
          </p:nvGrpSpPr>
          <p:grpSpPr>
            <a:xfrm>
              <a:off x="8527651" y="624842"/>
              <a:ext cx="606932" cy="201396"/>
              <a:chOff x="3467068" y="4450074"/>
              <a:chExt cx="621665" cy="206687"/>
            </a:xfrm>
            <a:solidFill>
              <a:srgbClr val="FFFFFF"/>
            </a:solidFill>
            <a:effectLst/>
          </p:grpSpPr>
          <p:sp>
            <p:nvSpPr>
              <p:cNvPr id="73" name="Freeform 23"/>
              <p:cNvSpPr>
                <a:spLocks/>
              </p:cNvSpPr>
              <p:nvPr/>
            </p:nvSpPr>
            <p:spPr bwMode="invGray">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74" name="Freeform 24"/>
              <p:cNvSpPr>
                <a:spLocks noEditPoints="1"/>
              </p:cNvSpPr>
              <p:nvPr/>
            </p:nvSpPr>
            <p:spPr bwMode="invGray">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75" name="Freeform 25"/>
              <p:cNvSpPr>
                <a:spLocks noEditPoints="1"/>
              </p:cNvSpPr>
              <p:nvPr/>
            </p:nvSpPr>
            <p:spPr bwMode="invGray">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76" name="Freeform 26"/>
              <p:cNvSpPr>
                <a:spLocks/>
              </p:cNvSpPr>
              <p:nvPr/>
            </p:nvSpPr>
            <p:spPr bwMode="invGray">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77" name="Freeform 27"/>
              <p:cNvSpPr>
                <a:spLocks noEditPoints="1"/>
              </p:cNvSpPr>
              <p:nvPr/>
            </p:nvSpPr>
            <p:spPr bwMode="invGray">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78" name="Freeform 28"/>
              <p:cNvSpPr>
                <a:spLocks/>
              </p:cNvSpPr>
              <p:nvPr/>
            </p:nvSpPr>
            <p:spPr bwMode="invGray">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68" name="Rectangle 67"/>
            <p:cNvSpPr/>
            <p:nvPr/>
          </p:nvSpPr>
          <p:spPr>
            <a:xfrm>
              <a:off x="10938730" y="84976"/>
              <a:ext cx="1284549" cy="1281133"/>
            </a:xfrm>
            <a:prstGeom prst="rect">
              <a:avLst/>
            </a:prstGeom>
            <a:solidFill>
              <a:srgbClr val="E31A25"/>
            </a:solidFill>
            <a:ln>
              <a:noFill/>
            </a:ln>
          </p:spPr>
          <p:style>
            <a:lnRef idx="2">
              <a:schemeClr val="accent1">
                <a:shade val="50000"/>
              </a:schemeClr>
            </a:lnRef>
            <a:fillRef idx="1">
              <a:schemeClr val="accent1"/>
            </a:fillRef>
            <a:effectRef idx="0">
              <a:schemeClr val="accent1"/>
            </a:effectRef>
            <a:fontRef idx="minor">
              <a:schemeClr val="lt1"/>
            </a:fontRef>
          </p:style>
          <p:txBody>
            <a:bodyPr lIns="91553" tIns="45778" rIns="91553" bIns="45778"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55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grpSp>
          <p:nvGrpSpPr>
            <p:cNvPr id="69" name="Group 68"/>
            <p:cNvGrpSpPr/>
            <p:nvPr/>
          </p:nvGrpSpPr>
          <p:grpSpPr>
            <a:xfrm>
              <a:off x="11255573" y="643430"/>
              <a:ext cx="598370" cy="281126"/>
              <a:chOff x="8669045" y="5484723"/>
              <a:chExt cx="612897" cy="288514"/>
            </a:xfrm>
            <a:solidFill>
              <a:srgbClr val="FFFFFF"/>
            </a:solidFill>
            <a:effectLst/>
          </p:grpSpPr>
          <p:sp>
            <p:nvSpPr>
              <p:cNvPr id="71" name="Freeform 16"/>
              <p:cNvSpPr>
                <a:spLocks noEditPoints="1"/>
              </p:cNvSpPr>
              <p:nvPr/>
            </p:nvSpPr>
            <p:spPr bwMode="invGray">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sp>
            <p:nvSpPr>
              <p:cNvPr id="72" name="Freeform 17"/>
              <p:cNvSpPr>
                <a:spLocks noEditPoints="1"/>
              </p:cNvSpPr>
              <p:nvPr/>
            </p:nvSpPr>
            <p:spPr bwMode="invGray">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119218" tIns="59610" rIns="119218" bIns="59610" numCol="1" anchor="t" anchorCtr="0" compatLnSpc="1">
                <a:prstTxWarp prst="textNoShape">
                  <a:avLst/>
                </a:prstTxWarp>
              </a:bodyPr>
              <a:lstStyle/>
              <a:p>
                <a:pPr marL="0" marR="0" lvl="0" indent="0" algn="l" defTabSz="1033446"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50000">
                        <a:srgbClr val="F0D77C"/>
                      </a:gs>
                      <a:gs pos="100000">
                        <a:srgbClr val="E3A535"/>
                      </a:gs>
                    </a:gsLst>
                    <a:lin ang="10800000" scaled="1"/>
                  </a:gradFill>
                  <a:effectLst/>
                  <a:uLnTx/>
                  <a:uFillTx/>
                  <a:latin typeface="Segoe UI" pitchFamily="34" charset="0"/>
                  <a:ea typeface="Segoe UI" pitchFamily="34" charset="0"/>
                  <a:cs typeface="Segoe UI" pitchFamily="34" charset="0"/>
                </a:endParaRPr>
              </a:p>
            </p:txBody>
          </p:sp>
        </p:grpSp>
        <p:sp>
          <p:nvSpPr>
            <p:cNvPr id="70" name="Rectangle 69"/>
            <p:cNvSpPr/>
            <p:nvPr/>
          </p:nvSpPr>
          <p:spPr>
            <a:xfrm>
              <a:off x="6938293" y="3094060"/>
              <a:ext cx="5327597" cy="1515749"/>
            </a:xfrm>
            <a:prstGeom prst="rect">
              <a:avLst/>
            </a:prstGeom>
          </p:spPr>
          <p:txBody>
            <a:bodyPr wrap="none" lIns="121674" tIns="60837" rIns="121674" bIns="60837">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975" b="0" i="0" u="none" strike="noStrike" kern="1200" cap="none" spc="0" normalizeH="0" baseline="0" noProof="0" dirty="0">
                  <a:ln>
                    <a:noFill/>
                  </a:ln>
                  <a:solidFill>
                    <a:srgbClr val="FFFFFF">
                      <a:alpha val="99000"/>
                    </a:srgbClr>
                  </a:solidFill>
                  <a:effectLst/>
                  <a:uLnTx/>
                  <a:uFillTx/>
                  <a:latin typeface="Segoe UI" pitchFamily="34" charset="0"/>
                  <a:ea typeface="Segoe UI" pitchFamily="34" charset="0"/>
                  <a:cs typeface="Segoe UI" pitchFamily="34" charset="0"/>
                </a:rPr>
                <a:t>thank you</a:t>
              </a:r>
            </a:p>
          </p:txBody>
        </p:sp>
      </p:grpSp>
    </p:spTree>
    <p:extLst>
      <p:ext uri="{BB962C8B-B14F-4D97-AF65-F5344CB8AC3E}">
        <p14:creationId xmlns:p14="http://schemas.microsoft.com/office/powerpoint/2010/main" val="15903528"/>
      </p:ext>
    </p:extLst>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Walkin No tile">
    <p:bg>
      <p:bgRef idx="1001">
        <a:schemeClr val="bg1"/>
      </p:bgRef>
    </p:bg>
    <p:spTree>
      <p:nvGrpSpPr>
        <p:cNvPr id="1" name=""/>
        <p:cNvGrpSpPr/>
        <p:nvPr/>
      </p:nvGrpSpPr>
      <p:grpSpPr>
        <a:xfrm>
          <a:off x="0" y="0"/>
          <a:ext cx="0" cy="0"/>
          <a:chOff x="0" y="0"/>
          <a:chExt cx="0" cy="0"/>
        </a:xfrm>
      </p:grpSpPr>
      <p:pic>
        <p:nvPicPr>
          <p:cNvPr id="476" name="Picture 47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336" y="-16345"/>
            <a:ext cx="12453087" cy="7020638"/>
          </a:xfrm>
          <a:prstGeom prst="rect">
            <a:avLst/>
          </a:prstGeom>
        </p:spPr>
      </p:pic>
      <p:sp>
        <p:nvSpPr>
          <p:cNvPr id="21" name="Rectangle 20"/>
          <p:cNvSpPr/>
          <p:nvPr userDrawn="1"/>
        </p:nvSpPr>
        <p:spPr bwMode="auto">
          <a:xfrm>
            <a:off x="6719749" y="2114877"/>
            <a:ext cx="5718002" cy="4889415"/>
          </a:xfrm>
          <a:prstGeom prst="rect">
            <a:avLst/>
          </a:prstGeom>
          <a:gradFill flip="none" rotWithShape="1">
            <a:gsLst>
              <a:gs pos="77000">
                <a:srgbClr val="000000">
                  <a:alpha val="94000"/>
                </a:srgbClr>
              </a:gs>
              <a:gs pos="0">
                <a:srgbClr val="000000">
                  <a:alpha val="0"/>
                </a:srgbClr>
              </a:gs>
              <a:gs pos="37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8" name="Rectangle 457"/>
          <p:cNvSpPr/>
          <p:nvPr userDrawn="1"/>
        </p:nvSpPr>
        <p:spPr bwMode="auto">
          <a:xfrm rot="10800000">
            <a:off x="-15336" y="0"/>
            <a:ext cx="12450690" cy="7007556"/>
          </a:xfrm>
          <a:prstGeom prst="rect">
            <a:avLst/>
          </a:prstGeom>
          <a:gradFill flip="none" rotWithShape="1">
            <a:gsLst>
              <a:gs pos="77000">
                <a:srgbClr val="000000">
                  <a:alpha val="94000"/>
                </a:srgbClr>
              </a:gs>
              <a:gs pos="0">
                <a:srgbClr val="000000">
                  <a:alpha val="0"/>
                </a:srgbClr>
              </a:gs>
              <a:gs pos="37000">
                <a:srgbClr val="000000">
                  <a:alpha val="0"/>
                </a:srgbClr>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20755">
                    <a:srgbClr val="000814"/>
                  </a:gs>
                  <a:gs pos="58000">
                    <a:srgbClr val="000814"/>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invGray">
          <a:xfrm>
            <a:off x="5757552" y="5077351"/>
            <a:ext cx="6402388" cy="1612385"/>
          </a:xfrm>
          <a:noFill/>
        </p:spPr>
        <p:txBody>
          <a:bodyPr lIns="146304" tIns="91440" rIns="146304" bIns="91440" anchor="t" anchorCtr="0"/>
          <a:lstStyle>
            <a:lvl1pPr algn="r">
              <a:defRPr sz="4800" spc="-100" baseline="0">
                <a:gradFill>
                  <a:gsLst>
                    <a:gs pos="90566">
                      <a:schemeClr val="tx1"/>
                    </a:gs>
                    <a:gs pos="54000">
                      <a:schemeClr val="tx1"/>
                    </a:gs>
                  </a:gsLst>
                  <a:lin ang="5400000" scaled="0"/>
                </a:gradFill>
                <a:latin typeface="Segoe UI Light" panose="020B0502040204020203" pitchFamily="34" charset="0"/>
                <a:ea typeface="Segoe UI Black" panose="020B0A02040204020203" pitchFamily="34" charset="0"/>
                <a:cs typeface="Segoe UI Light" panose="020B0502040204020203" pitchFamily="34" charset="0"/>
              </a:defRPr>
            </a:lvl1pPr>
          </a:lstStyle>
          <a:p>
            <a:r>
              <a:rPr lang="en-US" dirty="0"/>
              <a:t>U.S. Public Sector FY17 Azure Days</a:t>
            </a:r>
          </a:p>
        </p:txBody>
      </p:sp>
      <p:grpSp>
        <p:nvGrpSpPr>
          <p:cNvPr id="7" name="Group 6"/>
          <p:cNvGrpSpPr>
            <a:grpSpLocks noChangeAspect="1"/>
          </p:cNvGrpSpPr>
          <p:nvPr userDrawn="1"/>
        </p:nvGrpSpPr>
        <p:grpSpPr bwMode="ltGray">
          <a:xfrm>
            <a:off x="468308" y="479425"/>
            <a:ext cx="1448129" cy="310896"/>
            <a:chOff x="457200" y="1643393"/>
            <a:chExt cx="4492753" cy="964540"/>
          </a:xfrm>
        </p:grpSpPr>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ltGray">
            <a:xfrm>
              <a:off x="457200" y="1643393"/>
              <a:ext cx="964540" cy="964540"/>
            </a:xfrm>
            <a:prstGeom prst="rect">
              <a:avLst/>
            </a:prstGeom>
          </p:spPr>
        </p:pic>
        <p:sp>
          <p:nvSpPr>
            <p:cNvPr id="11" name="Freeform 10"/>
            <p:cNvSpPr>
              <a:spLocks noEditPoints="1"/>
            </p:cNvSpPr>
            <p:nvPr/>
          </p:nvSpPr>
          <p:spPr bwMode="lt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77" name="Group 476" hidden="1"/>
          <p:cNvGrpSpPr/>
          <p:nvPr userDrawn="1"/>
        </p:nvGrpSpPr>
        <p:grpSpPr>
          <a:xfrm>
            <a:off x="6845768" y="-35801"/>
            <a:ext cx="5306635" cy="6560737"/>
            <a:chOff x="6845768" y="-35801"/>
            <a:chExt cx="5306635" cy="6560737"/>
          </a:xfrm>
        </p:grpSpPr>
        <p:cxnSp>
          <p:nvCxnSpPr>
            <p:cNvPr id="254" name="Elbow Connector 253"/>
            <p:cNvCxnSpPr/>
            <p:nvPr userDrawn="1"/>
          </p:nvCxnSpPr>
          <p:spPr>
            <a:xfrm flipV="1">
              <a:off x="7224066" y="5889897"/>
              <a:ext cx="434192" cy="190514"/>
            </a:xfrm>
            <a:prstGeom prst="bentConnector3">
              <a:avLst/>
            </a:prstGeom>
            <a:ln w="9525">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1" name="Oval 260"/>
            <p:cNvSpPr/>
            <p:nvPr userDrawn="1"/>
          </p:nvSpPr>
          <p:spPr bwMode="auto">
            <a:xfrm>
              <a:off x="7120085" y="6028420"/>
              <a:ext cx="103981" cy="103981"/>
            </a:xfrm>
            <a:prstGeom prst="ellipse">
              <a:avLst/>
            </a:prstGeom>
            <a:noFill/>
            <a:ln w="9525">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62" name="Straight Connector 261"/>
            <p:cNvCxnSpPr/>
            <p:nvPr userDrawn="1"/>
          </p:nvCxnSpPr>
          <p:spPr>
            <a:xfrm>
              <a:off x="6949749" y="6331871"/>
              <a:ext cx="783124" cy="0"/>
            </a:xfrm>
            <a:prstGeom prst="line">
              <a:avLst/>
            </a:prstGeom>
            <a:ln w="9525">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4" name="Oval 263"/>
            <p:cNvSpPr/>
            <p:nvPr userDrawn="1"/>
          </p:nvSpPr>
          <p:spPr bwMode="auto">
            <a:xfrm>
              <a:off x="6845768" y="6277789"/>
              <a:ext cx="103981" cy="103981"/>
            </a:xfrm>
            <a:prstGeom prst="ellipse">
              <a:avLst/>
            </a:prstGeom>
            <a:noFill/>
            <a:ln w="9525">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52" name="Group 451"/>
            <p:cNvGrpSpPr/>
            <p:nvPr userDrawn="1"/>
          </p:nvGrpSpPr>
          <p:grpSpPr>
            <a:xfrm flipH="1">
              <a:off x="11261621" y="5889897"/>
              <a:ext cx="890782" cy="491873"/>
              <a:chOff x="6998168" y="6042297"/>
              <a:chExt cx="890782" cy="491873"/>
            </a:xfrm>
          </p:grpSpPr>
          <p:cxnSp>
            <p:nvCxnSpPr>
              <p:cNvPr id="448" name="Elbow Connector 447"/>
              <p:cNvCxnSpPr/>
              <p:nvPr userDrawn="1"/>
            </p:nvCxnSpPr>
            <p:spPr>
              <a:xfrm rot="10800000" flipH="1">
                <a:off x="7376465" y="6042297"/>
                <a:ext cx="512485" cy="190514"/>
              </a:xfrm>
              <a:prstGeom prst="bentConnector3">
                <a:avLst/>
              </a:prstGeom>
              <a:ln w="9525">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9" name="Oval 448"/>
              <p:cNvSpPr/>
              <p:nvPr userDrawn="1"/>
            </p:nvSpPr>
            <p:spPr bwMode="auto">
              <a:xfrm>
                <a:off x="7272485" y="6180820"/>
                <a:ext cx="103981" cy="103981"/>
              </a:xfrm>
              <a:prstGeom prst="ellipse">
                <a:avLst/>
              </a:prstGeom>
              <a:noFill/>
              <a:ln w="9525">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50" name="Straight Connector 449"/>
              <p:cNvCxnSpPr/>
              <p:nvPr userDrawn="1"/>
            </p:nvCxnSpPr>
            <p:spPr>
              <a:xfrm>
                <a:off x="7102149" y="6484271"/>
                <a:ext cx="415222" cy="0"/>
              </a:xfrm>
              <a:prstGeom prst="line">
                <a:avLst/>
              </a:prstGeom>
              <a:ln w="9525">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1" name="Oval 450"/>
              <p:cNvSpPr/>
              <p:nvPr userDrawn="1"/>
            </p:nvSpPr>
            <p:spPr bwMode="auto">
              <a:xfrm>
                <a:off x="6998168" y="6430189"/>
                <a:ext cx="103981" cy="103981"/>
              </a:xfrm>
              <a:prstGeom prst="ellipse">
                <a:avLst/>
              </a:prstGeom>
              <a:noFill/>
              <a:ln w="9525">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4" name="Picture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579670" y="5754973"/>
              <a:ext cx="4129181" cy="769963"/>
            </a:xfrm>
            <a:prstGeom prst="rect">
              <a:avLst/>
            </a:prstGeom>
          </p:spPr>
        </p:pic>
        <p:sp>
          <p:nvSpPr>
            <p:cNvPr id="189" name="Oval 188"/>
            <p:cNvSpPr/>
            <p:nvPr userDrawn="1"/>
          </p:nvSpPr>
          <p:spPr bwMode="auto">
            <a:xfrm>
              <a:off x="10933384" y="3785648"/>
              <a:ext cx="103981" cy="103981"/>
            </a:xfrm>
            <a:prstGeom prst="ellipse">
              <a:avLst/>
            </a:prstGeom>
            <a:noFill/>
            <a:ln w="9525">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Oval 189"/>
            <p:cNvSpPr/>
            <p:nvPr userDrawn="1"/>
          </p:nvSpPr>
          <p:spPr bwMode="auto">
            <a:xfrm>
              <a:off x="10501583" y="4008548"/>
              <a:ext cx="103981" cy="103981"/>
            </a:xfrm>
            <a:prstGeom prst="ellipse">
              <a:avLst/>
            </a:prstGeom>
            <a:noFill/>
            <a:ln w="952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Oval 190"/>
            <p:cNvSpPr/>
            <p:nvPr userDrawn="1"/>
          </p:nvSpPr>
          <p:spPr bwMode="auto">
            <a:xfrm>
              <a:off x="10287667" y="2955772"/>
              <a:ext cx="103981" cy="103981"/>
            </a:xfrm>
            <a:prstGeom prst="ellipse">
              <a:avLst/>
            </a:prstGeom>
            <a:noFill/>
            <a:ln w="952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2" name="Oval 191"/>
            <p:cNvSpPr/>
            <p:nvPr userDrawn="1"/>
          </p:nvSpPr>
          <p:spPr bwMode="auto">
            <a:xfrm>
              <a:off x="9547495" y="2509749"/>
              <a:ext cx="103981" cy="103981"/>
            </a:xfrm>
            <a:prstGeom prst="ellipse">
              <a:avLst/>
            </a:prstGeom>
            <a:noFill/>
            <a:ln w="952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3" name="Oval 192"/>
            <p:cNvSpPr/>
            <p:nvPr userDrawn="1"/>
          </p:nvSpPr>
          <p:spPr bwMode="auto">
            <a:xfrm>
              <a:off x="8555476" y="3237014"/>
              <a:ext cx="103981" cy="103981"/>
            </a:xfrm>
            <a:prstGeom prst="ellipse">
              <a:avLst/>
            </a:prstGeom>
            <a:noFill/>
            <a:ln w="9525">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4" name="Oval 193"/>
            <p:cNvSpPr/>
            <p:nvPr userDrawn="1"/>
          </p:nvSpPr>
          <p:spPr bwMode="auto">
            <a:xfrm>
              <a:off x="8090213" y="4191415"/>
              <a:ext cx="103981" cy="103981"/>
            </a:xfrm>
            <a:prstGeom prst="ellipse">
              <a:avLst/>
            </a:prstGeom>
            <a:noFill/>
            <a:ln w="9525">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5" name="Oval 194"/>
            <p:cNvSpPr/>
            <p:nvPr userDrawn="1"/>
          </p:nvSpPr>
          <p:spPr bwMode="auto">
            <a:xfrm>
              <a:off x="7743763" y="3739071"/>
              <a:ext cx="103981" cy="103981"/>
            </a:xfrm>
            <a:prstGeom prst="ellipse">
              <a:avLst/>
            </a:prstGeom>
            <a:noFill/>
            <a:ln w="9525">
              <a:solidFill>
                <a:srgbClr val="BAD80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96" name="Elbow Connector 195"/>
            <p:cNvCxnSpPr/>
            <p:nvPr userDrawn="1"/>
          </p:nvCxnSpPr>
          <p:spPr>
            <a:xfrm rot="16200000" flipV="1">
              <a:off x="6179076" y="1645723"/>
              <a:ext cx="3807672" cy="469106"/>
            </a:xfrm>
            <a:prstGeom prst="bentConnector3">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p:nvPr userDrawn="1"/>
          </p:nvCxnSpPr>
          <p:spPr>
            <a:xfrm flipV="1">
              <a:off x="9250633" y="-26914"/>
              <a:ext cx="0" cy="4132373"/>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2" name="Elbow Connector 201"/>
            <p:cNvCxnSpPr/>
            <p:nvPr userDrawn="1"/>
          </p:nvCxnSpPr>
          <p:spPr>
            <a:xfrm rot="16200000" flipV="1">
              <a:off x="8261057" y="1380968"/>
              <a:ext cx="3145759" cy="329990"/>
            </a:xfrm>
            <a:prstGeom prst="bentConnector3">
              <a:avLst>
                <a:gd name="adj1" fmla="val 58720"/>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5" name="Elbow Connector 204"/>
            <p:cNvCxnSpPr/>
            <p:nvPr userDrawn="1"/>
          </p:nvCxnSpPr>
          <p:spPr>
            <a:xfrm rot="5400000" flipH="1" flipV="1">
              <a:off x="9179609" y="1137896"/>
              <a:ext cx="2566853" cy="237228"/>
            </a:xfrm>
            <a:prstGeom prst="bentConnector3">
              <a:avLst>
                <a:gd name="adj1" fmla="val 29516"/>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userDrawn="1"/>
          </p:nvCxnSpPr>
          <p:spPr>
            <a:xfrm flipV="1">
              <a:off x="10153922" y="-35801"/>
              <a:ext cx="0" cy="741223"/>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1" name="Oval 210"/>
            <p:cNvSpPr/>
            <p:nvPr userDrawn="1"/>
          </p:nvSpPr>
          <p:spPr bwMode="auto">
            <a:xfrm>
              <a:off x="8266666" y="3785022"/>
              <a:ext cx="103981" cy="103981"/>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2" name="Oval 211"/>
            <p:cNvSpPr/>
            <p:nvPr userDrawn="1"/>
          </p:nvSpPr>
          <p:spPr bwMode="auto">
            <a:xfrm>
              <a:off x="9194673" y="4112257"/>
              <a:ext cx="103981" cy="103981"/>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3" name="Oval 212"/>
            <p:cNvSpPr/>
            <p:nvPr userDrawn="1"/>
          </p:nvSpPr>
          <p:spPr bwMode="auto">
            <a:xfrm>
              <a:off x="9949927" y="3120828"/>
              <a:ext cx="103981" cy="103981"/>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Oval 213"/>
            <p:cNvSpPr/>
            <p:nvPr userDrawn="1"/>
          </p:nvSpPr>
          <p:spPr bwMode="auto">
            <a:xfrm>
              <a:off x="10291242" y="2544542"/>
              <a:ext cx="103981" cy="103981"/>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5" name="Oval 214"/>
            <p:cNvSpPr/>
            <p:nvPr userDrawn="1"/>
          </p:nvSpPr>
          <p:spPr bwMode="auto">
            <a:xfrm>
              <a:off x="10101164" y="705422"/>
              <a:ext cx="103981" cy="103981"/>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8" name="Oval 217"/>
            <p:cNvSpPr/>
            <p:nvPr userDrawn="1"/>
          </p:nvSpPr>
          <p:spPr bwMode="auto">
            <a:xfrm>
              <a:off x="7552491" y="3130651"/>
              <a:ext cx="103981" cy="103981"/>
            </a:xfrm>
            <a:prstGeom prst="ellipse">
              <a:avLst/>
            </a:prstGeom>
            <a:noFill/>
            <a:ln w="9525">
              <a:solidFill>
                <a:srgbClr val="BAD80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74" name="Elbow Connector 173"/>
            <p:cNvCxnSpPr/>
            <p:nvPr userDrawn="1"/>
          </p:nvCxnSpPr>
          <p:spPr>
            <a:xfrm rot="16200000" flipV="1">
              <a:off x="10112942" y="4555145"/>
              <a:ext cx="1097268" cy="215212"/>
            </a:xfrm>
            <a:prstGeom prst="bentConnector3">
              <a:avLst>
                <a:gd name="adj1" fmla="val 25694"/>
              </a:avLst>
            </a:prstGeom>
            <a:ln w="9525">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Elbow Connector 174"/>
            <p:cNvCxnSpPr/>
            <p:nvPr userDrawn="1"/>
          </p:nvCxnSpPr>
          <p:spPr>
            <a:xfrm rot="5400000" flipH="1" flipV="1">
              <a:off x="7547788" y="4176049"/>
              <a:ext cx="1894333" cy="224228"/>
            </a:xfrm>
            <a:prstGeom prst="bentConnector3">
              <a:avLst>
                <a:gd name="adj1" fmla="val 50000"/>
              </a:avLst>
            </a:prstGeom>
            <a:ln w="9525">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7" name="Elbow Connector 176"/>
            <p:cNvCxnSpPr>
              <a:endCxn id="195" idx="4"/>
            </p:cNvCxnSpPr>
            <p:nvPr userDrawn="1"/>
          </p:nvCxnSpPr>
          <p:spPr>
            <a:xfrm rot="16200000" flipV="1">
              <a:off x="7194290" y="4444518"/>
              <a:ext cx="1347708" cy="144780"/>
            </a:xfrm>
            <a:prstGeom prst="bentConnector3">
              <a:avLst/>
            </a:prstGeom>
            <a:ln w="9525">
              <a:solidFill>
                <a:srgbClr val="BAD80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userDrawn="1"/>
          </p:nvCxnSpPr>
          <p:spPr>
            <a:xfrm flipV="1">
              <a:off x="10339658" y="3066103"/>
              <a:ext cx="0" cy="2185765"/>
            </a:xfrm>
            <a:prstGeom prst="line">
              <a:avLst/>
            </a:prstGeom>
            <a:ln w="9525">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userDrawn="1"/>
          </p:nvCxnSpPr>
          <p:spPr>
            <a:xfrm flipV="1">
              <a:off x="8142204" y="4297779"/>
              <a:ext cx="0" cy="892306"/>
            </a:xfrm>
            <a:prstGeom prst="line">
              <a:avLst/>
            </a:prstGeom>
            <a:ln w="9525">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userDrawn="1"/>
          </p:nvCxnSpPr>
          <p:spPr>
            <a:xfrm flipV="1">
              <a:off x="10986545" y="3889629"/>
              <a:ext cx="0" cy="1312231"/>
            </a:xfrm>
            <a:prstGeom prst="line">
              <a:avLst/>
            </a:prstGeom>
            <a:ln w="952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6" name="Elbow Connector 185"/>
            <p:cNvCxnSpPr/>
            <p:nvPr userDrawn="1"/>
          </p:nvCxnSpPr>
          <p:spPr>
            <a:xfrm rot="16200000" flipV="1">
              <a:off x="8492443" y="3727124"/>
              <a:ext cx="2583765" cy="368883"/>
            </a:xfrm>
            <a:prstGeom prst="bentConnector3">
              <a:avLst>
                <a:gd name="adj1" fmla="val 58258"/>
              </a:avLst>
            </a:prstGeom>
            <a:ln w="9525">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userDrawn="1"/>
          </p:nvCxnSpPr>
          <p:spPr>
            <a:xfrm flipV="1">
              <a:off x="7603275" y="3237013"/>
              <a:ext cx="0" cy="1953756"/>
            </a:xfrm>
            <a:prstGeom prst="line">
              <a:avLst/>
            </a:prstGeom>
            <a:ln w="9525">
              <a:solidFill>
                <a:srgbClr val="BAD80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Elbow Connector 218"/>
            <p:cNvCxnSpPr/>
            <p:nvPr userDrawn="1"/>
          </p:nvCxnSpPr>
          <p:spPr>
            <a:xfrm rot="16200000" flipV="1">
              <a:off x="9338798" y="3227640"/>
              <a:ext cx="3616670" cy="360369"/>
            </a:xfrm>
            <a:prstGeom prst="bentConnector3">
              <a:avLst>
                <a:gd name="adj1" fmla="val 54214"/>
              </a:avLst>
            </a:prstGeom>
            <a:ln w="952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userDrawn="1"/>
          </p:nvCxnSpPr>
          <p:spPr>
            <a:xfrm flipV="1">
              <a:off x="11353116" y="-26915"/>
              <a:ext cx="0" cy="269751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2" name="Oval 231"/>
            <p:cNvSpPr/>
            <p:nvPr userDrawn="1"/>
          </p:nvSpPr>
          <p:spPr bwMode="auto">
            <a:xfrm>
              <a:off x="11301340" y="2669802"/>
              <a:ext cx="103981" cy="103981"/>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3" name="Oval 232"/>
            <p:cNvSpPr/>
            <p:nvPr userDrawn="1"/>
          </p:nvSpPr>
          <p:spPr bwMode="auto">
            <a:xfrm>
              <a:off x="10914744" y="1496708"/>
              <a:ext cx="103981" cy="103981"/>
            </a:xfrm>
            <a:prstGeom prst="ellipse">
              <a:avLst/>
            </a:prstGeom>
            <a:noFill/>
            <a:ln w="9525">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7" name="Straight Connector 236"/>
            <p:cNvCxnSpPr>
              <a:stCxn id="239" idx="0"/>
            </p:cNvCxnSpPr>
            <p:nvPr userDrawn="1"/>
          </p:nvCxnSpPr>
          <p:spPr>
            <a:xfrm flipH="1" flipV="1">
              <a:off x="8913471" y="-35800"/>
              <a:ext cx="2337" cy="2831417"/>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9" name="Oval 238"/>
            <p:cNvSpPr/>
            <p:nvPr userDrawn="1"/>
          </p:nvSpPr>
          <p:spPr bwMode="auto">
            <a:xfrm>
              <a:off x="8863817" y="2795617"/>
              <a:ext cx="103981" cy="103981"/>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88" name="Straight Connector 287"/>
            <p:cNvCxnSpPr/>
            <p:nvPr userDrawn="1"/>
          </p:nvCxnSpPr>
          <p:spPr>
            <a:xfrm flipV="1">
              <a:off x="7603275" y="-35801"/>
              <a:ext cx="0" cy="2520078"/>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9" name="Oval 288"/>
            <p:cNvSpPr/>
            <p:nvPr userDrawn="1"/>
          </p:nvSpPr>
          <p:spPr bwMode="auto">
            <a:xfrm>
              <a:off x="7550517" y="2484276"/>
              <a:ext cx="103981" cy="103981"/>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93" name="Group 162"/>
            <p:cNvGrpSpPr>
              <a:grpSpLocks noChangeAspect="1"/>
            </p:cNvGrpSpPr>
            <p:nvPr userDrawn="1"/>
          </p:nvGrpSpPr>
          <p:grpSpPr bwMode="auto">
            <a:xfrm>
              <a:off x="7480727" y="4236671"/>
              <a:ext cx="4024398" cy="1373190"/>
              <a:chOff x="1548" y="1395"/>
              <a:chExt cx="4736" cy="1616"/>
            </a:xfrm>
          </p:grpSpPr>
          <p:sp>
            <p:nvSpPr>
              <p:cNvPr id="295" name="Freeform 163"/>
              <p:cNvSpPr>
                <a:spLocks/>
              </p:cNvSpPr>
              <p:nvPr userDrawn="1"/>
            </p:nvSpPr>
            <p:spPr bwMode="auto">
              <a:xfrm>
                <a:off x="1548" y="1395"/>
                <a:ext cx="4736" cy="1616"/>
              </a:xfrm>
              <a:custGeom>
                <a:avLst/>
                <a:gdLst>
                  <a:gd name="T0" fmla="*/ 1219 w 2360"/>
                  <a:gd name="T1" fmla="*/ 177 h 804"/>
                  <a:gd name="T2" fmla="*/ 1216 w 2360"/>
                  <a:gd name="T3" fmla="*/ 125 h 804"/>
                  <a:gd name="T4" fmla="*/ 1209 w 2360"/>
                  <a:gd name="T5" fmla="*/ 90 h 804"/>
                  <a:gd name="T6" fmla="*/ 1203 w 2360"/>
                  <a:gd name="T7" fmla="*/ 67 h 804"/>
                  <a:gd name="T8" fmla="*/ 1201 w 2360"/>
                  <a:gd name="T9" fmla="*/ 47 h 804"/>
                  <a:gd name="T10" fmla="*/ 1198 w 2360"/>
                  <a:gd name="T11" fmla="*/ 14 h 804"/>
                  <a:gd name="T12" fmla="*/ 1198 w 2360"/>
                  <a:gd name="T13" fmla="*/ 3 h 804"/>
                  <a:gd name="T14" fmla="*/ 1185 w 2360"/>
                  <a:gd name="T15" fmla="*/ 11 h 804"/>
                  <a:gd name="T16" fmla="*/ 1182 w 2360"/>
                  <a:gd name="T17" fmla="*/ 29 h 804"/>
                  <a:gd name="T18" fmla="*/ 1184 w 2360"/>
                  <a:gd name="T19" fmla="*/ 43 h 804"/>
                  <a:gd name="T20" fmla="*/ 1181 w 2360"/>
                  <a:gd name="T21" fmla="*/ 63 h 804"/>
                  <a:gd name="T22" fmla="*/ 1178 w 2360"/>
                  <a:gd name="T23" fmla="*/ 83 h 804"/>
                  <a:gd name="T24" fmla="*/ 1164 w 2360"/>
                  <a:gd name="T25" fmla="*/ 116 h 804"/>
                  <a:gd name="T26" fmla="*/ 1162 w 2360"/>
                  <a:gd name="T27" fmla="*/ 173 h 804"/>
                  <a:gd name="T28" fmla="*/ 1145 w 2360"/>
                  <a:gd name="T29" fmla="*/ 193 h 804"/>
                  <a:gd name="T30" fmla="*/ 1050 w 2360"/>
                  <a:gd name="T31" fmla="*/ 325 h 804"/>
                  <a:gd name="T32" fmla="*/ 1043 w 2360"/>
                  <a:gd name="T33" fmla="*/ 364 h 804"/>
                  <a:gd name="T34" fmla="*/ 1016 w 2360"/>
                  <a:gd name="T35" fmla="*/ 424 h 804"/>
                  <a:gd name="T36" fmla="*/ 1016 w 2360"/>
                  <a:gd name="T37" fmla="*/ 540 h 804"/>
                  <a:gd name="T38" fmla="*/ 996 w 2360"/>
                  <a:gd name="T39" fmla="*/ 559 h 804"/>
                  <a:gd name="T40" fmla="*/ 901 w 2360"/>
                  <a:gd name="T41" fmla="*/ 581 h 804"/>
                  <a:gd name="T42" fmla="*/ 864 w 2360"/>
                  <a:gd name="T43" fmla="*/ 575 h 804"/>
                  <a:gd name="T44" fmla="*/ 860 w 2360"/>
                  <a:gd name="T45" fmla="*/ 546 h 804"/>
                  <a:gd name="T46" fmla="*/ 836 w 2360"/>
                  <a:gd name="T47" fmla="*/ 544 h 804"/>
                  <a:gd name="T48" fmla="*/ 811 w 2360"/>
                  <a:gd name="T49" fmla="*/ 545 h 804"/>
                  <a:gd name="T50" fmla="*/ 805 w 2360"/>
                  <a:gd name="T51" fmla="*/ 572 h 804"/>
                  <a:gd name="T52" fmla="*/ 667 w 2360"/>
                  <a:gd name="T53" fmla="*/ 586 h 804"/>
                  <a:gd name="T54" fmla="*/ 407 w 2360"/>
                  <a:gd name="T55" fmla="*/ 564 h 804"/>
                  <a:gd name="T56" fmla="*/ 14 w 2360"/>
                  <a:gd name="T57" fmla="*/ 562 h 804"/>
                  <a:gd name="T58" fmla="*/ 0 w 2360"/>
                  <a:gd name="T59" fmla="*/ 583 h 804"/>
                  <a:gd name="T60" fmla="*/ 15 w 2360"/>
                  <a:gd name="T61" fmla="*/ 607 h 804"/>
                  <a:gd name="T62" fmla="*/ 11 w 2360"/>
                  <a:gd name="T63" fmla="*/ 717 h 804"/>
                  <a:gd name="T64" fmla="*/ 2350 w 2360"/>
                  <a:gd name="T65" fmla="*/ 790 h 804"/>
                  <a:gd name="T66" fmla="*/ 2352 w 2360"/>
                  <a:gd name="T67" fmla="*/ 727 h 804"/>
                  <a:gd name="T68" fmla="*/ 2345 w 2360"/>
                  <a:gd name="T69" fmla="*/ 625 h 804"/>
                  <a:gd name="T70" fmla="*/ 2360 w 2360"/>
                  <a:gd name="T71" fmla="*/ 596 h 804"/>
                  <a:gd name="T72" fmla="*/ 2306 w 2360"/>
                  <a:gd name="T73" fmla="*/ 570 h 804"/>
                  <a:gd name="T74" fmla="*/ 1820 w 2360"/>
                  <a:gd name="T75" fmla="*/ 604 h 804"/>
                  <a:gd name="T76" fmla="*/ 1574 w 2360"/>
                  <a:gd name="T77" fmla="*/ 579 h 804"/>
                  <a:gd name="T78" fmla="*/ 1570 w 2360"/>
                  <a:gd name="T79" fmla="*/ 548 h 804"/>
                  <a:gd name="T80" fmla="*/ 1542 w 2360"/>
                  <a:gd name="T81" fmla="*/ 547 h 804"/>
                  <a:gd name="T82" fmla="*/ 1521 w 2360"/>
                  <a:gd name="T83" fmla="*/ 550 h 804"/>
                  <a:gd name="T84" fmla="*/ 1514 w 2360"/>
                  <a:gd name="T85" fmla="*/ 555 h 804"/>
                  <a:gd name="T86" fmla="*/ 1516 w 2360"/>
                  <a:gd name="T87" fmla="*/ 579 h 804"/>
                  <a:gd name="T88" fmla="*/ 1475 w 2360"/>
                  <a:gd name="T89" fmla="*/ 584 h 804"/>
                  <a:gd name="T90" fmla="*/ 1393 w 2360"/>
                  <a:gd name="T91" fmla="*/ 562 h 804"/>
                  <a:gd name="T92" fmla="*/ 1363 w 2360"/>
                  <a:gd name="T93" fmla="*/ 544 h 804"/>
                  <a:gd name="T94" fmla="*/ 1363 w 2360"/>
                  <a:gd name="T95" fmla="*/ 453 h 804"/>
                  <a:gd name="T96" fmla="*/ 1336 w 2360"/>
                  <a:gd name="T97" fmla="*/ 367 h 804"/>
                  <a:gd name="T98" fmla="*/ 1313 w 2360"/>
                  <a:gd name="T99" fmla="*/ 31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60" h="804">
                    <a:moveTo>
                      <a:pt x="1240" y="200"/>
                    </a:moveTo>
                    <a:cubicBezTo>
                      <a:pt x="1240" y="200"/>
                      <a:pt x="1240" y="196"/>
                      <a:pt x="1237" y="193"/>
                    </a:cubicBezTo>
                    <a:cubicBezTo>
                      <a:pt x="1237" y="185"/>
                      <a:pt x="1237" y="185"/>
                      <a:pt x="1237" y="185"/>
                    </a:cubicBezTo>
                    <a:cubicBezTo>
                      <a:pt x="1237" y="185"/>
                      <a:pt x="1225" y="177"/>
                      <a:pt x="1219" y="177"/>
                    </a:cubicBezTo>
                    <a:cubicBezTo>
                      <a:pt x="1219" y="172"/>
                      <a:pt x="1219" y="172"/>
                      <a:pt x="1219" y="172"/>
                    </a:cubicBezTo>
                    <a:cubicBezTo>
                      <a:pt x="1219" y="172"/>
                      <a:pt x="1223" y="170"/>
                      <a:pt x="1223" y="167"/>
                    </a:cubicBezTo>
                    <a:cubicBezTo>
                      <a:pt x="1223" y="164"/>
                      <a:pt x="1216" y="158"/>
                      <a:pt x="1216" y="158"/>
                    </a:cubicBezTo>
                    <a:cubicBezTo>
                      <a:pt x="1216" y="125"/>
                      <a:pt x="1216" y="125"/>
                      <a:pt x="1216" y="125"/>
                    </a:cubicBezTo>
                    <a:cubicBezTo>
                      <a:pt x="1218" y="119"/>
                      <a:pt x="1218" y="119"/>
                      <a:pt x="1218" y="119"/>
                    </a:cubicBezTo>
                    <a:cubicBezTo>
                      <a:pt x="1224" y="108"/>
                      <a:pt x="1224" y="108"/>
                      <a:pt x="1224" y="108"/>
                    </a:cubicBezTo>
                    <a:cubicBezTo>
                      <a:pt x="1224" y="108"/>
                      <a:pt x="1222" y="101"/>
                      <a:pt x="1213" y="98"/>
                    </a:cubicBezTo>
                    <a:cubicBezTo>
                      <a:pt x="1209" y="90"/>
                      <a:pt x="1209" y="90"/>
                      <a:pt x="1209" y="90"/>
                    </a:cubicBezTo>
                    <a:cubicBezTo>
                      <a:pt x="1209" y="90"/>
                      <a:pt x="1207" y="84"/>
                      <a:pt x="1202" y="81"/>
                    </a:cubicBezTo>
                    <a:cubicBezTo>
                      <a:pt x="1200" y="69"/>
                      <a:pt x="1200" y="69"/>
                      <a:pt x="1200" y="69"/>
                    </a:cubicBezTo>
                    <a:cubicBezTo>
                      <a:pt x="1200" y="67"/>
                      <a:pt x="1200" y="67"/>
                      <a:pt x="1200" y="67"/>
                    </a:cubicBezTo>
                    <a:cubicBezTo>
                      <a:pt x="1203" y="67"/>
                      <a:pt x="1203" y="67"/>
                      <a:pt x="1203" y="67"/>
                    </a:cubicBezTo>
                    <a:cubicBezTo>
                      <a:pt x="1203" y="67"/>
                      <a:pt x="1201" y="55"/>
                      <a:pt x="1198" y="53"/>
                    </a:cubicBezTo>
                    <a:cubicBezTo>
                      <a:pt x="1198" y="53"/>
                      <a:pt x="1196" y="47"/>
                      <a:pt x="1197" y="47"/>
                    </a:cubicBezTo>
                    <a:cubicBezTo>
                      <a:pt x="1198" y="46"/>
                      <a:pt x="1199" y="47"/>
                      <a:pt x="1199" y="47"/>
                    </a:cubicBezTo>
                    <a:cubicBezTo>
                      <a:pt x="1201" y="47"/>
                      <a:pt x="1201" y="47"/>
                      <a:pt x="1201" y="47"/>
                    </a:cubicBezTo>
                    <a:cubicBezTo>
                      <a:pt x="1202" y="44"/>
                      <a:pt x="1202" y="44"/>
                      <a:pt x="1202" y="44"/>
                    </a:cubicBezTo>
                    <a:cubicBezTo>
                      <a:pt x="1202" y="44"/>
                      <a:pt x="1199" y="40"/>
                      <a:pt x="1200" y="37"/>
                    </a:cubicBezTo>
                    <a:cubicBezTo>
                      <a:pt x="1201" y="35"/>
                      <a:pt x="1203" y="26"/>
                      <a:pt x="1200" y="19"/>
                    </a:cubicBezTo>
                    <a:cubicBezTo>
                      <a:pt x="1198" y="14"/>
                      <a:pt x="1198" y="14"/>
                      <a:pt x="1198" y="14"/>
                    </a:cubicBezTo>
                    <a:cubicBezTo>
                      <a:pt x="1197" y="10"/>
                      <a:pt x="1197" y="10"/>
                      <a:pt x="1197" y="10"/>
                    </a:cubicBezTo>
                    <a:cubicBezTo>
                      <a:pt x="1197" y="9"/>
                      <a:pt x="1197" y="9"/>
                      <a:pt x="1197" y="9"/>
                    </a:cubicBezTo>
                    <a:cubicBezTo>
                      <a:pt x="1199" y="6"/>
                      <a:pt x="1199" y="6"/>
                      <a:pt x="1199" y="6"/>
                    </a:cubicBezTo>
                    <a:cubicBezTo>
                      <a:pt x="1198" y="3"/>
                      <a:pt x="1198" y="3"/>
                      <a:pt x="1198" y="3"/>
                    </a:cubicBezTo>
                    <a:cubicBezTo>
                      <a:pt x="1195" y="0"/>
                      <a:pt x="1195" y="0"/>
                      <a:pt x="1195" y="0"/>
                    </a:cubicBezTo>
                    <a:cubicBezTo>
                      <a:pt x="1190" y="0"/>
                      <a:pt x="1190" y="0"/>
                      <a:pt x="1190" y="0"/>
                    </a:cubicBezTo>
                    <a:cubicBezTo>
                      <a:pt x="1188" y="0"/>
                      <a:pt x="1188" y="0"/>
                      <a:pt x="1188" y="0"/>
                    </a:cubicBezTo>
                    <a:cubicBezTo>
                      <a:pt x="1185" y="11"/>
                      <a:pt x="1185" y="11"/>
                      <a:pt x="1185" y="11"/>
                    </a:cubicBezTo>
                    <a:cubicBezTo>
                      <a:pt x="1184" y="16"/>
                      <a:pt x="1184" y="16"/>
                      <a:pt x="1184" y="16"/>
                    </a:cubicBezTo>
                    <a:cubicBezTo>
                      <a:pt x="1183" y="21"/>
                      <a:pt x="1183" y="21"/>
                      <a:pt x="1183" y="21"/>
                    </a:cubicBezTo>
                    <a:cubicBezTo>
                      <a:pt x="1182" y="26"/>
                      <a:pt x="1182" y="26"/>
                      <a:pt x="1182" y="26"/>
                    </a:cubicBezTo>
                    <a:cubicBezTo>
                      <a:pt x="1182" y="29"/>
                      <a:pt x="1182" y="29"/>
                      <a:pt x="1182" y="29"/>
                    </a:cubicBezTo>
                    <a:cubicBezTo>
                      <a:pt x="1182" y="32"/>
                      <a:pt x="1182" y="32"/>
                      <a:pt x="1182" y="32"/>
                    </a:cubicBezTo>
                    <a:cubicBezTo>
                      <a:pt x="1181" y="36"/>
                      <a:pt x="1181" y="36"/>
                      <a:pt x="1181" y="36"/>
                    </a:cubicBezTo>
                    <a:cubicBezTo>
                      <a:pt x="1181" y="39"/>
                      <a:pt x="1181" y="39"/>
                      <a:pt x="1181" y="39"/>
                    </a:cubicBezTo>
                    <a:cubicBezTo>
                      <a:pt x="1184" y="43"/>
                      <a:pt x="1184" y="43"/>
                      <a:pt x="1184" y="43"/>
                    </a:cubicBezTo>
                    <a:cubicBezTo>
                      <a:pt x="1186" y="46"/>
                      <a:pt x="1186" y="46"/>
                      <a:pt x="1186" y="46"/>
                    </a:cubicBezTo>
                    <a:cubicBezTo>
                      <a:pt x="1186" y="53"/>
                      <a:pt x="1186" y="53"/>
                      <a:pt x="1186" y="53"/>
                    </a:cubicBezTo>
                    <a:cubicBezTo>
                      <a:pt x="1186" y="53"/>
                      <a:pt x="1182" y="57"/>
                      <a:pt x="1182" y="59"/>
                    </a:cubicBezTo>
                    <a:cubicBezTo>
                      <a:pt x="1182" y="61"/>
                      <a:pt x="1181" y="63"/>
                      <a:pt x="1181" y="63"/>
                    </a:cubicBezTo>
                    <a:cubicBezTo>
                      <a:pt x="1181" y="66"/>
                      <a:pt x="1181" y="66"/>
                      <a:pt x="1181" y="66"/>
                    </a:cubicBezTo>
                    <a:cubicBezTo>
                      <a:pt x="1182" y="68"/>
                      <a:pt x="1182" y="68"/>
                      <a:pt x="1182" y="68"/>
                    </a:cubicBezTo>
                    <a:cubicBezTo>
                      <a:pt x="1182" y="68"/>
                      <a:pt x="1183" y="75"/>
                      <a:pt x="1181" y="78"/>
                    </a:cubicBezTo>
                    <a:cubicBezTo>
                      <a:pt x="1178" y="80"/>
                      <a:pt x="1178" y="83"/>
                      <a:pt x="1178" y="83"/>
                    </a:cubicBezTo>
                    <a:cubicBezTo>
                      <a:pt x="1178" y="86"/>
                      <a:pt x="1178" y="86"/>
                      <a:pt x="1178" y="86"/>
                    </a:cubicBezTo>
                    <a:cubicBezTo>
                      <a:pt x="1178" y="86"/>
                      <a:pt x="1172" y="89"/>
                      <a:pt x="1171" y="96"/>
                    </a:cubicBezTo>
                    <a:cubicBezTo>
                      <a:pt x="1171" y="96"/>
                      <a:pt x="1163" y="100"/>
                      <a:pt x="1161" y="102"/>
                    </a:cubicBezTo>
                    <a:cubicBezTo>
                      <a:pt x="1159" y="104"/>
                      <a:pt x="1160" y="111"/>
                      <a:pt x="1164" y="116"/>
                    </a:cubicBezTo>
                    <a:cubicBezTo>
                      <a:pt x="1164" y="121"/>
                      <a:pt x="1164" y="121"/>
                      <a:pt x="1164" y="121"/>
                    </a:cubicBezTo>
                    <a:cubicBezTo>
                      <a:pt x="1166" y="124"/>
                      <a:pt x="1166" y="124"/>
                      <a:pt x="1166" y="124"/>
                    </a:cubicBezTo>
                    <a:cubicBezTo>
                      <a:pt x="1166" y="157"/>
                      <a:pt x="1166" y="157"/>
                      <a:pt x="1166" y="157"/>
                    </a:cubicBezTo>
                    <a:cubicBezTo>
                      <a:pt x="1166" y="157"/>
                      <a:pt x="1156" y="166"/>
                      <a:pt x="1162" y="173"/>
                    </a:cubicBezTo>
                    <a:cubicBezTo>
                      <a:pt x="1162" y="177"/>
                      <a:pt x="1162" y="177"/>
                      <a:pt x="1162" y="177"/>
                    </a:cubicBezTo>
                    <a:cubicBezTo>
                      <a:pt x="1159" y="177"/>
                      <a:pt x="1159" y="177"/>
                      <a:pt x="1159" y="177"/>
                    </a:cubicBezTo>
                    <a:cubicBezTo>
                      <a:pt x="1145" y="185"/>
                      <a:pt x="1145" y="185"/>
                      <a:pt x="1145" y="185"/>
                    </a:cubicBezTo>
                    <a:cubicBezTo>
                      <a:pt x="1145" y="193"/>
                      <a:pt x="1145" y="193"/>
                      <a:pt x="1145" y="193"/>
                    </a:cubicBezTo>
                    <a:cubicBezTo>
                      <a:pt x="1142" y="196"/>
                      <a:pt x="1142" y="196"/>
                      <a:pt x="1142" y="196"/>
                    </a:cubicBezTo>
                    <a:cubicBezTo>
                      <a:pt x="1142" y="199"/>
                      <a:pt x="1142" y="199"/>
                      <a:pt x="1142" y="199"/>
                    </a:cubicBezTo>
                    <a:cubicBezTo>
                      <a:pt x="1142" y="199"/>
                      <a:pt x="1075" y="223"/>
                      <a:pt x="1067" y="310"/>
                    </a:cubicBezTo>
                    <a:cubicBezTo>
                      <a:pt x="1050" y="325"/>
                      <a:pt x="1050" y="325"/>
                      <a:pt x="1050" y="325"/>
                    </a:cubicBezTo>
                    <a:cubicBezTo>
                      <a:pt x="1050" y="338"/>
                      <a:pt x="1050" y="338"/>
                      <a:pt x="1050" y="338"/>
                    </a:cubicBezTo>
                    <a:cubicBezTo>
                      <a:pt x="1037" y="354"/>
                      <a:pt x="1037" y="354"/>
                      <a:pt x="1037" y="354"/>
                    </a:cubicBezTo>
                    <a:cubicBezTo>
                      <a:pt x="1037" y="354"/>
                      <a:pt x="1038" y="360"/>
                      <a:pt x="1039" y="360"/>
                    </a:cubicBezTo>
                    <a:cubicBezTo>
                      <a:pt x="1040" y="361"/>
                      <a:pt x="1043" y="364"/>
                      <a:pt x="1043" y="364"/>
                    </a:cubicBezTo>
                    <a:cubicBezTo>
                      <a:pt x="1045" y="369"/>
                      <a:pt x="1045" y="369"/>
                      <a:pt x="1045" y="369"/>
                    </a:cubicBezTo>
                    <a:cubicBezTo>
                      <a:pt x="1045" y="406"/>
                      <a:pt x="1045" y="406"/>
                      <a:pt x="1045" y="406"/>
                    </a:cubicBezTo>
                    <a:cubicBezTo>
                      <a:pt x="1030" y="411"/>
                      <a:pt x="1030" y="411"/>
                      <a:pt x="1030" y="411"/>
                    </a:cubicBezTo>
                    <a:cubicBezTo>
                      <a:pt x="1016" y="424"/>
                      <a:pt x="1016" y="424"/>
                      <a:pt x="1016" y="424"/>
                    </a:cubicBezTo>
                    <a:cubicBezTo>
                      <a:pt x="1016" y="429"/>
                      <a:pt x="1016" y="429"/>
                      <a:pt x="1016" y="429"/>
                    </a:cubicBezTo>
                    <a:cubicBezTo>
                      <a:pt x="1016" y="429"/>
                      <a:pt x="1004" y="436"/>
                      <a:pt x="1016" y="449"/>
                    </a:cubicBezTo>
                    <a:cubicBezTo>
                      <a:pt x="1016" y="526"/>
                      <a:pt x="1016" y="526"/>
                      <a:pt x="1016" y="526"/>
                    </a:cubicBezTo>
                    <a:cubicBezTo>
                      <a:pt x="1016" y="526"/>
                      <a:pt x="1006" y="530"/>
                      <a:pt x="1016" y="540"/>
                    </a:cubicBezTo>
                    <a:cubicBezTo>
                      <a:pt x="999" y="549"/>
                      <a:pt x="999" y="549"/>
                      <a:pt x="999" y="549"/>
                    </a:cubicBezTo>
                    <a:cubicBezTo>
                      <a:pt x="991" y="549"/>
                      <a:pt x="991" y="549"/>
                      <a:pt x="991" y="549"/>
                    </a:cubicBezTo>
                    <a:cubicBezTo>
                      <a:pt x="991" y="554"/>
                      <a:pt x="991" y="554"/>
                      <a:pt x="991" y="554"/>
                    </a:cubicBezTo>
                    <a:cubicBezTo>
                      <a:pt x="996" y="559"/>
                      <a:pt x="996" y="559"/>
                      <a:pt x="996" y="559"/>
                    </a:cubicBezTo>
                    <a:cubicBezTo>
                      <a:pt x="912" y="559"/>
                      <a:pt x="912" y="559"/>
                      <a:pt x="912" y="559"/>
                    </a:cubicBezTo>
                    <a:cubicBezTo>
                      <a:pt x="912" y="564"/>
                      <a:pt x="912" y="564"/>
                      <a:pt x="912" y="564"/>
                    </a:cubicBezTo>
                    <a:cubicBezTo>
                      <a:pt x="910" y="581"/>
                      <a:pt x="910" y="581"/>
                      <a:pt x="910" y="581"/>
                    </a:cubicBezTo>
                    <a:cubicBezTo>
                      <a:pt x="901" y="581"/>
                      <a:pt x="901" y="581"/>
                      <a:pt x="901" y="581"/>
                    </a:cubicBezTo>
                    <a:cubicBezTo>
                      <a:pt x="904" y="587"/>
                      <a:pt x="904" y="587"/>
                      <a:pt x="904" y="587"/>
                    </a:cubicBezTo>
                    <a:cubicBezTo>
                      <a:pt x="899" y="587"/>
                      <a:pt x="899" y="587"/>
                      <a:pt x="899" y="587"/>
                    </a:cubicBezTo>
                    <a:cubicBezTo>
                      <a:pt x="899" y="587"/>
                      <a:pt x="878" y="577"/>
                      <a:pt x="865" y="577"/>
                    </a:cubicBezTo>
                    <a:cubicBezTo>
                      <a:pt x="864" y="575"/>
                      <a:pt x="864" y="575"/>
                      <a:pt x="864" y="575"/>
                    </a:cubicBezTo>
                    <a:cubicBezTo>
                      <a:pt x="864" y="559"/>
                      <a:pt x="864" y="559"/>
                      <a:pt x="864" y="559"/>
                    </a:cubicBezTo>
                    <a:cubicBezTo>
                      <a:pt x="864" y="559"/>
                      <a:pt x="867" y="553"/>
                      <a:pt x="865" y="551"/>
                    </a:cubicBezTo>
                    <a:cubicBezTo>
                      <a:pt x="864" y="547"/>
                      <a:pt x="864" y="547"/>
                      <a:pt x="864" y="547"/>
                    </a:cubicBezTo>
                    <a:cubicBezTo>
                      <a:pt x="860" y="546"/>
                      <a:pt x="860" y="546"/>
                      <a:pt x="860" y="546"/>
                    </a:cubicBezTo>
                    <a:cubicBezTo>
                      <a:pt x="853" y="544"/>
                      <a:pt x="853" y="544"/>
                      <a:pt x="853" y="544"/>
                    </a:cubicBezTo>
                    <a:cubicBezTo>
                      <a:pt x="851" y="544"/>
                      <a:pt x="851" y="544"/>
                      <a:pt x="851" y="544"/>
                    </a:cubicBezTo>
                    <a:cubicBezTo>
                      <a:pt x="840" y="544"/>
                      <a:pt x="840" y="544"/>
                      <a:pt x="840" y="544"/>
                    </a:cubicBezTo>
                    <a:cubicBezTo>
                      <a:pt x="836" y="544"/>
                      <a:pt x="836" y="544"/>
                      <a:pt x="836" y="544"/>
                    </a:cubicBezTo>
                    <a:cubicBezTo>
                      <a:pt x="825" y="544"/>
                      <a:pt x="825" y="544"/>
                      <a:pt x="825" y="544"/>
                    </a:cubicBezTo>
                    <a:cubicBezTo>
                      <a:pt x="822" y="544"/>
                      <a:pt x="822" y="544"/>
                      <a:pt x="822" y="544"/>
                    </a:cubicBezTo>
                    <a:cubicBezTo>
                      <a:pt x="813" y="545"/>
                      <a:pt x="813" y="545"/>
                      <a:pt x="813" y="545"/>
                    </a:cubicBezTo>
                    <a:cubicBezTo>
                      <a:pt x="811" y="545"/>
                      <a:pt x="811" y="545"/>
                      <a:pt x="811" y="545"/>
                    </a:cubicBezTo>
                    <a:cubicBezTo>
                      <a:pt x="808" y="546"/>
                      <a:pt x="808" y="546"/>
                      <a:pt x="808" y="546"/>
                    </a:cubicBezTo>
                    <a:cubicBezTo>
                      <a:pt x="805" y="548"/>
                      <a:pt x="805" y="548"/>
                      <a:pt x="805" y="548"/>
                    </a:cubicBezTo>
                    <a:cubicBezTo>
                      <a:pt x="805" y="548"/>
                      <a:pt x="802" y="551"/>
                      <a:pt x="805" y="554"/>
                    </a:cubicBezTo>
                    <a:cubicBezTo>
                      <a:pt x="805" y="572"/>
                      <a:pt x="805" y="572"/>
                      <a:pt x="805" y="572"/>
                    </a:cubicBezTo>
                    <a:cubicBezTo>
                      <a:pt x="804" y="573"/>
                      <a:pt x="804" y="573"/>
                      <a:pt x="804" y="573"/>
                    </a:cubicBezTo>
                    <a:cubicBezTo>
                      <a:pt x="804" y="576"/>
                      <a:pt x="804" y="576"/>
                      <a:pt x="804" y="576"/>
                    </a:cubicBezTo>
                    <a:cubicBezTo>
                      <a:pt x="804" y="576"/>
                      <a:pt x="780" y="579"/>
                      <a:pt x="767" y="586"/>
                    </a:cubicBezTo>
                    <a:cubicBezTo>
                      <a:pt x="667" y="586"/>
                      <a:pt x="667" y="586"/>
                      <a:pt x="667" y="586"/>
                    </a:cubicBezTo>
                    <a:cubicBezTo>
                      <a:pt x="667" y="597"/>
                      <a:pt x="667" y="597"/>
                      <a:pt x="667" y="597"/>
                    </a:cubicBezTo>
                    <a:cubicBezTo>
                      <a:pt x="555" y="597"/>
                      <a:pt x="555" y="597"/>
                      <a:pt x="555" y="597"/>
                    </a:cubicBezTo>
                    <a:cubicBezTo>
                      <a:pt x="473" y="564"/>
                      <a:pt x="473" y="564"/>
                      <a:pt x="473" y="564"/>
                    </a:cubicBezTo>
                    <a:cubicBezTo>
                      <a:pt x="407" y="564"/>
                      <a:pt x="407" y="564"/>
                      <a:pt x="407" y="564"/>
                    </a:cubicBezTo>
                    <a:cubicBezTo>
                      <a:pt x="399" y="559"/>
                      <a:pt x="399" y="559"/>
                      <a:pt x="399" y="559"/>
                    </a:cubicBezTo>
                    <a:cubicBezTo>
                      <a:pt x="58" y="559"/>
                      <a:pt x="58" y="559"/>
                      <a:pt x="58" y="559"/>
                    </a:cubicBezTo>
                    <a:cubicBezTo>
                      <a:pt x="58" y="562"/>
                      <a:pt x="58" y="562"/>
                      <a:pt x="58" y="562"/>
                    </a:cubicBezTo>
                    <a:cubicBezTo>
                      <a:pt x="14" y="562"/>
                      <a:pt x="14" y="562"/>
                      <a:pt x="14" y="562"/>
                    </a:cubicBezTo>
                    <a:cubicBezTo>
                      <a:pt x="14" y="573"/>
                      <a:pt x="14" y="573"/>
                      <a:pt x="14" y="573"/>
                    </a:cubicBezTo>
                    <a:cubicBezTo>
                      <a:pt x="11" y="580"/>
                      <a:pt x="11" y="580"/>
                      <a:pt x="11" y="580"/>
                    </a:cubicBezTo>
                    <a:cubicBezTo>
                      <a:pt x="0" y="580"/>
                      <a:pt x="0" y="580"/>
                      <a:pt x="0" y="580"/>
                    </a:cubicBezTo>
                    <a:cubicBezTo>
                      <a:pt x="0" y="583"/>
                      <a:pt x="0" y="583"/>
                      <a:pt x="0" y="583"/>
                    </a:cubicBezTo>
                    <a:cubicBezTo>
                      <a:pt x="15" y="593"/>
                      <a:pt x="15" y="593"/>
                      <a:pt x="15" y="593"/>
                    </a:cubicBezTo>
                    <a:cubicBezTo>
                      <a:pt x="14" y="599"/>
                      <a:pt x="14" y="599"/>
                      <a:pt x="14" y="599"/>
                    </a:cubicBezTo>
                    <a:cubicBezTo>
                      <a:pt x="15" y="601"/>
                      <a:pt x="15" y="601"/>
                      <a:pt x="15" y="601"/>
                    </a:cubicBezTo>
                    <a:cubicBezTo>
                      <a:pt x="15" y="607"/>
                      <a:pt x="15" y="607"/>
                      <a:pt x="15" y="607"/>
                    </a:cubicBezTo>
                    <a:cubicBezTo>
                      <a:pt x="14" y="611"/>
                      <a:pt x="14" y="611"/>
                      <a:pt x="14" y="611"/>
                    </a:cubicBezTo>
                    <a:cubicBezTo>
                      <a:pt x="14" y="699"/>
                      <a:pt x="14" y="699"/>
                      <a:pt x="14" y="699"/>
                    </a:cubicBezTo>
                    <a:cubicBezTo>
                      <a:pt x="4" y="713"/>
                      <a:pt x="4" y="713"/>
                      <a:pt x="4" y="713"/>
                    </a:cubicBezTo>
                    <a:cubicBezTo>
                      <a:pt x="11" y="717"/>
                      <a:pt x="11" y="717"/>
                      <a:pt x="11" y="717"/>
                    </a:cubicBezTo>
                    <a:cubicBezTo>
                      <a:pt x="11" y="804"/>
                      <a:pt x="11" y="804"/>
                      <a:pt x="11" y="804"/>
                    </a:cubicBezTo>
                    <a:cubicBezTo>
                      <a:pt x="2352" y="804"/>
                      <a:pt x="2352" y="804"/>
                      <a:pt x="2352" y="804"/>
                    </a:cubicBezTo>
                    <a:cubicBezTo>
                      <a:pt x="2352" y="790"/>
                      <a:pt x="2352" y="790"/>
                      <a:pt x="2352" y="790"/>
                    </a:cubicBezTo>
                    <a:cubicBezTo>
                      <a:pt x="2350" y="790"/>
                      <a:pt x="2350" y="790"/>
                      <a:pt x="2350" y="790"/>
                    </a:cubicBezTo>
                    <a:cubicBezTo>
                      <a:pt x="2350" y="784"/>
                      <a:pt x="2350" y="784"/>
                      <a:pt x="2350" y="784"/>
                    </a:cubicBezTo>
                    <a:cubicBezTo>
                      <a:pt x="2349" y="784"/>
                      <a:pt x="2349" y="784"/>
                      <a:pt x="2349" y="784"/>
                    </a:cubicBezTo>
                    <a:cubicBezTo>
                      <a:pt x="2349" y="729"/>
                      <a:pt x="2349" y="729"/>
                      <a:pt x="2349" y="729"/>
                    </a:cubicBezTo>
                    <a:cubicBezTo>
                      <a:pt x="2352" y="727"/>
                      <a:pt x="2352" y="727"/>
                      <a:pt x="2352" y="727"/>
                    </a:cubicBezTo>
                    <a:cubicBezTo>
                      <a:pt x="2349" y="727"/>
                      <a:pt x="2349" y="727"/>
                      <a:pt x="2349" y="727"/>
                    </a:cubicBezTo>
                    <a:cubicBezTo>
                      <a:pt x="2349" y="713"/>
                      <a:pt x="2349" y="713"/>
                      <a:pt x="2349" y="713"/>
                    </a:cubicBezTo>
                    <a:cubicBezTo>
                      <a:pt x="2345" y="710"/>
                      <a:pt x="2345" y="710"/>
                      <a:pt x="2345" y="710"/>
                    </a:cubicBezTo>
                    <a:cubicBezTo>
                      <a:pt x="2345" y="625"/>
                      <a:pt x="2345" y="625"/>
                      <a:pt x="2345" y="625"/>
                    </a:cubicBezTo>
                    <a:cubicBezTo>
                      <a:pt x="2350" y="620"/>
                      <a:pt x="2350" y="620"/>
                      <a:pt x="2350" y="620"/>
                    </a:cubicBezTo>
                    <a:cubicBezTo>
                      <a:pt x="2347" y="620"/>
                      <a:pt x="2347" y="620"/>
                      <a:pt x="2347" y="620"/>
                    </a:cubicBezTo>
                    <a:cubicBezTo>
                      <a:pt x="2347" y="607"/>
                      <a:pt x="2347" y="607"/>
                      <a:pt x="2347" y="607"/>
                    </a:cubicBezTo>
                    <a:cubicBezTo>
                      <a:pt x="2360" y="596"/>
                      <a:pt x="2360" y="596"/>
                      <a:pt x="2360" y="596"/>
                    </a:cubicBezTo>
                    <a:cubicBezTo>
                      <a:pt x="2348" y="596"/>
                      <a:pt x="2348" y="596"/>
                      <a:pt x="2348" y="596"/>
                    </a:cubicBezTo>
                    <a:cubicBezTo>
                      <a:pt x="2346" y="575"/>
                      <a:pt x="2346" y="575"/>
                      <a:pt x="2346" y="575"/>
                    </a:cubicBezTo>
                    <a:cubicBezTo>
                      <a:pt x="2306" y="575"/>
                      <a:pt x="2306" y="575"/>
                      <a:pt x="2306" y="575"/>
                    </a:cubicBezTo>
                    <a:cubicBezTo>
                      <a:pt x="2306" y="570"/>
                      <a:pt x="2306" y="570"/>
                      <a:pt x="2306" y="570"/>
                    </a:cubicBezTo>
                    <a:cubicBezTo>
                      <a:pt x="1973" y="570"/>
                      <a:pt x="1973" y="570"/>
                      <a:pt x="1973" y="570"/>
                    </a:cubicBezTo>
                    <a:cubicBezTo>
                      <a:pt x="1963" y="573"/>
                      <a:pt x="1963" y="573"/>
                      <a:pt x="1963" y="573"/>
                    </a:cubicBezTo>
                    <a:cubicBezTo>
                      <a:pt x="1902" y="573"/>
                      <a:pt x="1902" y="573"/>
                      <a:pt x="1902" y="573"/>
                    </a:cubicBezTo>
                    <a:cubicBezTo>
                      <a:pt x="1820" y="604"/>
                      <a:pt x="1820" y="604"/>
                      <a:pt x="1820" y="604"/>
                    </a:cubicBezTo>
                    <a:cubicBezTo>
                      <a:pt x="1710" y="604"/>
                      <a:pt x="1710" y="604"/>
                      <a:pt x="1710" y="604"/>
                    </a:cubicBezTo>
                    <a:cubicBezTo>
                      <a:pt x="1708" y="593"/>
                      <a:pt x="1708" y="593"/>
                      <a:pt x="1708" y="593"/>
                    </a:cubicBezTo>
                    <a:cubicBezTo>
                      <a:pt x="1619" y="593"/>
                      <a:pt x="1619" y="593"/>
                      <a:pt x="1619" y="593"/>
                    </a:cubicBezTo>
                    <a:cubicBezTo>
                      <a:pt x="1619" y="593"/>
                      <a:pt x="1592" y="579"/>
                      <a:pt x="1574" y="579"/>
                    </a:cubicBezTo>
                    <a:cubicBezTo>
                      <a:pt x="1574" y="558"/>
                      <a:pt x="1574" y="558"/>
                      <a:pt x="1574" y="558"/>
                    </a:cubicBezTo>
                    <a:cubicBezTo>
                      <a:pt x="1574" y="554"/>
                      <a:pt x="1574" y="554"/>
                      <a:pt x="1574" y="554"/>
                    </a:cubicBezTo>
                    <a:cubicBezTo>
                      <a:pt x="1572" y="549"/>
                      <a:pt x="1572" y="549"/>
                      <a:pt x="1572" y="549"/>
                    </a:cubicBezTo>
                    <a:cubicBezTo>
                      <a:pt x="1570" y="548"/>
                      <a:pt x="1570" y="548"/>
                      <a:pt x="1570" y="548"/>
                    </a:cubicBezTo>
                    <a:cubicBezTo>
                      <a:pt x="1568" y="547"/>
                      <a:pt x="1568" y="547"/>
                      <a:pt x="1568" y="547"/>
                    </a:cubicBezTo>
                    <a:cubicBezTo>
                      <a:pt x="1559" y="547"/>
                      <a:pt x="1559" y="547"/>
                      <a:pt x="1559" y="547"/>
                    </a:cubicBezTo>
                    <a:cubicBezTo>
                      <a:pt x="1555" y="547"/>
                      <a:pt x="1555" y="547"/>
                      <a:pt x="1555" y="547"/>
                    </a:cubicBezTo>
                    <a:cubicBezTo>
                      <a:pt x="1542" y="547"/>
                      <a:pt x="1542" y="547"/>
                      <a:pt x="1542" y="547"/>
                    </a:cubicBezTo>
                    <a:cubicBezTo>
                      <a:pt x="1539" y="547"/>
                      <a:pt x="1539" y="547"/>
                      <a:pt x="1539" y="547"/>
                    </a:cubicBezTo>
                    <a:cubicBezTo>
                      <a:pt x="1531" y="548"/>
                      <a:pt x="1531" y="548"/>
                      <a:pt x="1531" y="548"/>
                    </a:cubicBezTo>
                    <a:cubicBezTo>
                      <a:pt x="1527" y="549"/>
                      <a:pt x="1527" y="549"/>
                      <a:pt x="1527" y="549"/>
                    </a:cubicBezTo>
                    <a:cubicBezTo>
                      <a:pt x="1521" y="550"/>
                      <a:pt x="1521" y="550"/>
                      <a:pt x="1521" y="550"/>
                    </a:cubicBezTo>
                    <a:cubicBezTo>
                      <a:pt x="1519" y="550"/>
                      <a:pt x="1519" y="550"/>
                      <a:pt x="1519" y="550"/>
                    </a:cubicBezTo>
                    <a:cubicBezTo>
                      <a:pt x="1517" y="551"/>
                      <a:pt x="1517" y="551"/>
                      <a:pt x="1517" y="551"/>
                    </a:cubicBezTo>
                    <a:cubicBezTo>
                      <a:pt x="1515" y="554"/>
                      <a:pt x="1515" y="554"/>
                      <a:pt x="1515" y="554"/>
                    </a:cubicBezTo>
                    <a:cubicBezTo>
                      <a:pt x="1514" y="555"/>
                      <a:pt x="1514" y="555"/>
                      <a:pt x="1514" y="555"/>
                    </a:cubicBezTo>
                    <a:cubicBezTo>
                      <a:pt x="1514" y="558"/>
                      <a:pt x="1514" y="558"/>
                      <a:pt x="1514" y="558"/>
                    </a:cubicBezTo>
                    <a:cubicBezTo>
                      <a:pt x="1516" y="559"/>
                      <a:pt x="1516" y="559"/>
                      <a:pt x="1516" y="559"/>
                    </a:cubicBezTo>
                    <a:cubicBezTo>
                      <a:pt x="1516" y="576"/>
                      <a:pt x="1516" y="576"/>
                      <a:pt x="1516" y="576"/>
                    </a:cubicBezTo>
                    <a:cubicBezTo>
                      <a:pt x="1516" y="579"/>
                      <a:pt x="1516" y="579"/>
                      <a:pt x="1516" y="579"/>
                    </a:cubicBezTo>
                    <a:cubicBezTo>
                      <a:pt x="1515" y="580"/>
                      <a:pt x="1515" y="580"/>
                      <a:pt x="1515" y="580"/>
                    </a:cubicBezTo>
                    <a:cubicBezTo>
                      <a:pt x="1515" y="580"/>
                      <a:pt x="1494" y="584"/>
                      <a:pt x="1481" y="590"/>
                    </a:cubicBezTo>
                    <a:cubicBezTo>
                      <a:pt x="1473" y="590"/>
                      <a:pt x="1473" y="590"/>
                      <a:pt x="1473" y="590"/>
                    </a:cubicBezTo>
                    <a:cubicBezTo>
                      <a:pt x="1475" y="584"/>
                      <a:pt x="1475" y="584"/>
                      <a:pt x="1475" y="584"/>
                    </a:cubicBezTo>
                    <a:cubicBezTo>
                      <a:pt x="1466" y="584"/>
                      <a:pt x="1466" y="584"/>
                      <a:pt x="1466" y="584"/>
                    </a:cubicBezTo>
                    <a:cubicBezTo>
                      <a:pt x="1464" y="564"/>
                      <a:pt x="1464" y="564"/>
                      <a:pt x="1464" y="564"/>
                    </a:cubicBezTo>
                    <a:cubicBezTo>
                      <a:pt x="1397" y="564"/>
                      <a:pt x="1397" y="564"/>
                      <a:pt x="1397" y="564"/>
                    </a:cubicBezTo>
                    <a:cubicBezTo>
                      <a:pt x="1393" y="562"/>
                      <a:pt x="1393" y="562"/>
                      <a:pt x="1393" y="562"/>
                    </a:cubicBezTo>
                    <a:cubicBezTo>
                      <a:pt x="1382" y="562"/>
                      <a:pt x="1382" y="562"/>
                      <a:pt x="1382" y="562"/>
                    </a:cubicBezTo>
                    <a:cubicBezTo>
                      <a:pt x="1386" y="551"/>
                      <a:pt x="1386" y="551"/>
                      <a:pt x="1386" y="551"/>
                    </a:cubicBezTo>
                    <a:cubicBezTo>
                      <a:pt x="1380" y="551"/>
                      <a:pt x="1380" y="551"/>
                      <a:pt x="1380" y="551"/>
                    </a:cubicBezTo>
                    <a:cubicBezTo>
                      <a:pt x="1363" y="544"/>
                      <a:pt x="1363" y="544"/>
                      <a:pt x="1363" y="544"/>
                    </a:cubicBezTo>
                    <a:cubicBezTo>
                      <a:pt x="1363" y="544"/>
                      <a:pt x="1371" y="528"/>
                      <a:pt x="1362" y="528"/>
                    </a:cubicBezTo>
                    <a:cubicBezTo>
                      <a:pt x="1362" y="467"/>
                      <a:pt x="1362" y="467"/>
                      <a:pt x="1362" y="467"/>
                    </a:cubicBezTo>
                    <a:cubicBezTo>
                      <a:pt x="1362" y="466"/>
                      <a:pt x="1362" y="466"/>
                      <a:pt x="1362" y="466"/>
                    </a:cubicBezTo>
                    <a:cubicBezTo>
                      <a:pt x="1362" y="466"/>
                      <a:pt x="1363" y="464"/>
                      <a:pt x="1363" y="453"/>
                    </a:cubicBezTo>
                    <a:cubicBezTo>
                      <a:pt x="1363" y="453"/>
                      <a:pt x="1377" y="445"/>
                      <a:pt x="1363" y="430"/>
                    </a:cubicBezTo>
                    <a:cubicBezTo>
                      <a:pt x="1361" y="423"/>
                      <a:pt x="1361" y="423"/>
                      <a:pt x="1361" y="423"/>
                    </a:cubicBezTo>
                    <a:cubicBezTo>
                      <a:pt x="1361" y="423"/>
                      <a:pt x="1351" y="413"/>
                      <a:pt x="1336" y="409"/>
                    </a:cubicBezTo>
                    <a:cubicBezTo>
                      <a:pt x="1336" y="367"/>
                      <a:pt x="1336" y="367"/>
                      <a:pt x="1336" y="367"/>
                    </a:cubicBezTo>
                    <a:cubicBezTo>
                      <a:pt x="1336" y="367"/>
                      <a:pt x="1354" y="354"/>
                      <a:pt x="1333" y="342"/>
                    </a:cubicBezTo>
                    <a:cubicBezTo>
                      <a:pt x="1328" y="334"/>
                      <a:pt x="1328" y="334"/>
                      <a:pt x="1328" y="334"/>
                    </a:cubicBezTo>
                    <a:cubicBezTo>
                      <a:pt x="1328" y="334"/>
                      <a:pt x="1332" y="329"/>
                      <a:pt x="1327" y="324"/>
                    </a:cubicBezTo>
                    <a:cubicBezTo>
                      <a:pt x="1313" y="310"/>
                      <a:pt x="1313" y="310"/>
                      <a:pt x="1313" y="310"/>
                    </a:cubicBezTo>
                    <a:cubicBezTo>
                      <a:pt x="1313" y="310"/>
                      <a:pt x="1302" y="227"/>
                      <a:pt x="1240" y="20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6" name="Freeform 164"/>
              <p:cNvSpPr>
                <a:spLocks/>
              </p:cNvSpPr>
              <p:nvPr userDrawn="1"/>
            </p:nvSpPr>
            <p:spPr bwMode="auto">
              <a:xfrm>
                <a:off x="4486" y="2621"/>
                <a:ext cx="510" cy="32"/>
              </a:xfrm>
              <a:custGeom>
                <a:avLst/>
                <a:gdLst>
                  <a:gd name="T0" fmla="*/ 510 w 510"/>
                  <a:gd name="T1" fmla="*/ 0 h 32"/>
                  <a:gd name="T2" fmla="*/ 494 w 510"/>
                  <a:gd name="T3" fmla="*/ 18 h 32"/>
                  <a:gd name="T4" fmla="*/ 494 w 510"/>
                  <a:gd name="T5" fmla="*/ 32 h 32"/>
                  <a:gd name="T6" fmla="*/ 0 w 510"/>
                  <a:gd name="T7" fmla="*/ 32 h 32"/>
                  <a:gd name="T8" fmla="*/ 0 w 510"/>
                  <a:gd name="T9" fmla="*/ 0 h 32"/>
                  <a:gd name="T10" fmla="*/ 510 w 510"/>
                  <a:gd name="T11" fmla="*/ 0 h 32"/>
                </a:gdLst>
                <a:ahLst/>
                <a:cxnLst>
                  <a:cxn ang="0">
                    <a:pos x="T0" y="T1"/>
                  </a:cxn>
                  <a:cxn ang="0">
                    <a:pos x="T2" y="T3"/>
                  </a:cxn>
                  <a:cxn ang="0">
                    <a:pos x="T4" y="T5"/>
                  </a:cxn>
                  <a:cxn ang="0">
                    <a:pos x="T6" y="T7"/>
                  </a:cxn>
                  <a:cxn ang="0">
                    <a:pos x="T8" y="T9"/>
                  </a:cxn>
                  <a:cxn ang="0">
                    <a:pos x="T10" y="T11"/>
                  </a:cxn>
                </a:cxnLst>
                <a:rect l="0" t="0" r="r" b="b"/>
                <a:pathLst>
                  <a:path w="510" h="32">
                    <a:moveTo>
                      <a:pt x="510" y="0"/>
                    </a:moveTo>
                    <a:lnTo>
                      <a:pt x="494" y="18"/>
                    </a:lnTo>
                    <a:lnTo>
                      <a:pt x="494" y="32"/>
                    </a:lnTo>
                    <a:lnTo>
                      <a:pt x="0" y="32"/>
                    </a:lnTo>
                    <a:lnTo>
                      <a:pt x="0" y="0"/>
                    </a:lnTo>
                    <a:lnTo>
                      <a:pt x="510" y="0"/>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7" name="Freeform 165"/>
              <p:cNvSpPr>
                <a:spLocks/>
              </p:cNvSpPr>
              <p:nvPr userDrawn="1"/>
            </p:nvSpPr>
            <p:spPr bwMode="auto">
              <a:xfrm>
                <a:off x="3356" y="2555"/>
                <a:ext cx="1152" cy="54"/>
              </a:xfrm>
              <a:custGeom>
                <a:avLst/>
                <a:gdLst>
                  <a:gd name="T0" fmla="*/ 1152 w 1152"/>
                  <a:gd name="T1" fmla="*/ 14 h 54"/>
                  <a:gd name="T2" fmla="*/ 1148 w 1152"/>
                  <a:gd name="T3" fmla="*/ 26 h 54"/>
                  <a:gd name="T4" fmla="*/ 1130 w 1152"/>
                  <a:gd name="T5" fmla="*/ 40 h 54"/>
                  <a:gd name="T6" fmla="*/ 1130 w 1152"/>
                  <a:gd name="T7" fmla="*/ 54 h 54"/>
                  <a:gd name="T8" fmla="*/ 913 w 1152"/>
                  <a:gd name="T9" fmla="*/ 54 h 54"/>
                  <a:gd name="T10" fmla="*/ 913 w 1152"/>
                  <a:gd name="T11" fmla="*/ 44 h 54"/>
                  <a:gd name="T12" fmla="*/ 251 w 1152"/>
                  <a:gd name="T13" fmla="*/ 44 h 54"/>
                  <a:gd name="T14" fmla="*/ 203 w 1152"/>
                  <a:gd name="T15" fmla="*/ 46 h 54"/>
                  <a:gd name="T16" fmla="*/ 22 w 1152"/>
                  <a:gd name="T17" fmla="*/ 46 h 54"/>
                  <a:gd name="T18" fmla="*/ 22 w 1152"/>
                  <a:gd name="T19" fmla="*/ 38 h 54"/>
                  <a:gd name="T20" fmla="*/ 6 w 1152"/>
                  <a:gd name="T21" fmla="*/ 20 h 54"/>
                  <a:gd name="T22" fmla="*/ 0 w 1152"/>
                  <a:gd name="T23" fmla="*/ 8 h 54"/>
                  <a:gd name="T24" fmla="*/ 225 w 1152"/>
                  <a:gd name="T25" fmla="*/ 8 h 54"/>
                  <a:gd name="T26" fmla="*/ 221 w 1152"/>
                  <a:gd name="T27" fmla="*/ 0 h 54"/>
                  <a:gd name="T28" fmla="*/ 935 w 1152"/>
                  <a:gd name="T29" fmla="*/ 0 h 54"/>
                  <a:gd name="T30" fmla="*/ 929 w 1152"/>
                  <a:gd name="T31" fmla="*/ 10 h 54"/>
                  <a:gd name="T32" fmla="*/ 925 w 1152"/>
                  <a:gd name="T33" fmla="*/ 14 h 54"/>
                  <a:gd name="T34" fmla="*/ 1152 w 1152"/>
                  <a:gd name="T35" fmla="*/ 1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52" h="54">
                    <a:moveTo>
                      <a:pt x="1152" y="14"/>
                    </a:moveTo>
                    <a:lnTo>
                      <a:pt x="1148" y="26"/>
                    </a:lnTo>
                    <a:lnTo>
                      <a:pt x="1130" y="40"/>
                    </a:lnTo>
                    <a:lnTo>
                      <a:pt x="1130" y="54"/>
                    </a:lnTo>
                    <a:lnTo>
                      <a:pt x="913" y="54"/>
                    </a:lnTo>
                    <a:lnTo>
                      <a:pt x="913" y="44"/>
                    </a:lnTo>
                    <a:lnTo>
                      <a:pt x="251" y="44"/>
                    </a:lnTo>
                    <a:lnTo>
                      <a:pt x="203" y="46"/>
                    </a:lnTo>
                    <a:lnTo>
                      <a:pt x="22" y="46"/>
                    </a:lnTo>
                    <a:lnTo>
                      <a:pt x="22" y="38"/>
                    </a:lnTo>
                    <a:lnTo>
                      <a:pt x="6" y="20"/>
                    </a:lnTo>
                    <a:lnTo>
                      <a:pt x="0" y="8"/>
                    </a:lnTo>
                    <a:lnTo>
                      <a:pt x="225" y="8"/>
                    </a:lnTo>
                    <a:lnTo>
                      <a:pt x="221" y="0"/>
                    </a:lnTo>
                    <a:lnTo>
                      <a:pt x="935" y="0"/>
                    </a:lnTo>
                    <a:lnTo>
                      <a:pt x="929" y="10"/>
                    </a:lnTo>
                    <a:lnTo>
                      <a:pt x="925" y="14"/>
                    </a:lnTo>
                    <a:lnTo>
                      <a:pt x="1152" y="14"/>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8" name="Freeform 166"/>
              <p:cNvSpPr>
                <a:spLocks/>
              </p:cNvSpPr>
              <p:nvPr userDrawn="1"/>
            </p:nvSpPr>
            <p:spPr bwMode="auto">
              <a:xfrm>
                <a:off x="2866" y="2613"/>
                <a:ext cx="512" cy="34"/>
              </a:xfrm>
              <a:custGeom>
                <a:avLst/>
                <a:gdLst>
                  <a:gd name="T0" fmla="*/ 512 w 512"/>
                  <a:gd name="T1" fmla="*/ 34 h 34"/>
                  <a:gd name="T2" fmla="*/ 512 w 512"/>
                  <a:gd name="T3" fmla="*/ 0 h 34"/>
                  <a:gd name="T4" fmla="*/ 0 w 512"/>
                  <a:gd name="T5" fmla="*/ 0 h 34"/>
                  <a:gd name="T6" fmla="*/ 8 w 512"/>
                  <a:gd name="T7" fmla="*/ 8 h 34"/>
                  <a:gd name="T8" fmla="*/ 16 w 512"/>
                  <a:gd name="T9" fmla="*/ 8 h 34"/>
                  <a:gd name="T10" fmla="*/ 16 w 512"/>
                  <a:gd name="T11" fmla="*/ 34 h 34"/>
                  <a:gd name="T12" fmla="*/ 512 w 512"/>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512" h="34">
                    <a:moveTo>
                      <a:pt x="512" y="34"/>
                    </a:moveTo>
                    <a:lnTo>
                      <a:pt x="512" y="0"/>
                    </a:lnTo>
                    <a:lnTo>
                      <a:pt x="0" y="0"/>
                    </a:lnTo>
                    <a:lnTo>
                      <a:pt x="8" y="8"/>
                    </a:lnTo>
                    <a:lnTo>
                      <a:pt x="16" y="8"/>
                    </a:lnTo>
                    <a:lnTo>
                      <a:pt x="16" y="34"/>
                    </a:lnTo>
                    <a:lnTo>
                      <a:pt x="512" y="34"/>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 name="Rectangle 167"/>
              <p:cNvSpPr>
                <a:spLocks noChangeArrowheads="1"/>
              </p:cNvSpPr>
              <p:nvPr userDrawn="1"/>
            </p:nvSpPr>
            <p:spPr bwMode="auto">
              <a:xfrm>
                <a:off x="3687" y="2878"/>
                <a:ext cx="30" cy="6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 name="Rectangle 168"/>
              <p:cNvSpPr>
                <a:spLocks noChangeArrowheads="1"/>
              </p:cNvSpPr>
              <p:nvPr userDrawn="1"/>
            </p:nvSpPr>
            <p:spPr bwMode="auto">
              <a:xfrm>
                <a:off x="3822" y="2878"/>
                <a:ext cx="30" cy="6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 name="Rectangle 169"/>
              <p:cNvSpPr>
                <a:spLocks noChangeArrowheads="1"/>
              </p:cNvSpPr>
              <p:nvPr userDrawn="1"/>
            </p:nvSpPr>
            <p:spPr bwMode="auto">
              <a:xfrm>
                <a:off x="3918" y="2880"/>
                <a:ext cx="28" cy="6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 name="Rectangle 170"/>
              <p:cNvSpPr>
                <a:spLocks noChangeArrowheads="1"/>
              </p:cNvSpPr>
              <p:nvPr userDrawn="1"/>
            </p:nvSpPr>
            <p:spPr bwMode="auto">
              <a:xfrm>
                <a:off x="4014" y="2878"/>
                <a:ext cx="30" cy="6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3" name="Rectangle 171"/>
              <p:cNvSpPr>
                <a:spLocks noChangeArrowheads="1"/>
              </p:cNvSpPr>
              <p:nvPr userDrawn="1"/>
            </p:nvSpPr>
            <p:spPr bwMode="auto">
              <a:xfrm>
                <a:off x="4147" y="2878"/>
                <a:ext cx="30" cy="6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4" name="Rectangle 172"/>
              <p:cNvSpPr>
                <a:spLocks noChangeArrowheads="1"/>
              </p:cNvSpPr>
              <p:nvPr userDrawn="1"/>
            </p:nvSpPr>
            <p:spPr bwMode="auto">
              <a:xfrm>
                <a:off x="4361" y="2884"/>
                <a:ext cx="29" cy="6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5" name="Rectangle 173"/>
              <p:cNvSpPr>
                <a:spLocks noChangeArrowheads="1"/>
              </p:cNvSpPr>
              <p:nvPr userDrawn="1"/>
            </p:nvSpPr>
            <p:spPr bwMode="auto">
              <a:xfrm>
                <a:off x="4490" y="2904"/>
                <a:ext cx="26" cy="55"/>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6" name="Rectangle 174"/>
              <p:cNvSpPr>
                <a:spLocks noChangeArrowheads="1"/>
              </p:cNvSpPr>
              <p:nvPr userDrawn="1"/>
            </p:nvSpPr>
            <p:spPr bwMode="auto">
              <a:xfrm>
                <a:off x="4572" y="2904"/>
                <a:ext cx="26" cy="55"/>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7" name="Rectangle 175"/>
              <p:cNvSpPr>
                <a:spLocks noChangeArrowheads="1"/>
              </p:cNvSpPr>
              <p:nvPr userDrawn="1"/>
            </p:nvSpPr>
            <p:spPr bwMode="auto">
              <a:xfrm>
                <a:off x="4675" y="2904"/>
                <a:ext cx="34" cy="55"/>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8" name="Rectangle 176"/>
              <p:cNvSpPr>
                <a:spLocks noChangeArrowheads="1"/>
              </p:cNvSpPr>
              <p:nvPr userDrawn="1"/>
            </p:nvSpPr>
            <p:spPr bwMode="auto">
              <a:xfrm>
                <a:off x="4781" y="2904"/>
                <a:ext cx="24" cy="55"/>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9" name="Rectangle 177"/>
              <p:cNvSpPr>
                <a:spLocks noChangeArrowheads="1"/>
              </p:cNvSpPr>
              <p:nvPr userDrawn="1"/>
            </p:nvSpPr>
            <p:spPr bwMode="auto">
              <a:xfrm>
                <a:off x="4867" y="2904"/>
                <a:ext cx="26" cy="55"/>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0" name="Rectangle 178"/>
              <p:cNvSpPr>
                <a:spLocks noChangeArrowheads="1"/>
              </p:cNvSpPr>
              <p:nvPr userDrawn="1"/>
            </p:nvSpPr>
            <p:spPr bwMode="auto">
              <a:xfrm>
                <a:off x="4783" y="2790"/>
                <a:ext cx="26" cy="54"/>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1" name="Rectangle 179"/>
              <p:cNvSpPr>
                <a:spLocks noChangeArrowheads="1"/>
              </p:cNvSpPr>
              <p:nvPr userDrawn="1"/>
            </p:nvSpPr>
            <p:spPr bwMode="auto">
              <a:xfrm>
                <a:off x="4869" y="2790"/>
                <a:ext cx="26" cy="54"/>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2" name="Rectangle 180"/>
              <p:cNvSpPr>
                <a:spLocks noChangeArrowheads="1"/>
              </p:cNvSpPr>
              <p:nvPr userDrawn="1"/>
            </p:nvSpPr>
            <p:spPr bwMode="auto">
              <a:xfrm>
                <a:off x="4572" y="2788"/>
                <a:ext cx="26" cy="54"/>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3" name="Rectangle 181"/>
              <p:cNvSpPr>
                <a:spLocks noChangeArrowheads="1"/>
              </p:cNvSpPr>
              <p:nvPr userDrawn="1"/>
            </p:nvSpPr>
            <p:spPr bwMode="auto">
              <a:xfrm>
                <a:off x="4488" y="2788"/>
                <a:ext cx="24" cy="54"/>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4" name="Rectangle 182"/>
              <p:cNvSpPr>
                <a:spLocks noChangeArrowheads="1"/>
              </p:cNvSpPr>
              <p:nvPr userDrawn="1"/>
            </p:nvSpPr>
            <p:spPr bwMode="auto">
              <a:xfrm>
                <a:off x="4488" y="2691"/>
                <a:ext cx="28" cy="26"/>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5" name="Rectangle 183"/>
              <p:cNvSpPr>
                <a:spLocks noChangeArrowheads="1"/>
              </p:cNvSpPr>
              <p:nvPr userDrawn="1"/>
            </p:nvSpPr>
            <p:spPr bwMode="auto">
              <a:xfrm>
                <a:off x="4572" y="2693"/>
                <a:ext cx="28" cy="24"/>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6" name="Oval 184"/>
              <p:cNvSpPr>
                <a:spLocks noChangeArrowheads="1"/>
              </p:cNvSpPr>
              <p:nvPr userDrawn="1"/>
            </p:nvSpPr>
            <p:spPr bwMode="auto">
              <a:xfrm>
                <a:off x="4679" y="2693"/>
                <a:ext cx="26" cy="29"/>
              </a:xfrm>
              <a:prstGeom prst="ellipse">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7" name="Rectangle 185"/>
              <p:cNvSpPr>
                <a:spLocks noChangeArrowheads="1"/>
              </p:cNvSpPr>
              <p:nvPr userDrawn="1"/>
            </p:nvSpPr>
            <p:spPr bwMode="auto">
              <a:xfrm>
                <a:off x="4783" y="2693"/>
                <a:ext cx="26" cy="2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8" name="Rectangle 186"/>
              <p:cNvSpPr>
                <a:spLocks noChangeArrowheads="1"/>
              </p:cNvSpPr>
              <p:nvPr userDrawn="1"/>
            </p:nvSpPr>
            <p:spPr bwMode="auto">
              <a:xfrm>
                <a:off x="4869" y="2693"/>
                <a:ext cx="26" cy="2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 name="Freeform 187"/>
              <p:cNvSpPr>
                <a:spLocks/>
              </p:cNvSpPr>
              <p:nvPr userDrawn="1"/>
            </p:nvSpPr>
            <p:spPr bwMode="auto">
              <a:xfrm>
                <a:off x="4677" y="2758"/>
                <a:ext cx="32" cy="84"/>
              </a:xfrm>
              <a:custGeom>
                <a:avLst/>
                <a:gdLst>
                  <a:gd name="T0" fmla="*/ 8 w 16"/>
                  <a:gd name="T1" fmla="*/ 0 h 42"/>
                  <a:gd name="T2" fmla="*/ 0 w 16"/>
                  <a:gd name="T3" fmla="*/ 8 h 42"/>
                  <a:gd name="T4" fmla="*/ 0 w 16"/>
                  <a:gd name="T5" fmla="*/ 42 h 42"/>
                  <a:gd name="T6" fmla="*/ 16 w 16"/>
                  <a:gd name="T7" fmla="*/ 42 h 42"/>
                  <a:gd name="T8" fmla="*/ 16 w 16"/>
                  <a:gd name="T9" fmla="*/ 8 h 42"/>
                  <a:gd name="T10" fmla="*/ 8 w 16"/>
                  <a:gd name="T11" fmla="*/ 0 h 42"/>
                </a:gdLst>
                <a:ahLst/>
                <a:cxnLst>
                  <a:cxn ang="0">
                    <a:pos x="T0" y="T1"/>
                  </a:cxn>
                  <a:cxn ang="0">
                    <a:pos x="T2" y="T3"/>
                  </a:cxn>
                  <a:cxn ang="0">
                    <a:pos x="T4" y="T5"/>
                  </a:cxn>
                  <a:cxn ang="0">
                    <a:pos x="T6" y="T7"/>
                  </a:cxn>
                  <a:cxn ang="0">
                    <a:pos x="T8" y="T9"/>
                  </a:cxn>
                  <a:cxn ang="0">
                    <a:pos x="T10" y="T11"/>
                  </a:cxn>
                </a:cxnLst>
                <a:rect l="0" t="0" r="r" b="b"/>
                <a:pathLst>
                  <a:path w="16" h="42">
                    <a:moveTo>
                      <a:pt x="8" y="0"/>
                    </a:moveTo>
                    <a:cubicBezTo>
                      <a:pt x="3" y="0"/>
                      <a:pt x="0" y="4"/>
                      <a:pt x="0" y="8"/>
                    </a:cubicBezTo>
                    <a:cubicBezTo>
                      <a:pt x="0" y="42"/>
                      <a:pt x="0" y="42"/>
                      <a:pt x="0" y="42"/>
                    </a:cubicBezTo>
                    <a:cubicBezTo>
                      <a:pt x="16" y="42"/>
                      <a:pt x="16" y="42"/>
                      <a:pt x="16" y="42"/>
                    </a:cubicBezTo>
                    <a:cubicBezTo>
                      <a:pt x="16" y="8"/>
                      <a:pt x="16" y="8"/>
                      <a:pt x="16" y="8"/>
                    </a:cubicBezTo>
                    <a:cubicBezTo>
                      <a:pt x="16" y="4"/>
                      <a:pt x="12" y="0"/>
                      <a:pt x="8"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 name="Rectangle 188"/>
              <p:cNvSpPr>
                <a:spLocks noChangeArrowheads="1"/>
              </p:cNvSpPr>
              <p:nvPr userDrawn="1"/>
            </p:nvSpPr>
            <p:spPr bwMode="auto">
              <a:xfrm>
                <a:off x="4361" y="2756"/>
                <a:ext cx="29" cy="60"/>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 name="Rectangle 189"/>
              <p:cNvSpPr>
                <a:spLocks noChangeArrowheads="1"/>
              </p:cNvSpPr>
              <p:nvPr userDrawn="1"/>
            </p:nvSpPr>
            <p:spPr bwMode="auto">
              <a:xfrm>
                <a:off x="4363" y="2649"/>
                <a:ext cx="31" cy="32"/>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 name="Rectangle 190"/>
              <p:cNvSpPr>
                <a:spLocks noChangeArrowheads="1"/>
              </p:cNvSpPr>
              <p:nvPr userDrawn="1"/>
            </p:nvSpPr>
            <p:spPr bwMode="auto">
              <a:xfrm>
                <a:off x="3472" y="2880"/>
                <a:ext cx="31" cy="6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 name="Rectangle 191"/>
              <p:cNvSpPr>
                <a:spLocks noChangeArrowheads="1"/>
              </p:cNvSpPr>
              <p:nvPr userDrawn="1"/>
            </p:nvSpPr>
            <p:spPr bwMode="auto">
              <a:xfrm>
                <a:off x="3472" y="2752"/>
                <a:ext cx="29" cy="60"/>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 name="Rectangle 192"/>
              <p:cNvSpPr>
                <a:spLocks noChangeArrowheads="1"/>
              </p:cNvSpPr>
              <p:nvPr userDrawn="1"/>
            </p:nvSpPr>
            <p:spPr bwMode="auto">
              <a:xfrm>
                <a:off x="3472" y="2647"/>
                <a:ext cx="29" cy="26"/>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 name="Rectangle 193"/>
              <p:cNvSpPr>
                <a:spLocks noChangeArrowheads="1"/>
              </p:cNvSpPr>
              <p:nvPr userDrawn="1"/>
            </p:nvSpPr>
            <p:spPr bwMode="auto">
              <a:xfrm>
                <a:off x="3350" y="2687"/>
                <a:ext cx="24" cy="24"/>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 name="Rectangle 194"/>
              <p:cNvSpPr>
                <a:spLocks noChangeArrowheads="1"/>
              </p:cNvSpPr>
              <p:nvPr userDrawn="1"/>
            </p:nvSpPr>
            <p:spPr bwMode="auto">
              <a:xfrm>
                <a:off x="3266" y="2687"/>
                <a:ext cx="24" cy="24"/>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 name="Rectangle 195"/>
              <p:cNvSpPr>
                <a:spLocks noChangeArrowheads="1"/>
              </p:cNvSpPr>
              <p:nvPr userDrawn="1"/>
            </p:nvSpPr>
            <p:spPr bwMode="auto">
              <a:xfrm>
                <a:off x="3266" y="2782"/>
                <a:ext cx="24" cy="54"/>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 name="Rectangle 196"/>
              <p:cNvSpPr>
                <a:spLocks noChangeArrowheads="1"/>
              </p:cNvSpPr>
              <p:nvPr userDrawn="1"/>
            </p:nvSpPr>
            <p:spPr bwMode="auto">
              <a:xfrm>
                <a:off x="3153" y="2898"/>
                <a:ext cx="35" cy="55"/>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 name="Rectangle 197"/>
              <p:cNvSpPr>
                <a:spLocks noChangeArrowheads="1"/>
              </p:cNvSpPr>
              <p:nvPr userDrawn="1"/>
            </p:nvSpPr>
            <p:spPr bwMode="auto">
              <a:xfrm>
                <a:off x="3053" y="2898"/>
                <a:ext cx="24" cy="55"/>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 name="Rectangle 198"/>
              <p:cNvSpPr>
                <a:spLocks noChangeArrowheads="1"/>
              </p:cNvSpPr>
              <p:nvPr userDrawn="1"/>
            </p:nvSpPr>
            <p:spPr bwMode="auto">
              <a:xfrm>
                <a:off x="3053" y="2780"/>
                <a:ext cx="24" cy="54"/>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 name="Rectangle 199"/>
              <p:cNvSpPr>
                <a:spLocks noChangeArrowheads="1"/>
              </p:cNvSpPr>
              <p:nvPr userDrawn="1"/>
            </p:nvSpPr>
            <p:spPr bwMode="auto">
              <a:xfrm>
                <a:off x="3053" y="2683"/>
                <a:ext cx="24" cy="28"/>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 name="Rectangle 200"/>
              <p:cNvSpPr>
                <a:spLocks noChangeArrowheads="1"/>
              </p:cNvSpPr>
              <p:nvPr userDrawn="1"/>
            </p:nvSpPr>
            <p:spPr bwMode="auto">
              <a:xfrm>
                <a:off x="2965" y="2780"/>
                <a:ext cx="26" cy="54"/>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 name="Rectangle 201"/>
              <p:cNvSpPr>
                <a:spLocks noChangeArrowheads="1"/>
              </p:cNvSpPr>
              <p:nvPr userDrawn="1"/>
            </p:nvSpPr>
            <p:spPr bwMode="auto">
              <a:xfrm>
                <a:off x="2965" y="2898"/>
                <a:ext cx="28" cy="55"/>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 name="Rectangle 202"/>
              <p:cNvSpPr>
                <a:spLocks noChangeArrowheads="1"/>
              </p:cNvSpPr>
              <p:nvPr userDrawn="1"/>
            </p:nvSpPr>
            <p:spPr bwMode="auto">
              <a:xfrm>
                <a:off x="2967" y="2683"/>
                <a:ext cx="26" cy="28"/>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 name="Oval 203"/>
              <p:cNvSpPr>
                <a:spLocks noChangeArrowheads="1"/>
              </p:cNvSpPr>
              <p:nvPr userDrawn="1"/>
            </p:nvSpPr>
            <p:spPr bwMode="auto">
              <a:xfrm>
                <a:off x="3157" y="2683"/>
                <a:ext cx="29" cy="28"/>
              </a:xfrm>
              <a:prstGeom prst="ellipse">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 name="Freeform 204"/>
              <p:cNvSpPr>
                <a:spLocks/>
              </p:cNvSpPr>
              <p:nvPr userDrawn="1"/>
            </p:nvSpPr>
            <p:spPr bwMode="auto">
              <a:xfrm>
                <a:off x="3155" y="2752"/>
                <a:ext cx="35" cy="82"/>
              </a:xfrm>
              <a:custGeom>
                <a:avLst/>
                <a:gdLst>
                  <a:gd name="T0" fmla="*/ 9 w 17"/>
                  <a:gd name="T1" fmla="*/ 0 h 41"/>
                  <a:gd name="T2" fmla="*/ 0 w 17"/>
                  <a:gd name="T3" fmla="*/ 8 h 41"/>
                  <a:gd name="T4" fmla="*/ 0 w 17"/>
                  <a:gd name="T5" fmla="*/ 41 h 41"/>
                  <a:gd name="T6" fmla="*/ 17 w 17"/>
                  <a:gd name="T7" fmla="*/ 41 h 41"/>
                  <a:gd name="T8" fmla="*/ 17 w 17"/>
                  <a:gd name="T9" fmla="*/ 8 h 41"/>
                  <a:gd name="T10" fmla="*/ 9 w 17"/>
                  <a:gd name="T11" fmla="*/ 0 h 41"/>
                </a:gdLst>
                <a:ahLst/>
                <a:cxnLst>
                  <a:cxn ang="0">
                    <a:pos x="T0" y="T1"/>
                  </a:cxn>
                  <a:cxn ang="0">
                    <a:pos x="T2" y="T3"/>
                  </a:cxn>
                  <a:cxn ang="0">
                    <a:pos x="T4" y="T5"/>
                  </a:cxn>
                  <a:cxn ang="0">
                    <a:pos x="T6" y="T7"/>
                  </a:cxn>
                  <a:cxn ang="0">
                    <a:pos x="T8" y="T9"/>
                  </a:cxn>
                  <a:cxn ang="0">
                    <a:pos x="T10" y="T11"/>
                  </a:cxn>
                </a:cxnLst>
                <a:rect l="0" t="0" r="r" b="b"/>
                <a:pathLst>
                  <a:path w="17" h="41">
                    <a:moveTo>
                      <a:pt x="9" y="0"/>
                    </a:moveTo>
                    <a:cubicBezTo>
                      <a:pt x="4" y="0"/>
                      <a:pt x="0" y="4"/>
                      <a:pt x="0" y="8"/>
                    </a:cubicBezTo>
                    <a:cubicBezTo>
                      <a:pt x="0" y="41"/>
                      <a:pt x="0" y="41"/>
                      <a:pt x="0" y="41"/>
                    </a:cubicBezTo>
                    <a:cubicBezTo>
                      <a:pt x="17" y="41"/>
                      <a:pt x="17" y="41"/>
                      <a:pt x="17" y="41"/>
                    </a:cubicBezTo>
                    <a:cubicBezTo>
                      <a:pt x="17" y="8"/>
                      <a:pt x="17" y="8"/>
                      <a:pt x="17" y="8"/>
                    </a:cubicBezTo>
                    <a:cubicBezTo>
                      <a:pt x="17" y="4"/>
                      <a:pt x="13" y="0"/>
                      <a:pt x="9"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 name="Freeform 205"/>
              <p:cNvSpPr>
                <a:spLocks/>
              </p:cNvSpPr>
              <p:nvPr userDrawn="1"/>
            </p:nvSpPr>
            <p:spPr bwMode="auto">
              <a:xfrm>
                <a:off x="3926" y="2092"/>
                <a:ext cx="18" cy="71"/>
              </a:xfrm>
              <a:custGeom>
                <a:avLst/>
                <a:gdLst>
                  <a:gd name="T0" fmla="*/ 0 w 9"/>
                  <a:gd name="T1" fmla="*/ 35 h 35"/>
                  <a:gd name="T2" fmla="*/ 9 w 9"/>
                  <a:gd name="T3" fmla="*/ 35 h 35"/>
                  <a:gd name="T4" fmla="*/ 9 w 9"/>
                  <a:gd name="T5" fmla="*/ 7 h 35"/>
                  <a:gd name="T6" fmla="*/ 5 w 9"/>
                  <a:gd name="T7" fmla="*/ 0 h 35"/>
                  <a:gd name="T8" fmla="*/ 0 w 9"/>
                  <a:gd name="T9" fmla="*/ 3 h 35"/>
                  <a:gd name="T10" fmla="*/ 0 w 9"/>
                  <a:gd name="T11" fmla="*/ 35 h 35"/>
                </a:gdLst>
                <a:ahLst/>
                <a:cxnLst>
                  <a:cxn ang="0">
                    <a:pos x="T0" y="T1"/>
                  </a:cxn>
                  <a:cxn ang="0">
                    <a:pos x="T2" y="T3"/>
                  </a:cxn>
                  <a:cxn ang="0">
                    <a:pos x="T4" y="T5"/>
                  </a:cxn>
                  <a:cxn ang="0">
                    <a:pos x="T6" y="T7"/>
                  </a:cxn>
                  <a:cxn ang="0">
                    <a:pos x="T8" y="T9"/>
                  </a:cxn>
                  <a:cxn ang="0">
                    <a:pos x="T10" y="T11"/>
                  </a:cxn>
                </a:cxnLst>
                <a:rect l="0" t="0" r="r" b="b"/>
                <a:pathLst>
                  <a:path w="9" h="35">
                    <a:moveTo>
                      <a:pt x="0" y="35"/>
                    </a:moveTo>
                    <a:cubicBezTo>
                      <a:pt x="9" y="35"/>
                      <a:pt x="9" y="35"/>
                      <a:pt x="9" y="35"/>
                    </a:cubicBezTo>
                    <a:cubicBezTo>
                      <a:pt x="9" y="7"/>
                      <a:pt x="9" y="7"/>
                      <a:pt x="9" y="7"/>
                    </a:cubicBezTo>
                    <a:cubicBezTo>
                      <a:pt x="9" y="7"/>
                      <a:pt x="9" y="0"/>
                      <a:pt x="5" y="0"/>
                    </a:cubicBezTo>
                    <a:cubicBezTo>
                      <a:pt x="1" y="0"/>
                      <a:pt x="0" y="3"/>
                      <a:pt x="0" y="3"/>
                    </a:cubicBezTo>
                    <a:lnTo>
                      <a:pt x="0" y="35"/>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 name="Freeform 206"/>
              <p:cNvSpPr>
                <a:spLocks/>
              </p:cNvSpPr>
              <p:nvPr userDrawn="1"/>
            </p:nvSpPr>
            <p:spPr bwMode="auto">
              <a:xfrm>
                <a:off x="3978" y="2094"/>
                <a:ext cx="18" cy="71"/>
              </a:xfrm>
              <a:custGeom>
                <a:avLst/>
                <a:gdLst>
                  <a:gd name="T0" fmla="*/ 0 w 9"/>
                  <a:gd name="T1" fmla="*/ 35 h 35"/>
                  <a:gd name="T2" fmla="*/ 9 w 9"/>
                  <a:gd name="T3" fmla="*/ 35 h 35"/>
                  <a:gd name="T4" fmla="*/ 9 w 9"/>
                  <a:gd name="T5" fmla="*/ 7 h 35"/>
                  <a:gd name="T6" fmla="*/ 5 w 9"/>
                  <a:gd name="T7" fmla="*/ 0 h 35"/>
                  <a:gd name="T8" fmla="*/ 0 w 9"/>
                  <a:gd name="T9" fmla="*/ 3 h 35"/>
                  <a:gd name="T10" fmla="*/ 0 w 9"/>
                  <a:gd name="T11" fmla="*/ 35 h 35"/>
                </a:gdLst>
                <a:ahLst/>
                <a:cxnLst>
                  <a:cxn ang="0">
                    <a:pos x="T0" y="T1"/>
                  </a:cxn>
                  <a:cxn ang="0">
                    <a:pos x="T2" y="T3"/>
                  </a:cxn>
                  <a:cxn ang="0">
                    <a:pos x="T4" y="T5"/>
                  </a:cxn>
                  <a:cxn ang="0">
                    <a:pos x="T6" y="T7"/>
                  </a:cxn>
                  <a:cxn ang="0">
                    <a:pos x="T8" y="T9"/>
                  </a:cxn>
                  <a:cxn ang="0">
                    <a:pos x="T10" y="T11"/>
                  </a:cxn>
                </a:cxnLst>
                <a:rect l="0" t="0" r="r" b="b"/>
                <a:pathLst>
                  <a:path w="9" h="35">
                    <a:moveTo>
                      <a:pt x="0" y="35"/>
                    </a:moveTo>
                    <a:cubicBezTo>
                      <a:pt x="9" y="35"/>
                      <a:pt x="9" y="35"/>
                      <a:pt x="9" y="35"/>
                    </a:cubicBezTo>
                    <a:cubicBezTo>
                      <a:pt x="9" y="7"/>
                      <a:pt x="9" y="7"/>
                      <a:pt x="9" y="7"/>
                    </a:cubicBezTo>
                    <a:cubicBezTo>
                      <a:pt x="9" y="7"/>
                      <a:pt x="9" y="0"/>
                      <a:pt x="5" y="0"/>
                    </a:cubicBezTo>
                    <a:cubicBezTo>
                      <a:pt x="1" y="0"/>
                      <a:pt x="0" y="3"/>
                      <a:pt x="0" y="3"/>
                    </a:cubicBezTo>
                    <a:lnTo>
                      <a:pt x="0" y="35"/>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9" name="Freeform 207"/>
              <p:cNvSpPr>
                <a:spLocks/>
              </p:cNvSpPr>
              <p:nvPr userDrawn="1"/>
            </p:nvSpPr>
            <p:spPr bwMode="auto">
              <a:xfrm>
                <a:off x="4030" y="2098"/>
                <a:ext cx="18" cy="73"/>
              </a:xfrm>
              <a:custGeom>
                <a:avLst/>
                <a:gdLst>
                  <a:gd name="T0" fmla="*/ 0 w 9"/>
                  <a:gd name="T1" fmla="*/ 36 h 36"/>
                  <a:gd name="T2" fmla="*/ 9 w 9"/>
                  <a:gd name="T3" fmla="*/ 36 h 36"/>
                  <a:gd name="T4" fmla="*/ 9 w 9"/>
                  <a:gd name="T5" fmla="*/ 7 h 36"/>
                  <a:gd name="T6" fmla="*/ 4 w 9"/>
                  <a:gd name="T7" fmla="*/ 0 h 36"/>
                  <a:gd name="T8" fmla="*/ 0 w 9"/>
                  <a:gd name="T9" fmla="*/ 3 h 36"/>
                  <a:gd name="T10" fmla="*/ 0 w 9"/>
                  <a:gd name="T11" fmla="*/ 36 h 36"/>
                </a:gdLst>
                <a:ahLst/>
                <a:cxnLst>
                  <a:cxn ang="0">
                    <a:pos x="T0" y="T1"/>
                  </a:cxn>
                  <a:cxn ang="0">
                    <a:pos x="T2" y="T3"/>
                  </a:cxn>
                  <a:cxn ang="0">
                    <a:pos x="T4" y="T5"/>
                  </a:cxn>
                  <a:cxn ang="0">
                    <a:pos x="T6" y="T7"/>
                  </a:cxn>
                  <a:cxn ang="0">
                    <a:pos x="T8" y="T9"/>
                  </a:cxn>
                  <a:cxn ang="0">
                    <a:pos x="T10" y="T11"/>
                  </a:cxn>
                </a:cxnLst>
                <a:rect l="0" t="0" r="r" b="b"/>
                <a:pathLst>
                  <a:path w="9" h="36">
                    <a:moveTo>
                      <a:pt x="0" y="36"/>
                    </a:moveTo>
                    <a:cubicBezTo>
                      <a:pt x="9" y="36"/>
                      <a:pt x="9" y="36"/>
                      <a:pt x="9" y="36"/>
                    </a:cubicBezTo>
                    <a:cubicBezTo>
                      <a:pt x="9" y="7"/>
                      <a:pt x="9" y="7"/>
                      <a:pt x="9" y="7"/>
                    </a:cubicBezTo>
                    <a:cubicBezTo>
                      <a:pt x="9" y="7"/>
                      <a:pt x="8" y="0"/>
                      <a:pt x="4" y="0"/>
                    </a:cubicBezTo>
                    <a:cubicBezTo>
                      <a:pt x="0" y="0"/>
                      <a:pt x="0" y="3"/>
                      <a:pt x="0" y="3"/>
                    </a:cubicBezTo>
                    <a:lnTo>
                      <a:pt x="0" y="36"/>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0" name="Freeform 208"/>
              <p:cNvSpPr>
                <a:spLocks/>
              </p:cNvSpPr>
              <p:nvPr userDrawn="1"/>
            </p:nvSpPr>
            <p:spPr bwMode="auto">
              <a:xfrm>
                <a:off x="4075" y="2102"/>
                <a:ext cx="18" cy="71"/>
              </a:xfrm>
              <a:custGeom>
                <a:avLst/>
                <a:gdLst>
                  <a:gd name="T0" fmla="*/ 0 w 9"/>
                  <a:gd name="T1" fmla="*/ 35 h 35"/>
                  <a:gd name="T2" fmla="*/ 9 w 9"/>
                  <a:gd name="T3" fmla="*/ 35 h 35"/>
                  <a:gd name="T4" fmla="*/ 9 w 9"/>
                  <a:gd name="T5" fmla="*/ 7 h 35"/>
                  <a:gd name="T6" fmla="*/ 5 w 9"/>
                  <a:gd name="T7" fmla="*/ 0 h 35"/>
                  <a:gd name="T8" fmla="*/ 0 w 9"/>
                  <a:gd name="T9" fmla="*/ 3 h 35"/>
                  <a:gd name="T10" fmla="*/ 0 w 9"/>
                  <a:gd name="T11" fmla="*/ 35 h 35"/>
                </a:gdLst>
                <a:ahLst/>
                <a:cxnLst>
                  <a:cxn ang="0">
                    <a:pos x="T0" y="T1"/>
                  </a:cxn>
                  <a:cxn ang="0">
                    <a:pos x="T2" y="T3"/>
                  </a:cxn>
                  <a:cxn ang="0">
                    <a:pos x="T4" y="T5"/>
                  </a:cxn>
                  <a:cxn ang="0">
                    <a:pos x="T6" y="T7"/>
                  </a:cxn>
                  <a:cxn ang="0">
                    <a:pos x="T8" y="T9"/>
                  </a:cxn>
                  <a:cxn ang="0">
                    <a:pos x="T10" y="T11"/>
                  </a:cxn>
                </a:cxnLst>
                <a:rect l="0" t="0" r="r" b="b"/>
                <a:pathLst>
                  <a:path w="9" h="35">
                    <a:moveTo>
                      <a:pt x="0" y="35"/>
                    </a:moveTo>
                    <a:cubicBezTo>
                      <a:pt x="9" y="35"/>
                      <a:pt x="9" y="35"/>
                      <a:pt x="9" y="35"/>
                    </a:cubicBezTo>
                    <a:cubicBezTo>
                      <a:pt x="9" y="7"/>
                      <a:pt x="9" y="7"/>
                      <a:pt x="9" y="7"/>
                    </a:cubicBezTo>
                    <a:cubicBezTo>
                      <a:pt x="9" y="7"/>
                      <a:pt x="9" y="0"/>
                      <a:pt x="5" y="0"/>
                    </a:cubicBezTo>
                    <a:cubicBezTo>
                      <a:pt x="1" y="0"/>
                      <a:pt x="0" y="3"/>
                      <a:pt x="0" y="3"/>
                    </a:cubicBezTo>
                    <a:lnTo>
                      <a:pt x="0" y="35"/>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1" name="Freeform 209"/>
              <p:cNvSpPr>
                <a:spLocks/>
              </p:cNvSpPr>
              <p:nvPr userDrawn="1"/>
            </p:nvSpPr>
            <p:spPr bwMode="auto">
              <a:xfrm>
                <a:off x="4119" y="2110"/>
                <a:ext cx="14" cy="71"/>
              </a:xfrm>
              <a:custGeom>
                <a:avLst/>
                <a:gdLst>
                  <a:gd name="T0" fmla="*/ 0 w 7"/>
                  <a:gd name="T1" fmla="*/ 35 h 35"/>
                  <a:gd name="T2" fmla="*/ 7 w 7"/>
                  <a:gd name="T3" fmla="*/ 35 h 35"/>
                  <a:gd name="T4" fmla="*/ 7 w 7"/>
                  <a:gd name="T5" fmla="*/ 7 h 35"/>
                  <a:gd name="T6" fmla="*/ 4 w 7"/>
                  <a:gd name="T7" fmla="*/ 0 h 35"/>
                  <a:gd name="T8" fmla="*/ 0 w 7"/>
                  <a:gd name="T9" fmla="*/ 3 h 35"/>
                  <a:gd name="T10" fmla="*/ 0 w 7"/>
                  <a:gd name="T11" fmla="*/ 35 h 35"/>
                </a:gdLst>
                <a:ahLst/>
                <a:cxnLst>
                  <a:cxn ang="0">
                    <a:pos x="T0" y="T1"/>
                  </a:cxn>
                  <a:cxn ang="0">
                    <a:pos x="T2" y="T3"/>
                  </a:cxn>
                  <a:cxn ang="0">
                    <a:pos x="T4" y="T5"/>
                  </a:cxn>
                  <a:cxn ang="0">
                    <a:pos x="T6" y="T7"/>
                  </a:cxn>
                  <a:cxn ang="0">
                    <a:pos x="T8" y="T9"/>
                  </a:cxn>
                  <a:cxn ang="0">
                    <a:pos x="T10" y="T11"/>
                  </a:cxn>
                </a:cxnLst>
                <a:rect l="0" t="0" r="r" b="b"/>
                <a:pathLst>
                  <a:path w="7" h="35">
                    <a:moveTo>
                      <a:pt x="0" y="35"/>
                    </a:moveTo>
                    <a:cubicBezTo>
                      <a:pt x="7" y="35"/>
                      <a:pt x="7" y="35"/>
                      <a:pt x="7" y="35"/>
                    </a:cubicBezTo>
                    <a:cubicBezTo>
                      <a:pt x="7" y="7"/>
                      <a:pt x="7" y="7"/>
                      <a:pt x="7" y="7"/>
                    </a:cubicBezTo>
                    <a:cubicBezTo>
                      <a:pt x="7" y="7"/>
                      <a:pt x="7" y="0"/>
                      <a:pt x="4" y="0"/>
                    </a:cubicBezTo>
                    <a:cubicBezTo>
                      <a:pt x="1" y="0"/>
                      <a:pt x="0" y="3"/>
                      <a:pt x="0" y="3"/>
                    </a:cubicBezTo>
                    <a:lnTo>
                      <a:pt x="0" y="35"/>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2" name="Freeform 210"/>
              <p:cNvSpPr>
                <a:spLocks/>
              </p:cNvSpPr>
              <p:nvPr userDrawn="1"/>
            </p:nvSpPr>
            <p:spPr bwMode="auto">
              <a:xfrm>
                <a:off x="4153" y="2114"/>
                <a:ext cx="12" cy="73"/>
              </a:xfrm>
              <a:custGeom>
                <a:avLst/>
                <a:gdLst>
                  <a:gd name="T0" fmla="*/ 0 w 6"/>
                  <a:gd name="T1" fmla="*/ 36 h 36"/>
                  <a:gd name="T2" fmla="*/ 6 w 6"/>
                  <a:gd name="T3" fmla="*/ 36 h 36"/>
                  <a:gd name="T4" fmla="*/ 6 w 6"/>
                  <a:gd name="T5" fmla="*/ 7 h 36"/>
                  <a:gd name="T6" fmla="*/ 3 w 6"/>
                  <a:gd name="T7" fmla="*/ 0 h 36"/>
                  <a:gd name="T8" fmla="*/ 0 w 6"/>
                  <a:gd name="T9" fmla="*/ 3 h 36"/>
                  <a:gd name="T10" fmla="*/ 0 w 6"/>
                  <a:gd name="T11" fmla="*/ 36 h 36"/>
                </a:gdLst>
                <a:ahLst/>
                <a:cxnLst>
                  <a:cxn ang="0">
                    <a:pos x="T0" y="T1"/>
                  </a:cxn>
                  <a:cxn ang="0">
                    <a:pos x="T2" y="T3"/>
                  </a:cxn>
                  <a:cxn ang="0">
                    <a:pos x="T4" y="T5"/>
                  </a:cxn>
                  <a:cxn ang="0">
                    <a:pos x="T6" y="T7"/>
                  </a:cxn>
                  <a:cxn ang="0">
                    <a:pos x="T8" y="T9"/>
                  </a:cxn>
                  <a:cxn ang="0">
                    <a:pos x="T10" y="T11"/>
                  </a:cxn>
                </a:cxnLst>
                <a:rect l="0" t="0" r="r" b="b"/>
                <a:pathLst>
                  <a:path w="6" h="36">
                    <a:moveTo>
                      <a:pt x="0" y="36"/>
                    </a:moveTo>
                    <a:cubicBezTo>
                      <a:pt x="6" y="36"/>
                      <a:pt x="6" y="36"/>
                      <a:pt x="6" y="36"/>
                    </a:cubicBezTo>
                    <a:cubicBezTo>
                      <a:pt x="6" y="7"/>
                      <a:pt x="6" y="7"/>
                      <a:pt x="6" y="7"/>
                    </a:cubicBezTo>
                    <a:cubicBezTo>
                      <a:pt x="6" y="7"/>
                      <a:pt x="6" y="0"/>
                      <a:pt x="3" y="0"/>
                    </a:cubicBezTo>
                    <a:cubicBezTo>
                      <a:pt x="1" y="0"/>
                      <a:pt x="0" y="3"/>
                      <a:pt x="0" y="3"/>
                    </a:cubicBezTo>
                    <a:lnTo>
                      <a:pt x="0" y="36"/>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3" name="Freeform 211"/>
              <p:cNvSpPr>
                <a:spLocks/>
              </p:cNvSpPr>
              <p:nvPr userDrawn="1"/>
            </p:nvSpPr>
            <p:spPr bwMode="auto">
              <a:xfrm>
                <a:off x="3876" y="2094"/>
                <a:ext cx="18" cy="71"/>
              </a:xfrm>
              <a:custGeom>
                <a:avLst/>
                <a:gdLst>
                  <a:gd name="T0" fmla="*/ 0 w 9"/>
                  <a:gd name="T1" fmla="*/ 35 h 35"/>
                  <a:gd name="T2" fmla="*/ 9 w 9"/>
                  <a:gd name="T3" fmla="*/ 35 h 35"/>
                  <a:gd name="T4" fmla="*/ 9 w 9"/>
                  <a:gd name="T5" fmla="*/ 7 h 35"/>
                  <a:gd name="T6" fmla="*/ 4 w 9"/>
                  <a:gd name="T7" fmla="*/ 0 h 35"/>
                  <a:gd name="T8" fmla="*/ 0 w 9"/>
                  <a:gd name="T9" fmla="*/ 3 h 35"/>
                  <a:gd name="T10" fmla="*/ 0 w 9"/>
                  <a:gd name="T11" fmla="*/ 35 h 35"/>
                </a:gdLst>
                <a:ahLst/>
                <a:cxnLst>
                  <a:cxn ang="0">
                    <a:pos x="T0" y="T1"/>
                  </a:cxn>
                  <a:cxn ang="0">
                    <a:pos x="T2" y="T3"/>
                  </a:cxn>
                  <a:cxn ang="0">
                    <a:pos x="T4" y="T5"/>
                  </a:cxn>
                  <a:cxn ang="0">
                    <a:pos x="T6" y="T7"/>
                  </a:cxn>
                  <a:cxn ang="0">
                    <a:pos x="T8" y="T9"/>
                  </a:cxn>
                  <a:cxn ang="0">
                    <a:pos x="T10" y="T11"/>
                  </a:cxn>
                </a:cxnLst>
                <a:rect l="0" t="0" r="r" b="b"/>
                <a:pathLst>
                  <a:path w="9" h="35">
                    <a:moveTo>
                      <a:pt x="0" y="35"/>
                    </a:moveTo>
                    <a:cubicBezTo>
                      <a:pt x="9" y="35"/>
                      <a:pt x="9" y="35"/>
                      <a:pt x="9" y="35"/>
                    </a:cubicBezTo>
                    <a:cubicBezTo>
                      <a:pt x="9" y="7"/>
                      <a:pt x="9" y="7"/>
                      <a:pt x="9" y="7"/>
                    </a:cubicBezTo>
                    <a:cubicBezTo>
                      <a:pt x="9" y="7"/>
                      <a:pt x="9" y="0"/>
                      <a:pt x="4" y="0"/>
                    </a:cubicBezTo>
                    <a:cubicBezTo>
                      <a:pt x="0" y="0"/>
                      <a:pt x="0" y="3"/>
                      <a:pt x="0" y="3"/>
                    </a:cubicBezTo>
                    <a:lnTo>
                      <a:pt x="0" y="35"/>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4" name="Freeform 212"/>
              <p:cNvSpPr>
                <a:spLocks/>
              </p:cNvSpPr>
              <p:nvPr userDrawn="1"/>
            </p:nvSpPr>
            <p:spPr bwMode="auto">
              <a:xfrm>
                <a:off x="3826" y="2096"/>
                <a:ext cx="18" cy="73"/>
              </a:xfrm>
              <a:custGeom>
                <a:avLst/>
                <a:gdLst>
                  <a:gd name="T0" fmla="*/ 0 w 9"/>
                  <a:gd name="T1" fmla="*/ 36 h 36"/>
                  <a:gd name="T2" fmla="*/ 9 w 9"/>
                  <a:gd name="T3" fmla="*/ 36 h 36"/>
                  <a:gd name="T4" fmla="*/ 9 w 9"/>
                  <a:gd name="T5" fmla="*/ 7 h 36"/>
                  <a:gd name="T6" fmla="*/ 5 w 9"/>
                  <a:gd name="T7" fmla="*/ 0 h 36"/>
                  <a:gd name="T8" fmla="*/ 0 w 9"/>
                  <a:gd name="T9" fmla="*/ 3 h 36"/>
                  <a:gd name="T10" fmla="*/ 0 w 9"/>
                  <a:gd name="T11" fmla="*/ 36 h 36"/>
                </a:gdLst>
                <a:ahLst/>
                <a:cxnLst>
                  <a:cxn ang="0">
                    <a:pos x="T0" y="T1"/>
                  </a:cxn>
                  <a:cxn ang="0">
                    <a:pos x="T2" y="T3"/>
                  </a:cxn>
                  <a:cxn ang="0">
                    <a:pos x="T4" y="T5"/>
                  </a:cxn>
                  <a:cxn ang="0">
                    <a:pos x="T6" y="T7"/>
                  </a:cxn>
                  <a:cxn ang="0">
                    <a:pos x="T8" y="T9"/>
                  </a:cxn>
                  <a:cxn ang="0">
                    <a:pos x="T10" y="T11"/>
                  </a:cxn>
                </a:cxnLst>
                <a:rect l="0" t="0" r="r" b="b"/>
                <a:pathLst>
                  <a:path w="9" h="36">
                    <a:moveTo>
                      <a:pt x="0" y="36"/>
                    </a:moveTo>
                    <a:cubicBezTo>
                      <a:pt x="9" y="36"/>
                      <a:pt x="9" y="36"/>
                      <a:pt x="9" y="36"/>
                    </a:cubicBezTo>
                    <a:cubicBezTo>
                      <a:pt x="9" y="7"/>
                      <a:pt x="9" y="7"/>
                      <a:pt x="9" y="7"/>
                    </a:cubicBezTo>
                    <a:cubicBezTo>
                      <a:pt x="9" y="7"/>
                      <a:pt x="9" y="0"/>
                      <a:pt x="5" y="0"/>
                    </a:cubicBezTo>
                    <a:cubicBezTo>
                      <a:pt x="1" y="0"/>
                      <a:pt x="0" y="3"/>
                      <a:pt x="0" y="3"/>
                    </a:cubicBezTo>
                    <a:lnTo>
                      <a:pt x="0" y="36"/>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5" name="Freeform 213"/>
              <p:cNvSpPr>
                <a:spLocks/>
              </p:cNvSpPr>
              <p:nvPr userDrawn="1"/>
            </p:nvSpPr>
            <p:spPr bwMode="auto">
              <a:xfrm>
                <a:off x="3778" y="2098"/>
                <a:ext cx="18" cy="73"/>
              </a:xfrm>
              <a:custGeom>
                <a:avLst/>
                <a:gdLst>
                  <a:gd name="T0" fmla="*/ 0 w 9"/>
                  <a:gd name="T1" fmla="*/ 36 h 36"/>
                  <a:gd name="T2" fmla="*/ 9 w 9"/>
                  <a:gd name="T3" fmla="*/ 36 h 36"/>
                  <a:gd name="T4" fmla="*/ 9 w 9"/>
                  <a:gd name="T5" fmla="*/ 7 h 36"/>
                  <a:gd name="T6" fmla="*/ 5 w 9"/>
                  <a:gd name="T7" fmla="*/ 0 h 36"/>
                  <a:gd name="T8" fmla="*/ 0 w 9"/>
                  <a:gd name="T9" fmla="*/ 3 h 36"/>
                  <a:gd name="T10" fmla="*/ 0 w 9"/>
                  <a:gd name="T11" fmla="*/ 36 h 36"/>
                </a:gdLst>
                <a:ahLst/>
                <a:cxnLst>
                  <a:cxn ang="0">
                    <a:pos x="T0" y="T1"/>
                  </a:cxn>
                  <a:cxn ang="0">
                    <a:pos x="T2" y="T3"/>
                  </a:cxn>
                  <a:cxn ang="0">
                    <a:pos x="T4" y="T5"/>
                  </a:cxn>
                  <a:cxn ang="0">
                    <a:pos x="T6" y="T7"/>
                  </a:cxn>
                  <a:cxn ang="0">
                    <a:pos x="T8" y="T9"/>
                  </a:cxn>
                  <a:cxn ang="0">
                    <a:pos x="T10" y="T11"/>
                  </a:cxn>
                </a:cxnLst>
                <a:rect l="0" t="0" r="r" b="b"/>
                <a:pathLst>
                  <a:path w="9" h="36">
                    <a:moveTo>
                      <a:pt x="0" y="36"/>
                    </a:moveTo>
                    <a:cubicBezTo>
                      <a:pt x="9" y="36"/>
                      <a:pt x="9" y="36"/>
                      <a:pt x="9" y="36"/>
                    </a:cubicBezTo>
                    <a:cubicBezTo>
                      <a:pt x="9" y="7"/>
                      <a:pt x="9" y="7"/>
                      <a:pt x="9" y="7"/>
                    </a:cubicBezTo>
                    <a:cubicBezTo>
                      <a:pt x="9" y="7"/>
                      <a:pt x="9" y="0"/>
                      <a:pt x="5" y="0"/>
                    </a:cubicBezTo>
                    <a:cubicBezTo>
                      <a:pt x="1" y="0"/>
                      <a:pt x="0" y="3"/>
                      <a:pt x="0" y="3"/>
                    </a:cubicBezTo>
                    <a:lnTo>
                      <a:pt x="0" y="36"/>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6" name="Freeform 214"/>
              <p:cNvSpPr>
                <a:spLocks/>
              </p:cNvSpPr>
              <p:nvPr userDrawn="1"/>
            </p:nvSpPr>
            <p:spPr bwMode="auto">
              <a:xfrm>
                <a:off x="3737" y="2106"/>
                <a:ext cx="16" cy="73"/>
              </a:xfrm>
              <a:custGeom>
                <a:avLst/>
                <a:gdLst>
                  <a:gd name="T0" fmla="*/ 0 w 8"/>
                  <a:gd name="T1" fmla="*/ 36 h 36"/>
                  <a:gd name="T2" fmla="*/ 8 w 8"/>
                  <a:gd name="T3" fmla="*/ 36 h 36"/>
                  <a:gd name="T4" fmla="*/ 8 w 8"/>
                  <a:gd name="T5" fmla="*/ 7 h 36"/>
                  <a:gd name="T6" fmla="*/ 4 w 8"/>
                  <a:gd name="T7" fmla="*/ 0 h 36"/>
                  <a:gd name="T8" fmla="*/ 0 w 8"/>
                  <a:gd name="T9" fmla="*/ 4 h 36"/>
                  <a:gd name="T10" fmla="*/ 0 w 8"/>
                  <a:gd name="T11" fmla="*/ 36 h 36"/>
                </a:gdLst>
                <a:ahLst/>
                <a:cxnLst>
                  <a:cxn ang="0">
                    <a:pos x="T0" y="T1"/>
                  </a:cxn>
                  <a:cxn ang="0">
                    <a:pos x="T2" y="T3"/>
                  </a:cxn>
                  <a:cxn ang="0">
                    <a:pos x="T4" y="T5"/>
                  </a:cxn>
                  <a:cxn ang="0">
                    <a:pos x="T6" y="T7"/>
                  </a:cxn>
                  <a:cxn ang="0">
                    <a:pos x="T8" y="T9"/>
                  </a:cxn>
                  <a:cxn ang="0">
                    <a:pos x="T10" y="T11"/>
                  </a:cxn>
                </a:cxnLst>
                <a:rect l="0" t="0" r="r" b="b"/>
                <a:pathLst>
                  <a:path w="8" h="36">
                    <a:moveTo>
                      <a:pt x="0" y="36"/>
                    </a:moveTo>
                    <a:cubicBezTo>
                      <a:pt x="8" y="36"/>
                      <a:pt x="8" y="36"/>
                      <a:pt x="8" y="36"/>
                    </a:cubicBezTo>
                    <a:cubicBezTo>
                      <a:pt x="8" y="7"/>
                      <a:pt x="8" y="7"/>
                      <a:pt x="8" y="7"/>
                    </a:cubicBezTo>
                    <a:cubicBezTo>
                      <a:pt x="8" y="7"/>
                      <a:pt x="8" y="0"/>
                      <a:pt x="4" y="0"/>
                    </a:cubicBezTo>
                    <a:cubicBezTo>
                      <a:pt x="1" y="0"/>
                      <a:pt x="0" y="4"/>
                      <a:pt x="0" y="4"/>
                    </a:cubicBezTo>
                    <a:lnTo>
                      <a:pt x="0" y="36"/>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7" name="Freeform 215"/>
              <p:cNvSpPr>
                <a:spLocks/>
              </p:cNvSpPr>
              <p:nvPr userDrawn="1"/>
            </p:nvSpPr>
            <p:spPr bwMode="auto">
              <a:xfrm>
                <a:off x="3705" y="2112"/>
                <a:ext cx="12" cy="73"/>
              </a:xfrm>
              <a:custGeom>
                <a:avLst/>
                <a:gdLst>
                  <a:gd name="T0" fmla="*/ 0 w 6"/>
                  <a:gd name="T1" fmla="*/ 36 h 36"/>
                  <a:gd name="T2" fmla="*/ 6 w 6"/>
                  <a:gd name="T3" fmla="*/ 36 h 36"/>
                  <a:gd name="T4" fmla="*/ 6 w 6"/>
                  <a:gd name="T5" fmla="*/ 7 h 36"/>
                  <a:gd name="T6" fmla="*/ 3 w 6"/>
                  <a:gd name="T7" fmla="*/ 0 h 36"/>
                  <a:gd name="T8" fmla="*/ 0 w 6"/>
                  <a:gd name="T9" fmla="*/ 4 h 36"/>
                  <a:gd name="T10" fmla="*/ 0 w 6"/>
                  <a:gd name="T11" fmla="*/ 36 h 36"/>
                </a:gdLst>
                <a:ahLst/>
                <a:cxnLst>
                  <a:cxn ang="0">
                    <a:pos x="T0" y="T1"/>
                  </a:cxn>
                  <a:cxn ang="0">
                    <a:pos x="T2" y="T3"/>
                  </a:cxn>
                  <a:cxn ang="0">
                    <a:pos x="T4" y="T5"/>
                  </a:cxn>
                  <a:cxn ang="0">
                    <a:pos x="T6" y="T7"/>
                  </a:cxn>
                  <a:cxn ang="0">
                    <a:pos x="T8" y="T9"/>
                  </a:cxn>
                  <a:cxn ang="0">
                    <a:pos x="T10" y="T11"/>
                  </a:cxn>
                </a:cxnLst>
                <a:rect l="0" t="0" r="r" b="b"/>
                <a:pathLst>
                  <a:path w="6" h="36">
                    <a:moveTo>
                      <a:pt x="0" y="36"/>
                    </a:moveTo>
                    <a:cubicBezTo>
                      <a:pt x="6" y="36"/>
                      <a:pt x="6" y="36"/>
                      <a:pt x="6" y="36"/>
                    </a:cubicBezTo>
                    <a:cubicBezTo>
                      <a:pt x="6" y="7"/>
                      <a:pt x="6" y="7"/>
                      <a:pt x="6" y="7"/>
                    </a:cubicBezTo>
                    <a:cubicBezTo>
                      <a:pt x="6" y="7"/>
                      <a:pt x="6" y="0"/>
                      <a:pt x="3" y="0"/>
                    </a:cubicBezTo>
                    <a:cubicBezTo>
                      <a:pt x="0" y="0"/>
                      <a:pt x="0" y="4"/>
                      <a:pt x="0" y="4"/>
                    </a:cubicBezTo>
                    <a:lnTo>
                      <a:pt x="0" y="36"/>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1" name="Freeform 219"/>
              <p:cNvSpPr>
                <a:spLocks/>
              </p:cNvSpPr>
              <p:nvPr userDrawn="1"/>
            </p:nvSpPr>
            <p:spPr bwMode="auto">
              <a:xfrm>
                <a:off x="3930" y="1895"/>
                <a:ext cx="14" cy="35"/>
              </a:xfrm>
              <a:custGeom>
                <a:avLst/>
                <a:gdLst>
                  <a:gd name="T0" fmla="*/ 3 w 7"/>
                  <a:gd name="T1" fmla="*/ 0 h 17"/>
                  <a:gd name="T2" fmla="*/ 0 w 7"/>
                  <a:gd name="T3" fmla="*/ 3 h 17"/>
                  <a:gd name="T4" fmla="*/ 0 w 7"/>
                  <a:gd name="T5" fmla="*/ 14 h 17"/>
                  <a:gd name="T6" fmla="*/ 3 w 7"/>
                  <a:gd name="T7" fmla="*/ 17 h 17"/>
                  <a:gd name="T8" fmla="*/ 7 w 7"/>
                  <a:gd name="T9" fmla="*/ 14 h 17"/>
                  <a:gd name="T10" fmla="*/ 7 w 7"/>
                  <a:gd name="T11" fmla="*/ 3 h 17"/>
                  <a:gd name="T12" fmla="*/ 3 w 7"/>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7" h="17">
                    <a:moveTo>
                      <a:pt x="3" y="0"/>
                    </a:moveTo>
                    <a:cubicBezTo>
                      <a:pt x="1" y="0"/>
                      <a:pt x="0" y="2"/>
                      <a:pt x="0" y="3"/>
                    </a:cubicBezTo>
                    <a:cubicBezTo>
                      <a:pt x="0" y="14"/>
                      <a:pt x="0" y="14"/>
                      <a:pt x="0" y="14"/>
                    </a:cubicBezTo>
                    <a:cubicBezTo>
                      <a:pt x="0" y="16"/>
                      <a:pt x="1" y="17"/>
                      <a:pt x="3" y="17"/>
                    </a:cubicBezTo>
                    <a:cubicBezTo>
                      <a:pt x="5" y="17"/>
                      <a:pt x="7" y="16"/>
                      <a:pt x="7" y="14"/>
                    </a:cubicBezTo>
                    <a:cubicBezTo>
                      <a:pt x="7" y="3"/>
                      <a:pt x="7" y="3"/>
                      <a:pt x="7" y="3"/>
                    </a:cubicBezTo>
                    <a:cubicBezTo>
                      <a:pt x="7" y="2"/>
                      <a:pt x="5" y="0"/>
                      <a:pt x="3"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2" name="Freeform 220"/>
              <p:cNvSpPr>
                <a:spLocks/>
              </p:cNvSpPr>
              <p:nvPr userDrawn="1"/>
            </p:nvSpPr>
            <p:spPr bwMode="auto">
              <a:xfrm>
                <a:off x="3972" y="1897"/>
                <a:ext cx="12" cy="35"/>
              </a:xfrm>
              <a:custGeom>
                <a:avLst/>
                <a:gdLst>
                  <a:gd name="T0" fmla="*/ 3 w 6"/>
                  <a:gd name="T1" fmla="*/ 0 h 17"/>
                  <a:gd name="T2" fmla="*/ 0 w 6"/>
                  <a:gd name="T3" fmla="*/ 3 h 17"/>
                  <a:gd name="T4" fmla="*/ 0 w 6"/>
                  <a:gd name="T5" fmla="*/ 14 h 17"/>
                  <a:gd name="T6" fmla="*/ 3 w 6"/>
                  <a:gd name="T7" fmla="*/ 17 h 17"/>
                  <a:gd name="T8" fmla="*/ 6 w 6"/>
                  <a:gd name="T9" fmla="*/ 14 h 17"/>
                  <a:gd name="T10" fmla="*/ 6 w 6"/>
                  <a:gd name="T11" fmla="*/ 3 h 17"/>
                  <a:gd name="T12" fmla="*/ 3 w 6"/>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6" h="17">
                    <a:moveTo>
                      <a:pt x="3" y="0"/>
                    </a:moveTo>
                    <a:cubicBezTo>
                      <a:pt x="1" y="0"/>
                      <a:pt x="0" y="2"/>
                      <a:pt x="0" y="3"/>
                    </a:cubicBezTo>
                    <a:cubicBezTo>
                      <a:pt x="0" y="14"/>
                      <a:pt x="0" y="14"/>
                      <a:pt x="0" y="14"/>
                    </a:cubicBezTo>
                    <a:cubicBezTo>
                      <a:pt x="0" y="16"/>
                      <a:pt x="1" y="17"/>
                      <a:pt x="3" y="17"/>
                    </a:cubicBezTo>
                    <a:cubicBezTo>
                      <a:pt x="5" y="17"/>
                      <a:pt x="6" y="16"/>
                      <a:pt x="6" y="14"/>
                    </a:cubicBezTo>
                    <a:cubicBezTo>
                      <a:pt x="6" y="3"/>
                      <a:pt x="6" y="3"/>
                      <a:pt x="6" y="3"/>
                    </a:cubicBezTo>
                    <a:cubicBezTo>
                      <a:pt x="6" y="2"/>
                      <a:pt x="5" y="0"/>
                      <a:pt x="3"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3" name="Freeform 221"/>
              <p:cNvSpPr>
                <a:spLocks/>
              </p:cNvSpPr>
              <p:nvPr userDrawn="1"/>
            </p:nvSpPr>
            <p:spPr bwMode="auto">
              <a:xfrm>
                <a:off x="4010" y="1899"/>
                <a:ext cx="14" cy="35"/>
              </a:xfrm>
              <a:custGeom>
                <a:avLst/>
                <a:gdLst>
                  <a:gd name="T0" fmla="*/ 4 w 7"/>
                  <a:gd name="T1" fmla="*/ 0 h 17"/>
                  <a:gd name="T2" fmla="*/ 0 w 7"/>
                  <a:gd name="T3" fmla="*/ 4 h 17"/>
                  <a:gd name="T4" fmla="*/ 0 w 7"/>
                  <a:gd name="T5" fmla="*/ 14 h 17"/>
                  <a:gd name="T6" fmla="*/ 4 w 7"/>
                  <a:gd name="T7" fmla="*/ 17 h 17"/>
                  <a:gd name="T8" fmla="*/ 7 w 7"/>
                  <a:gd name="T9" fmla="*/ 14 h 17"/>
                  <a:gd name="T10" fmla="*/ 7 w 7"/>
                  <a:gd name="T11" fmla="*/ 4 h 17"/>
                  <a:gd name="T12" fmla="*/ 4 w 7"/>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7" h="17">
                    <a:moveTo>
                      <a:pt x="4" y="0"/>
                    </a:moveTo>
                    <a:cubicBezTo>
                      <a:pt x="2" y="0"/>
                      <a:pt x="0" y="2"/>
                      <a:pt x="0" y="4"/>
                    </a:cubicBezTo>
                    <a:cubicBezTo>
                      <a:pt x="0" y="14"/>
                      <a:pt x="0" y="14"/>
                      <a:pt x="0" y="14"/>
                    </a:cubicBezTo>
                    <a:cubicBezTo>
                      <a:pt x="0" y="16"/>
                      <a:pt x="2" y="17"/>
                      <a:pt x="4" y="17"/>
                    </a:cubicBezTo>
                    <a:cubicBezTo>
                      <a:pt x="6" y="17"/>
                      <a:pt x="7" y="16"/>
                      <a:pt x="7" y="14"/>
                    </a:cubicBezTo>
                    <a:cubicBezTo>
                      <a:pt x="7" y="4"/>
                      <a:pt x="7" y="4"/>
                      <a:pt x="7" y="4"/>
                    </a:cubicBezTo>
                    <a:cubicBezTo>
                      <a:pt x="7" y="2"/>
                      <a:pt x="6" y="0"/>
                      <a:pt x="4"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4" name="Freeform 222"/>
              <p:cNvSpPr>
                <a:spLocks/>
              </p:cNvSpPr>
              <p:nvPr userDrawn="1"/>
            </p:nvSpPr>
            <p:spPr bwMode="auto">
              <a:xfrm>
                <a:off x="4050" y="1905"/>
                <a:ext cx="12" cy="35"/>
              </a:xfrm>
              <a:custGeom>
                <a:avLst/>
                <a:gdLst>
                  <a:gd name="T0" fmla="*/ 3 w 6"/>
                  <a:gd name="T1" fmla="*/ 0 h 17"/>
                  <a:gd name="T2" fmla="*/ 0 w 6"/>
                  <a:gd name="T3" fmla="*/ 3 h 17"/>
                  <a:gd name="T4" fmla="*/ 0 w 6"/>
                  <a:gd name="T5" fmla="*/ 14 h 17"/>
                  <a:gd name="T6" fmla="*/ 3 w 6"/>
                  <a:gd name="T7" fmla="*/ 17 h 17"/>
                  <a:gd name="T8" fmla="*/ 6 w 6"/>
                  <a:gd name="T9" fmla="*/ 14 h 17"/>
                  <a:gd name="T10" fmla="*/ 6 w 6"/>
                  <a:gd name="T11" fmla="*/ 3 h 17"/>
                  <a:gd name="T12" fmla="*/ 3 w 6"/>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6" h="17">
                    <a:moveTo>
                      <a:pt x="3" y="0"/>
                    </a:moveTo>
                    <a:cubicBezTo>
                      <a:pt x="1" y="0"/>
                      <a:pt x="0" y="2"/>
                      <a:pt x="0" y="3"/>
                    </a:cubicBezTo>
                    <a:cubicBezTo>
                      <a:pt x="0" y="14"/>
                      <a:pt x="0" y="14"/>
                      <a:pt x="0" y="14"/>
                    </a:cubicBezTo>
                    <a:cubicBezTo>
                      <a:pt x="0" y="16"/>
                      <a:pt x="1" y="17"/>
                      <a:pt x="3" y="17"/>
                    </a:cubicBezTo>
                    <a:cubicBezTo>
                      <a:pt x="5" y="17"/>
                      <a:pt x="6" y="16"/>
                      <a:pt x="6" y="14"/>
                    </a:cubicBezTo>
                    <a:cubicBezTo>
                      <a:pt x="6" y="3"/>
                      <a:pt x="6" y="3"/>
                      <a:pt x="6" y="3"/>
                    </a:cubicBezTo>
                    <a:cubicBezTo>
                      <a:pt x="6" y="2"/>
                      <a:pt x="5" y="0"/>
                      <a:pt x="3"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5" name="Freeform 223"/>
              <p:cNvSpPr>
                <a:spLocks/>
              </p:cNvSpPr>
              <p:nvPr userDrawn="1"/>
            </p:nvSpPr>
            <p:spPr bwMode="auto">
              <a:xfrm>
                <a:off x="4083" y="1911"/>
                <a:ext cx="14" cy="35"/>
              </a:xfrm>
              <a:custGeom>
                <a:avLst/>
                <a:gdLst>
                  <a:gd name="T0" fmla="*/ 3 w 7"/>
                  <a:gd name="T1" fmla="*/ 0 h 17"/>
                  <a:gd name="T2" fmla="*/ 1 w 7"/>
                  <a:gd name="T3" fmla="*/ 4 h 17"/>
                  <a:gd name="T4" fmla="*/ 2 w 7"/>
                  <a:gd name="T5" fmla="*/ 14 h 17"/>
                  <a:gd name="T6" fmla="*/ 5 w 7"/>
                  <a:gd name="T7" fmla="*/ 17 h 17"/>
                  <a:gd name="T8" fmla="*/ 7 w 7"/>
                  <a:gd name="T9" fmla="*/ 14 h 17"/>
                  <a:gd name="T10" fmla="*/ 6 w 7"/>
                  <a:gd name="T11" fmla="*/ 3 h 17"/>
                  <a:gd name="T12" fmla="*/ 3 w 7"/>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7" h="17">
                    <a:moveTo>
                      <a:pt x="3" y="0"/>
                    </a:moveTo>
                    <a:cubicBezTo>
                      <a:pt x="1" y="0"/>
                      <a:pt x="0" y="2"/>
                      <a:pt x="1" y="4"/>
                    </a:cubicBezTo>
                    <a:cubicBezTo>
                      <a:pt x="2" y="14"/>
                      <a:pt x="2" y="14"/>
                      <a:pt x="2" y="14"/>
                    </a:cubicBezTo>
                    <a:cubicBezTo>
                      <a:pt x="2" y="16"/>
                      <a:pt x="3" y="17"/>
                      <a:pt x="5" y="17"/>
                    </a:cubicBezTo>
                    <a:cubicBezTo>
                      <a:pt x="6" y="17"/>
                      <a:pt x="7" y="15"/>
                      <a:pt x="7" y="14"/>
                    </a:cubicBezTo>
                    <a:cubicBezTo>
                      <a:pt x="6" y="3"/>
                      <a:pt x="6" y="3"/>
                      <a:pt x="6" y="3"/>
                    </a:cubicBezTo>
                    <a:cubicBezTo>
                      <a:pt x="6" y="1"/>
                      <a:pt x="4" y="0"/>
                      <a:pt x="3"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6" name="Freeform 224"/>
              <p:cNvSpPr>
                <a:spLocks/>
              </p:cNvSpPr>
              <p:nvPr userDrawn="1"/>
            </p:nvSpPr>
            <p:spPr bwMode="auto">
              <a:xfrm>
                <a:off x="4113" y="1920"/>
                <a:ext cx="12" cy="34"/>
              </a:xfrm>
              <a:custGeom>
                <a:avLst/>
                <a:gdLst>
                  <a:gd name="T0" fmla="*/ 2 w 6"/>
                  <a:gd name="T1" fmla="*/ 0 h 17"/>
                  <a:gd name="T2" fmla="*/ 0 w 6"/>
                  <a:gd name="T3" fmla="*/ 4 h 17"/>
                  <a:gd name="T4" fmla="*/ 1 w 6"/>
                  <a:gd name="T5" fmla="*/ 14 h 17"/>
                  <a:gd name="T6" fmla="*/ 4 w 6"/>
                  <a:gd name="T7" fmla="*/ 17 h 17"/>
                  <a:gd name="T8" fmla="*/ 5 w 6"/>
                  <a:gd name="T9" fmla="*/ 13 h 17"/>
                  <a:gd name="T10" fmla="*/ 4 w 6"/>
                  <a:gd name="T11" fmla="*/ 3 h 17"/>
                  <a:gd name="T12" fmla="*/ 2 w 6"/>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6" h="17">
                    <a:moveTo>
                      <a:pt x="2" y="0"/>
                    </a:moveTo>
                    <a:cubicBezTo>
                      <a:pt x="0" y="0"/>
                      <a:pt x="0" y="2"/>
                      <a:pt x="0" y="4"/>
                    </a:cubicBezTo>
                    <a:cubicBezTo>
                      <a:pt x="1" y="14"/>
                      <a:pt x="1" y="14"/>
                      <a:pt x="1" y="14"/>
                    </a:cubicBezTo>
                    <a:cubicBezTo>
                      <a:pt x="1" y="16"/>
                      <a:pt x="2" y="17"/>
                      <a:pt x="4" y="17"/>
                    </a:cubicBezTo>
                    <a:cubicBezTo>
                      <a:pt x="5" y="17"/>
                      <a:pt x="6" y="15"/>
                      <a:pt x="5" y="13"/>
                    </a:cubicBezTo>
                    <a:cubicBezTo>
                      <a:pt x="4" y="3"/>
                      <a:pt x="4" y="3"/>
                      <a:pt x="4" y="3"/>
                    </a:cubicBezTo>
                    <a:cubicBezTo>
                      <a:pt x="4" y="1"/>
                      <a:pt x="3" y="0"/>
                      <a:pt x="2"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7" name="Freeform 225"/>
              <p:cNvSpPr>
                <a:spLocks/>
              </p:cNvSpPr>
              <p:nvPr userDrawn="1"/>
            </p:nvSpPr>
            <p:spPr bwMode="auto">
              <a:xfrm>
                <a:off x="4137" y="1928"/>
                <a:ext cx="8" cy="34"/>
              </a:xfrm>
              <a:custGeom>
                <a:avLst/>
                <a:gdLst>
                  <a:gd name="T0" fmla="*/ 1 w 4"/>
                  <a:gd name="T1" fmla="*/ 0 h 17"/>
                  <a:gd name="T2" fmla="*/ 0 w 4"/>
                  <a:gd name="T3" fmla="*/ 4 h 17"/>
                  <a:gd name="T4" fmla="*/ 1 w 4"/>
                  <a:gd name="T5" fmla="*/ 14 h 17"/>
                  <a:gd name="T6" fmla="*/ 3 w 4"/>
                  <a:gd name="T7" fmla="*/ 17 h 17"/>
                  <a:gd name="T8" fmla="*/ 4 w 4"/>
                  <a:gd name="T9" fmla="*/ 14 h 17"/>
                  <a:gd name="T10" fmla="*/ 3 w 4"/>
                  <a:gd name="T11" fmla="*/ 3 h 17"/>
                  <a:gd name="T12" fmla="*/ 1 w 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4" h="17">
                    <a:moveTo>
                      <a:pt x="1" y="0"/>
                    </a:moveTo>
                    <a:cubicBezTo>
                      <a:pt x="0" y="0"/>
                      <a:pt x="0" y="2"/>
                      <a:pt x="0" y="4"/>
                    </a:cubicBezTo>
                    <a:cubicBezTo>
                      <a:pt x="1" y="14"/>
                      <a:pt x="1" y="14"/>
                      <a:pt x="1" y="14"/>
                    </a:cubicBezTo>
                    <a:cubicBezTo>
                      <a:pt x="2" y="16"/>
                      <a:pt x="2" y="17"/>
                      <a:pt x="3" y="17"/>
                    </a:cubicBezTo>
                    <a:cubicBezTo>
                      <a:pt x="4" y="17"/>
                      <a:pt x="4" y="16"/>
                      <a:pt x="4" y="14"/>
                    </a:cubicBezTo>
                    <a:cubicBezTo>
                      <a:pt x="3" y="3"/>
                      <a:pt x="3" y="3"/>
                      <a:pt x="3" y="3"/>
                    </a:cubicBezTo>
                    <a:cubicBezTo>
                      <a:pt x="2" y="2"/>
                      <a:pt x="2" y="0"/>
                      <a:pt x="1"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8" name="Freeform 226"/>
              <p:cNvSpPr>
                <a:spLocks/>
              </p:cNvSpPr>
              <p:nvPr userDrawn="1"/>
            </p:nvSpPr>
            <p:spPr bwMode="auto">
              <a:xfrm>
                <a:off x="3888" y="1897"/>
                <a:ext cx="14" cy="35"/>
              </a:xfrm>
              <a:custGeom>
                <a:avLst/>
                <a:gdLst>
                  <a:gd name="T0" fmla="*/ 3 w 7"/>
                  <a:gd name="T1" fmla="*/ 0 h 17"/>
                  <a:gd name="T2" fmla="*/ 0 w 7"/>
                  <a:gd name="T3" fmla="*/ 3 h 17"/>
                  <a:gd name="T4" fmla="*/ 0 w 7"/>
                  <a:gd name="T5" fmla="*/ 14 h 17"/>
                  <a:gd name="T6" fmla="*/ 3 w 7"/>
                  <a:gd name="T7" fmla="*/ 17 h 17"/>
                  <a:gd name="T8" fmla="*/ 7 w 7"/>
                  <a:gd name="T9" fmla="*/ 14 h 17"/>
                  <a:gd name="T10" fmla="*/ 7 w 7"/>
                  <a:gd name="T11" fmla="*/ 3 h 17"/>
                  <a:gd name="T12" fmla="*/ 3 w 7"/>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7" h="17">
                    <a:moveTo>
                      <a:pt x="3" y="0"/>
                    </a:moveTo>
                    <a:cubicBezTo>
                      <a:pt x="2" y="0"/>
                      <a:pt x="0" y="2"/>
                      <a:pt x="0" y="3"/>
                    </a:cubicBezTo>
                    <a:cubicBezTo>
                      <a:pt x="0" y="14"/>
                      <a:pt x="0" y="14"/>
                      <a:pt x="0" y="14"/>
                    </a:cubicBezTo>
                    <a:cubicBezTo>
                      <a:pt x="0" y="16"/>
                      <a:pt x="2" y="17"/>
                      <a:pt x="3" y="17"/>
                    </a:cubicBezTo>
                    <a:cubicBezTo>
                      <a:pt x="5" y="17"/>
                      <a:pt x="7" y="16"/>
                      <a:pt x="7" y="14"/>
                    </a:cubicBezTo>
                    <a:cubicBezTo>
                      <a:pt x="7" y="3"/>
                      <a:pt x="7" y="3"/>
                      <a:pt x="7" y="3"/>
                    </a:cubicBezTo>
                    <a:cubicBezTo>
                      <a:pt x="7" y="2"/>
                      <a:pt x="5" y="0"/>
                      <a:pt x="3"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9" name="Freeform 227"/>
              <p:cNvSpPr>
                <a:spLocks/>
              </p:cNvSpPr>
              <p:nvPr userDrawn="1"/>
            </p:nvSpPr>
            <p:spPr bwMode="auto">
              <a:xfrm>
                <a:off x="3846" y="1899"/>
                <a:ext cx="16" cy="37"/>
              </a:xfrm>
              <a:custGeom>
                <a:avLst/>
                <a:gdLst>
                  <a:gd name="T0" fmla="*/ 5 w 8"/>
                  <a:gd name="T1" fmla="*/ 1 h 18"/>
                  <a:gd name="T2" fmla="*/ 1 w 8"/>
                  <a:gd name="T3" fmla="*/ 3 h 18"/>
                  <a:gd name="T4" fmla="*/ 0 w 8"/>
                  <a:gd name="T5" fmla="*/ 14 h 18"/>
                  <a:gd name="T6" fmla="*/ 3 w 8"/>
                  <a:gd name="T7" fmla="*/ 17 h 18"/>
                  <a:gd name="T8" fmla="*/ 6 w 8"/>
                  <a:gd name="T9" fmla="*/ 15 h 18"/>
                  <a:gd name="T10" fmla="*/ 8 w 8"/>
                  <a:gd name="T11" fmla="*/ 4 h 18"/>
                  <a:gd name="T12" fmla="*/ 5 w 8"/>
                  <a:gd name="T13" fmla="*/ 1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5" y="1"/>
                    </a:moveTo>
                    <a:cubicBezTo>
                      <a:pt x="3" y="0"/>
                      <a:pt x="1" y="2"/>
                      <a:pt x="1" y="3"/>
                    </a:cubicBezTo>
                    <a:cubicBezTo>
                      <a:pt x="0" y="14"/>
                      <a:pt x="0" y="14"/>
                      <a:pt x="0" y="14"/>
                    </a:cubicBezTo>
                    <a:cubicBezTo>
                      <a:pt x="0" y="16"/>
                      <a:pt x="1" y="17"/>
                      <a:pt x="3" y="17"/>
                    </a:cubicBezTo>
                    <a:cubicBezTo>
                      <a:pt x="4" y="18"/>
                      <a:pt x="6" y="16"/>
                      <a:pt x="6" y="15"/>
                    </a:cubicBezTo>
                    <a:cubicBezTo>
                      <a:pt x="8" y="4"/>
                      <a:pt x="8" y="4"/>
                      <a:pt x="8" y="4"/>
                    </a:cubicBezTo>
                    <a:cubicBezTo>
                      <a:pt x="8" y="2"/>
                      <a:pt x="7" y="1"/>
                      <a:pt x="5" y="1"/>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0" name="Freeform 228"/>
              <p:cNvSpPr>
                <a:spLocks/>
              </p:cNvSpPr>
              <p:nvPr userDrawn="1"/>
            </p:nvSpPr>
            <p:spPr bwMode="auto">
              <a:xfrm>
                <a:off x="3808" y="1903"/>
                <a:ext cx="16" cy="35"/>
              </a:xfrm>
              <a:custGeom>
                <a:avLst/>
                <a:gdLst>
                  <a:gd name="T0" fmla="*/ 5 w 8"/>
                  <a:gd name="T1" fmla="*/ 0 h 17"/>
                  <a:gd name="T2" fmla="*/ 1 w 8"/>
                  <a:gd name="T3" fmla="*/ 3 h 17"/>
                  <a:gd name="T4" fmla="*/ 0 w 8"/>
                  <a:gd name="T5" fmla="*/ 14 h 17"/>
                  <a:gd name="T6" fmla="*/ 3 w 8"/>
                  <a:gd name="T7" fmla="*/ 17 h 17"/>
                  <a:gd name="T8" fmla="*/ 6 w 8"/>
                  <a:gd name="T9" fmla="*/ 14 h 17"/>
                  <a:gd name="T10" fmla="*/ 8 w 8"/>
                  <a:gd name="T11" fmla="*/ 4 h 17"/>
                  <a:gd name="T12" fmla="*/ 5 w 8"/>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8" h="17">
                    <a:moveTo>
                      <a:pt x="5" y="0"/>
                    </a:moveTo>
                    <a:cubicBezTo>
                      <a:pt x="3" y="0"/>
                      <a:pt x="1" y="1"/>
                      <a:pt x="1" y="3"/>
                    </a:cubicBezTo>
                    <a:cubicBezTo>
                      <a:pt x="0" y="14"/>
                      <a:pt x="0" y="14"/>
                      <a:pt x="0" y="14"/>
                    </a:cubicBezTo>
                    <a:cubicBezTo>
                      <a:pt x="0" y="15"/>
                      <a:pt x="1" y="17"/>
                      <a:pt x="3" y="17"/>
                    </a:cubicBezTo>
                    <a:cubicBezTo>
                      <a:pt x="5" y="17"/>
                      <a:pt x="6" y="16"/>
                      <a:pt x="6" y="14"/>
                    </a:cubicBezTo>
                    <a:cubicBezTo>
                      <a:pt x="8" y="4"/>
                      <a:pt x="8" y="4"/>
                      <a:pt x="8" y="4"/>
                    </a:cubicBezTo>
                    <a:cubicBezTo>
                      <a:pt x="8" y="2"/>
                      <a:pt x="6" y="0"/>
                      <a:pt x="5"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1" name="Freeform 229"/>
              <p:cNvSpPr>
                <a:spLocks/>
              </p:cNvSpPr>
              <p:nvPr userDrawn="1"/>
            </p:nvSpPr>
            <p:spPr bwMode="auto">
              <a:xfrm>
                <a:off x="3776" y="1909"/>
                <a:ext cx="14" cy="35"/>
              </a:xfrm>
              <a:custGeom>
                <a:avLst/>
                <a:gdLst>
                  <a:gd name="T0" fmla="*/ 4 w 7"/>
                  <a:gd name="T1" fmla="*/ 0 h 17"/>
                  <a:gd name="T2" fmla="*/ 1 w 7"/>
                  <a:gd name="T3" fmla="*/ 3 h 17"/>
                  <a:gd name="T4" fmla="*/ 0 w 7"/>
                  <a:gd name="T5" fmla="*/ 14 h 17"/>
                  <a:gd name="T6" fmla="*/ 2 w 7"/>
                  <a:gd name="T7" fmla="*/ 17 h 17"/>
                  <a:gd name="T8" fmla="*/ 5 w 7"/>
                  <a:gd name="T9" fmla="*/ 14 h 17"/>
                  <a:gd name="T10" fmla="*/ 6 w 7"/>
                  <a:gd name="T11" fmla="*/ 4 h 17"/>
                  <a:gd name="T12" fmla="*/ 4 w 7"/>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7" h="17">
                    <a:moveTo>
                      <a:pt x="4" y="0"/>
                    </a:moveTo>
                    <a:cubicBezTo>
                      <a:pt x="3" y="0"/>
                      <a:pt x="2" y="1"/>
                      <a:pt x="1" y="3"/>
                    </a:cubicBezTo>
                    <a:cubicBezTo>
                      <a:pt x="0" y="14"/>
                      <a:pt x="0" y="14"/>
                      <a:pt x="0" y="14"/>
                    </a:cubicBezTo>
                    <a:cubicBezTo>
                      <a:pt x="0" y="15"/>
                      <a:pt x="0" y="17"/>
                      <a:pt x="2" y="17"/>
                    </a:cubicBezTo>
                    <a:cubicBezTo>
                      <a:pt x="3" y="17"/>
                      <a:pt x="4" y="16"/>
                      <a:pt x="5" y="14"/>
                    </a:cubicBezTo>
                    <a:cubicBezTo>
                      <a:pt x="6" y="4"/>
                      <a:pt x="6" y="4"/>
                      <a:pt x="6" y="4"/>
                    </a:cubicBezTo>
                    <a:cubicBezTo>
                      <a:pt x="7" y="2"/>
                      <a:pt x="6" y="1"/>
                      <a:pt x="4"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2" name="Freeform 230"/>
              <p:cNvSpPr>
                <a:spLocks/>
              </p:cNvSpPr>
              <p:nvPr userDrawn="1"/>
            </p:nvSpPr>
            <p:spPr bwMode="auto">
              <a:xfrm>
                <a:off x="3749" y="1918"/>
                <a:ext cx="12" cy="34"/>
              </a:xfrm>
              <a:custGeom>
                <a:avLst/>
                <a:gdLst>
                  <a:gd name="T0" fmla="*/ 4 w 6"/>
                  <a:gd name="T1" fmla="*/ 0 h 17"/>
                  <a:gd name="T2" fmla="*/ 1 w 6"/>
                  <a:gd name="T3" fmla="*/ 3 h 17"/>
                  <a:gd name="T4" fmla="*/ 0 w 6"/>
                  <a:gd name="T5" fmla="*/ 13 h 17"/>
                  <a:gd name="T6" fmla="*/ 1 w 6"/>
                  <a:gd name="T7" fmla="*/ 17 h 17"/>
                  <a:gd name="T8" fmla="*/ 4 w 6"/>
                  <a:gd name="T9" fmla="*/ 14 h 17"/>
                  <a:gd name="T10" fmla="*/ 6 w 6"/>
                  <a:gd name="T11" fmla="*/ 4 h 17"/>
                  <a:gd name="T12" fmla="*/ 4 w 6"/>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6" h="17">
                    <a:moveTo>
                      <a:pt x="4" y="0"/>
                    </a:moveTo>
                    <a:cubicBezTo>
                      <a:pt x="3" y="0"/>
                      <a:pt x="2" y="1"/>
                      <a:pt x="1" y="3"/>
                    </a:cubicBezTo>
                    <a:cubicBezTo>
                      <a:pt x="0" y="13"/>
                      <a:pt x="0" y="13"/>
                      <a:pt x="0" y="13"/>
                    </a:cubicBezTo>
                    <a:cubicBezTo>
                      <a:pt x="0" y="15"/>
                      <a:pt x="0" y="17"/>
                      <a:pt x="1" y="17"/>
                    </a:cubicBezTo>
                    <a:cubicBezTo>
                      <a:pt x="3" y="17"/>
                      <a:pt x="4" y="16"/>
                      <a:pt x="4" y="14"/>
                    </a:cubicBezTo>
                    <a:cubicBezTo>
                      <a:pt x="6" y="4"/>
                      <a:pt x="6" y="4"/>
                      <a:pt x="6" y="4"/>
                    </a:cubicBezTo>
                    <a:cubicBezTo>
                      <a:pt x="6" y="2"/>
                      <a:pt x="5" y="0"/>
                      <a:pt x="4"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3" name="Freeform 231"/>
              <p:cNvSpPr>
                <a:spLocks/>
              </p:cNvSpPr>
              <p:nvPr userDrawn="1"/>
            </p:nvSpPr>
            <p:spPr bwMode="auto">
              <a:xfrm>
                <a:off x="3727" y="1926"/>
                <a:ext cx="10" cy="34"/>
              </a:xfrm>
              <a:custGeom>
                <a:avLst/>
                <a:gdLst>
                  <a:gd name="T0" fmla="*/ 4 w 5"/>
                  <a:gd name="T1" fmla="*/ 0 h 17"/>
                  <a:gd name="T2" fmla="*/ 2 w 5"/>
                  <a:gd name="T3" fmla="*/ 3 h 17"/>
                  <a:gd name="T4" fmla="*/ 0 w 5"/>
                  <a:gd name="T5" fmla="*/ 13 h 17"/>
                  <a:gd name="T6" fmla="*/ 1 w 5"/>
                  <a:gd name="T7" fmla="*/ 17 h 17"/>
                  <a:gd name="T8" fmla="*/ 3 w 5"/>
                  <a:gd name="T9" fmla="*/ 14 h 17"/>
                  <a:gd name="T10" fmla="*/ 4 w 5"/>
                  <a:gd name="T11" fmla="*/ 3 h 17"/>
                  <a:gd name="T12" fmla="*/ 4 w 5"/>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5" h="17">
                    <a:moveTo>
                      <a:pt x="4" y="0"/>
                    </a:moveTo>
                    <a:cubicBezTo>
                      <a:pt x="3" y="0"/>
                      <a:pt x="2" y="1"/>
                      <a:pt x="2" y="3"/>
                    </a:cubicBezTo>
                    <a:cubicBezTo>
                      <a:pt x="0" y="13"/>
                      <a:pt x="0" y="13"/>
                      <a:pt x="0" y="13"/>
                    </a:cubicBezTo>
                    <a:cubicBezTo>
                      <a:pt x="0" y="15"/>
                      <a:pt x="0" y="17"/>
                      <a:pt x="1" y="17"/>
                    </a:cubicBezTo>
                    <a:cubicBezTo>
                      <a:pt x="2" y="17"/>
                      <a:pt x="3" y="15"/>
                      <a:pt x="3" y="14"/>
                    </a:cubicBezTo>
                    <a:cubicBezTo>
                      <a:pt x="4" y="3"/>
                      <a:pt x="4" y="3"/>
                      <a:pt x="4" y="3"/>
                    </a:cubicBezTo>
                    <a:cubicBezTo>
                      <a:pt x="5" y="2"/>
                      <a:pt x="4" y="0"/>
                      <a:pt x="4" y="0"/>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4" name="Freeform 232"/>
              <p:cNvSpPr>
                <a:spLocks/>
              </p:cNvSpPr>
              <p:nvPr userDrawn="1"/>
            </p:nvSpPr>
            <p:spPr bwMode="auto">
              <a:xfrm>
                <a:off x="2716" y="2908"/>
                <a:ext cx="30" cy="79"/>
              </a:xfrm>
              <a:custGeom>
                <a:avLst/>
                <a:gdLst>
                  <a:gd name="T0" fmla="*/ 15 w 15"/>
                  <a:gd name="T1" fmla="*/ 39 h 39"/>
                  <a:gd name="T2" fmla="*/ 15 w 15"/>
                  <a:gd name="T3" fmla="*/ 8 h 39"/>
                  <a:gd name="T4" fmla="*/ 8 w 15"/>
                  <a:gd name="T5" fmla="*/ 0 h 39"/>
                  <a:gd name="T6" fmla="*/ 0 w 15"/>
                  <a:gd name="T7" fmla="*/ 8 h 39"/>
                  <a:gd name="T8" fmla="*/ 0 w 15"/>
                  <a:gd name="T9" fmla="*/ 39 h 39"/>
                  <a:gd name="T10" fmla="*/ 15 w 15"/>
                  <a:gd name="T11" fmla="*/ 39 h 39"/>
                </a:gdLst>
                <a:ahLst/>
                <a:cxnLst>
                  <a:cxn ang="0">
                    <a:pos x="T0" y="T1"/>
                  </a:cxn>
                  <a:cxn ang="0">
                    <a:pos x="T2" y="T3"/>
                  </a:cxn>
                  <a:cxn ang="0">
                    <a:pos x="T4" y="T5"/>
                  </a:cxn>
                  <a:cxn ang="0">
                    <a:pos x="T6" y="T7"/>
                  </a:cxn>
                  <a:cxn ang="0">
                    <a:pos x="T8" y="T9"/>
                  </a:cxn>
                  <a:cxn ang="0">
                    <a:pos x="T10" y="T11"/>
                  </a:cxn>
                </a:cxnLst>
                <a:rect l="0" t="0" r="r" b="b"/>
                <a:pathLst>
                  <a:path w="15" h="39">
                    <a:moveTo>
                      <a:pt x="15" y="39"/>
                    </a:moveTo>
                    <a:cubicBezTo>
                      <a:pt x="15" y="8"/>
                      <a:pt x="15" y="8"/>
                      <a:pt x="15" y="8"/>
                    </a:cubicBezTo>
                    <a:cubicBezTo>
                      <a:pt x="15" y="8"/>
                      <a:pt x="15" y="0"/>
                      <a:pt x="8" y="0"/>
                    </a:cubicBezTo>
                    <a:cubicBezTo>
                      <a:pt x="8" y="0"/>
                      <a:pt x="0" y="1"/>
                      <a:pt x="0" y="8"/>
                    </a:cubicBezTo>
                    <a:cubicBezTo>
                      <a:pt x="0" y="15"/>
                      <a:pt x="0" y="39"/>
                      <a:pt x="0" y="39"/>
                    </a:cubicBezTo>
                    <a:lnTo>
                      <a:pt x="15" y="39"/>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5" name="Freeform 233"/>
              <p:cNvSpPr>
                <a:spLocks/>
              </p:cNvSpPr>
              <p:nvPr userDrawn="1"/>
            </p:nvSpPr>
            <p:spPr bwMode="auto">
              <a:xfrm>
                <a:off x="5058" y="2904"/>
                <a:ext cx="30" cy="77"/>
              </a:xfrm>
              <a:custGeom>
                <a:avLst/>
                <a:gdLst>
                  <a:gd name="T0" fmla="*/ 15 w 15"/>
                  <a:gd name="T1" fmla="*/ 38 h 38"/>
                  <a:gd name="T2" fmla="*/ 15 w 15"/>
                  <a:gd name="T3" fmla="*/ 8 h 38"/>
                  <a:gd name="T4" fmla="*/ 8 w 15"/>
                  <a:gd name="T5" fmla="*/ 0 h 38"/>
                  <a:gd name="T6" fmla="*/ 0 w 15"/>
                  <a:gd name="T7" fmla="*/ 8 h 38"/>
                  <a:gd name="T8" fmla="*/ 0 w 15"/>
                  <a:gd name="T9" fmla="*/ 38 h 38"/>
                  <a:gd name="T10" fmla="*/ 15 w 15"/>
                  <a:gd name="T11" fmla="*/ 38 h 38"/>
                </a:gdLst>
                <a:ahLst/>
                <a:cxnLst>
                  <a:cxn ang="0">
                    <a:pos x="T0" y="T1"/>
                  </a:cxn>
                  <a:cxn ang="0">
                    <a:pos x="T2" y="T3"/>
                  </a:cxn>
                  <a:cxn ang="0">
                    <a:pos x="T4" y="T5"/>
                  </a:cxn>
                  <a:cxn ang="0">
                    <a:pos x="T6" y="T7"/>
                  </a:cxn>
                  <a:cxn ang="0">
                    <a:pos x="T8" y="T9"/>
                  </a:cxn>
                  <a:cxn ang="0">
                    <a:pos x="T10" y="T11"/>
                  </a:cxn>
                </a:cxnLst>
                <a:rect l="0" t="0" r="r" b="b"/>
                <a:pathLst>
                  <a:path w="15" h="38">
                    <a:moveTo>
                      <a:pt x="15" y="38"/>
                    </a:moveTo>
                    <a:cubicBezTo>
                      <a:pt x="15" y="8"/>
                      <a:pt x="15" y="8"/>
                      <a:pt x="15" y="8"/>
                    </a:cubicBezTo>
                    <a:cubicBezTo>
                      <a:pt x="15" y="8"/>
                      <a:pt x="15" y="0"/>
                      <a:pt x="8" y="0"/>
                    </a:cubicBezTo>
                    <a:cubicBezTo>
                      <a:pt x="8" y="0"/>
                      <a:pt x="0" y="1"/>
                      <a:pt x="0" y="8"/>
                    </a:cubicBezTo>
                    <a:cubicBezTo>
                      <a:pt x="0" y="15"/>
                      <a:pt x="0" y="38"/>
                      <a:pt x="0" y="38"/>
                    </a:cubicBezTo>
                    <a:cubicBezTo>
                      <a:pt x="15" y="38"/>
                      <a:pt x="15" y="38"/>
                      <a:pt x="15" y="38"/>
                    </a:cubicBezTo>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6" name="Freeform 234"/>
              <p:cNvSpPr>
                <a:spLocks/>
              </p:cNvSpPr>
              <p:nvPr userDrawn="1"/>
            </p:nvSpPr>
            <p:spPr bwMode="auto">
              <a:xfrm>
                <a:off x="5116" y="2904"/>
                <a:ext cx="30" cy="77"/>
              </a:xfrm>
              <a:custGeom>
                <a:avLst/>
                <a:gdLst>
                  <a:gd name="T0" fmla="*/ 15 w 15"/>
                  <a:gd name="T1" fmla="*/ 38 h 38"/>
                  <a:gd name="T2" fmla="*/ 15 w 15"/>
                  <a:gd name="T3" fmla="*/ 8 h 38"/>
                  <a:gd name="T4" fmla="*/ 8 w 15"/>
                  <a:gd name="T5" fmla="*/ 0 h 38"/>
                  <a:gd name="T6" fmla="*/ 0 w 15"/>
                  <a:gd name="T7" fmla="*/ 8 h 38"/>
                  <a:gd name="T8" fmla="*/ 0 w 15"/>
                  <a:gd name="T9" fmla="*/ 38 h 38"/>
                  <a:gd name="T10" fmla="*/ 15 w 15"/>
                  <a:gd name="T11" fmla="*/ 38 h 38"/>
                </a:gdLst>
                <a:ahLst/>
                <a:cxnLst>
                  <a:cxn ang="0">
                    <a:pos x="T0" y="T1"/>
                  </a:cxn>
                  <a:cxn ang="0">
                    <a:pos x="T2" y="T3"/>
                  </a:cxn>
                  <a:cxn ang="0">
                    <a:pos x="T4" y="T5"/>
                  </a:cxn>
                  <a:cxn ang="0">
                    <a:pos x="T6" y="T7"/>
                  </a:cxn>
                  <a:cxn ang="0">
                    <a:pos x="T8" y="T9"/>
                  </a:cxn>
                  <a:cxn ang="0">
                    <a:pos x="T10" y="T11"/>
                  </a:cxn>
                </a:cxnLst>
                <a:rect l="0" t="0" r="r" b="b"/>
                <a:pathLst>
                  <a:path w="15" h="38">
                    <a:moveTo>
                      <a:pt x="15" y="38"/>
                    </a:moveTo>
                    <a:cubicBezTo>
                      <a:pt x="15" y="8"/>
                      <a:pt x="15" y="8"/>
                      <a:pt x="15" y="8"/>
                    </a:cubicBezTo>
                    <a:cubicBezTo>
                      <a:pt x="15" y="8"/>
                      <a:pt x="15" y="0"/>
                      <a:pt x="8" y="0"/>
                    </a:cubicBezTo>
                    <a:cubicBezTo>
                      <a:pt x="8" y="0"/>
                      <a:pt x="0" y="1"/>
                      <a:pt x="0" y="8"/>
                    </a:cubicBezTo>
                    <a:cubicBezTo>
                      <a:pt x="0" y="15"/>
                      <a:pt x="0" y="38"/>
                      <a:pt x="0" y="38"/>
                    </a:cubicBezTo>
                    <a:cubicBezTo>
                      <a:pt x="15" y="38"/>
                      <a:pt x="15" y="38"/>
                      <a:pt x="15" y="38"/>
                    </a:cubicBezTo>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7" name="Freeform 235"/>
              <p:cNvSpPr>
                <a:spLocks/>
              </p:cNvSpPr>
              <p:nvPr userDrawn="1"/>
            </p:nvSpPr>
            <p:spPr bwMode="auto">
              <a:xfrm>
                <a:off x="3876" y="1578"/>
                <a:ext cx="126" cy="48"/>
              </a:xfrm>
              <a:custGeom>
                <a:avLst/>
                <a:gdLst>
                  <a:gd name="T0" fmla="*/ 0 w 63"/>
                  <a:gd name="T1" fmla="*/ 18 h 24"/>
                  <a:gd name="T2" fmla="*/ 63 w 63"/>
                  <a:gd name="T3" fmla="*/ 20 h 24"/>
                  <a:gd name="T4" fmla="*/ 60 w 63"/>
                  <a:gd name="T5" fmla="*/ 24 h 24"/>
                  <a:gd name="T6" fmla="*/ 3 w 63"/>
                  <a:gd name="T7" fmla="*/ 24 h 24"/>
                  <a:gd name="T8" fmla="*/ 0 w 63"/>
                  <a:gd name="T9" fmla="*/ 18 h 24"/>
                </a:gdLst>
                <a:ahLst/>
                <a:cxnLst>
                  <a:cxn ang="0">
                    <a:pos x="T0" y="T1"/>
                  </a:cxn>
                  <a:cxn ang="0">
                    <a:pos x="T2" y="T3"/>
                  </a:cxn>
                  <a:cxn ang="0">
                    <a:pos x="T4" y="T5"/>
                  </a:cxn>
                  <a:cxn ang="0">
                    <a:pos x="T6" y="T7"/>
                  </a:cxn>
                  <a:cxn ang="0">
                    <a:pos x="T8" y="T9"/>
                  </a:cxn>
                </a:cxnLst>
                <a:rect l="0" t="0" r="r" b="b"/>
                <a:pathLst>
                  <a:path w="63" h="24">
                    <a:moveTo>
                      <a:pt x="0" y="18"/>
                    </a:moveTo>
                    <a:cubicBezTo>
                      <a:pt x="0" y="18"/>
                      <a:pt x="29" y="0"/>
                      <a:pt x="63" y="20"/>
                    </a:cubicBezTo>
                    <a:cubicBezTo>
                      <a:pt x="60" y="24"/>
                      <a:pt x="60" y="24"/>
                      <a:pt x="60" y="24"/>
                    </a:cubicBezTo>
                    <a:cubicBezTo>
                      <a:pt x="60" y="24"/>
                      <a:pt x="30" y="5"/>
                      <a:pt x="3" y="24"/>
                    </a:cubicBezTo>
                    <a:lnTo>
                      <a:pt x="0" y="18"/>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8" name="Freeform 236"/>
              <p:cNvSpPr>
                <a:spLocks/>
              </p:cNvSpPr>
              <p:nvPr userDrawn="1"/>
            </p:nvSpPr>
            <p:spPr bwMode="auto">
              <a:xfrm>
                <a:off x="3631" y="2062"/>
                <a:ext cx="602" cy="71"/>
              </a:xfrm>
              <a:custGeom>
                <a:avLst/>
                <a:gdLst>
                  <a:gd name="T0" fmla="*/ 298 w 300"/>
                  <a:gd name="T1" fmla="*/ 35 h 35"/>
                  <a:gd name="T2" fmla="*/ 295 w 300"/>
                  <a:gd name="T3" fmla="*/ 26 h 35"/>
                  <a:gd name="T4" fmla="*/ 140 w 300"/>
                  <a:gd name="T5" fmla="*/ 0 h 35"/>
                  <a:gd name="T6" fmla="*/ 0 w 300"/>
                  <a:gd name="T7" fmla="*/ 26 h 35"/>
                  <a:gd name="T8" fmla="*/ 4 w 300"/>
                  <a:gd name="T9" fmla="*/ 31 h 35"/>
                  <a:gd name="T10" fmla="*/ 140 w 300"/>
                  <a:gd name="T11" fmla="*/ 6 h 35"/>
                  <a:gd name="T12" fmla="*/ 288 w 300"/>
                  <a:gd name="T13" fmla="*/ 28 h 35"/>
                  <a:gd name="T14" fmla="*/ 298 w 300"/>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5">
                    <a:moveTo>
                      <a:pt x="298" y="35"/>
                    </a:moveTo>
                    <a:cubicBezTo>
                      <a:pt x="298" y="35"/>
                      <a:pt x="300" y="31"/>
                      <a:pt x="295" y="26"/>
                    </a:cubicBezTo>
                    <a:cubicBezTo>
                      <a:pt x="290" y="21"/>
                      <a:pt x="260" y="0"/>
                      <a:pt x="140" y="0"/>
                    </a:cubicBezTo>
                    <a:cubicBezTo>
                      <a:pt x="21" y="0"/>
                      <a:pt x="0" y="26"/>
                      <a:pt x="0" y="26"/>
                    </a:cubicBezTo>
                    <a:cubicBezTo>
                      <a:pt x="0" y="26"/>
                      <a:pt x="1" y="28"/>
                      <a:pt x="4" y="31"/>
                    </a:cubicBezTo>
                    <a:cubicBezTo>
                      <a:pt x="4" y="31"/>
                      <a:pt x="31" y="5"/>
                      <a:pt x="140" y="6"/>
                    </a:cubicBezTo>
                    <a:cubicBezTo>
                      <a:pt x="249" y="6"/>
                      <a:pt x="288" y="28"/>
                      <a:pt x="288" y="28"/>
                    </a:cubicBezTo>
                    <a:cubicBezTo>
                      <a:pt x="288" y="28"/>
                      <a:pt x="298" y="32"/>
                      <a:pt x="298" y="35"/>
                    </a:cubicBez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9" name="Rectangle 237"/>
              <p:cNvSpPr>
                <a:spLocks noChangeArrowheads="1"/>
              </p:cNvSpPr>
              <p:nvPr userDrawn="1"/>
            </p:nvSpPr>
            <p:spPr bwMode="auto">
              <a:xfrm>
                <a:off x="2387" y="2754"/>
                <a:ext cx="26" cy="56"/>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0" name="Rectangle 238"/>
              <p:cNvSpPr>
                <a:spLocks noChangeArrowheads="1"/>
              </p:cNvSpPr>
              <p:nvPr userDrawn="1"/>
            </p:nvSpPr>
            <p:spPr bwMode="auto">
              <a:xfrm>
                <a:off x="2387" y="2647"/>
                <a:ext cx="26" cy="28"/>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1" name="Freeform 239"/>
              <p:cNvSpPr>
                <a:spLocks/>
              </p:cNvSpPr>
              <p:nvPr userDrawn="1"/>
            </p:nvSpPr>
            <p:spPr bwMode="auto">
              <a:xfrm>
                <a:off x="1570" y="2834"/>
                <a:ext cx="4692" cy="54"/>
              </a:xfrm>
              <a:custGeom>
                <a:avLst/>
                <a:gdLst>
                  <a:gd name="T0" fmla="*/ 0 w 4692"/>
                  <a:gd name="T1" fmla="*/ 12 h 54"/>
                  <a:gd name="T2" fmla="*/ 84 w 4692"/>
                  <a:gd name="T3" fmla="*/ 12 h 54"/>
                  <a:gd name="T4" fmla="*/ 84 w 4692"/>
                  <a:gd name="T5" fmla="*/ 0 h 54"/>
                  <a:gd name="T6" fmla="*/ 789 w 4692"/>
                  <a:gd name="T7" fmla="*/ 0 h 54"/>
                  <a:gd name="T8" fmla="*/ 801 w 4692"/>
                  <a:gd name="T9" fmla="*/ 2 h 54"/>
                  <a:gd name="T10" fmla="*/ 923 w 4692"/>
                  <a:gd name="T11" fmla="*/ 2 h 54"/>
                  <a:gd name="T12" fmla="*/ 1090 w 4692"/>
                  <a:gd name="T13" fmla="*/ 42 h 54"/>
                  <a:gd name="T14" fmla="*/ 1319 w 4692"/>
                  <a:gd name="T15" fmla="*/ 42 h 54"/>
                  <a:gd name="T16" fmla="*/ 1319 w 4692"/>
                  <a:gd name="T17" fmla="*/ 26 h 54"/>
                  <a:gd name="T18" fmla="*/ 1804 w 4692"/>
                  <a:gd name="T19" fmla="*/ 26 h 54"/>
                  <a:gd name="T20" fmla="*/ 1804 w 4692"/>
                  <a:gd name="T21" fmla="*/ 8 h 54"/>
                  <a:gd name="T22" fmla="*/ 2007 w 4692"/>
                  <a:gd name="T23" fmla="*/ 8 h 54"/>
                  <a:gd name="T24" fmla="*/ 2007 w 4692"/>
                  <a:gd name="T25" fmla="*/ 0 h 54"/>
                  <a:gd name="T26" fmla="*/ 2693 w 4692"/>
                  <a:gd name="T27" fmla="*/ 0 h 54"/>
                  <a:gd name="T28" fmla="*/ 2693 w 4692"/>
                  <a:gd name="T29" fmla="*/ 8 h 54"/>
                  <a:gd name="T30" fmla="*/ 2914 w 4692"/>
                  <a:gd name="T31" fmla="*/ 8 h 54"/>
                  <a:gd name="T32" fmla="*/ 2914 w 4692"/>
                  <a:gd name="T33" fmla="*/ 40 h 54"/>
                  <a:gd name="T34" fmla="*/ 3422 w 4692"/>
                  <a:gd name="T35" fmla="*/ 40 h 54"/>
                  <a:gd name="T36" fmla="*/ 3422 w 4692"/>
                  <a:gd name="T37" fmla="*/ 54 h 54"/>
                  <a:gd name="T38" fmla="*/ 3642 w 4692"/>
                  <a:gd name="T39" fmla="*/ 54 h 54"/>
                  <a:gd name="T40" fmla="*/ 3803 w 4692"/>
                  <a:gd name="T41" fmla="*/ 30 h 54"/>
                  <a:gd name="T42" fmla="*/ 3917 w 4692"/>
                  <a:gd name="T43" fmla="*/ 30 h 54"/>
                  <a:gd name="T44" fmla="*/ 3917 w 4692"/>
                  <a:gd name="T45" fmla="*/ 18 h 54"/>
                  <a:gd name="T46" fmla="*/ 4614 w 4692"/>
                  <a:gd name="T47" fmla="*/ 18 h 54"/>
                  <a:gd name="T48" fmla="*/ 4610 w 4692"/>
                  <a:gd name="T49" fmla="*/ 22 h 54"/>
                  <a:gd name="T50" fmla="*/ 4692 w 4692"/>
                  <a:gd name="T51" fmla="*/ 2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92" h="54">
                    <a:moveTo>
                      <a:pt x="0" y="12"/>
                    </a:moveTo>
                    <a:lnTo>
                      <a:pt x="84" y="12"/>
                    </a:lnTo>
                    <a:lnTo>
                      <a:pt x="84" y="0"/>
                    </a:lnTo>
                    <a:lnTo>
                      <a:pt x="789" y="0"/>
                    </a:lnTo>
                    <a:lnTo>
                      <a:pt x="801" y="2"/>
                    </a:lnTo>
                    <a:lnTo>
                      <a:pt x="923" y="2"/>
                    </a:lnTo>
                    <a:lnTo>
                      <a:pt x="1090" y="42"/>
                    </a:lnTo>
                    <a:lnTo>
                      <a:pt x="1319" y="42"/>
                    </a:lnTo>
                    <a:lnTo>
                      <a:pt x="1319" y="26"/>
                    </a:lnTo>
                    <a:lnTo>
                      <a:pt x="1804" y="26"/>
                    </a:lnTo>
                    <a:lnTo>
                      <a:pt x="1804" y="8"/>
                    </a:lnTo>
                    <a:lnTo>
                      <a:pt x="2007" y="8"/>
                    </a:lnTo>
                    <a:lnTo>
                      <a:pt x="2007" y="0"/>
                    </a:lnTo>
                    <a:lnTo>
                      <a:pt x="2693" y="0"/>
                    </a:lnTo>
                    <a:lnTo>
                      <a:pt x="2693" y="8"/>
                    </a:lnTo>
                    <a:lnTo>
                      <a:pt x="2914" y="8"/>
                    </a:lnTo>
                    <a:lnTo>
                      <a:pt x="2914" y="40"/>
                    </a:lnTo>
                    <a:lnTo>
                      <a:pt x="3422" y="40"/>
                    </a:lnTo>
                    <a:lnTo>
                      <a:pt x="3422" y="54"/>
                    </a:lnTo>
                    <a:lnTo>
                      <a:pt x="3642" y="54"/>
                    </a:lnTo>
                    <a:lnTo>
                      <a:pt x="3803" y="30"/>
                    </a:lnTo>
                    <a:lnTo>
                      <a:pt x="3917" y="30"/>
                    </a:lnTo>
                    <a:lnTo>
                      <a:pt x="3917" y="18"/>
                    </a:lnTo>
                    <a:lnTo>
                      <a:pt x="4614" y="18"/>
                    </a:lnTo>
                    <a:lnTo>
                      <a:pt x="4610" y="22"/>
                    </a:lnTo>
                    <a:lnTo>
                      <a:pt x="4692" y="22"/>
                    </a:lnTo>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2" name="Freeform 240"/>
              <p:cNvSpPr>
                <a:spLocks/>
              </p:cNvSpPr>
              <p:nvPr userDrawn="1"/>
            </p:nvSpPr>
            <p:spPr bwMode="auto">
              <a:xfrm>
                <a:off x="1548" y="2559"/>
                <a:ext cx="1334" cy="70"/>
              </a:xfrm>
              <a:custGeom>
                <a:avLst/>
                <a:gdLst>
                  <a:gd name="T0" fmla="*/ 1334 w 1334"/>
                  <a:gd name="T1" fmla="*/ 70 h 70"/>
                  <a:gd name="T2" fmla="*/ 1124 w 1334"/>
                  <a:gd name="T3" fmla="*/ 70 h 70"/>
                  <a:gd name="T4" fmla="*/ 957 w 1334"/>
                  <a:gd name="T5" fmla="*/ 8 h 70"/>
                  <a:gd name="T6" fmla="*/ 835 w 1334"/>
                  <a:gd name="T7" fmla="*/ 8 h 70"/>
                  <a:gd name="T8" fmla="*/ 811 w 1334"/>
                  <a:gd name="T9" fmla="*/ 0 h 70"/>
                  <a:gd name="T10" fmla="*/ 86 w 1334"/>
                  <a:gd name="T11" fmla="*/ 0 h 70"/>
                  <a:gd name="T12" fmla="*/ 100 w 1334"/>
                  <a:gd name="T13" fmla="*/ 8 h 70"/>
                  <a:gd name="T14" fmla="*/ 0 w 1334"/>
                  <a:gd name="T15" fmla="*/ 8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4" h="70">
                    <a:moveTo>
                      <a:pt x="1334" y="70"/>
                    </a:moveTo>
                    <a:lnTo>
                      <a:pt x="1124" y="70"/>
                    </a:lnTo>
                    <a:lnTo>
                      <a:pt x="957" y="8"/>
                    </a:lnTo>
                    <a:lnTo>
                      <a:pt x="835" y="8"/>
                    </a:lnTo>
                    <a:lnTo>
                      <a:pt x="811" y="0"/>
                    </a:lnTo>
                    <a:lnTo>
                      <a:pt x="86" y="0"/>
                    </a:lnTo>
                    <a:lnTo>
                      <a:pt x="100" y="8"/>
                    </a:lnTo>
                    <a:lnTo>
                      <a:pt x="0" y="8"/>
                    </a:lnTo>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3" name="Rectangle 241"/>
              <p:cNvSpPr>
                <a:spLocks noChangeArrowheads="1"/>
              </p:cNvSpPr>
              <p:nvPr userDrawn="1"/>
            </p:nvSpPr>
            <p:spPr bwMode="auto">
              <a:xfrm>
                <a:off x="1680" y="2607"/>
                <a:ext cx="53"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4" name="Rectangle 242"/>
              <p:cNvSpPr>
                <a:spLocks noChangeArrowheads="1"/>
              </p:cNvSpPr>
              <p:nvPr userDrawn="1"/>
            </p:nvSpPr>
            <p:spPr bwMode="auto">
              <a:xfrm>
                <a:off x="1755" y="2607"/>
                <a:ext cx="52"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5" name="Rectangle 243"/>
              <p:cNvSpPr>
                <a:spLocks noChangeArrowheads="1"/>
              </p:cNvSpPr>
              <p:nvPr userDrawn="1"/>
            </p:nvSpPr>
            <p:spPr bwMode="auto">
              <a:xfrm>
                <a:off x="1829" y="2607"/>
                <a:ext cx="52"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6" name="Rectangle 244"/>
              <p:cNvSpPr>
                <a:spLocks noChangeArrowheads="1"/>
              </p:cNvSpPr>
              <p:nvPr userDrawn="1"/>
            </p:nvSpPr>
            <p:spPr bwMode="auto">
              <a:xfrm>
                <a:off x="1903" y="2607"/>
                <a:ext cx="52"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7" name="Rectangle 245"/>
              <p:cNvSpPr>
                <a:spLocks noChangeArrowheads="1"/>
              </p:cNvSpPr>
              <p:nvPr userDrawn="1"/>
            </p:nvSpPr>
            <p:spPr bwMode="auto">
              <a:xfrm>
                <a:off x="1977" y="2607"/>
                <a:ext cx="53"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8" name="Rectangle 246"/>
              <p:cNvSpPr>
                <a:spLocks noChangeArrowheads="1"/>
              </p:cNvSpPr>
              <p:nvPr userDrawn="1"/>
            </p:nvSpPr>
            <p:spPr bwMode="auto">
              <a:xfrm>
                <a:off x="2052" y="2607"/>
                <a:ext cx="52"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9" name="Rectangle 247"/>
              <p:cNvSpPr>
                <a:spLocks noChangeArrowheads="1"/>
              </p:cNvSpPr>
              <p:nvPr userDrawn="1"/>
            </p:nvSpPr>
            <p:spPr bwMode="auto">
              <a:xfrm>
                <a:off x="2126" y="2607"/>
                <a:ext cx="52"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0" name="Rectangle 248"/>
              <p:cNvSpPr>
                <a:spLocks noChangeArrowheads="1"/>
              </p:cNvSpPr>
              <p:nvPr userDrawn="1"/>
            </p:nvSpPr>
            <p:spPr bwMode="auto">
              <a:xfrm>
                <a:off x="2200" y="2607"/>
                <a:ext cx="52"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1" name="Rectangle 249"/>
              <p:cNvSpPr>
                <a:spLocks noChangeArrowheads="1"/>
              </p:cNvSpPr>
              <p:nvPr userDrawn="1"/>
            </p:nvSpPr>
            <p:spPr bwMode="auto">
              <a:xfrm>
                <a:off x="2274" y="2607"/>
                <a:ext cx="53"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2" name="Rectangle 250"/>
              <p:cNvSpPr>
                <a:spLocks noChangeArrowheads="1"/>
              </p:cNvSpPr>
              <p:nvPr userDrawn="1"/>
            </p:nvSpPr>
            <p:spPr bwMode="auto">
              <a:xfrm>
                <a:off x="1680" y="2876"/>
                <a:ext cx="53" cy="9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3" name="Rectangle 251"/>
              <p:cNvSpPr>
                <a:spLocks noChangeArrowheads="1"/>
              </p:cNvSpPr>
              <p:nvPr userDrawn="1"/>
            </p:nvSpPr>
            <p:spPr bwMode="auto">
              <a:xfrm>
                <a:off x="1755" y="2876"/>
                <a:ext cx="52" cy="9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4" name="Rectangle 252"/>
              <p:cNvSpPr>
                <a:spLocks noChangeArrowheads="1"/>
              </p:cNvSpPr>
              <p:nvPr userDrawn="1"/>
            </p:nvSpPr>
            <p:spPr bwMode="auto">
              <a:xfrm>
                <a:off x="1829" y="2876"/>
                <a:ext cx="52" cy="9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5" name="Rectangle 253"/>
              <p:cNvSpPr>
                <a:spLocks noChangeArrowheads="1"/>
              </p:cNvSpPr>
              <p:nvPr userDrawn="1"/>
            </p:nvSpPr>
            <p:spPr bwMode="auto">
              <a:xfrm>
                <a:off x="1903" y="2876"/>
                <a:ext cx="52" cy="9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6" name="Rectangle 254"/>
              <p:cNvSpPr>
                <a:spLocks noChangeArrowheads="1"/>
              </p:cNvSpPr>
              <p:nvPr userDrawn="1"/>
            </p:nvSpPr>
            <p:spPr bwMode="auto">
              <a:xfrm>
                <a:off x="1977" y="2876"/>
                <a:ext cx="53" cy="9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7" name="Rectangle 255"/>
              <p:cNvSpPr>
                <a:spLocks noChangeArrowheads="1"/>
              </p:cNvSpPr>
              <p:nvPr userDrawn="1"/>
            </p:nvSpPr>
            <p:spPr bwMode="auto">
              <a:xfrm>
                <a:off x="2052" y="2876"/>
                <a:ext cx="52" cy="9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8" name="Rectangle 256"/>
              <p:cNvSpPr>
                <a:spLocks noChangeArrowheads="1"/>
              </p:cNvSpPr>
              <p:nvPr userDrawn="1"/>
            </p:nvSpPr>
            <p:spPr bwMode="auto">
              <a:xfrm>
                <a:off x="2126" y="2876"/>
                <a:ext cx="52" cy="9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9" name="Rectangle 257"/>
              <p:cNvSpPr>
                <a:spLocks noChangeArrowheads="1"/>
              </p:cNvSpPr>
              <p:nvPr userDrawn="1"/>
            </p:nvSpPr>
            <p:spPr bwMode="auto">
              <a:xfrm>
                <a:off x="2200" y="2876"/>
                <a:ext cx="52" cy="9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0" name="Rectangle 258"/>
              <p:cNvSpPr>
                <a:spLocks noChangeArrowheads="1"/>
              </p:cNvSpPr>
              <p:nvPr userDrawn="1"/>
            </p:nvSpPr>
            <p:spPr bwMode="auto">
              <a:xfrm>
                <a:off x="2274" y="2876"/>
                <a:ext cx="53" cy="9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1" name="Rectangle 259"/>
              <p:cNvSpPr>
                <a:spLocks noChangeArrowheads="1"/>
              </p:cNvSpPr>
              <p:nvPr userDrawn="1"/>
            </p:nvSpPr>
            <p:spPr bwMode="auto">
              <a:xfrm>
                <a:off x="2682" y="2675"/>
                <a:ext cx="32" cy="16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2" name="Rectangle 260"/>
              <p:cNvSpPr>
                <a:spLocks noChangeArrowheads="1"/>
              </p:cNvSpPr>
              <p:nvPr userDrawn="1"/>
            </p:nvSpPr>
            <p:spPr bwMode="auto">
              <a:xfrm>
                <a:off x="2732" y="2675"/>
                <a:ext cx="32" cy="16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3" name="Rectangle 261"/>
              <p:cNvSpPr>
                <a:spLocks noChangeArrowheads="1"/>
              </p:cNvSpPr>
              <p:nvPr userDrawn="1"/>
            </p:nvSpPr>
            <p:spPr bwMode="auto">
              <a:xfrm>
                <a:off x="2784" y="2675"/>
                <a:ext cx="32" cy="16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4" name="Rectangle 262"/>
              <p:cNvSpPr>
                <a:spLocks noChangeArrowheads="1"/>
              </p:cNvSpPr>
              <p:nvPr userDrawn="1"/>
            </p:nvSpPr>
            <p:spPr bwMode="auto">
              <a:xfrm>
                <a:off x="2834" y="2675"/>
                <a:ext cx="32" cy="169"/>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5" name="Rectangle 263"/>
              <p:cNvSpPr>
                <a:spLocks noChangeArrowheads="1"/>
              </p:cNvSpPr>
              <p:nvPr userDrawn="1"/>
            </p:nvSpPr>
            <p:spPr bwMode="auto">
              <a:xfrm>
                <a:off x="3585" y="2617"/>
                <a:ext cx="22"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6" name="Rectangle 264"/>
              <p:cNvSpPr>
                <a:spLocks noChangeArrowheads="1"/>
              </p:cNvSpPr>
              <p:nvPr userDrawn="1"/>
            </p:nvSpPr>
            <p:spPr bwMode="auto">
              <a:xfrm>
                <a:off x="3629" y="2617"/>
                <a:ext cx="74"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7" name="Rectangle 265"/>
              <p:cNvSpPr>
                <a:spLocks noChangeArrowheads="1"/>
              </p:cNvSpPr>
              <p:nvPr userDrawn="1"/>
            </p:nvSpPr>
            <p:spPr bwMode="auto">
              <a:xfrm>
                <a:off x="3723" y="2617"/>
                <a:ext cx="22"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8" name="Rectangle 266"/>
              <p:cNvSpPr>
                <a:spLocks noChangeArrowheads="1"/>
              </p:cNvSpPr>
              <p:nvPr userDrawn="1"/>
            </p:nvSpPr>
            <p:spPr bwMode="auto">
              <a:xfrm>
                <a:off x="3765" y="2617"/>
                <a:ext cx="75"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9" name="Rectangle 267"/>
              <p:cNvSpPr>
                <a:spLocks noChangeArrowheads="1"/>
              </p:cNvSpPr>
              <p:nvPr userDrawn="1"/>
            </p:nvSpPr>
            <p:spPr bwMode="auto">
              <a:xfrm>
                <a:off x="3862" y="2617"/>
                <a:ext cx="22"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0" name="Rectangle 268"/>
              <p:cNvSpPr>
                <a:spLocks noChangeArrowheads="1"/>
              </p:cNvSpPr>
              <p:nvPr userDrawn="1"/>
            </p:nvSpPr>
            <p:spPr bwMode="auto">
              <a:xfrm>
                <a:off x="3904" y="2617"/>
                <a:ext cx="74"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1" name="Rectangle 269"/>
              <p:cNvSpPr>
                <a:spLocks noChangeArrowheads="1"/>
              </p:cNvSpPr>
              <p:nvPr userDrawn="1"/>
            </p:nvSpPr>
            <p:spPr bwMode="auto">
              <a:xfrm>
                <a:off x="3998" y="2617"/>
                <a:ext cx="22"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2" name="Rectangle 270"/>
              <p:cNvSpPr>
                <a:spLocks noChangeArrowheads="1"/>
              </p:cNvSpPr>
              <p:nvPr userDrawn="1"/>
            </p:nvSpPr>
            <p:spPr bwMode="auto">
              <a:xfrm>
                <a:off x="4042" y="2617"/>
                <a:ext cx="75"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3" name="Rectangle 271"/>
              <p:cNvSpPr>
                <a:spLocks noChangeArrowheads="1"/>
              </p:cNvSpPr>
              <p:nvPr userDrawn="1"/>
            </p:nvSpPr>
            <p:spPr bwMode="auto">
              <a:xfrm>
                <a:off x="4137" y="2617"/>
                <a:ext cx="22"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4" name="Rectangle 272"/>
              <p:cNvSpPr>
                <a:spLocks noChangeArrowheads="1"/>
              </p:cNvSpPr>
              <p:nvPr userDrawn="1"/>
            </p:nvSpPr>
            <p:spPr bwMode="auto">
              <a:xfrm>
                <a:off x="4179" y="2617"/>
                <a:ext cx="74" cy="20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5" name="Rectangle 273"/>
              <p:cNvSpPr>
                <a:spLocks noChangeArrowheads="1"/>
              </p:cNvSpPr>
              <p:nvPr userDrawn="1"/>
            </p:nvSpPr>
            <p:spPr bwMode="auto">
              <a:xfrm>
                <a:off x="5012" y="2691"/>
                <a:ext cx="34" cy="17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6" name="Rectangle 274"/>
              <p:cNvSpPr>
                <a:spLocks noChangeArrowheads="1"/>
              </p:cNvSpPr>
              <p:nvPr userDrawn="1"/>
            </p:nvSpPr>
            <p:spPr bwMode="auto">
              <a:xfrm>
                <a:off x="5064" y="2691"/>
                <a:ext cx="32" cy="17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7" name="Rectangle 275"/>
              <p:cNvSpPr>
                <a:spLocks noChangeArrowheads="1"/>
              </p:cNvSpPr>
              <p:nvPr userDrawn="1"/>
            </p:nvSpPr>
            <p:spPr bwMode="auto">
              <a:xfrm>
                <a:off x="5114" y="2691"/>
                <a:ext cx="34" cy="17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8" name="Rectangle 276"/>
              <p:cNvSpPr>
                <a:spLocks noChangeArrowheads="1"/>
              </p:cNvSpPr>
              <p:nvPr userDrawn="1"/>
            </p:nvSpPr>
            <p:spPr bwMode="auto">
              <a:xfrm>
                <a:off x="5166" y="2691"/>
                <a:ext cx="32" cy="171"/>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9" name="Rectangle 277"/>
              <p:cNvSpPr>
                <a:spLocks noChangeArrowheads="1"/>
              </p:cNvSpPr>
              <p:nvPr userDrawn="1"/>
            </p:nvSpPr>
            <p:spPr bwMode="auto">
              <a:xfrm>
                <a:off x="5509" y="2627"/>
                <a:ext cx="53" cy="20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0" name="Rectangle 278"/>
              <p:cNvSpPr>
                <a:spLocks noChangeArrowheads="1"/>
              </p:cNvSpPr>
              <p:nvPr userDrawn="1"/>
            </p:nvSpPr>
            <p:spPr bwMode="auto">
              <a:xfrm>
                <a:off x="5584" y="2627"/>
                <a:ext cx="52" cy="20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1" name="Rectangle 279"/>
              <p:cNvSpPr>
                <a:spLocks noChangeArrowheads="1"/>
              </p:cNvSpPr>
              <p:nvPr userDrawn="1"/>
            </p:nvSpPr>
            <p:spPr bwMode="auto">
              <a:xfrm>
                <a:off x="5658" y="2627"/>
                <a:ext cx="52" cy="20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2" name="Rectangle 280"/>
              <p:cNvSpPr>
                <a:spLocks noChangeArrowheads="1"/>
              </p:cNvSpPr>
              <p:nvPr userDrawn="1"/>
            </p:nvSpPr>
            <p:spPr bwMode="auto">
              <a:xfrm>
                <a:off x="5732" y="2627"/>
                <a:ext cx="52" cy="20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3" name="Rectangle 281"/>
              <p:cNvSpPr>
                <a:spLocks noChangeArrowheads="1"/>
              </p:cNvSpPr>
              <p:nvPr userDrawn="1"/>
            </p:nvSpPr>
            <p:spPr bwMode="auto">
              <a:xfrm>
                <a:off x="5806" y="2627"/>
                <a:ext cx="53" cy="20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4" name="Rectangle 282"/>
              <p:cNvSpPr>
                <a:spLocks noChangeArrowheads="1"/>
              </p:cNvSpPr>
              <p:nvPr userDrawn="1"/>
            </p:nvSpPr>
            <p:spPr bwMode="auto">
              <a:xfrm>
                <a:off x="5881" y="2627"/>
                <a:ext cx="52" cy="20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5" name="Rectangle 283"/>
              <p:cNvSpPr>
                <a:spLocks noChangeArrowheads="1"/>
              </p:cNvSpPr>
              <p:nvPr userDrawn="1"/>
            </p:nvSpPr>
            <p:spPr bwMode="auto">
              <a:xfrm>
                <a:off x="5955" y="2627"/>
                <a:ext cx="52" cy="20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6" name="Rectangle 284"/>
              <p:cNvSpPr>
                <a:spLocks noChangeArrowheads="1"/>
              </p:cNvSpPr>
              <p:nvPr userDrawn="1"/>
            </p:nvSpPr>
            <p:spPr bwMode="auto">
              <a:xfrm>
                <a:off x="6029" y="2627"/>
                <a:ext cx="52" cy="20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7" name="Rectangle 285"/>
              <p:cNvSpPr>
                <a:spLocks noChangeArrowheads="1"/>
              </p:cNvSpPr>
              <p:nvPr userDrawn="1"/>
            </p:nvSpPr>
            <p:spPr bwMode="auto">
              <a:xfrm>
                <a:off x="6103" y="2627"/>
                <a:ext cx="53" cy="203"/>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8" name="Rectangle 286"/>
              <p:cNvSpPr>
                <a:spLocks noChangeArrowheads="1"/>
              </p:cNvSpPr>
              <p:nvPr userDrawn="1"/>
            </p:nvSpPr>
            <p:spPr bwMode="auto">
              <a:xfrm>
                <a:off x="5509" y="2884"/>
                <a:ext cx="53" cy="9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9" name="Rectangle 287"/>
              <p:cNvSpPr>
                <a:spLocks noChangeArrowheads="1"/>
              </p:cNvSpPr>
              <p:nvPr userDrawn="1"/>
            </p:nvSpPr>
            <p:spPr bwMode="auto">
              <a:xfrm>
                <a:off x="5584" y="2884"/>
                <a:ext cx="52" cy="9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0" name="Rectangle 288"/>
              <p:cNvSpPr>
                <a:spLocks noChangeArrowheads="1"/>
              </p:cNvSpPr>
              <p:nvPr userDrawn="1"/>
            </p:nvSpPr>
            <p:spPr bwMode="auto">
              <a:xfrm>
                <a:off x="5658" y="2884"/>
                <a:ext cx="52" cy="9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1" name="Rectangle 289"/>
              <p:cNvSpPr>
                <a:spLocks noChangeArrowheads="1"/>
              </p:cNvSpPr>
              <p:nvPr userDrawn="1"/>
            </p:nvSpPr>
            <p:spPr bwMode="auto">
              <a:xfrm>
                <a:off x="5732" y="2884"/>
                <a:ext cx="52" cy="9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2" name="Rectangle 290"/>
              <p:cNvSpPr>
                <a:spLocks noChangeArrowheads="1"/>
              </p:cNvSpPr>
              <p:nvPr userDrawn="1"/>
            </p:nvSpPr>
            <p:spPr bwMode="auto">
              <a:xfrm>
                <a:off x="5806" y="2884"/>
                <a:ext cx="53" cy="9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3" name="Rectangle 291"/>
              <p:cNvSpPr>
                <a:spLocks noChangeArrowheads="1"/>
              </p:cNvSpPr>
              <p:nvPr userDrawn="1"/>
            </p:nvSpPr>
            <p:spPr bwMode="auto">
              <a:xfrm>
                <a:off x="5881" y="2884"/>
                <a:ext cx="52" cy="9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4" name="Rectangle 292"/>
              <p:cNvSpPr>
                <a:spLocks noChangeArrowheads="1"/>
              </p:cNvSpPr>
              <p:nvPr userDrawn="1"/>
            </p:nvSpPr>
            <p:spPr bwMode="auto">
              <a:xfrm>
                <a:off x="5955" y="2884"/>
                <a:ext cx="52" cy="9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5" name="Rectangle 293"/>
              <p:cNvSpPr>
                <a:spLocks noChangeArrowheads="1"/>
              </p:cNvSpPr>
              <p:nvPr userDrawn="1"/>
            </p:nvSpPr>
            <p:spPr bwMode="auto">
              <a:xfrm>
                <a:off x="6029" y="2884"/>
                <a:ext cx="52" cy="9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6" name="Rectangle 294"/>
              <p:cNvSpPr>
                <a:spLocks noChangeArrowheads="1"/>
              </p:cNvSpPr>
              <p:nvPr userDrawn="1"/>
            </p:nvSpPr>
            <p:spPr bwMode="auto">
              <a:xfrm>
                <a:off x="6103" y="2884"/>
                <a:ext cx="53" cy="9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7" name="Freeform 295"/>
              <p:cNvSpPr>
                <a:spLocks/>
              </p:cNvSpPr>
              <p:nvPr userDrawn="1"/>
            </p:nvSpPr>
            <p:spPr bwMode="auto">
              <a:xfrm>
                <a:off x="4980" y="2581"/>
                <a:ext cx="1292" cy="72"/>
              </a:xfrm>
              <a:custGeom>
                <a:avLst/>
                <a:gdLst>
                  <a:gd name="T0" fmla="*/ 0 w 1292"/>
                  <a:gd name="T1" fmla="*/ 72 h 72"/>
                  <a:gd name="T2" fmla="*/ 220 w 1292"/>
                  <a:gd name="T3" fmla="*/ 72 h 72"/>
                  <a:gd name="T4" fmla="*/ 379 w 1292"/>
                  <a:gd name="T5" fmla="*/ 16 h 72"/>
                  <a:gd name="T6" fmla="*/ 481 w 1292"/>
                  <a:gd name="T7" fmla="*/ 16 h 72"/>
                  <a:gd name="T8" fmla="*/ 529 w 1292"/>
                  <a:gd name="T9" fmla="*/ 0 h 72"/>
                  <a:gd name="T10" fmla="*/ 1214 w 1292"/>
                  <a:gd name="T11" fmla="*/ 0 h 72"/>
                  <a:gd name="T12" fmla="*/ 1196 w 1292"/>
                  <a:gd name="T13" fmla="*/ 22 h 72"/>
                  <a:gd name="T14" fmla="*/ 1292 w 1292"/>
                  <a:gd name="T15" fmla="*/ 2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2" h="72">
                    <a:moveTo>
                      <a:pt x="0" y="72"/>
                    </a:moveTo>
                    <a:lnTo>
                      <a:pt x="220" y="72"/>
                    </a:lnTo>
                    <a:lnTo>
                      <a:pt x="379" y="16"/>
                    </a:lnTo>
                    <a:lnTo>
                      <a:pt x="481" y="16"/>
                    </a:lnTo>
                    <a:lnTo>
                      <a:pt x="529" y="0"/>
                    </a:lnTo>
                    <a:lnTo>
                      <a:pt x="1214" y="0"/>
                    </a:lnTo>
                    <a:lnTo>
                      <a:pt x="1196" y="22"/>
                    </a:lnTo>
                    <a:lnTo>
                      <a:pt x="1292" y="22"/>
                    </a:lnTo>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8" name="Freeform 296"/>
              <p:cNvSpPr>
                <a:spLocks/>
              </p:cNvSpPr>
              <p:nvPr userDrawn="1"/>
            </p:nvSpPr>
            <p:spPr bwMode="auto">
              <a:xfrm>
                <a:off x="2778" y="2908"/>
                <a:ext cx="28" cy="79"/>
              </a:xfrm>
              <a:custGeom>
                <a:avLst/>
                <a:gdLst>
                  <a:gd name="T0" fmla="*/ 14 w 14"/>
                  <a:gd name="T1" fmla="*/ 39 h 39"/>
                  <a:gd name="T2" fmla="*/ 14 w 14"/>
                  <a:gd name="T3" fmla="*/ 8 h 39"/>
                  <a:gd name="T4" fmla="*/ 7 w 14"/>
                  <a:gd name="T5" fmla="*/ 0 h 39"/>
                  <a:gd name="T6" fmla="*/ 0 w 14"/>
                  <a:gd name="T7" fmla="*/ 8 h 39"/>
                  <a:gd name="T8" fmla="*/ 0 w 14"/>
                  <a:gd name="T9" fmla="*/ 39 h 39"/>
                  <a:gd name="T10" fmla="*/ 14 w 14"/>
                  <a:gd name="T11" fmla="*/ 39 h 39"/>
                </a:gdLst>
                <a:ahLst/>
                <a:cxnLst>
                  <a:cxn ang="0">
                    <a:pos x="T0" y="T1"/>
                  </a:cxn>
                  <a:cxn ang="0">
                    <a:pos x="T2" y="T3"/>
                  </a:cxn>
                  <a:cxn ang="0">
                    <a:pos x="T4" y="T5"/>
                  </a:cxn>
                  <a:cxn ang="0">
                    <a:pos x="T6" y="T7"/>
                  </a:cxn>
                  <a:cxn ang="0">
                    <a:pos x="T8" y="T9"/>
                  </a:cxn>
                  <a:cxn ang="0">
                    <a:pos x="T10" y="T11"/>
                  </a:cxn>
                </a:cxnLst>
                <a:rect l="0" t="0" r="r" b="b"/>
                <a:pathLst>
                  <a:path w="14" h="39">
                    <a:moveTo>
                      <a:pt x="14" y="39"/>
                    </a:moveTo>
                    <a:cubicBezTo>
                      <a:pt x="14" y="8"/>
                      <a:pt x="14" y="8"/>
                      <a:pt x="14" y="8"/>
                    </a:cubicBezTo>
                    <a:cubicBezTo>
                      <a:pt x="14" y="8"/>
                      <a:pt x="14" y="0"/>
                      <a:pt x="7" y="0"/>
                    </a:cubicBezTo>
                    <a:cubicBezTo>
                      <a:pt x="7" y="0"/>
                      <a:pt x="0" y="1"/>
                      <a:pt x="0" y="8"/>
                    </a:cubicBezTo>
                    <a:cubicBezTo>
                      <a:pt x="0" y="15"/>
                      <a:pt x="0" y="39"/>
                      <a:pt x="0" y="39"/>
                    </a:cubicBezTo>
                    <a:cubicBezTo>
                      <a:pt x="14" y="39"/>
                      <a:pt x="14" y="39"/>
                      <a:pt x="14" y="39"/>
                    </a:cubicBezTo>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9" name="Rectangle 297"/>
              <p:cNvSpPr>
                <a:spLocks noChangeArrowheads="1"/>
              </p:cNvSpPr>
              <p:nvPr userDrawn="1"/>
            </p:nvSpPr>
            <p:spPr bwMode="auto">
              <a:xfrm>
                <a:off x="3250" y="2521"/>
                <a:ext cx="14" cy="32"/>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0" name="Rectangle 298"/>
              <p:cNvSpPr>
                <a:spLocks noChangeArrowheads="1"/>
              </p:cNvSpPr>
              <p:nvPr userDrawn="1"/>
            </p:nvSpPr>
            <p:spPr bwMode="auto">
              <a:xfrm>
                <a:off x="3218" y="2521"/>
                <a:ext cx="14" cy="32"/>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1" name="Rectangle 299"/>
              <p:cNvSpPr>
                <a:spLocks noChangeArrowheads="1"/>
              </p:cNvSpPr>
              <p:nvPr userDrawn="1"/>
            </p:nvSpPr>
            <p:spPr bwMode="auto">
              <a:xfrm>
                <a:off x="3186" y="2521"/>
                <a:ext cx="14" cy="32"/>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2" name="Rectangle 300"/>
              <p:cNvSpPr>
                <a:spLocks noChangeArrowheads="1"/>
              </p:cNvSpPr>
              <p:nvPr userDrawn="1"/>
            </p:nvSpPr>
            <p:spPr bwMode="auto">
              <a:xfrm>
                <a:off x="3916" y="2261"/>
                <a:ext cx="44" cy="157"/>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3" name="Freeform 301"/>
              <p:cNvSpPr>
                <a:spLocks/>
              </p:cNvSpPr>
              <p:nvPr userDrawn="1"/>
            </p:nvSpPr>
            <p:spPr bwMode="auto">
              <a:xfrm>
                <a:off x="3850" y="2261"/>
                <a:ext cx="44" cy="159"/>
              </a:xfrm>
              <a:custGeom>
                <a:avLst/>
                <a:gdLst>
                  <a:gd name="T0" fmla="*/ 44 w 44"/>
                  <a:gd name="T1" fmla="*/ 157 h 159"/>
                  <a:gd name="T2" fmla="*/ 0 w 44"/>
                  <a:gd name="T3" fmla="*/ 159 h 159"/>
                  <a:gd name="T4" fmla="*/ 0 w 44"/>
                  <a:gd name="T5" fmla="*/ 0 h 159"/>
                  <a:gd name="T6" fmla="*/ 44 w 44"/>
                  <a:gd name="T7" fmla="*/ 0 h 159"/>
                  <a:gd name="T8" fmla="*/ 44 w 44"/>
                  <a:gd name="T9" fmla="*/ 157 h 159"/>
                </a:gdLst>
                <a:ahLst/>
                <a:cxnLst>
                  <a:cxn ang="0">
                    <a:pos x="T0" y="T1"/>
                  </a:cxn>
                  <a:cxn ang="0">
                    <a:pos x="T2" y="T3"/>
                  </a:cxn>
                  <a:cxn ang="0">
                    <a:pos x="T4" y="T5"/>
                  </a:cxn>
                  <a:cxn ang="0">
                    <a:pos x="T6" y="T7"/>
                  </a:cxn>
                  <a:cxn ang="0">
                    <a:pos x="T8" y="T9"/>
                  </a:cxn>
                </a:cxnLst>
                <a:rect l="0" t="0" r="r" b="b"/>
                <a:pathLst>
                  <a:path w="44" h="159">
                    <a:moveTo>
                      <a:pt x="44" y="157"/>
                    </a:moveTo>
                    <a:lnTo>
                      <a:pt x="0" y="159"/>
                    </a:lnTo>
                    <a:lnTo>
                      <a:pt x="0" y="0"/>
                    </a:lnTo>
                    <a:lnTo>
                      <a:pt x="44" y="0"/>
                    </a:lnTo>
                    <a:lnTo>
                      <a:pt x="44" y="157"/>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4" name="Freeform 302"/>
              <p:cNvSpPr>
                <a:spLocks/>
              </p:cNvSpPr>
              <p:nvPr userDrawn="1"/>
            </p:nvSpPr>
            <p:spPr bwMode="auto">
              <a:xfrm>
                <a:off x="3980" y="2261"/>
                <a:ext cx="42" cy="159"/>
              </a:xfrm>
              <a:custGeom>
                <a:avLst/>
                <a:gdLst>
                  <a:gd name="T0" fmla="*/ 0 w 42"/>
                  <a:gd name="T1" fmla="*/ 157 h 159"/>
                  <a:gd name="T2" fmla="*/ 42 w 42"/>
                  <a:gd name="T3" fmla="*/ 159 h 159"/>
                  <a:gd name="T4" fmla="*/ 42 w 42"/>
                  <a:gd name="T5" fmla="*/ 0 h 159"/>
                  <a:gd name="T6" fmla="*/ 0 w 42"/>
                  <a:gd name="T7" fmla="*/ 0 h 159"/>
                  <a:gd name="T8" fmla="*/ 0 w 42"/>
                  <a:gd name="T9" fmla="*/ 157 h 159"/>
                </a:gdLst>
                <a:ahLst/>
                <a:cxnLst>
                  <a:cxn ang="0">
                    <a:pos x="T0" y="T1"/>
                  </a:cxn>
                  <a:cxn ang="0">
                    <a:pos x="T2" y="T3"/>
                  </a:cxn>
                  <a:cxn ang="0">
                    <a:pos x="T4" y="T5"/>
                  </a:cxn>
                  <a:cxn ang="0">
                    <a:pos x="T6" y="T7"/>
                  </a:cxn>
                  <a:cxn ang="0">
                    <a:pos x="T8" y="T9"/>
                  </a:cxn>
                </a:cxnLst>
                <a:rect l="0" t="0" r="r" b="b"/>
                <a:pathLst>
                  <a:path w="42" h="159">
                    <a:moveTo>
                      <a:pt x="0" y="157"/>
                    </a:moveTo>
                    <a:lnTo>
                      <a:pt x="42" y="159"/>
                    </a:lnTo>
                    <a:lnTo>
                      <a:pt x="42" y="0"/>
                    </a:lnTo>
                    <a:lnTo>
                      <a:pt x="0" y="0"/>
                    </a:lnTo>
                    <a:lnTo>
                      <a:pt x="0" y="157"/>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5" name="Freeform 303"/>
              <p:cNvSpPr>
                <a:spLocks/>
              </p:cNvSpPr>
              <p:nvPr userDrawn="1"/>
            </p:nvSpPr>
            <p:spPr bwMode="auto">
              <a:xfrm>
                <a:off x="3788" y="2261"/>
                <a:ext cx="44" cy="161"/>
              </a:xfrm>
              <a:custGeom>
                <a:avLst/>
                <a:gdLst>
                  <a:gd name="T0" fmla="*/ 44 w 44"/>
                  <a:gd name="T1" fmla="*/ 159 h 161"/>
                  <a:gd name="T2" fmla="*/ 0 w 44"/>
                  <a:gd name="T3" fmla="*/ 161 h 161"/>
                  <a:gd name="T4" fmla="*/ 0 w 44"/>
                  <a:gd name="T5" fmla="*/ 4 h 161"/>
                  <a:gd name="T6" fmla="*/ 44 w 44"/>
                  <a:gd name="T7" fmla="*/ 0 h 161"/>
                  <a:gd name="T8" fmla="*/ 44 w 44"/>
                  <a:gd name="T9" fmla="*/ 159 h 161"/>
                </a:gdLst>
                <a:ahLst/>
                <a:cxnLst>
                  <a:cxn ang="0">
                    <a:pos x="T0" y="T1"/>
                  </a:cxn>
                  <a:cxn ang="0">
                    <a:pos x="T2" y="T3"/>
                  </a:cxn>
                  <a:cxn ang="0">
                    <a:pos x="T4" y="T5"/>
                  </a:cxn>
                  <a:cxn ang="0">
                    <a:pos x="T6" y="T7"/>
                  </a:cxn>
                  <a:cxn ang="0">
                    <a:pos x="T8" y="T9"/>
                  </a:cxn>
                </a:cxnLst>
                <a:rect l="0" t="0" r="r" b="b"/>
                <a:pathLst>
                  <a:path w="44" h="161">
                    <a:moveTo>
                      <a:pt x="44" y="159"/>
                    </a:moveTo>
                    <a:lnTo>
                      <a:pt x="0" y="161"/>
                    </a:lnTo>
                    <a:lnTo>
                      <a:pt x="0" y="4"/>
                    </a:lnTo>
                    <a:lnTo>
                      <a:pt x="44" y="0"/>
                    </a:lnTo>
                    <a:lnTo>
                      <a:pt x="44" y="159"/>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6" name="Freeform 304"/>
              <p:cNvSpPr>
                <a:spLocks/>
              </p:cNvSpPr>
              <p:nvPr userDrawn="1"/>
            </p:nvSpPr>
            <p:spPr bwMode="auto">
              <a:xfrm>
                <a:off x="4042" y="2261"/>
                <a:ext cx="43" cy="161"/>
              </a:xfrm>
              <a:custGeom>
                <a:avLst/>
                <a:gdLst>
                  <a:gd name="T0" fmla="*/ 0 w 43"/>
                  <a:gd name="T1" fmla="*/ 159 h 161"/>
                  <a:gd name="T2" fmla="*/ 43 w 43"/>
                  <a:gd name="T3" fmla="*/ 161 h 161"/>
                  <a:gd name="T4" fmla="*/ 43 w 43"/>
                  <a:gd name="T5" fmla="*/ 4 h 161"/>
                  <a:gd name="T6" fmla="*/ 0 w 43"/>
                  <a:gd name="T7" fmla="*/ 0 h 161"/>
                  <a:gd name="T8" fmla="*/ 0 w 43"/>
                  <a:gd name="T9" fmla="*/ 159 h 161"/>
                </a:gdLst>
                <a:ahLst/>
                <a:cxnLst>
                  <a:cxn ang="0">
                    <a:pos x="T0" y="T1"/>
                  </a:cxn>
                  <a:cxn ang="0">
                    <a:pos x="T2" y="T3"/>
                  </a:cxn>
                  <a:cxn ang="0">
                    <a:pos x="T4" y="T5"/>
                  </a:cxn>
                  <a:cxn ang="0">
                    <a:pos x="T6" y="T7"/>
                  </a:cxn>
                  <a:cxn ang="0">
                    <a:pos x="T8" y="T9"/>
                  </a:cxn>
                </a:cxnLst>
                <a:rect l="0" t="0" r="r" b="b"/>
                <a:pathLst>
                  <a:path w="43" h="161">
                    <a:moveTo>
                      <a:pt x="0" y="159"/>
                    </a:moveTo>
                    <a:lnTo>
                      <a:pt x="43" y="161"/>
                    </a:lnTo>
                    <a:lnTo>
                      <a:pt x="43" y="4"/>
                    </a:lnTo>
                    <a:lnTo>
                      <a:pt x="0" y="0"/>
                    </a:lnTo>
                    <a:lnTo>
                      <a:pt x="0" y="159"/>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7" name="Freeform 305"/>
              <p:cNvSpPr>
                <a:spLocks/>
              </p:cNvSpPr>
              <p:nvPr userDrawn="1"/>
            </p:nvSpPr>
            <p:spPr bwMode="auto">
              <a:xfrm>
                <a:off x="3731" y="2265"/>
                <a:ext cx="38" cy="165"/>
              </a:xfrm>
              <a:custGeom>
                <a:avLst/>
                <a:gdLst>
                  <a:gd name="T0" fmla="*/ 38 w 38"/>
                  <a:gd name="T1" fmla="*/ 159 h 165"/>
                  <a:gd name="T2" fmla="*/ 0 w 38"/>
                  <a:gd name="T3" fmla="*/ 165 h 165"/>
                  <a:gd name="T4" fmla="*/ 0 w 38"/>
                  <a:gd name="T5" fmla="*/ 6 h 165"/>
                  <a:gd name="T6" fmla="*/ 38 w 38"/>
                  <a:gd name="T7" fmla="*/ 0 h 165"/>
                  <a:gd name="T8" fmla="*/ 38 w 38"/>
                  <a:gd name="T9" fmla="*/ 159 h 165"/>
                </a:gdLst>
                <a:ahLst/>
                <a:cxnLst>
                  <a:cxn ang="0">
                    <a:pos x="T0" y="T1"/>
                  </a:cxn>
                  <a:cxn ang="0">
                    <a:pos x="T2" y="T3"/>
                  </a:cxn>
                  <a:cxn ang="0">
                    <a:pos x="T4" y="T5"/>
                  </a:cxn>
                  <a:cxn ang="0">
                    <a:pos x="T6" y="T7"/>
                  </a:cxn>
                  <a:cxn ang="0">
                    <a:pos x="T8" y="T9"/>
                  </a:cxn>
                </a:cxnLst>
                <a:rect l="0" t="0" r="r" b="b"/>
                <a:pathLst>
                  <a:path w="38" h="165">
                    <a:moveTo>
                      <a:pt x="38" y="159"/>
                    </a:moveTo>
                    <a:lnTo>
                      <a:pt x="0" y="165"/>
                    </a:lnTo>
                    <a:lnTo>
                      <a:pt x="0" y="6"/>
                    </a:lnTo>
                    <a:lnTo>
                      <a:pt x="38" y="0"/>
                    </a:lnTo>
                    <a:lnTo>
                      <a:pt x="38" y="159"/>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8" name="Freeform 306"/>
              <p:cNvSpPr>
                <a:spLocks/>
              </p:cNvSpPr>
              <p:nvPr userDrawn="1"/>
            </p:nvSpPr>
            <p:spPr bwMode="auto">
              <a:xfrm>
                <a:off x="4105" y="2265"/>
                <a:ext cx="40" cy="165"/>
              </a:xfrm>
              <a:custGeom>
                <a:avLst/>
                <a:gdLst>
                  <a:gd name="T0" fmla="*/ 0 w 40"/>
                  <a:gd name="T1" fmla="*/ 159 h 165"/>
                  <a:gd name="T2" fmla="*/ 40 w 40"/>
                  <a:gd name="T3" fmla="*/ 165 h 165"/>
                  <a:gd name="T4" fmla="*/ 40 w 40"/>
                  <a:gd name="T5" fmla="*/ 6 h 165"/>
                  <a:gd name="T6" fmla="*/ 0 w 40"/>
                  <a:gd name="T7" fmla="*/ 0 h 165"/>
                  <a:gd name="T8" fmla="*/ 0 w 40"/>
                  <a:gd name="T9" fmla="*/ 159 h 165"/>
                </a:gdLst>
                <a:ahLst/>
                <a:cxnLst>
                  <a:cxn ang="0">
                    <a:pos x="T0" y="T1"/>
                  </a:cxn>
                  <a:cxn ang="0">
                    <a:pos x="T2" y="T3"/>
                  </a:cxn>
                  <a:cxn ang="0">
                    <a:pos x="T4" y="T5"/>
                  </a:cxn>
                  <a:cxn ang="0">
                    <a:pos x="T6" y="T7"/>
                  </a:cxn>
                  <a:cxn ang="0">
                    <a:pos x="T8" y="T9"/>
                  </a:cxn>
                </a:cxnLst>
                <a:rect l="0" t="0" r="r" b="b"/>
                <a:pathLst>
                  <a:path w="40" h="165">
                    <a:moveTo>
                      <a:pt x="0" y="159"/>
                    </a:moveTo>
                    <a:lnTo>
                      <a:pt x="40" y="165"/>
                    </a:lnTo>
                    <a:lnTo>
                      <a:pt x="40" y="6"/>
                    </a:lnTo>
                    <a:lnTo>
                      <a:pt x="0" y="0"/>
                    </a:lnTo>
                    <a:lnTo>
                      <a:pt x="0" y="159"/>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9" name="Freeform 307"/>
              <p:cNvSpPr>
                <a:spLocks/>
              </p:cNvSpPr>
              <p:nvPr userDrawn="1"/>
            </p:nvSpPr>
            <p:spPr bwMode="auto">
              <a:xfrm>
                <a:off x="4165" y="2275"/>
                <a:ext cx="28" cy="163"/>
              </a:xfrm>
              <a:custGeom>
                <a:avLst/>
                <a:gdLst>
                  <a:gd name="T0" fmla="*/ 0 w 28"/>
                  <a:gd name="T1" fmla="*/ 157 h 163"/>
                  <a:gd name="T2" fmla="*/ 28 w 28"/>
                  <a:gd name="T3" fmla="*/ 163 h 163"/>
                  <a:gd name="T4" fmla="*/ 28 w 28"/>
                  <a:gd name="T5" fmla="*/ 6 h 163"/>
                  <a:gd name="T6" fmla="*/ 0 w 28"/>
                  <a:gd name="T7" fmla="*/ 0 h 163"/>
                  <a:gd name="T8" fmla="*/ 0 w 28"/>
                  <a:gd name="T9" fmla="*/ 157 h 163"/>
                </a:gdLst>
                <a:ahLst/>
                <a:cxnLst>
                  <a:cxn ang="0">
                    <a:pos x="T0" y="T1"/>
                  </a:cxn>
                  <a:cxn ang="0">
                    <a:pos x="T2" y="T3"/>
                  </a:cxn>
                  <a:cxn ang="0">
                    <a:pos x="T4" y="T5"/>
                  </a:cxn>
                  <a:cxn ang="0">
                    <a:pos x="T6" y="T7"/>
                  </a:cxn>
                  <a:cxn ang="0">
                    <a:pos x="T8" y="T9"/>
                  </a:cxn>
                </a:cxnLst>
                <a:rect l="0" t="0" r="r" b="b"/>
                <a:pathLst>
                  <a:path w="28" h="163">
                    <a:moveTo>
                      <a:pt x="0" y="157"/>
                    </a:moveTo>
                    <a:lnTo>
                      <a:pt x="28" y="163"/>
                    </a:lnTo>
                    <a:lnTo>
                      <a:pt x="28" y="6"/>
                    </a:lnTo>
                    <a:lnTo>
                      <a:pt x="0" y="0"/>
                    </a:lnTo>
                    <a:lnTo>
                      <a:pt x="0" y="157"/>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0" name="Freeform 308"/>
              <p:cNvSpPr>
                <a:spLocks/>
              </p:cNvSpPr>
              <p:nvPr userDrawn="1"/>
            </p:nvSpPr>
            <p:spPr bwMode="auto">
              <a:xfrm>
                <a:off x="3683" y="2275"/>
                <a:ext cx="28" cy="163"/>
              </a:xfrm>
              <a:custGeom>
                <a:avLst/>
                <a:gdLst>
                  <a:gd name="T0" fmla="*/ 28 w 28"/>
                  <a:gd name="T1" fmla="*/ 157 h 163"/>
                  <a:gd name="T2" fmla="*/ 0 w 28"/>
                  <a:gd name="T3" fmla="*/ 163 h 163"/>
                  <a:gd name="T4" fmla="*/ 0 w 28"/>
                  <a:gd name="T5" fmla="*/ 6 h 163"/>
                  <a:gd name="T6" fmla="*/ 28 w 28"/>
                  <a:gd name="T7" fmla="*/ 0 h 163"/>
                  <a:gd name="T8" fmla="*/ 28 w 28"/>
                  <a:gd name="T9" fmla="*/ 157 h 163"/>
                </a:gdLst>
                <a:ahLst/>
                <a:cxnLst>
                  <a:cxn ang="0">
                    <a:pos x="T0" y="T1"/>
                  </a:cxn>
                  <a:cxn ang="0">
                    <a:pos x="T2" y="T3"/>
                  </a:cxn>
                  <a:cxn ang="0">
                    <a:pos x="T4" y="T5"/>
                  </a:cxn>
                  <a:cxn ang="0">
                    <a:pos x="T6" y="T7"/>
                  </a:cxn>
                  <a:cxn ang="0">
                    <a:pos x="T8" y="T9"/>
                  </a:cxn>
                </a:cxnLst>
                <a:rect l="0" t="0" r="r" b="b"/>
                <a:pathLst>
                  <a:path w="28" h="163">
                    <a:moveTo>
                      <a:pt x="28" y="157"/>
                    </a:moveTo>
                    <a:lnTo>
                      <a:pt x="0" y="163"/>
                    </a:lnTo>
                    <a:lnTo>
                      <a:pt x="0" y="6"/>
                    </a:lnTo>
                    <a:lnTo>
                      <a:pt x="28" y="0"/>
                    </a:lnTo>
                    <a:lnTo>
                      <a:pt x="28" y="157"/>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1" name="Freeform 309"/>
              <p:cNvSpPr>
                <a:spLocks/>
              </p:cNvSpPr>
              <p:nvPr userDrawn="1"/>
            </p:nvSpPr>
            <p:spPr bwMode="auto">
              <a:xfrm>
                <a:off x="3643" y="2285"/>
                <a:ext cx="20" cy="165"/>
              </a:xfrm>
              <a:custGeom>
                <a:avLst/>
                <a:gdLst>
                  <a:gd name="T0" fmla="*/ 20 w 20"/>
                  <a:gd name="T1" fmla="*/ 159 h 165"/>
                  <a:gd name="T2" fmla="*/ 0 w 20"/>
                  <a:gd name="T3" fmla="*/ 165 h 165"/>
                  <a:gd name="T4" fmla="*/ 0 w 20"/>
                  <a:gd name="T5" fmla="*/ 6 h 165"/>
                  <a:gd name="T6" fmla="*/ 20 w 20"/>
                  <a:gd name="T7" fmla="*/ 0 h 165"/>
                  <a:gd name="T8" fmla="*/ 20 w 20"/>
                  <a:gd name="T9" fmla="*/ 159 h 165"/>
                </a:gdLst>
                <a:ahLst/>
                <a:cxnLst>
                  <a:cxn ang="0">
                    <a:pos x="T0" y="T1"/>
                  </a:cxn>
                  <a:cxn ang="0">
                    <a:pos x="T2" y="T3"/>
                  </a:cxn>
                  <a:cxn ang="0">
                    <a:pos x="T4" y="T5"/>
                  </a:cxn>
                  <a:cxn ang="0">
                    <a:pos x="T6" y="T7"/>
                  </a:cxn>
                  <a:cxn ang="0">
                    <a:pos x="T8" y="T9"/>
                  </a:cxn>
                </a:cxnLst>
                <a:rect l="0" t="0" r="r" b="b"/>
                <a:pathLst>
                  <a:path w="20" h="165">
                    <a:moveTo>
                      <a:pt x="20" y="159"/>
                    </a:moveTo>
                    <a:lnTo>
                      <a:pt x="0" y="165"/>
                    </a:lnTo>
                    <a:lnTo>
                      <a:pt x="0" y="6"/>
                    </a:lnTo>
                    <a:lnTo>
                      <a:pt x="20" y="0"/>
                    </a:lnTo>
                    <a:lnTo>
                      <a:pt x="20" y="159"/>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2" name="Freeform 310"/>
              <p:cNvSpPr>
                <a:spLocks/>
              </p:cNvSpPr>
              <p:nvPr userDrawn="1"/>
            </p:nvSpPr>
            <p:spPr bwMode="auto">
              <a:xfrm>
                <a:off x="4213" y="2285"/>
                <a:ext cx="18" cy="165"/>
              </a:xfrm>
              <a:custGeom>
                <a:avLst/>
                <a:gdLst>
                  <a:gd name="T0" fmla="*/ 0 w 18"/>
                  <a:gd name="T1" fmla="*/ 159 h 165"/>
                  <a:gd name="T2" fmla="*/ 18 w 18"/>
                  <a:gd name="T3" fmla="*/ 165 h 165"/>
                  <a:gd name="T4" fmla="*/ 18 w 18"/>
                  <a:gd name="T5" fmla="*/ 6 h 165"/>
                  <a:gd name="T6" fmla="*/ 0 w 18"/>
                  <a:gd name="T7" fmla="*/ 0 h 165"/>
                  <a:gd name="T8" fmla="*/ 0 w 18"/>
                  <a:gd name="T9" fmla="*/ 159 h 165"/>
                </a:gdLst>
                <a:ahLst/>
                <a:cxnLst>
                  <a:cxn ang="0">
                    <a:pos x="T0" y="T1"/>
                  </a:cxn>
                  <a:cxn ang="0">
                    <a:pos x="T2" y="T3"/>
                  </a:cxn>
                  <a:cxn ang="0">
                    <a:pos x="T4" y="T5"/>
                  </a:cxn>
                  <a:cxn ang="0">
                    <a:pos x="T6" y="T7"/>
                  </a:cxn>
                  <a:cxn ang="0">
                    <a:pos x="T8" y="T9"/>
                  </a:cxn>
                </a:cxnLst>
                <a:rect l="0" t="0" r="r" b="b"/>
                <a:pathLst>
                  <a:path w="18" h="165">
                    <a:moveTo>
                      <a:pt x="0" y="159"/>
                    </a:moveTo>
                    <a:lnTo>
                      <a:pt x="18" y="165"/>
                    </a:lnTo>
                    <a:lnTo>
                      <a:pt x="18" y="6"/>
                    </a:lnTo>
                    <a:lnTo>
                      <a:pt x="0" y="0"/>
                    </a:lnTo>
                    <a:lnTo>
                      <a:pt x="0" y="159"/>
                    </a:lnTo>
                    <a:close/>
                  </a:path>
                </a:pathLst>
              </a:cu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3" name="Rectangle 311"/>
              <p:cNvSpPr>
                <a:spLocks noChangeArrowheads="1"/>
              </p:cNvSpPr>
              <p:nvPr userDrawn="1"/>
            </p:nvSpPr>
            <p:spPr bwMode="auto">
              <a:xfrm>
                <a:off x="4677" y="2523"/>
                <a:ext cx="14" cy="32"/>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4" name="Rectangle 312"/>
              <p:cNvSpPr>
                <a:spLocks noChangeArrowheads="1"/>
              </p:cNvSpPr>
              <p:nvPr userDrawn="1"/>
            </p:nvSpPr>
            <p:spPr bwMode="auto">
              <a:xfrm>
                <a:off x="4644" y="2523"/>
                <a:ext cx="14" cy="32"/>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5" name="Rectangle 313"/>
              <p:cNvSpPr>
                <a:spLocks noChangeArrowheads="1"/>
              </p:cNvSpPr>
              <p:nvPr userDrawn="1"/>
            </p:nvSpPr>
            <p:spPr bwMode="auto">
              <a:xfrm>
                <a:off x="4612" y="2523"/>
                <a:ext cx="14" cy="32"/>
              </a:xfrm>
              <a:prstGeom prst="rect">
                <a:avLst/>
              </a:prstGeom>
              <a:noFill/>
              <a:ln w="9525"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61" name="Oval 460"/>
            <p:cNvSpPr/>
            <p:nvPr userDrawn="1"/>
          </p:nvSpPr>
          <p:spPr bwMode="auto">
            <a:xfrm>
              <a:off x="8862042" y="3602293"/>
              <a:ext cx="103981" cy="103981"/>
            </a:xfrm>
            <a:prstGeom prst="ellipse">
              <a:avLst/>
            </a:prstGeom>
            <a:noFill/>
            <a:ln w="952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62" name="Straight Connector 461"/>
            <p:cNvCxnSpPr>
              <a:endCxn id="461" idx="4"/>
            </p:cNvCxnSpPr>
            <p:nvPr userDrawn="1"/>
          </p:nvCxnSpPr>
          <p:spPr>
            <a:xfrm flipV="1">
              <a:off x="8914033" y="3706274"/>
              <a:ext cx="0" cy="1456621"/>
            </a:xfrm>
            <a:prstGeom prst="line">
              <a:avLst/>
            </a:prstGeom>
            <a:ln w="9525">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5" name="Straight Connector 464"/>
            <p:cNvCxnSpPr/>
            <p:nvPr userDrawn="1"/>
          </p:nvCxnSpPr>
          <p:spPr>
            <a:xfrm flipV="1">
              <a:off x="8506564" y="-12945"/>
              <a:ext cx="0" cy="112515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6" name="Oval 465"/>
            <p:cNvSpPr/>
            <p:nvPr userDrawn="1"/>
          </p:nvSpPr>
          <p:spPr bwMode="auto">
            <a:xfrm>
              <a:off x="8453806" y="1112206"/>
              <a:ext cx="103981" cy="103981"/>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68" name="Straight Connector 467"/>
            <p:cNvCxnSpPr/>
            <p:nvPr userDrawn="1"/>
          </p:nvCxnSpPr>
          <p:spPr>
            <a:xfrm flipV="1">
              <a:off x="10973165" y="-16345"/>
              <a:ext cx="0" cy="1080299"/>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9" name="Oval 468"/>
            <p:cNvSpPr/>
            <p:nvPr userDrawn="1"/>
          </p:nvSpPr>
          <p:spPr bwMode="auto">
            <a:xfrm>
              <a:off x="10920407" y="1063954"/>
              <a:ext cx="103981" cy="103981"/>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22119" y="3340529"/>
            <a:ext cx="6545206" cy="1191690"/>
          </a:xfrm>
          <a:prstGeom prst="rect">
            <a:avLst/>
          </a:prstGeom>
        </p:spPr>
      </p:pic>
    </p:spTree>
    <p:extLst>
      <p:ext uri="{BB962C8B-B14F-4D97-AF65-F5344CB8AC3E}">
        <p14:creationId xmlns:p14="http://schemas.microsoft.com/office/powerpoint/2010/main" val="271190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1993485"/>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990314"/>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Title Slide">
    <p:bg bwMode="black">
      <p:bgPr>
        <a:gradFill flip="none" rotWithShape="1">
          <a:gsLst>
            <a:gs pos="0">
              <a:srgbClr val="00B9F2"/>
            </a:gs>
            <a:gs pos="90000">
              <a:srgbClr val="053264"/>
            </a:gs>
            <a:gs pos="30000">
              <a:srgbClr val="007AC2"/>
            </a:gs>
          </a:gsLst>
          <a:lin ang="5400000" scaled="0"/>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white">
          <a:xfrm>
            <a:off x="1869879" y="2476532"/>
            <a:ext cx="8696733" cy="932603"/>
          </a:xfrm>
        </p:spPr>
        <p:txBody>
          <a:bodyPr rIns="0" anchor="b">
            <a:noAutofit/>
          </a:bodyPr>
          <a:lstStyle>
            <a:lvl1pPr algn="ctr">
              <a:defRPr sz="3468" baseline="0">
                <a:solidFill>
                  <a:schemeClr val="tx1"/>
                </a:solidFill>
              </a:defRPr>
            </a:lvl1pPr>
          </a:lstStyle>
          <a:p>
            <a:r>
              <a:rPr lang="en-US" dirty="0"/>
              <a:t>Presentation Title</a:t>
            </a:r>
          </a:p>
        </p:txBody>
      </p:sp>
      <p:sp>
        <p:nvSpPr>
          <p:cNvPr id="3" name="Subtitle 2"/>
          <p:cNvSpPr>
            <a:spLocks noGrp="1"/>
          </p:cNvSpPr>
          <p:nvPr>
            <p:ph type="subTitle" idx="1" hasCustomPrompt="1"/>
          </p:nvPr>
        </p:nvSpPr>
        <p:spPr bwMode="white">
          <a:xfrm>
            <a:off x="1865472" y="3534202"/>
            <a:ext cx="8705534" cy="932603"/>
          </a:xfrm>
          <a:noFill/>
        </p:spPr>
        <p:txBody>
          <a:bodyPr>
            <a:noAutofit/>
          </a:bodyPr>
          <a:lstStyle>
            <a:lvl1pPr marL="0" indent="0" algn="ctr">
              <a:buNone/>
              <a:defRPr b="0">
                <a:solidFill>
                  <a:schemeClr val="tx1"/>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dirty="0"/>
              <a:t>Name of Presenter(s)</a:t>
            </a:r>
          </a:p>
        </p:txBody>
      </p:sp>
      <p:pic>
        <p:nvPicPr>
          <p:cNvPr id="7" name="Picture 6" descr="esri-10GlobeLogo_No-r_sRGBRev.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541901" y="372407"/>
            <a:ext cx="2212225" cy="986905"/>
          </a:xfrm>
          <a:prstGeom prst="rect">
            <a:avLst/>
          </a:prstGeom>
        </p:spPr>
      </p:pic>
      <p:sp>
        <p:nvSpPr>
          <p:cNvPr id="8" name="Rectangle 7"/>
          <p:cNvSpPr/>
          <p:nvPr/>
        </p:nvSpPr>
        <p:spPr bwMode="ltGray">
          <a:xfrm>
            <a:off x="-1223458" y="5678106"/>
            <a:ext cx="13659935" cy="1316447"/>
          </a:xfrm>
          <a:custGeom>
            <a:avLst/>
            <a:gdLst/>
            <a:ahLst/>
            <a:cxnLst/>
            <a:rect l="l" t="t" r="r" b="b"/>
            <a:pathLst>
              <a:path w="10043557" h="1290751">
                <a:moveTo>
                  <a:pt x="8132411" y="0"/>
                </a:moveTo>
                <a:cubicBezTo>
                  <a:pt x="8583764" y="0"/>
                  <a:pt x="9032446" y="11434"/>
                  <a:pt x="9478183" y="34029"/>
                </a:cubicBezTo>
                <a:lnTo>
                  <a:pt x="10043557" y="69857"/>
                </a:lnTo>
                <a:lnTo>
                  <a:pt x="10043557" y="1290751"/>
                </a:lnTo>
                <a:lnTo>
                  <a:pt x="0" y="1290751"/>
                </a:lnTo>
                <a:lnTo>
                  <a:pt x="125788" y="1248403"/>
                </a:lnTo>
                <a:cubicBezTo>
                  <a:pt x="2649168" y="437759"/>
                  <a:pt x="5339667" y="0"/>
                  <a:pt x="8132411" y="0"/>
                </a:cubicBezTo>
                <a:close/>
              </a:path>
            </a:pathLst>
          </a:custGeom>
          <a:solidFill>
            <a:schemeClr val="bg2">
              <a:lumMod val="60000"/>
              <a:lumOff val="40000"/>
              <a:alpha val="2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3260" tIns="46630" rIns="93260" bIns="46630" numCol="1" rtlCol="0" anchor="ctr" anchorCtr="0" compatLnSpc="1">
            <a:prstTxWarp prst="textNoShape">
              <a:avLst/>
            </a:prstTxWarp>
          </a:bodyPr>
          <a:lstStyle/>
          <a:p>
            <a:pPr lvl="0" algn="ctr" eaLnBrk="0" fontAlgn="base" hangingPunct="0">
              <a:spcBef>
                <a:spcPct val="0"/>
              </a:spcBef>
              <a:spcAft>
                <a:spcPct val="0"/>
              </a:spcAft>
            </a:pPr>
            <a:endParaRPr lang="en-US" sz="1428" b="1" dirty="0">
              <a:solidFill>
                <a:srgbClr val="000000"/>
              </a:solidFill>
              <a:latin typeface="Arial" charset="0"/>
              <a:ea typeface="ＭＳ Ｐゴシック" pitchFamily="16" charset="-128"/>
              <a:cs typeface="ＭＳ Ｐゴシック" pitchFamily="-97" charset="-128"/>
            </a:endParaRPr>
          </a:p>
        </p:txBody>
      </p:sp>
      <p:sp>
        <p:nvSpPr>
          <p:cNvPr id="9" name="Rectangle 3"/>
          <p:cNvSpPr/>
          <p:nvPr/>
        </p:nvSpPr>
        <p:spPr bwMode="invGray">
          <a:xfrm flipH="1">
            <a:off x="4744238" y="4287920"/>
            <a:ext cx="7692253" cy="2706633"/>
          </a:xfrm>
          <a:custGeom>
            <a:avLst/>
            <a:gdLst/>
            <a:ahLst/>
            <a:cxnLst/>
            <a:rect l="l" t="t" r="r" b="b"/>
            <a:pathLst>
              <a:path w="5655779" h="2653803">
                <a:moveTo>
                  <a:pt x="0" y="0"/>
                </a:moveTo>
                <a:lnTo>
                  <a:pt x="0" y="2653803"/>
                </a:lnTo>
                <a:lnTo>
                  <a:pt x="5655779" y="2653803"/>
                </a:lnTo>
                <a:lnTo>
                  <a:pt x="5368634" y="2452474"/>
                </a:lnTo>
                <a:cubicBezTo>
                  <a:pt x="3880066" y="1444637"/>
                  <a:pt x="2250051" y="660920"/>
                  <a:pt x="518426" y="144676"/>
                </a:cubicBezTo>
                <a:close/>
              </a:path>
            </a:pathLst>
          </a:custGeom>
          <a:solidFill>
            <a:srgbClr val="053264">
              <a:alpha val="10000"/>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3260" tIns="46630" rIns="93260" bIns="46630" numCol="1" rtlCol="0" anchor="ctr" anchorCtr="0" compatLnSpc="1">
            <a:prstTxWarp prst="textNoShape">
              <a:avLst/>
            </a:prstTxWarp>
          </a:bodyPr>
          <a:lstStyle/>
          <a:p>
            <a:pPr algn="ctr" eaLnBrk="0" fontAlgn="base" hangingPunct="0">
              <a:spcBef>
                <a:spcPct val="0"/>
              </a:spcBef>
              <a:spcAft>
                <a:spcPct val="0"/>
              </a:spcAft>
            </a:pPr>
            <a:endParaRPr lang="en-US" sz="1428" b="1" dirty="0">
              <a:solidFill>
                <a:srgbClr val="000000"/>
              </a:solidFill>
              <a:latin typeface="Arial" charset="0"/>
              <a:ea typeface="ＭＳ Ｐゴシック" pitchFamily="16" charset="-128"/>
              <a:cs typeface="ＭＳ Ｐゴシック" pitchFamily="-97" charset="-128"/>
            </a:endParaRPr>
          </a:p>
        </p:txBody>
      </p:sp>
    </p:spTree>
    <p:extLst>
      <p:ext uri="{BB962C8B-B14F-4D97-AF65-F5344CB8AC3E}">
        <p14:creationId xmlns:p14="http://schemas.microsoft.com/office/powerpoint/2010/main" val="2166168744"/>
      </p:ext>
    </p:extLst>
  </p:cSld>
  <p:clrMapOvr>
    <a:masterClrMapping/>
  </p:clrMapOvr>
  <p:transition spd="med">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p>
            <a:r>
              <a:rPr lang="en-US" dirty="0"/>
              <a:t>Click to Edit Master Title Style</a:t>
            </a:r>
          </a:p>
        </p:txBody>
      </p:sp>
      <p:sp>
        <p:nvSpPr>
          <p:cNvPr id="5" name="Content Placeholder 4"/>
          <p:cNvSpPr>
            <a:spLocks noGrp="1"/>
          </p:cNvSpPr>
          <p:nvPr>
            <p:ph sz="quarter" idx="10"/>
          </p:nvPr>
        </p:nvSpPr>
        <p:spPr>
          <a:xfrm>
            <a:off x="1243651" y="1865206"/>
            <a:ext cx="9949180" cy="3497263"/>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80913840"/>
      </p:ext>
    </p:extLst>
  </p:cSld>
  <p:clrMapOvr>
    <a:masterClrMapping/>
  </p:clrMapOvr>
  <p:transition spd="med">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Title, Sub,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8" name="Text Placeholder 7"/>
          <p:cNvSpPr>
            <a:spLocks noGrp="1"/>
          </p:cNvSpPr>
          <p:nvPr>
            <p:ph type="body" sz="quarter" idx="11" hasCustomPrompt="1"/>
          </p:nvPr>
        </p:nvSpPr>
        <p:spPr>
          <a:xfrm>
            <a:off x="932737" y="1119152"/>
            <a:ext cx="10571004" cy="251123"/>
          </a:xfrm>
        </p:spPr>
        <p:txBody>
          <a:bodyPr anchor="t" anchorCtr="0">
            <a:spAutoFit/>
          </a:bodyPr>
          <a:lstStyle>
            <a:lvl1pPr marL="0" indent="0">
              <a:spcBef>
                <a:spcPts val="0"/>
              </a:spcBef>
              <a:spcAft>
                <a:spcPts val="0"/>
              </a:spcAft>
              <a:buNone/>
              <a:defRPr sz="1632">
                <a:solidFill>
                  <a:schemeClr val="accent4">
                    <a:lumMod val="40000"/>
                    <a:lumOff val="60000"/>
                  </a:schemeClr>
                </a:solidFill>
              </a:defRPr>
            </a:lvl1pPr>
            <a:lvl2pPr marL="0" indent="0">
              <a:buNone/>
              <a:defRPr sz="1428"/>
            </a:lvl2pPr>
            <a:lvl3pPr marL="0" indent="0">
              <a:buNone/>
              <a:defRPr sz="1428"/>
            </a:lvl3pPr>
            <a:lvl4pPr marL="0" indent="0">
              <a:buNone/>
              <a:defRPr sz="1428"/>
            </a:lvl4pPr>
            <a:lvl5pPr marL="0" indent="0">
              <a:buNone/>
              <a:defRPr sz="1428"/>
            </a:lvl5pPr>
          </a:lstStyle>
          <a:p>
            <a:pPr lvl="0"/>
            <a:r>
              <a:rPr lang="en-US" dirty="0"/>
              <a:t>Click to Edit Subtitle (optional)</a:t>
            </a:r>
          </a:p>
        </p:txBody>
      </p:sp>
      <p:sp>
        <p:nvSpPr>
          <p:cNvPr id="11" name="Content Placeholder 10"/>
          <p:cNvSpPr>
            <a:spLocks noGrp="1"/>
          </p:cNvSpPr>
          <p:nvPr>
            <p:ph sz="quarter" idx="12"/>
          </p:nvPr>
        </p:nvSpPr>
        <p:spPr>
          <a:xfrm>
            <a:off x="1243649" y="1865211"/>
            <a:ext cx="9949180" cy="3495644"/>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73333866"/>
      </p:ext>
    </p:extLst>
  </p:cSld>
  <p:clrMapOvr>
    <a:masterClrMapping/>
  </p:clrMapOvr>
  <p:transition spd="med">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le, Content and Tagl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32737" y="696214"/>
            <a:ext cx="10571004" cy="384205"/>
          </a:xfrm>
          <a:noFill/>
        </p:spPr>
        <p:txBody>
          <a:bodyPr vert="horz" lIns="0" tIns="0" rIns="0" bIns="0" rtlCol="0" anchor="t">
            <a:spAutoFit/>
          </a:bodyPr>
          <a:lstStyle>
            <a:lvl1pPr>
              <a:defRPr lang="en-US" dirty="0"/>
            </a:lvl1pPr>
          </a:lstStyle>
          <a:p>
            <a:pPr marL="0" lvl="0"/>
            <a:r>
              <a:rPr lang="en-US" dirty="0"/>
              <a:t>Click to Edit Master Title Style</a:t>
            </a:r>
          </a:p>
        </p:txBody>
      </p:sp>
      <p:sp>
        <p:nvSpPr>
          <p:cNvPr id="4" name="Content Placeholder 3"/>
          <p:cNvSpPr>
            <a:spLocks noGrp="1"/>
          </p:cNvSpPr>
          <p:nvPr>
            <p:ph sz="half" idx="2"/>
          </p:nvPr>
        </p:nvSpPr>
        <p:spPr>
          <a:xfrm>
            <a:off x="1243649" y="1865206"/>
            <a:ext cx="9949180" cy="3497263"/>
          </a:xfrm>
        </p:spPr>
        <p:txBody>
          <a:bodyPr/>
          <a:lstStyle>
            <a:lvl1pPr>
              <a:lnSpc>
                <a:spcPct val="100000"/>
              </a:lnSpc>
              <a:defRPr sz="2040"/>
            </a:lvl1pPr>
            <a:lvl2pPr>
              <a:lnSpc>
                <a:spcPct val="100000"/>
              </a:lnSpc>
              <a:defRPr sz="1836"/>
            </a:lvl2pPr>
            <a:lvl3pPr>
              <a:lnSpc>
                <a:spcPct val="100000"/>
              </a:lnSpc>
              <a:defRPr sz="1632"/>
            </a:lvl3pPr>
            <a:lvl4pPr>
              <a:defRPr sz="1428"/>
            </a:lvl4pPr>
            <a:lvl5pPr>
              <a:lnSpc>
                <a:spcPts val="1836"/>
              </a:lnSpc>
              <a:defRPr sz="1428"/>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p:txBody>
      </p:sp>
      <p:sp>
        <p:nvSpPr>
          <p:cNvPr id="7" name="Text Placeholder 6"/>
          <p:cNvSpPr>
            <a:spLocks noGrp="1"/>
          </p:cNvSpPr>
          <p:nvPr>
            <p:ph type="body" sz="quarter" idx="14" hasCustomPrompt="1"/>
          </p:nvPr>
        </p:nvSpPr>
        <p:spPr>
          <a:xfrm>
            <a:off x="932737" y="6300055"/>
            <a:ext cx="10571004" cy="219733"/>
          </a:xfrm>
        </p:spPr>
        <p:txBody>
          <a:bodyPr anchor="b">
            <a:spAutoFit/>
          </a:bodyPr>
          <a:lstStyle>
            <a:lvl1pPr marL="0" marR="0" indent="0" algn="r" defTabSz="466298" rtl="0" eaLnBrk="1" fontAlgn="auto" latinLnBrk="0" hangingPunct="1">
              <a:lnSpc>
                <a:spcPct val="100000"/>
              </a:lnSpc>
              <a:spcBef>
                <a:spcPts val="0"/>
              </a:spcBef>
              <a:spcAft>
                <a:spcPts val="0"/>
              </a:spcAft>
              <a:buClr>
                <a:schemeClr val="tx1">
                  <a:lumMod val="65000"/>
                </a:schemeClr>
              </a:buClr>
              <a:buSzPts val="1100"/>
              <a:buFont typeface="Arial"/>
              <a:buNone/>
              <a:tabLst/>
              <a:defRPr lang="en-US" sz="1428" b="0" i="1" kern="1200" baseline="0" dirty="0" smtClean="0">
                <a:solidFill>
                  <a:schemeClr val="tx2"/>
                </a:solidFill>
                <a:latin typeface="+mn-lt"/>
                <a:ea typeface="+mn-ea"/>
                <a:cs typeface="Arial"/>
              </a:defRPr>
            </a:lvl1pPr>
          </a:lstStyle>
          <a:p>
            <a:pPr lvl="0"/>
            <a:r>
              <a:rPr lang="en-US" dirty="0"/>
              <a:t>Click to Edit Tagline (optional)</a:t>
            </a:r>
          </a:p>
        </p:txBody>
      </p:sp>
    </p:spTree>
    <p:extLst>
      <p:ext uri="{BB962C8B-B14F-4D97-AF65-F5344CB8AC3E}">
        <p14:creationId xmlns:p14="http://schemas.microsoft.com/office/powerpoint/2010/main" val="1723215793"/>
      </p:ext>
    </p:extLst>
  </p:cSld>
  <p:clrMapOvr>
    <a:masterClrMapping/>
  </p:clrMapOvr>
  <p:transition spd="med">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Sub, Content and Taglline">
    <p:spTree>
      <p:nvGrpSpPr>
        <p:cNvPr id="1" name=""/>
        <p:cNvGrpSpPr/>
        <p:nvPr/>
      </p:nvGrpSpPr>
      <p:grpSpPr>
        <a:xfrm>
          <a:off x="0" y="0"/>
          <a:ext cx="0" cy="0"/>
          <a:chOff x="0" y="0"/>
          <a:chExt cx="0" cy="0"/>
        </a:xfrm>
      </p:grpSpPr>
      <p:sp>
        <p:nvSpPr>
          <p:cNvPr id="7" name="Title 1"/>
          <p:cNvSpPr>
            <a:spLocks noGrp="1"/>
          </p:cNvSpPr>
          <p:nvPr>
            <p:ph type="title"/>
          </p:nvPr>
        </p:nvSpPr>
        <p:spPr>
          <a:xfrm>
            <a:off x="932737" y="696215"/>
            <a:ext cx="10571004" cy="376684"/>
          </a:xfrm>
        </p:spPr>
        <p:txBody>
          <a:bodyPr/>
          <a:lstStyle>
            <a:lvl1pPr>
              <a:defRPr/>
            </a:lvl1pPr>
          </a:lstStyle>
          <a:p>
            <a:r>
              <a:rPr lang="en-US"/>
              <a:t>Click to edit Master title style</a:t>
            </a:r>
            <a:endParaRPr lang="en-US" dirty="0"/>
          </a:p>
        </p:txBody>
      </p:sp>
      <p:sp>
        <p:nvSpPr>
          <p:cNvPr id="9" name="Content Placeholder 21"/>
          <p:cNvSpPr>
            <a:spLocks noGrp="1"/>
          </p:cNvSpPr>
          <p:nvPr>
            <p:ph sz="quarter" idx="18"/>
          </p:nvPr>
        </p:nvSpPr>
        <p:spPr>
          <a:xfrm>
            <a:off x="1243649" y="1865206"/>
            <a:ext cx="9949180" cy="3497263"/>
          </a:xfrm>
        </p:spPr>
        <p:txBody>
          <a:bodyPr/>
          <a:lstStyle/>
          <a:p>
            <a:pPr lvl="0"/>
            <a:r>
              <a:rPr lang="en-US"/>
              <a:t>Click to edit Master text styles</a:t>
            </a:r>
          </a:p>
          <a:p>
            <a:pPr lvl="1"/>
            <a:r>
              <a:rPr lang="en-US"/>
              <a:t>Second level</a:t>
            </a:r>
          </a:p>
          <a:p>
            <a:pPr lvl="2"/>
            <a:r>
              <a:rPr lang="en-US"/>
              <a:t>Third level</a:t>
            </a:r>
          </a:p>
        </p:txBody>
      </p:sp>
      <p:sp>
        <p:nvSpPr>
          <p:cNvPr id="4" name="TextBox 3"/>
          <p:cNvSpPr txBox="1"/>
          <p:nvPr userDrawn="1"/>
        </p:nvSpPr>
        <p:spPr>
          <a:xfrm>
            <a:off x="12012550" y="1544767"/>
            <a:ext cx="1243649" cy="932603"/>
          </a:xfrm>
          <a:prstGeom prst="rect">
            <a:avLst/>
          </a:prstGeom>
          <a:noFill/>
          <a:effectLst/>
        </p:spPr>
        <p:txBody>
          <a:bodyPr wrap="none" lIns="0" tIns="0" rIns="0" bIns="0" rtlCol="0">
            <a:noAutofit/>
          </a:bodyPr>
          <a:lstStyle/>
          <a:p>
            <a:pPr algn="l" eaLnBrk="0" hangingPunct="0">
              <a:lnSpc>
                <a:spcPts val="1836"/>
              </a:lnSpc>
            </a:pPr>
            <a:endParaRPr lang="en-US" sz="1428" b="1" dirty="0">
              <a:ea typeface="+mn-ea"/>
              <a:cs typeface="+mn-cs"/>
            </a:endParaRPr>
          </a:p>
        </p:txBody>
      </p:sp>
      <p:sp>
        <p:nvSpPr>
          <p:cNvPr id="10" name="Text Placeholder 9"/>
          <p:cNvSpPr>
            <a:spLocks noGrp="1"/>
          </p:cNvSpPr>
          <p:nvPr>
            <p:ph type="body" sz="quarter" idx="16" hasCustomPrompt="1"/>
          </p:nvPr>
        </p:nvSpPr>
        <p:spPr>
          <a:xfrm>
            <a:off x="932737" y="1119152"/>
            <a:ext cx="10571004" cy="251123"/>
          </a:xfrm>
        </p:spPr>
        <p:txBody>
          <a:bodyPr vert="horz" lIns="0" tIns="0" rIns="0" bIns="0" rtlCol="0" anchor="t">
            <a:spAutoFit/>
          </a:bodyPr>
          <a:lstStyle>
            <a:lvl1pPr marL="0" indent="0" algn="l" defTabSz="466298" rtl="0" eaLnBrk="1" latinLnBrk="0" hangingPunct="1">
              <a:lnSpc>
                <a:spcPct val="100000"/>
              </a:lnSpc>
              <a:spcBef>
                <a:spcPct val="0"/>
              </a:spcBef>
              <a:spcAft>
                <a:spcPts val="0"/>
              </a:spcAft>
              <a:buNone/>
              <a:defRPr lang="en-US" sz="1632" b="1" kern="1200" dirty="0" smtClean="0">
                <a:solidFill>
                  <a:srgbClr val="94E6FF"/>
                </a:solidFill>
                <a:latin typeface="+mj-lt"/>
                <a:ea typeface="+mj-ea"/>
                <a:cs typeface="Arial"/>
              </a:defRPr>
            </a:lvl1pPr>
            <a:lvl2pPr algn="l" defTabSz="466298" rtl="0" eaLnBrk="1" latinLnBrk="0" hangingPunct="1">
              <a:lnSpc>
                <a:spcPct val="100000"/>
              </a:lnSpc>
              <a:spcBef>
                <a:spcPct val="0"/>
              </a:spcBef>
              <a:buNone/>
              <a:defRPr lang="en-US" sz="2448" b="1" kern="1200" dirty="0" smtClean="0">
                <a:solidFill>
                  <a:schemeClr val="tx1"/>
                </a:solidFill>
                <a:latin typeface="+mj-lt"/>
                <a:ea typeface="+mj-ea"/>
                <a:cs typeface="Arial"/>
              </a:defRPr>
            </a:lvl2pPr>
            <a:lvl3pPr algn="l" defTabSz="466298" rtl="0" eaLnBrk="1" latinLnBrk="0" hangingPunct="1">
              <a:lnSpc>
                <a:spcPct val="100000"/>
              </a:lnSpc>
              <a:spcBef>
                <a:spcPct val="0"/>
              </a:spcBef>
              <a:buNone/>
              <a:defRPr lang="en-US" sz="2448" b="1" kern="1200" dirty="0" smtClean="0">
                <a:solidFill>
                  <a:schemeClr val="tx1"/>
                </a:solidFill>
                <a:latin typeface="+mj-lt"/>
                <a:ea typeface="+mj-ea"/>
                <a:cs typeface="Arial"/>
              </a:defRPr>
            </a:lvl3pPr>
            <a:lvl4pPr algn="l" defTabSz="466298" rtl="0" eaLnBrk="1" latinLnBrk="0" hangingPunct="1">
              <a:lnSpc>
                <a:spcPct val="100000"/>
              </a:lnSpc>
              <a:spcBef>
                <a:spcPct val="0"/>
              </a:spcBef>
              <a:buNone/>
              <a:defRPr lang="en-US" sz="2448" b="1" kern="1200" dirty="0" smtClean="0">
                <a:solidFill>
                  <a:schemeClr val="tx1"/>
                </a:solidFill>
                <a:latin typeface="+mj-lt"/>
                <a:ea typeface="+mj-ea"/>
                <a:cs typeface="Arial"/>
              </a:defRPr>
            </a:lvl4pPr>
            <a:lvl5pPr algn="l" defTabSz="466298" rtl="0" eaLnBrk="1" latinLnBrk="0" hangingPunct="1">
              <a:lnSpc>
                <a:spcPct val="100000"/>
              </a:lnSpc>
              <a:spcBef>
                <a:spcPct val="0"/>
              </a:spcBef>
              <a:buNone/>
              <a:defRPr lang="en-US" sz="2448" b="1" kern="1200" dirty="0" smtClean="0">
                <a:solidFill>
                  <a:schemeClr val="tx1"/>
                </a:solidFill>
                <a:latin typeface="+mj-lt"/>
                <a:ea typeface="+mj-ea"/>
                <a:cs typeface="Arial"/>
              </a:defRPr>
            </a:lvl5pPr>
          </a:lstStyle>
          <a:p>
            <a:pPr lvl="0"/>
            <a:r>
              <a:rPr lang="en-US" dirty="0"/>
              <a:t>Click to Edit Subtitle (optional)</a:t>
            </a:r>
          </a:p>
        </p:txBody>
      </p:sp>
      <p:sp>
        <p:nvSpPr>
          <p:cNvPr id="6" name="TextBox 5"/>
          <p:cNvSpPr txBox="1"/>
          <p:nvPr userDrawn="1"/>
        </p:nvSpPr>
        <p:spPr>
          <a:xfrm>
            <a:off x="1299511" y="6476137"/>
            <a:ext cx="1243649" cy="932603"/>
          </a:xfrm>
          <a:prstGeom prst="rect">
            <a:avLst/>
          </a:prstGeom>
          <a:noFill/>
          <a:effectLst/>
        </p:spPr>
        <p:txBody>
          <a:bodyPr wrap="none" lIns="0" tIns="0" rIns="0" bIns="0" rtlCol="0">
            <a:noAutofit/>
          </a:bodyPr>
          <a:lstStyle/>
          <a:p>
            <a:pPr algn="l" eaLnBrk="0" hangingPunct="0">
              <a:lnSpc>
                <a:spcPts val="1836"/>
              </a:lnSpc>
            </a:pPr>
            <a:endParaRPr lang="en-US" sz="1428" b="1" dirty="0">
              <a:ea typeface="+mn-ea"/>
              <a:cs typeface="+mn-cs"/>
            </a:endParaRPr>
          </a:p>
        </p:txBody>
      </p:sp>
      <p:sp>
        <p:nvSpPr>
          <p:cNvPr id="12" name="Text Placeholder 25"/>
          <p:cNvSpPr>
            <a:spLocks noGrp="1"/>
          </p:cNvSpPr>
          <p:nvPr>
            <p:ph type="body" sz="quarter" idx="20" hasCustomPrompt="1"/>
          </p:nvPr>
        </p:nvSpPr>
        <p:spPr>
          <a:xfrm>
            <a:off x="932737" y="6308490"/>
            <a:ext cx="10571004" cy="219733"/>
          </a:xfrm>
        </p:spPr>
        <p:txBody>
          <a:bodyPr anchor="b">
            <a:spAutoFit/>
          </a:bodyPr>
          <a:lstStyle>
            <a:lvl1pPr marL="0" indent="0" algn="r">
              <a:spcBef>
                <a:spcPts val="0"/>
              </a:spcBef>
              <a:spcAft>
                <a:spcPts val="0"/>
              </a:spcAft>
              <a:buNone/>
              <a:defRPr sz="1428" b="0" i="1" baseline="0">
                <a:solidFill>
                  <a:schemeClr val="tx2"/>
                </a:solidFill>
              </a:defRPr>
            </a:lvl1pPr>
            <a:lvl2pPr marL="0" indent="0" algn="r">
              <a:buNone/>
              <a:defRPr sz="1632"/>
            </a:lvl2pPr>
            <a:lvl3pPr marL="0" indent="0" algn="r">
              <a:buNone/>
              <a:defRPr sz="1632"/>
            </a:lvl3pPr>
            <a:lvl4pPr marL="0" indent="0" algn="r">
              <a:buNone/>
              <a:defRPr sz="1632"/>
            </a:lvl4pPr>
            <a:lvl5pPr marL="0" indent="0" algn="r">
              <a:buNone/>
              <a:defRPr sz="1632"/>
            </a:lvl5pPr>
          </a:lstStyle>
          <a:p>
            <a:pPr lvl="0"/>
            <a:r>
              <a:rPr lang="en-US" dirty="0"/>
              <a:t>Click to Edit Tagline (optional)</a:t>
            </a:r>
          </a:p>
        </p:txBody>
      </p:sp>
    </p:spTree>
    <p:extLst>
      <p:ext uri="{BB962C8B-B14F-4D97-AF65-F5344CB8AC3E}">
        <p14:creationId xmlns:p14="http://schemas.microsoft.com/office/powerpoint/2010/main" val="4170509616"/>
      </p:ext>
    </p:extLst>
  </p:cSld>
  <p:clrMapOvr>
    <a:masterClrMapping/>
  </p:clrMapOvr>
  <p:transition spd="med">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682401390"/>
      </p:ext>
    </p:extLst>
  </p:cSld>
  <p:clrMapOvr>
    <a:masterClrMapping/>
  </p:clrMapOvr>
  <p:transition spd="med">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type="titleOnly" preserve="1">
  <p:cSld name="Title without Graphic (center justifi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ctr">
              <a:defRPr/>
            </a:lvl1pPr>
          </a:lstStyle>
          <a:p>
            <a:r>
              <a:rPr lang="en-US" dirty="0"/>
              <a:t>Click to Edit Master Title Style</a:t>
            </a:r>
          </a:p>
        </p:txBody>
      </p:sp>
    </p:spTree>
    <p:extLst>
      <p:ext uri="{BB962C8B-B14F-4D97-AF65-F5344CB8AC3E}">
        <p14:creationId xmlns:p14="http://schemas.microsoft.com/office/powerpoint/2010/main" val="1528752298"/>
      </p:ext>
    </p:extLst>
  </p:cSld>
  <p:clrMapOvr>
    <a:masterClrMapping/>
  </p:clrMapOvr>
  <p:transition spd="med">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3588406"/>
      </p:ext>
    </p:extLst>
  </p:cSld>
  <p:clrMapOvr>
    <a:masterClrMapping/>
  </p:clrMapOvr>
  <p:transition spd="med">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8" name="Rectangle 7"/>
          <p:cNvSpPr/>
          <p:nvPr/>
        </p:nvSpPr>
        <p:spPr bwMode="hidden">
          <a:xfrm>
            <a:off x="16" y="0"/>
            <a:ext cx="7461884" cy="6994525"/>
          </a:xfrm>
          <a:prstGeom prst="rect">
            <a:avLst/>
          </a:prstGeom>
          <a:gradFill flip="none" rotWithShape="1">
            <a:gsLst>
              <a:gs pos="0">
                <a:srgbClr val="053264"/>
              </a:gs>
              <a:gs pos="50000">
                <a:srgbClr val="053264">
                  <a:alpha val="0"/>
                </a:srgbClr>
              </a:gs>
            </a:gsLst>
            <a:lin ang="16200000" scaled="0"/>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3260" tIns="46630" rIns="93260" bIns="46630" numCol="1" rtlCol="0" anchor="ctr" anchorCtr="0" compatLnSpc="1">
            <a:prstTxWarp prst="textNoShape">
              <a:avLst/>
            </a:prstTxWarp>
          </a:bodyPr>
          <a:lstStyle/>
          <a:p>
            <a:pPr algn="ctr" eaLnBrk="0" fontAlgn="base" hangingPunct="0">
              <a:spcBef>
                <a:spcPct val="0"/>
              </a:spcBef>
              <a:spcAft>
                <a:spcPct val="0"/>
              </a:spcAft>
            </a:pPr>
            <a:endParaRPr lang="en-US" sz="1428" b="1" dirty="0">
              <a:solidFill>
                <a:srgbClr val="000000"/>
              </a:solidFill>
              <a:latin typeface="Arial" charset="0"/>
              <a:ea typeface="ＭＳ Ｐゴシック" pitchFamily="16" charset="-128"/>
              <a:cs typeface="ＭＳ Ｐゴシック" pitchFamily="-97" charset="-128"/>
            </a:endParaRPr>
          </a:p>
        </p:txBody>
      </p:sp>
      <p:sp>
        <p:nvSpPr>
          <p:cNvPr id="3" name="Text Placeholder 2"/>
          <p:cNvSpPr>
            <a:spLocks noGrp="1"/>
          </p:cNvSpPr>
          <p:nvPr>
            <p:ph type="body" idx="1" hasCustomPrompt="1"/>
          </p:nvPr>
        </p:nvSpPr>
        <p:spPr>
          <a:xfrm>
            <a:off x="1399104" y="3121673"/>
            <a:ext cx="5130046" cy="345294"/>
          </a:xfrm>
          <a:noFill/>
        </p:spPr>
        <p:txBody>
          <a:bodyPr wrap="square" anchor="t">
            <a:spAutoFit/>
          </a:bodyPr>
          <a:lstStyle>
            <a:lvl1pPr marL="0" indent="0" algn="l">
              <a:lnSpc>
                <a:spcPct val="100000"/>
              </a:lnSpc>
              <a:spcBef>
                <a:spcPts val="0"/>
              </a:spcBef>
              <a:spcAft>
                <a:spcPts val="0"/>
              </a:spcAft>
              <a:buNone/>
              <a:defRPr sz="2244" b="0">
                <a:solidFill>
                  <a:schemeClr val="accent4">
                    <a:lumMod val="20000"/>
                    <a:lumOff val="80000"/>
                  </a:schemeClr>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dirty="0"/>
              <a:t>Presenter(s)</a:t>
            </a:r>
          </a:p>
        </p:txBody>
      </p:sp>
      <p:sp>
        <p:nvSpPr>
          <p:cNvPr id="2" name="Title 1"/>
          <p:cNvSpPr>
            <a:spLocks noGrp="1"/>
          </p:cNvSpPr>
          <p:nvPr>
            <p:ph type="title" hasCustomPrompt="1"/>
          </p:nvPr>
        </p:nvSpPr>
        <p:spPr>
          <a:xfrm>
            <a:off x="1399103" y="1785766"/>
            <a:ext cx="5130046" cy="1192834"/>
          </a:xfrm>
        </p:spPr>
        <p:txBody>
          <a:bodyPr wrap="square" anchor="b">
            <a:spAutoFit/>
          </a:bodyPr>
          <a:lstStyle>
            <a:lvl1pPr algn="l" defTabSz="466298" rtl="0" eaLnBrk="1" latinLnBrk="0" hangingPunct="1">
              <a:lnSpc>
                <a:spcPct val="100000"/>
              </a:lnSpc>
              <a:spcBef>
                <a:spcPct val="0"/>
              </a:spcBef>
              <a:buNone/>
              <a:defRPr kumimoji="0" lang="en-US" sz="3876" b="1" i="0" kern="1200" cap="none" baseline="0">
                <a:solidFill>
                  <a:schemeClr val="tx1"/>
                </a:solidFill>
                <a:effectLst/>
                <a:latin typeface="+mj-lt"/>
                <a:ea typeface="+mj-ea"/>
                <a:cs typeface="Arial"/>
              </a:defRPr>
            </a:lvl1pPr>
          </a:lstStyle>
          <a:p>
            <a:r>
              <a:rPr kumimoji="0" lang="en-US" dirty="0"/>
              <a:t>Click to Edit </a:t>
            </a:r>
            <a:br>
              <a:rPr kumimoji="0" lang="en-US" dirty="0"/>
            </a:br>
            <a:r>
              <a:rPr kumimoji="0" lang="en-US" dirty="0"/>
              <a:t>Section Title</a:t>
            </a:r>
            <a:endParaRPr lang="en-US" dirty="0"/>
          </a:p>
        </p:txBody>
      </p:sp>
      <p:sp>
        <p:nvSpPr>
          <p:cNvPr id="10" name="Picture Placeholder 8"/>
          <p:cNvSpPr>
            <a:spLocks noGrp="1"/>
          </p:cNvSpPr>
          <p:nvPr>
            <p:ph type="pic" sz="quarter" idx="12" hasCustomPrompt="1"/>
          </p:nvPr>
        </p:nvSpPr>
        <p:spPr>
          <a:xfrm>
            <a:off x="7461885" y="0"/>
            <a:ext cx="4974590" cy="6994525"/>
          </a:xfrm>
          <a:prstGeom prst="rect">
            <a:avLst/>
          </a:prstGeom>
          <a:solidFill>
            <a:srgbClr val="FFFFFF"/>
          </a:solidFill>
          <a:ln>
            <a:noFill/>
          </a:ln>
        </p:spPr>
        <p:txBody>
          <a:bodyPr anchor="ctr"/>
          <a:lstStyle>
            <a:lvl1pPr marL="0" indent="0" algn="ctr">
              <a:buNone/>
              <a:defRPr sz="1836" baseline="0"/>
            </a:lvl1p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ysClr val="windowText" lastClr="000000"/>
                </a:solidFill>
                <a:effectLst/>
                <a:uLnTx/>
                <a:uFillTx/>
              </a:rPr>
              <a:t>Click icon to insert Picture</a:t>
            </a:r>
          </a:p>
        </p:txBody>
      </p:sp>
      <p:sp>
        <p:nvSpPr>
          <p:cNvPr id="9" name="Rectangle 7"/>
          <p:cNvSpPr/>
          <p:nvPr/>
        </p:nvSpPr>
        <p:spPr bwMode="ltGray">
          <a:xfrm>
            <a:off x="16" y="5678106"/>
            <a:ext cx="7461884" cy="1316447"/>
          </a:xfrm>
          <a:custGeom>
            <a:avLst/>
            <a:gdLst/>
            <a:ahLst/>
            <a:cxnLst/>
            <a:rect l="l" t="t" r="r" b="b"/>
            <a:pathLst>
              <a:path w="5486399" h="1290751">
                <a:moveTo>
                  <a:pt x="3575254" y="0"/>
                </a:moveTo>
                <a:cubicBezTo>
                  <a:pt x="4026607" y="0"/>
                  <a:pt x="4475289" y="11434"/>
                  <a:pt x="4921026" y="34029"/>
                </a:cubicBezTo>
                <a:lnTo>
                  <a:pt x="5486399" y="69857"/>
                </a:lnTo>
                <a:lnTo>
                  <a:pt x="5486399" y="1290751"/>
                </a:lnTo>
                <a:lnTo>
                  <a:pt x="0" y="1290751"/>
                </a:lnTo>
                <a:lnTo>
                  <a:pt x="0" y="242604"/>
                </a:lnTo>
                <a:lnTo>
                  <a:pt x="479973" y="181259"/>
                </a:lnTo>
                <a:cubicBezTo>
                  <a:pt x="1495074" y="61560"/>
                  <a:pt x="2527975" y="0"/>
                  <a:pt x="3575254" y="0"/>
                </a:cubicBezTo>
                <a:close/>
              </a:path>
            </a:pathLst>
          </a:custGeom>
          <a:solidFill>
            <a:schemeClr val="bg2">
              <a:lumMod val="60000"/>
              <a:lumOff val="40000"/>
              <a:alpha val="3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3260" tIns="46630" rIns="93260" bIns="46630" numCol="1" rtlCol="0" anchor="ctr" anchorCtr="0" compatLnSpc="1">
            <a:prstTxWarp prst="textNoShape">
              <a:avLst/>
            </a:prstTxWarp>
          </a:bodyPr>
          <a:lstStyle/>
          <a:p>
            <a:pPr lvl="0" algn="ctr" eaLnBrk="0" fontAlgn="base" hangingPunct="0">
              <a:spcBef>
                <a:spcPct val="0"/>
              </a:spcBef>
              <a:spcAft>
                <a:spcPct val="0"/>
              </a:spcAft>
            </a:pPr>
            <a:endParaRPr lang="en-US" sz="1428" b="1" dirty="0">
              <a:solidFill>
                <a:srgbClr val="000000"/>
              </a:solidFill>
              <a:latin typeface="Arial" charset="0"/>
              <a:ea typeface="ＭＳ Ｐゴシック" pitchFamily="16" charset="-128"/>
              <a:cs typeface="ＭＳ Ｐゴシック" pitchFamily="-97" charset="-128"/>
            </a:endParaRPr>
          </a:p>
        </p:txBody>
      </p:sp>
      <p:sp>
        <p:nvSpPr>
          <p:cNvPr id="11" name="Rectangle 12"/>
          <p:cNvSpPr/>
          <p:nvPr/>
        </p:nvSpPr>
        <p:spPr bwMode="ltGray">
          <a:xfrm>
            <a:off x="16" y="4287893"/>
            <a:ext cx="7461884" cy="2706632"/>
          </a:xfrm>
          <a:custGeom>
            <a:avLst/>
            <a:gdLst/>
            <a:ahLst/>
            <a:cxnLst/>
            <a:rect l="l" t="t" r="r" b="b"/>
            <a:pathLst>
              <a:path w="5486399" h="2653802">
                <a:moveTo>
                  <a:pt x="5486399" y="0"/>
                </a:moveTo>
                <a:lnTo>
                  <a:pt x="5486399" y="2653802"/>
                </a:lnTo>
                <a:lnTo>
                  <a:pt x="0" y="2653802"/>
                </a:lnTo>
                <a:lnTo>
                  <a:pt x="0" y="2535044"/>
                </a:lnTo>
                <a:lnTo>
                  <a:pt x="117766" y="2452473"/>
                </a:lnTo>
                <a:cubicBezTo>
                  <a:pt x="1606334" y="1444636"/>
                  <a:pt x="3236349" y="660919"/>
                  <a:pt x="4967974" y="144675"/>
                </a:cubicBezTo>
                <a:close/>
              </a:path>
            </a:pathLst>
          </a:custGeom>
          <a:solidFill>
            <a:srgbClr val="053264">
              <a:alpha val="30000"/>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3260" tIns="46630" rIns="93260" bIns="46630" numCol="1" rtlCol="0" anchor="ctr" anchorCtr="0" compatLnSpc="1">
            <a:prstTxWarp prst="textNoShape">
              <a:avLst/>
            </a:prstTxWarp>
          </a:bodyPr>
          <a:lstStyle/>
          <a:p>
            <a:pPr lvl="0" algn="ctr" eaLnBrk="0" fontAlgn="base" hangingPunct="0">
              <a:spcBef>
                <a:spcPct val="0"/>
              </a:spcBef>
              <a:spcAft>
                <a:spcPct val="0"/>
              </a:spcAft>
            </a:pPr>
            <a:endParaRPr lang="en-US" sz="1428" b="1" dirty="0">
              <a:solidFill>
                <a:srgbClr val="000000"/>
              </a:solidFill>
              <a:latin typeface="Arial" charset="0"/>
              <a:ea typeface="ＭＳ Ｐゴシック" pitchFamily="16" charset="-128"/>
              <a:cs typeface="ＭＳ Ｐゴシック" pitchFamily="-97" charset="-128"/>
            </a:endParaRPr>
          </a:p>
        </p:txBody>
      </p:sp>
    </p:spTree>
    <p:extLst>
      <p:ext uri="{BB962C8B-B14F-4D97-AF65-F5344CB8AC3E}">
        <p14:creationId xmlns:p14="http://schemas.microsoft.com/office/powerpoint/2010/main" val="1102724039"/>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001736"/>
        </a:solidFill>
        <a:effectLst/>
      </p:bgPr>
    </p:bg>
    <p:spTree>
      <p:nvGrpSpPr>
        <p:cNvPr id="1" name=""/>
        <p:cNvGrpSpPr/>
        <p:nvPr/>
      </p:nvGrpSpPr>
      <p:grpSpPr>
        <a:xfrm>
          <a:off x="0" y="0"/>
          <a:ext cx="0" cy="0"/>
          <a:chOff x="0" y="0"/>
          <a:chExt cx="0" cy="0"/>
        </a:xfrm>
      </p:grpSpPr>
      <p:sp>
        <p:nvSpPr>
          <p:cNvPr id="16" name="TextBox 15"/>
          <p:cNvSpPr txBox="1"/>
          <p:nvPr userDrawn="1"/>
        </p:nvSpPr>
        <p:spPr>
          <a:xfrm>
            <a:off x="-126083" y="-160338"/>
            <a:ext cx="12821320" cy="7497437"/>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lang="en-US" sz="2000" kern="1200" dirty="0">
                <a:gradFill>
                  <a:gsLst>
                    <a:gs pos="94340">
                      <a:schemeClr val="accent1">
                        <a:alpha val="25000"/>
                      </a:schemeClr>
                    </a:gs>
                    <a:gs pos="67000">
                      <a:schemeClr val="accent1">
                        <a:alpha val="25000"/>
                      </a:schemeClr>
                    </a:gs>
                  </a:gsLst>
                  <a:lin ang="5400000" scaled="0"/>
                </a:gradFill>
                <a:latin typeface="Segoe UI Light" panose="020B0502040204020203" pitchFamily="34" charset="0"/>
                <a:ea typeface="+mn-ea"/>
                <a:cs typeface="Segoe UI Light" panose="020B0502040204020203" pitchFamily="34" charset="0"/>
              </a:rPr>
              <a:t>10011100100101011100110101011000010101010000111000001001100011001001110010010101110011010101100001010101000011100000100110001100100111001001010111001101010110000101010100001110000010011000110010011100100101011100110101011000010101010000111000001001100011001001110010010101110011010101100001010101000011100000100110001100100111001001010111001101010110000101010100001110000010011000110010001110010011001010111011001101111011011000111010101110100011001001110010010101110011010101100000110100101101111011011100110000101110010011110010010000010110000101010100001110000010011000011101000111001001100001011011100111001101100110011011111001100011001001110010010101110111001001101101011000010111010001101001011011110110111001010111001101010110000101010100001110000010011000110010011100100101011100110101011000010101010000111000001001100011001001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45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100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010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10110</a:t>
            </a:r>
            <a:r>
              <a:rPr lang="en-US" sz="2000" kern="1200" dirty="0">
                <a:gradFill>
                  <a:gsLst>
                    <a:gs pos="94340">
                      <a:schemeClr val="accent1">
                        <a:alpha val="25000"/>
                      </a:schemeClr>
                    </a:gs>
                    <a:gs pos="67000">
                      <a:schemeClr val="accent1">
                        <a:alpha val="25000"/>
                      </a:schemeClr>
                    </a:gs>
                  </a:gsLst>
                  <a:lin ang="5400000" scaled="0"/>
                </a:gradFill>
                <a:latin typeface="Segoe UI Light" panose="020B0502040204020203" pitchFamily="34" charset="0"/>
                <a:ea typeface="+mn-ea"/>
                <a:cs typeface="Segoe UI Light" panose="020B0502040204020203" pitchFamily="34" charset="0"/>
              </a:rPr>
              <a:t>000010101010000111000001001100011001001110010010101110011010101100001010101000011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111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110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25000"/>
                      </a:schemeClr>
                    </a:gs>
                    <a:gs pos="67000">
                      <a:schemeClr val="accent1">
                        <a:alpha val="25000"/>
                      </a:schemeClr>
                    </a:gs>
                  </a:gsLst>
                  <a:lin ang="5400000" scaled="0"/>
                </a:gradFill>
                <a:latin typeface="Segoe UI Light" panose="020B0502040204020203" pitchFamily="34" charset="0"/>
                <a:ea typeface="+mn-ea"/>
                <a:cs typeface="Segoe UI Light" panose="020B0502040204020203" pitchFamily="34" charset="0"/>
              </a:rPr>
              <a:t>0010101110011010101100001010101000011100000100110001100100111001001010111001011100000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10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1010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100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a:t>
            </a:r>
            <a:r>
              <a:rPr lang="en-US" sz="2000" kern="1200" dirty="0">
                <a:noFill/>
                <a:latin typeface="Segoe UI Light" panose="020B0502040204020203" pitchFamily="34" charset="0"/>
                <a:ea typeface="+mn-ea"/>
                <a:cs typeface="Segoe UI Light" panose="020B0502040204020203" pitchFamily="34" charset="0"/>
              </a:rPr>
              <a:t>__</a:t>
            </a:r>
            <a:r>
              <a:rPr lang="en-US" sz="2000" kern="1200" dirty="0">
                <a:gradFill>
                  <a:gsLst>
                    <a:gs pos="94340">
                      <a:schemeClr val="accent1">
                        <a:alpha val="25000"/>
                      </a:schemeClr>
                    </a:gs>
                    <a:gs pos="67000">
                      <a:schemeClr val="accent1">
                        <a:alpha val="25000"/>
                      </a:schemeClr>
                    </a:gs>
                  </a:gsLst>
                  <a:lin ang="5400000" scaled="0"/>
                </a:gradFill>
                <a:latin typeface="Segoe UI Light" panose="020B0502040204020203" pitchFamily="34" charset="0"/>
                <a:ea typeface="+mn-ea"/>
                <a:cs typeface="Segoe UI Light" panose="020B0502040204020203" pitchFamily="34" charset="0"/>
              </a:rPr>
              <a:t>0110010011100100101011100110101011000010101010000111100001011000110111001110010010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10111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11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000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25000"/>
                      </a:schemeClr>
                    </a:gs>
                    <a:gs pos="67000">
                      <a:schemeClr val="accent1">
                        <a:alpha val="25000"/>
                      </a:schemeClr>
                    </a:gs>
                  </a:gsLst>
                  <a:lin ang="5400000" scaled="0"/>
                </a:gradFill>
                <a:latin typeface="Segoe UI Light" panose="020B0502040204020203" pitchFamily="34" charset="0"/>
                <a:ea typeface="+mn-ea"/>
                <a:cs typeface="Segoe UI Light" panose="020B0502040204020203" pitchFamily="34" charset="0"/>
              </a:rPr>
              <a:t>00011100000100110001100100111001000101011010000110110000101010100001110000010011000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100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1100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010000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25000"/>
                      </a:schemeClr>
                    </a:gs>
                    <a:gs pos="67000">
                      <a:schemeClr val="accent1">
                        <a:alpha val="25000"/>
                      </a:schemeClr>
                    </a:gs>
                  </a:gsLst>
                  <a:lin ang="5400000" scaled="0"/>
                </a:gradFill>
                <a:latin typeface="Segoe UI Light" panose="020B0502040204020203" pitchFamily="34" charset="0"/>
                <a:ea typeface="+mn-ea"/>
                <a:cs typeface="Segoe UI Light" panose="020B0502040204020203" pitchFamily="34" charset="0"/>
              </a:rPr>
              <a:t>1011000010111101101100011001001100011001001110010010101110011010101100001010101000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1010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100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000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25000"/>
                      </a:schemeClr>
                    </a:gs>
                    <a:gs pos="67000">
                      <a:schemeClr val="accent1">
                        <a:alpha val="25000"/>
                      </a:schemeClr>
                    </a:gs>
                  </a:gsLst>
                  <a:lin ang="5400000" scaled="0"/>
                </a:gradFill>
                <a:latin typeface="Segoe UI Light" panose="020B0502040204020203" pitchFamily="34" charset="0"/>
                <a:ea typeface="+mn-ea"/>
                <a:cs typeface="Segoe UI Light" panose="020B0502040204020203" pitchFamily="34" charset="0"/>
              </a:rPr>
              <a:t>0011100110101011000010101010000111000001001100011001001110010010101110011010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11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1001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01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111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25000"/>
                      </a:schemeClr>
                    </a:gs>
                    <a:gs pos="67000">
                      <a:schemeClr val="accent1">
                        <a:alpha val="25000"/>
                      </a:schemeClr>
                    </a:gs>
                  </a:gsLst>
                  <a:lin ang="5400000" scaled="0"/>
                </a:gradFill>
                <a:latin typeface="Segoe UI Light" panose="020B0502040204020203" pitchFamily="34" charset="0"/>
                <a:ea typeface="+mn-ea"/>
                <a:cs typeface="Segoe UI Light" panose="020B0502040204020203" pitchFamily="34" charset="0"/>
              </a:rPr>
              <a:t>01100100111001001010111001101010110000101010100001110000110010101111000011100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100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110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000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1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25000"/>
                      </a:schemeClr>
                    </a:gs>
                    <a:gs pos="67000">
                      <a:schemeClr val="accent1">
                        <a:alpha val="25000"/>
                      </a:schemeClr>
                    </a:gs>
                  </a:gsLst>
                  <a:lin ang="5400000" scaled="0"/>
                </a:gradFill>
                <a:latin typeface="Segoe UI Light" panose="020B0502040204020203" pitchFamily="34" charset="0"/>
                <a:ea typeface="+mn-ea"/>
                <a:cs typeface="Segoe UI Light" panose="020B0502040204020203" pitchFamily="34" charset="0"/>
              </a:rPr>
              <a:t>1110000010011000110010011100100101011100110100011000010101010000111000001001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100</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100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1111</a:t>
            </a:r>
            <a:r>
              <a:rPr lang="en-US" sz="2000" kern="1200" dirty="0">
                <a:noFill/>
                <a:latin typeface="Segoe UI Light" panose="020B0502040204020203" pitchFamily="34" charset="0"/>
                <a:ea typeface="+mn-ea"/>
                <a:cs typeface="Segoe UI Light" panose="020B0502040204020203" pitchFamily="34" charset="0"/>
              </a:rPr>
              <a:t>_</a:t>
            </a:r>
            <a:r>
              <a:rPr lang="en-US" sz="2000" kern="1200" dirty="0">
                <a:gradFill>
                  <a:gsLst>
                    <a:gs pos="94340">
                      <a:schemeClr val="accent1">
                        <a:alpha val="61000"/>
                      </a:schemeClr>
                    </a:gs>
                    <a:gs pos="67000">
                      <a:schemeClr val="accent1">
                        <a:alpha val="63000"/>
                      </a:schemeClr>
                    </a:gs>
                  </a:gsLst>
                  <a:lin ang="5400000" scaled="0"/>
                </a:gradFill>
                <a:latin typeface="Segoe UI Light" panose="020B0502040204020203" pitchFamily="34" charset="0"/>
                <a:ea typeface="+mn-ea"/>
                <a:cs typeface="Segoe UI Light" panose="020B0502040204020203" pitchFamily="34" charset="0"/>
              </a:rPr>
              <a:t>01101110</a:t>
            </a:r>
            <a:r>
              <a:rPr lang="en-US" sz="2000" kern="1200" dirty="0">
                <a:gradFill>
                  <a:gsLst>
                    <a:gs pos="94340">
                      <a:schemeClr val="accent1">
                        <a:alpha val="25000"/>
                      </a:schemeClr>
                    </a:gs>
                    <a:gs pos="67000">
                      <a:schemeClr val="accent1">
                        <a:alpha val="25000"/>
                      </a:schemeClr>
                    </a:gs>
                  </a:gsLst>
                  <a:lin ang="5400000" scaled="0"/>
                </a:gradFill>
                <a:latin typeface="Segoe UI Light" panose="020B0502040204020203" pitchFamily="34" charset="0"/>
                <a:ea typeface="+mn-ea"/>
                <a:cs typeface="Segoe UI Light" panose="020B0502040204020203" pitchFamily="34" charset="0"/>
              </a:rPr>
              <a:t>0101100001010101000011100000100110001100100111001001010111001101010110000101010100001110000010011000110010011100100101011100110101011000010101010000111000001001100011001001110010010101110011010101100001010101000011100000100110001100101110011010101100001010101000011100000100110001100100111001001010111001101010110000101010100001110000010011000110010011100100101011100110101011000010101010000111000001001100011001011100110101011000010101010000111000001001100011001001110010010101110011010101100001010101000011100000100110001100100111001001010111001101010110000101010100001110000010011000110011000011100001100101011110000111001001010111001101010110000101010100001110000010011000110010011100100101011100110100011000010101010000111000001001100011001001110010010101110011010101100001010101000011100000100110001100100111001001010111001101010110000101010100001110000010011000110010011100100101011100110101011000010101010000111000001001100011001001110010010101110011010101100001010101000011100000100110001100101110011010101100001010101000011100000100110001100100111001001010111001101010110000101010100001110000010011000110</a:t>
            </a:r>
          </a:p>
        </p:txBody>
      </p:sp>
      <p:pic>
        <p:nvPicPr>
          <p:cNvPr id="33" name="Picture 32" hidden="1"/>
          <p:cNvPicPr>
            <a:picLocks noChangeAspect="1"/>
          </p:cNvPicPr>
          <p:nvPr userDrawn="1"/>
        </p:nvPicPr>
        <p:blipFill>
          <a:blip r:embed="rId2" cstate="email">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a:ext>
            </a:extLst>
          </a:blip>
          <a:stretch>
            <a:fillRect/>
          </a:stretch>
        </p:blipFill>
        <p:spPr>
          <a:xfrm>
            <a:off x="7281115" y="604440"/>
            <a:ext cx="5046080" cy="4472661"/>
          </a:xfrm>
          <a:prstGeom prst="rect">
            <a:avLst/>
          </a:prstGeom>
        </p:spPr>
      </p:pic>
      <p:sp>
        <p:nvSpPr>
          <p:cNvPr id="12" name="Rectangle 11"/>
          <p:cNvSpPr/>
          <p:nvPr userDrawn="1"/>
        </p:nvSpPr>
        <p:spPr bwMode="auto">
          <a:xfrm rot="10800000">
            <a:off x="-9669" y="-11191"/>
            <a:ext cx="5718002" cy="4889415"/>
          </a:xfrm>
          <a:prstGeom prst="rect">
            <a:avLst/>
          </a:prstGeom>
          <a:gradFill flip="none" rotWithShape="1">
            <a:gsLst>
              <a:gs pos="100000">
                <a:srgbClr val="000000">
                  <a:alpha val="47000"/>
                </a:srgbClr>
              </a:gs>
              <a:gs pos="38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p:cNvPicPr>
            <a:picLocks noChangeAspect="1"/>
          </p:cNvPicPr>
          <p:nvPr userDrawn="1"/>
        </p:nvPicPr>
        <p:blipFill rotWithShape="1">
          <a:blip r:embed="rId4" cstate="email">
            <a:extLst>
              <a:ext uri="{BEBA8EAE-BF5A-486C-A8C5-ECC9F3942E4B}">
                <a14:imgProps xmlns:a14="http://schemas.microsoft.com/office/drawing/2010/main">
                  <a14:imgLayer r:embed="rId5">
                    <a14:imgEffect>
                      <a14:colorTemperature colorTemp="4700"/>
                    </a14:imgEffect>
                    <a14:imgEffect>
                      <a14:brightnessContrast contrast="20000"/>
                    </a14:imgEffect>
                  </a14:imgLayer>
                </a14:imgProps>
              </a:ext>
              <a:ext uri="{28A0092B-C50C-407E-A947-70E740481C1C}">
                <a14:useLocalDpi xmlns:a14="http://schemas.microsoft.com/office/drawing/2010/main"/>
              </a:ext>
            </a:extLst>
          </a:blip>
          <a:srcRect/>
          <a:stretch/>
        </p:blipFill>
        <p:spPr>
          <a:xfrm>
            <a:off x="8869968" y="1028409"/>
            <a:ext cx="3565624" cy="5966116"/>
          </a:xfrm>
          <a:prstGeom prst="rect">
            <a:avLst/>
          </a:prstGeom>
        </p:spPr>
      </p:pic>
      <p:sp>
        <p:nvSpPr>
          <p:cNvPr id="127" name="Rectangle 126"/>
          <p:cNvSpPr/>
          <p:nvPr userDrawn="1"/>
        </p:nvSpPr>
        <p:spPr bwMode="auto">
          <a:xfrm>
            <a:off x="3566506" y="1"/>
            <a:ext cx="8871245" cy="7004292"/>
          </a:xfrm>
          <a:prstGeom prst="rect">
            <a:avLst/>
          </a:prstGeom>
          <a:gradFill flip="none" rotWithShape="1">
            <a:gsLst>
              <a:gs pos="100000">
                <a:srgbClr val="000000">
                  <a:alpha val="70000"/>
                </a:srgbClr>
              </a:gs>
              <a:gs pos="100000">
                <a:srgbClr val="000000">
                  <a:alpha val="94000"/>
                </a:srgbClr>
              </a:gs>
              <a:gs pos="0">
                <a:srgbClr val="000000">
                  <a:alpha val="0"/>
                </a:srgbClr>
              </a:gs>
              <a:gs pos="69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Rectangle 127"/>
          <p:cNvSpPr/>
          <p:nvPr userDrawn="1"/>
        </p:nvSpPr>
        <p:spPr bwMode="auto">
          <a:xfrm rot="10800000">
            <a:off x="-15337" y="-11191"/>
            <a:ext cx="12451811" cy="7018742"/>
          </a:xfrm>
          <a:prstGeom prst="rect">
            <a:avLst/>
          </a:prstGeom>
          <a:gradFill flip="none" rotWithShape="1">
            <a:gsLst>
              <a:gs pos="76000">
                <a:srgbClr val="000000">
                  <a:alpha val="72000"/>
                </a:srgbClr>
              </a:gs>
              <a:gs pos="100000">
                <a:srgbClr val="000000">
                  <a:alpha val="90000"/>
                </a:srgbClr>
              </a:gs>
              <a:gs pos="0">
                <a:srgbClr val="000000">
                  <a:alpha val="0"/>
                </a:srgbClr>
              </a:gs>
              <a:gs pos="30000">
                <a:srgbClr val="000000">
                  <a:alpha val="0"/>
                </a:srgbClr>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20755">
                    <a:srgbClr val="000814"/>
                  </a:gs>
                  <a:gs pos="58000">
                    <a:srgbClr val="000814"/>
                  </a:gs>
                  <a:gs pos="100000">
                    <a:srgbClr val="FFFFFF"/>
                  </a:gs>
                </a:gsLst>
                <a:lin ang="5400000" scaled="0"/>
              </a:gradFill>
              <a:ea typeface="Segoe UI" pitchFamily="34" charset="0"/>
              <a:cs typeface="Segoe UI" pitchFamily="34" charset="0"/>
            </a:endParaRPr>
          </a:p>
        </p:txBody>
      </p:sp>
      <p:grpSp>
        <p:nvGrpSpPr>
          <p:cNvPr id="8" name="Group 7"/>
          <p:cNvGrpSpPr>
            <a:grpSpLocks noChangeAspect="1"/>
          </p:cNvGrpSpPr>
          <p:nvPr userDrawn="1"/>
        </p:nvGrpSpPr>
        <p:grpSpPr bwMode="white">
          <a:xfrm>
            <a:off x="468308" y="479425"/>
            <a:ext cx="1448129" cy="310896"/>
            <a:chOff x="457200" y="1643393"/>
            <a:chExt cx="4492753" cy="964540"/>
          </a:xfrm>
        </p:grpSpPr>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bwMode="white">
            <a:xfrm>
              <a:off x="457200" y="1643393"/>
              <a:ext cx="964540" cy="964540"/>
            </a:xfrm>
            <a:prstGeom prst="rect">
              <a:avLst/>
            </a:prstGeom>
          </p:spPr>
        </p:pic>
        <p:sp>
          <p:nvSpPr>
            <p:cNvPr id="11" name="Freeform 10"/>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9" name="Title 1"/>
          <p:cNvSpPr>
            <a:spLocks noGrp="1"/>
          </p:cNvSpPr>
          <p:nvPr>
            <p:ph type="title" hasCustomPrompt="1"/>
          </p:nvPr>
        </p:nvSpPr>
        <p:spPr bwMode="black">
          <a:xfrm>
            <a:off x="274702" y="199349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black">
          <a:xfrm>
            <a:off x="273050" y="3828783"/>
            <a:ext cx="6402388" cy="1381229"/>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165" name="Picture 164"/>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black">
          <a:xfrm>
            <a:off x="393192" y="5860991"/>
            <a:ext cx="3975899" cy="723895"/>
          </a:xfrm>
          <a:prstGeom prst="rect">
            <a:avLst/>
          </a:prstGeom>
        </p:spPr>
      </p:pic>
      <p:pic>
        <p:nvPicPr>
          <p:cNvPr id="35" name="Picture 34" hidden="1"/>
          <p:cNvPicPr>
            <a:picLocks noChangeAspect="1"/>
          </p:cNvPicPr>
          <p:nvPr userDrawn="1"/>
        </p:nvPicPr>
        <p:blipFill rotWithShape="1">
          <a:blip r:embed="rId8" cstate="email">
            <a:extLst>
              <a:ext uri="{BEBA8EAE-BF5A-486C-A8C5-ECC9F3942E4B}">
                <a14:imgProps xmlns:a14="http://schemas.microsoft.com/office/drawing/2010/main">
                  <a14:imgLayer r:embed="rId9">
                    <a14:imgEffect>
                      <a14:sharpenSoften amount="-17000"/>
                    </a14:imgEffect>
                  </a14:imgLayer>
                </a14:imgProps>
              </a:ext>
              <a:ext uri="{28A0092B-C50C-407E-A947-70E740481C1C}">
                <a14:useLocalDpi xmlns:a14="http://schemas.microsoft.com/office/drawing/2010/main"/>
              </a:ext>
            </a:extLst>
          </a:blip>
          <a:srcRect/>
          <a:stretch/>
        </p:blipFill>
        <p:spPr>
          <a:xfrm>
            <a:off x="2243328" y="-11194"/>
            <a:ext cx="8864220" cy="6434503"/>
          </a:xfrm>
          <a:prstGeom prst="rect">
            <a:avLst/>
          </a:prstGeom>
        </p:spPr>
      </p:pic>
    </p:spTree>
    <p:extLst>
      <p:ext uri="{BB962C8B-B14F-4D97-AF65-F5344CB8AC3E}">
        <p14:creationId xmlns:p14="http://schemas.microsoft.com/office/powerpoint/2010/main" val="3600405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Demo Title">
    <p:spTree>
      <p:nvGrpSpPr>
        <p:cNvPr id="1" name=""/>
        <p:cNvGrpSpPr/>
        <p:nvPr/>
      </p:nvGrpSpPr>
      <p:grpSpPr>
        <a:xfrm>
          <a:off x="0" y="0"/>
          <a:ext cx="0" cy="0"/>
          <a:chOff x="0" y="0"/>
          <a:chExt cx="0" cy="0"/>
        </a:xfrm>
      </p:grpSpPr>
      <p:sp>
        <p:nvSpPr>
          <p:cNvPr id="11" name="Rectangle 10"/>
          <p:cNvSpPr/>
          <p:nvPr/>
        </p:nvSpPr>
        <p:spPr bwMode="hidden">
          <a:xfrm>
            <a:off x="16" y="0"/>
            <a:ext cx="7461884" cy="6994525"/>
          </a:xfrm>
          <a:prstGeom prst="rect">
            <a:avLst/>
          </a:prstGeom>
          <a:gradFill flip="none" rotWithShape="1">
            <a:gsLst>
              <a:gs pos="0">
                <a:srgbClr val="053264"/>
              </a:gs>
              <a:gs pos="50000">
                <a:srgbClr val="053264">
                  <a:alpha val="0"/>
                </a:srgbClr>
              </a:gs>
            </a:gsLst>
            <a:lin ang="16200000" scaled="0"/>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3260" tIns="46630" rIns="93260" bIns="46630" numCol="1" rtlCol="0" anchor="ctr" anchorCtr="0" compatLnSpc="1">
            <a:prstTxWarp prst="textNoShape">
              <a:avLst/>
            </a:prstTxWarp>
          </a:bodyPr>
          <a:lstStyle/>
          <a:p>
            <a:pPr algn="ctr" eaLnBrk="0" fontAlgn="base" hangingPunct="0">
              <a:spcBef>
                <a:spcPct val="0"/>
              </a:spcBef>
              <a:spcAft>
                <a:spcPct val="0"/>
              </a:spcAft>
            </a:pPr>
            <a:endParaRPr lang="en-US" sz="1428" b="1" dirty="0">
              <a:solidFill>
                <a:srgbClr val="000000"/>
              </a:solidFill>
              <a:latin typeface="Arial" charset="0"/>
              <a:ea typeface="ＭＳ Ｐゴシック" pitchFamily="16" charset="-128"/>
              <a:cs typeface="ＭＳ Ｐゴシック" pitchFamily="-97" charset="-128"/>
            </a:endParaRPr>
          </a:p>
        </p:txBody>
      </p:sp>
      <p:sp>
        <p:nvSpPr>
          <p:cNvPr id="3" name="Text Placeholder 2"/>
          <p:cNvSpPr>
            <a:spLocks noGrp="1"/>
          </p:cNvSpPr>
          <p:nvPr>
            <p:ph type="body" idx="1" hasCustomPrompt="1"/>
          </p:nvPr>
        </p:nvSpPr>
        <p:spPr>
          <a:xfrm>
            <a:off x="1399104" y="3121673"/>
            <a:ext cx="5130046" cy="345294"/>
          </a:xfrm>
          <a:noFill/>
        </p:spPr>
        <p:txBody>
          <a:bodyPr wrap="square" anchor="t">
            <a:spAutoFit/>
          </a:bodyPr>
          <a:lstStyle>
            <a:lvl1pPr marL="0" indent="0" algn="l">
              <a:lnSpc>
                <a:spcPct val="100000"/>
              </a:lnSpc>
              <a:spcBef>
                <a:spcPts val="0"/>
              </a:spcBef>
              <a:spcAft>
                <a:spcPts val="0"/>
              </a:spcAft>
              <a:buNone/>
              <a:defRPr sz="2244" b="0">
                <a:solidFill>
                  <a:schemeClr val="accent4">
                    <a:lumMod val="20000"/>
                    <a:lumOff val="80000"/>
                  </a:schemeClr>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dirty="0"/>
              <a:t>Presenter(s)</a:t>
            </a:r>
          </a:p>
        </p:txBody>
      </p:sp>
      <p:sp>
        <p:nvSpPr>
          <p:cNvPr id="2" name="Title 1"/>
          <p:cNvSpPr>
            <a:spLocks noGrp="1"/>
          </p:cNvSpPr>
          <p:nvPr>
            <p:ph type="title" hasCustomPrompt="1"/>
          </p:nvPr>
        </p:nvSpPr>
        <p:spPr>
          <a:xfrm>
            <a:off x="1399103" y="1785766"/>
            <a:ext cx="5130046" cy="1192834"/>
          </a:xfrm>
        </p:spPr>
        <p:txBody>
          <a:bodyPr wrap="square" anchor="b">
            <a:spAutoFit/>
          </a:bodyPr>
          <a:lstStyle>
            <a:lvl1pPr algn="l" defTabSz="466298" rtl="0" eaLnBrk="1" latinLnBrk="0" hangingPunct="1">
              <a:lnSpc>
                <a:spcPct val="100000"/>
              </a:lnSpc>
              <a:spcBef>
                <a:spcPct val="0"/>
              </a:spcBef>
              <a:buNone/>
              <a:defRPr kumimoji="0" lang="en-US" sz="3876" b="1" i="0" kern="1200" cap="none" baseline="0">
                <a:solidFill>
                  <a:schemeClr val="tx1"/>
                </a:solidFill>
                <a:effectLst/>
                <a:latin typeface="+mj-lt"/>
                <a:ea typeface="+mj-ea"/>
                <a:cs typeface="Arial"/>
              </a:defRPr>
            </a:lvl1pPr>
          </a:lstStyle>
          <a:p>
            <a:r>
              <a:rPr kumimoji="0" lang="en-US" dirty="0"/>
              <a:t>Click to Edit </a:t>
            </a:r>
            <a:br>
              <a:rPr kumimoji="0" lang="en-US" dirty="0"/>
            </a:br>
            <a:r>
              <a:rPr kumimoji="0" lang="en-US" dirty="0"/>
              <a:t>Demo Title</a:t>
            </a:r>
            <a:endParaRPr lang="en-US" dirty="0"/>
          </a:p>
        </p:txBody>
      </p:sp>
      <p:sp>
        <p:nvSpPr>
          <p:cNvPr id="10" name="Picture Placeholder 8"/>
          <p:cNvSpPr>
            <a:spLocks noGrp="1"/>
          </p:cNvSpPr>
          <p:nvPr>
            <p:ph type="pic" sz="quarter" idx="12" hasCustomPrompt="1"/>
          </p:nvPr>
        </p:nvSpPr>
        <p:spPr>
          <a:xfrm>
            <a:off x="7461885" y="0"/>
            <a:ext cx="4974590" cy="6994525"/>
          </a:xfrm>
          <a:prstGeom prst="rect">
            <a:avLst/>
          </a:prstGeom>
          <a:solidFill>
            <a:srgbClr val="FFFFFF"/>
          </a:solidFill>
          <a:ln>
            <a:noFill/>
          </a:ln>
        </p:spPr>
        <p:txBody>
          <a:bodyPr anchor="ctr"/>
          <a:lstStyle>
            <a:lvl1pPr marL="0" indent="0" algn="ctr">
              <a:buNone/>
              <a:defRPr sz="1836" baseline="0"/>
            </a:lvl1p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ysClr val="windowText" lastClr="000000"/>
                </a:solidFill>
                <a:effectLst/>
                <a:uLnTx/>
                <a:uFillTx/>
              </a:rPr>
              <a:t>Click icon to insert Picture</a:t>
            </a:r>
          </a:p>
        </p:txBody>
      </p:sp>
      <p:sp>
        <p:nvSpPr>
          <p:cNvPr id="7" name="Text Placeholder 6"/>
          <p:cNvSpPr>
            <a:spLocks noGrp="1"/>
          </p:cNvSpPr>
          <p:nvPr>
            <p:ph type="body" sz="quarter" idx="13" hasCustomPrompt="1"/>
          </p:nvPr>
        </p:nvSpPr>
        <p:spPr bwMode="ltGray">
          <a:xfrm>
            <a:off x="-49033" y="466330"/>
            <a:ext cx="2201256" cy="464958"/>
          </a:xfrm>
          <a:solidFill>
            <a:schemeClr val="bg2"/>
          </a:solidFill>
          <a:ln w="12700">
            <a:solidFill>
              <a:srgbClr val="B9E0F7">
                <a:alpha val="50000"/>
              </a:srgbClr>
            </a:solidFill>
            <a:round/>
            <a:headEnd/>
            <a:tailEnd/>
          </a:ln>
        </p:spPr>
        <p:txBody>
          <a:bodyPr wrap="square" lIns="0" tIns="45720" rIns="182880" bIns="45720" anchor="ctr">
            <a:noAutofit/>
          </a:bodyPr>
          <a:lstStyle>
            <a:lvl1pPr marL="0" indent="0" algn="r">
              <a:lnSpc>
                <a:spcPct val="100000"/>
              </a:lnSpc>
              <a:spcBef>
                <a:spcPts val="0"/>
              </a:spcBef>
              <a:spcAft>
                <a:spcPts val="0"/>
              </a:spcAft>
              <a:buFontTx/>
              <a:buNone/>
              <a:tabLst/>
              <a:defRPr lang="en-US" sz="2040" b="0" smtClean="0">
                <a:solidFill>
                  <a:schemeClr val="accent4">
                    <a:lumMod val="20000"/>
                    <a:lumOff val="80000"/>
                  </a:schemeClr>
                </a:solidFill>
                <a:cs typeface="+mn-cs"/>
              </a:defRPr>
            </a:lvl1pPr>
            <a:lvl2pPr marL="0" indent="3730386" algn="l">
              <a:lnSpc>
                <a:spcPct val="100000"/>
              </a:lnSpc>
              <a:spcBef>
                <a:spcPts val="0"/>
              </a:spcBef>
              <a:spcAft>
                <a:spcPts val="0"/>
              </a:spcAft>
              <a:buFontTx/>
              <a:buNone/>
              <a:defRPr lang="en-US" sz="2040" b="0" smtClean="0">
                <a:solidFill>
                  <a:schemeClr val="tx2">
                    <a:lumMod val="20000"/>
                    <a:lumOff val="80000"/>
                  </a:schemeClr>
                </a:solidFill>
                <a:cs typeface="+mn-cs"/>
              </a:defRPr>
            </a:lvl2pPr>
            <a:lvl3pPr marL="3238" indent="0">
              <a:lnSpc>
                <a:spcPct val="100000"/>
              </a:lnSpc>
              <a:spcBef>
                <a:spcPts val="0"/>
              </a:spcBef>
              <a:spcAft>
                <a:spcPts val="0"/>
              </a:spcAft>
              <a:buFontTx/>
              <a:buNone/>
              <a:defRPr lang="en-US" sz="2040" b="0" smtClean="0">
                <a:solidFill>
                  <a:schemeClr val="tx2">
                    <a:lumMod val="20000"/>
                    <a:lumOff val="80000"/>
                  </a:schemeClr>
                </a:solidFill>
                <a:cs typeface="+mn-cs"/>
              </a:defRPr>
            </a:lvl3pPr>
            <a:lvl4pPr marL="0" indent="3730386" algn="l">
              <a:lnSpc>
                <a:spcPct val="100000"/>
              </a:lnSpc>
              <a:spcBef>
                <a:spcPts val="0"/>
              </a:spcBef>
              <a:spcAft>
                <a:spcPts val="0"/>
              </a:spcAft>
              <a:buFontTx/>
              <a:buNone/>
              <a:defRPr lang="en-US" sz="2040" b="0" smtClean="0">
                <a:solidFill>
                  <a:schemeClr val="tx2">
                    <a:lumMod val="20000"/>
                    <a:lumOff val="80000"/>
                  </a:schemeClr>
                </a:solidFill>
                <a:cs typeface="+mn-cs"/>
              </a:defRPr>
            </a:lvl4pPr>
            <a:lvl5pPr marL="0" indent="3730386" algn="l">
              <a:lnSpc>
                <a:spcPct val="100000"/>
              </a:lnSpc>
              <a:spcBef>
                <a:spcPts val="0"/>
              </a:spcBef>
              <a:spcAft>
                <a:spcPts val="0"/>
              </a:spcAft>
              <a:buFontTx/>
              <a:buNone/>
              <a:defRPr lang="en-US" sz="2040" b="0">
                <a:solidFill>
                  <a:schemeClr val="tx2">
                    <a:lumMod val="20000"/>
                    <a:lumOff val="80000"/>
                  </a:schemeClr>
                </a:solidFill>
                <a:cs typeface="+mn-cs"/>
              </a:defRPr>
            </a:lvl5pPr>
          </a:lstStyle>
          <a:p>
            <a:pPr marL="0" lvl="0" indent="0" eaLnBrk="0" hangingPunct="0"/>
            <a:r>
              <a:rPr lang="en-US" dirty="0"/>
              <a:t>Text</a:t>
            </a:r>
          </a:p>
        </p:txBody>
      </p:sp>
      <p:sp>
        <p:nvSpPr>
          <p:cNvPr id="8" name="Rectangle 7"/>
          <p:cNvSpPr/>
          <p:nvPr/>
        </p:nvSpPr>
        <p:spPr bwMode="gray">
          <a:xfrm>
            <a:off x="16" y="5678106"/>
            <a:ext cx="7461884" cy="1316447"/>
          </a:xfrm>
          <a:custGeom>
            <a:avLst/>
            <a:gdLst/>
            <a:ahLst/>
            <a:cxnLst/>
            <a:rect l="l" t="t" r="r" b="b"/>
            <a:pathLst>
              <a:path w="5486399" h="1290751">
                <a:moveTo>
                  <a:pt x="3575254" y="0"/>
                </a:moveTo>
                <a:cubicBezTo>
                  <a:pt x="4026607" y="0"/>
                  <a:pt x="4475289" y="11434"/>
                  <a:pt x="4921026" y="34029"/>
                </a:cubicBezTo>
                <a:lnTo>
                  <a:pt x="5486399" y="69857"/>
                </a:lnTo>
                <a:lnTo>
                  <a:pt x="5486399" y="1290751"/>
                </a:lnTo>
                <a:lnTo>
                  <a:pt x="0" y="1290751"/>
                </a:lnTo>
                <a:lnTo>
                  <a:pt x="0" y="242604"/>
                </a:lnTo>
                <a:lnTo>
                  <a:pt x="479973" y="181259"/>
                </a:lnTo>
                <a:cubicBezTo>
                  <a:pt x="1495074" y="61560"/>
                  <a:pt x="2527975" y="0"/>
                  <a:pt x="3575254" y="0"/>
                </a:cubicBezTo>
                <a:close/>
              </a:path>
            </a:pathLst>
          </a:custGeom>
          <a:solidFill>
            <a:schemeClr val="bg2">
              <a:lumMod val="60000"/>
              <a:lumOff val="40000"/>
              <a:alpha val="3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3260" tIns="46630" rIns="93260" bIns="46630" numCol="1" rtlCol="0" anchor="ctr" anchorCtr="0" compatLnSpc="1">
            <a:prstTxWarp prst="textNoShape">
              <a:avLst/>
            </a:prstTxWarp>
          </a:bodyPr>
          <a:lstStyle/>
          <a:p>
            <a:pPr lvl="0" algn="ctr" eaLnBrk="0" fontAlgn="base" hangingPunct="0">
              <a:spcBef>
                <a:spcPct val="0"/>
              </a:spcBef>
              <a:spcAft>
                <a:spcPct val="0"/>
              </a:spcAft>
            </a:pPr>
            <a:endParaRPr lang="en-US" sz="1428" b="1" dirty="0">
              <a:solidFill>
                <a:srgbClr val="000000"/>
              </a:solidFill>
              <a:latin typeface="Arial" charset="0"/>
              <a:ea typeface="ＭＳ Ｐゴシック" pitchFamily="16" charset="-128"/>
              <a:cs typeface="ＭＳ Ｐゴシック" pitchFamily="-97" charset="-128"/>
            </a:endParaRPr>
          </a:p>
        </p:txBody>
      </p:sp>
      <p:sp>
        <p:nvSpPr>
          <p:cNvPr id="13" name="Rectangle 12"/>
          <p:cNvSpPr/>
          <p:nvPr/>
        </p:nvSpPr>
        <p:spPr bwMode="gray">
          <a:xfrm>
            <a:off x="16" y="4287893"/>
            <a:ext cx="7461884" cy="2706632"/>
          </a:xfrm>
          <a:custGeom>
            <a:avLst/>
            <a:gdLst/>
            <a:ahLst/>
            <a:cxnLst/>
            <a:rect l="l" t="t" r="r" b="b"/>
            <a:pathLst>
              <a:path w="5486399" h="2653802">
                <a:moveTo>
                  <a:pt x="5486399" y="0"/>
                </a:moveTo>
                <a:lnTo>
                  <a:pt x="5486399" y="2653802"/>
                </a:lnTo>
                <a:lnTo>
                  <a:pt x="0" y="2653802"/>
                </a:lnTo>
                <a:lnTo>
                  <a:pt x="0" y="2535044"/>
                </a:lnTo>
                <a:lnTo>
                  <a:pt x="117766" y="2452473"/>
                </a:lnTo>
                <a:cubicBezTo>
                  <a:pt x="1606334" y="1444636"/>
                  <a:pt x="3236349" y="660919"/>
                  <a:pt x="4967974" y="144675"/>
                </a:cubicBezTo>
                <a:close/>
              </a:path>
            </a:pathLst>
          </a:custGeom>
          <a:solidFill>
            <a:srgbClr val="053264">
              <a:alpha val="30000"/>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3260" tIns="46630" rIns="93260" bIns="46630" numCol="1" rtlCol="0" anchor="ctr" anchorCtr="0" compatLnSpc="1">
            <a:prstTxWarp prst="textNoShape">
              <a:avLst/>
            </a:prstTxWarp>
          </a:bodyPr>
          <a:lstStyle/>
          <a:p>
            <a:pPr lvl="0" algn="ctr" eaLnBrk="0" fontAlgn="base" hangingPunct="0">
              <a:spcBef>
                <a:spcPct val="0"/>
              </a:spcBef>
              <a:spcAft>
                <a:spcPct val="0"/>
              </a:spcAft>
            </a:pPr>
            <a:endParaRPr lang="en-US" sz="1428" b="1" dirty="0">
              <a:solidFill>
                <a:srgbClr val="000000"/>
              </a:solidFill>
              <a:latin typeface="Arial" charset="0"/>
              <a:ea typeface="ＭＳ Ｐゴシック" pitchFamily="16" charset="-128"/>
              <a:cs typeface="ＭＳ Ｐゴシック" pitchFamily="-97" charset="-128"/>
            </a:endParaRPr>
          </a:p>
        </p:txBody>
      </p:sp>
    </p:spTree>
    <p:extLst>
      <p:ext uri="{BB962C8B-B14F-4D97-AF65-F5344CB8AC3E}">
        <p14:creationId xmlns:p14="http://schemas.microsoft.com/office/powerpoint/2010/main" val="3153240090"/>
      </p:ext>
    </p:extLst>
  </p:cSld>
  <p:clrMapOvr>
    <a:masterClrMapping/>
  </p:clrMapOvr>
  <p:transition spd="med">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type="titleOnly" preserve="1">
  <p:cSld name="Title Only_User Screens">
    <p:bg>
      <p:bgPr>
        <a:gradFill flip="none" rotWithShape="1">
          <a:gsLst>
            <a:gs pos="0">
              <a:srgbClr val="19461E"/>
            </a:gs>
            <a:gs pos="100000">
              <a:srgbClr val="19461E"/>
            </a:gs>
            <a:gs pos="40000">
              <a:srgbClr val="288135"/>
            </a:gs>
            <a:gs pos="60000">
              <a:srgbClr val="288135"/>
            </a:gs>
          </a:gsLst>
          <a:lin ang="16200000" scaled="0"/>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Click to Edit User Screens Title</a:t>
            </a:r>
          </a:p>
        </p:txBody>
      </p:sp>
    </p:spTree>
    <p:extLst>
      <p:ext uri="{BB962C8B-B14F-4D97-AF65-F5344CB8AC3E}">
        <p14:creationId xmlns:p14="http://schemas.microsoft.com/office/powerpoint/2010/main" val="193743880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BIG wo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30596" y="2030051"/>
            <a:ext cx="10575322" cy="1506738"/>
          </a:xfrm>
        </p:spPr>
        <p:txBody>
          <a:bodyPr anchor="b"/>
          <a:lstStyle>
            <a:lvl1pPr>
              <a:spcAft>
                <a:spcPts val="0"/>
              </a:spcAft>
              <a:defRPr sz="9791" baseline="0">
                <a:solidFill>
                  <a:schemeClr val="tx1"/>
                </a:solidFill>
              </a:defRPr>
            </a:lvl1pPr>
          </a:lstStyle>
          <a:p>
            <a:r>
              <a:rPr lang="en-US" dirty="0"/>
              <a:t>BIG Word</a:t>
            </a:r>
          </a:p>
        </p:txBody>
      </p:sp>
      <p:sp>
        <p:nvSpPr>
          <p:cNvPr id="4" name="Text Placeholder 3"/>
          <p:cNvSpPr>
            <a:spLocks noGrp="1"/>
          </p:cNvSpPr>
          <p:nvPr>
            <p:ph type="body" sz="quarter" idx="10" hasCustomPrompt="1"/>
          </p:nvPr>
        </p:nvSpPr>
        <p:spPr>
          <a:xfrm>
            <a:off x="930596" y="3536796"/>
            <a:ext cx="10575322" cy="627807"/>
          </a:xfrm>
          <a:noFill/>
        </p:spPr>
        <p:txBody>
          <a:bodyPr vert="horz" wrap="square" lIns="0" tIns="0" rIns="0" bIns="0" rtlCol="0" anchor="t">
            <a:spAutoFit/>
          </a:bodyPr>
          <a:lstStyle>
            <a:lvl1pPr marL="0" indent="0">
              <a:spcAft>
                <a:spcPts val="0"/>
              </a:spcAft>
              <a:buFontTx/>
              <a:buNone/>
              <a:defRPr lang="en-US" sz="4080" b="1" baseline="0" smtClean="0">
                <a:solidFill>
                  <a:schemeClr val="tx1">
                    <a:lumMod val="50000"/>
                    <a:lumOff val="50000"/>
                  </a:schemeClr>
                </a:solidFill>
                <a:latin typeface="+mj-lt"/>
                <a:ea typeface="+mj-ea"/>
              </a:defRPr>
            </a:lvl1pPr>
            <a:lvl2pPr>
              <a:defRPr lang="en-US" smtClean="0"/>
            </a:lvl2pPr>
            <a:lvl3pPr>
              <a:defRPr lang="en-US" smtClean="0"/>
            </a:lvl3pPr>
            <a:lvl4pPr>
              <a:defRPr lang="en-US" smtClean="0"/>
            </a:lvl4pPr>
            <a:lvl5pPr>
              <a:defRPr lang="en-US"/>
            </a:lvl5pPr>
          </a:lstStyle>
          <a:p>
            <a:pPr lvl="0">
              <a:spcBef>
                <a:spcPct val="0"/>
              </a:spcBef>
              <a:buNone/>
            </a:pPr>
            <a:r>
              <a:rPr lang="en-US" dirty="0"/>
              <a:t>Smaller word</a:t>
            </a:r>
          </a:p>
        </p:txBody>
      </p:sp>
    </p:spTree>
    <p:extLst>
      <p:ext uri="{BB962C8B-B14F-4D97-AF65-F5344CB8AC3E}">
        <p14:creationId xmlns:p14="http://schemas.microsoft.com/office/powerpoint/2010/main" val="1985591601"/>
      </p:ext>
    </p:extLst>
  </p:cSld>
  <p:clrMapOvr>
    <a:masterClrMapping/>
  </p:clrMapOvr>
  <p:transition spd="med">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30577" y="2677705"/>
            <a:ext cx="7461885" cy="470856"/>
          </a:xfrm>
        </p:spPr>
        <p:txBody>
          <a:bodyPr anchor="b"/>
          <a:lstStyle>
            <a:lvl1pPr>
              <a:spcAft>
                <a:spcPts val="0"/>
              </a:spcAft>
              <a:defRPr sz="3060" b="0" baseline="0">
                <a:solidFill>
                  <a:schemeClr val="tx1"/>
                </a:solidFill>
              </a:defRPr>
            </a:lvl1pPr>
          </a:lstStyle>
          <a:p>
            <a:r>
              <a:rPr lang="en-US" dirty="0"/>
              <a:t>“Quote”</a:t>
            </a:r>
          </a:p>
        </p:txBody>
      </p:sp>
      <p:sp>
        <p:nvSpPr>
          <p:cNvPr id="4" name="Text Placeholder 3"/>
          <p:cNvSpPr>
            <a:spLocks noGrp="1"/>
          </p:cNvSpPr>
          <p:nvPr>
            <p:ph type="body" sz="quarter" idx="10" hasCustomPrompt="1"/>
          </p:nvPr>
        </p:nvSpPr>
        <p:spPr>
          <a:xfrm>
            <a:off x="930577" y="3756520"/>
            <a:ext cx="7461885" cy="408075"/>
          </a:xfrm>
          <a:noFill/>
        </p:spPr>
        <p:txBody>
          <a:bodyPr vert="horz" wrap="square" lIns="0" tIns="0" rIns="0" bIns="0" rtlCol="0" anchor="t">
            <a:spAutoFit/>
          </a:bodyPr>
          <a:lstStyle>
            <a:lvl1pPr marL="0" indent="0" algn="r">
              <a:spcAft>
                <a:spcPts val="0"/>
              </a:spcAft>
              <a:buFontTx/>
              <a:buNone/>
              <a:defRPr lang="en-US" sz="2652" b="0" baseline="0" smtClean="0">
                <a:solidFill>
                  <a:schemeClr val="accent4">
                    <a:lumMod val="40000"/>
                    <a:lumOff val="60000"/>
                  </a:schemeClr>
                </a:solidFill>
                <a:latin typeface="+mj-lt"/>
                <a:ea typeface="+mj-ea"/>
              </a:defRPr>
            </a:lvl1pPr>
            <a:lvl2pPr>
              <a:defRPr lang="en-US" smtClean="0"/>
            </a:lvl2pPr>
            <a:lvl3pPr>
              <a:defRPr lang="en-US" smtClean="0"/>
            </a:lvl3pPr>
            <a:lvl4pPr>
              <a:defRPr lang="en-US" smtClean="0"/>
            </a:lvl4pPr>
            <a:lvl5pPr>
              <a:defRPr lang="en-US"/>
            </a:lvl5pPr>
          </a:lstStyle>
          <a:p>
            <a:pPr lvl="0">
              <a:spcBef>
                <a:spcPct val="0"/>
              </a:spcBef>
            </a:pPr>
            <a:r>
              <a:rPr lang="en-US" dirty="0"/>
              <a:t>Name</a:t>
            </a:r>
          </a:p>
        </p:txBody>
      </p:sp>
    </p:spTree>
    <p:extLst>
      <p:ext uri="{BB962C8B-B14F-4D97-AF65-F5344CB8AC3E}">
        <p14:creationId xmlns:p14="http://schemas.microsoft.com/office/powerpoint/2010/main" val="362247937"/>
      </p:ext>
    </p:extLst>
  </p:cSld>
  <p:clrMapOvr>
    <a:masterClrMapping/>
  </p:clrMapOvr>
  <p:transition spd="med">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section header—wh bar">
    <p:spTree>
      <p:nvGrpSpPr>
        <p:cNvPr id="1" name=""/>
        <p:cNvGrpSpPr/>
        <p:nvPr/>
      </p:nvGrpSpPr>
      <p:grpSpPr>
        <a:xfrm>
          <a:off x="0" y="0"/>
          <a:ext cx="0" cy="0"/>
          <a:chOff x="0" y="0"/>
          <a:chExt cx="0" cy="0"/>
        </a:xfrm>
      </p:grpSpPr>
      <p:sp>
        <p:nvSpPr>
          <p:cNvPr id="5" name="Rectangle 4"/>
          <p:cNvSpPr/>
          <p:nvPr/>
        </p:nvSpPr>
        <p:spPr bwMode="white">
          <a:xfrm>
            <a:off x="1" y="5830390"/>
            <a:ext cx="12436475" cy="1164135"/>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3260" tIns="46630" rIns="93260" bIns="46630" numCol="1" rtlCol="0" anchor="ctr" anchorCtr="0" compatLnSpc="1">
            <a:prstTxWarp prst="textNoShape">
              <a:avLst/>
            </a:prstTxWarp>
          </a:bodyPr>
          <a:lstStyle/>
          <a:p>
            <a:pPr algn="ctr" eaLnBrk="0" fontAlgn="base" hangingPunct="0">
              <a:spcBef>
                <a:spcPct val="0"/>
              </a:spcBef>
              <a:spcAft>
                <a:spcPct val="0"/>
              </a:spcAft>
            </a:pPr>
            <a:endParaRPr lang="en-US" sz="1428" b="1" dirty="0">
              <a:solidFill>
                <a:srgbClr val="000000"/>
              </a:solidFill>
              <a:latin typeface="Arial" charset="0"/>
              <a:ea typeface="ＭＳ Ｐゴシック" pitchFamily="16" charset="-128"/>
              <a:cs typeface="ＭＳ Ｐゴシック" pitchFamily="-97" charset="-128"/>
            </a:endParaRPr>
          </a:p>
        </p:txBody>
      </p:sp>
      <p:sp>
        <p:nvSpPr>
          <p:cNvPr id="6" name="Title Placeholder 1"/>
          <p:cNvSpPr>
            <a:spLocks noGrp="1"/>
          </p:cNvSpPr>
          <p:nvPr>
            <p:ph type="title" hasCustomPrompt="1"/>
          </p:nvPr>
        </p:nvSpPr>
        <p:spPr>
          <a:xfrm>
            <a:off x="932749" y="6161329"/>
            <a:ext cx="6213301" cy="466302"/>
          </a:xfrm>
          <a:prstGeom prst="rect">
            <a:avLst/>
          </a:prstGeom>
          <a:noFill/>
          <a:ln>
            <a:noFill/>
          </a:ln>
        </p:spPr>
        <p:txBody>
          <a:bodyPr vert="horz" lIns="0" tIns="0" rIns="0" bIns="0" rtlCol="0" anchor="ctr" anchorCtr="0">
            <a:noAutofit/>
          </a:bodyPr>
          <a:lstStyle>
            <a:lvl1pPr algn="r">
              <a:defRPr sz="2652" b="1" baseline="0">
                <a:solidFill>
                  <a:srgbClr val="404040"/>
                </a:solidFill>
              </a:defRPr>
            </a:lvl1pPr>
          </a:lstStyle>
          <a:p>
            <a:r>
              <a:rPr lang="en-US" dirty="0"/>
              <a:t>Section Heading</a:t>
            </a:r>
          </a:p>
        </p:txBody>
      </p:sp>
      <p:sp>
        <p:nvSpPr>
          <p:cNvPr id="7" name="Text Placeholder 6"/>
          <p:cNvSpPr>
            <a:spLocks noGrp="1"/>
          </p:cNvSpPr>
          <p:nvPr>
            <p:ph type="body" sz="quarter" idx="11" hasCustomPrompt="1"/>
          </p:nvPr>
        </p:nvSpPr>
        <p:spPr>
          <a:xfrm>
            <a:off x="7766260" y="6052146"/>
            <a:ext cx="4041854" cy="684668"/>
          </a:xfrm>
        </p:spPr>
        <p:txBody>
          <a:bodyPr anchor="ctr"/>
          <a:lstStyle>
            <a:lvl1pPr marL="0" indent="0">
              <a:lnSpc>
                <a:spcPct val="100000"/>
              </a:lnSpc>
              <a:spcBef>
                <a:spcPts val="0"/>
              </a:spcBef>
              <a:spcAft>
                <a:spcPts val="0"/>
              </a:spcAft>
              <a:buNone/>
              <a:defRPr sz="1836" b="0" baseline="0">
                <a:solidFill>
                  <a:srgbClr val="7F7F7F"/>
                </a:solidFill>
              </a:defRPr>
            </a:lvl1pPr>
          </a:lstStyle>
          <a:p>
            <a:pPr lvl="0"/>
            <a:r>
              <a:rPr lang="en-US" dirty="0"/>
              <a:t>Sub Heading/Description Goes Here (2 lines max)</a:t>
            </a:r>
          </a:p>
        </p:txBody>
      </p:sp>
      <p:cxnSp>
        <p:nvCxnSpPr>
          <p:cNvPr id="10" name="Straight Connector 9"/>
          <p:cNvCxnSpPr/>
          <p:nvPr/>
        </p:nvCxnSpPr>
        <p:spPr bwMode="auto">
          <a:xfrm>
            <a:off x="7461884" y="6179307"/>
            <a:ext cx="0" cy="466302"/>
          </a:xfrm>
          <a:prstGeom prst="line">
            <a:avLst/>
          </a:prstGeom>
          <a:noFill/>
          <a:ln w="3175" cap="flat" cmpd="sng" algn="ctr">
            <a:solidFill>
              <a:srgbClr val="7F7F7F"/>
            </a:solidFill>
            <a:prstDash val="solid"/>
            <a:round/>
            <a:headEnd type="none" w="med" len="med"/>
            <a:tailEnd type="none" w="med" len="med"/>
          </a:ln>
          <a:effectLst/>
        </p:spPr>
      </p:cxnSp>
    </p:spTree>
    <p:extLst>
      <p:ext uri="{BB962C8B-B14F-4D97-AF65-F5344CB8AC3E}">
        <p14:creationId xmlns:p14="http://schemas.microsoft.com/office/powerpoint/2010/main" val="2038668817"/>
      </p:ext>
    </p:extLst>
  </p:cSld>
  <p:clrMapOvr>
    <a:masterClrMapping/>
  </p:clrMapOvr>
  <p:transition spd="med">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small subject—wh bar">
    <p:spTree>
      <p:nvGrpSpPr>
        <p:cNvPr id="1" name=""/>
        <p:cNvGrpSpPr/>
        <p:nvPr/>
      </p:nvGrpSpPr>
      <p:grpSpPr>
        <a:xfrm>
          <a:off x="0" y="0"/>
          <a:ext cx="0" cy="0"/>
          <a:chOff x="0" y="0"/>
          <a:chExt cx="0" cy="0"/>
        </a:xfrm>
      </p:grpSpPr>
      <p:sp>
        <p:nvSpPr>
          <p:cNvPr id="5" name="Rectangle 4"/>
          <p:cNvSpPr/>
          <p:nvPr/>
        </p:nvSpPr>
        <p:spPr bwMode="white">
          <a:xfrm>
            <a:off x="1" y="6061922"/>
            <a:ext cx="12436475" cy="932603"/>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3260" tIns="46630" rIns="93260" bIns="46630" numCol="1" rtlCol="0" anchor="ctr" anchorCtr="0" compatLnSpc="1">
            <a:prstTxWarp prst="textNoShape">
              <a:avLst/>
            </a:prstTxWarp>
          </a:bodyPr>
          <a:lstStyle/>
          <a:p>
            <a:pPr algn="ctr" eaLnBrk="0" fontAlgn="base" hangingPunct="0">
              <a:spcBef>
                <a:spcPct val="0"/>
              </a:spcBef>
              <a:spcAft>
                <a:spcPct val="0"/>
              </a:spcAft>
            </a:pPr>
            <a:endParaRPr lang="en-US" sz="1428" b="1" dirty="0">
              <a:solidFill>
                <a:srgbClr val="000000"/>
              </a:solidFill>
              <a:latin typeface="Arial" charset="0"/>
              <a:ea typeface="ＭＳ Ｐゴシック" pitchFamily="16" charset="-128"/>
              <a:cs typeface="ＭＳ Ｐゴシック" pitchFamily="-97" charset="-128"/>
            </a:endParaRPr>
          </a:p>
        </p:txBody>
      </p:sp>
      <p:sp>
        <p:nvSpPr>
          <p:cNvPr id="6" name="Title Placeholder 1"/>
          <p:cNvSpPr>
            <a:spLocks noGrp="1"/>
          </p:cNvSpPr>
          <p:nvPr>
            <p:ph type="title" hasCustomPrompt="1"/>
          </p:nvPr>
        </p:nvSpPr>
        <p:spPr>
          <a:xfrm>
            <a:off x="932737" y="6310110"/>
            <a:ext cx="10571004" cy="219733"/>
          </a:xfrm>
          <a:prstGeom prst="rect">
            <a:avLst/>
          </a:prstGeom>
          <a:noFill/>
          <a:ln>
            <a:noFill/>
          </a:ln>
        </p:spPr>
        <p:txBody>
          <a:bodyPr vert="horz" lIns="0" tIns="0" rIns="0" bIns="0" rtlCol="0" anchor="b" anchorCtr="0">
            <a:spAutoFit/>
          </a:bodyPr>
          <a:lstStyle>
            <a:lvl1pPr>
              <a:defRPr sz="1428" b="0" baseline="0">
                <a:solidFill>
                  <a:srgbClr val="404040"/>
                </a:solidFill>
              </a:defRPr>
            </a:lvl1pPr>
          </a:lstStyle>
          <a:p>
            <a:r>
              <a:rPr lang="en-US" dirty="0"/>
              <a:t>Subject | Description (this line of text is the least important item on this slide)</a:t>
            </a:r>
          </a:p>
        </p:txBody>
      </p:sp>
    </p:spTree>
    <p:extLst>
      <p:ext uri="{BB962C8B-B14F-4D97-AF65-F5344CB8AC3E}">
        <p14:creationId xmlns:p14="http://schemas.microsoft.com/office/powerpoint/2010/main" val="3493688207"/>
      </p:ext>
    </p:extLst>
  </p:cSld>
  <p:clrMapOvr>
    <a:masterClrMapping/>
  </p:clrMapOvr>
  <p:transition spd="med">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small subject">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932737" y="6310110"/>
            <a:ext cx="10571004" cy="219733"/>
          </a:xfrm>
          <a:prstGeom prst="rect">
            <a:avLst/>
          </a:prstGeom>
          <a:noFill/>
          <a:ln>
            <a:noFill/>
          </a:ln>
        </p:spPr>
        <p:txBody>
          <a:bodyPr vert="horz" lIns="0" tIns="0" rIns="0" bIns="0" rtlCol="0" anchor="b" anchorCtr="0">
            <a:spAutoFit/>
          </a:bodyPr>
          <a:lstStyle>
            <a:lvl1pPr>
              <a:defRPr sz="1428" b="0" baseline="0">
                <a:solidFill>
                  <a:schemeClr val="tx1"/>
                </a:solidFill>
              </a:defRPr>
            </a:lvl1pPr>
          </a:lstStyle>
          <a:p>
            <a:r>
              <a:rPr lang="en-US" dirty="0"/>
              <a:t>Subject | Description (this line of text is the least important item on this slide)</a:t>
            </a:r>
          </a:p>
        </p:txBody>
      </p:sp>
    </p:spTree>
    <p:extLst>
      <p:ext uri="{BB962C8B-B14F-4D97-AF65-F5344CB8AC3E}">
        <p14:creationId xmlns:p14="http://schemas.microsoft.com/office/powerpoint/2010/main" val="4148977775"/>
      </p:ext>
    </p:extLst>
  </p:cSld>
  <p:clrMapOvr>
    <a:masterClrMapping/>
  </p:clrMapOvr>
  <p:transition spd="med">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type="blank" preserve="1">
  <p:cSld name="Esri">
    <p:bg bwMode="black">
      <p:bgPr>
        <a:gradFill flip="none" rotWithShape="1">
          <a:gsLst>
            <a:gs pos="0">
              <a:srgbClr val="00B9F2"/>
            </a:gs>
            <a:gs pos="90000">
              <a:srgbClr val="053264"/>
            </a:gs>
            <a:gs pos="30000">
              <a:srgbClr val="007AC2"/>
            </a:gs>
          </a:gsLst>
          <a:lin ang="16200000" scaled="0"/>
          <a:tileRect/>
        </a:gradFill>
        <a:effectLst/>
      </p:bgPr>
    </p:bg>
    <p:spTree>
      <p:nvGrpSpPr>
        <p:cNvPr id="1" name=""/>
        <p:cNvGrpSpPr/>
        <p:nvPr/>
      </p:nvGrpSpPr>
      <p:grpSpPr>
        <a:xfrm>
          <a:off x="0" y="0"/>
          <a:ext cx="0" cy="0"/>
          <a:chOff x="0" y="0"/>
          <a:chExt cx="0" cy="0"/>
        </a:xfrm>
      </p:grpSpPr>
      <p:pic>
        <p:nvPicPr>
          <p:cNvPr id="4" name="Picture 3" descr="esri-10GlobeLogo_TagLockup4Lg_sRGBRev.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072876" y="2249557"/>
            <a:ext cx="4290727" cy="2495419"/>
          </a:xfrm>
          <a:prstGeom prst="rect">
            <a:avLst/>
          </a:prstGeom>
        </p:spPr>
      </p:pic>
    </p:spTree>
    <p:extLst>
      <p:ext uri="{BB962C8B-B14F-4D97-AF65-F5344CB8AC3E}">
        <p14:creationId xmlns:p14="http://schemas.microsoft.com/office/powerpoint/2010/main" val="1996372054"/>
      </p:ext>
    </p:extLst>
  </p:cSld>
  <p:clrMapOvr>
    <a:masterClrMapping/>
  </p:clrMapOvr>
  <p:transition spd="med">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479" y="1456538"/>
            <a:ext cx="12459147" cy="5532748"/>
          </a:xfrm>
          <a:prstGeom prst="rect">
            <a:avLst/>
          </a:prstGeom>
        </p:spPr>
      </p:pic>
      <p:sp>
        <p:nvSpPr>
          <p:cNvPr id="200706" name="Rectangle 2"/>
          <p:cNvSpPr>
            <a:spLocks noGrp="1" noChangeArrowheads="1"/>
          </p:cNvSpPr>
          <p:nvPr userDrawn="1">
            <p:ph type="subTitle" idx="1" hasCustomPrompt="1"/>
          </p:nvPr>
        </p:nvSpPr>
        <p:spPr>
          <a:xfrm>
            <a:off x="-3112" y="5432243"/>
            <a:ext cx="12473382" cy="542399"/>
          </a:xfrm>
          <a:prstGeom prst="rect">
            <a:avLst/>
          </a:prstGeom>
          <a:solidFill>
            <a:schemeClr val="accent2">
              <a:alpha val="90000"/>
            </a:schemeClr>
          </a:solidFill>
        </p:spPr>
        <p:txBody>
          <a:bodyPr vert="horz" wrap="square" lIns="914400" tIns="18288" rIns="18288" bIns="228600" rtlCol="0">
            <a:spAutoFit/>
          </a:bodyPr>
          <a:lstStyle>
            <a:lvl1pPr>
              <a:buNone/>
              <a:defRPr lang="en-US" sz="2040" b="0" kern="1200" dirty="0">
                <a:solidFill>
                  <a:schemeClr val="accent2">
                    <a:lumMod val="20000"/>
                    <a:lumOff val="80000"/>
                  </a:schemeClr>
                </a:solidFill>
                <a:cs typeface="+mn-cs"/>
              </a:defRPr>
            </a:lvl1pPr>
          </a:lstStyle>
          <a:p>
            <a:pPr marL="0" lvl="0" indent="0" defTabSz="932597" latinLnBrk="0">
              <a:lnSpc>
                <a:spcPct val="90000"/>
              </a:lnSpc>
              <a:spcBef>
                <a:spcPts val="1020"/>
              </a:spcBef>
              <a:buClr>
                <a:schemeClr val="accent6">
                  <a:lumMod val="50000"/>
                </a:schemeClr>
              </a:buClr>
              <a:buFont typeface="Arial" panose="020B0604020202020204" pitchFamily="34" charset="0"/>
            </a:pPr>
            <a:r>
              <a:rPr lang="en-US" dirty="0"/>
              <a:t>Presenter Name</a:t>
            </a:r>
          </a:p>
        </p:txBody>
      </p:sp>
      <p:sp>
        <p:nvSpPr>
          <p:cNvPr id="2" name="Title 1"/>
          <p:cNvSpPr>
            <a:spLocks noGrp="1"/>
          </p:cNvSpPr>
          <p:nvPr userDrawn="1">
            <p:ph type="title"/>
          </p:nvPr>
        </p:nvSpPr>
        <p:spPr>
          <a:xfrm>
            <a:off x="-3112" y="4658713"/>
            <a:ext cx="12436475" cy="772202"/>
          </a:xfrm>
          <a:solidFill>
            <a:schemeClr val="accent2">
              <a:alpha val="90000"/>
            </a:schemeClr>
          </a:solidFill>
        </p:spPr>
        <p:txBody>
          <a:bodyPr vert="horz" wrap="square" lIns="914400" tIns="228600" rIns="18288" bIns="18288" rtlCol="0" anchor="b">
            <a:spAutoFit/>
          </a:bodyPr>
          <a:lstStyle>
            <a:lvl1pPr>
              <a:defRPr lang="en-US" sz="3672" kern="1200" dirty="0">
                <a:solidFill>
                  <a:schemeClr val="tx1"/>
                </a:solidFill>
                <a:latin typeface="+mn-lt"/>
                <a:ea typeface="+mn-ea"/>
                <a:cs typeface="+mn-cs"/>
              </a:defRPr>
            </a:lvl1pPr>
          </a:lstStyle>
          <a:p>
            <a:pPr marL="0" lvl="0" indent="0" defTabSz="932597" latinLnBrk="0">
              <a:spcBef>
                <a:spcPts val="1020"/>
              </a:spcBef>
              <a:buClr>
                <a:schemeClr val="accent6">
                  <a:lumMod val="50000"/>
                </a:schemeClr>
              </a:buClr>
              <a:buFont typeface="Arial" panose="020B0604020202020204" pitchFamily="34" charset="0"/>
              <a:buNone/>
            </a:pPr>
            <a:r>
              <a:rPr lang="en-US" dirty="0"/>
              <a:t>Click to edit Master title style</a:t>
            </a:r>
          </a:p>
        </p:txBody>
      </p:sp>
      <p:pic>
        <p:nvPicPr>
          <p:cNvPr id="22" name="Picture 2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352228"/>
            <a:ext cx="12433366" cy="642300"/>
          </a:xfrm>
          <a:prstGeom prst="rect">
            <a:avLst/>
          </a:prstGeom>
        </p:spPr>
      </p:pic>
      <p:grpSp>
        <p:nvGrpSpPr>
          <p:cNvPr id="32" name="Group 31"/>
          <p:cNvGrpSpPr/>
          <p:nvPr userDrawn="1"/>
        </p:nvGrpSpPr>
        <p:grpSpPr>
          <a:xfrm>
            <a:off x="2" y="-1"/>
            <a:ext cx="12436476" cy="1464119"/>
            <a:chOff x="0" y="-1"/>
            <a:chExt cx="12192001" cy="1435541"/>
          </a:xfrm>
        </p:grpSpPr>
        <p:pic>
          <p:nvPicPr>
            <p:cNvPr id="33" name="Picture 32"/>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1"/>
              <a:ext cx="12192001" cy="285751"/>
            </a:xfrm>
            <a:prstGeom prst="rect">
              <a:avLst/>
            </a:prstGeom>
          </p:spPr>
        </p:pic>
        <p:sp>
          <p:nvSpPr>
            <p:cNvPr id="34" name="Rectangle 33"/>
            <p:cNvSpPr/>
            <p:nvPr userDrawn="1"/>
          </p:nvSpPr>
          <p:spPr bwMode="auto">
            <a:xfrm>
              <a:off x="0" y="281493"/>
              <a:ext cx="12192000" cy="1154047"/>
            </a:xfrm>
            <a:prstGeom prst="rect">
              <a:avLst/>
            </a:prstGeom>
            <a:solidFill>
              <a:srgbClr val="191516"/>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32597" rtl="0" eaLnBrk="1" fontAlgn="base" latinLnBrk="0" hangingPunct="1">
                <a:lnSpc>
                  <a:spcPct val="100000"/>
                </a:lnSpc>
                <a:spcBef>
                  <a:spcPct val="0"/>
                </a:spcBef>
                <a:spcAft>
                  <a:spcPct val="0"/>
                </a:spcAft>
                <a:buClrTx/>
                <a:buSzTx/>
                <a:buFontTx/>
                <a:buNone/>
                <a:tabLst/>
              </a:pPr>
              <a:endParaRPr kumimoji="0" lang="en-US" sz="2448" b="0" i="0" u="none" strike="noStrike" cap="none" normalizeH="0" baseline="0" dirty="0">
                <a:ln>
                  <a:noFill/>
                </a:ln>
                <a:solidFill>
                  <a:schemeClr val="tx1"/>
                </a:solidFill>
                <a:effectLst/>
                <a:latin typeface="Times New Roman" pitchFamily="18" charset="0"/>
              </a:endParaRPr>
            </a:p>
          </p:txBody>
        </p:sp>
        <p:sp>
          <p:nvSpPr>
            <p:cNvPr id="35" name="Text Placeholder 24"/>
            <p:cNvSpPr txBox="1">
              <a:spLocks/>
            </p:cNvSpPr>
            <p:nvPr userDrawn="1"/>
          </p:nvSpPr>
          <p:spPr>
            <a:xfrm>
              <a:off x="8090130" y="759771"/>
              <a:ext cx="4056291" cy="197490"/>
            </a:xfrm>
            <a:prstGeom prst="rect">
              <a:avLst/>
            </a:prstGeom>
          </p:spPr>
          <p:txBody>
            <a:bodyPr vert="horz" wrap="square" lIns="91440" tIns="0" rIns="91440" bIns="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250" b="0" i="0" kern="1200" dirty="0" smtClean="0">
                  <a:solidFill>
                    <a:schemeClr val="bg1"/>
                  </a:solidFill>
                  <a:latin typeface="+mn-lt"/>
                  <a:ea typeface="+mn-ea"/>
                  <a:cs typeface="Arial"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600" kern="120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kern="120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a:spcBef>
                  <a:spcPts val="306"/>
                </a:spcBef>
                <a:spcAft>
                  <a:spcPts val="408"/>
                </a:spcAft>
                <a:buClr>
                  <a:schemeClr val="accent5">
                    <a:lumMod val="50000"/>
                  </a:schemeClr>
                </a:buClr>
                <a:buFont typeface="Webdings" pitchFamily="18" charset="2"/>
                <a:buNone/>
                <a:tabLst>
                  <a:tab pos="1045933" algn="l"/>
                </a:tabLst>
              </a:pPr>
              <a:r>
                <a:rPr lang="en-US" sz="1428" dirty="0"/>
                <a:t>WHEN E-SIGNATURES MATTER TO YOUR BUSINESS</a:t>
              </a:r>
              <a:r>
                <a:rPr lang="en-US" sz="1428" baseline="30000" dirty="0"/>
                <a:t>TM</a:t>
              </a:r>
            </a:p>
          </p:txBody>
        </p:sp>
      </p:grpSp>
      <p:sp>
        <p:nvSpPr>
          <p:cNvPr id="12" name="Date Placeholder 27"/>
          <p:cNvSpPr>
            <a:spLocks noGrp="1"/>
          </p:cNvSpPr>
          <p:nvPr>
            <p:ph type="dt" sz="half" idx="10"/>
          </p:nvPr>
        </p:nvSpPr>
        <p:spPr>
          <a:xfrm>
            <a:off x="880917" y="6611295"/>
            <a:ext cx="2176383" cy="207177"/>
          </a:xfrm>
          <a:prstGeom prst="rect">
            <a:avLst/>
          </a:prstGeom>
        </p:spPr>
        <p:txBody>
          <a:bodyPr vert="horz" lIns="91440" tIns="0" rIns="91440" bIns="45720" rtlCol="0" anchor="ctr">
            <a:spAutoFit/>
          </a:bodyPr>
          <a:lstStyle>
            <a:lvl1pPr algn="l">
              <a:defRPr lang="en-US" sz="1020" b="0" i="0" smtClean="0">
                <a:solidFill>
                  <a:schemeClr val="tx1"/>
                </a:solidFill>
                <a:latin typeface="+mn-lt"/>
                <a:cs typeface="Arial" pitchFamily="34" charset="0"/>
              </a:defRPr>
            </a:lvl1pPr>
          </a:lstStyle>
          <a:p>
            <a:pPr>
              <a:spcBef>
                <a:spcPts val="306"/>
              </a:spcBef>
              <a:spcAft>
                <a:spcPts val="408"/>
              </a:spcAft>
              <a:buClr>
                <a:schemeClr val="accent5">
                  <a:lumMod val="50000"/>
                </a:schemeClr>
              </a:buClr>
              <a:tabLst>
                <a:tab pos="1045933" algn="l"/>
              </a:tabLst>
            </a:pPr>
            <a:endParaRPr lang="en-US" dirty="0"/>
          </a:p>
        </p:txBody>
      </p:sp>
      <p:pic>
        <p:nvPicPr>
          <p:cNvPr id="3" name="Picture 2"/>
          <p:cNvPicPr>
            <a:picLocks noChangeAspect="1"/>
          </p:cNvPicPr>
          <p:nvPr userDrawn="1"/>
        </p:nvPicPr>
        <p:blipFill rotWithShape="1">
          <a:blip r:embed="rId5" cstate="email">
            <a:extLst>
              <a:ext uri="{28A0092B-C50C-407E-A947-70E740481C1C}">
                <a14:useLocalDpi xmlns:a14="http://schemas.microsoft.com/office/drawing/2010/main"/>
              </a:ext>
            </a:extLst>
          </a:blip>
          <a:srcRect r="3443"/>
          <a:stretch/>
        </p:blipFill>
        <p:spPr>
          <a:xfrm>
            <a:off x="5262012" y="285289"/>
            <a:ext cx="2687934" cy="1172679"/>
          </a:xfrm>
          <a:prstGeom prst="rect">
            <a:avLst/>
          </a:prstGeom>
        </p:spPr>
      </p:pic>
    </p:spTree>
    <p:extLst>
      <p:ext uri="{BB962C8B-B14F-4D97-AF65-F5344CB8AC3E}">
        <p14:creationId xmlns:p14="http://schemas.microsoft.com/office/powerpoint/2010/main" val="3663631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fld id="{F71C7896-8E11-4384-BFC5-C0974CDBC83D}" type="slidenum">
              <a:rPr lang="en-US"/>
              <a:pPr/>
              <a:t>‹#›</a:t>
            </a:fld>
            <a:endParaRPr lang="en-US" dirty="0"/>
          </a:p>
        </p:txBody>
      </p:sp>
      <p:sp>
        <p:nvSpPr>
          <p:cNvPr id="6" name="Text Placeholder 5"/>
          <p:cNvSpPr>
            <a:spLocks noGrp="1"/>
          </p:cNvSpPr>
          <p:nvPr>
            <p:ph type="body" sz="quarter" idx="11"/>
          </p:nvPr>
        </p:nvSpPr>
        <p:spPr>
          <a:xfrm>
            <a:off x="366121" y="1184406"/>
            <a:ext cx="11702723" cy="1747397"/>
          </a:xfrm>
        </p:spPr>
        <p:txBody>
          <a:bodyPr/>
          <a:lstStyle>
            <a:lvl1pPr marL="229911" indent="-229911">
              <a:buFont typeface="Arial" panose="020B0604020202020204" pitchFamily="34" charset="0"/>
              <a:buChar char="•"/>
              <a:defRPr>
                <a:latin typeface="+mn-lt"/>
              </a:defRPr>
            </a:lvl1pPr>
            <a:lvl2pPr marL="471156" indent="-229911">
              <a:defRPr>
                <a:latin typeface="+mn-lt"/>
              </a:defRPr>
            </a:lvl2pPr>
            <a:lvl3pPr marL="702686" indent="-239626">
              <a:defRPr>
                <a:latin typeface="+mn-lt"/>
              </a:defRPr>
            </a:lvl3pPr>
            <a:lvl4pPr marL="932597" indent="-229911">
              <a:defRPr>
                <a:latin typeface="+mn-lt"/>
              </a:defRPr>
            </a:lvl4pPr>
            <a:lvl5pPr marL="1162508" indent="-231531">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66124" y="256088"/>
            <a:ext cx="11702722" cy="564258"/>
          </a:xfrm>
        </p:spPr>
        <p:txBody>
          <a:bodyPr/>
          <a:lstStyle>
            <a:lvl1pPr>
              <a:defRPr>
                <a:latin typeface="+mj-lt"/>
              </a:defRPr>
            </a:lvl1pPr>
          </a:lstStyle>
          <a:p>
            <a:r>
              <a:rPr lang="en-US"/>
              <a:t>Click to edit Master title style</a:t>
            </a:r>
          </a:p>
        </p:txBody>
      </p:sp>
    </p:spTree>
    <p:extLst>
      <p:ext uri="{BB962C8B-B14F-4D97-AF65-F5344CB8AC3E}">
        <p14:creationId xmlns:p14="http://schemas.microsoft.com/office/powerpoint/2010/main" val="132976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2050"/>
        </a:solidFill>
        <a:effectLst/>
      </p:bgPr>
    </p:bg>
    <p:spTree>
      <p:nvGrpSpPr>
        <p:cNvPr id="1" name=""/>
        <p:cNvGrpSpPr/>
        <p:nvPr/>
      </p:nvGrpSpPr>
      <p:grpSpPr>
        <a:xfrm>
          <a:off x="0" y="0"/>
          <a:ext cx="0" cy="0"/>
          <a:chOff x="0" y="0"/>
          <a:chExt cx="0" cy="0"/>
        </a:xfrm>
      </p:grpSpPr>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grpSp>
      <p:sp>
        <p:nvSpPr>
          <p:cNvPr id="96" name="Title 1"/>
          <p:cNvSpPr>
            <a:spLocks noGrp="1"/>
          </p:cNvSpPr>
          <p:nvPr>
            <p:ph type="title" hasCustomPrompt="1"/>
          </p:nvPr>
        </p:nvSpPr>
        <p:spPr bwMode="auto">
          <a:xfrm>
            <a:off x="274702" y="1993498"/>
            <a:ext cx="6402388" cy="1828800"/>
          </a:xfrm>
          <a:noFill/>
        </p:spPr>
        <p:txBody>
          <a:bodyPr lIns="146304" tIns="91440" rIns="146304" bIns="91440" anchor="t" anchorCtr="0"/>
          <a:lstStyle>
            <a:lvl1pPr>
              <a:defRPr sz="5400" spc="-100" baseline="0">
                <a:gradFill>
                  <a:gsLst>
                    <a:gs pos="81132">
                      <a:schemeClr val="tx1"/>
                    </a:gs>
                    <a:gs pos="56000">
                      <a:schemeClr val="tx1"/>
                    </a:gs>
                  </a:gsLst>
                  <a:lin ang="5400000" scaled="0"/>
                </a:gradFill>
              </a:defRPr>
            </a:lvl1pPr>
          </a:lstStyle>
          <a:p>
            <a:r>
              <a:rPr lang="en-US" dirty="0"/>
              <a:t>Presentation title</a:t>
            </a:r>
          </a:p>
        </p:txBody>
      </p:sp>
      <p:sp>
        <p:nvSpPr>
          <p:cNvPr id="97" name="Text Placeholder 2"/>
          <p:cNvSpPr>
            <a:spLocks noGrp="1"/>
          </p:cNvSpPr>
          <p:nvPr>
            <p:ph type="body" sz="quarter" idx="14" hasCustomPrompt="1"/>
          </p:nvPr>
        </p:nvSpPr>
        <p:spPr bwMode="auto">
          <a:xfrm>
            <a:off x="273050" y="3828783"/>
            <a:ext cx="6402388" cy="1381229"/>
          </a:xfrm>
        </p:spPr>
        <p:txBody>
          <a:bodyPr tIns="109728" bIns="109728">
            <a:noAutofit/>
          </a:bodyPr>
          <a:lstStyle>
            <a:lvl1pPr marL="0" indent="0">
              <a:spcBef>
                <a:spcPts val="0"/>
              </a:spcBef>
              <a:buNone/>
              <a:defRPr sz="3200">
                <a:gradFill>
                  <a:gsLst>
                    <a:gs pos="81132">
                      <a:schemeClr val="tx1"/>
                    </a:gs>
                    <a:gs pos="56000">
                      <a:schemeClr val="tx1"/>
                    </a:gs>
                  </a:gsLst>
                  <a:lin ang="5400000" scaled="0"/>
                </a:gradFill>
              </a:defRPr>
            </a:lvl1pPr>
          </a:lstStyle>
          <a:p>
            <a:pPr lvl="0"/>
            <a:r>
              <a:rPr lang="en-US" dirty="0"/>
              <a:t>Speaker Name</a:t>
            </a:r>
          </a:p>
        </p:txBody>
      </p:sp>
    </p:spTree>
    <p:extLst>
      <p:ext uri="{BB962C8B-B14F-4D97-AF65-F5344CB8AC3E}">
        <p14:creationId xmlns:p14="http://schemas.microsoft.com/office/powerpoint/2010/main" val="40658531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95180" y="3924091"/>
            <a:ext cx="11646119" cy="1389190"/>
          </a:xfrm>
        </p:spPr>
        <p:txBody>
          <a:bodyPr lIns="0" tIns="45720" rIns="45720" bIns="45720" anchor="t"/>
          <a:lstStyle>
            <a:lvl1pPr algn="l">
              <a:defRPr sz="3672" b="0" cap="all">
                <a:solidFill>
                  <a:schemeClr val="accent6">
                    <a:lumMod val="50000"/>
                  </a:schemeClr>
                </a:solidFill>
                <a:latin typeface="+mj-lt"/>
              </a:defRPr>
            </a:lvl1pPr>
          </a:lstStyle>
          <a:p>
            <a:r>
              <a:rPr lang="en-US"/>
              <a:t>Click to edit Master title style</a:t>
            </a:r>
            <a:endParaRPr lang="en-US" dirty="0"/>
          </a:p>
        </p:txBody>
      </p:sp>
      <p:sp>
        <p:nvSpPr>
          <p:cNvPr id="3" name="Text Placeholder 2"/>
          <p:cNvSpPr>
            <a:spLocks noGrp="1"/>
          </p:cNvSpPr>
          <p:nvPr>
            <p:ph type="body" idx="1"/>
          </p:nvPr>
        </p:nvSpPr>
        <p:spPr>
          <a:xfrm>
            <a:off x="395180" y="3373943"/>
            <a:ext cx="11646119" cy="470856"/>
          </a:xfrm>
          <a:prstGeom prst="rect">
            <a:avLst/>
          </a:prstGeom>
        </p:spPr>
        <p:txBody>
          <a:bodyPr tIns="45720" rIns="45720" bIns="45720" anchor="b"/>
          <a:lstStyle>
            <a:lvl1pPr marL="0" indent="0">
              <a:buNone/>
              <a:defRPr sz="2448">
                <a:solidFill>
                  <a:schemeClr val="bg2">
                    <a:lumMod val="25000"/>
                  </a:schemeClr>
                </a:solidFill>
                <a:latin typeface="+mj-lt"/>
              </a:defRPr>
            </a:lvl1pPr>
            <a:lvl2pPr marL="466298" indent="0">
              <a:buNone/>
              <a:defRPr sz="1836"/>
            </a:lvl2pPr>
            <a:lvl3pPr marL="932597" indent="0">
              <a:buNone/>
              <a:defRPr sz="1632"/>
            </a:lvl3pPr>
            <a:lvl4pPr marL="1398895" indent="0">
              <a:buNone/>
              <a:defRPr sz="1428"/>
            </a:lvl4pPr>
            <a:lvl5pPr marL="1865193" indent="0">
              <a:buNone/>
              <a:defRPr sz="1428"/>
            </a:lvl5pPr>
            <a:lvl6pPr marL="2331491" indent="0">
              <a:buNone/>
              <a:defRPr sz="1428"/>
            </a:lvl6pPr>
            <a:lvl7pPr marL="2797790" indent="0">
              <a:buNone/>
              <a:defRPr sz="1428"/>
            </a:lvl7pPr>
            <a:lvl8pPr marL="3264088" indent="0">
              <a:buNone/>
              <a:defRPr sz="1428"/>
            </a:lvl8pPr>
            <a:lvl9pPr marL="3730386" indent="0">
              <a:buNone/>
              <a:defRPr sz="1428"/>
            </a:lvl9pPr>
          </a:lstStyle>
          <a:p>
            <a:pPr lvl="0"/>
            <a:r>
              <a:rPr lang="en-US"/>
              <a:t>Click to edit Master text styles</a:t>
            </a:r>
          </a:p>
        </p:txBody>
      </p:sp>
    </p:spTree>
    <p:extLst>
      <p:ext uri="{BB962C8B-B14F-4D97-AF65-F5344CB8AC3E}">
        <p14:creationId xmlns:p14="http://schemas.microsoft.com/office/powerpoint/2010/main" val="1260312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F8480F06-4623-41B7-AED8-91A86F546A2E}" type="slidenum">
              <a:rPr lang="en-US"/>
              <a:pPr/>
              <a:t>‹#›</a:t>
            </a:fld>
            <a:endParaRPr lang="en-US" dirty="0"/>
          </a:p>
        </p:txBody>
      </p:sp>
      <p:sp>
        <p:nvSpPr>
          <p:cNvPr id="4" name="Text Placeholder 3"/>
          <p:cNvSpPr>
            <a:spLocks noGrp="1"/>
          </p:cNvSpPr>
          <p:nvPr>
            <p:ph type="body" sz="quarter" idx="11"/>
          </p:nvPr>
        </p:nvSpPr>
        <p:spPr>
          <a:xfrm>
            <a:off x="362730" y="1184406"/>
            <a:ext cx="5720779" cy="1747397"/>
          </a:xfrm>
        </p:spPr>
        <p:txBody>
          <a:bodyPr/>
          <a:lstStyle>
            <a:lvl1pPr marL="229911" indent="-229911">
              <a:defRPr lang="en-US" sz="2040" dirty="0" smtClean="0">
                <a:solidFill>
                  <a:srgbClr val="1F6891"/>
                </a:solidFill>
                <a:latin typeface="+mn-lt"/>
                <a:ea typeface="+mn-ea"/>
                <a:cs typeface="Arial" pitchFamily="34" charset="0"/>
              </a:defRPr>
            </a:lvl1pPr>
            <a:lvl2pPr>
              <a:buClr>
                <a:srgbClr val="336699"/>
              </a:buClr>
              <a:defRPr>
                <a:latin typeface="+mn-lt"/>
              </a:defRPr>
            </a:lvl2pPr>
            <a:lvl3pPr>
              <a:buClr>
                <a:srgbClr val="336699"/>
              </a:buClr>
              <a:defRPr>
                <a:latin typeface="+mn-lt"/>
              </a:defRPr>
            </a:lvl3pPr>
            <a:lvl4pPr>
              <a:buClr>
                <a:srgbClr val="336699"/>
              </a:buClr>
              <a:defRPr>
                <a:latin typeface="+mn-lt"/>
              </a:defRPr>
            </a:lvl4pPr>
            <a:lvl5pPr marL="1162508" indent="-231531">
              <a:buClr>
                <a:srgbClr val="336699"/>
              </a:buClr>
              <a:defRPr>
                <a:latin typeface="+mn-lt"/>
              </a:defRPr>
            </a:lvl5pPr>
          </a:lstStyle>
          <a:p>
            <a:pPr lvl="0" algn="l" rtl="0" eaLnBrk="1" fontAlgn="base" hangingPunct="1">
              <a:lnSpc>
                <a:spcPct val="100000"/>
              </a:lnSpc>
              <a:spcBef>
                <a:spcPts val="306"/>
              </a:spcBef>
              <a:spcAft>
                <a:spcPts val="408"/>
              </a:spcAft>
              <a:buClr>
                <a:schemeClr val="accent5">
                  <a:lumMod val="50000"/>
                </a:schemeClr>
              </a:buCl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2"/>
          </p:nvPr>
        </p:nvSpPr>
        <p:spPr>
          <a:xfrm>
            <a:off x="6349576" y="1184406"/>
            <a:ext cx="5720779" cy="1741119"/>
          </a:xfrm>
        </p:spPr>
        <p:txBody>
          <a:bodyPr/>
          <a:lstStyle>
            <a:lvl1pPr>
              <a:defRPr lang="en-US" sz="2040" dirty="0" smtClean="0">
                <a:solidFill>
                  <a:srgbClr val="1F6891"/>
                </a:solidFill>
                <a:latin typeface="+mn-lt"/>
                <a:ea typeface="+mn-ea"/>
                <a:cs typeface="Arial" pitchFamily="34" charset="0"/>
              </a:defRPr>
            </a:lvl1pPr>
            <a:lvl2pPr>
              <a:buClr>
                <a:srgbClr val="336699"/>
              </a:buClr>
              <a:defRPr>
                <a:latin typeface="+mn-lt"/>
              </a:defRPr>
            </a:lvl2pPr>
            <a:lvl3pPr>
              <a:buClr>
                <a:srgbClr val="336699"/>
              </a:buClr>
              <a:defRPr>
                <a:latin typeface="+mn-lt"/>
              </a:defRPr>
            </a:lvl3pPr>
            <a:lvl4pPr>
              <a:buClr>
                <a:srgbClr val="336699"/>
              </a:buClr>
              <a:defRPr>
                <a:latin typeface="+mn-lt"/>
              </a:defRPr>
            </a:lvl4pPr>
            <a:lvl5pPr marL="1162508" indent="-231531">
              <a:buClr>
                <a:srgbClr val="336699"/>
              </a:buClr>
              <a:defRPr>
                <a:latin typeface="+mn-lt"/>
              </a:defRPr>
            </a:lvl5pPr>
          </a:lstStyle>
          <a:p>
            <a:pPr lvl="0" algn="l" rtl="0" eaLnBrk="1" fontAlgn="base" hangingPunct="1">
              <a:lnSpc>
                <a:spcPct val="100000"/>
              </a:lnSpc>
              <a:spcBef>
                <a:spcPts val="306"/>
              </a:spcBef>
              <a:spcAft>
                <a:spcPts val="408"/>
              </a:spcAft>
              <a:buClr>
                <a:schemeClr val="accent5">
                  <a:lumMod val="50000"/>
                </a:schemeClr>
              </a:buClr>
              <a:buFont typeface="Webdings" pitchFamily="18" charset="2"/>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latin typeface="+mj-lt"/>
              </a:defRPr>
            </a:lvl1pPr>
          </a:lstStyle>
          <a:p>
            <a:r>
              <a:rPr lang="en-US"/>
              <a:t>Click to edit Master title style</a:t>
            </a:r>
          </a:p>
        </p:txBody>
      </p:sp>
    </p:spTree>
    <p:extLst>
      <p:ext uri="{BB962C8B-B14F-4D97-AF65-F5344CB8AC3E}">
        <p14:creationId xmlns:p14="http://schemas.microsoft.com/office/powerpoint/2010/main" val="246610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6121" y="1215491"/>
            <a:ext cx="5720779" cy="389894"/>
          </a:xfrm>
          <a:prstGeom prst="rect">
            <a:avLst/>
          </a:prstGeom>
          <a:noFill/>
          <a:ln w="9525">
            <a:noFill/>
            <a:miter lim="800000"/>
            <a:headEnd/>
            <a:tailEnd/>
          </a:ln>
          <a:effectLst/>
        </p:spPr>
        <p:txBody>
          <a:bodyPr vert="horz" wrap="square" lIns="45720" tIns="18288" rIns="18288" bIns="18288" numCol="1" rtlCol="0" anchor="b" anchorCtr="0" compatLnSpc="1">
            <a:prstTxWarp prst="textNoShape">
              <a:avLst/>
            </a:prstTxWarp>
            <a:spAutoFit/>
          </a:bodyPr>
          <a:lstStyle>
            <a:lvl1pPr>
              <a:buNone/>
              <a:defRPr lang="en-US" sz="2244" smtClean="0">
                <a:solidFill>
                  <a:srgbClr val="336699"/>
                </a:solidFill>
                <a:latin typeface="+mj-lt"/>
              </a:defRPr>
            </a:lvl1pPr>
          </a:lstStyle>
          <a:p>
            <a:pPr marL="0" lvl="0" indent="0">
              <a:spcBef>
                <a:spcPts val="408"/>
              </a:spcBef>
            </a:pPr>
            <a:r>
              <a:rPr lang="en-US"/>
              <a:t>Click to edit Master text styles</a:t>
            </a:r>
          </a:p>
        </p:txBody>
      </p:sp>
      <p:sp>
        <p:nvSpPr>
          <p:cNvPr id="5" name="Text Placeholder 4"/>
          <p:cNvSpPr>
            <a:spLocks noGrp="1"/>
          </p:cNvSpPr>
          <p:nvPr>
            <p:ph type="body" sz="quarter" idx="3"/>
          </p:nvPr>
        </p:nvSpPr>
        <p:spPr>
          <a:xfrm>
            <a:off x="6349576" y="1215491"/>
            <a:ext cx="5720779" cy="389894"/>
          </a:xfrm>
          <a:prstGeom prst="rect">
            <a:avLst/>
          </a:prstGeom>
          <a:noFill/>
          <a:ln w="9525">
            <a:noFill/>
            <a:miter lim="800000"/>
            <a:headEnd/>
            <a:tailEnd/>
          </a:ln>
          <a:effectLst/>
        </p:spPr>
        <p:txBody>
          <a:bodyPr vert="horz" wrap="square" lIns="45720" tIns="18288" rIns="18288" bIns="18288" numCol="1" anchor="b" anchorCtr="0" compatLnSpc="1">
            <a:prstTxWarp prst="textNoShape">
              <a:avLst/>
            </a:prstTxWarp>
            <a:spAutoFit/>
          </a:bodyPr>
          <a:lstStyle>
            <a:lvl1pPr marL="0" indent="0">
              <a:buNone/>
              <a:defRPr lang="en-US" sz="2244" dirty="0" smtClean="0">
                <a:solidFill>
                  <a:srgbClr val="336699"/>
                </a:solidFill>
                <a:latin typeface="+mj-lt"/>
                <a:ea typeface="+mn-ea"/>
                <a:cs typeface="Arial" pitchFamily="34" charset="0"/>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marL="0" lvl="0" indent="0" algn="l" rtl="0" eaLnBrk="1" fontAlgn="base" hangingPunct="1">
              <a:lnSpc>
                <a:spcPct val="100000"/>
              </a:lnSpc>
              <a:spcBef>
                <a:spcPts val="408"/>
              </a:spcBef>
              <a:spcAft>
                <a:spcPts val="408"/>
              </a:spcAft>
              <a:buClr>
                <a:schemeClr val="accent5">
                  <a:lumMod val="50000"/>
                </a:schemeClr>
              </a:buClr>
              <a:buFont typeface="Webdings" pitchFamily="18" charset="2"/>
              <a:buNone/>
            </a:pPr>
            <a:r>
              <a:rPr lang="en-US"/>
              <a:t>Click to edit Master text styles</a:t>
            </a:r>
          </a:p>
        </p:txBody>
      </p:sp>
      <p:sp>
        <p:nvSpPr>
          <p:cNvPr id="7" name="Slide Number Placeholder 6"/>
          <p:cNvSpPr>
            <a:spLocks noGrp="1"/>
          </p:cNvSpPr>
          <p:nvPr>
            <p:ph type="sldNum" sz="quarter" idx="10"/>
          </p:nvPr>
        </p:nvSpPr>
        <p:spPr/>
        <p:txBody>
          <a:bodyPr/>
          <a:lstStyle>
            <a:lvl1pPr>
              <a:defRPr/>
            </a:lvl1pPr>
          </a:lstStyle>
          <a:p>
            <a:fld id="{83255CA8-44C3-4DC8-9820-DE998EF472CC}" type="slidenum">
              <a:rPr lang="en-US"/>
              <a:pPr/>
              <a:t>‹#›</a:t>
            </a:fld>
            <a:endParaRPr lang="en-US" dirty="0"/>
          </a:p>
        </p:txBody>
      </p:sp>
      <p:sp>
        <p:nvSpPr>
          <p:cNvPr id="4" name="Text Placeholder 3"/>
          <p:cNvSpPr>
            <a:spLocks noGrp="1"/>
          </p:cNvSpPr>
          <p:nvPr>
            <p:ph type="body" sz="quarter" idx="11"/>
          </p:nvPr>
        </p:nvSpPr>
        <p:spPr>
          <a:xfrm>
            <a:off x="375684" y="1709773"/>
            <a:ext cx="5720779" cy="1741119"/>
          </a:xfrm>
        </p:spPr>
        <p:txBody>
          <a:bodyPr/>
          <a:lstStyle>
            <a:lvl1pPr marL="229911" indent="-229911">
              <a:defRPr lang="en-US" sz="2040" kern="0" dirty="0" smtClean="0">
                <a:solidFill>
                  <a:srgbClr val="336699"/>
                </a:solidFill>
                <a:latin typeface="+mn-lt"/>
                <a:ea typeface="+mn-ea"/>
                <a:cs typeface="Arial" pitchFamily="34" charset="0"/>
              </a:defRPr>
            </a:lvl1pPr>
            <a:lvl2pPr marL="471156" indent="-229911">
              <a:buClr>
                <a:srgbClr val="336699"/>
              </a:buClr>
              <a:defRPr>
                <a:solidFill>
                  <a:schemeClr val="bg2">
                    <a:lumMod val="25000"/>
                  </a:schemeClr>
                </a:solidFill>
                <a:latin typeface="+mn-lt"/>
              </a:defRPr>
            </a:lvl2pPr>
            <a:lvl3pPr marL="702686" indent="-239626">
              <a:buClr>
                <a:srgbClr val="336699"/>
              </a:buClr>
              <a:defRPr>
                <a:solidFill>
                  <a:schemeClr val="bg2">
                    <a:lumMod val="25000"/>
                  </a:schemeClr>
                </a:solidFill>
                <a:latin typeface="+mn-lt"/>
              </a:defRPr>
            </a:lvl3pPr>
            <a:lvl4pPr marL="932597" indent="-229911">
              <a:buClr>
                <a:srgbClr val="336699"/>
              </a:buClr>
              <a:defRPr>
                <a:solidFill>
                  <a:schemeClr val="bg2">
                    <a:lumMod val="25000"/>
                  </a:schemeClr>
                </a:solidFill>
                <a:latin typeface="+mn-lt"/>
              </a:defRPr>
            </a:lvl4pPr>
            <a:lvl5pPr marL="1107458" indent="-231531">
              <a:buClr>
                <a:srgbClr val="336699"/>
              </a:buClr>
              <a:defRPr>
                <a:solidFill>
                  <a:schemeClr val="bg2">
                    <a:lumMod val="25000"/>
                  </a:schemeClr>
                </a:solidFill>
                <a:latin typeface="+mn-lt"/>
              </a:defRPr>
            </a:lvl5pPr>
          </a:lstStyle>
          <a:p>
            <a:pPr marL="229911" lvl="0" indent="-229911" algn="l" rtl="0" eaLnBrk="1" fontAlgn="base" hangingPunct="1">
              <a:lnSpc>
                <a:spcPct val="100000"/>
              </a:lnSpc>
              <a:spcBef>
                <a:spcPts val="306"/>
              </a:spcBef>
              <a:spcAft>
                <a:spcPts val="408"/>
              </a:spcAft>
              <a:buClr>
                <a:schemeClr val="accent5">
                  <a:lumMod val="50000"/>
                </a:schemeClr>
              </a:buClr>
              <a:buFont typeface="Arial" panose="020B0604020202020204" pitchFamily="34" charset="0"/>
              <a:buChar cha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2"/>
          </p:nvPr>
        </p:nvSpPr>
        <p:spPr>
          <a:xfrm>
            <a:off x="6349576" y="1709773"/>
            <a:ext cx="5720779" cy="1747397"/>
          </a:xfrm>
        </p:spPr>
        <p:txBody>
          <a:bodyPr/>
          <a:lstStyle>
            <a:lvl1pPr marL="229911" indent="-229911">
              <a:buFont typeface="Arial" panose="020B0604020202020204" pitchFamily="34" charset="0"/>
              <a:buChar char="•"/>
              <a:defRPr>
                <a:solidFill>
                  <a:srgbClr val="336699"/>
                </a:solidFill>
                <a:latin typeface="+mn-lt"/>
              </a:defRPr>
            </a:lvl1pPr>
            <a:lvl2pPr marL="754497" indent="-291436">
              <a:buClr>
                <a:srgbClr val="336699"/>
              </a:buClr>
              <a:buFont typeface="Arial" panose="020B0604020202020204" pitchFamily="34" charset="0"/>
              <a:buChar char="•"/>
              <a:defRPr lang="en-US" sz="1836" kern="0" dirty="0" smtClean="0">
                <a:solidFill>
                  <a:schemeClr val="bg2">
                    <a:lumMod val="25000"/>
                  </a:schemeClr>
                </a:solidFill>
                <a:latin typeface="+mn-lt"/>
                <a:ea typeface="+mn-ea"/>
                <a:cs typeface="Arial" pitchFamily="34" charset="0"/>
              </a:defRPr>
            </a:lvl2pPr>
            <a:lvl3pPr marL="471156" indent="-239626">
              <a:buClr>
                <a:srgbClr val="336699"/>
              </a:buClr>
              <a:buFont typeface="Arial" panose="020B0604020202020204" pitchFamily="34" charset="0"/>
              <a:buChar char="•"/>
              <a:defRPr lang="en-US" sz="1632" kern="0" dirty="0" smtClean="0">
                <a:solidFill>
                  <a:schemeClr val="bg2">
                    <a:lumMod val="25000"/>
                  </a:schemeClr>
                </a:solidFill>
                <a:latin typeface="+mn-lt"/>
                <a:ea typeface="+mn-ea"/>
                <a:cs typeface="Arial" pitchFamily="34" charset="0"/>
              </a:defRPr>
            </a:lvl3pPr>
            <a:lvl4pPr marL="994122" indent="-291436">
              <a:buClr>
                <a:srgbClr val="336699"/>
              </a:buClr>
              <a:buFont typeface="Arial" panose="020B0604020202020204" pitchFamily="34" charset="0"/>
              <a:buChar char="•"/>
              <a:defRPr lang="en-US" sz="1428" kern="0" dirty="0" smtClean="0">
                <a:solidFill>
                  <a:schemeClr val="bg2">
                    <a:lumMod val="25000"/>
                  </a:schemeClr>
                </a:solidFill>
                <a:latin typeface="+mn-lt"/>
                <a:ea typeface="+mn-ea"/>
                <a:cs typeface="Arial" pitchFamily="34" charset="0"/>
              </a:defRPr>
            </a:lvl4pPr>
            <a:lvl5pPr marL="1109077" indent="-174862">
              <a:buClr>
                <a:srgbClr val="336699"/>
              </a:buClr>
              <a:buFont typeface="Arial" panose="020B0604020202020204" pitchFamily="34" charset="0"/>
              <a:buChar char="•"/>
              <a:defRPr lang="en-US" sz="1224" kern="0" dirty="0">
                <a:solidFill>
                  <a:schemeClr val="bg2">
                    <a:lumMod val="25000"/>
                  </a:schemeClr>
                </a:solidFill>
                <a:latin typeface="+mn-lt"/>
                <a:ea typeface="+mn-ea"/>
                <a:cs typeface="Arial" pitchFamily="34" charset="0"/>
              </a:defRPr>
            </a:lvl5pPr>
          </a:lstStyle>
          <a:p>
            <a:pPr lvl="0"/>
            <a:r>
              <a:rPr lang="en-US" dirty="0"/>
              <a:t>Click to edit Master text styles</a:t>
            </a:r>
          </a:p>
          <a:p>
            <a:pPr marL="471156" lvl="1" indent="-229911" algn="l" rtl="0" eaLnBrk="1" fontAlgn="base" hangingPunct="1">
              <a:lnSpc>
                <a:spcPct val="100000"/>
              </a:lnSpc>
              <a:spcBef>
                <a:spcPts val="306"/>
              </a:spcBef>
              <a:spcAft>
                <a:spcPts val="408"/>
              </a:spcAft>
              <a:buClr>
                <a:srgbClr val="336699"/>
              </a:buClr>
              <a:buSzPct val="95000"/>
              <a:buFont typeface="Arial" panose="020B0604020202020204" pitchFamily="34" charset="0"/>
              <a:buChar char="•"/>
            </a:pPr>
            <a:r>
              <a:rPr lang="en-US" dirty="0"/>
              <a:t>Second level</a:t>
            </a:r>
          </a:p>
          <a:p>
            <a:pPr marL="702686" lvl="2" indent="-239626" algn="l" rtl="0" eaLnBrk="1" fontAlgn="base" hangingPunct="1">
              <a:lnSpc>
                <a:spcPct val="100000"/>
              </a:lnSpc>
              <a:spcBef>
                <a:spcPts val="306"/>
              </a:spcBef>
              <a:spcAft>
                <a:spcPts val="408"/>
              </a:spcAft>
              <a:buClr>
                <a:srgbClr val="336699"/>
              </a:buClr>
              <a:buSzPct val="80000"/>
              <a:buFont typeface="Arial" pitchFamily="34" charset="0"/>
              <a:buChar char="•"/>
            </a:pPr>
            <a:r>
              <a:rPr lang="en-US" dirty="0"/>
              <a:t>Third level</a:t>
            </a:r>
          </a:p>
          <a:p>
            <a:pPr marL="932597" lvl="3" indent="-229911" algn="l" rtl="0" eaLnBrk="1" fontAlgn="base" hangingPunct="1">
              <a:lnSpc>
                <a:spcPct val="100000"/>
              </a:lnSpc>
              <a:spcBef>
                <a:spcPts val="306"/>
              </a:spcBef>
              <a:spcAft>
                <a:spcPts val="408"/>
              </a:spcAft>
              <a:buClr>
                <a:srgbClr val="336699"/>
              </a:buClr>
              <a:buSzPct val="70000"/>
              <a:buFont typeface="Arial" pitchFamily="34" charset="0"/>
              <a:buChar char="•"/>
            </a:pPr>
            <a:r>
              <a:rPr lang="en-US" dirty="0"/>
              <a:t>Fourth level</a:t>
            </a:r>
          </a:p>
          <a:p>
            <a:pPr marL="1107458" lvl="4" indent="-231531" algn="l" rtl="0" eaLnBrk="1" fontAlgn="base" hangingPunct="1">
              <a:lnSpc>
                <a:spcPct val="100000"/>
              </a:lnSpc>
              <a:spcBef>
                <a:spcPts val="306"/>
              </a:spcBef>
              <a:spcAft>
                <a:spcPts val="408"/>
              </a:spcAft>
              <a:buClr>
                <a:srgbClr val="336699"/>
              </a:buClr>
              <a:buSzPct val="60000"/>
              <a:buFont typeface="Arial" pitchFamily="34" charset="0"/>
              <a:buChar char="•"/>
            </a:pPr>
            <a:r>
              <a:rPr lang="en-US" dirty="0"/>
              <a:t>Fifth level</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386177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E4F94C26-2A70-4961-AAB1-3557AEA8AC57}" type="slidenum">
              <a:rPr lang="en-US"/>
              <a:pPr/>
              <a:t>‹#›</a:t>
            </a:fld>
            <a:endParaRPr lang="en-US" dirty="0"/>
          </a:p>
        </p:txBody>
      </p:sp>
      <p:sp>
        <p:nvSpPr>
          <p:cNvPr id="4" name="Title 3"/>
          <p:cNvSpPr>
            <a:spLocks noGrp="1"/>
          </p:cNvSpPr>
          <p:nvPr>
            <p:ph type="title"/>
          </p:nvPr>
        </p:nvSpPr>
        <p:spPr/>
        <p:txBody>
          <a:bodyPr/>
          <a:lstStyle>
            <a:lvl1pPr>
              <a:defRPr>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2067420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9C87F15E-2A6C-4686-9A7F-9B81C9148D0D}" type="slidenum">
              <a:rPr lang="en-US"/>
              <a:pPr/>
              <a:t>‹#›</a:t>
            </a:fld>
            <a:endParaRPr lang="en-US" dirty="0"/>
          </a:p>
        </p:txBody>
      </p:sp>
    </p:spTree>
    <p:extLst>
      <p:ext uri="{BB962C8B-B14F-4D97-AF65-F5344CB8AC3E}">
        <p14:creationId xmlns:p14="http://schemas.microsoft.com/office/powerpoint/2010/main" val="92177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2pPr marL="699447" indent="-233149">
              <a:defRPr lang="en-US" sz="1836" kern="1200" dirty="0" smtClean="0">
                <a:solidFill>
                  <a:schemeClr val="tx1"/>
                </a:solidFill>
                <a:latin typeface="+mn-lt"/>
                <a:ea typeface="+mn-ea"/>
                <a:cs typeface="+mn-cs"/>
              </a:defRPr>
            </a:lvl2pPr>
          </a:lstStyle>
          <a:p>
            <a:pPr lvl="0"/>
            <a:r>
              <a:rPr lang="en-US" dirty="0"/>
              <a:t>Click to edit Master text styles</a:t>
            </a:r>
          </a:p>
          <a:p>
            <a:pPr marL="699447" lvl="1" indent="-233149" algn="l" defTabSz="932597" rtl="0" eaLnBrk="1" latinLnBrk="0" hangingPunct="1">
              <a:lnSpc>
                <a:spcPct val="90000"/>
              </a:lnSpc>
              <a:spcBef>
                <a:spcPts val="510"/>
              </a:spcBef>
              <a:buClr>
                <a:schemeClr val="accent1"/>
              </a:buClr>
              <a:buFont typeface="Arial" panose="020B0604020202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lvl1pPr algn="r">
              <a:defRPr/>
            </a:lvl1pPr>
          </a:lstStyle>
          <a:p>
            <a:fld id="{4F74D4F8-858E-4436-92AB-D17EB14436B3}" type="slidenum">
              <a:rPr lang="en-US" smtClean="0"/>
              <a:pPr/>
              <a:t>‹#›</a:t>
            </a:fld>
            <a:endParaRPr lang="en-US"/>
          </a:p>
        </p:txBody>
      </p:sp>
    </p:spTree>
    <p:extLst>
      <p:ext uri="{BB962C8B-B14F-4D97-AF65-F5344CB8AC3E}">
        <p14:creationId xmlns:p14="http://schemas.microsoft.com/office/powerpoint/2010/main" val="38602192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4717">
                      <a:schemeClr val="tx1"/>
                    </a:gs>
                    <a:gs pos="16981">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8092994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05625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011348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970196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8673353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25084408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82295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8229600"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071997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8229599" cy="1181862"/>
          </a:xfrm>
          <a:noFill/>
        </p:spPr>
        <p:txBody>
          <a:bodyPr wrap="square"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132937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9516112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337058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963343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42071083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598319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268604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170727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75128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7 Microsoft Corporation. All rights reserved. </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6"/>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493444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1336601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51C00694-6F2B-4C08-A3AE-B56C93C20224}" type="datetimeFigureOut">
              <a:rPr lang="en-US" smtClean="0"/>
              <a:t>1/1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D2638F-C939-474F-8A8A-BB94E8289FF0}" type="slidenum">
              <a:rPr lang="en-US" smtClean="0"/>
              <a:t>‹#›</a:t>
            </a:fld>
            <a:endParaRPr lang="en-US"/>
          </a:p>
        </p:txBody>
      </p:sp>
    </p:spTree>
    <p:extLst>
      <p:ext uri="{BB962C8B-B14F-4D97-AF65-F5344CB8AC3E}">
        <p14:creationId xmlns:p14="http://schemas.microsoft.com/office/powerpoint/2010/main" val="27672432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1C00694-6F2B-4C08-A3AE-B56C93C20224}" type="datetimeFigureOut">
              <a:rPr lang="en-US" smtClean="0"/>
              <a:t>1/1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D2638F-C939-474F-8A8A-BB94E8289FF0}" type="slidenum">
              <a:rPr lang="en-US" smtClean="0"/>
              <a:t>‹#›</a:t>
            </a:fld>
            <a:endParaRPr lang="en-US"/>
          </a:p>
        </p:txBody>
      </p:sp>
    </p:spTree>
    <p:extLst>
      <p:ext uri="{BB962C8B-B14F-4D97-AF65-F5344CB8AC3E}">
        <p14:creationId xmlns:p14="http://schemas.microsoft.com/office/powerpoint/2010/main" val="2746923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51C00694-6F2B-4C08-A3AE-B56C93C20224}" type="datetimeFigureOut">
              <a:rPr lang="en-US" smtClean="0"/>
              <a:t>1/1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D2638F-C939-474F-8A8A-BB94E8289FF0}" type="slidenum">
              <a:rPr lang="en-US" smtClean="0"/>
              <a:t>‹#›</a:t>
            </a:fld>
            <a:endParaRPr lang="en-US"/>
          </a:p>
        </p:txBody>
      </p:sp>
    </p:spTree>
    <p:extLst>
      <p:ext uri="{BB962C8B-B14F-4D97-AF65-F5344CB8AC3E}">
        <p14:creationId xmlns:p14="http://schemas.microsoft.com/office/powerpoint/2010/main" val="350758932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1C00694-6F2B-4C08-A3AE-B56C93C20224}" type="datetimeFigureOut">
              <a:rPr lang="en-US" smtClean="0"/>
              <a:t>1/19/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AD2638F-C939-474F-8A8A-BB94E8289FF0}" type="slidenum">
              <a:rPr lang="en-US" smtClean="0"/>
              <a:t>‹#›</a:t>
            </a:fld>
            <a:endParaRPr lang="en-US"/>
          </a:p>
        </p:txBody>
      </p:sp>
    </p:spTree>
    <p:extLst>
      <p:ext uri="{BB962C8B-B14F-4D97-AF65-F5344CB8AC3E}">
        <p14:creationId xmlns:p14="http://schemas.microsoft.com/office/powerpoint/2010/main" val="16715806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240436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1C00694-6F2B-4C08-A3AE-B56C93C20224}" type="datetimeFigureOut">
              <a:rPr lang="en-US" smtClean="0"/>
              <a:t>1/19/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AD2638F-C939-474F-8A8A-BB94E8289FF0}" type="slidenum">
              <a:rPr lang="en-US" smtClean="0"/>
              <a:t>‹#›</a:t>
            </a:fld>
            <a:endParaRPr lang="en-US"/>
          </a:p>
        </p:txBody>
      </p:sp>
    </p:spTree>
    <p:extLst>
      <p:ext uri="{BB962C8B-B14F-4D97-AF65-F5344CB8AC3E}">
        <p14:creationId xmlns:p14="http://schemas.microsoft.com/office/powerpoint/2010/main" val="212535470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1C00694-6F2B-4C08-A3AE-B56C93C20224}" type="datetimeFigureOut">
              <a:rPr lang="en-US" smtClean="0"/>
              <a:t>1/19/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AD2638F-C939-474F-8A8A-BB94E8289FF0}" type="slidenum">
              <a:rPr lang="en-US" smtClean="0"/>
              <a:t>‹#›</a:t>
            </a:fld>
            <a:endParaRPr lang="en-US"/>
          </a:p>
        </p:txBody>
      </p:sp>
    </p:spTree>
    <p:extLst>
      <p:ext uri="{BB962C8B-B14F-4D97-AF65-F5344CB8AC3E}">
        <p14:creationId xmlns:p14="http://schemas.microsoft.com/office/powerpoint/2010/main" val="130514005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1C00694-6F2B-4C08-A3AE-B56C93C20224}" type="datetimeFigureOut">
              <a:rPr lang="en-US" smtClean="0"/>
              <a:t>1/19/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AD2638F-C939-474F-8A8A-BB94E8289FF0}" type="slidenum">
              <a:rPr lang="en-US" smtClean="0"/>
              <a:t>‹#›</a:t>
            </a:fld>
            <a:endParaRPr lang="en-US"/>
          </a:p>
        </p:txBody>
      </p:sp>
    </p:spTree>
    <p:extLst>
      <p:ext uri="{BB962C8B-B14F-4D97-AF65-F5344CB8AC3E}">
        <p14:creationId xmlns:p14="http://schemas.microsoft.com/office/powerpoint/2010/main" val="38622827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51C00694-6F2B-4C08-A3AE-B56C93C20224}" type="datetimeFigureOut">
              <a:rPr lang="en-US" smtClean="0"/>
              <a:t>1/19/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AD2638F-C939-474F-8A8A-BB94E8289FF0}" type="slidenum">
              <a:rPr lang="en-US" smtClean="0"/>
              <a:t>‹#›</a:t>
            </a:fld>
            <a:endParaRPr lang="en-US"/>
          </a:p>
        </p:txBody>
      </p:sp>
    </p:spTree>
    <p:extLst>
      <p:ext uri="{BB962C8B-B14F-4D97-AF65-F5344CB8AC3E}">
        <p14:creationId xmlns:p14="http://schemas.microsoft.com/office/powerpoint/2010/main" val="187338187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51C00694-6F2B-4C08-A3AE-B56C93C20224}" type="datetimeFigureOut">
              <a:rPr lang="en-US" smtClean="0"/>
              <a:t>1/19/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AD2638F-C939-474F-8A8A-BB94E8289FF0}" type="slidenum">
              <a:rPr lang="en-US" smtClean="0"/>
              <a:t>‹#›</a:t>
            </a:fld>
            <a:endParaRPr lang="en-US"/>
          </a:p>
        </p:txBody>
      </p:sp>
    </p:spTree>
    <p:extLst>
      <p:ext uri="{BB962C8B-B14F-4D97-AF65-F5344CB8AC3E}">
        <p14:creationId xmlns:p14="http://schemas.microsoft.com/office/powerpoint/2010/main" val="21272610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1C00694-6F2B-4C08-A3AE-B56C93C20224}" type="datetimeFigureOut">
              <a:rPr lang="en-US" smtClean="0"/>
              <a:t>1/1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D2638F-C939-474F-8A8A-BB94E8289FF0}" type="slidenum">
              <a:rPr lang="en-US" smtClean="0"/>
              <a:t>‹#›</a:t>
            </a:fld>
            <a:endParaRPr lang="en-US"/>
          </a:p>
        </p:txBody>
      </p:sp>
    </p:spTree>
    <p:extLst>
      <p:ext uri="{BB962C8B-B14F-4D97-AF65-F5344CB8AC3E}">
        <p14:creationId xmlns:p14="http://schemas.microsoft.com/office/powerpoint/2010/main" val="7076976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1C00694-6F2B-4C08-A3AE-B56C93C20224}" type="datetimeFigureOut">
              <a:rPr lang="en-US" smtClean="0"/>
              <a:t>1/1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D2638F-C939-474F-8A8A-BB94E8289FF0}" type="slidenum">
              <a:rPr lang="en-US" smtClean="0"/>
              <a:t>‹#›</a:t>
            </a:fld>
            <a:endParaRPr lang="en-US"/>
          </a:p>
        </p:txBody>
      </p:sp>
    </p:spTree>
    <p:extLst>
      <p:ext uri="{BB962C8B-B14F-4D97-AF65-F5344CB8AC3E}">
        <p14:creationId xmlns:p14="http://schemas.microsoft.com/office/powerpoint/2010/main" val="215010718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86853"/>
            <a:ext cx="5486399" cy="1922005"/>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359561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274643" y="2142643"/>
            <a:ext cx="11228387" cy="1720381"/>
          </a:xfrm>
        </p:spPr>
        <p:txBody>
          <a:bodyPr/>
          <a:lstStyle>
            <a:lvl1pPr>
              <a:defRPr sz="6000">
                <a:solidFill>
                  <a:schemeClr val="bg1"/>
                </a:solidFill>
              </a:defRPr>
            </a:lvl1pPr>
          </a:lstStyle>
          <a:p>
            <a:r>
              <a:rPr lang="en-US"/>
              <a:t>Headline here</a:t>
            </a:r>
          </a:p>
        </p:txBody>
      </p:sp>
      <p:sp>
        <p:nvSpPr>
          <p:cNvPr id="3" name="Subtitle 2"/>
          <p:cNvSpPr>
            <a:spLocks noGrp="1"/>
          </p:cNvSpPr>
          <p:nvPr>
            <p:ph type="subTitle" idx="1" hasCustomPrompt="1"/>
          </p:nvPr>
        </p:nvSpPr>
        <p:spPr>
          <a:xfrm>
            <a:off x="274704" y="3954463"/>
            <a:ext cx="8705850" cy="1055382"/>
          </a:xfrm>
        </p:spPr>
        <p:txBody>
          <a:bodyPr/>
          <a:lstStyle>
            <a:lvl1pPr marL="0" indent="0" algn="l">
              <a:buNone/>
              <a:defRPr sz="2200">
                <a:solidFill>
                  <a:schemeClr val="bg1"/>
                </a:solidFill>
                <a:latin typeface="+mn-lt"/>
              </a:defRPr>
            </a:lvl1pPr>
            <a:lvl2pPr marL="456895" indent="0" algn="ctr">
              <a:buNone/>
              <a:defRPr>
                <a:solidFill>
                  <a:schemeClr val="tx1">
                    <a:tint val="75000"/>
                  </a:schemeClr>
                </a:solidFill>
              </a:defRPr>
            </a:lvl2pPr>
            <a:lvl3pPr marL="913790" indent="0" algn="ctr">
              <a:buNone/>
              <a:defRPr>
                <a:solidFill>
                  <a:schemeClr val="tx1">
                    <a:tint val="75000"/>
                  </a:schemeClr>
                </a:solidFill>
              </a:defRPr>
            </a:lvl3pPr>
            <a:lvl4pPr marL="1370686" indent="0" algn="ctr">
              <a:buNone/>
              <a:defRPr>
                <a:solidFill>
                  <a:schemeClr val="tx1">
                    <a:tint val="75000"/>
                  </a:schemeClr>
                </a:solidFill>
              </a:defRPr>
            </a:lvl4pPr>
            <a:lvl5pPr marL="1827582" indent="0" algn="ctr">
              <a:buNone/>
              <a:defRPr>
                <a:solidFill>
                  <a:schemeClr val="tx1">
                    <a:tint val="75000"/>
                  </a:schemeClr>
                </a:solidFill>
              </a:defRPr>
            </a:lvl5pPr>
            <a:lvl6pPr marL="2284478" indent="0" algn="ctr">
              <a:buNone/>
              <a:defRPr>
                <a:solidFill>
                  <a:schemeClr val="tx1">
                    <a:tint val="75000"/>
                  </a:schemeClr>
                </a:solidFill>
              </a:defRPr>
            </a:lvl6pPr>
            <a:lvl7pPr marL="2741373" indent="0" algn="ctr">
              <a:buNone/>
              <a:defRPr>
                <a:solidFill>
                  <a:schemeClr val="tx1">
                    <a:tint val="75000"/>
                  </a:schemeClr>
                </a:solidFill>
              </a:defRPr>
            </a:lvl7pPr>
            <a:lvl8pPr marL="3198267" indent="0" algn="ctr">
              <a:buNone/>
              <a:defRPr>
                <a:solidFill>
                  <a:schemeClr val="tx1">
                    <a:tint val="75000"/>
                  </a:schemeClr>
                </a:solidFill>
              </a:defRPr>
            </a:lvl8pPr>
            <a:lvl9pPr marL="3655164"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62" y="327128"/>
            <a:ext cx="1606856" cy="591072"/>
          </a:xfrm>
          <a:prstGeom prst="rect">
            <a:avLst/>
          </a:prstGeom>
        </p:spPr>
      </p:pic>
    </p:spTree>
    <p:extLst>
      <p:ext uri="{BB962C8B-B14F-4D97-AF65-F5344CB8AC3E}">
        <p14:creationId xmlns:p14="http://schemas.microsoft.com/office/powerpoint/2010/main" val="42336311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62" y="327128"/>
            <a:ext cx="1606856" cy="591072"/>
          </a:xfrm>
          <a:prstGeom prst="rect">
            <a:avLst/>
          </a:prstGeom>
        </p:spPr>
      </p:pic>
      <p:sp>
        <p:nvSpPr>
          <p:cNvPr id="2" name="Title 1"/>
          <p:cNvSpPr>
            <a:spLocks noGrp="1"/>
          </p:cNvSpPr>
          <p:nvPr userDrawn="1">
            <p:ph type="ctrTitle" hasCustomPrompt="1"/>
          </p:nvPr>
        </p:nvSpPr>
        <p:spPr>
          <a:xfrm>
            <a:off x="561543" y="2142643"/>
            <a:ext cx="10961491" cy="1720381"/>
          </a:xfrm>
        </p:spPr>
        <p:txBody>
          <a:bodyPr/>
          <a:lstStyle>
            <a:lvl1pPr marL="0" indent="0">
              <a:defRPr sz="6000">
                <a:solidFill>
                  <a:schemeClr val="bg1"/>
                </a:solidFill>
              </a:defRPr>
            </a:lvl1pPr>
          </a:lstStyle>
          <a:p>
            <a:r>
              <a:rPr lang="en-US" dirty="0"/>
              <a:t>Headline here</a:t>
            </a:r>
          </a:p>
        </p:txBody>
      </p:sp>
      <p:sp>
        <p:nvSpPr>
          <p:cNvPr id="3" name="Subtitle 2"/>
          <p:cNvSpPr>
            <a:spLocks noGrp="1"/>
          </p:cNvSpPr>
          <p:nvPr userDrawn="1">
            <p:ph type="subTitle" idx="1" hasCustomPrompt="1"/>
          </p:nvPr>
        </p:nvSpPr>
        <p:spPr>
          <a:xfrm>
            <a:off x="561542" y="3954463"/>
            <a:ext cx="8498914" cy="1055382"/>
          </a:xfrm>
        </p:spPr>
        <p:txBody>
          <a:bodyPr/>
          <a:lstStyle>
            <a:lvl1pPr marL="0" indent="0" algn="l">
              <a:buNone/>
              <a:defRPr sz="2200">
                <a:solidFill>
                  <a:schemeClr val="bg1"/>
                </a:solidFill>
                <a:latin typeface="+mn-lt"/>
              </a:defRPr>
            </a:lvl1pPr>
            <a:lvl2pPr marL="456895" indent="0" algn="ctr">
              <a:buNone/>
              <a:defRPr>
                <a:solidFill>
                  <a:schemeClr val="tx1">
                    <a:tint val="75000"/>
                  </a:schemeClr>
                </a:solidFill>
              </a:defRPr>
            </a:lvl2pPr>
            <a:lvl3pPr marL="913790" indent="0" algn="ctr">
              <a:buNone/>
              <a:defRPr>
                <a:solidFill>
                  <a:schemeClr val="tx1">
                    <a:tint val="75000"/>
                  </a:schemeClr>
                </a:solidFill>
              </a:defRPr>
            </a:lvl3pPr>
            <a:lvl4pPr marL="1370686" indent="0" algn="ctr">
              <a:buNone/>
              <a:defRPr>
                <a:solidFill>
                  <a:schemeClr val="tx1">
                    <a:tint val="75000"/>
                  </a:schemeClr>
                </a:solidFill>
              </a:defRPr>
            </a:lvl4pPr>
            <a:lvl5pPr marL="1827582" indent="0" algn="ctr">
              <a:buNone/>
              <a:defRPr>
                <a:solidFill>
                  <a:schemeClr val="tx1">
                    <a:tint val="75000"/>
                  </a:schemeClr>
                </a:solidFill>
              </a:defRPr>
            </a:lvl5pPr>
            <a:lvl6pPr marL="2284478" indent="0" algn="ctr">
              <a:buNone/>
              <a:defRPr>
                <a:solidFill>
                  <a:schemeClr val="tx1">
                    <a:tint val="75000"/>
                  </a:schemeClr>
                </a:solidFill>
              </a:defRPr>
            </a:lvl6pPr>
            <a:lvl7pPr marL="2741373" indent="0" algn="ctr">
              <a:buNone/>
              <a:defRPr>
                <a:solidFill>
                  <a:schemeClr val="tx1">
                    <a:tint val="75000"/>
                  </a:schemeClr>
                </a:solidFill>
              </a:defRPr>
            </a:lvl7pPr>
            <a:lvl8pPr marL="3198267" indent="0" algn="ctr">
              <a:buNone/>
              <a:defRPr>
                <a:solidFill>
                  <a:schemeClr val="tx1">
                    <a:tint val="75000"/>
                  </a:schemeClr>
                </a:solidFill>
              </a:defRPr>
            </a:lvl8pPr>
            <a:lvl9pPr marL="3655164" indent="0" algn="ctr">
              <a:buNone/>
              <a:defRPr>
                <a:solidFill>
                  <a:schemeClr val="tx1">
                    <a:tint val="75000"/>
                  </a:schemeClr>
                </a:solidFill>
              </a:defRPr>
            </a:lvl9pPr>
          </a:lstStyle>
          <a:p>
            <a:r>
              <a:rPr lang="en-US" dirty="0"/>
              <a:t>Speaker Name</a:t>
            </a:r>
            <a:br>
              <a:rPr lang="en-US" dirty="0"/>
            </a:br>
            <a:r>
              <a:rPr lang="en-US" dirty="0"/>
              <a:t>Date</a:t>
            </a:r>
          </a:p>
        </p:txBody>
      </p:sp>
      <p:grpSp>
        <p:nvGrpSpPr>
          <p:cNvPr id="266" name="Group 265"/>
          <p:cNvGrpSpPr/>
          <p:nvPr userDrawn="1"/>
        </p:nvGrpSpPr>
        <p:grpSpPr>
          <a:xfrm>
            <a:off x="-5287" y="577850"/>
            <a:ext cx="12476743" cy="6426533"/>
            <a:chOff x="-5288" y="577849"/>
            <a:chExt cx="12476743" cy="6426533"/>
          </a:xfrm>
        </p:grpSpPr>
        <p:grpSp>
          <p:nvGrpSpPr>
            <p:cNvPr id="267" name="Group 266"/>
            <p:cNvGrpSpPr/>
            <p:nvPr userDrawn="1"/>
          </p:nvGrpSpPr>
          <p:grpSpPr>
            <a:xfrm>
              <a:off x="2610804" y="5270500"/>
              <a:ext cx="9827154" cy="1724754"/>
              <a:chOff x="4402138" y="4330700"/>
              <a:chExt cx="4757738" cy="835026"/>
            </a:xfrm>
          </p:grpSpPr>
          <p:sp>
            <p:nvSpPr>
              <p:cNvPr id="361"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657"/>
                <a:endParaRPr lang="en-US" sz="2400">
                  <a:solidFill>
                    <a:srgbClr val="000000"/>
                  </a:solidFill>
                </a:endParaRPr>
              </a:p>
            </p:txBody>
          </p:sp>
          <p:sp>
            <p:nvSpPr>
              <p:cNvPr id="362"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657"/>
                <a:endParaRPr lang="en-US" sz="2400">
                  <a:solidFill>
                    <a:srgbClr val="000000"/>
                  </a:solidFill>
                </a:endParaRPr>
              </a:p>
            </p:txBody>
          </p:sp>
          <p:sp>
            <p:nvSpPr>
              <p:cNvPr id="363"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657"/>
                <a:endParaRPr lang="en-US" sz="2400">
                  <a:solidFill>
                    <a:srgbClr val="000000"/>
                  </a:solidFill>
                </a:endParaRPr>
              </a:p>
            </p:txBody>
          </p:sp>
        </p:grpSp>
        <p:grpSp>
          <p:nvGrpSpPr>
            <p:cNvPr id="268" name="Group 267"/>
            <p:cNvGrpSpPr/>
            <p:nvPr userDrawn="1"/>
          </p:nvGrpSpPr>
          <p:grpSpPr>
            <a:xfrm>
              <a:off x="5067530" y="6253060"/>
              <a:ext cx="470039" cy="458142"/>
              <a:chOff x="5067530" y="6253060"/>
              <a:chExt cx="470039" cy="458142"/>
            </a:xfrm>
          </p:grpSpPr>
          <p:sp>
            <p:nvSpPr>
              <p:cNvPr id="347" name="Rectangle 7"/>
              <p:cNvSpPr>
                <a:spLocks noChangeArrowheads="1"/>
              </p:cNvSpPr>
              <p:nvPr userDrawn="1"/>
            </p:nvSpPr>
            <p:spPr bwMode="auto">
              <a:xfrm flipH="1">
                <a:off x="5208385" y="6427624"/>
                <a:ext cx="329184" cy="283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Rectangle 8"/>
              <p:cNvSpPr>
                <a:spLocks noChangeArrowheads="1"/>
              </p:cNvSpPr>
              <p:nvPr userDrawn="1"/>
            </p:nvSpPr>
            <p:spPr bwMode="auto">
              <a:xfrm flipH="1">
                <a:off x="5067530" y="6297029"/>
                <a:ext cx="362817" cy="4141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Rectangle 348"/>
              <p:cNvSpPr/>
              <p:nvPr userDrawn="1"/>
            </p:nvSpPr>
            <p:spPr bwMode="auto">
              <a:xfrm>
                <a:off x="5316482" y="6573207"/>
                <a:ext cx="76044" cy="9644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0" name="Rectangle 349"/>
              <p:cNvSpPr/>
              <p:nvPr userDrawn="1"/>
            </p:nvSpPr>
            <p:spPr bwMode="auto">
              <a:xfrm>
                <a:off x="5428924" y="6573207"/>
                <a:ext cx="76044" cy="9644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1" name="Rectangle 350"/>
              <p:cNvSpPr/>
              <p:nvPr userDrawn="1"/>
            </p:nvSpPr>
            <p:spPr bwMode="auto">
              <a:xfrm>
                <a:off x="5100322" y="6573207"/>
                <a:ext cx="76044" cy="9644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2" name="Rectangle 351"/>
              <p:cNvSpPr/>
              <p:nvPr userDrawn="1"/>
            </p:nvSpPr>
            <p:spPr bwMode="auto">
              <a:xfrm>
                <a:off x="5208402" y="6573207"/>
                <a:ext cx="76044" cy="9644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3" name="Rectangle 352"/>
              <p:cNvSpPr/>
              <p:nvPr userDrawn="1"/>
            </p:nvSpPr>
            <p:spPr bwMode="auto">
              <a:xfrm>
                <a:off x="5316482" y="6341456"/>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4" name="Rectangle 353"/>
              <p:cNvSpPr/>
              <p:nvPr userDrawn="1"/>
            </p:nvSpPr>
            <p:spPr bwMode="auto">
              <a:xfrm>
                <a:off x="5208402" y="6341456"/>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5" name="Rectangle 354"/>
              <p:cNvSpPr/>
              <p:nvPr userDrawn="1"/>
            </p:nvSpPr>
            <p:spPr bwMode="auto">
              <a:xfrm>
                <a:off x="5100322" y="6341456"/>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6" name="Rectangle 355"/>
              <p:cNvSpPr/>
              <p:nvPr userDrawn="1"/>
            </p:nvSpPr>
            <p:spPr bwMode="auto">
              <a:xfrm>
                <a:off x="5428924" y="6459119"/>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7" name="Rectangle 356"/>
              <p:cNvSpPr/>
              <p:nvPr userDrawn="1"/>
            </p:nvSpPr>
            <p:spPr bwMode="auto">
              <a:xfrm>
                <a:off x="5316482" y="6459119"/>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8" name="Rectangle 357"/>
              <p:cNvSpPr/>
              <p:nvPr userDrawn="1"/>
            </p:nvSpPr>
            <p:spPr bwMode="auto">
              <a:xfrm>
                <a:off x="5208402" y="6459119"/>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9" name="Rectangle 358"/>
              <p:cNvSpPr/>
              <p:nvPr userDrawn="1"/>
            </p:nvSpPr>
            <p:spPr bwMode="auto">
              <a:xfrm>
                <a:off x="5100322" y="6459119"/>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0" name="Rectangle 6"/>
              <p:cNvSpPr>
                <a:spLocks noChangeArrowheads="1"/>
              </p:cNvSpPr>
              <p:nvPr userDrawn="1"/>
            </p:nvSpPr>
            <p:spPr bwMode="auto">
              <a:xfrm flipH="1">
                <a:off x="5100321" y="6253060"/>
                <a:ext cx="108080" cy="5468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9" name="Rectangle 10"/>
            <p:cNvSpPr>
              <a:spLocks noChangeArrowheads="1"/>
            </p:cNvSpPr>
            <p:nvPr userDrawn="1"/>
          </p:nvSpPr>
          <p:spPr bwMode="auto">
            <a:xfrm flipH="1">
              <a:off x="1370769" y="5878855"/>
              <a:ext cx="546632" cy="6005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0" name="Group 269"/>
            <p:cNvGrpSpPr/>
            <p:nvPr userDrawn="1"/>
          </p:nvGrpSpPr>
          <p:grpSpPr>
            <a:xfrm>
              <a:off x="1321042" y="5793049"/>
              <a:ext cx="818370" cy="686381"/>
              <a:chOff x="1321042" y="5793049"/>
              <a:chExt cx="818370" cy="686381"/>
            </a:xfrm>
          </p:grpSpPr>
          <p:sp>
            <p:nvSpPr>
              <p:cNvPr id="327" name="Rectangle 9"/>
              <p:cNvSpPr>
                <a:spLocks noChangeArrowheads="1"/>
              </p:cNvSpPr>
              <p:nvPr/>
            </p:nvSpPr>
            <p:spPr bwMode="auto">
              <a:xfrm flipH="1">
                <a:off x="1592780" y="6228918"/>
                <a:ext cx="546632" cy="2505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28" name="Group 327"/>
              <p:cNvGrpSpPr/>
              <p:nvPr userDrawn="1"/>
            </p:nvGrpSpPr>
            <p:grpSpPr>
              <a:xfrm>
                <a:off x="1321042" y="5793049"/>
                <a:ext cx="764532" cy="599334"/>
                <a:chOff x="1321042" y="5793049"/>
                <a:chExt cx="764532" cy="599334"/>
              </a:xfrm>
            </p:grpSpPr>
            <p:sp>
              <p:nvSpPr>
                <p:cNvPr id="329" name="Rectangle 6"/>
                <p:cNvSpPr>
                  <a:spLocks noChangeArrowheads="1"/>
                </p:cNvSpPr>
                <p:nvPr userDrawn="1"/>
              </p:nvSpPr>
              <p:spPr bwMode="auto">
                <a:xfrm flipH="1">
                  <a:off x="1370769" y="5793049"/>
                  <a:ext cx="91440" cy="506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Rectangle 329"/>
                <p:cNvSpPr/>
                <p:nvPr userDrawn="1"/>
              </p:nvSpPr>
              <p:spPr bwMode="auto">
                <a:xfrm>
                  <a:off x="1949600" y="6266909"/>
                  <a:ext cx="135230" cy="12547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1" name="Rectangle 6"/>
                <p:cNvSpPr>
                  <a:spLocks noChangeArrowheads="1"/>
                </p:cNvSpPr>
                <p:nvPr userDrawn="1"/>
              </p:nvSpPr>
              <p:spPr bwMode="auto">
                <a:xfrm flipH="1">
                  <a:off x="1321042" y="5844430"/>
                  <a:ext cx="640080" cy="36576"/>
                </a:xfrm>
                <a:prstGeom prst="rect">
                  <a:avLst/>
                </a:prstGeom>
                <a:solidFill>
                  <a:schemeClr val="bg1">
                    <a:lumMod val="6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32" name="Rectangle 331"/>
                <p:cNvSpPr/>
                <p:nvPr userDrawn="1"/>
              </p:nvSpPr>
              <p:spPr bwMode="auto">
                <a:xfrm>
                  <a:off x="1409374" y="5909621"/>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3" name="Rectangle 332"/>
                <p:cNvSpPr/>
                <p:nvPr userDrawn="1"/>
              </p:nvSpPr>
              <p:spPr bwMode="auto">
                <a:xfrm>
                  <a:off x="1534990" y="5909621"/>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4" name="Rectangle 333"/>
                <p:cNvSpPr/>
                <p:nvPr userDrawn="1"/>
              </p:nvSpPr>
              <p:spPr bwMode="auto">
                <a:xfrm>
                  <a:off x="1661403" y="5909621"/>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5" name="Rectangle 334"/>
                <p:cNvSpPr/>
                <p:nvPr userDrawn="1"/>
              </p:nvSpPr>
              <p:spPr bwMode="auto">
                <a:xfrm>
                  <a:off x="1794849" y="5909621"/>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6" name="Rectangle 335"/>
                <p:cNvSpPr/>
                <p:nvPr userDrawn="1"/>
              </p:nvSpPr>
              <p:spPr bwMode="auto">
                <a:xfrm>
                  <a:off x="1409374" y="6028612"/>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7" name="Rectangle 336"/>
                <p:cNvSpPr/>
                <p:nvPr userDrawn="1"/>
              </p:nvSpPr>
              <p:spPr bwMode="auto">
                <a:xfrm>
                  <a:off x="1534990" y="6028612"/>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8" name="Rectangle 337"/>
                <p:cNvSpPr/>
                <p:nvPr userDrawn="1"/>
              </p:nvSpPr>
              <p:spPr bwMode="auto">
                <a:xfrm>
                  <a:off x="1661403" y="6028612"/>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9" name="Rectangle 338"/>
                <p:cNvSpPr/>
                <p:nvPr userDrawn="1"/>
              </p:nvSpPr>
              <p:spPr bwMode="auto">
                <a:xfrm>
                  <a:off x="1794849" y="6028612"/>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0" name="Rectangle 339"/>
                <p:cNvSpPr/>
                <p:nvPr userDrawn="1"/>
              </p:nvSpPr>
              <p:spPr bwMode="auto">
                <a:xfrm>
                  <a:off x="1409374" y="6147603"/>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1" name="Rectangle 340"/>
                <p:cNvSpPr/>
                <p:nvPr userDrawn="1"/>
              </p:nvSpPr>
              <p:spPr bwMode="auto">
                <a:xfrm>
                  <a:off x="1534990" y="6147603"/>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2" name="Rectangle 341"/>
                <p:cNvSpPr/>
                <p:nvPr userDrawn="1"/>
              </p:nvSpPr>
              <p:spPr bwMode="auto">
                <a:xfrm>
                  <a:off x="1661403" y="6147603"/>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3" name="Rectangle 342"/>
                <p:cNvSpPr/>
                <p:nvPr userDrawn="1"/>
              </p:nvSpPr>
              <p:spPr bwMode="auto">
                <a:xfrm>
                  <a:off x="1794849" y="6147603"/>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4" name="Rectangle 343"/>
                <p:cNvSpPr/>
                <p:nvPr userDrawn="1"/>
              </p:nvSpPr>
              <p:spPr bwMode="auto">
                <a:xfrm>
                  <a:off x="1534990" y="6266591"/>
                  <a:ext cx="83947" cy="12578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5" name="Rectangle 344"/>
                <p:cNvSpPr/>
                <p:nvPr userDrawn="1"/>
              </p:nvSpPr>
              <p:spPr bwMode="auto">
                <a:xfrm>
                  <a:off x="1661403" y="6266595"/>
                  <a:ext cx="83947" cy="12578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6" name="Rectangle 6"/>
                <p:cNvSpPr>
                  <a:spLocks noChangeArrowheads="1"/>
                </p:cNvSpPr>
                <p:nvPr userDrawn="1"/>
              </p:nvSpPr>
              <p:spPr bwMode="auto">
                <a:xfrm flipH="1">
                  <a:off x="1994134" y="6182191"/>
                  <a:ext cx="91440" cy="506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71" name="Rectangle 6"/>
            <p:cNvSpPr>
              <a:spLocks noChangeArrowheads="1"/>
            </p:cNvSpPr>
            <p:nvPr userDrawn="1"/>
          </p:nvSpPr>
          <p:spPr bwMode="auto">
            <a:xfrm flipH="1">
              <a:off x="3416895" y="5783525"/>
              <a:ext cx="91440" cy="506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Rectangle 6"/>
            <p:cNvSpPr>
              <a:spLocks noChangeArrowheads="1"/>
            </p:cNvSpPr>
            <p:nvPr userDrawn="1"/>
          </p:nvSpPr>
          <p:spPr bwMode="auto">
            <a:xfrm flipH="1">
              <a:off x="3524041" y="5783525"/>
              <a:ext cx="91440" cy="506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9"/>
            <p:cNvSpPr>
              <a:spLocks/>
            </p:cNvSpPr>
            <p:nvPr userDrawn="1"/>
          </p:nvSpPr>
          <p:spPr bwMode="auto">
            <a:xfrm>
              <a:off x="7104968" y="5672812"/>
              <a:ext cx="5331507" cy="1331570"/>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22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4" name="Freeform 15"/>
            <p:cNvSpPr>
              <a:spLocks/>
            </p:cNvSpPr>
            <p:nvPr userDrawn="1"/>
          </p:nvSpPr>
          <p:spPr bwMode="auto">
            <a:xfrm>
              <a:off x="9327154" y="6315940"/>
              <a:ext cx="3144301" cy="688442"/>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22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5" name="Freeform 274"/>
            <p:cNvSpPr>
              <a:spLocks/>
            </p:cNvSpPr>
            <p:nvPr userDrawn="1"/>
          </p:nvSpPr>
          <p:spPr bwMode="black">
            <a:xfrm>
              <a:off x="7185749" y="6735803"/>
              <a:ext cx="320838" cy="181002"/>
            </a:xfrm>
            <a:custGeom>
              <a:avLst/>
              <a:gdLst>
                <a:gd name="connsiteX0" fmla="*/ 208342 w 644867"/>
                <a:gd name="connsiteY0" fmla="*/ 178753 h 363803"/>
                <a:gd name="connsiteX1" fmla="*/ 284403 w 644867"/>
                <a:gd name="connsiteY1" fmla="*/ 224190 h 363803"/>
                <a:gd name="connsiteX2" fmla="*/ 322434 w 644867"/>
                <a:gd name="connsiteY2" fmla="*/ 234103 h 363803"/>
                <a:gd name="connsiteX3" fmla="*/ 359638 w 644867"/>
                <a:gd name="connsiteY3" fmla="*/ 224190 h 363803"/>
                <a:gd name="connsiteX4" fmla="*/ 436526 w 644867"/>
                <a:gd name="connsiteY4" fmla="*/ 178753 h 363803"/>
                <a:gd name="connsiteX5" fmla="*/ 644867 w 644867"/>
                <a:gd name="connsiteY5" fmla="*/ 302671 h 363803"/>
                <a:gd name="connsiteX6" fmla="*/ 644867 w 644867"/>
                <a:gd name="connsiteY6" fmla="*/ 324150 h 363803"/>
                <a:gd name="connsiteX7" fmla="*/ 605183 w 644867"/>
                <a:gd name="connsiteY7" fmla="*/ 363803 h 363803"/>
                <a:gd name="connsiteX8" fmla="*/ 39684 w 644867"/>
                <a:gd name="connsiteY8" fmla="*/ 363803 h 363803"/>
                <a:gd name="connsiteX9" fmla="*/ 0 w 644867"/>
                <a:gd name="connsiteY9" fmla="*/ 324150 h 363803"/>
                <a:gd name="connsiteX10" fmla="*/ 0 w 644867"/>
                <a:gd name="connsiteY10" fmla="*/ 302671 h 363803"/>
                <a:gd name="connsiteX11" fmla="*/ 208342 w 644867"/>
                <a:gd name="connsiteY11" fmla="*/ 178753 h 363803"/>
                <a:gd name="connsiteX12" fmla="*/ 644867 w 644867"/>
                <a:gd name="connsiteY12" fmla="*/ 54570 h 363803"/>
                <a:gd name="connsiteX13" fmla="*/ 644867 w 644867"/>
                <a:gd name="connsiteY13" fmla="*/ 267954 h 363803"/>
                <a:gd name="connsiteX14" fmla="*/ 465368 w 644867"/>
                <a:gd name="connsiteY14" fmla="*/ 161262 h 363803"/>
                <a:gd name="connsiteX15" fmla="*/ 0 w 644867"/>
                <a:gd name="connsiteY15" fmla="*/ 54570 h 363803"/>
                <a:gd name="connsiteX16" fmla="*/ 179149 w 644867"/>
                <a:gd name="connsiteY16" fmla="*/ 161262 h 363803"/>
                <a:gd name="connsiteX17" fmla="*/ 0 w 644867"/>
                <a:gd name="connsiteY17" fmla="*/ 267954 h 363803"/>
                <a:gd name="connsiteX18" fmla="*/ 39412 w 644867"/>
                <a:gd name="connsiteY18" fmla="*/ 0 h 363803"/>
                <a:gd name="connsiteX19" fmla="*/ 605107 w 644867"/>
                <a:gd name="connsiteY19" fmla="*/ 0 h 363803"/>
                <a:gd name="connsiteX20" fmla="*/ 640669 w 644867"/>
                <a:gd name="connsiteY20" fmla="*/ 22331 h 363803"/>
                <a:gd name="connsiteX21" fmla="*/ 343762 w 644867"/>
                <a:gd name="connsiteY21" fmla="*/ 198501 h 363803"/>
                <a:gd name="connsiteX22" fmla="*/ 343762 w 644867"/>
                <a:gd name="connsiteY22" fmla="*/ 199328 h 363803"/>
                <a:gd name="connsiteX23" fmla="*/ 322259 w 644867"/>
                <a:gd name="connsiteY23" fmla="*/ 204290 h 363803"/>
                <a:gd name="connsiteX24" fmla="*/ 299929 w 644867"/>
                <a:gd name="connsiteY24" fmla="*/ 199328 h 363803"/>
                <a:gd name="connsiteX25" fmla="*/ 3849 w 644867"/>
                <a:gd name="connsiteY25" fmla="*/ 22331 h 363803"/>
                <a:gd name="connsiteX26" fmla="*/ 39412 w 644867"/>
                <a:gd name="connsiteY26" fmla="*/ 0 h 36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44867" h="363803">
                  <a:moveTo>
                    <a:pt x="208342" y="178753"/>
                  </a:moveTo>
                  <a:cubicBezTo>
                    <a:pt x="208342" y="178753"/>
                    <a:pt x="208342" y="178753"/>
                    <a:pt x="284403" y="224190"/>
                  </a:cubicBezTo>
                  <a:cubicBezTo>
                    <a:pt x="295151" y="230798"/>
                    <a:pt x="308379" y="234103"/>
                    <a:pt x="322434" y="234103"/>
                  </a:cubicBezTo>
                  <a:cubicBezTo>
                    <a:pt x="336489" y="234103"/>
                    <a:pt x="349717" y="230798"/>
                    <a:pt x="359638" y="224190"/>
                  </a:cubicBezTo>
                  <a:cubicBezTo>
                    <a:pt x="359638" y="224190"/>
                    <a:pt x="359638" y="224190"/>
                    <a:pt x="436526" y="178753"/>
                  </a:cubicBezTo>
                  <a:cubicBezTo>
                    <a:pt x="436526" y="178753"/>
                    <a:pt x="436526" y="178753"/>
                    <a:pt x="644867" y="302671"/>
                  </a:cubicBezTo>
                  <a:cubicBezTo>
                    <a:pt x="644867" y="302671"/>
                    <a:pt x="644867" y="302671"/>
                    <a:pt x="644867" y="324150"/>
                  </a:cubicBezTo>
                  <a:cubicBezTo>
                    <a:pt x="644867" y="346455"/>
                    <a:pt x="626679" y="363803"/>
                    <a:pt x="605183" y="363803"/>
                  </a:cubicBezTo>
                  <a:cubicBezTo>
                    <a:pt x="605183" y="363803"/>
                    <a:pt x="605183" y="363803"/>
                    <a:pt x="39684" y="363803"/>
                  </a:cubicBezTo>
                  <a:cubicBezTo>
                    <a:pt x="17362" y="363803"/>
                    <a:pt x="0" y="346455"/>
                    <a:pt x="0" y="324150"/>
                  </a:cubicBezTo>
                  <a:lnTo>
                    <a:pt x="0" y="302671"/>
                  </a:lnTo>
                  <a:cubicBezTo>
                    <a:pt x="0" y="302671"/>
                    <a:pt x="0" y="302671"/>
                    <a:pt x="208342" y="178753"/>
                  </a:cubicBezTo>
                  <a:close/>
                  <a:moveTo>
                    <a:pt x="644867" y="54570"/>
                  </a:moveTo>
                  <a:lnTo>
                    <a:pt x="644867" y="267954"/>
                  </a:lnTo>
                  <a:lnTo>
                    <a:pt x="465368" y="161262"/>
                  </a:lnTo>
                  <a:close/>
                  <a:moveTo>
                    <a:pt x="0" y="54570"/>
                  </a:moveTo>
                  <a:lnTo>
                    <a:pt x="179149" y="161262"/>
                  </a:lnTo>
                  <a:lnTo>
                    <a:pt x="0" y="267954"/>
                  </a:lnTo>
                  <a:close/>
                  <a:moveTo>
                    <a:pt x="39412" y="0"/>
                  </a:moveTo>
                  <a:cubicBezTo>
                    <a:pt x="39412" y="0"/>
                    <a:pt x="39412" y="0"/>
                    <a:pt x="605107" y="0"/>
                  </a:cubicBezTo>
                  <a:cubicBezTo>
                    <a:pt x="620820" y="0"/>
                    <a:pt x="634053" y="9098"/>
                    <a:pt x="640669" y="22331"/>
                  </a:cubicBezTo>
                  <a:cubicBezTo>
                    <a:pt x="640669" y="22331"/>
                    <a:pt x="640669" y="22331"/>
                    <a:pt x="343762" y="198501"/>
                  </a:cubicBezTo>
                  <a:cubicBezTo>
                    <a:pt x="343762" y="198501"/>
                    <a:pt x="343762" y="198501"/>
                    <a:pt x="343762" y="199328"/>
                  </a:cubicBezTo>
                  <a:cubicBezTo>
                    <a:pt x="337973" y="202636"/>
                    <a:pt x="330530" y="204290"/>
                    <a:pt x="322259" y="204290"/>
                  </a:cubicBezTo>
                  <a:cubicBezTo>
                    <a:pt x="313989" y="204290"/>
                    <a:pt x="305718" y="202636"/>
                    <a:pt x="299929" y="199328"/>
                  </a:cubicBezTo>
                  <a:cubicBezTo>
                    <a:pt x="299929" y="199328"/>
                    <a:pt x="299929" y="199328"/>
                    <a:pt x="3849" y="22331"/>
                  </a:cubicBezTo>
                  <a:cubicBezTo>
                    <a:pt x="9639" y="9098"/>
                    <a:pt x="23698" y="0"/>
                    <a:pt x="39412" y="0"/>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noAutofit/>
            </a:bodyPr>
            <a:lstStyle/>
            <a:p>
              <a:pPr defTabSz="740527"/>
              <a:endParaRPr lang="en-US" spc="-122">
                <a:solidFill>
                  <a:prstClr val="black">
                    <a:lumMod val="50000"/>
                  </a:prstClr>
                </a:solidFill>
                <a:latin typeface="Segoe UI Light" panose="020B0502040204020203" pitchFamily="34" charset="0"/>
                <a:sym typeface="Segoe UI Light" panose="020B0502040204020203" pitchFamily="34" charset="0"/>
              </a:endParaRPr>
            </a:p>
          </p:txBody>
        </p:sp>
        <p:sp>
          <p:nvSpPr>
            <p:cNvPr id="276" name="Rectangle 5"/>
            <p:cNvSpPr>
              <a:spLocks noChangeArrowheads="1"/>
            </p:cNvSpPr>
            <p:nvPr userDrawn="1"/>
          </p:nvSpPr>
          <p:spPr bwMode="auto">
            <a:xfrm flipH="1">
              <a:off x="3418306" y="5868865"/>
              <a:ext cx="550363" cy="53060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Rectangle 6"/>
            <p:cNvSpPr>
              <a:spLocks noChangeArrowheads="1"/>
            </p:cNvSpPr>
            <p:nvPr userDrawn="1"/>
          </p:nvSpPr>
          <p:spPr bwMode="auto">
            <a:xfrm flipH="1">
              <a:off x="3373345" y="5832524"/>
              <a:ext cx="640080" cy="36576"/>
            </a:xfrm>
            <a:prstGeom prst="rect">
              <a:avLst/>
            </a:prstGeom>
            <a:solidFill>
              <a:schemeClr val="bg1">
                <a:lumMod val="6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8" name="Rectangle 277"/>
            <p:cNvSpPr/>
            <p:nvPr userDrawn="1"/>
          </p:nvSpPr>
          <p:spPr bwMode="auto">
            <a:xfrm>
              <a:off x="3462615" y="6228918"/>
              <a:ext cx="461744" cy="7315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9" name="Freeform 11"/>
            <p:cNvSpPr>
              <a:spLocks/>
            </p:cNvSpPr>
            <p:nvPr userDrawn="1"/>
          </p:nvSpPr>
          <p:spPr bwMode="auto">
            <a:xfrm flipH="1">
              <a:off x="4392841" y="6489852"/>
              <a:ext cx="3970620" cy="51025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8"/>
            <p:cNvSpPr>
              <a:spLocks/>
            </p:cNvSpPr>
            <p:nvPr userDrawn="1"/>
          </p:nvSpPr>
          <p:spPr bwMode="auto">
            <a:xfrm flipH="1">
              <a:off x="984" y="6027174"/>
              <a:ext cx="6091253" cy="97293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29"/>
            <p:cNvSpPr>
              <a:spLocks/>
            </p:cNvSpPr>
            <p:nvPr userDrawn="1"/>
          </p:nvSpPr>
          <p:spPr bwMode="auto">
            <a:xfrm flipH="1">
              <a:off x="432647" y="6571940"/>
              <a:ext cx="3340253"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AutoShape 3"/>
            <p:cNvSpPr>
              <a:spLocks noChangeAspect="1" noChangeArrowheads="1" noTextEdit="1"/>
            </p:cNvSpPr>
            <p:nvPr userDrawn="1"/>
          </p:nvSpPr>
          <p:spPr bwMode="auto">
            <a:xfrm flipH="1">
              <a:off x="984" y="5602741"/>
              <a:ext cx="4298430"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83" name="Group 282"/>
            <p:cNvGrpSpPr/>
            <p:nvPr userDrawn="1"/>
          </p:nvGrpSpPr>
          <p:grpSpPr>
            <a:xfrm flipH="1">
              <a:off x="2682360" y="5937788"/>
              <a:ext cx="188333" cy="365034"/>
              <a:chOff x="6229350" y="5232400"/>
              <a:chExt cx="539750" cy="1046162"/>
            </a:xfrm>
          </p:grpSpPr>
          <p:sp>
            <p:nvSpPr>
              <p:cNvPr id="324"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4" name="Group 283"/>
            <p:cNvGrpSpPr/>
            <p:nvPr userDrawn="1"/>
          </p:nvGrpSpPr>
          <p:grpSpPr>
            <a:xfrm flipH="1">
              <a:off x="4803495" y="6266909"/>
              <a:ext cx="188333" cy="365034"/>
              <a:chOff x="6229350" y="5232400"/>
              <a:chExt cx="539750" cy="1046162"/>
            </a:xfrm>
          </p:grpSpPr>
          <p:sp>
            <p:nvSpPr>
              <p:cNvPr id="321"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5" name="Freeform 17"/>
            <p:cNvSpPr>
              <a:spLocks/>
            </p:cNvSpPr>
            <p:nvPr userDrawn="1"/>
          </p:nvSpPr>
          <p:spPr bwMode="auto">
            <a:xfrm flipH="1">
              <a:off x="-5288" y="6414294"/>
              <a:ext cx="1445870" cy="58581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86" name="Group 285"/>
            <p:cNvGrpSpPr/>
            <p:nvPr userDrawn="1"/>
          </p:nvGrpSpPr>
          <p:grpSpPr>
            <a:xfrm flipH="1">
              <a:off x="4579666" y="6201145"/>
              <a:ext cx="188333" cy="365034"/>
              <a:chOff x="6229350" y="5232400"/>
              <a:chExt cx="539750" cy="1046162"/>
            </a:xfrm>
          </p:grpSpPr>
          <p:sp>
            <p:nvSpPr>
              <p:cNvPr id="318"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7" name="Rectangle 21"/>
            <p:cNvSpPr/>
            <p:nvPr userDrawn="1"/>
          </p:nvSpPr>
          <p:spPr>
            <a:xfrm>
              <a:off x="8820420" y="3103755"/>
              <a:ext cx="2364654" cy="2984692"/>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grpSp>
          <p:nvGrpSpPr>
            <p:cNvPr id="288" name="Group 287"/>
            <p:cNvGrpSpPr/>
            <p:nvPr userDrawn="1"/>
          </p:nvGrpSpPr>
          <p:grpSpPr>
            <a:xfrm>
              <a:off x="10950846" y="5461051"/>
              <a:ext cx="485776" cy="941389"/>
              <a:chOff x="7916877" y="4953006"/>
              <a:chExt cx="485776" cy="941389"/>
            </a:xfrm>
          </p:grpSpPr>
          <p:sp>
            <p:nvSpPr>
              <p:cNvPr id="315" name="Rectangle 43"/>
              <p:cNvSpPr>
                <a:spLocks noChangeArrowheads="1"/>
              </p:cNvSpPr>
              <p:nvPr userDrawn="1"/>
            </p:nvSpPr>
            <p:spPr bwMode="auto">
              <a:xfrm>
                <a:off x="8113727" y="5524507"/>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Oval 44"/>
              <p:cNvSpPr>
                <a:spLocks noChangeArrowheads="1"/>
              </p:cNvSpPr>
              <p:nvPr userDrawn="1"/>
            </p:nvSpPr>
            <p:spPr bwMode="auto">
              <a:xfrm>
                <a:off x="7916877" y="5205419"/>
                <a:ext cx="485776" cy="485776"/>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Oval 45"/>
              <p:cNvSpPr>
                <a:spLocks noChangeArrowheads="1"/>
              </p:cNvSpPr>
              <p:nvPr userDrawn="1"/>
            </p:nvSpPr>
            <p:spPr bwMode="auto">
              <a:xfrm>
                <a:off x="7977202" y="4953006"/>
                <a:ext cx="357188" cy="357188"/>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9" name="Freeform 11"/>
            <p:cNvSpPr>
              <a:spLocks/>
            </p:cNvSpPr>
            <p:nvPr userDrawn="1"/>
          </p:nvSpPr>
          <p:spPr bwMode="auto">
            <a:xfrm>
              <a:off x="7485076" y="3132141"/>
              <a:ext cx="2763842" cy="2762254"/>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2"/>
            <p:cNvSpPr>
              <a:spLocks/>
            </p:cNvSpPr>
            <p:nvPr userDrawn="1"/>
          </p:nvSpPr>
          <p:spPr bwMode="auto">
            <a:xfrm flipH="1">
              <a:off x="8088327" y="577849"/>
              <a:ext cx="1508128" cy="990602"/>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1" name="Freeform 13"/>
            <p:cNvSpPr>
              <a:spLocks/>
            </p:cNvSpPr>
            <p:nvPr userDrawn="1"/>
          </p:nvSpPr>
          <p:spPr bwMode="auto">
            <a:xfrm>
              <a:off x="9793305" y="1322388"/>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14"/>
            <p:cNvSpPr>
              <a:spLocks/>
            </p:cNvSpPr>
            <p:nvPr userDrawn="1"/>
          </p:nvSpPr>
          <p:spPr bwMode="auto">
            <a:xfrm flipH="1">
              <a:off x="7386651" y="1501776"/>
              <a:ext cx="836614" cy="546101"/>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3" name="Rectangle 16"/>
            <p:cNvSpPr>
              <a:spLocks noChangeArrowheads="1"/>
            </p:cNvSpPr>
            <p:nvPr userDrawn="1"/>
          </p:nvSpPr>
          <p:spPr bwMode="auto">
            <a:xfrm>
              <a:off x="8518540" y="2017714"/>
              <a:ext cx="1846266" cy="1531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Rectangle 20"/>
            <p:cNvSpPr>
              <a:spLocks noChangeArrowheads="1"/>
            </p:cNvSpPr>
            <p:nvPr userDrawn="1"/>
          </p:nvSpPr>
          <p:spPr bwMode="auto">
            <a:xfrm>
              <a:off x="8704278" y="2220914"/>
              <a:ext cx="1489078"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Rectangle 22"/>
            <p:cNvSpPr>
              <a:spLocks noChangeArrowheads="1"/>
            </p:cNvSpPr>
            <p:nvPr userDrawn="1"/>
          </p:nvSpPr>
          <p:spPr bwMode="auto">
            <a:xfrm>
              <a:off x="8704278" y="2640015"/>
              <a:ext cx="1489078"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Rectangle 27"/>
            <p:cNvSpPr>
              <a:spLocks noChangeArrowheads="1"/>
            </p:cNvSpPr>
            <p:nvPr userDrawn="1"/>
          </p:nvSpPr>
          <p:spPr bwMode="auto">
            <a:xfrm>
              <a:off x="8704278" y="3051178"/>
              <a:ext cx="1489078"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Rectangle 29"/>
            <p:cNvSpPr>
              <a:spLocks noChangeArrowheads="1"/>
            </p:cNvSpPr>
            <p:nvPr userDrawn="1"/>
          </p:nvSpPr>
          <p:spPr bwMode="auto">
            <a:xfrm>
              <a:off x="8518540" y="3549654"/>
              <a:ext cx="1846266" cy="2344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Rectangle 31"/>
            <p:cNvSpPr>
              <a:spLocks noChangeArrowheads="1"/>
            </p:cNvSpPr>
            <p:nvPr userDrawn="1"/>
          </p:nvSpPr>
          <p:spPr bwMode="auto">
            <a:xfrm>
              <a:off x="8426465" y="3513141"/>
              <a:ext cx="2030416"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Rectangle 34"/>
            <p:cNvSpPr>
              <a:spLocks noChangeArrowheads="1"/>
            </p:cNvSpPr>
            <p:nvPr userDrawn="1"/>
          </p:nvSpPr>
          <p:spPr bwMode="auto">
            <a:xfrm>
              <a:off x="9115441" y="5426082"/>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Rectangle 36"/>
            <p:cNvSpPr>
              <a:spLocks noChangeArrowheads="1"/>
            </p:cNvSpPr>
            <p:nvPr userDrawn="1"/>
          </p:nvSpPr>
          <p:spPr bwMode="auto">
            <a:xfrm>
              <a:off x="8704278" y="3795717"/>
              <a:ext cx="1489078"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Rectangle 38"/>
            <p:cNvSpPr>
              <a:spLocks noChangeArrowheads="1"/>
            </p:cNvSpPr>
            <p:nvPr userDrawn="1"/>
          </p:nvSpPr>
          <p:spPr bwMode="auto">
            <a:xfrm>
              <a:off x="8704278" y="4208467"/>
              <a:ext cx="1489078"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Rectangle 42"/>
            <p:cNvSpPr>
              <a:spLocks noChangeArrowheads="1"/>
            </p:cNvSpPr>
            <p:nvPr userDrawn="1"/>
          </p:nvSpPr>
          <p:spPr bwMode="auto">
            <a:xfrm>
              <a:off x="8704278" y="5038731"/>
              <a:ext cx="1489078"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03" name="Group 302"/>
            <p:cNvGrpSpPr/>
            <p:nvPr userDrawn="1"/>
          </p:nvGrpSpPr>
          <p:grpSpPr>
            <a:xfrm>
              <a:off x="9491237" y="5857914"/>
              <a:ext cx="485776" cy="941389"/>
              <a:chOff x="7319976" y="4953006"/>
              <a:chExt cx="485776" cy="941389"/>
            </a:xfrm>
          </p:grpSpPr>
          <p:sp>
            <p:nvSpPr>
              <p:cNvPr id="312" name="Rectangle 46"/>
              <p:cNvSpPr>
                <a:spLocks noChangeArrowheads="1"/>
              </p:cNvSpPr>
              <p:nvPr userDrawn="1"/>
            </p:nvSpPr>
            <p:spPr bwMode="auto">
              <a:xfrm>
                <a:off x="7516826" y="5524507"/>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Oval 47"/>
              <p:cNvSpPr>
                <a:spLocks noChangeArrowheads="1"/>
              </p:cNvSpPr>
              <p:nvPr userDrawn="1"/>
            </p:nvSpPr>
            <p:spPr bwMode="auto">
              <a:xfrm>
                <a:off x="7319976" y="5205419"/>
                <a:ext cx="485776" cy="485776"/>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Oval 48"/>
              <p:cNvSpPr>
                <a:spLocks noChangeArrowheads="1"/>
              </p:cNvSpPr>
              <p:nvPr userDrawn="1"/>
            </p:nvSpPr>
            <p:spPr bwMode="auto">
              <a:xfrm>
                <a:off x="7380301" y="4953006"/>
                <a:ext cx="357188" cy="357188"/>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4" name="Freeform 263"/>
            <p:cNvSpPr>
              <a:spLocks/>
            </p:cNvSpPr>
            <p:nvPr userDrawn="1"/>
          </p:nvSpPr>
          <p:spPr bwMode="auto">
            <a:xfrm flipH="1">
              <a:off x="9767464" y="1212851"/>
              <a:ext cx="705928" cy="467731"/>
            </a:xfrm>
            <a:custGeom>
              <a:avLst/>
              <a:gdLst>
                <a:gd name="T0" fmla="*/ 181 w 216"/>
                <a:gd name="T1" fmla="*/ 63 h 143"/>
                <a:gd name="T2" fmla="*/ 181 w 216"/>
                <a:gd name="T3" fmla="*/ 60 h 143"/>
                <a:gd name="T4" fmla="*/ 122 w 216"/>
                <a:gd name="T5" fmla="*/ 0 h 143"/>
                <a:gd name="T6" fmla="*/ 72 w 216"/>
                <a:gd name="T7" fmla="*/ 27 h 143"/>
                <a:gd name="T8" fmla="*/ 56 w 216"/>
                <a:gd name="T9" fmla="*/ 23 h 143"/>
                <a:gd name="T10" fmla="*/ 36 w 216"/>
                <a:gd name="T11" fmla="*/ 28 h 143"/>
                <a:gd name="T12" fmla="*/ 21 w 216"/>
                <a:gd name="T13" fmla="*/ 56 h 143"/>
                <a:gd name="T14" fmla="*/ 0 w 216"/>
                <a:gd name="T15" fmla="*/ 96 h 143"/>
                <a:gd name="T16" fmla="*/ 41 w 216"/>
                <a:gd name="T17" fmla="*/ 143 h 143"/>
                <a:gd name="T18" fmla="*/ 47 w 216"/>
                <a:gd name="T19" fmla="*/ 143 h 143"/>
                <a:gd name="T20" fmla="*/ 51 w 216"/>
                <a:gd name="T21" fmla="*/ 143 h 143"/>
                <a:gd name="T22" fmla="*/ 149 w 216"/>
                <a:gd name="T23" fmla="*/ 143 h 143"/>
                <a:gd name="T24" fmla="*/ 151 w 216"/>
                <a:gd name="T25" fmla="*/ 143 h 143"/>
                <a:gd name="T26" fmla="*/ 153 w 216"/>
                <a:gd name="T27" fmla="*/ 143 h 143"/>
                <a:gd name="T28" fmla="*/ 160 w 216"/>
                <a:gd name="T29" fmla="*/ 143 h 143"/>
                <a:gd name="T30" fmla="*/ 176 w 216"/>
                <a:gd name="T31" fmla="*/ 143 h 143"/>
                <a:gd name="T32" fmla="*/ 216 w 216"/>
                <a:gd name="T33" fmla="*/ 102 h 143"/>
                <a:gd name="T34" fmla="*/ 181 w 216"/>
                <a:gd name="T35" fmla="*/ 6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143">
                  <a:moveTo>
                    <a:pt x="181" y="63"/>
                  </a:moveTo>
                  <a:cubicBezTo>
                    <a:pt x="181" y="62"/>
                    <a:pt x="181" y="61"/>
                    <a:pt x="181" y="60"/>
                  </a:cubicBezTo>
                  <a:cubicBezTo>
                    <a:pt x="181" y="27"/>
                    <a:pt x="155" y="0"/>
                    <a:pt x="122" y="0"/>
                  </a:cubicBezTo>
                  <a:cubicBezTo>
                    <a:pt x="101" y="0"/>
                    <a:pt x="83" y="11"/>
                    <a:pt x="72" y="27"/>
                  </a:cubicBezTo>
                  <a:cubicBezTo>
                    <a:pt x="67" y="24"/>
                    <a:pt x="62" y="23"/>
                    <a:pt x="56" y="23"/>
                  </a:cubicBezTo>
                  <a:cubicBezTo>
                    <a:pt x="48" y="23"/>
                    <a:pt x="42" y="25"/>
                    <a:pt x="36" y="28"/>
                  </a:cubicBezTo>
                  <a:cubicBezTo>
                    <a:pt x="27" y="34"/>
                    <a:pt x="21" y="45"/>
                    <a:pt x="21" y="56"/>
                  </a:cubicBezTo>
                  <a:cubicBezTo>
                    <a:pt x="8" y="65"/>
                    <a:pt x="0" y="79"/>
                    <a:pt x="0" y="96"/>
                  </a:cubicBezTo>
                  <a:cubicBezTo>
                    <a:pt x="0" y="120"/>
                    <a:pt x="18" y="140"/>
                    <a:pt x="41" y="143"/>
                  </a:cubicBezTo>
                  <a:cubicBezTo>
                    <a:pt x="43" y="143"/>
                    <a:pt x="45" y="143"/>
                    <a:pt x="47" y="143"/>
                  </a:cubicBezTo>
                  <a:cubicBezTo>
                    <a:pt x="48" y="143"/>
                    <a:pt x="50" y="143"/>
                    <a:pt x="51" y="143"/>
                  </a:cubicBezTo>
                  <a:cubicBezTo>
                    <a:pt x="73" y="143"/>
                    <a:pt x="124" y="143"/>
                    <a:pt x="149" y="143"/>
                  </a:cubicBezTo>
                  <a:cubicBezTo>
                    <a:pt x="150" y="143"/>
                    <a:pt x="150" y="143"/>
                    <a:pt x="151" y="143"/>
                  </a:cubicBezTo>
                  <a:cubicBezTo>
                    <a:pt x="153" y="143"/>
                    <a:pt x="153" y="143"/>
                    <a:pt x="153" y="143"/>
                  </a:cubicBezTo>
                  <a:cubicBezTo>
                    <a:pt x="154" y="143"/>
                    <a:pt x="158" y="143"/>
                    <a:pt x="160" y="143"/>
                  </a:cubicBezTo>
                  <a:cubicBezTo>
                    <a:pt x="176" y="143"/>
                    <a:pt x="176" y="143"/>
                    <a:pt x="176" y="143"/>
                  </a:cubicBezTo>
                  <a:cubicBezTo>
                    <a:pt x="198" y="142"/>
                    <a:pt x="216" y="124"/>
                    <a:pt x="216" y="102"/>
                  </a:cubicBezTo>
                  <a:cubicBezTo>
                    <a:pt x="216" y="82"/>
                    <a:pt x="201" y="66"/>
                    <a:pt x="181" y="63"/>
                  </a:cubicBezTo>
                  <a:close/>
                </a:path>
              </a:pathLst>
            </a:custGeom>
            <a:solidFill>
              <a:schemeClr val="accent6">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IN"/>
            </a:p>
          </p:txBody>
        </p:sp>
        <p:sp>
          <p:nvSpPr>
            <p:cNvPr id="305" name="Freeform 264"/>
            <p:cNvSpPr>
              <a:spLocks/>
            </p:cNvSpPr>
            <p:nvPr userDrawn="1"/>
          </p:nvSpPr>
          <p:spPr bwMode="auto">
            <a:xfrm flipH="1">
              <a:off x="11328704" y="1452491"/>
              <a:ext cx="873387" cy="574559"/>
            </a:xfrm>
            <a:custGeom>
              <a:avLst/>
              <a:gdLst>
                <a:gd name="T0" fmla="*/ 224 w 267"/>
                <a:gd name="T1" fmla="*/ 77 h 176"/>
                <a:gd name="T2" fmla="*/ 224 w 267"/>
                <a:gd name="T3" fmla="*/ 74 h 176"/>
                <a:gd name="T4" fmla="*/ 151 w 267"/>
                <a:gd name="T5" fmla="*/ 0 h 176"/>
                <a:gd name="T6" fmla="*/ 89 w 267"/>
                <a:gd name="T7" fmla="*/ 33 h 176"/>
                <a:gd name="T8" fmla="*/ 69 w 267"/>
                <a:gd name="T9" fmla="*/ 28 h 176"/>
                <a:gd name="T10" fmla="*/ 46 w 267"/>
                <a:gd name="T11" fmla="*/ 35 h 176"/>
                <a:gd name="T12" fmla="*/ 27 w 267"/>
                <a:gd name="T13" fmla="*/ 69 h 176"/>
                <a:gd name="T14" fmla="*/ 0 w 267"/>
                <a:gd name="T15" fmla="*/ 118 h 176"/>
                <a:gd name="T16" fmla="*/ 52 w 267"/>
                <a:gd name="T17" fmla="*/ 176 h 176"/>
                <a:gd name="T18" fmla="*/ 58 w 267"/>
                <a:gd name="T19" fmla="*/ 176 h 176"/>
                <a:gd name="T20" fmla="*/ 64 w 267"/>
                <a:gd name="T21" fmla="*/ 176 h 176"/>
                <a:gd name="T22" fmla="*/ 184 w 267"/>
                <a:gd name="T23" fmla="*/ 176 h 176"/>
                <a:gd name="T24" fmla="*/ 186 w 267"/>
                <a:gd name="T25" fmla="*/ 176 h 176"/>
                <a:gd name="T26" fmla="*/ 190 w 267"/>
                <a:gd name="T27" fmla="*/ 176 h 176"/>
                <a:gd name="T28" fmla="*/ 198 w 267"/>
                <a:gd name="T29" fmla="*/ 176 h 176"/>
                <a:gd name="T30" fmla="*/ 218 w 267"/>
                <a:gd name="T31" fmla="*/ 176 h 176"/>
                <a:gd name="T32" fmla="*/ 267 w 267"/>
                <a:gd name="T33" fmla="*/ 126 h 176"/>
                <a:gd name="T34" fmla="*/ 224 w 267"/>
                <a:gd name="T35" fmla="*/ 7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7" h="176">
                  <a:moveTo>
                    <a:pt x="224" y="77"/>
                  </a:moveTo>
                  <a:cubicBezTo>
                    <a:pt x="224" y="76"/>
                    <a:pt x="224" y="75"/>
                    <a:pt x="224" y="74"/>
                  </a:cubicBezTo>
                  <a:cubicBezTo>
                    <a:pt x="224" y="33"/>
                    <a:pt x="191" y="0"/>
                    <a:pt x="151" y="0"/>
                  </a:cubicBezTo>
                  <a:cubicBezTo>
                    <a:pt x="125" y="0"/>
                    <a:pt x="103" y="13"/>
                    <a:pt x="89" y="33"/>
                  </a:cubicBezTo>
                  <a:cubicBezTo>
                    <a:pt x="84" y="30"/>
                    <a:pt x="77" y="28"/>
                    <a:pt x="69" y="28"/>
                  </a:cubicBezTo>
                  <a:cubicBezTo>
                    <a:pt x="60" y="28"/>
                    <a:pt x="52" y="30"/>
                    <a:pt x="46" y="35"/>
                  </a:cubicBezTo>
                  <a:cubicBezTo>
                    <a:pt x="34" y="42"/>
                    <a:pt x="27" y="55"/>
                    <a:pt x="27" y="69"/>
                  </a:cubicBezTo>
                  <a:cubicBezTo>
                    <a:pt x="11" y="80"/>
                    <a:pt x="0" y="98"/>
                    <a:pt x="0" y="118"/>
                  </a:cubicBezTo>
                  <a:cubicBezTo>
                    <a:pt x="0" y="148"/>
                    <a:pt x="23" y="172"/>
                    <a:pt x="52" y="176"/>
                  </a:cubicBezTo>
                  <a:cubicBezTo>
                    <a:pt x="54" y="176"/>
                    <a:pt x="56" y="176"/>
                    <a:pt x="58" y="176"/>
                  </a:cubicBezTo>
                  <a:cubicBezTo>
                    <a:pt x="60" y="176"/>
                    <a:pt x="62" y="176"/>
                    <a:pt x="64" y="176"/>
                  </a:cubicBezTo>
                  <a:cubicBezTo>
                    <a:pt x="91" y="176"/>
                    <a:pt x="154" y="176"/>
                    <a:pt x="184" y="176"/>
                  </a:cubicBezTo>
                  <a:cubicBezTo>
                    <a:pt x="185" y="176"/>
                    <a:pt x="186" y="176"/>
                    <a:pt x="186" y="176"/>
                  </a:cubicBezTo>
                  <a:cubicBezTo>
                    <a:pt x="190" y="176"/>
                    <a:pt x="190" y="176"/>
                    <a:pt x="190" y="176"/>
                  </a:cubicBezTo>
                  <a:cubicBezTo>
                    <a:pt x="191" y="176"/>
                    <a:pt x="195" y="176"/>
                    <a:pt x="198" y="176"/>
                  </a:cubicBezTo>
                  <a:cubicBezTo>
                    <a:pt x="218" y="176"/>
                    <a:pt x="218" y="176"/>
                    <a:pt x="218" y="176"/>
                  </a:cubicBezTo>
                  <a:cubicBezTo>
                    <a:pt x="245" y="175"/>
                    <a:pt x="267" y="153"/>
                    <a:pt x="267" y="126"/>
                  </a:cubicBezTo>
                  <a:cubicBezTo>
                    <a:pt x="267" y="101"/>
                    <a:pt x="248" y="81"/>
                    <a:pt x="224" y="77"/>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a:p>
          </p:txBody>
        </p:sp>
        <p:sp>
          <p:nvSpPr>
            <p:cNvPr id="306" name="Freeform 266"/>
            <p:cNvSpPr>
              <a:spLocks/>
            </p:cNvSpPr>
            <p:nvPr userDrawn="1"/>
          </p:nvSpPr>
          <p:spPr bwMode="auto">
            <a:xfrm>
              <a:off x="10480609" y="2678119"/>
              <a:ext cx="664063" cy="154466"/>
            </a:xfrm>
            <a:custGeom>
              <a:avLst/>
              <a:gdLst>
                <a:gd name="T0" fmla="*/ 147 w 203"/>
                <a:gd name="T1" fmla="*/ 0 h 47"/>
                <a:gd name="T2" fmla="*/ 112 w 203"/>
                <a:gd name="T3" fmla="*/ 11 h 47"/>
                <a:gd name="T4" fmla="*/ 72 w 203"/>
                <a:gd name="T5" fmla="*/ 0 h 47"/>
                <a:gd name="T6" fmla="*/ 0 w 203"/>
                <a:gd name="T7" fmla="*/ 47 h 47"/>
                <a:gd name="T8" fmla="*/ 72 w 203"/>
                <a:gd name="T9" fmla="*/ 19 h 47"/>
                <a:gd name="T10" fmla="*/ 99 w 203"/>
                <a:gd name="T11" fmla="*/ 22 h 47"/>
                <a:gd name="T12" fmla="*/ 91 w 203"/>
                <a:gd name="T13" fmla="*/ 36 h 47"/>
                <a:gd name="T14" fmla="*/ 107 w 203"/>
                <a:gd name="T15" fmla="*/ 24 h 47"/>
                <a:gd name="T16" fmla="*/ 122 w 203"/>
                <a:gd name="T17" fmla="*/ 18 h 47"/>
                <a:gd name="T18" fmla="*/ 147 w 203"/>
                <a:gd name="T19" fmla="*/ 15 h 47"/>
                <a:gd name="T20" fmla="*/ 203 w 203"/>
                <a:gd name="T21" fmla="*/ 36 h 47"/>
                <a:gd name="T22" fmla="*/ 147 w 203"/>
                <a:gd name="T2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3" h="47">
                  <a:moveTo>
                    <a:pt x="147" y="0"/>
                  </a:moveTo>
                  <a:cubicBezTo>
                    <a:pt x="134" y="0"/>
                    <a:pt x="122" y="4"/>
                    <a:pt x="112" y="11"/>
                  </a:cubicBezTo>
                  <a:cubicBezTo>
                    <a:pt x="101" y="4"/>
                    <a:pt x="87" y="0"/>
                    <a:pt x="72" y="0"/>
                  </a:cubicBezTo>
                  <a:cubicBezTo>
                    <a:pt x="40" y="0"/>
                    <a:pt x="12" y="19"/>
                    <a:pt x="0" y="47"/>
                  </a:cubicBezTo>
                  <a:cubicBezTo>
                    <a:pt x="17" y="30"/>
                    <a:pt x="43" y="19"/>
                    <a:pt x="72" y="19"/>
                  </a:cubicBezTo>
                  <a:cubicBezTo>
                    <a:pt x="82" y="19"/>
                    <a:pt x="91" y="20"/>
                    <a:pt x="99" y="22"/>
                  </a:cubicBezTo>
                  <a:cubicBezTo>
                    <a:pt x="96" y="27"/>
                    <a:pt x="93" y="31"/>
                    <a:pt x="91" y="36"/>
                  </a:cubicBezTo>
                  <a:cubicBezTo>
                    <a:pt x="96" y="32"/>
                    <a:pt x="101" y="28"/>
                    <a:pt x="107" y="24"/>
                  </a:cubicBezTo>
                  <a:cubicBezTo>
                    <a:pt x="112" y="22"/>
                    <a:pt x="117" y="20"/>
                    <a:pt x="122" y="18"/>
                  </a:cubicBezTo>
                  <a:cubicBezTo>
                    <a:pt x="130" y="16"/>
                    <a:pt x="138" y="15"/>
                    <a:pt x="147" y="15"/>
                  </a:cubicBezTo>
                  <a:cubicBezTo>
                    <a:pt x="169" y="15"/>
                    <a:pt x="189" y="23"/>
                    <a:pt x="203" y="36"/>
                  </a:cubicBezTo>
                  <a:cubicBezTo>
                    <a:pt x="193" y="15"/>
                    <a:pt x="172" y="0"/>
                    <a:pt x="147" y="0"/>
                  </a:cubicBezTo>
                </a:path>
              </a:pathLst>
            </a:custGeom>
            <a:solidFill>
              <a:schemeClr val="accent1">
                <a:lumMod val="50000"/>
              </a:schemeClr>
            </a:solidFill>
            <a:ln>
              <a:noFill/>
            </a:ln>
            <a:extLst/>
          </p:spPr>
          <p:txBody>
            <a:bodyPr vert="horz" wrap="square" lIns="91440" tIns="45720" rIns="91440" bIns="45720" numCol="1" anchor="t" anchorCtr="0" compatLnSpc="1">
              <a:prstTxWarp prst="textNoShape">
                <a:avLst/>
              </a:prstTxWarp>
            </a:bodyPr>
            <a:lstStyle/>
            <a:p>
              <a:endParaRPr lang="en-IN"/>
            </a:p>
          </p:txBody>
        </p:sp>
        <p:sp>
          <p:nvSpPr>
            <p:cNvPr id="307" name="Freeform 267"/>
            <p:cNvSpPr>
              <a:spLocks/>
            </p:cNvSpPr>
            <p:nvPr userDrawn="1"/>
          </p:nvSpPr>
          <p:spPr bwMode="auto">
            <a:xfrm>
              <a:off x="11013303" y="2411051"/>
              <a:ext cx="661175" cy="147249"/>
            </a:xfrm>
            <a:custGeom>
              <a:avLst/>
              <a:gdLst>
                <a:gd name="T0" fmla="*/ 146 w 202"/>
                <a:gd name="T1" fmla="*/ 0 h 45"/>
                <a:gd name="T2" fmla="*/ 111 w 202"/>
                <a:gd name="T3" fmla="*/ 10 h 45"/>
                <a:gd name="T4" fmla="*/ 71 w 202"/>
                <a:gd name="T5" fmla="*/ 0 h 45"/>
                <a:gd name="T6" fmla="*/ 0 w 202"/>
                <a:gd name="T7" fmla="*/ 45 h 45"/>
                <a:gd name="T8" fmla="*/ 71 w 202"/>
                <a:gd name="T9" fmla="*/ 18 h 45"/>
                <a:gd name="T10" fmla="*/ 99 w 202"/>
                <a:gd name="T11" fmla="*/ 22 h 45"/>
                <a:gd name="T12" fmla="*/ 90 w 202"/>
                <a:gd name="T13" fmla="*/ 35 h 45"/>
                <a:gd name="T14" fmla="*/ 106 w 202"/>
                <a:gd name="T15" fmla="*/ 24 h 45"/>
                <a:gd name="T16" fmla="*/ 122 w 202"/>
                <a:gd name="T17" fmla="*/ 17 h 45"/>
                <a:gd name="T18" fmla="*/ 146 w 202"/>
                <a:gd name="T19" fmla="*/ 14 h 45"/>
                <a:gd name="T20" fmla="*/ 202 w 202"/>
                <a:gd name="T21" fmla="*/ 35 h 45"/>
                <a:gd name="T22" fmla="*/ 146 w 202"/>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2" h="45">
                  <a:moveTo>
                    <a:pt x="146" y="0"/>
                  </a:moveTo>
                  <a:cubicBezTo>
                    <a:pt x="133" y="0"/>
                    <a:pt x="121" y="4"/>
                    <a:pt x="111" y="10"/>
                  </a:cubicBezTo>
                  <a:cubicBezTo>
                    <a:pt x="100" y="4"/>
                    <a:pt x="86" y="0"/>
                    <a:pt x="71" y="0"/>
                  </a:cubicBezTo>
                  <a:cubicBezTo>
                    <a:pt x="40" y="0"/>
                    <a:pt x="12" y="19"/>
                    <a:pt x="0" y="45"/>
                  </a:cubicBezTo>
                  <a:cubicBezTo>
                    <a:pt x="17" y="29"/>
                    <a:pt x="43" y="18"/>
                    <a:pt x="71" y="18"/>
                  </a:cubicBezTo>
                  <a:cubicBezTo>
                    <a:pt x="81" y="18"/>
                    <a:pt x="90" y="20"/>
                    <a:pt x="99" y="22"/>
                  </a:cubicBezTo>
                  <a:cubicBezTo>
                    <a:pt x="95" y="26"/>
                    <a:pt x="92" y="30"/>
                    <a:pt x="90" y="35"/>
                  </a:cubicBezTo>
                  <a:cubicBezTo>
                    <a:pt x="95" y="31"/>
                    <a:pt x="100" y="27"/>
                    <a:pt x="106" y="24"/>
                  </a:cubicBezTo>
                  <a:cubicBezTo>
                    <a:pt x="111" y="21"/>
                    <a:pt x="116" y="19"/>
                    <a:pt x="122" y="17"/>
                  </a:cubicBezTo>
                  <a:cubicBezTo>
                    <a:pt x="129" y="15"/>
                    <a:pt x="138" y="14"/>
                    <a:pt x="146" y="14"/>
                  </a:cubicBezTo>
                  <a:cubicBezTo>
                    <a:pt x="168" y="14"/>
                    <a:pt x="188" y="22"/>
                    <a:pt x="202" y="35"/>
                  </a:cubicBezTo>
                  <a:cubicBezTo>
                    <a:pt x="192" y="14"/>
                    <a:pt x="171" y="0"/>
                    <a:pt x="146" y="0"/>
                  </a:cubicBezTo>
                </a:path>
              </a:pathLst>
            </a:custGeom>
            <a:solidFill>
              <a:schemeClr val="accent1">
                <a:lumMod val="50000"/>
              </a:schemeClr>
            </a:solidFill>
            <a:ln>
              <a:noFill/>
            </a:ln>
            <a:extLst/>
          </p:spPr>
          <p:txBody>
            <a:bodyPr vert="horz" wrap="square" lIns="91440" tIns="45720" rIns="91440" bIns="45720" numCol="1" anchor="t" anchorCtr="0" compatLnSpc="1">
              <a:prstTxWarp prst="textNoShape">
                <a:avLst/>
              </a:prstTxWarp>
            </a:bodyPr>
            <a:lstStyle/>
            <a:p>
              <a:endParaRPr lang="en-IN"/>
            </a:p>
          </p:txBody>
        </p:sp>
        <p:sp>
          <p:nvSpPr>
            <p:cNvPr id="308" name="Freeform 268"/>
            <p:cNvSpPr>
              <a:spLocks/>
            </p:cNvSpPr>
            <p:nvPr userDrawn="1"/>
          </p:nvSpPr>
          <p:spPr bwMode="auto">
            <a:xfrm>
              <a:off x="11325123" y="2623262"/>
              <a:ext cx="664063" cy="157354"/>
            </a:xfrm>
            <a:custGeom>
              <a:avLst/>
              <a:gdLst>
                <a:gd name="T0" fmla="*/ 147 w 203"/>
                <a:gd name="T1" fmla="*/ 0 h 48"/>
                <a:gd name="T2" fmla="*/ 112 w 203"/>
                <a:gd name="T3" fmla="*/ 11 h 48"/>
                <a:gd name="T4" fmla="*/ 72 w 203"/>
                <a:gd name="T5" fmla="*/ 0 h 48"/>
                <a:gd name="T6" fmla="*/ 0 w 203"/>
                <a:gd name="T7" fmla="*/ 48 h 48"/>
                <a:gd name="T8" fmla="*/ 72 w 203"/>
                <a:gd name="T9" fmla="*/ 19 h 48"/>
                <a:gd name="T10" fmla="*/ 99 w 203"/>
                <a:gd name="T11" fmla="*/ 23 h 48"/>
                <a:gd name="T12" fmla="*/ 91 w 203"/>
                <a:gd name="T13" fmla="*/ 37 h 48"/>
                <a:gd name="T14" fmla="*/ 107 w 203"/>
                <a:gd name="T15" fmla="*/ 25 h 48"/>
                <a:gd name="T16" fmla="*/ 122 w 203"/>
                <a:gd name="T17" fmla="*/ 18 h 48"/>
                <a:gd name="T18" fmla="*/ 147 w 203"/>
                <a:gd name="T19" fmla="*/ 15 h 48"/>
                <a:gd name="T20" fmla="*/ 203 w 203"/>
                <a:gd name="T21" fmla="*/ 37 h 48"/>
                <a:gd name="T22" fmla="*/ 147 w 203"/>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3" h="48">
                  <a:moveTo>
                    <a:pt x="147" y="0"/>
                  </a:moveTo>
                  <a:cubicBezTo>
                    <a:pt x="134" y="0"/>
                    <a:pt x="122" y="4"/>
                    <a:pt x="112" y="11"/>
                  </a:cubicBezTo>
                  <a:cubicBezTo>
                    <a:pt x="101" y="4"/>
                    <a:pt x="87" y="0"/>
                    <a:pt x="72" y="0"/>
                  </a:cubicBezTo>
                  <a:cubicBezTo>
                    <a:pt x="40" y="0"/>
                    <a:pt x="13" y="20"/>
                    <a:pt x="0" y="48"/>
                  </a:cubicBezTo>
                  <a:cubicBezTo>
                    <a:pt x="18" y="30"/>
                    <a:pt x="44" y="19"/>
                    <a:pt x="72" y="19"/>
                  </a:cubicBezTo>
                  <a:cubicBezTo>
                    <a:pt x="82" y="19"/>
                    <a:pt x="91" y="21"/>
                    <a:pt x="99" y="23"/>
                  </a:cubicBezTo>
                  <a:cubicBezTo>
                    <a:pt x="96" y="27"/>
                    <a:pt x="93" y="32"/>
                    <a:pt x="91" y="37"/>
                  </a:cubicBezTo>
                  <a:cubicBezTo>
                    <a:pt x="96" y="32"/>
                    <a:pt x="101" y="28"/>
                    <a:pt x="107" y="25"/>
                  </a:cubicBezTo>
                  <a:cubicBezTo>
                    <a:pt x="112" y="22"/>
                    <a:pt x="117" y="20"/>
                    <a:pt x="122" y="18"/>
                  </a:cubicBezTo>
                  <a:cubicBezTo>
                    <a:pt x="130" y="16"/>
                    <a:pt x="138" y="15"/>
                    <a:pt x="147" y="15"/>
                  </a:cubicBezTo>
                  <a:cubicBezTo>
                    <a:pt x="169" y="15"/>
                    <a:pt x="189" y="24"/>
                    <a:pt x="203" y="37"/>
                  </a:cubicBezTo>
                  <a:cubicBezTo>
                    <a:pt x="193" y="15"/>
                    <a:pt x="172" y="0"/>
                    <a:pt x="147" y="0"/>
                  </a:cubicBezTo>
                </a:path>
              </a:pathLst>
            </a:custGeom>
            <a:solidFill>
              <a:schemeClr val="accent1">
                <a:lumMod val="50000"/>
              </a:schemeClr>
            </a:solidFill>
            <a:ln>
              <a:noFill/>
            </a:ln>
            <a:extLst/>
          </p:spPr>
          <p:txBody>
            <a:bodyPr vert="horz" wrap="square" lIns="91440" tIns="45720" rIns="91440" bIns="45720" numCol="1" anchor="t" anchorCtr="0" compatLnSpc="1">
              <a:prstTxWarp prst="textNoShape">
                <a:avLst/>
              </a:prstTxWarp>
            </a:bodyPr>
            <a:lstStyle/>
            <a:p>
              <a:endParaRPr lang="en-IN"/>
            </a:p>
          </p:txBody>
        </p:sp>
        <p:sp>
          <p:nvSpPr>
            <p:cNvPr id="309" name="Rectangle 308"/>
            <p:cNvSpPr/>
            <p:nvPr userDrawn="1"/>
          </p:nvSpPr>
          <p:spPr bwMode="auto">
            <a:xfrm>
              <a:off x="3462615" y="5909103"/>
              <a:ext cx="461744" cy="7315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0" name="Rectangle 309"/>
            <p:cNvSpPr/>
            <p:nvPr userDrawn="1"/>
          </p:nvSpPr>
          <p:spPr bwMode="auto">
            <a:xfrm>
              <a:off x="3462615" y="6020212"/>
              <a:ext cx="461744" cy="7315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1" name="Rectangle 310"/>
            <p:cNvSpPr/>
            <p:nvPr userDrawn="1"/>
          </p:nvSpPr>
          <p:spPr bwMode="auto">
            <a:xfrm>
              <a:off x="3462615" y="6126558"/>
              <a:ext cx="461744" cy="7315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2646241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2_Title Slide Solid">
    <p:bg>
      <p:bgPr>
        <a:solidFill>
          <a:schemeClr val="accent1"/>
        </a:solidFill>
        <a:effectLst/>
      </p:bgPr>
    </p:bg>
    <p:spTree>
      <p:nvGrpSpPr>
        <p:cNvPr id="1" name=""/>
        <p:cNvGrpSpPr/>
        <p:nvPr/>
      </p:nvGrpSpPr>
      <p:grpSpPr>
        <a:xfrm>
          <a:off x="0" y="0"/>
          <a:ext cx="0" cy="0"/>
          <a:chOff x="0" y="0"/>
          <a:chExt cx="0" cy="0"/>
        </a:xfrm>
      </p:grpSpPr>
      <p:grpSp>
        <p:nvGrpSpPr>
          <p:cNvPr id="128" name="Group 127"/>
          <p:cNvGrpSpPr/>
          <p:nvPr userDrawn="1"/>
        </p:nvGrpSpPr>
        <p:grpSpPr>
          <a:xfrm>
            <a:off x="2610805" y="5270501"/>
            <a:ext cx="9827154" cy="1724754"/>
            <a:chOff x="4402138" y="4330700"/>
            <a:chExt cx="4757738" cy="835026"/>
          </a:xfrm>
        </p:grpSpPr>
        <p:sp>
          <p:nvSpPr>
            <p:cNvPr id="219"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657"/>
              <a:endParaRPr lang="en-US" sz="2400">
                <a:solidFill>
                  <a:srgbClr val="000000"/>
                </a:solidFill>
              </a:endParaRPr>
            </a:p>
          </p:txBody>
        </p:sp>
        <p:sp>
          <p:nvSpPr>
            <p:cNvPr id="220"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657"/>
              <a:endParaRPr lang="en-US" sz="2400">
                <a:solidFill>
                  <a:srgbClr val="000000"/>
                </a:solidFill>
              </a:endParaRPr>
            </a:p>
          </p:txBody>
        </p:sp>
        <p:sp>
          <p:nvSpPr>
            <p:cNvPr id="221"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657"/>
              <a:endParaRPr lang="en-US" sz="2400">
                <a:solidFill>
                  <a:srgbClr val="000000"/>
                </a:solidFill>
              </a:endParaRPr>
            </a:p>
          </p:txBody>
        </p:sp>
      </p:grpSp>
      <p:grpSp>
        <p:nvGrpSpPr>
          <p:cNvPr id="24" name="Group 23"/>
          <p:cNvGrpSpPr/>
          <p:nvPr userDrawn="1"/>
        </p:nvGrpSpPr>
        <p:grpSpPr>
          <a:xfrm>
            <a:off x="5067531" y="6253060"/>
            <a:ext cx="470039" cy="458142"/>
            <a:chOff x="5067530" y="6253060"/>
            <a:chExt cx="470039" cy="458142"/>
          </a:xfrm>
        </p:grpSpPr>
        <p:sp>
          <p:nvSpPr>
            <p:cNvPr id="146" name="Rectangle 7"/>
            <p:cNvSpPr>
              <a:spLocks noChangeArrowheads="1"/>
            </p:cNvSpPr>
            <p:nvPr userDrawn="1"/>
          </p:nvSpPr>
          <p:spPr bwMode="auto">
            <a:xfrm flipH="1">
              <a:off x="5208385" y="6427624"/>
              <a:ext cx="329184" cy="283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Rectangle 8"/>
            <p:cNvSpPr>
              <a:spLocks noChangeArrowheads="1"/>
            </p:cNvSpPr>
            <p:nvPr userDrawn="1"/>
          </p:nvSpPr>
          <p:spPr bwMode="auto">
            <a:xfrm flipH="1">
              <a:off x="5067530" y="6297029"/>
              <a:ext cx="362817" cy="4141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Rectangle 149"/>
            <p:cNvSpPr/>
            <p:nvPr userDrawn="1"/>
          </p:nvSpPr>
          <p:spPr bwMode="auto">
            <a:xfrm>
              <a:off x="5316482" y="6573207"/>
              <a:ext cx="76044" cy="9644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1" name="Rectangle 150"/>
            <p:cNvSpPr/>
            <p:nvPr userDrawn="1"/>
          </p:nvSpPr>
          <p:spPr bwMode="auto">
            <a:xfrm>
              <a:off x="5428924" y="6573207"/>
              <a:ext cx="76044" cy="9644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userDrawn="1"/>
          </p:nvSpPr>
          <p:spPr bwMode="auto">
            <a:xfrm>
              <a:off x="5100322" y="6573207"/>
              <a:ext cx="76044" cy="9644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Rectangle 152"/>
            <p:cNvSpPr/>
            <p:nvPr userDrawn="1"/>
          </p:nvSpPr>
          <p:spPr bwMode="auto">
            <a:xfrm>
              <a:off x="5208402" y="6573207"/>
              <a:ext cx="76044" cy="9644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Rectangle 215"/>
            <p:cNvSpPr/>
            <p:nvPr userDrawn="1"/>
          </p:nvSpPr>
          <p:spPr bwMode="auto">
            <a:xfrm>
              <a:off x="5316482" y="6341456"/>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7" name="Rectangle 216"/>
            <p:cNvSpPr/>
            <p:nvPr userDrawn="1"/>
          </p:nvSpPr>
          <p:spPr bwMode="auto">
            <a:xfrm>
              <a:off x="5208402" y="6341456"/>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8" name="Rectangle 217"/>
            <p:cNvSpPr/>
            <p:nvPr userDrawn="1"/>
          </p:nvSpPr>
          <p:spPr bwMode="auto">
            <a:xfrm>
              <a:off x="5100322" y="6341456"/>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Rectangle 189"/>
            <p:cNvSpPr/>
            <p:nvPr userDrawn="1"/>
          </p:nvSpPr>
          <p:spPr bwMode="auto">
            <a:xfrm>
              <a:off x="5428924" y="6459119"/>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Rectangle 190"/>
            <p:cNvSpPr/>
            <p:nvPr userDrawn="1"/>
          </p:nvSpPr>
          <p:spPr bwMode="auto">
            <a:xfrm>
              <a:off x="5316482" y="6459119"/>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2" name="Rectangle 191"/>
            <p:cNvSpPr/>
            <p:nvPr userDrawn="1"/>
          </p:nvSpPr>
          <p:spPr bwMode="auto">
            <a:xfrm>
              <a:off x="5208402" y="6459119"/>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3" name="Rectangle 192"/>
            <p:cNvSpPr/>
            <p:nvPr userDrawn="1"/>
          </p:nvSpPr>
          <p:spPr bwMode="auto">
            <a:xfrm>
              <a:off x="5100322" y="6459119"/>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9" name="Rectangle 6"/>
            <p:cNvSpPr>
              <a:spLocks noChangeArrowheads="1"/>
            </p:cNvSpPr>
            <p:nvPr userDrawn="1"/>
          </p:nvSpPr>
          <p:spPr bwMode="auto">
            <a:xfrm flipH="1">
              <a:off x="5100321" y="6253060"/>
              <a:ext cx="108080" cy="5468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9" name="Rectangle 10"/>
          <p:cNvSpPr>
            <a:spLocks noChangeArrowheads="1"/>
          </p:cNvSpPr>
          <p:nvPr userDrawn="1"/>
        </p:nvSpPr>
        <p:spPr bwMode="auto">
          <a:xfrm flipH="1">
            <a:off x="1370769" y="5878856"/>
            <a:ext cx="546632" cy="6005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32" tIns="45715" rIns="91432" bIns="45715" numCol="1" anchor="t" anchorCtr="0" compatLnSpc="1">
            <a:prstTxWarp prst="textNoShape">
              <a:avLst/>
            </a:prstTxWarp>
          </a:bodyPr>
          <a:lstStyle/>
          <a:p>
            <a:endParaRPr lang="en-US"/>
          </a:p>
        </p:txBody>
      </p:sp>
      <p:grpSp>
        <p:nvGrpSpPr>
          <p:cNvPr id="28" name="Group 27"/>
          <p:cNvGrpSpPr/>
          <p:nvPr userDrawn="1"/>
        </p:nvGrpSpPr>
        <p:grpSpPr>
          <a:xfrm>
            <a:off x="1321043" y="5793050"/>
            <a:ext cx="818370" cy="686381"/>
            <a:chOff x="1321042" y="5793049"/>
            <a:chExt cx="818370" cy="686381"/>
          </a:xfrm>
        </p:grpSpPr>
        <p:sp>
          <p:nvSpPr>
            <p:cNvPr id="148" name="Rectangle 9"/>
            <p:cNvSpPr>
              <a:spLocks noChangeArrowheads="1"/>
            </p:cNvSpPr>
            <p:nvPr/>
          </p:nvSpPr>
          <p:spPr bwMode="auto">
            <a:xfrm flipH="1">
              <a:off x="1592780" y="6228918"/>
              <a:ext cx="546632" cy="2505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 name="Group 26"/>
            <p:cNvGrpSpPr/>
            <p:nvPr userDrawn="1"/>
          </p:nvGrpSpPr>
          <p:grpSpPr>
            <a:xfrm>
              <a:off x="1321042" y="5793049"/>
              <a:ext cx="764532" cy="599334"/>
              <a:chOff x="1321042" y="5793049"/>
              <a:chExt cx="764532" cy="599334"/>
            </a:xfrm>
          </p:grpSpPr>
          <p:sp>
            <p:nvSpPr>
              <p:cNvPr id="282" name="Rectangle 6"/>
              <p:cNvSpPr>
                <a:spLocks noChangeArrowheads="1"/>
              </p:cNvSpPr>
              <p:nvPr userDrawn="1"/>
            </p:nvSpPr>
            <p:spPr bwMode="auto">
              <a:xfrm flipH="1">
                <a:off x="1370769" y="5793049"/>
                <a:ext cx="91440" cy="506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214"/>
              <p:cNvSpPr/>
              <p:nvPr userDrawn="1"/>
            </p:nvSpPr>
            <p:spPr bwMode="auto">
              <a:xfrm>
                <a:off x="1949600" y="6266909"/>
                <a:ext cx="135230" cy="12547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ectangle 6"/>
              <p:cNvSpPr>
                <a:spLocks noChangeArrowheads="1"/>
              </p:cNvSpPr>
              <p:nvPr userDrawn="1"/>
            </p:nvSpPr>
            <p:spPr bwMode="auto">
              <a:xfrm flipH="1">
                <a:off x="1321042" y="5844430"/>
                <a:ext cx="640080" cy="36576"/>
              </a:xfrm>
              <a:prstGeom prst="rect">
                <a:avLst/>
              </a:prstGeom>
              <a:solidFill>
                <a:schemeClr val="bg1">
                  <a:lumMod val="6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22" name="Rectangle 221"/>
              <p:cNvSpPr/>
              <p:nvPr userDrawn="1"/>
            </p:nvSpPr>
            <p:spPr bwMode="auto">
              <a:xfrm>
                <a:off x="1409374" y="5909621"/>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3" name="Rectangle 222"/>
              <p:cNvSpPr/>
              <p:nvPr userDrawn="1"/>
            </p:nvSpPr>
            <p:spPr bwMode="auto">
              <a:xfrm>
                <a:off x="1534990" y="5909621"/>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Rectangle 223"/>
              <p:cNvSpPr/>
              <p:nvPr userDrawn="1"/>
            </p:nvSpPr>
            <p:spPr bwMode="auto">
              <a:xfrm>
                <a:off x="1661403" y="5909621"/>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5" name="Rectangle 224"/>
              <p:cNvSpPr/>
              <p:nvPr userDrawn="1"/>
            </p:nvSpPr>
            <p:spPr bwMode="auto">
              <a:xfrm>
                <a:off x="1794849" y="5909621"/>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9" name="Rectangle 288"/>
              <p:cNvSpPr/>
              <p:nvPr userDrawn="1"/>
            </p:nvSpPr>
            <p:spPr bwMode="auto">
              <a:xfrm>
                <a:off x="1409374" y="6028612"/>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0" name="Rectangle 289"/>
              <p:cNvSpPr/>
              <p:nvPr userDrawn="1"/>
            </p:nvSpPr>
            <p:spPr bwMode="auto">
              <a:xfrm>
                <a:off x="1534990" y="6028612"/>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1" name="Rectangle 290"/>
              <p:cNvSpPr/>
              <p:nvPr userDrawn="1"/>
            </p:nvSpPr>
            <p:spPr bwMode="auto">
              <a:xfrm>
                <a:off x="1661403" y="6028612"/>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userDrawn="1"/>
            </p:nvSpPr>
            <p:spPr bwMode="auto">
              <a:xfrm>
                <a:off x="1794849" y="6028612"/>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5" name="Rectangle 294"/>
              <p:cNvSpPr/>
              <p:nvPr userDrawn="1"/>
            </p:nvSpPr>
            <p:spPr bwMode="auto">
              <a:xfrm>
                <a:off x="1409374" y="6147603"/>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6" name="Rectangle 295"/>
              <p:cNvSpPr/>
              <p:nvPr userDrawn="1"/>
            </p:nvSpPr>
            <p:spPr bwMode="auto">
              <a:xfrm>
                <a:off x="1534990" y="6147603"/>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7" name="Rectangle 296"/>
              <p:cNvSpPr/>
              <p:nvPr userDrawn="1"/>
            </p:nvSpPr>
            <p:spPr bwMode="auto">
              <a:xfrm>
                <a:off x="1661403" y="6147603"/>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8" name="Rectangle 297"/>
              <p:cNvSpPr/>
              <p:nvPr userDrawn="1"/>
            </p:nvSpPr>
            <p:spPr bwMode="auto">
              <a:xfrm>
                <a:off x="1794849" y="6147603"/>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2" name="Rectangle 311"/>
              <p:cNvSpPr/>
              <p:nvPr userDrawn="1"/>
            </p:nvSpPr>
            <p:spPr bwMode="auto">
              <a:xfrm>
                <a:off x="1534990" y="6266591"/>
                <a:ext cx="83947" cy="12578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3" name="Rectangle 312"/>
              <p:cNvSpPr/>
              <p:nvPr userDrawn="1"/>
            </p:nvSpPr>
            <p:spPr bwMode="auto">
              <a:xfrm>
                <a:off x="1661403" y="6266595"/>
                <a:ext cx="83947" cy="12578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8" name="Rectangle 6"/>
              <p:cNvSpPr>
                <a:spLocks noChangeArrowheads="1"/>
              </p:cNvSpPr>
              <p:nvPr userDrawn="1"/>
            </p:nvSpPr>
            <p:spPr bwMode="auto">
              <a:xfrm flipH="1">
                <a:off x="1994134" y="6182191"/>
                <a:ext cx="91440" cy="506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77" name="Rectangle 6"/>
          <p:cNvSpPr>
            <a:spLocks noChangeArrowheads="1"/>
          </p:cNvSpPr>
          <p:nvPr userDrawn="1"/>
        </p:nvSpPr>
        <p:spPr bwMode="auto">
          <a:xfrm flipH="1">
            <a:off x="3416895" y="5783526"/>
            <a:ext cx="91440" cy="506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32" tIns="45715" rIns="91432" bIns="45715" numCol="1" anchor="t" anchorCtr="0" compatLnSpc="1">
            <a:prstTxWarp prst="textNoShape">
              <a:avLst/>
            </a:prstTxWarp>
          </a:bodyPr>
          <a:lstStyle/>
          <a:p>
            <a:endParaRPr lang="en-US"/>
          </a:p>
        </p:txBody>
      </p:sp>
      <p:sp>
        <p:nvSpPr>
          <p:cNvPr id="278" name="Rectangle 6"/>
          <p:cNvSpPr>
            <a:spLocks noChangeArrowheads="1"/>
          </p:cNvSpPr>
          <p:nvPr userDrawn="1"/>
        </p:nvSpPr>
        <p:spPr bwMode="auto">
          <a:xfrm flipH="1">
            <a:off x="3524041" y="5783526"/>
            <a:ext cx="91440" cy="506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32" tIns="45715" rIns="91432" bIns="45715" numCol="1" anchor="t" anchorCtr="0" compatLnSpc="1">
            <a:prstTxWarp prst="textNoShape">
              <a:avLst/>
            </a:prstTxWarp>
          </a:bodyPr>
          <a:lstStyle/>
          <a:p>
            <a:endParaRPr lang="en-US"/>
          </a:p>
        </p:txBody>
      </p:sp>
      <p:sp>
        <p:nvSpPr>
          <p:cNvPr id="139" name="Freeform 9"/>
          <p:cNvSpPr>
            <a:spLocks/>
          </p:cNvSpPr>
          <p:nvPr userDrawn="1"/>
        </p:nvSpPr>
        <p:spPr bwMode="auto">
          <a:xfrm>
            <a:off x="7104969" y="5672812"/>
            <a:ext cx="5331507" cy="1331570"/>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2" tIns="45715" rIns="91432" bIns="45715" numCol="1" anchor="t" anchorCtr="0" compatLnSpc="1">
            <a:prstTxWarp prst="textNoShape">
              <a:avLst/>
            </a:prstTxWarp>
          </a:bodyPr>
          <a:lstStyle/>
          <a:p>
            <a:pPr marL="0" marR="0" lvl="0" indent="0" defTabSz="93222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0" name="Freeform 15"/>
          <p:cNvSpPr>
            <a:spLocks/>
          </p:cNvSpPr>
          <p:nvPr userDrawn="1"/>
        </p:nvSpPr>
        <p:spPr bwMode="auto">
          <a:xfrm>
            <a:off x="9327155" y="6315940"/>
            <a:ext cx="3144301" cy="688442"/>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2" tIns="45715" rIns="91432" bIns="45715" numCol="1" anchor="t" anchorCtr="0" compatLnSpc="1">
            <a:prstTxWarp prst="textNoShape">
              <a:avLst/>
            </a:prstTxWarp>
          </a:bodyPr>
          <a:lstStyle/>
          <a:p>
            <a:pPr marL="0" marR="0" lvl="0" indent="0" defTabSz="93222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2" name="Freeform 141"/>
          <p:cNvSpPr>
            <a:spLocks/>
          </p:cNvSpPr>
          <p:nvPr userDrawn="1"/>
        </p:nvSpPr>
        <p:spPr bwMode="black">
          <a:xfrm>
            <a:off x="7185749" y="6735804"/>
            <a:ext cx="320838" cy="181002"/>
          </a:xfrm>
          <a:custGeom>
            <a:avLst/>
            <a:gdLst>
              <a:gd name="connsiteX0" fmla="*/ 208342 w 644867"/>
              <a:gd name="connsiteY0" fmla="*/ 178753 h 363803"/>
              <a:gd name="connsiteX1" fmla="*/ 284403 w 644867"/>
              <a:gd name="connsiteY1" fmla="*/ 224190 h 363803"/>
              <a:gd name="connsiteX2" fmla="*/ 322434 w 644867"/>
              <a:gd name="connsiteY2" fmla="*/ 234103 h 363803"/>
              <a:gd name="connsiteX3" fmla="*/ 359638 w 644867"/>
              <a:gd name="connsiteY3" fmla="*/ 224190 h 363803"/>
              <a:gd name="connsiteX4" fmla="*/ 436526 w 644867"/>
              <a:gd name="connsiteY4" fmla="*/ 178753 h 363803"/>
              <a:gd name="connsiteX5" fmla="*/ 644867 w 644867"/>
              <a:gd name="connsiteY5" fmla="*/ 302671 h 363803"/>
              <a:gd name="connsiteX6" fmla="*/ 644867 w 644867"/>
              <a:gd name="connsiteY6" fmla="*/ 324150 h 363803"/>
              <a:gd name="connsiteX7" fmla="*/ 605183 w 644867"/>
              <a:gd name="connsiteY7" fmla="*/ 363803 h 363803"/>
              <a:gd name="connsiteX8" fmla="*/ 39684 w 644867"/>
              <a:gd name="connsiteY8" fmla="*/ 363803 h 363803"/>
              <a:gd name="connsiteX9" fmla="*/ 0 w 644867"/>
              <a:gd name="connsiteY9" fmla="*/ 324150 h 363803"/>
              <a:gd name="connsiteX10" fmla="*/ 0 w 644867"/>
              <a:gd name="connsiteY10" fmla="*/ 302671 h 363803"/>
              <a:gd name="connsiteX11" fmla="*/ 208342 w 644867"/>
              <a:gd name="connsiteY11" fmla="*/ 178753 h 363803"/>
              <a:gd name="connsiteX12" fmla="*/ 644867 w 644867"/>
              <a:gd name="connsiteY12" fmla="*/ 54570 h 363803"/>
              <a:gd name="connsiteX13" fmla="*/ 644867 w 644867"/>
              <a:gd name="connsiteY13" fmla="*/ 267954 h 363803"/>
              <a:gd name="connsiteX14" fmla="*/ 465368 w 644867"/>
              <a:gd name="connsiteY14" fmla="*/ 161262 h 363803"/>
              <a:gd name="connsiteX15" fmla="*/ 0 w 644867"/>
              <a:gd name="connsiteY15" fmla="*/ 54570 h 363803"/>
              <a:gd name="connsiteX16" fmla="*/ 179149 w 644867"/>
              <a:gd name="connsiteY16" fmla="*/ 161262 h 363803"/>
              <a:gd name="connsiteX17" fmla="*/ 0 w 644867"/>
              <a:gd name="connsiteY17" fmla="*/ 267954 h 363803"/>
              <a:gd name="connsiteX18" fmla="*/ 39412 w 644867"/>
              <a:gd name="connsiteY18" fmla="*/ 0 h 363803"/>
              <a:gd name="connsiteX19" fmla="*/ 605107 w 644867"/>
              <a:gd name="connsiteY19" fmla="*/ 0 h 363803"/>
              <a:gd name="connsiteX20" fmla="*/ 640669 w 644867"/>
              <a:gd name="connsiteY20" fmla="*/ 22331 h 363803"/>
              <a:gd name="connsiteX21" fmla="*/ 343762 w 644867"/>
              <a:gd name="connsiteY21" fmla="*/ 198501 h 363803"/>
              <a:gd name="connsiteX22" fmla="*/ 343762 w 644867"/>
              <a:gd name="connsiteY22" fmla="*/ 199328 h 363803"/>
              <a:gd name="connsiteX23" fmla="*/ 322259 w 644867"/>
              <a:gd name="connsiteY23" fmla="*/ 204290 h 363803"/>
              <a:gd name="connsiteX24" fmla="*/ 299929 w 644867"/>
              <a:gd name="connsiteY24" fmla="*/ 199328 h 363803"/>
              <a:gd name="connsiteX25" fmla="*/ 3849 w 644867"/>
              <a:gd name="connsiteY25" fmla="*/ 22331 h 363803"/>
              <a:gd name="connsiteX26" fmla="*/ 39412 w 644867"/>
              <a:gd name="connsiteY26" fmla="*/ 0 h 36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44867" h="363803">
                <a:moveTo>
                  <a:pt x="208342" y="178753"/>
                </a:moveTo>
                <a:cubicBezTo>
                  <a:pt x="208342" y="178753"/>
                  <a:pt x="208342" y="178753"/>
                  <a:pt x="284403" y="224190"/>
                </a:cubicBezTo>
                <a:cubicBezTo>
                  <a:pt x="295151" y="230798"/>
                  <a:pt x="308379" y="234103"/>
                  <a:pt x="322434" y="234103"/>
                </a:cubicBezTo>
                <a:cubicBezTo>
                  <a:pt x="336489" y="234103"/>
                  <a:pt x="349717" y="230798"/>
                  <a:pt x="359638" y="224190"/>
                </a:cubicBezTo>
                <a:cubicBezTo>
                  <a:pt x="359638" y="224190"/>
                  <a:pt x="359638" y="224190"/>
                  <a:pt x="436526" y="178753"/>
                </a:cubicBezTo>
                <a:cubicBezTo>
                  <a:pt x="436526" y="178753"/>
                  <a:pt x="436526" y="178753"/>
                  <a:pt x="644867" y="302671"/>
                </a:cubicBezTo>
                <a:cubicBezTo>
                  <a:pt x="644867" y="302671"/>
                  <a:pt x="644867" y="302671"/>
                  <a:pt x="644867" y="324150"/>
                </a:cubicBezTo>
                <a:cubicBezTo>
                  <a:pt x="644867" y="346455"/>
                  <a:pt x="626679" y="363803"/>
                  <a:pt x="605183" y="363803"/>
                </a:cubicBezTo>
                <a:cubicBezTo>
                  <a:pt x="605183" y="363803"/>
                  <a:pt x="605183" y="363803"/>
                  <a:pt x="39684" y="363803"/>
                </a:cubicBezTo>
                <a:cubicBezTo>
                  <a:pt x="17362" y="363803"/>
                  <a:pt x="0" y="346455"/>
                  <a:pt x="0" y="324150"/>
                </a:cubicBezTo>
                <a:lnTo>
                  <a:pt x="0" y="302671"/>
                </a:lnTo>
                <a:cubicBezTo>
                  <a:pt x="0" y="302671"/>
                  <a:pt x="0" y="302671"/>
                  <a:pt x="208342" y="178753"/>
                </a:cubicBezTo>
                <a:close/>
                <a:moveTo>
                  <a:pt x="644867" y="54570"/>
                </a:moveTo>
                <a:lnTo>
                  <a:pt x="644867" y="267954"/>
                </a:lnTo>
                <a:lnTo>
                  <a:pt x="465368" y="161262"/>
                </a:lnTo>
                <a:close/>
                <a:moveTo>
                  <a:pt x="0" y="54570"/>
                </a:moveTo>
                <a:lnTo>
                  <a:pt x="179149" y="161262"/>
                </a:lnTo>
                <a:lnTo>
                  <a:pt x="0" y="267954"/>
                </a:lnTo>
                <a:close/>
                <a:moveTo>
                  <a:pt x="39412" y="0"/>
                </a:moveTo>
                <a:cubicBezTo>
                  <a:pt x="39412" y="0"/>
                  <a:pt x="39412" y="0"/>
                  <a:pt x="605107" y="0"/>
                </a:cubicBezTo>
                <a:cubicBezTo>
                  <a:pt x="620820" y="0"/>
                  <a:pt x="634053" y="9098"/>
                  <a:pt x="640669" y="22331"/>
                </a:cubicBezTo>
                <a:cubicBezTo>
                  <a:pt x="640669" y="22331"/>
                  <a:pt x="640669" y="22331"/>
                  <a:pt x="343762" y="198501"/>
                </a:cubicBezTo>
                <a:cubicBezTo>
                  <a:pt x="343762" y="198501"/>
                  <a:pt x="343762" y="198501"/>
                  <a:pt x="343762" y="199328"/>
                </a:cubicBezTo>
                <a:cubicBezTo>
                  <a:pt x="337973" y="202636"/>
                  <a:pt x="330530" y="204290"/>
                  <a:pt x="322259" y="204290"/>
                </a:cubicBezTo>
                <a:cubicBezTo>
                  <a:pt x="313989" y="204290"/>
                  <a:pt x="305718" y="202636"/>
                  <a:pt x="299929" y="199328"/>
                </a:cubicBezTo>
                <a:cubicBezTo>
                  <a:pt x="299929" y="199328"/>
                  <a:pt x="299929" y="199328"/>
                  <a:pt x="3849" y="22331"/>
                </a:cubicBezTo>
                <a:cubicBezTo>
                  <a:pt x="9639" y="9098"/>
                  <a:pt x="23698" y="0"/>
                  <a:pt x="39412" y="0"/>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14" tIns="45706" rIns="91414" bIns="45706" numCol="1" rtlCol="0" anchor="ctr" anchorCtr="0" compatLnSpc="1">
            <a:prstTxWarp prst="textNoShape">
              <a:avLst/>
            </a:prstTxWarp>
            <a:noAutofit/>
          </a:bodyPr>
          <a:lstStyle/>
          <a:p>
            <a:pPr defTabSz="740527"/>
            <a:endParaRPr lang="en-US" spc="-122">
              <a:solidFill>
                <a:prstClr val="black">
                  <a:lumMod val="50000"/>
                </a:prstClr>
              </a:solidFill>
              <a:latin typeface="Segoe UI Light" panose="020B0502040204020203" pitchFamily="34" charset="0"/>
              <a:sym typeface="Segoe UI Light" panose="020B0502040204020203" pitchFamily="34" charset="0"/>
            </a:endParaRPr>
          </a:p>
        </p:txBody>
      </p:sp>
      <p:sp>
        <p:nvSpPr>
          <p:cNvPr id="143" name="Rectangle 5"/>
          <p:cNvSpPr>
            <a:spLocks noChangeArrowheads="1"/>
          </p:cNvSpPr>
          <p:nvPr userDrawn="1"/>
        </p:nvSpPr>
        <p:spPr bwMode="auto">
          <a:xfrm flipH="1">
            <a:off x="3418307" y="5868866"/>
            <a:ext cx="550363" cy="53060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32" tIns="45715" rIns="91432" bIns="45715" numCol="1" anchor="t" anchorCtr="0" compatLnSpc="1">
            <a:prstTxWarp prst="textNoShape">
              <a:avLst/>
            </a:prstTxWarp>
          </a:bodyPr>
          <a:lstStyle/>
          <a:p>
            <a:endParaRPr lang="en-US"/>
          </a:p>
        </p:txBody>
      </p:sp>
      <p:sp>
        <p:nvSpPr>
          <p:cNvPr id="144" name="Rectangle 6"/>
          <p:cNvSpPr>
            <a:spLocks noChangeArrowheads="1"/>
          </p:cNvSpPr>
          <p:nvPr userDrawn="1"/>
        </p:nvSpPr>
        <p:spPr bwMode="auto">
          <a:xfrm flipH="1">
            <a:off x="3373345" y="5832524"/>
            <a:ext cx="640080" cy="36576"/>
          </a:xfrm>
          <a:prstGeom prst="rect">
            <a:avLst/>
          </a:prstGeom>
          <a:solidFill>
            <a:schemeClr val="bg1">
              <a:lumMod val="65000"/>
            </a:schemeClr>
          </a:solidFill>
          <a:ln>
            <a:noFill/>
          </a:ln>
          <a:extLst/>
        </p:spPr>
        <p:txBody>
          <a:bodyPr vert="horz" wrap="square" lIns="91432" tIns="45715" rIns="91432" bIns="45715" numCol="1" anchor="t" anchorCtr="0" compatLnSpc="1">
            <a:prstTxWarp prst="textNoShape">
              <a:avLst/>
            </a:prstTxWarp>
          </a:bodyPr>
          <a:lstStyle/>
          <a:p>
            <a:endParaRPr lang="en-US"/>
          </a:p>
        </p:txBody>
      </p:sp>
      <p:sp>
        <p:nvSpPr>
          <p:cNvPr id="145" name="Rectangle 144"/>
          <p:cNvSpPr/>
          <p:nvPr userDrawn="1"/>
        </p:nvSpPr>
        <p:spPr bwMode="auto">
          <a:xfrm>
            <a:off x="3462615" y="6228918"/>
            <a:ext cx="461744" cy="7315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6" name="Freeform 11"/>
          <p:cNvSpPr>
            <a:spLocks/>
          </p:cNvSpPr>
          <p:nvPr userDrawn="1"/>
        </p:nvSpPr>
        <p:spPr bwMode="auto">
          <a:xfrm flipH="1">
            <a:off x="4392841" y="6489852"/>
            <a:ext cx="3970620" cy="51025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2" tIns="45715" rIns="91432" bIns="45715" numCol="1" anchor="t" anchorCtr="0" compatLnSpc="1">
            <a:prstTxWarp prst="textNoShape">
              <a:avLst/>
            </a:prstTxWarp>
          </a:bodyPr>
          <a:lstStyle/>
          <a:p>
            <a:endParaRPr lang="en-US"/>
          </a:p>
        </p:txBody>
      </p:sp>
      <p:sp>
        <p:nvSpPr>
          <p:cNvPr id="157" name="Freeform 18"/>
          <p:cNvSpPr>
            <a:spLocks/>
          </p:cNvSpPr>
          <p:nvPr userDrawn="1"/>
        </p:nvSpPr>
        <p:spPr bwMode="auto">
          <a:xfrm flipH="1">
            <a:off x="984" y="6027174"/>
            <a:ext cx="6091253" cy="97293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2" tIns="45715" rIns="91432" bIns="45715" numCol="1" anchor="t" anchorCtr="0" compatLnSpc="1">
            <a:prstTxWarp prst="textNoShape">
              <a:avLst/>
            </a:prstTxWarp>
          </a:bodyPr>
          <a:lstStyle/>
          <a:p>
            <a:endParaRPr lang="en-US"/>
          </a:p>
        </p:txBody>
      </p:sp>
      <p:sp>
        <p:nvSpPr>
          <p:cNvPr id="158" name="Freeform 29"/>
          <p:cNvSpPr>
            <a:spLocks/>
          </p:cNvSpPr>
          <p:nvPr userDrawn="1"/>
        </p:nvSpPr>
        <p:spPr bwMode="auto">
          <a:xfrm flipH="1">
            <a:off x="432648" y="6571940"/>
            <a:ext cx="3340253"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2" tIns="45715" rIns="91432" bIns="45715" numCol="1" anchor="t" anchorCtr="0" compatLnSpc="1">
            <a:prstTxWarp prst="textNoShape">
              <a:avLst/>
            </a:prstTxWarp>
          </a:bodyPr>
          <a:lstStyle/>
          <a:p>
            <a:endParaRPr lang="en-US"/>
          </a:p>
        </p:txBody>
      </p:sp>
      <p:sp>
        <p:nvSpPr>
          <p:cNvPr id="159" name="AutoShape 3"/>
          <p:cNvSpPr>
            <a:spLocks noChangeAspect="1" noChangeArrowheads="1" noTextEdit="1"/>
          </p:cNvSpPr>
          <p:nvPr userDrawn="1"/>
        </p:nvSpPr>
        <p:spPr bwMode="auto">
          <a:xfrm flipH="1">
            <a:off x="984" y="5602741"/>
            <a:ext cx="4298430"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2" tIns="45715" rIns="91432" bIns="45715" numCol="1" anchor="t" anchorCtr="0" compatLnSpc="1">
            <a:prstTxWarp prst="textNoShape">
              <a:avLst/>
            </a:prstTxWarp>
          </a:bodyPr>
          <a:lstStyle/>
          <a:p>
            <a:endParaRPr lang="en-US"/>
          </a:p>
        </p:txBody>
      </p:sp>
      <p:grpSp>
        <p:nvGrpSpPr>
          <p:cNvPr id="160" name="Group 159"/>
          <p:cNvGrpSpPr/>
          <p:nvPr userDrawn="1"/>
        </p:nvGrpSpPr>
        <p:grpSpPr>
          <a:xfrm flipH="1">
            <a:off x="2682361" y="5937788"/>
            <a:ext cx="188333" cy="365034"/>
            <a:chOff x="6229350" y="5232400"/>
            <a:chExt cx="539750" cy="1046162"/>
          </a:xfrm>
        </p:grpSpPr>
        <p:sp>
          <p:nvSpPr>
            <p:cNvPr id="20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1" name="Group 160"/>
          <p:cNvGrpSpPr/>
          <p:nvPr userDrawn="1"/>
        </p:nvGrpSpPr>
        <p:grpSpPr>
          <a:xfrm flipH="1">
            <a:off x="4803496" y="6266909"/>
            <a:ext cx="188333" cy="365034"/>
            <a:chOff x="6229350" y="5232400"/>
            <a:chExt cx="539750" cy="1046162"/>
          </a:xfrm>
        </p:grpSpPr>
        <p:sp>
          <p:nvSpPr>
            <p:cNvPr id="203"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 name="Freeform 17"/>
          <p:cNvSpPr>
            <a:spLocks/>
          </p:cNvSpPr>
          <p:nvPr userDrawn="1"/>
        </p:nvSpPr>
        <p:spPr bwMode="auto">
          <a:xfrm flipH="1">
            <a:off x="-5288" y="6414294"/>
            <a:ext cx="1445870" cy="58581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2" tIns="45715" rIns="91432" bIns="45715" numCol="1" anchor="t" anchorCtr="0" compatLnSpc="1">
            <a:prstTxWarp prst="textNoShape">
              <a:avLst/>
            </a:prstTxWarp>
          </a:bodyPr>
          <a:lstStyle/>
          <a:p>
            <a:endParaRPr lang="en-US"/>
          </a:p>
        </p:txBody>
      </p:sp>
      <p:grpSp>
        <p:nvGrpSpPr>
          <p:cNvPr id="163" name="Group 162"/>
          <p:cNvGrpSpPr/>
          <p:nvPr userDrawn="1"/>
        </p:nvGrpSpPr>
        <p:grpSpPr>
          <a:xfrm flipH="1">
            <a:off x="4579667" y="6201146"/>
            <a:ext cx="188333" cy="365034"/>
            <a:chOff x="6229350" y="5232400"/>
            <a:chExt cx="539750" cy="1046162"/>
          </a:xfrm>
        </p:grpSpPr>
        <p:sp>
          <p:nvSpPr>
            <p:cNvPr id="20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5" name="Group 164"/>
          <p:cNvGrpSpPr/>
          <p:nvPr userDrawn="1"/>
        </p:nvGrpSpPr>
        <p:grpSpPr>
          <a:xfrm>
            <a:off x="10950846" y="5461051"/>
            <a:ext cx="485776" cy="941389"/>
            <a:chOff x="7916877" y="4953006"/>
            <a:chExt cx="485776" cy="941389"/>
          </a:xfrm>
        </p:grpSpPr>
        <p:sp>
          <p:nvSpPr>
            <p:cNvPr id="197" name="Rectangle 43"/>
            <p:cNvSpPr>
              <a:spLocks noChangeArrowheads="1"/>
            </p:cNvSpPr>
            <p:nvPr userDrawn="1"/>
          </p:nvSpPr>
          <p:spPr bwMode="auto">
            <a:xfrm>
              <a:off x="8113727" y="5524507"/>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44"/>
            <p:cNvSpPr>
              <a:spLocks noChangeArrowheads="1"/>
            </p:cNvSpPr>
            <p:nvPr userDrawn="1"/>
          </p:nvSpPr>
          <p:spPr bwMode="auto">
            <a:xfrm>
              <a:off x="7916877" y="5205419"/>
              <a:ext cx="485776" cy="485776"/>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Oval 45"/>
            <p:cNvSpPr>
              <a:spLocks noChangeArrowheads="1"/>
            </p:cNvSpPr>
            <p:nvPr userDrawn="1"/>
          </p:nvSpPr>
          <p:spPr bwMode="auto">
            <a:xfrm>
              <a:off x="7977202" y="4953006"/>
              <a:ext cx="357188" cy="357188"/>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6" name="Freeform 11"/>
          <p:cNvSpPr>
            <a:spLocks/>
          </p:cNvSpPr>
          <p:nvPr userDrawn="1"/>
        </p:nvSpPr>
        <p:spPr bwMode="auto">
          <a:xfrm>
            <a:off x="7485077" y="3132141"/>
            <a:ext cx="2763842" cy="2762254"/>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32" tIns="45715" rIns="91432" bIns="45715" numCol="1" anchor="t" anchorCtr="0" compatLnSpc="1">
            <a:prstTxWarp prst="textNoShape">
              <a:avLst/>
            </a:prstTxWarp>
          </a:bodyPr>
          <a:lstStyle/>
          <a:p>
            <a:endParaRPr lang="en-US"/>
          </a:p>
        </p:txBody>
      </p:sp>
      <p:sp>
        <p:nvSpPr>
          <p:cNvPr id="167" name="Freeform 12"/>
          <p:cNvSpPr>
            <a:spLocks/>
          </p:cNvSpPr>
          <p:nvPr userDrawn="1"/>
        </p:nvSpPr>
        <p:spPr bwMode="auto">
          <a:xfrm flipH="1">
            <a:off x="8088328" y="577850"/>
            <a:ext cx="1508128" cy="990602"/>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chemeClr val="bg1">
              <a:lumMod val="95000"/>
            </a:schemeClr>
          </a:solidFill>
          <a:ln>
            <a:noFill/>
          </a:ln>
        </p:spPr>
        <p:txBody>
          <a:bodyPr vert="horz" wrap="square" lIns="91432" tIns="45715" rIns="91432" bIns="45715" numCol="1" anchor="t" anchorCtr="0" compatLnSpc="1">
            <a:prstTxWarp prst="textNoShape">
              <a:avLst/>
            </a:prstTxWarp>
          </a:bodyPr>
          <a:lstStyle/>
          <a:p>
            <a:endParaRPr lang="en-US"/>
          </a:p>
        </p:txBody>
      </p:sp>
      <p:sp>
        <p:nvSpPr>
          <p:cNvPr id="168" name="Freeform 13"/>
          <p:cNvSpPr>
            <a:spLocks/>
          </p:cNvSpPr>
          <p:nvPr userDrawn="1"/>
        </p:nvSpPr>
        <p:spPr bwMode="auto">
          <a:xfrm>
            <a:off x="9793305" y="1322388"/>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2" tIns="45715" rIns="91432" bIns="45715" numCol="1" anchor="t" anchorCtr="0" compatLnSpc="1">
            <a:prstTxWarp prst="textNoShape">
              <a:avLst/>
            </a:prstTxWarp>
          </a:bodyPr>
          <a:lstStyle/>
          <a:p>
            <a:endParaRPr lang="en-US"/>
          </a:p>
        </p:txBody>
      </p:sp>
      <p:sp>
        <p:nvSpPr>
          <p:cNvPr id="169" name="Freeform 14"/>
          <p:cNvSpPr>
            <a:spLocks/>
          </p:cNvSpPr>
          <p:nvPr userDrawn="1"/>
        </p:nvSpPr>
        <p:spPr bwMode="auto">
          <a:xfrm flipH="1">
            <a:off x="7386651" y="1501776"/>
            <a:ext cx="836614" cy="546101"/>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chemeClr val="accent6">
              <a:lumMod val="20000"/>
              <a:lumOff val="80000"/>
            </a:schemeClr>
          </a:solidFill>
          <a:ln>
            <a:noFill/>
          </a:ln>
        </p:spPr>
        <p:txBody>
          <a:bodyPr vert="horz" wrap="square" lIns="91432" tIns="45715" rIns="91432" bIns="45715" numCol="1" anchor="t" anchorCtr="0" compatLnSpc="1">
            <a:prstTxWarp prst="textNoShape">
              <a:avLst/>
            </a:prstTxWarp>
          </a:bodyPr>
          <a:lstStyle/>
          <a:p>
            <a:endParaRPr lang="en-US"/>
          </a:p>
        </p:txBody>
      </p:sp>
      <p:sp>
        <p:nvSpPr>
          <p:cNvPr id="170" name="Rectangle 16"/>
          <p:cNvSpPr>
            <a:spLocks noChangeArrowheads="1"/>
          </p:cNvSpPr>
          <p:nvPr userDrawn="1"/>
        </p:nvSpPr>
        <p:spPr bwMode="auto">
          <a:xfrm>
            <a:off x="8518540" y="2017714"/>
            <a:ext cx="1846266" cy="1531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2" tIns="45715" rIns="91432" bIns="45715" numCol="1" anchor="t" anchorCtr="0" compatLnSpc="1">
            <a:prstTxWarp prst="textNoShape">
              <a:avLst/>
            </a:prstTxWarp>
          </a:bodyPr>
          <a:lstStyle/>
          <a:p>
            <a:endParaRPr lang="en-US"/>
          </a:p>
        </p:txBody>
      </p:sp>
      <p:sp>
        <p:nvSpPr>
          <p:cNvPr id="171" name="Rectangle 20"/>
          <p:cNvSpPr>
            <a:spLocks noChangeArrowheads="1"/>
          </p:cNvSpPr>
          <p:nvPr userDrawn="1"/>
        </p:nvSpPr>
        <p:spPr bwMode="auto">
          <a:xfrm>
            <a:off x="8704278" y="2220915"/>
            <a:ext cx="1489078"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2" tIns="45715" rIns="91432" bIns="45715" numCol="1" anchor="t" anchorCtr="0" compatLnSpc="1">
            <a:prstTxWarp prst="textNoShape">
              <a:avLst/>
            </a:prstTxWarp>
          </a:bodyPr>
          <a:lstStyle/>
          <a:p>
            <a:endParaRPr lang="en-US"/>
          </a:p>
        </p:txBody>
      </p:sp>
      <p:sp>
        <p:nvSpPr>
          <p:cNvPr id="172" name="Rectangle 22"/>
          <p:cNvSpPr>
            <a:spLocks noChangeArrowheads="1"/>
          </p:cNvSpPr>
          <p:nvPr userDrawn="1"/>
        </p:nvSpPr>
        <p:spPr bwMode="auto">
          <a:xfrm>
            <a:off x="8704278" y="2640016"/>
            <a:ext cx="1489078"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2" tIns="45715" rIns="91432" bIns="45715" numCol="1" anchor="t" anchorCtr="0" compatLnSpc="1">
            <a:prstTxWarp prst="textNoShape">
              <a:avLst/>
            </a:prstTxWarp>
          </a:bodyPr>
          <a:lstStyle/>
          <a:p>
            <a:endParaRPr lang="en-US"/>
          </a:p>
        </p:txBody>
      </p:sp>
      <p:sp>
        <p:nvSpPr>
          <p:cNvPr id="173" name="Rectangle 27"/>
          <p:cNvSpPr>
            <a:spLocks noChangeArrowheads="1"/>
          </p:cNvSpPr>
          <p:nvPr userDrawn="1"/>
        </p:nvSpPr>
        <p:spPr bwMode="auto">
          <a:xfrm>
            <a:off x="8704278" y="3051178"/>
            <a:ext cx="1489078"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2" tIns="45715" rIns="91432" bIns="45715" numCol="1" anchor="t" anchorCtr="0" compatLnSpc="1">
            <a:prstTxWarp prst="textNoShape">
              <a:avLst/>
            </a:prstTxWarp>
          </a:bodyPr>
          <a:lstStyle/>
          <a:p>
            <a:endParaRPr lang="en-US"/>
          </a:p>
        </p:txBody>
      </p:sp>
      <p:sp>
        <p:nvSpPr>
          <p:cNvPr id="174" name="Rectangle 29"/>
          <p:cNvSpPr>
            <a:spLocks noChangeArrowheads="1"/>
          </p:cNvSpPr>
          <p:nvPr userDrawn="1"/>
        </p:nvSpPr>
        <p:spPr bwMode="auto">
          <a:xfrm>
            <a:off x="8518540" y="3549655"/>
            <a:ext cx="1846266" cy="2344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2" tIns="45715" rIns="91432" bIns="45715" numCol="1" anchor="t" anchorCtr="0" compatLnSpc="1">
            <a:prstTxWarp prst="textNoShape">
              <a:avLst/>
            </a:prstTxWarp>
          </a:bodyPr>
          <a:lstStyle/>
          <a:p>
            <a:endParaRPr lang="en-US"/>
          </a:p>
        </p:txBody>
      </p:sp>
      <p:sp>
        <p:nvSpPr>
          <p:cNvPr id="175" name="Rectangle 31"/>
          <p:cNvSpPr>
            <a:spLocks noChangeArrowheads="1"/>
          </p:cNvSpPr>
          <p:nvPr userDrawn="1"/>
        </p:nvSpPr>
        <p:spPr bwMode="auto">
          <a:xfrm>
            <a:off x="8426465" y="3513142"/>
            <a:ext cx="2030416"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2" tIns="45715" rIns="91432" bIns="45715" numCol="1" anchor="t" anchorCtr="0" compatLnSpc="1">
            <a:prstTxWarp prst="textNoShape">
              <a:avLst/>
            </a:prstTxWarp>
          </a:bodyPr>
          <a:lstStyle/>
          <a:p>
            <a:endParaRPr lang="en-US"/>
          </a:p>
        </p:txBody>
      </p:sp>
      <p:sp>
        <p:nvSpPr>
          <p:cNvPr id="176" name="Rectangle 34"/>
          <p:cNvSpPr>
            <a:spLocks noChangeArrowheads="1"/>
          </p:cNvSpPr>
          <p:nvPr userDrawn="1"/>
        </p:nvSpPr>
        <p:spPr bwMode="auto">
          <a:xfrm>
            <a:off x="9115441" y="5426083"/>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2" tIns="45715" rIns="91432" bIns="45715" numCol="1" anchor="t" anchorCtr="0" compatLnSpc="1">
            <a:prstTxWarp prst="textNoShape">
              <a:avLst/>
            </a:prstTxWarp>
          </a:bodyPr>
          <a:lstStyle/>
          <a:p>
            <a:endParaRPr lang="en-US"/>
          </a:p>
        </p:txBody>
      </p:sp>
      <p:sp>
        <p:nvSpPr>
          <p:cNvPr id="177" name="Rectangle 36"/>
          <p:cNvSpPr>
            <a:spLocks noChangeArrowheads="1"/>
          </p:cNvSpPr>
          <p:nvPr userDrawn="1"/>
        </p:nvSpPr>
        <p:spPr bwMode="auto">
          <a:xfrm>
            <a:off x="8704278" y="3795718"/>
            <a:ext cx="1489078"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2" tIns="45715" rIns="91432" bIns="45715" numCol="1" anchor="t" anchorCtr="0" compatLnSpc="1">
            <a:prstTxWarp prst="textNoShape">
              <a:avLst/>
            </a:prstTxWarp>
          </a:bodyPr>
          <a:lstStyle/>
          <a:p>
            <a:endParaRPr lang="en-US"/>
          </a:p>
        </p:txBody>
      </p:sp>
      <p:sp>
        <p:nvSpPr>
          <p:cNvPr id="178" name="Rectangle 38"/>
          <p:cNvSpPr>
            <a:spLocks noChangeArrowheads="1"/>
          </p:cNvSpPr>
          <p:nvPr userDrawn="1"/>
        </p:nvSpPr>
        <p:spPr bwMode="auto">
          <a:xfrm>
            <a:off x="8704278" y="4208467"/>
            <a:ext cx="1489078"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2" tIns="45715" rIns="91432" bIns="45715" numCol="1" anchor="t" anchorCtr="0" compatLnSpc="1">
            <a:prstTxWarp prst="textNoShape">
              <a:avLst/>
            </a:prstTxWarp>
          </a:bodyPr>
          <a:lstStyle/>
          <a:p>
            <a:endParaRPr lang="en-US"/>
          </a:p>
        </p:txBody>
      </p:sp>
      <p:sp>
        <p:nvSpPr>
          <p:cNvPr id="179" name="Rectangle 42"/>
          <p:cNvSpPr>
            <a:spLocks noChangeArrowheads="1"/>
          </p:cNvSpPr>
          <p:nvPr userDrawn="1"/>
        </p:nvSpPr>
        <p:spPr bwMode="auto">
          <a:xfrm>
            <a:off x="8704278" y="5038731"/>
            <a:ext cx="1489078"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2" tIns="45715" rIns="91432" bIns="45715" numCol="1" anchor="t" anchorCtr="0" compatLnSpc="1">
            <a:prstTxWarp prst="textNoShape">
              <a:avLst/>
            </a:prstTxWarp>
          </a:bodyPr>
          <a:lstStyle/>
          <a:p>
            <a:endParaRPr lang="en-US"/>
          </a:p>
        </p:txBody>
      </p:sp>
      <p:grpSp>
        <p:nvGrpSpPr>
          <p:cNvPr id="180" name="Group 179"/>
          <p:cNvGrpSpPr/>
          <p:nvPr userDrawn="1"/>
        </p:nvGrpSpPr>
        <p:grpSpPr>
          <a:xfrm>
            <a:off x="9491237" y="5857915"/>
            <a:ext cx="485776" cy="941389"/>
            <a:chOff x="7319976" y="4953006"/>
            <a:chExt cx="485776" cy="941389"/>
          </a:xfrm>
        </p:grpSpPr>
        <p:sp>
          <p:nvSpPr>
            <p:cNvPr id="194" name="Rectangle 46"/>
            <p:cNvSpPr>
              <a:spLocks noChangeArrowheads="1"/>
            </p:cNvSpPr>
            <p:nvPr userDrawn="1"/>
          </p:nvSpPr>
          <p:spPr bwMode="auto">
            <a:xfrm>
              <a:off x="7516826" y="5524507"/>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Oval 47"/>
            <p:cNvSpPr>
              <a:spLocks noChangeArrowheads="1"/>
            </p:cNvSpPr>
            <p:nvPr userDrawn="1"/>
          </p:nvSpPr>
          <p:spPr bwMode="auto">
            <a:xfrm>
              <a:off x="7319976" y="5205419"/>
              <a:ext cx="485776" cy="485776"/>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Oval 48"/>
            <p:cNvSpPr>
              <a:spLocks noChangeArrowheads="1"/>
            </p:cNvSpPr>
            <p:nvPr userDrawn="1"/>
          </p:nvSpPr>
          <p:spPr bwMode="auto">
            <a:xfrm>
              <a:off x="7380301" y="4953006"/>
              <a:ext cx="357188" cy="357188"/>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1" name="Freeform 263"/>
          <p:cNvSpPr>
            <a:spLocks/>
          </p:cNvSpPr>
          <p:nvPr userDrawn="1"/>
        </p:nvSpPr>
        <p:spPr bwMode="auto">
          <a:xfrm flipH="1">
            <a:off x="9767464" y="1212852"/>
            <a:ext cx="705928" cy="467731"/>
          </a:xfrm>
          <a:custGeom>
            <a:avLst/>
            <a:gdLst>
              <a:gd name="T0" fmla="*/ 181 w 216"/>
              <a:gd name="T1" fmla="*/ 63 h 143"/>
              <a:gd name="T2" fmla="*/ 181 w 216"/>
              <a:gd name="T3" fmla="*/ 60 h 143"/>
              <a:gd name="T4" fmla="*/ 122 w 216"/>
              <a:gd name="T5" fmla="*/ 0 h 143"/>
              <a:gd name="T6" fmla="*/ 72 w 216"/>
              <a:gd name="T7" fmla="*/ 27 h 143"/>
              <a:gd name="T8" fmla="*/ 56 w 216"/>
              <a:gd name="T9" fmla="*/ 23 h 143"/>
              <a:gd name="T10" fmla="*/ 36 w 216"/>
              <a:gd name="T11" fmla="*/ 28 h 143"/>
              <a:gd name="T12" fmla="*/ 21 w 216"/>
              <a:gd name="T13" fmla="*/ 56 h 143"/>
              <a:gd name="T14" fmla="*/ 0 w 216"/>
              <a:gd name="T15" fmla="*/ 96 h 143"/>
              <a:gd name="T16" fmla="*/ 41 w 216"/>
              <a:gd name="T17" fmla="*/ 143 h 143"/>
              <a:gd name="T18" fmla="*/ 47 w 216"/>
              <a:gd name="T19" fmla="*/ 143 h 143"/>
              <a:gd name="T20" fmla="*/ 51 w 216"/>
              <a:gd name="T21" fmla="*/ 143 h 143"/>
              <a:gd name="T22" fmla="*/ 149 w 216"/>
              <a:gd name="T23" fmla="*/ 143 h 143"/>
              <a:gd name="T24" fmla="*/ 151 w 216"/>
              <a:gd name="T25" fmla="*/ 143 h 143"/>
              <a:gd name="T26" fmla="*/ 153 w 216"/>
              <a:gd name="T27" fmla="*/ 143 h 143"/>
              <a:gd name="T28" fmla="*/ 160 w 216"/>
              <a:gd name="T29" fmla="*/ 143 h 143"/>
              <a:gd name="T30" fmla="*/ 176 w 216"/>
              <a:gd name="T31" fmla="*/ 143 h 143"/>
              <a:gd name="T32" fmla="*/ 216 w 216"/>
              <a:gd name="T33" fmla="*/ 102 h 143"/>
              <a:gd name="T34" fmla="*/ 181 w 216"/>
              <a:gd name="T35" fmla="*/ 6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143">
                <a:moveTo>
                  <a:pt x="181" y="63"/>
                </a:moveTo>
                <a:cubicBezTo>
                  <a:pt x="181" y="62"/>
                  <a:pt x="181" y="61"/>
                  <a:pt x="181" y="60"/>
                </a:cubicBezTo>
                <a:cubicBezTo>
                  <a:pt x="181" y="27"/>
                  <a:pt x="155" y="0"/>
                  <a:pt x="122" y="0"/>
                </a:cubicBezTo>
                <a:cubicBezTo>
                  <a:pt x="101" y="0"/>
                  <a:pt x="83" y="11"/>
                  <a:pt x="72" y="27"/>
                </a:cubicBezTo>
                <a:cubicBezTo>
                  <a:pt x="67" y="24"/>
                  <a:pt x="62" y="23"/>
                  <a:pt x="56" y="23"/>
                </a:cubicBezTo>
                <a:cubicBezTo>
                  <a:pt x="48" y="23"/>
                  <a:pt x="42" y="25"/>
                  <a:pt x="36" y="28"/>
                </a:cubicBezTo>
                <a:cubicBezTo>
                  <a:pt x="27" y="34"/>
                  <a:pt x="21" y="45"/>
                  <a:pt x="21" y="56"/>
                </a:cubicBezTo>
                <a:cubicBezTo>
                  <a:pt x="8" y="65"/>
                  <a:pt x="0" y="79"/>
                  <a:pt x="0" y="96"/>
                </a:cubicBezTo>
                <a:cubicBezTo>
                  <a:pt x="0" y="120"/>
                  <a:pt x="18" y="140"/>
                  <a:pt x="41" y="143"/>
                </a:cubicBezTo>
                <a:cubicBezTo>
                  <a:pt x="43" y="143"/>
                  <a:pt x="45" y="143"/>
                  <a:pt x="47" y="143"/>
                </a:cubicBezTo>
                <a:cubicBezTo>
                  <a:pt x="48" y="143"/>
                  <a:pt x="50" y="143"/>
                  <a:pt x="51" y="143"/>
                </a:cubicBezTo>
                <a:cubicBezTo>
                  <a:pt x="73" y="143"/>
                  <a:pt x="124" y="143"/>
                  <a:pt x="149" y="143"/>
                </a:cubicBezTo>
                <a:cubicBezTo>
                  <a:pt x="150" y="143"/>
                  <a:pt x="150" y="143"/>
                  <a:pt x="151" y="143"/>
                </a:cubicBezTo>
                <a:cubicBezTo>
                  <a:pt x="153" y="143"/>
                  <a:pt x="153" y="143"/>
                  <a:pt x="153" y="143"/>
                </a:cubicBezTo>
                <a:cubicBezTo>
                  <a:pt x="154" y="143"/>
                  <a:pt x="158" y="143"/>
                  <a:pt x="160" y="143"/>
                </a:cubicBezTo>
                <a:cubicBezTo>
                  <a:pt x="176" y="143"/>
                  <a:pt x="176" y="143"/>
                  <a:pt x="176" y="143"/>
                </a:cubicBezTo>
                <a:cubicBezTo>
                  <a:pt x="198" y="142"/>
                  <a:pt x="216" y="124"/>
                  <a:pt x="216" y="102"/>
                </a:cubicBezTo>
                <a:cubicBezTo>
                  <a:pt x="216" y="82"/>
                  <a:pt x="201" y="66"/>
                  <a:pt x="181" y="63"/>
                </a:cubicBezTo>
                <a:close/>
              </a:path>
            </a:pathLst>
          </a:custGeom>
          <a:solidFill>
            <a:schemeClr val="accent6">
              <a:lumMod val="40000"/>
              <a:lumOff val="60000"/>
            </a:schemeClr>
          </a:solidFill>
          <a:ln>
            <a:noFill/>
          </a:ln>
          <a:extLst/>
        </p:spPr>
        <p:txBody>
          <a:bodyPr vert="horz" wrap="square" lIns="91432" tIns="45715" rIns="91432" bIns="45715" numCol="1" anchor="t" anchorCtr="0" compatLnSpc="1">
            <a:prstTxWarp prst="textNoShape">
              <a:avLst/>
            </a:prstTxWarp>
          </a:bodyPr>
          <a:lstStyle/>
          <a:p>
            <a:endParaRPr lang="en-IN"/>
          </a:p>
        </p:txBody>
      </p:sp>
      <p:sp>
        <p:nvSpPr>
          <p:cNvPr id="182" name="Freeform 264"/>
          <p:cNvSpPr>
            <a:spLocks/>
          </p:cNvSpPr>
          <p:nvPr userDrawn="1"/>
        </p:nvSpPr>
        <p:spPr bwMode="auto">
          <a:xfrm flipH="1">
            <a:off x="11328705" y="1452492"/>
            <a:ext cx="873387" cy="574559"/>
          </a:xfrm>
          <a:custGeom>
            <a:avLst/>
            <a:gdLst>
              <a:gd name="T0" fmla="*/ 224 w 267"/>
              <a:gd name="T1" fmla="*/ 77 h 176"/>
              <a:gd name="T2" fmla="*/ 224 w 267"/>
              <a:gd name="T3" fmla="*/ 74 h 176"/>
              <a:gd name="T4" fmla="*/ 151 w 267"/>
              <a:gd name="T5" fmla="*/ 0 h 176"/>
              <a:gd name="T6" fmla="*/ 89 w 267"/>
              <a:gd name="T7" fmla="*/ 33 h 176"/>
              <a:gd name="T8" fmla="*/ 69 w 267"/>
              <a:gd name="T9" fmla="*/ 28 h 176"/>
              <a:gd name="T10" fmla="*/ 46 w 267"/>
              <a:gd name="T11" fmla="*/ 35 h 176"/>
              <a:gd name="T12" fmla="*/ 27 w 267"/>
              <a:gd name="T13" fmla="*/ 69 h 176"/>
              <a:gd name="T14" fmla="*/ 0 w 267"/>
              <a:gd name="T15" fmla="*/ 118 h 176"/>
              <a:gd name="T16" fmla="*/ 52 w 267"/>
              <a:gd name="T17" fmla="*/ 176 h 176"/>
              <a:gd name="T18" fmla="*/ 58 w 267"/>
              <a:gd name="T19" fmla="*/ 176 h 176"/>
              <a:gd name="T20" fmla="*/ 64 w 267"/>
              <a:gd name="T21" fmla="*/ 176 h 176"/>
              <a:gd name="T22" fmla="*/ 184 w 267"/>
              <a:gd name="T23" fmla="*/ 176 h 176"/>
              <a:gd name="T24" fmla="*/ 186 w 267"/>
              <a:gd name="T25" fmla="*/ 176 h 176"/>
              <a:gd name="T26" fmla="*/ 190 w 267"/>
              <a:gd name="T27" fmla="*/ 176 h 176"/>
              <a:gd name="T28" fmla="*/ 198 w 267"/>
              <a:gd name="T29" fmla="*/ 176 h 176"/>
              <a:gd name="T30" fmla="*/ 218 w 267"/>
              <a:gd name="T31" fmla="*/ 176 h 176"/>
              <a:gd name="T32" fmla="*/ 267 w 267"/>
              <a:gd name="T33" fmla="*/ 126 h 176"/>
              <a:gd name="T34" fmla="*/ 224 w 267"/>
              <a:gd name="T35" fmla="*/ 7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7" h="176">
                <a:moveTo>
                  <a:pt x="224" y="77"/>
                </a:moveTo>
                <a:cubicBezTo>
                  <a:pt x="224" y="76"/>
                  <a:pt x="224" y="75"/>
                  <a:pt x="224" y="74"/>
                </a:cubicBezTo>
                <a:cubicBezTo>
                  <a:pt x="224" y="33"/>
                  <a:pt x="191" y="0"/>
                  <a:pt x="151" y="0"/>
                </a:cubicBezTo>
                <a:cubicBezTo>
                  <a:pt x="125" y="0"/>
                  <a:pt x="103" y="13"/>
                  <a:pt x="89" y="33"/>
                </a:cubicBezTo>
                <a:cubicBezTo>
                  <a:pt x="84" y="30"/>
                  <a:pt x="77" y="28"/>
                  <a:pt x="69" y="28"/>
                </a:cubicBezTo>
                <a:cubicBezTo>
                  <a:pt x="60" y="28"/>
                  <a:pt x="52" y="30"/>
                  <a:pt x="46" y="35"/>
                </a:cubicBezTo>
                <a:cubicBezTo>
                  <a:pt x="34" y="42"/>
                  <a:pt x="27" y="55"/>
                  <a:pt x="27" y="69"/>
                </a:cubicBezTo>
                <a:cubicBezTo>
                  <a:pt x="11" y="80"/>
                  <a:pt x="0" y="98"/>
                  <a:pt x="0" y="118"/>
                </a:cubicBezTo>
                <a:cubicBezTo>
                  <a:pt x="0" y="148"/>
                  <a:pt x="23" y="172"/>
                  <a:pt x="52" y="176"/>
                </a:cubicBezTo>
                <a:cubicBezTo>
                  <a:pt x="54" y="176"/>
                  <a:pt x="56" y="176"/>
                  <a:pt x="58" y="176"/>
                </a:cubicBezTo>
                <a:cubicBezTo>
                  <a:pt x="60" y="176"/>
                  <a:pt x="62" y="176"/>
                  <a:pt x="64" y="176"/>
                </a:cubicBezTo>
                <a:cubicBezTo>
                  <a:pt x="91" y="176"/>
                  <a:pt x="154" y="176"/>
                  <a:pt x="184" y="176"/>
                </a:cubicBezTo>
                <a:cubicBezTo>
                  <a:pt x="185" y="176"/>
                  <a:pt x="186" y="176"/>
                  <a:pt x="186" y="176"/>
                </a:cubicBezTo>
                <a:cubicBezTo>
                  <a:pt x="190" y="176"/>
                  <a:pt x="190" y="176"/>
                  <a:pt x="190" y="176"/>
                </a:cubicBezTo>
                <a:cubicBezTo>
                  <a:pt x="191" y="176"/>
                  <a:pt x="195" y="176"/>
                  <a:pt x="198" y="176"/>
                </a:cubicBezTo>
                <a:cubicBezTo>
                  <a:pt x="218" y="176"/>
                  <a:pt x="218" y="176"/>
                  <a:pt x="218" y="176"/>
                </a:cubicBezTo>
                <a:cubicBezTo>
                  <a:pt x="245" y="175"/>
                  <a:pt x="267" y="153"/>
                  <a:pt x="267" y="126"/>
                </a:cubicBezTo>
                <a:cubicBezTo>
                  <a:pt x="267" y="101"/>
                  <a:pt x="248" y="81"/>
                  <a:pt x="224" y="77"/>
                </a:cubicBezTo>
                <a:close/>
              </a:path>
            </a:pathLst>
          </a:custGeom>
          <a:solidFill>
            <a:schemeClr val="bg1"/>
          </a:solidFill>
          <a:ln>
            <a:noFill/>
          </a:ln>
          <a:extLst/>
        </p:spPr>
        <p:txBody>
          <a:bodyPr vert="horz" wrap="square" lIns="91432" tIns="45715" rIns="91432" bIns="45715" numCol="1" anchor="t" anchorCtr="0" compatLnSpc="1">
            <a:prstTxWarp prst="textNoShape">
              <a:avLst/>
            </a:prstTxWarp>
          </a:bodyPr>
          <a:lstStyle/>
          <a:p>
            <a:endParaRPr lang="en-IN"/>
          </a:p>
        </p:txBody>
      </p:sp>
      <p:sp>
        <p:nvSpPr>
          <p:cNvPr id="183" name="Freeform 266"/>
          <p:cNvSpPr>
            <a:spLocks/>
          </p:cNvSpPr>
          <p:nvPr userDrawn="1"/>
        </p:nvSpPr>
        <p:spPr bwMode="auto">
          <a:xfrm>
            <a:off x="10480610" y="2678119"/>
            <a:ext cx="664063" cy="154466"/>
          </a:xfrm>
          <a:custGeom>
            <a:avLst/>
            <a:gdLst>
              <a:gd name="T0" fmla="*/ 147 w 203"/>
              <a:gd name="T1" fmla="*/ 0 h 47"/>
              <a:gd name="T2" fmla="*/ 112 w 203"/>
              <a:gd name="T3" fmla="*/ 11 h 47"/>
              <a:gd name="T4" fmla="*/ 72 w 203"/>
              <a:gd name="T5" fmla="*/ 0 h 47"/>
              <a:gd name="T6" fmla="*/ 0 w 203"/>
              <a:gd name="T7" fmla="*/ 47 h 47"/>
              <a:gd name="T8" fmla="*/ 72 w 203"/>
              <a:gd name="T9" fmla="*/ 19 h 47"/>
              <a:gd name="T10" fmla="*/ 99 w 203"/>
              <a:gd name="T11" fmla="*/ 22 h 47"/>
              <a:gd name="T12" fmla="*/ 91 w 203"/>
              <a:gd name="T13" fmla="*/ 36 h 47"/>
              <a:gd name="T14" fmla="*/ 107 w 203"/>
              <a:gd name="T15" fmla="*/ 24 h 47"/>
              <a:gd name="T16" fmla="*/ 122 w 203"/>
              <a:gd name="T17" fmla="*/ 18 h 47"/>
              <a:gd name="T18" fmla="*/ 147 w 203"/>
              <a:gd name="T19" fmla="*/ 15 h 47"/>
              <a:gd name="T20" fmla="*/ 203 w 203"/>
              <a:gd name="T21" fmla="*/ 36 h 47"/>
              <a:gd name="T22" fmla="*/ 147 w 203"/>
              <a:gd name="T2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3" h="47">
                <a:moveTo>
                  <a:pt x="147" y="0"/>
                </a:moveTo>
                <a:cubicBezTo>
                  <a:pt x="134" y="0"/>
                  <a:pt x="122" y="4"/>
                  <a:pt x="112" y="11"/>
                </a:cubicBezTo>
                <a:cubicBezTo>
                  <a:pt x="101" y="4"/>
                  <a:pt x="87" y="0"/>
                  <a:pt x="72" y="0"/>
                </a:cubicBezTo>
                <a:cubicBezTo>
                  <a:pt x="40" y="0"/>
                  <a:pt x="12" y="19"/>
                  <a:pt x="0" y="47"/>
                </a:cubicBezTo>
                <a:cubicBezTo>
                  <a:pt x="17" y="30"/>
                  <a:pt x="43" y="19"/>
                  <a:pt x="72" y="19"/>
                </a:cubicBezTo>
                <a:cubicBezTo>
                  <a:pt x="82" y="19"/>
                  <a:pt x="91" y="20"/>
                  <a:pt x="99" y="22"/>
                </a:cubicBezTo>
                <a:cubicBezTo>
                  <a:pt x="96" y="27"/>
                  <a:pt x="93" y="31"/>
                  <a:pt x="91" y="36"/>
                </a:cubicBezTo>
                <a:cubicBezTo>
                  <a:pt x="96" y="32"/>
                  <a:pt x="101" y="28"/>
                  <a:pt x="107" y="24"/>
                </a:cubicBezTo>
                <a:cubicBezTo>
                  <a:pt x="112" y="22"/>
                  <a:pt x="117" y="20"/>
                  <a:pt x="122" y="18"/>
                </a:cubicBezTo>
                <a:cubicBezTo>
                  <a:pt x="130" y="16"/>
                  <a:pt x="138" y="15"/>
                  <a:pt x="147" y="15"/>
                </a:cubicBezTo>
                <a:cubicBezTo>
                  <a:pt x="169" y="15"/>
                  <a:pt x="189" y="23"/>
                  <a:pt x="203" y="36"/>
                </a:cubicBezTo>
                <a:cubicBezTo>
                  <a:pt x="193" y="15"/>
                  <a:pt x="172" y="0"/>
                  <a:pt x="147" y="0"/>
                </a:cubicBezTo>
              </a:path>
            </a:pathLst>
          </a:custGeom>
          <a:solidFill>
            <a:schemeClr val="accent1">
              <a:lumMod val="50000"/>
            </a:schemeClr>
          </a:solidFill>
          <a:ln>
            <a:noFill/>
          </a:ln>
          <a:extLst/>
        </p:spPr>
        <p:txBody>
          <a:bodyPr vert="horz" wrap="square" lIns="91432" tIns="45715" rIns="91432" bIns="45715" numCol="1" anchor="t" anchorCtr="0" compatLnSpc="1">
            <a:prstTxWarp prst="textNoShape">
              <a:avLst/>
            </a:prstTxWarp>
          </a:bodyPr>
          <a:lstStyle/>
          <a:p>
            <a:endParaRPr lang="en-IN"/>
          </a:p>
        </p:txBody>
      </p:sp>
      <p:sp>
        <p:nvSpPr>
          <p:cNvPr id="184" name="Freeform 267"/>
          <p:cNvSpPr>
            <a:spLocks/>
          </p:cNvSpPr>
          <p:nvPr userDrawn="1"/>
        </p:nvSpPr>
        <p:spPr bwMode="auto">
          <a:xfrm>
            <a:off x="11013304" y="2411053"/>
            <a:ext cx="661175" cy="147249"/>
          </a:xfrm>
          <a:custGeom>
            <a:avLst/>
            <a:gdLst>
              <a:gd name="T0" fmla="*/ 146 w 202"/>
              <a:gd name="T1" fmla="*/ 0 h 45"/>
              <a:gd name="T2" fmla="*/ 111 w 202"/>
              <a:gd name="T3" fmla="*/ 10 h 45"/>
              <a:gd name="T4" fmla="*/ 71 w 202"/>
              <a:gd name="T5" fmla="*/ 0 h 45"/>
              <a:gd name="T6" fmla="*/ 0 w 202"/>
              <a:gd name="T7" fmla="*/ 45 h 45"/>
              <a:gd name="T8" fmla="*/ 71 w 202"/>
              <a:gd name="T9" fmla="*/ 18 h 45"/>
              <a:gd name="T10" fmla="*/ 99 w 202"/>
              <a:gd name="T11" fmla="*/ 22 h 45"/>
              <a:gd name="T12" fmla="*/ 90 w 202"/>
              <a:gd name="T13" fmla="*/ 35 h 45"/>
              <a:gd name="T14" fmla="*/ 106 w 202"/>
              <a:gd name="T15" fmla="*/ 24 h 45"/>
              <a:gd name="T16" fmla="*/ 122 w 202"/>
              <a:gd name="T17" fmla="*/ 17 h 45"/>
              <a:gd name="T18" fmla="*/ 146 w 202"/>
              <a:gd name="T19" fmla="*/ 14 h 45"/>
              <a:gd name="T20" fmla="*/ 202 w 202"/>
              <a:gd name="T21" fmla="*/ 35 h 45"/>
              <a:gd name="T22" fmla="*/ 146 w 202"/>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2" h="45">
                <a:moveTo>
                  <a:pt x="146" y="0"/>
                </a:moveTo>
                <a:cubicBezTo>
                  <a:pt x="133" y="0"/>
                  <a:pt x="121" y="4"/>
                  <a:pt x="111" y="10"/>
                </a:cubicBezTo>
                <a:cubicBezTo>
                  <a:pt x="100" y="4"/>
                  <a:pt x="86" y="0"/>
                  <a:pt x="71" y="0"/>
                </a:cubicBezTo>
                <a:cubicBezTo>
                  <a:pt x="40" y="0"/>
                  <a:pt x="12" y="19"/>
                  <a:pt x="0" y="45"/>
                </a:cubicBezTo>
                <a:cubicBezTo>
                  <a:pt x="17" y="29"/>
                  <a:pt x="43" y="18"/>
                  <a:pt x="71" y="18"/>
                </a:cubicBezTo>
                <a:cubicBezTo>
                  <a:pt x="81" y="18"/>
                  <a:pt x="90" y="20"/>
                  <a:pt x="99" y="22"/>
                </a:cubicBezTo>
                <a:cubicBezTo>
                  <a:pt x="95" y="26"/>
                  <a:pt x="92" y="30"/>
                  <a:pt x="90" y="35"/>
                </a:cubicBezTo>
                <a:cubicBezTo>
                  <a:pt x="95" y="31"/>
                  <a:pt x="100" y="27"/>
                  <a:pt x="106" y="24"/>
                </a:cubicBezTo>
                <a:cubicBezTo>
                  <a:pt x="111" y="21"/>
                  <a:pt x="116" y="19"/>
                  <a:pt x="122" y="17"/>
                </a:cubicBezTo>
                <a:cubicBezTo>
                  <a:pt x="129" y="15"/>
                  <a:pt x="138" y="14"/>
                  <a:pt x="146" y="14"/>
                </a:cubicBezTo>
                <a:cubicBezTo>
                  <a:pt x="168" y="14"/>
                  <a:pt x="188" y="22"/>
                  <a:pt x="202" y="35"/>
                </a:cubicBezTo>
                <a:cubicBezTo>
                  <a:pt x="192" y="14"/>
                  <a:pt x="171" y="0"/>
                  <a:pt x="146" y="0"/>
                </a:cubicBezTo>
              </a:path>
            </a:pathLst>
          </a:custGeom>
          <a:solidFill>
            <a:schemeClr val="accent1">
              <a:lumMod val="50000"/>
            </a:schemeClr>
          </a:solidFill>
          <a:ln>
            <a:noFill/>
          </a:ln>
          <a:extLst/>
        </p:spPr>
        <p:txBody>
          <a:bodyPr vert="horz" wrap="square" lIns="91432" tIns="45715" rIns="91432" bIns="45715" numCol="1" anchor="t" anchorCtr="0" compatLnSpc="1">
            <a:prstTxWarp prst="textNoShape">
              <a:avLst/>
            </a:prstTxWarp>
          </a:bodyPr>
          <a:lstStyle/>
          <a:p>
            <a:endParaRPr lang="en-IN"/>
          </a:p>
        </p:txBody>
      </p:sp>
      <p:sp>
        <p:nvSpPr>
          <p:cNvPr id="185" name="Freeform 268"/>
          <p:cNvSpPr>
            <a:spLocks/>
          </p:cNvSpPr>
          <p:nvPr userDrawn="1"/>
        </p:nvSpPr>
        <p:spPr bwMode="auto">
          <a:xfrm>
            <a:off x="11325124" y="2623263"/>
            <a:ext cx="664063" cy="157354"/>
          </a:xfrm>
          <a:custGeom>
            <a:avLst/>
            <a:gdLst>
              <a:gd name="T0" fmla="*/ 147 w 203"/>
              <a:gd name="T1" fmla="*/ 0 h 48"/>
              <a:gd name="T2" fmla="*/ 112 w 203"/>
              <a:gd name="T3" fmla="*/ 11 h 48"/>
              <a:gd name="T4" fmla="*/ 72 w 203"/>
              <a:gd name="T5" fmla="*/ 0 h 48"/>
              <a:gd name="T6" fmla="*/ 0 w 203"/>
              <a:gd name="T7" fmla="*/ 48 h 48"/>
              <a:gd name="T8" fmla="*/ 72 w 203"/>
              <a:gd name="T9" fmla="*/ 19 h 48"/>
              <a:gd name="T10" fmla="*/ 99 w 203"/>
              <a:gd name="T11" fmla="*/ 23 h 48"/>
              <a:gd name="T12" fmla="*/ 91 w 203"/>
              <a:gd name="T13" fmla="*/ 37 h 48"/>
              <a:gd name="T14" fmla="*/ 107 w 203"/>
              <a:gd name="T15" fmla="*/ 25 h 48"/>
              <a:gd name="T16" fmla="*/ 122 w 203"/>
              <a:gd name="T17" fmla="*/ 18 h 48"/>
              <a:gd name="T18" fmla="*/ 147 w 203"/>
              <a:gd name="T19" fmla="*/ 15 h 48"/>
              <a:gd name="T20" fmla="*/ 203 w 203"/>
              <a:gd name="T21" fmla="*/ 37 h 48"/>
              <a:gd name="T22" fmla="*/ 147 w 203"/>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3" h="48">
                <a:moveTo>
                  <a:pt x="147" y="0"/>
                </a:moveTo>
                <a:cubicBezTo>
                  <a:pt x="134" y="0"/>
                  <a:pt x="122" y="4"/>
                  <a:pt x="112" y="11"/>
                </a:cubicBezTo>
                <a:cubicBezTo>
                  <a:pt x="101" y="4"/>
                  <a:pt x="87" y="0"/>
                  <a:pt x="72" y="0"/>
                </a:cubicBezTo>
                <a:cubicBezTo>
                  <a:pt x="40" y="0"/>
                  <a:pt x="13" y="20"/>
                  <a:pt x="0" y="48"/>
                </a:cubicBezTo>
                <a:cubicBezTo>
                  <a:pt x="18" y="30"/>
                  <a:pt x="44" y="19"/>
                  <a:pt x="72" y="19"/>
                </a:cubicBezTo>
                <a:cubicBezTo>
                  <a:pt x="82" y="19"/>
                  <a:pt x="91" y="21"/>
                  <a:pt x="99" y="23"/>
                </a:cubicBezTo>
                <a:cubicBezTo>
                  <a:pt x="96" y="27"/>
                  <a:pt x="93" y="32"/>
                  <a:pt x="91" y="37"/>
                </a:cubicBezTo>
                <a:cubicBezTo>
                  <a:pt x="96" y="32"/>
                  <a:pt x="101" y="28"/>
                  <a:pt x="107" y="25"/>
                </a:cubicBezTo>
                <a:cubicBezTo>
                  <a:pt x="112" y="22"/>
                  <a:pt x="117" y="20"/>
                  <a:pt x="122" y="18"/>
                </a:cubicBezTo>
                <a:cubicBezTo>
                  <a:pt x="130" y="16"/>
                  <a:pt x="138" y="15"/>
                  <a:pt x="147" y="15"/>
                </a:cubicBezTo>
                <a:cubicBezTo>
                  <a:pt x="169" y="15"/>
                  <a:pt x="189" y="24"/>
                  <a:pt x="203" y="37"/>
                </a:cubicBezTo>
                <a:cubicBezTo>
                  <a:pt x="193" y="15"/>
                  <a:pt x="172" y="0"/>
                  <a:pt x="147" y="0"/>
                </a:cubicBezTo>
              </a:path>
            </a:pathLst>
          </a:custGeom>
          <a:solidFill>
            <a:schemeClr val="accent1">
              <a:lumMod val="50000"/>
            </a:schemeClr>
          </a:solidFill>
          <a:ln>
            <a:noFill/>
          </a:ln>
          <a:extLst/>
        </p:spPr>
        <p:txBody>
          <a:bodyPr vert="horz" wrap="square" lIns="91432" tIns="45715" rIns="91432" bIns="45715" numCol="1" anchor="t" anchorCtr="0" compatLnSpc="1">
            <a:prstTxWarp prst="textNoShape">
              <a:avLst/>
            </a:prstTxWarp>
          </a:bodyPr>
          <a:lstStyle/>
          <a:p>
            <a:endParaRPr lang="en-IN"/>
          </a:p>
        </p:txBody>
      </p:sp>
      <p:sp>
        <p:nvSpPr>
          <p:cNvPr id="186" name="Rectangle 185"/>
          <p:cNvSpPr/>
          <p:nvPr userDrawn="1"/>
        </p:nvSpPr>
        <p:spPr bwMode="auto">
          <a:xfrm>
            <a:off x="3462615" y="5909103"/>
            <a:ext cx="461744" cy="7315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Rectangle 186"/>
          <p:cNvSpPr/>
          <p:nvPr userDrawn="1"/>
        </p:nvSpPr>
        <p:spPr bwMode="auto">
          <a:xfrm>
            <a:off x="3462615" y="6020212"/>
            <a:ext cx="461744" cy="7315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Rectangle 187"/>
          <p:cNvSpPr/>
          <p:nvPr userDrawn="1"/>
        </p:nvSpPr>
        <p:spPr bwMode="auto">
          <a:xfrm>
            <a:off x="3462615" y="6126558"/>
            <a:ext cx="461744" cy="7315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sp>
        <p:nvSpPr>
          <p:cNvPr id="2" name="Title 1"/>
          <p:cNvSpPr>
            <a:spLocks noGrp="1"/>
          </p:cNvSpPr>
          <p:nvPr userDrawn="1">
            <p:ph type="ctrTitle" hasCustomPrompt="1"/>
          </p:nvPr>
        </p:nvSpPr>
        <p:spPr>
          <a:xfrm>
            <a:off x="581894" y="2142637"/>
            <a:ext cx="11228387" cy="1720381"/>
          </a:xfrm>
        </p:spPr>
        <p:txBody>
          <a:bodyPr/>
          <a:lstStyle>
            <a:lvl1pPr>
              <a:defRPr sz="6000">
                <a:solidFill>
                  <a:schemeClr val="bg1"/>
                </a:solidFill>
              </a:defRPr>
            </a:lvl1pPr>
          </a:lstStyle>
          <a:p>
            <a:r>
              <a:rPr lang="en-US" dirty="0"/>
              <a:t>Headline here</a:t>
            </a:r>
          </a:p>
        </p:txBody>
      </p:sp>
      <p:sp>
        <p:nvSpPr>
          <p:cNvPr id="3" name="Subtitle 2"/>
          <p:cNvSpPr>
            <a:spLocks noGrp="1"/>
          </p:cNvSpPr>
          <p:nvPr userDrawn="1">
            <p:ph type="subTitle" idx="1" hasCustomPrompt="1"/>
          </p:nvPr>
        </p:nvSpPr>
        <p:spPr>
          <a:xfrm>
            <a:off x="581894" y="3954463"/>
            <a:ext cx="8705850" cy="1055382"/>
          </a:xfrm>
        </p:spPr>
        <p:txBody>
          <a:bodyPr/>
          <a:lstStyle>
            <a:lvl1pPr marL="0" indent="0" algn="l">
              <a:buNone/>
              <a:defRPr sz="2200">
                <a:solidFill>
                  <a:schemeClr val="bg1"/>
                </a:solidFill>
                <a:latin typeface="+mn-lt"/>
              </a:defRPr>
            </a:lvl1pPr>
            <a:lvl2pPr marL="457157" indent="0" algn="ctr">
              <a:buNone/>
              <a:defRPr>
                <a:solidFill>
                  <a:schemeClr val="tx1">
                    <a:tint val="75000"/>
                  </a:schemeClr>
                </a:solidFill>
              </a:defRPr>
            </a:lvl2pPr>
            <a:lvl3pPr marL="914314" indent="0" algn="ctr">
              <a:buNone/>
              <a:defRPr>
                <a:solidFill>
                  <a:schemeClr val="tx1">
                    <a:tint val="75000"/>
                  </a:schemeClr>
                </a:solidFill>
              </a:defRPr>
            </a:lvl3pPr>
            <a:lvl4pPr marL="1371471" indent="0" algn="ctr">
              <a:buNone/>
              <a:defRPr>
                <a:solidFill>
                  <a:schemeClr val="tx1">
                    <a:tint val="75000"/>
                  </a:schemeClr>
                </a:solidFill>
              </a:defRPr>
            </a:lvl4pPr>
            <a:lvl5pPr marL="1828628" indent="0" algn="ctr">
              <a:buNone/>
              <a:defRPr>
                <a:solidFill>
                  <a:schemeClr val="tx1">
                    <a:tint val="75000"/>
                  </a:schemeClr>
                </a:solidFill>
              </a:defRPr>
            </a:lvl5pPr>
            <a:lvl6pPr marL="2285785" indent="0" algn="ctr">
              <a:buNone/>
              <a:defRPr>
                <a:solidFill>
                  <a:schemeClr val="tx1">
                    <a:tint val="75000"/>
                  </a:schemeClr>
                </a:solidFill>
              </a:defRPr>
            </a:lvl6pPr>
            <a:lvl7pPr marL="2742942" indent="0" algn="ctr">
              <a:buNone/>
              <a:defRPr>
                <a:solidFill>
                  <a:schemeClr val="tx1">
                    <a:tint val="75000"/>
                  </a:schemeClr>
                </a:solidFill>
              </a:defRPr>
            </a:lvl7pPr>
            <a:lvl8pPr marL="3200099" indent="0" algn="ctr">
              <a:buNone/>
              <a:defRPr>
                <a:solidFill>
                  <a:schemeClr val="tx1">
                    <a:tint val="75000"/>
                  </a:schemeClr>
                </a:solidFill>
              </a:defRPr>
            </a:lvl8pPr>
            <a:lvl9pPr marL="3657256" indent="0" algn="ctr">
              <a:buNone/>
              <a:defRPr>
                <a:solidFill>
                  <a:schemeClr val="tx1">
                    <a:tint val="75000"/>
                  </a:schemeClr>
                </a:solidFill>
              </a:defRPr>
            </a:lvl9pPr>
          </a:lstStyle>
          <a:p>
            <a:r>
              <a:rPr lang="en-US" dirty="0"/>
              <a:t>Speaker Name</a:t>
            </a:r>
            <a:br>
              <a:rPr lang="en-US" dirty="0"/>
            </a:br>
            <a:r>
              <a:rPr lang="en-US" dirty="0"/>
              <a:t>Date</a:t>
            </a:r>
          </a:p>
        </p:txBody>
      </p:sp>
      <p:grpSp>
        <p:nvGrpSpPr>
          <p:cNvPr id="103" name="Group 102"/>
          <p:cNvGrpSpPr/>
          <p:nvPr userDrawn="1"/>
        </p:nvGrpSpPr>
        <p:grpSpPr>
          <a:xfrm>
            <a:off x="7386995" y="3346455"/>
            <a:ext cx="3274364" cy="2350895"/>
            <a:chOff x="1624013" y="4219575"/>
            <a:chExt cx="3816350" cy="2740025"/>
          </a:xfrm>
        </p:grpSpPr>
        <p:sp>
          <p:nvSpPr>
            <p:cNvPr id="104" name="Line 181"/>
            <p:cNvSpPr>
              <a:spLocks noChangeShapeType="1"/>
            </p:cNvSpPr>
            <p:nvPr/>
          </p:nvSpPr>
          <p:spPr bwMode="auto">
            <a:xfrm>
              <a:off x="3532188" y="4219575"/>
              <a:ext cx="0" cy="666750"/>
            </a:xfrm>
            <a:prstGeom prst="line">
              <a:avLst/>
            </a:prstGeom>
            <a:noFill/>
            <a:ln w="46038" cap="rnd">
              <a:solidFill>
                <a:schemeClr val="tx2">
                  <a:lumMod val="20000"/>
                  <a:lumOff val="8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a:p>
          </p:txBody>
        </p:sp>
        <p:sp>
          <p:nvSpPr>
            <p:cNvPr id="105" name="Rectangle 182"/>
            <p:cNvSpPr>
              <a:spLocks noChangeArrowheads="1"/>
            </p:cNvSpPr>
            <p:nvPr/>
          </p:nvSpPr>
          <p:spPr bwMode="auto">
            <a:xfrm>
              <a:off x="3429001" y="4467225"/>
              <a:ext cx="212725" cy="344487"/>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06" name="Freeform 183"/>
            <p:cNvSpPr>
              <a:spLocks/>
            </p:cNvSpPr>
            <p:nvPr/>
          </p:nvSpPr>
          <p:spPr bwMode="auto">
            <a:xfrm>
              <a:off x="3043238" y="4662488"/>
              <a:ext cx="982663" cy="1398587"/>
            </a:xfrm>
            <a:custGeom>
              <a:avLst/>
              <a:gdLst>
                <a:gd name="T0" fmla="*/ 85 w 171"/>
                <a:gd name="T1" fmla="*/ 0 h 243"/>
                <a:gd name="T2" fmla="*/ 0 w 171"/>
                <a:gd name="T3" fmla="*/ 100 h 243"/>
                <a:gd name="T4" fmla="*/ 0 w 171"/>
                <a:gd name="T5" fmla="*/ 243 h 243"/>
                <a:gd name="T6" fmla="*/ 171 w 171"/>
                <a:gd name="T7" fmla="*/ 243 h 243"/>
                <a:gd name="T8" fmla="*/ 171 w 171"/>
                <a:gd name="T9" fmla="*/ 100 h 243"/>
                <a:gd name="T10" fmla="*/ 85 w 171"/>
                <a:gd name="T11" fmla="*/ 0 h 243"/>
              </a:gdLst>
              <a:ahLst/>
              <a:cxnLst>
                <a:cxn ang="0">
                  <a:pos x="T0" y="T1"/>
                </a:cxn>
                <a:cxn ang="0">
                  <a:pos x="T2" y="T3"/>
                </a:cxn>
                <a:cxn ang="0">
                  <a:pos x="T4" y="T5"/>
                </a:cxn>
                <a:cxn ang="0">
                  <a:pos x="T6" y="T7"/>
                </a:cxn>
                <a:cxn ang="0">
                  <a:pos x="T8" y="T9"/>
                </a:cxn>
                <a:cxn ang="0">
                  <a:pos x="T10" y="T11"/>
                </a:cxn>
              </a:cxnLst>
              <a:rect l="0" t="0" r="r" b="b"/>
              <a:pathLst>
                <a:path w="171" h="243">
                  <a:moveTo>
                    <a:pt x="85" y="0"/>
                  </a:moveTo>
                  <a:cubicBezTo>
                    <a:pt x="37" y="8"/>
                    <a:pt x="0" y="49"/>
                    <a:pt x="0" y="100"/>
                  </a:cubicBezTo>
                  <a:cubicBezTo>
                    <a:pt x="0" y="243"/>
                    <a:pt x="0" y="243"/>
                    <a:pt x="0" y="243"/>
                  </a:cubicBezTo>
                  <a:cubicBezTo>
                    <a:pt x="171" y="243"/>
                    <a:pt x="171" y="243"/>
                    <a:pt x="171" y="243"/>
                  </a:cubicBezTo>
                  <a:cubicBezTo>
                    <a:pt x="171" y="100"/>
                    <a:pt x="171" y="100"/>
                    <a:pt x="171" y="100"/>
                  </a:cubicBezTo>
                  <a:cubicBezTo>
                    <a:pt x="171" y="49"/>
                    <a:pt x="134" y="8"/>
                    <a:pt x="85" y="0"/>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07" name="Freeform 184"/>
            <p:cNvSpPr>
              <a:spLocks/>
            </p:cNvSpPr>
            <p:nvPr/>
          </p:nvSpPr>
          <p:spPr bwMode="auto">
            <a:xfrm>
              <a:off x="3532188" y="4662488"/>
              <a:ext cx="493713" cy="1139825"/>
            </a:xfrm>
            <a:custGeom>
              <a:avLst/>
              <a:gdLst>
                <a:gd name="T0" fmla="*/ 0 w 86"/>
                <a:gd name="T1" fmla="*/ 0 h 198"/>
                <a:gd name="T2" fmla="*/ 0 w 86"/>
                <a:gd name="T3" fmla="*/ 198 h 198"/>
                <a:gd name="T4" fmla="*/ 86 w 86"/>
                <a:gd name="T5" fmla="*/ 198 h 198"/>
                <a:gd name="T6" fmla="*/ 86 w 86"/>
                <a:gd name="T7" fmla="*/ 100 h 198"/>
                <a:gd name="T8" fmla="*/ 0 w 86"/>
                <a:gd name="T9" fmla="*/ 0 h 198"/>
              </a:gdLst>
              <a:ahLst/>
              <a:cxnLst>
                <a:cxn ang="0">
                  <a:pos x="T0" y="T1"/>
                </a:cxn>
                <a:cxn ang="0">
                  <a:pos x="T2" y="T3"/>
                </a:cxn>
                <a:cxn ang="0">
                  <a:pos x="T4" y="T5"/>
                </a:cxn>
                <a:cxn ang="0">
                  <a:pos x="T6" y="T7"/>
                </a:cxn>
                <a:cxn ang="0">
                  <a:pos x="T8" y="T9"/>
                </a:cxn>
              </a:cxnLst>
              <a:rect l="0" t="0" r="r" b="b"/>
              <a:pathLst>
                <a:path w="86" h="198">
                  <a:moveTo>
                    <a:pt x="0" y="0"/>
                  </a:moveTo>
                  <a:cubicBezTo>
                    <a:pt x="0" y="198"/>
                    <a:pt x="0" y="198"/>
                    <a:pt x="0" y="198"/>
                  </a:cubicBezTo>
                  <a:cubicBezTo>
                    <a:pt x="86" y="198"/>
                    <a:pt x="86" y="198"/>
                    <a:pt x="86" y="198"/>
                  </a:cubicBezTo>
                  <a:cubicBezTo>
                    <a:pt x="86" y="100"/>
                    <a:pt x="86" y="100"/>
                    <a:pt x="86" y="100"/>
                  </a:cubicBezTo>
                  <a:cubicBezTo>
                    <a:pt x="86" y="49"/>
                    <a:pt x="49" y="8"/>
                    <a:pt x="0" y="0"/>
                  </a:cubicBez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08" name="Rectangle 185"/>
            <p:cNvSpPr>
              <a:spLocks noChangeArrowheads="1"/>
            </p:cNvSpPr>
            <p:nvPr/>
          </p:nvSpPr>
          <p:spPr bwMode="auto">
            <a:xfrm>
              <a:off x="3003551" y="5146675"/>
              <a:ext cx="1062038" cy="85725"/>
            </a:xfrm>
            <a:prstGeom prst="rect">
              <a:avLst/>
            </a:pr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09" name="Rectangle 186"/>
            <p:cNvSpPr>
              <a:spLocks noChangeArrowheads="1"/>
            </p:cNvSpPr>
            <p:nvPr/>
          </p:nvSpPr>
          <p:spPr bwMode="auto">
            <a:xfrm>
              <a:off x="3128963" y="5232400"/>
              <a:ext cx="87313" cy="32861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10" name="Rectangle 187"/>
            <p:cNvSpPr>
              <a:spLocks noChangeArrowheads="1"/>
            </p:cNvSpPr>
            <p:nvPr/>
          </p:nvSpPr>
          <p:spPr bwMode="auto">
            <a:xfrm>
              <a:off x="3308351" y="5232400"/>
              <a:ext cx="85725" cy="32861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11" name="Rectangle 188"/>
            <p:cNvSpPr>
              <a:spLocks noChangeArrowheads="1"/>
            </p:cNvSpPr>
            <p:nvPr/>
          </p:nvSpPr>
          <p:spPr bwMode="auto">
            <a:xfrm>
              <a:off x="3486151" y="5232400"/>
              <a:ext cx="80963" cy="32861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12" name="Rectangle 189"/>
            <p:cNvSpPr>
              <a:spLocks noChangeArrowheads="1"/>
            </p:cNvSpPr>
            <p:nvPr/>
          </p:nvSpPr>
          <p:spPr bwMode="auto">
            <a:xfrm>
              <a:off x="3657601" y="5232400"/>
              <a:ext cx="87313" cy="328612"/>
            </a:xfrm>
            <a:prstGeom prst="rect">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13" name="Rectangle 190"/>
            <p:cNvSpPr>
              <a:spLocks noChangeArrowheads="1"/>
            </p:cNvSpPr>
            <p:nvPr/>
          </p:nvSpPr>
          <p:spPr bwMode="auto">
            <a:xfrm>
              <a:off x="3836988" y="5232400"/>
              <a:ext cx="85725" cy="328612"/>
            </a:xfrm>
            <a:prstGeom prst="rect">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14" name="Oval 191"/>
            <p:cNvSpPr>
              <a:spLocks noChangeArrowheads="1"/>
            </p:cNvSpPr>
            <p:nvPr/>
          </p:nvSpPr>
          <p:spPr bwMode="auto">
            <a:xfrm>
              <a:off x="3578226" y="5008563"/>
              <a:ext cx="92075" cy="92075"/>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15" name="Oval 192"/>
            <p:cNvSpPr>
              <a:spLocks noChangeArrowheads="1"/>
            </p:cNvSpPr>
            <p:nvPr/>
          </p:nvSpPr>
          <p:spPr bwMode="auto">
            <a:xfrm>
              <a:off x="3716338" y="5008563"/>
              <a:ext cx="92075" cy="92075"/>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16" name="Oval 193"/>
            <p:cNvSpPr>
              <a:spLocks noChangeArrowheads="1"/>
            </p:cNvSpPr>
            <p:nvPr/>
          </p:nvSpPr>
          <p:spPr bwMode="auto">
            <a:xfrm>
              <a:off x="3854451" y="5008563"/>
              <a:ext cx="90488" cy="92075"/>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17" name="Oval 194"/>
            <p:cNvSpPr>
              <a:spLocks noChangeArrowheads="1"/>
            </p:cNvSpPr>
            <p:nvPr/>
          </p:nvSpPr>
          <p:spPr bwMode="auto">
            <a:xfrm>
              <a:off x="3392006" y="5008563"/>
              <a:ext cx="85725" cy="92075"/>
            </a:xfrm>
            <a:prstGeom prst="ellipse">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18" name="Oval 195"/>
            <p:cNvSpPr>
              <a:spLocks noChangeArrowheads="1"/>
            </p:cNvSpPr>
            <p:nvPr/>
          </p:nvSpPr>
          <p:spPr bwMode="auto">
            <a:xfrm>
              <a:off x="3253893" y="5008563"/>
              <a:ext cx="85725" cy="92075"/>
            </a:xfrm>
            <a:prstGeom prst="ellipse">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19" name="Oval 196"/>
            <p:cNvSpPr>
              <a:spLocks noChangeArrowheads="1"/>
            </p:cNvSpPr>
            <p:nvPr/>
          </p:nvSpPr>
          <p:spPr bwMode="auto">
            <a:xfrm>
              <a:off x="3115781" y="5008563"/>
              <a:ext cx="85725" cy="92075"/>
            </a:xfrm>
            <a:prstGeom prst="ellipse">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20" name="Rectangle 197"/>
            <p:cNvSpPr>
              <a:spLocks noChangeArrowheads="1"/>
            </p:cNvSpPr>
            <p:nvPr/>
          </p:nvSpPr>
          <p:spPr bwMode="auto">
            <a:xfrm>
              <a:off x="2813050" y="5561013"/>
              <a:ext cx="1443038" cy="4841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21" name="Rectangle 198"/>
            <p:cNvSpPr>
              <a:spLocks noChangeArrowheads="1"/>
            </p:cNvSpPr>
            <p:nvPr/>
          </p:nvSpPr>
          <p:spPr bwMode="auto">
            <a:xfrm>
              <a:off x="2813051" y="5653088"/>
              <a:ext cx="1443038" cy="109537"/>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22" name="Rectangle 199"/>
            <p:cNvSpPr>
              <a:spLocks noChangeArrowheads="1"/>
            </p:cNvSpPr>
            <p:nvPr/>
          </p:nvSpPr>
          <p:spPr bwMode="auto">
            <a:xfrm>
              <a:off x="1624013" y="6113463"/>
              <a:ext cx="3816350" cy="841375"/>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23" name="Rectangle 200"/>
            <p:cNvSpPr>
              <a:spLocks noChangeArrowheads="1"/>
            </p:cNvSpPr>
            <p:nvPr/>
          </p:nvSpPr>
          <p:spPr bwMode="auto">
            <a:xfrm>
              <a:off x="2813051" y="5865813"/>
              <a:ext cx="1443038" cy="690562"/>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24" name="Rectangle 201"/>
            <p:cNvSpPr>
              <a:spLocks noChangeArrowheads="1"/>
            </p:cNvSpPr>
            <p:nvPr/>
          </p:nvSpPr>
          <p:spPr bwMode="auto">
            <a:xfrm>
              <a:off x="2859088" y="5653088"/>
              <a:ext cx="109538" cy="219075"/>
            </a:xfrm>
            <a:prstGeom prst="rect">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25" name="Rectangle 202"/>
            <p:cNvSpPr>
              <a:spLocks noChangeArrowheads="1"/>
            </p:cNvSpPr>
            <p:nvPr/>
          </p:nvSpPr>
          <p:spPr bwMode="auto">
            <a:xfrm>
              <a:off x="3036888" y="5653088"/>
              <a:ext cx="104775" cy="219075"/>
            </a:xfrm>
            <a:prstGeom prst="rect">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26" name="Rectangle 203"/>
            <p:cNvSpPr>
              <a:spLocks noChangeArrowheads="1"/>
            </p:cNvSpPr>
            <p:nvPr/>
          </p:nvSpPr>
          <p:spPr bwMode="auto">
            <a:xfrm>
              <a:off x="3216276" y="5653088"/>
              <a:ext cx="103188" cy="219075"/>
            </a:xfrm>
            <a:prstGeom prst="rect">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27" name="Rectangle 204"/>
            <p:cNvSpPr>
              <a:spLocks noChangeArrowheads="1"/>
            </p:cNvSpPr>
            <p:nvPr/>
          </p:nvSpPr>
          <p:spPr bwMode="auto">
            <a:xfrm>
              <a:off x="3394076" y="5653088"/>
              <a:ext cx="103188" cy="219075"/>
            </a:xfrm>
            <a:prstGeom prst="rect">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29" name="Rectangle 205"/>
            <p:cNvSpPr>
              <a:spLocks noChangeArrowheads="1"/>
            </p:cNvSpPr>
            <p:nvPr/>
          </p:nvSpPr>
          <p:spPr bwMode="auto">
            <a:xfrm>
              <a:off x="3567113" y="5653088"/>
              <a:ext cx="107950" cy="219075"/>
            </a:xfrm>
            <a:prstGeom prst="rect">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30" name="Rectangle 206"/>
            <p:cNvSpPr>
              <a:spLocks noChangeArrowheads="1"/>
            </p:cNvSpPr>
            <p:nvPr/>
          </p:nvSpPr>
          <p:spPr bwMode="auto">
            <a:xfrm>
              <a:off x="3744913" y="5653088"/>
              <a:ext cx="109538" cy="219075"/>
            </a:xfrm>
            <a:prstGeom prst="rect">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31" name="Rectangle 207"/>
            <p:cNvSpPr>
              <a:spLocks noChangeArrowheads="1"/>
            </p:cNvSpPr>
            <p:nvPr/>
          </p:nvSpPr>
          <p:spPr bwMode="auto">
            <a:xfrm>
              <a:off x="3922713" y="5653088"/>
              <a:ext cx="103188" cy="219075"/>
            </a:xfrm>
            <a:prstGeom prst="rect">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32" name="Rectangle 208"/>
            <p:cNvSpPr>
              <a:spLocks noChangeArrowheads="1"/>
            </p:cNvSpPr>
            <p:nvPr/>
          </p:nvSpPr>
          <p:spPr bwMode="auto">
            <a:xfrm>
              <a:off x="4100513" y="5653088"/>
              <a:ext cx="103188" cy="219075"/>
            </a:xfrm>
            <a:prstGeom prst="rect">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33" name="Rectangle 209"/>
            <p:cNvSpPr>
              <a:spLocks noChangeArrowheads="1"/>
            </p:cNvSpPr>
            <p:nvPr/>
          </p:nvSpPr>
          <p:spPr bwMode="auto">
            <a:xfrm>
              <a:off x="2986088" y="6113463"/>
              <a:ext cx="177800" cy="4429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34" name="Rectangle 210"/>
            <p:cNvSpPr>
              <a:spLocks noChangeArrowheads="1"/>
            </p:cNvSpPr>
            <p:nvPr/>
          </p:nvSpPr>
          <p:spPr bwMode="auto">
            <a:xfrm>
              <a:off x="3216276" y="6113463"/>
              <a:ext cx="177800" cy="4429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35" name="Rectangle 211"/>
            <p:cNvSpPr>
              <a:spLocks noChangeArrowheads="1"/>
            </p:cNvSpPr>
            <p:nvPr/>
          </p:nvSpPr>
          <p:spPr bwMode="auto">
            <a:xfrm>
              <a:off x="3446463" y="6113463"/>
              <a:ext cx="177800" cy="4429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36" name="Rectangle 212"/>
            <p:cNvSpPr>
              <a:spLocks noChangeArrowheads="1"/>
            </p:cNvSpPr>
            <p:nvPr/>
          </p:nvSpPr>
          <p:spPr bwMode="auto">
            <a:xfrm>
              <a:off x="3675063" y="6113463"/>
              <a:ext cx="179388" cy="4429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37" name="Rectangle 213"/>
            <p:cNvSpPr>
              <a:spLocks noChangeArrowheads="1"/>
            </p:cNvSpPr>
            <p:nvPr/>
          </p:nvSpPr>
          <p:spPr bwMode="auto">
            <a:xfrm>
              <a:off x="3905251" y="6113463"/>
              <a:ext cx="177800" cy="4429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38" name="Rectangle 214"/>
            <p:cNvSpPr>
              <a:spLocks noChangeArrowheads="1"/>
            </p:cNvSpPr>
            <p:nvPr/>
          </p:nvSpPr>
          <p:spPr bwMode="auto">
            <a:xfrm>
              <a:off x="2503488" y="6556375"/>
              <a:ext cx="2062163" cy="403225"/>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41" name="Freeform 215"/>
            <p:cNvSpPr>
              <a:spLocks/>
            </p:cNvSpPr>
            <p:nvPr/>
          </p:nvSpPr>
          <p:spPr bwMode="auto">
            <a:xfrm>
              <a:off x="3429001" y="6735763"/>
              <a:ext cx="138113" cy="219075"/>
            </a:xfrm>
            <a:custGeom>
              <a:avLst/>
              <a:gdLst>
                <a:gd name="T0" fmla="*/ 24 w 24"/>
                <a:gd name="T1" fmla="*/ 38 h 38"/>
                <a:gd name="T2" fmla="*/ 24 w 24"/>
                <a:gd name="T3" fmla="*/ 12 h 38"/>
                <a:gd name="T4" fmla="*/ 12 w 24"/>
                <a:gd name="T5" fmla="*/ 0 h 38"/>
                <a:gd name="T6" fmla="*/ 0 w 24"/>
                <a:gd name="T7" fmla="*/ 12 h 38"/>
                <a:gd name="T8" fmla="*/ 0 w 24"/>
                <a:gd name="T9" fmla="*/ 38 h 38"/>
                <a:gd name="T10" fmla="*/ 24 w 24"/>
                <a:gd name="T11" fmla="*/ 38 h 38"/>
              </a:gdLst>
              <a:ahLst/>
              <a:cxnLst>
                <a:cxn ang="0">
                  <a:pos x="T0" y="T1"/>
                </a:cxn>
                <a:cxn ang="0">
                  <a:pos x="T2" y="T3"/>
                </a:cxn>
                <a:cxn ang="0">
                  <a:pos x="T4" y="T5"/>
                </a:cxn>
                <a:cxn ang="0">
                  <a:pos x="T6" y="T7"/>
                </a:cxn>
                <a:cxn ang="0">
                  <a:pos x="T8" y="T9"/>
                </a:cxn>
                <a:cxn ang="0">
                  <a:pos x="T10" y="T11"/>
                </a:cxn>
              </a:cxnLst>
              <a:rect l="0" t="0" r="r" b="b"/>
              <a:pathLst>
                <a:path w="24" h="38">
                  <a:moveTo>
                    <a:pt x="24" y="38"/>
                  </a:moveTo>
                  <a:cubicBezTo>
                    <a:pt x="24" y="12"/>
                    <a:pt x="24" y="12"/>
                    <a:pt x="24" y="12"/>
                  </a:cubicBezTo>
                  <a:cubicBezTo>
                    <a:pt x="24" y="6"/>
                    <a:pt x="19" y="0"/>
                    <a:pt x="12" y="0"/>
                  </a:cubicBezTo>
                  <a:cubicBezTo>
                    <a:pt x="5" y="0"/>
                    <a:pt x="0" y="6"/>
                    <a:pt x="0" y="12"/>
                  </a:cubicBezTo>
                  <a:cubicBezTo>
                    <a:pt x="0" y="38"/>
                    <a:pt x="0" y="38"/>
                    <a:pt x="0" y="38"/>
                  </a:cubicBezTo>
                  <a:lnTo>
                    <a:pt x="24"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54" name="Freeform 216"/>
            <p:cNvSpPr>
              <a:spLocks/>
            </p:cNvSpPr>
            <p:nvPr/>
          </p:nvSpPr>
          <p:spPr bwMode="auto">
            <a:xfrm>
              <a:off x="3159126" y="6735763"/>
              <a:ext cx="142875" cy="219075"/>
            </a:xfrm>
            <a:custGeom>
              <a:avLst/>
              <a:gdLst>
                <a:gd name="T0" fmla="*/ 25 w 25"/>
                <a:gd name="T1" fmla="*/ 38 h 38"/>
                <a:gd name="T2" fmla="*/ 25 w 25"/>
                <a:gd name="T3" fmla="*/ 12 h 38"/>
                <a:gd name="T4" fmla="*/ 13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20" y="0"/>
                    <a:pt x="13"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55" name="Freeform 217"/>
            <p:cNvSpPr>
              <a:spLocks/>
            </p:cNvSpPr>
            <p:nvPr/>
          </p:nvSpPr>
          <p:spPr bwMode="auto">
            <a:xfrm>
              <a:off x="2894013" y="6735763"/>
              <a:ext cx="142875" cy="219075"/>
            </a:xfrm>
            <a:custGeom>
              <a:avLst/>
              <a:gdLst>
                <a:gd name="T0" fmla="*/ 25 w 25"/>
                <a:gd name="T1" fmla="*/ 38 h 38"/>
                <a:gd name="T2" fmla="*/ 25 w 25"/>
                <a:gd name="T3" fmla="*/ 12 h 38"/>
                <a:gd name="T4" fmla="*/ 13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19" y="0"/>
                    <a:pt x="13"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89" name="Freeform 218"/>
            <p:cNvSpPr>
              <a:spLocks/>
            </p:cNvSpPr>
            <p:nvPr/>
          </p:nvSpPr>
          <p:spPr bwMode="auto">
            <a:xfrm>
              <a:off x="2628901" y="6735763"/>
              <a:ext cx="144463" cy="219075"/>
            </a:xfrm>
            <a:custGeom>
              <a:avLst/>
              <a:gdLst>
                <a:gd name="T0" fmla="*/ 25 w 25"/>
                <a:gd name="T1" fmla="*/ 38 h 38"/>
                <a:gd name="T2" fmla="*/ 25 w 25"/>
                <a:gd name="T3" fmla="*/ 12 h 38"/>
                <a:gd name="T4" fmla="*/ 12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19" y="0"/>
                    <a:pt x="12"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09" name="Freeform 219"/>
            <p:cNvSpPr>
              <a:spLocks/>
            </p:cNvSpPr>
            <p:nvPr/>
          </p:nvSpPr>
          <p:spPr bwMode="auto">
            <a:xfrm>
              <a:off x="3692526" y="6735763"/>
              <a:ext cx="144463" cy="219075"/>
            </a:xfrm>
            <a:custGeom>
              <a:avLst/>
              <a:gdLst>
                <a:gd name="T0" fmla="*/ 25 w 25"/>
                <a:gd name="T1" fmla="*/ 38 h 38"/>
                <a:gd name="T2" fmla="*/ 25 w 25"/>
                <a:gd name="T3" fmla="*/ 12 h 38"/>
                <a:gd name="T4" fmla="*/ 12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19" y="0"/>
                    <a:pt x="12" y="0"/>
                  </a:cubicBezTo>
                  <a:cubicBezTo>
                    <a:pt x="5"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10" name="Freeform 220"/>
            <p:cNvSpPr>
              <a:spLocks/>
            </p:cNvSpPr>
            <p:nvPr/>
          </p:nvSpPr>
          <p:spPr bwMode="auto">
            <a:xfrm>
              <a:off x="3957638" y="6735763"/>
              <a:ext cx="142875" cy="219075"/>
            </a:xfrm>
            <a:custGeom>
              <a:avLst/>
              <a:gdLst>
                <a:gd name="T0" fmla="*/ 25 w 25"/>
                <a:gd name="T1" fmla="*/ 38 h 38"/>
                <a:gd name="T2" fmla="*/ 25 w 25"/>
                <a:gd name="T3" fmla="*/ 12 h 38"/>
                <a:gd name="T4" fmla="*/ 12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19" y="0"/>
                    <a:pt x="12"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11" name="Freeform 221"/>
            <p:cNvSpPr>
              <a:spLocks/>
            </p:cNvSpPr>
            <p:nvPr/>
          </p:nvSpPr>
          <p:spPr bwMode="auto">
            <a:xfrm>
              <a:off x="4221163" y="6735763"/>
              <a:ext cx="144463" cy="219075"/>
            </a:xfrm>
            <a:custGeom>
              <a:avLst/>
              <a:gdLst>
                <a:gd name="T0" fmla="*/ 25 w 25"/>
                <a:gd name="T1" fmla="*/ 38 h 38"/>
                <a:gd name="T2" fmla="*/ 25 w 25"/>
                <a:gd name="T3" fmla="*/ 12 h 38"/>
                <a:gd name="T4" fmla="*/ 13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20" y="0"/>
                    <a:pt x="13"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12" name="Rectangle 222"/>
            <p:cNvSpPr>
              <a:spLocks noChangeArrowheads="1"/>
            </p:cNvSpPr>
            <p:nvPr/>
          </p:nvSpPr>
          <p:spPr bwMode="auto">
            <a:xfrm>
              <a:off x="2589213" y="6015038"/>
              <a:ext cx="226643" cy="541337"/>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13" name="Rectangle 223"/>
            <p:cNvSpPr>
              <a:spLocks noChangeArrowheads="1"/>
            </p:cNvSpPr>
            <p:nvPr/>
          </p:nvSpPr>
          <p:spPr bwMode="auto">
            <a:xfrm>
              <a:off x="4256088" y="6015038"/>
              <a:ext cx="217488" cy="541337"/>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14" name="Freeform 224"/>
            <p:cNvSpPr>
              <a:spLocks/>
            </p:cNvSpPr>
            <p:nvPr/>
          </p:nvSpPr>
          <p:spPr bwMode="auto">
            <a:xfrm>
              <a:off x="1865313" y="6556375"/>
              <a:ext cx="723900" cy="403225"/>
            </a:xfrm>
            <a:custGeom>
              <a:avLst/>
              <a:gdLst>
                <a:gd name="T0" fmla="*/ 0 w 456"/>
                <a:gd name="T1" fmla="*/ 254 h 254"/>
                <a:gd name="T2" fmla="*/ 253 w 456"/>
                <a:gd name="T3" fmla="*/ 254 h 254"/>
                <a:gd name="T4" fmla="*/ 456 w 456"/>
                <a:gd name="T5" fmla="*/ 0 h 254"/>
                <a:gd name="T6" fmla="*/ 203 w 456"/>
                <a:gd name="T7" fmla="*/ 0 h 254"/>
                <a:gd name="T8" fmla="*/ 0 w 456"/>
                <a:gd name="T9" fmla="*/ 254 h 254"/>
              </a:gdLst>
              <a:ahLst/>
              <a:cxnLst>
                <a:cxn ang="0">
                  <a:pos x="T0" y="T1"/>
                </a:cxn>
                <a:cxn ang="0">
                  <a:pos x="T2" y="T3"/>
                </a:cxn>
                <a:cxn ang="0">
                  <a:pos x="T4" y="T5"/>
                </a:cxn>
                <a:cxn ang="0">
                  <a:pos x="T6" y="T7"/>
                </a:cxn>
                <a:cxn ang="0">
                  <a:pos x="T8" y="T9"/>
                </a:cxn>
              </a:cxnLst>
              <a:rect l="0" t="0" r="r" b="b"/>
              <a:pathLst>
                <a:path w="456" h="254">
                  <a:moveTo>
                    <a:pt x="0" y="254"/>
                  </a:moveTo>
                  <a:lnTo>
                    <a:pt x="253" y="254"/>
                  </a:lnTo>
                  <a:lnTo>
                    <a:pt x="456" y="0"/>
                  </a:lnTo>
                  <a:lnTo>
                    <a:pt x="203" y="0"/>
                  </a:lnTo>
                  <a:lnTo>
                    <a:pt x="0" y="254"/>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26" name="Freeform 225"/>
            <p:cNvSpPr>
              <a:spLocks/>
            </p:cNvSpPr>
            <p:nvPr/>
          </p:nvSpPr>
          <p:spPr bwMode="auto">
            <a:xfrm>
              <a:off x="4473576" y="6556375"/>
              <a:ext cx="725488" cy="403225"/>
            </a:xfrm>
            <a:custGeom>
              <a:avLst/>
              <a:gdLst>
                <a:gd name="T0" fmla="*/ 457 w 457"/>
                <a:gd name="T1" fmla="*/ 254 h 254"/>
                <a:gd name="T2" fmla="*/ 203 w 457"/>
                <a:gd name="T3" fmla="*/ 254 h 254"/>
                <a:gd name="T4" fmla="*/ 0 w 457"/>
                <a:gd name="T5" fmla="*/ 0 h 254"/>
                <a:gd name="T6" fmla="*/ 254 w 457"/>
                <a:gd name="T7" fmla="*/ 0 h 254"/>
                <a:gd name="T8" fmla="*/ 457 w 457"/>
                <a:gd name="T9" fmla="*/ 254 h 254"/>
              </a:gdLst>
              <a:ahLst/>
              <a:cxnLst>
                <a:cxn ang="0">
                  <a:pos x="T0" y="T1"/>
                </a:cxn>
                <a:cxn ang="0">
                  <a:pos x="T2" y="T3"/>
                </a:cxn>
                <a:cxn ang="0">
                  <a:pos x="T4" y="T5"/>
                </a:cxn>
                <a:cxn ang="0">
                  <a:pos x="T6" y="T7"/>
                </a:cxn>
                <a:cxn ang="0">
                  <a:pos x="T8" y="T9"/>
                </a:cxn>
              </a:cxnLst>
              <a:rect l="0" t="0" r="r" b="b"/>
              <a:pathLst>
                <a:path w="457" h="254">
                  <a:moveTo>
                    <a:pt x="457" y="254"/>
                  </a:moveTo>
                  <a:lnTo>
                    <a:pt x="203" y="254"/>
                  </a:lnTo>
                  <a:lnTo>
                    <a:pt x="0" y="0"/>
                  </a:lnTo>
                  <a:lnTo>
                    <a:pt x="254" y="0"/>
                  </a:lnTo>
                  <a:lnTo>
                    <a:pt x="457" y="254"/>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27" name="Rectangle 226"/>
            <p:cNvSpPr>
              <a:spLocks noChangeArrowheads="1"/>
            </p:cNvSpPr>
            <p:nvPr/>
          </p:nvSpPr>
          <p:spPr bwMode="auto">
            <a:xfrm>
              <a:off x="4565651" y="6211888"/>
              <a:ext cx="58738" cy="920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28" name="Rectangle 227"/>
            <p:cNvSpPr>
              <a:spLocks noChangeArrowheads="1"/>
            </p:cNvSpPr>
            <p:nvPr/>
          </p:nvSpPr>
          <p:spPr bwMode="auto">
            <a:xfrm>
              <a:off x="4795838" y="6211888"/>
              <a:ext cx="57150" cy="920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29" name="Rectangle 228"/>
            <p:cNvSpPr>
              <a:spLocks noChangeArrowheads="1"/>
            </p:cNvSpPr>
            <p:nvPr/>
          </p:nvSpPr>
          <p:spPr bwMode="auto">
            <a:xfrm>
              <a:off x="5026026" y="6211888"/>
              <a:ext cx="57150" cy="920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30" name="Rectangle 229"/>
            <p:cNvSpPr>
              <a:spLocks noChangeArrowheads="1"/>
            </p:cNvSpPr>
            <p:nvPr/>
          </p:nvSpPr>
          <p:spPr bwMode="auto">
            <a:xfrm>
              <a:off x="5256213" y="6211888"/>
              <a:ext cx="57150" cy="920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31" name="Rectangle 230"/>
            <p:cNvSpPr>
              <a:spLocks noChangeArrowheads="1"/>
            </p:cNvSpPr>
            <p:nvPr/>
          </p:nvSpPr>
          <p:spPr bwMode="auto">
            <a:xfrm>
              <a:off x="4565651" y="6396038"/>
              <a:ext cx="58738" cy="920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32" name="Rectangle 231"/>
            <p:cNvSpPr>
              <a:spLocks noChangeArrowheads="1"/>
            </p:cNvSpPr>
            <p:nvPr/>
          </p:nvSpPr>
          <p:spPr bwMode="auto">
            <a:xfrm>
              <a:off x="4795838" y="6396038"/>
              <a:ext cx="57150" cy="920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33" name="Rectangle 232"/>
            <p:cNvSpPr>
              <a:spLocks noChangeArrowheads="1"/>
            </p:cNvSpPr>
            <p:nvPr/>
          </p:nvSpPr>
          <p:spPr bwMode="auto">
            <a:xfrm>
              <a:off x="5026026" y="6396038"/>
              <a:ext cx="57150" cy="920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34" name="Rectangle 233"/>
            <p:cNvSpPr>
              <a:spLocks noChangeArrowheads="1"/>
            </p:cNvSpPr>
            <p:nvPr/>
          </p:nvSpPr>
          <p:spPr bwMode="auto">
            <a:xfrm>
              <a:off x="5256213" y="6396038"/>
              <a:ext cx="57150" cy="920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35" name="Rectangle 234"/>
            <p:cNvSpPr>
              <a:spLocks noChangeArrowheads="1"/>
            </p:cNvSpPr>
            <p:nvPr/>
          </p:nvSpPr>
          <p:spPr bwMode="auto">
            <a:xfrm>
              <a:off x="1755776" y="6211888"/>
              <a:ext cx="57150" cy="920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36" name="Rectangle 235"/>
            <p:cNvSpPr>
              <a:spLocks noChangeArrowheads="1"/>
            </p:cNvSpPr>
            <p:nvPr/>
          </p:nvSpPr>
          <p:spPr bwMode="auto">
            <a:xfrm>
              <a:off x="1985963" y="6211888"/>
              <a:ext cx="57150" cy="920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37" name="Rectangle 236"/>
            <p:cNvSpPr>
              <a:spLocks noChangeArrowheads="1"/>
            </p:cNvSpPr>
            <p:nvPr/>
          </p:nvSpPr>
          <p:spPr bwMode="auto">
            <a:xfrm>
              <a:off x="2216151" y="6211888"/>
              <a:ext cx="57150" cy="920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38" name="Rectangle 237"/>
            <p:cNvSpPr>
              <a:spLocks noChangeArrowheads="1"/>
            </p:cNvSpPr>
            <p:nvPr/>
          </p:nvSpPr>
          <p:spPr bwMode="auto">
            <a:xfrm>
              <a:off x="2446338" y="6211888"/>
              <a:ext cx="57150" cy="920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39" name="Rectangle 238"/>
            <p:cNvSpPr>
              <a:spLocks noChangeArrowheads="1"/>
            </p:cNvSpPr>
            <p:nvPr/>
          </p:nvSpPr>
          <p:spPr bwMode="auto">
            <a:xfrm>
              <a:off x="1755776" y="6396038"/>
              <a:ext cx="57150" cy="920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40" name="Rectangle 239"/>
            <p:cNvSpPr>
              <a:spLocks noChangeArrowheads="1"/>
            </p:cNvSpPr>
            <p:nvPr/>
          </p:nvSpPr>
          <p:spPr bwMode="auto">
            <a:xfrm>
              <a:off x="1985963" y="6396038"/>
              <a:ext cx="57150" cy="920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41" name="Rectangle 240"/>
            <p:cNvSpPr>
              <a:spLocks noChangeArrowheads="1"/>
            </p:cNvSpPr>
            <p:nvPr/>
          </p:nvSpPr>
          <p:spPr bwMode="auto">
            <a:xfrm>
              <a:off x="2216151" y="6396038"/>
              <a:ext cx="57150" cy="920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42" name="Rectangle 241"/>
            <p:cNvSpPr>
              <a:spLocks noChangeArrowheads="1"/>
            </p:cNvSpPr>
            <p:nvPr/>
          </p:nvSpPr>
          <p:spPr bwMode="auto">
            <a:xfrm>
              <a:off x="2446338" y="6396038"/>
              <a:ext cx="57150" cy="920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43" name="Rectangle 242"/>
            <p:cNvSpPr>
              <a:spLocks noChangeArrowheads="1"/>
            </p:cNvSpPr>
            <p:nvPr/>
          </p:nvSpPr>
          <p:spPr bwMode="auto">
            <a:xfrm>
              <a:off x="2773363" y="5561013"/>
              <a:ext cx="1522413" cy="92075"/>
            </a:xfrm>
            <a:prstGeom prst="rect">
              <a:avLst/>
            </a:pr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44" name="Rectangle 243"/>
            <p:cNvSpPr>
              <a:spLocks noChangeArrowheads="1"/>
            </p:cNvSpPr>
            <p:nvPr/>
          </p:nvSpPr>
          <p:spPr bwMode="auto">
            <a:xfrm>
              <a:off x="2773363" y="5911850"/>
              <a:ext cx="1522413" cy="92075"/>
            </a:xfrm>
            <a:prstGeom prst="rect">
              <a:avLst/>
            </a:pr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45" name="Line 244"/>
            <p:cNvSpPr>
              <a:spLocks noChangeShapeType="1"/>
            </p:cNvSpPr>
            <p:nvPr/>
          </p:nvSpPr>
          <p:spPr bwMode="auto">
            <a:xfrm>
              <a:off x="2589213" y="6038850"/>
              <a:ext cx="1884363" cy="0"/>
            </a:xfrm>
            <a:prstGeom prst="line">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417721516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ctrTitle" hasCustomPrompt="1"/>
          </p:nvPr>
        </p:nvSpPr>
        <p:spPr>
          <a:xfrm>
            <a:off x="585222" y="2142643"/>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603510" y="3954463"/>
            <a:ext cx="11210099" cy="1055382"/>
          </a:xfrm>
        </p:spPr>
        <p:txBody>
          <a:bodyPr/>
          <a:lstStyle>
            <a:lvl1pPr marL="0" indent="0" algn="l">
              <a:buNone/>
              <a:defRPr sz="2200">
                <a:solidFill>
                  <a:schemeClr val="bg1"/>
                </a:solidFill>
                <a:latin typeface="+mn-lt"/>
              </a:defRPr>
            </a:lvl1pPr>
            <a:lvl2pPr marL="456895" indent="0" algn="ctr">
              <a:buNone/>
              <a:defRPr>
                <a:solidFill>
                  <a:schemeClr val="tx1">
                    <a:tint val="75000"/>
                  </a:schemeClr>
                </a:solidFill>
              </a:defRPr>
            </a:lvl2pPr>
            <a:lvl3pPr marL="913790" indent="0" algn="ctr">
              <a:buNone/>
              <a:defRPr>
                <a:solidFill>
                  <a:schemeClr val="tx1">
                    <a:tint val="75000"/>
                  </a:schemeClr>
                </a:solidFill>
              </a:defRPr>
            </a:lvl3pPr>
            <a:lvl4pPr marL="1370686" indent="0" algn="ctr">
              <a:buNone/>
              <a:defRPr>
                <a:solidFill>
                  <a:schemeClr val="tx1">
                    <a:tint val="75000"/>
                  </a:schemeClr>
                </a:solidFill>
              </a:defRPr>
            </a:lvl4pPr>
            <a:lvl5pPr marL="1827582" indent="0" algn="ctr">
              <a:buNone/>
              <a:defRPr>
                <a:solidFill>
                  <a:schemeClr val="tx1">
                    <a:tint val="75000"/>
                  </a:schemeClr>
                </a:solidFill>
              </a:defRPr>
            </a:lvl5pPr>
            <a:lvl6pPr marL="2284478" indent="0" algn="ctr">
              <a:buNone/>
              <a:defRPr>
                <a:solidFill>
                  <a:schemeClr val="tx1">
                    <a:tint val="75000"/>
                  </a:schemeClr>
                </a:solidFill>
              </a:defRPr>
            </a:lvl6pPr>
            <a:lvl7pPr marL="2741373" indent="0" algn="ctr">
              <a:buNone/>
              <a:defRPr>
                <a:solidFill>
                  <a:schemeClr val="tx1">
                    <a:tint val="75000"/>
                  </a:schemeClr>
                </a:solidFill>
              </a:defRPr>
            </a:lvl7pPr>
            <a:lvl8pPr marL="3198267" indent="0" algn="ctr">
              <a:buNone/>
              <a:defRPr>
                <a:solidFill>
                  <a:schemeClr val="tx1">
                    <a:tint val="75000"/>
                  </a:schemeClr>
                </a:solidFill>
              </a:defRPr>
            </a:lvl8pPr>
            <a:lvl9pPr marL="3655164"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10122916" y="5379655"/>
            <a:ext cx="1578688" cy="833174"/>
            <a:chOff x="2825708" y="3803918"/>
            <a:chExt cx="5590060" cy="2950238"/>
          </a:xfrm>
          <a:solidFill>
            <a:schemeClr val="bg1"/>
          </a:solidFill>
        </p:grpSpPr>
        <p:sp>
          <p:nvSpPr>
            <p:cNvPr id="7" name="Freeform 6"/>
            <p:cNvSpPr>
              <a:spLocks/>
            </p:cNvSpPr>
            <p:nvPr userDrawn="1"/>
          </p:nvSpPr>
          <p:spPr bwMode="auto">
            <a:xfrm flipH="1">
              <a:off x="2825708" y="3803918"/>
              <a:ext cx="3798668" cy="2644406"/>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p>
          </p:txBody>
        </p:sp>
      </p:grpSp>
    </p:spTree>
    <p:extLst>
      <p:ext uri="{BB962C8B-B14F-4D97-AF65-F5344CB8AC3E}">
        <p14:creationId xmlns:p14="http://schemas.microsoft.com/office/powerpoint/2010/main" val="336681003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a:spLocks noGrp="1"/>
          </p:cNvSpPr>
          <p:nvPr>
            <p:ph type="ctrTitle" hasCustomPrompt="1"/>
          </p:nvPr>
        </p:nvSpPr>
        <p:spPr>
          <a:xfrm>
            <a:off x="585222" y="2142643"/>
            <a:ext cx="11228387" cy="1720381"/>
          </a:xfrm>
        </p:spPr>
        <p:txBody>
          <a:bodyPr/>
          <a:lstStyle>
            <a:lvl1pPr>
              <a:defRPr sz="6000">
                <a:solidFill>
                  <a:schemeClr val="bg1"/>
                </a:solidFill>
              </a:defRPr>
            </a:lvl1pPr>
          </a:lstStyle>
          <a:p>
            <a:r>
              <a:rPr lang="en-US" dirty="0"/>
              <a:t>Title</a:t>
            </a:r>
          </a:p>
        </p:txBody>
      </p:sp>
      <p:sp>
        <p:nvSpPr>
          <p:cNvPr id="10" name="Subtitle 2"/>
          <p:cNvSpPr>
            <a:spLocks noGrp="1"/>
          </p:cNvSpPr>
          <p:nvPr>
            <p:ph type="subTitle" idx="1" hasCustomPrompt="1"/>
          </p:nvPr>
        </p:nvSpPr>
        <p:spPr>
          <a:xfrm>
            <a:off x="603510" y="3954463"/>
            <a:ext cx="11210099" cy="1055382"/>
          </a:xfrm>
        </p:spPr>
        <p:txBody>
          <a:bodyPr/>
          <a:lstStyle>
            <a:lvl1pPr marL="0" indent="0" algn="l">
              <a:buNone/>
              <a:defRPr sz="2200">
                <a:solidFill>
                  <a:schemeClr val="bg1"/>
                </a:solidFill>
                <a:latin typeface="+mn-lt"/>
              </a:defRPr>
            </a:lvl1pPr>
            <a:lvl2pPr marL="456895" indent="0" algn="ctr">
              <a:buNone/>
              <a:defRPr>
                <a:solidFill>
                  <a:schemeClr val="tx1">
                    <a:tint val="75000"/>
                  </a:schemeClr>
                </a:solidFill>
              </a:defRPr>
            </a:lvl2pPr>
            <a:lvl3pPr marL="913790" indent="0" algn="ctr">
              <a:buNone/>
              <a:defRPr>
                <a:solidFill>
                  <a:schemeClr val="tx1">
                    <a:tint val="75000"/>
                  </a:schemeClr>
                </a:solidFill>
              </a:defRPr>
            </a:lvl3pPr>
            <a:lvl4pPr marL="1370686" indent="0" algn="ctr">
              <a:buNone/>
              <a:defRPr>
                <a:solidFill>
                  <a:schemeClr val="tx1">
                    <a:tint val="75000"/>
                  </a:schemeClr>
                </a:solidFill>
              </a:defRPr>
            </a:lvl4pPr>
            <a:lvl5pPr marL="1827582" indent="0" algn="ctr">
              <a:buNone/>
              <a:defRPr>
                <a:solidFill>
                  <a:schemeClr val="tx1">
                    <a:tint val="75000"/>
                  </a:schemeClr>
                </a:solidFill>
              </a:defRPr>
            </a:lvl5pPr>
            <a:lvl6pPr marL="2284478" indent="0" algn="ctr">
              <a:buNone/>
              <a:defRPr>
                <a:solidFill>
                  <a:schemeClr val="tx1">
                    <a:tint val="75000"/>
                  </a:schemeClr>
                </a:solidFill>
              </a:defRPr>
            </a:lvl6pPr>
            <a:lvl7pPr marL="2741373" indent="0" algn="ctr">
              <a:buNone/>
              <a:defRPr>
                <a:solidFill>
                  <a:schemeClr val="tx1">
                    <a:tint val="75000"/>
                  </a:schemeClr>
                </a:solidFill>
              </a:defRPr>
            </a:lvl7pPr>
            <a:lvl8pPr marL="3198267" indent="0" algn="ctr">
              <a:buNone/>
              <a:defRPr>
                <a:solidFill>
                  <a:schemeClr val="tx1">
                    <a:tint val="75000"/>
                  </a:schemeClr>
                </a:solidFill>
              </a:defRPr>
            </a:lvl8pPr>
            <a:lvl9pPr marL="3655164"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10122916" y="5379655"/>
            <a:ext cx="1578688" cy="833174"/>
            <a:chOff x="2825708" y="3803918"/>
            <a:chExt cx="5590060" cy="2950238"/>
          </a:xfrm>
          <a:solidFill>
            <a:schemeClr val="bg1"/>
          </a:solidFill>
        </p:grpSpPr>
        <p:sp>
          <p:nvSpPr>
            <p:cNvPr id="6" name="Freeform 5"/>
            <p:cNvSpPr>
              <a:spLocks/>
            </p:cNvSpPr>
            <p:nvPr userDrawn="1"/>
          </p:nvSpPr>
          <p:spPr bwMode="auto">
            <a:xfrm flipH="1">
              <a:off x="2825708" y="3803918"/>
              <a:ext cx="3798668" cy="2644406"/>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p>
          </p:txBody>
        </p:sp>
      </p:grpSp>
    </p:spTree>
    <p:extLst>
      <p:ext uri="{BB962C8B-B14F-4D97-AF65-F5344CB8AC3E}">
        <p14:creationId xmlns:p14="http://schemas.microsoft.com/office/powerpoint/2010/main" val="172889428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a:spLocks noGrp="1"/>
          </p:cNvSpPr>
          <p:nvPr>
            <p:ph type="ctrTitle" hasCustomPrompt="1"/>
          </p:nvPr>
        </p:nvSpPr>
        <p:spPr>
          <a:xfrm>
            <a:off x="585222" y="2142643"/>
            <a:ext cx="11228387" cy="1720381"/>
          </a:xfrm>
        </p:spPr>
        <p:txBody>
          <a:bodyPr/>
          <a:lstStyle>
            <a:lvl1pPr>
              <a:defRPr sz="6000">
                <a:solidFill>
                  <a:schemeClr val="bg1"/>
                </a:solidFill>
              </a:defRPr>
            </a:lvl1pPr>
          </a:lstStyle>
          <a:p>
            <a:r>
              <a:rPr lang="en-US" dirty="0"/>
              <a:t>Title</a:t>
            </a:r>
          </a:p>
        </p:txBody>
      </p:sp>
      <p:sp>
        <p:nvSpPr>
          <p:cNvPr id="10" name="Subtitle 2"/>
          <p:cNvSpPr>
            <a:spLocks noGrp="1"/>
          </p:cNvSpPr>
          <p:nvPr>
            <p:ph type="subTitle" idx="1" hasCustomPrompt="1"/>
          </p:nvPr>
        </p:nvSpPr>
        <p:spPr>
          <a:xfrm>
            <a:off x="603510" y="3954463"/>
            <a:ext cx="11210099" cy="1055382"/>
          </a:xfrm>
        </p:spPr>
        <p:txBody>
          <a:bodyPr/>
          <a:lstStyle>
            <a:lvl1pPr marL="0" indent="0" algn="l">
              <a:buNone/>
              <a:defRPr sz="2200">
                <a:solidFill>
                  <a:schemeClr val="bg1"/>
                </a:solidFill>
                <a:latin typeface="+mn-lt"/>
              </a:defRPr>
            </a:lvl1pPr>
            <a:lvl2pPr marL="456895" indent="0" algn="ctr">
              <a:buNone/>
              <a:defRPr>
                <a:solidFill>
                  <a:schemeClr val="tx1">
                    <a:tint val="75000"/>
                  </a:schemeClr>
                </a:solidFill>
              </a:defRPr>
            </a:lvl2pPr>
            <a:lvl3pPr marL="913790" indent="0" algn="ctr">
              <a:buNone/>
              <a:defRPr>
                <a:solidFill>
                  <a:schemeClr val="tx1">
                    <a:tint val="75000"/>
                  </a:schemeClr>
                </a:solidFill>
              </a:defRPr>
            </a:lvl3pPr>
            <a:lvl4pPr marL="1370686" indent="0" algn="ctr">
              <a:buNone/>
              <a:defRPr>
                <a:solidFill>
                  <a:schemeClr val="tx1">
                    <a:tint val="75000"/>
                  </a:schemeClr>
                </a:solidFill>
              </a:defRPr>
            </a:lvl4pPr>
            <a:lvl5pPr marL="1827582" indent="0" algn="ctr">
              <a:buNone/>
              <a:defRPr>
                <a:solidFill>
                  <a:schemeClr val="tx1">
                    <a:tint val="75000"/>
                  </a:schemeClr>
                </a:solidFill>
              </a:defRPr>
            </a:lvl5pPr>
            <a:lvl6pPr marL="2284478" indent="0" algn="ctr">
              <a:buNone/>
              <a:defRPr>
                <a:solidFill>
                  <a:schemeClr val="tx1">
                    <a:tint val="75000"/>
                  </a:schemeClr>
                </a:solidFill>
              </a:defRPr>
            </a:lvl6pPr>
            <a:lvl7pPr marL="2741373" indent="0" algn="ctr">
              <a:buNone/>
              <a:defRPr>
                <a:solidFill>
                  <a:schemeClr val="tx1">
                    <a:tint val="75000"/>
                  </a:schemeClr>
                </a:solidFill>
              </a:defRPr>
            </a:lvl7pPr>
            <a:lvl8pPr marL="3198267" indent="0" algn="ctr">
              <a:buNone/>
              <a:defRPr>
                <a:solidFill>
                  <a:schemeClr val="tx1">
                    <a:tint val="75000"/>
                  </a:schemeClr>
                </a:solidFill>
              </a:defRPr>
            </a:lvl8pPr>
            <a:lvl9pPr marL="3655164"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10122916" y="5379655"/>
            <a:ext cx="1578688" cy="833174"/>
            <a:chOff x="2825708" y="3803918"/>
            <a:chExt cx="5590060" cy="2950238"/>
          </a:xfrm>
          <a:solidFill>
            <a:schemeClr val="bg1"/>
          </a:solidFill>
        </p:grpSpPr>
        <p:sp>
          <p:nvSpPr>
            <p:cNvPr id="6" name="Freeform 5"/>
            <p:cNvSpPr>
              <a:spLocks/>
            </p:cNvSpPr>
            <p:nvPr userDrawn="1"/>
          </p:nvSpPr>
          <p:spPr bwMode="auto">
            <a:xfrm flipH="1">
              <a:off x="2825708" y="3803918"/>
              <a:ext cx="3798668" cy="2644406"/>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p>
          </p:txBody>
        </p:sp>
      </p:grpSp>
    </p:spTree>
    <p:extLst>
      <p:ext uri="{BB962C8B-B14F-4D97-AF65-F5344CB8AC3E}">
        <p14:creationId xmlns:p14="http://schemas.microsoft.com/office/powerpoint/2010/main" val="422902601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a:spLocks noGrp="1"/>
          </p:cNvSpPr>
          <p:nvPr>
            <p:ph type="ctrTitle" hasCustomPrompt="1"/>
          </p:nvPr>
        </p:nvSpPr>
        <p:spPr>
          <a:xfrm>
            <a:off x="585222" y="2142643"/>
            <a:ext cx="11228387" cy="1720381"/>
          </a:xfrm>
        </p:spPr>
        <p:txBody>
          <a:bodyPr/>
          <a:lstStyle>
            <a:lvl1pPr>
              <a:defRPr sz="6000">
                <a:solidFill>
                  <a:schemeClr val="bg1"/>
                </a:solidFill>
              </a:defRPr>
            </a:lvl1pPr>
          </a:lstStyle>
          <a:p>
            <a:r>
              <a:rPr lang="en-US" dirty="0"/>
              <a:t>Title</a:t>
            </a:r>
          </a:p>
        </p:txBody>
      </p:sp>
      <p:sp>
        <p:nvSpPr>
          <p:cNvPr id="10" name="Subtitle 2"/>
          <p:cNvSpPr>
            <a:spLocks noGrp="1"/>
          </p:cNvSpPr>
          <p:nvPr>
            <p:ph type="subTitle" idx="1" hasCustomPrompt="1"/>
          </p:nvPr>
        </p:nvSpPr>
        <p:spPr>
          <a:xfrm>
            <a:off x="603510" y="3954463"/>
            <a:ext cx="11210099" cy="1055382"/>
          </a:xfrm>
        </p:spPr>
        <p:txBody>
          <a:bodyPr/>
          <a:lstStyle>
            <a:lvl1pPr marL="0" indent="0" algn="l">
              <a:buNone/>
              <a:defRPr sz="2200">
                <a:solidFill>
                  <a:schemeClr val="bg1"/>
                </a:solidFill>
                <a:latin typeface="+mn-lt"/>
              </a:defRPr>
            </a:lvl1pPr>
            <a:lvl2pPr marL="456895" indent="0" algn="ctr">
              <a:buNone/>
              <a:defRPr>
                <a:solidFill>
                  <a:schemeClr val="tx1">
                    <a:tint val="75000"/>
                  </a:schemeClr>
                </a:solidFill>
              </a:defRPr>
            </a:lvl2pPr>
            <a:lvl3pPr marL="913790" indent="0" algn="ctr">
              <a:buNone/>
              <a:defRPr>
                <a:solidFill>
                  <a:schemeClr val="tx1">
                    <a:tint val="75000"/>
                  </a:schemeClr>
                </a:solidFill>
              </a:defRPr>
            </a:lvl3pPr>
            <a:lvl4pPr marL="1370686" indent="0" algn="ctr">
              <a:buNone/>
              <a:defRPr>
                <a:solidFill>
                  <a:schemeClr val="tx1">
                    <a:tint val="75000"/>
                  </a:schemeClr>
                </a:solidFill>
              </a:defRPr>
            </a:lvl4pPr>
            <a:lvl5pPr marL="1827582" indent="0" algn="ctr">
              <a:buNone/>
              <a:defRPr>
                <a:solidFill>
                  <a:schemeClr val="tx1">
                    <a:tint val="75000"/>
                  </a:schemeClr>
                </a:solidFill>
              </a:defRPr>
            </a:lvl5pPr>
            <a:lvl6pPr marL="2284478" indent="0" algn="ctr">
              <a:buNone/>
              <a:defRPr>
                <a:solidFill>
                  <a:schemeClr val="tx1">
                    <a:tint val="75000"/>
                  </a:schemeClr>
                </a:solidFill>
              </a:defRPr>
            </a:lvl6pPr>
            <a:lvl7pPr marL="2741373" indent="0" algn="ctr">
              <a:buNone/>
              <a:defRPr>
                <a:solidFill>
                  <a:schemeClr val="tx1">
                    <a:tint val="75000"/>
                  </a:schemeClr>
                </a:solidFill>
              </a:defRPr>
            </a:lvl7pPr>
            <a:lvl8pPr marL="3198267" indent="0" algn="ctr">
              <a:buNone/>
              <a:defRPr>
                <a:solidFill>
                  <a:schemeClr val="tx1">
                    <a:tint val="75000"/>
                  </a:schemeClr>
                </a:solidFill>
              </a:defRPr>
            </a:lvl8pPr>
            <a:lvl9pPr marL="3655164"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1489235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a:spLocks noGrp="1"/>
          </p:cNvSpPr>
          <p:nvPr>
            <p:ph type="ctrTitle" hasCustomPrompt="1"/>
          </p:nvPr>
        </p:nvSpPr>
        <p:spPr>
          <a:xfrm>
            <a:off x="585222" y="2142643"/>
            <a:ext cx="11228387" cy="1720381"/>
          </a:xfrm>
        </p:spPr>
        <p:txBody>
          <a:bodyPr/>
          <a:lstStyle>
            <a:lvl1pPr>
              <a:defRPr sz="6000">
                <a:solidFill>
                  <a:schemeClr val="bg1"/>
                </a:solidFill>
              </a:defRPr>
            </a:lvl1pPr>
          </a:lstStyle>
          <a:p>
            <a:r>
              <a:rPr lang="en-US" dirty="0"/>
              <a:t>Title</a:t>
            </a:r>
          </a:p>
        </p:txBody>
      </p:sp>
      <p:sp>
        <p:nvSpPr>
          <p:cNvPr id="10" name="Subtitle 2"/>
          <p:cNvSpPr>
            <a:spLocks noGrp="1"/>
          </p:cNvSpPr>
          <p:nvPr>
            <p:ph type="subTitle" idx="1" hasCustomPrompt="1"/>
          </p:nvPr>
        </p:nvSpPr>
        <p:spPr>
          <a:xfrm>
            <a:off x="603510" y="3954463"/>
            <a:ext cx="11210099" cy="1055382"/>
          </a:xfrm>
        </p:spPr>
        <p:txBody>
          <a:bodyPr/>
          <a:lstStyle>
            <a:lvl1pPr marL="0" indent="0" algn="l">
              <a:buNone/>
              <a:defRPr sz="2200">
                <a:solidFill>
                  <a:schemeClr val="bg1"/>
                </a:solidFill>
                <a:latin typeface="+mn-lt"/>
              </a:defRPr>
            </a:lvl1pPr>
            <a:lvl2pPr marL="456895" indent="0" algn="ctr">
              <a:buNone/>
              <a:defRPr>
                <a:solidFill>
                  <a:schemeClr val="tx1">
                    <a:tint val="75000"/>
                  </a:schemeClr>
                </a:solidFill>
              </a:defRPr>
            </a:lvl2pPr>
            <a:lvl3pPr marL="913790" indent="0" algn="ctr">
              <a:buNone/>
              <a:defRPr>
                <a:solidFill>
                  <a:schemeClr val="tx1">
                    <a:tint val="75000"/>
                  </a:schemeClr>
                </a:solidFill>
              </a:defRPr>
            </a:lvl3pPr>
            <a:lvl4pPr marL="1370686" indent="0" algn="ctr">
              <a:buNone/>
              <a:defRPr>
                <a:solidFill>
                  <a:schemeClr val="tx1">
                    <a:tint val="75000"/>
                  </a:schemeClr>
                </a:solidFill>
              </a:defRPr>
            </a:lvl4pPr>
            <a:lvl5pPr marL="1827582" indent="0" algn="ctr">
              <a:buNone/>
              <a:defRPr>
                <a:solidFill>
                  <a:schemeClr val="tx1">
                    <a:tint val="75000"/>
                  </a:schemeClr>
                </a:solidFill>
              </a:defRPr>
            </a:lvl5pPr>
            <a:lvl6pPr marL="2284478" indent="0" algn="ctr">
              <a:buNone/>
              <a:defRPr>
                <a:solidFill>
                  <a:schemeClr val="tx1">
                    <a:tint val="75000"/>
                  </a:schemeClr>
                </a:solidFill>
              </a:defRPr>
            </a:lvl6pPr>
            <a:lvl7pPr marL="2741373" indent="0" algn="ctr">
              <a:buNone/>
              <a:defRPr>
                <a:solidFill>
                  <a:schemeClr val="tx1">
                    <a:tint val="75000"/>
                  </a:schemeClr>
                </a:solidFill>
              </a:defRPr>
            </a:lvl7pPr>
            <a:lvl8pPr marL="3198267" indent="0" algn="ctr">
              <a:buNone/>
              <a:defRPr>
                <a:solidFill>
                  <a:schemeClr val="tx1">
                    <a:tint val="75000"/>
                  </a:schemeClr>
                </a:solidFill>
              </a:defRPr>
            </a:lvl8pPr>
            <a:lvl9pPr marL="3655164"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2942004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a:spLocks noGrp="1"/>
          </p:cNvSpPr>
          <p:nvPr>
            <p:ph type="ctrTitle" hasCustomPrompt="1"/>
          </p:nvPr>
        </p:nvSpPr>
        <p:spPr>
          <a:xfrm>
            <a:off x="585222" y="2142643"/>
            <a:ext cx="11228387" cy="1720381"/>
          </a:xfrm>
        </p:spPr>
        <p:txBody>
          <a:bodyPr/>
          <a:lstStyle>
            <a:lvl1pPr>
              <a:defRPr sz="6000">
                <a:solidFill>
                  <a:schemeClr val="bg1"/>
                </a:solidFill>
              </a:defRPr>
            </a:lvl1pPr>
          </a:lstStyle>
          <a:p>
            <a:r>
              <a:rPr lang="en-US" dirty="0"/>
              <a:t>Title</a:t>
            </a:r>
          </a:p>
        </p:txBody>
      </p:sp>
      <p:sp>
        <p:nvSpPr>
          <p:cNvPr id="10" name="Subtitle 2"/>
          <p:cNvSpPr>
            <a:spLocks noGrp="1"/>
          </p:cNvSpPr>
          <p:nvPr>
            <p:ph type="subTitle" idx="1" hasCustomPrompt="1"/>
          </p:nvPr>
        </p:nvSpPr>
        <p:spPr>
          <a:xfrm>
            <a:off x="603510" y="3954463"/>
            <a:ext cx="11210099" cy="1055382"/>
          </a:xfrm>
        </p:spPr>
        <p:txBody>
          <a:bodyPr/>
          <a:lstStyle>
            <a:lvl1pPr marL="0" indent="0" algn="l">
              <a:buNone/>
              <a:defRPr sz="2200">
                <a:solidFill>
                  <a:schemeClr val="bg1"/>
                </a:solidFill>
                <a:latin typeface="+mn-lt"/>
              </a:defRPr>
            </a:lvl1pPr>
            <a:lvl2pPr marL="456895" indent="0" algn="ctr">
              <a:buNone/>
              <a:defRPr>
                <a:solidFill>
                  <a:schemeClr val="tx1">
                    <a:tint val="75000"/>
                  </a:schemeClr>
                </a:solidFill>
              </a:defRPr>
            </a:lvl2pPr>
            <a:lvl3pPr marL="913790" indent="0" algn="ctr">
              <a:buNone/>
              <a:defRPr>
                <a:solidFill>
                  <a:schemeClr val="tx1">
                    <a:tint val="75000"/>
                  </a:schemeClr>
                </a:solidFill>
              </a:defRPr>
            </a:lvl3pPr>
            <a:lvl4pPr marL="1370686" indent="0" algn="ctr">
              <a:buNone/>
              <a:defRPr>
                <a:solidFill>
                  <a:schemeClr val="tx1">
                    <a:tint val="75000"/>
                  </a:schemeClr>
                </a:solidFill>
              </a:defRPr>
            </a:lvl4pPr>
            <a:lvl5pPr marL="1827582" indent="0" algn="ctr">
              <a:buNone/>
              <a:defRPr>
                <a:solidFill>
                  <a:schemeClr val="tx1">
                    <a:tint val="75000"/>
                  </a:schemeClr>
                </a:solidFill>
              </a:defRPr>
            </a:lvl5pPr>
            <a:lvl6pPr marL="2284478" indent="0" algn="ctr">
              <a:buNone/>
              <a:defRPr>
                <a:solidFill>
                  <a:schemeClr val="tx1">
                    <a:tint val="75000"/>
                  </a:schemeClr>
                </a:solidFill>
              </a:defRPr>
            </a:lvl6pPr>
            <a:lvl7pPr marL="2741373" indent="0" algn="ctr">
              <a:buNone/>
              <a:defRPr>
                <a:solidFill>
                  <a:schemeClr val="tx1">
                    <a:tint val="75000"/>
                  </a:schemeClr>
                </a:solidFill>
              </a:defRPr>
            </a:lvl7pPr>
            <a:lvl8pPr marL="3198267" indent="0" algn="ctr">
              <a:buNone/>
              <a:defRPr>
                <a:solidFill>
                  <a:schemeClr val="tx1">
                    <a:tint val="75000"/>
                  </a:schemeClr>
                </a:solidFill>
              </a:defRPr>
            </a:lvl8pPr>
            <a:lvl9pPr marL="3655164"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8538027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2"/>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13802" y="1969162"/>
            <a:ext cx="5080868" cy="627807"/>
          </a:xfrm>
        </p:spPr>
        <p:txBody>
          <a:bodyPr/>
          <a:lstStyle>
            <a:lvl1pPr>
              <a:defRPr sz="41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13799" y="2726800"/>
            <a:ext cx="5126882" cy="2238631"/>
          </a:xfrm>
        </p:spPr>
        <p:txBody>
          <a:bodyPr>
            <a:noAutofit/>
          </a:bodyPr>
          <a:lstStyle>
            <a:lvl1pPr marL="0" indent="0" algn="l" defTabSz="465986" rtl="0" eaLnBrk="1" latinLnBrk="0" hangingPunct="1">
              <a:spcBef>
                <a:spcPct val="0"/>
              </a:spcBef>
              <a:buNone/>
              <a:defRPr lang="en-US" sz="2000" b="0" i="0" kern="1200" baseline="0" dirty="0">
                <a:solidFill>
                  <a:schemeClr val="tx2"/>
                </a:solidFill>
                <a:latin typeface="Segoe UI Light"/>
                <a:ea typeface="+mj-ea"/>
                <a:cs typeface="Segoe UI Light"/>
              </a:defRPr>
            </a:lvl1pPr>
            <a:lvl2pPr marL="465986" indent="0" algn="ctr">
              <a:buNone/>
              <a:defRPr>
                <a:solidFill>
                  <a:schemeClr val="tx1">
                    <a:tint val="75000"/>
                  </a:schemeClr>
                </a:solidFill>
              </a:defRPr>
            </a:lvl2pPr>
            <a:lvl3pPr marL="931979" indent="0" algn="ctr">
              <a:buNone/>
              <a:defRPr>
                <a:solidFill>
                  <a:schemeClr val="tx1">
                    <a:tint val="75000"/>
                  </a:schemeClr>
                </a:solidFill>
              </a:defRPr>
            </a:lvl3pPr>
            <a:lvl4pPr marL="1397964" indent="0" algn="ctr">
              <a:buNone/>
              <a:defRPr>
                <a:solidFill>
                  <a:schemeClr val="tx1">
                    <a:tint val="75000"/>
                  </a:schemeClr>
                </a:solidFill>
              </a:defRPr>
            </a:lvl4pPr>
            <a:lvl5pPr marL="1863953" indent="0" algn="ctr">
              <a:buNone/>
              <a:defRPr>
                <a:solidFill>
                  <a:schemeClr val="tx1">
                    <a:tint val="75000"/>
                  </a:schemeClr>
                </a:solidFill>
              </a:defRPr>
            </a:lvl5pPr>
            <a:lvl6pPr marL="2329939" indent="0" algn="ctr">
              <a:buNone/>
              <a:defRPr>
                <a:solidFill>
                  <a:schemeClr val="tx1">
                    <a:tint val="75000"/>
                  </a:schemeClr>
                </a:solidFill>
              </a:defRPr>
            </a:lvl6pPr>
            <a:lvl7pPr marL="2795927" indent="0" algn="ctr">
              <a:buNone/>
              <a:defRPr>
                <a:solidFill>
                  <a:schemeClr val="tx1">
                    <a:tint val="75000"/>
                  </a:schemeClr>
                </a:solidFill>
              </a:defRPr>
            </a:lvl7pPr>
            <a:lvl8pPr marL="3261915" indent="0" algn="ctr">
              <a:buNone/>
              <a:defRPr>
                <a:solidFill>
                  <a:schemeClr val="tx1">
                    <a:tint val="75000"/>
                  </a:schemeClr>
                </a:solidFill>
              </a:defRPr>
            </a:lvl8pPr>
            <a:lvl9pPr marL="3727902"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6098384" y="5"/>
            <a:ext cx="6338099" cy="6986523"/>
          </a:xfrm>
        </p:spPr>
        <p:txBody>
          <a:bodyPr rtlCol="0">
            <a:normAutofit/>
          </a:bodyPr>
          <a:lstStyle/>
          <a:p>
            <a:pPr lvl="0"/>
            <a:r>
              <a:rPr lang="en-US" noProof="0"/>
              <a:t>Click icon to add picture</a:t>
            </a:r>
          </a:p>
        </p:txBody>
      </p:sp>
      <p:sp>
        <p:nvSpPr>
          <p:cNvPr id="6" name="Footer Placeholder 5"/>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418393905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nvPr>
        </p:nvSpPr>
        <p:spPr>
          <a:xfrm>
            <a:off x="6951896" y="1969162"/>
            <a:ext cx="5080868" cy="627807"/>
          </a:xfrm>
        </p:spPr>
        <p:txBody>
          <a:bodyPr/>
          <a:lstStyle>
            <a:lvl1pPr>
              <a:defRPr sz="41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8" y="2726800"/>
            <a:ext cx="5126882" cy="2238631"/>
          </a:xfrm>
        </p:spPr>
        <p:txBody>
          <a:bodyPr>
            <a:noAutofit/>
          </a:bodyPr>
          <a:lstStyle>
            <a:lvl1pPr marL="0" indent="0" algn="l" defTabSz="465986" rtl="0" eaLnBrk="1" latinLnBrk="0" hangingPunct="1">
              <a:spcBef>
                <a:spcPct val="0"/>
              </a:spcBef>
              <a:buNone/>
              <a:defRPr lang="en-US" sz="2000" b="0" i="0" kern="1200" baseline="0" dirty="0">
                <a:solidFill>
                  <a:schemeClr val="tx2"/>
                </a:solidFill>
                <a:latin typeface="Segoe UI Light"/>
                <a:ea typeface="+mj-ea"/>
                <a:cs typeface="Segoe UI Light"/>
              </a:defRPr>
            </a:lvl1pPr>
            <a:lvl2pPr marL="465986" indent="0" algn="ctr">
              <a:buNone/>
              <a:defRPr>
                <a:solidFill>
                  <a:schemeClr val="tx1">
                    <a:tint val="75000"/>
                  </a:schemeClr>
                </a:solidFill>
              </a:defRPr>
            </a:lvl2pPr>
            <a:lvl3pPr marL="931979" indent="0" algn="ctr">
              <a:buNone/>
              <a:defRPr>
                <a:solidFill>
                  <a:schemeClr val="tx1">
                    <a:tint val="75000"/>
                  </a:schemeClr>
                </a:solidFill>
              </a:defRPr>
            </a:lvl3pPr>
            <a:lvl4pPr marL="1397964" indent="0" algn="ctr">
              <a:buNone/>
              <a:defRPr>
                <a:solidFill>
                  <a:schemeClr val="tx1">
                    <a:tint val="75000"/>
                  </a:schemeClr>
                </a:solidFill>
              </a:defRPr>
            </a:lvl4pPr>
            <a:lvl5pPr marL="1863953" indent="0" algn="ctr">
              <a:buNone/>
              <a:defRPr>
                <a:solidFill>
                  <a:schemeClr val="tx1">
                    <a:tint val="75000"/>
                  </a:schemeClr>
                </a:solidFill>
              </a:defRPr>
            </a:lvl5pPr>
            <a:lvl6pPr marL="2329939" indent="0" algn="ctr">
              <a:buNone/>
              <a:defRPr>
                <a:solidFill>
                  <a:schemeClr val="tx1">
                    <a:tint val="75000"/>
                  </a:schemeClr>
                </a:solidFill>
              </a:defRPr>
            </a:lvl6pPr>
            <a:lvl7pPr marL="2795927" indent="0" algn="ctr">
              <a:buNone/>
              <a:defRPr>
                <a:solidFill>
                  <a:schemeClr val="tx1">
                    <a:tint val="75000"/>
                  </a:schemeClr>
                </a:solidFill>
              </a:defRPr>
            </a:lvl7pPr>
            <a:lvl8pPr marL="3261915" indent="0" algn="ctr">
              <a:buNone/>
              <a:defRPr>
                <a:solidFill>
                  <a:schemeClr val="tx1">
                    <a:tint val="75000"/>
                  </a:schemeClr>
                </a:solidFill>
              </a:defRPr>
            </a:lvl8pPr>
            <a:lvl9pPr marL="3727902"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711" y="5"/>
            <a:ext cx="6338099" cy="6986523"/>
          </a:xfrm>
        </p:spPr>
        <p:txBody>
          <a:bodyPr rtlCol="0">
            <a:normAutofit/>
          </a:bodyPr>
          <a:lstStyle/>
          <a:p>
            <a:pPr lvl="0"/>
            <a:r>
              <a:rPr lang="en-US" noProof="0"/>
              <a:t>Click icon to add picture</a:t>
            </a:r>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168193345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360" imgH="360" progId="TCLayout.ActiveDocument.1">
                  <p:embed/>
                </p:oleObj>
              </mc:Choice>
              <mc:Fallback>
                <p:oleObj name="think-cell Slide" r:id="rId4" imgW="360" imgH="36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85218" y="264964"/>
            <a:ext cx="11226195" cy="1097302"/>
          </a:xfrm>
        </p:spPr>
        <p:txBody>
          <a:bodyPr lIns="0" tIns="91380" rIns="146206" bIns="91380"/>
          <a:lstStyle>
            <a:lvl1pPr>
              <a:lnSpc>
                <a:spcPts val="4898"/>
              </a:lnSpc>
              <a:defRPr sz="36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603504" y="1545465"/>
            <a:ext cx="11226196" cy="4663068"/>
          </a:xfrm>
        </p:spPr>
        <p:txBody>
          <a:bodyPr lIns="0" tIns="0"/>
          <a:lstStyle>
            <a:lvl1pPr marL="233208" indent="-233208">
              <a:spcBef>
                <a:spcPts val="1200"/>
              </a:spcBef>
              <a:defRPr sz="2600">
                <a:latin typeface="+mn-lt"/>
              </a:defRPr>
            </a:lvl1pPr>
            <a:lvl2pPr marL="690103" indent="-233208">
              <a:spcBef>
                <a:spcPts val="1200"/>
              </a:spcBef>
              <a:buSzPct val="100000"/>
              <a:buFont typeface="Segoe UI" pitchFamily="34" charset="0"/>
              <a:buChar char="‐"/>
              <a:defRPr/>
            </a:lvl2pPr>
            <a:lvl3pPr marL="1146999" indent="-233208">
              <a:spcBef>
                <a:spcPts val="1200"/>
              </a:spcBef>
              <a:buFont typeface="Wingdings" pitchFamily="2" charset="2"/>
              <a:buChar char="§"/>
              <a:defRPr/>
            </a:lvl3pPr>
            <a:lvl4pPr marL="1599135" indent="-342673">
              <a:spcBef>
                <a:spcPts val="1200"/>
              </a:spcBef>
              <a:buFont typeface="+mj-lt"/>
              <a:buAutoNum type="arabicPeriod"/>
              <a:defRPr/>
            </a:lvl4pPr>
            <a:lvl5pPr marL="1944979" indent="-342673">
              <a:spcBef>
                <a:spcPts val="12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9747668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397787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360" imgH="360" progId="TCLayout.ActiveDocument.1">
                  <p:embed/>
                </p:oleObj>
              </mc:Choice>
              <mc:Fallback>
                <p:oleObj name="think-cell Slide" r:id="rId4" imgW="360" imgH="36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8" y="264964"/>
            <a:ext cx="11226195" cy="1097302"/>
          </a:xfrm>
        </p:spPr>
        <p:txBody>
          <a:bodyPr lIns="0" tIns="91380" rIns="146206" bIns="91380"/>
          <a:lstStyle>
            <a:lvl1pPr>
              <a:lnSpc>
                <a:spcPts val="4898"/>
              </a:lnSpc>
              <a:defRPr sz="36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3479253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4"/>
          <p:cNvSpPr>
            <a:spLocks noGrp="1"/>
          </p:cNvSpPr>
          <p:nvPr>
            <p:ph type="body" sz="quarter" idx="10"/>
          </p:nvPr>
        </p:nvSpPr>
        <p:spPr>
          <a:xfrm>
            <a:off x="274638" y="2674311"/>
            <a:ext cx="8229574" cy="523202"/>
          </a:xfrm>
        </p:spPr>
        <p:txBody>
          <a:bodyPr lIns="182863"/>
          <a:lstStyle>
            <a:lvl1pPr marL="0" indent="0">
              <a:buFontTx/>
              <a:buNone/>
              <a:defRPr sz="2400">
                <a:solidFill>
                  <a:schemeClr val="tx2"/>
                </a:solidFill>
                <a:latin typeface="+mj-lt"/>
              </a:defRPr>
            </a:lvl1pPr>
            <a:lvl2pPr marL="342835" indent="0">
              <a:buFontTx/>
              <a:buNone/>
              <a:defRPr sz="2400">
                <a:latin typeface="Segoe Pro Light"/>
              </a:defRPr>
            </a:lvl2pPr>
            <a:lvl3pPr marL="571391" indent="0">
              <a:buFontTx/>
              <a:buNone/>
              <a:defRPr sz="2400">
                <a:latin typeface="Segoe Pro Light"/>
              </a:defRPr>
            </a:lvl3pPr>
            <a:lvl4pPr marL="799946" indent="0">
              <a:buFontTx/>
              <a:buNone/>
              <a:defRPr sz="2400">
                <a:latin typeface="Segoe Pro Light"/>
              </a:defRPr>
            </a:lvl4pPr>
            <a:lvl5pPr marL="1028502" indent="0">
              <a:buFontTx/>
              <a:buNone/>
              <a:defRPr sz="2400">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39" y="355513"/>
            <a:ext cx="8229574" cy="629914"/>
          </a:xfrm>
        </p:spPr>
        <p:txBody>
          <a:bodyPr lIns="146290" tIns="109717" rIns="146290" bIns="109717" anchor="t" anchorCtr="0"/>
          <a:lstStyle>
            <a:lvl1pPr marL="0" indent="0">
              <a:lnSpc>
                <a:spcPts val="3600"/>
              </a:lnSpc>
              <a:buFontTx/>
              <a:buNone/>
              <a:defRPr sz="3600">
                <a:solidFill>
                  <a:schemeClr val="accent1"/>
                </a:solidFill>
                <a:latin typeface="+mj-lt"/>
              </a:defRPr>
            </a:lvl1pPr>
            <a:lvl2pPr marL="342835" indent="0">
              <a:buFontTx/>
              <a:buNone/>
              <a:defRPr sz="3600">
                <a:latin typeface="Segoe Pro Light"/>
              </a:defRPr>
            </a:lvl2pPr>
            <a:lvl3pPr marL="571391" indent="0">
              <a:buFontTx/>
              <a:buNone/>
              <a:defRPr sz="3600">
                <a:latin typeface="Segoe Pro Light"/>
              </a:defRPr>
            </a:lvl3pPr>
            <a:lvl4pPr marL="799946" indent="0">
              <a:buFontTx/>
              <a:buNone/>
              <a:defRPr sz="3600">
                <a:latin typeface="Segoe Pro Light"/>
              </a:defRPr>
            </a:lvl4pPr>
            <a:lvl5pPr marL="1028502" indent="0">
              <a:buFontTx/>
              <a:buNone/>
              <a:defRPr sz="3600">
                <a:latin typeface="Segoe Pro Light"/>
              </a:defRPr>
            </a:lvl5pPr>
          </a:lstStyle>
          <a:p>
            <a:pPr lvl="0"/>
            <a:r>
              <a:rPr lang="en-US" dirty="0"/>
              <a:t>Click to edit Master text styles</a:t>
            </a:r>
          </a:p>
        </p:txBody>
      </p:sp>
      <p:sp>
        <p:nvSpPr>
          <p:cNvPr id="4" name="Text Placeholder 11"/>
          <p:cNvSpPr>
            <a:spLocks noGrp="1" noChangeAspect="1"/>
          </p:cNvSpPr>
          <p:nvPr>
            <p:ph type="body" sz="quarter" idx="13"/>
          </p:nvPr>
        </p:nvSpPr>
        <p:spPr>
          <a:xfrm>
            <a:off x="274638" y="3586227"/>
            <a:ext cx="2742914" cy="2743200"/>
          </a:xfrm>
          <a:noFill/>
        </p:spPr>
        <p:txBody>
          <a:bodyPr lIns="182863" tIns="146290" rIns="182863" bIns="146290" anchor="b" anchorCtr="0">
            <a:noAutofit/>
          </a:bodyPr>
          <a:lstStyle>
            <a:lvl1pPr marL="0" indent="0">
              <a:lnSpc>
                <a:spcPct val="100000"/>
              </a:lnSpc>
              <a:spcBef>
                <a:spcPts val="600"/>
              </a:spcBef>
              <a:buFontTx/>
              <a:buNone/>
              <a:defRPr sz="2400">
                <a:solidFill>
                  <a:schemeClr val="bg1"/>
                </a:solidFill>
              </a:defRPr>
            </a:lvl1pPr>
            <a:lvl2pPr marL="342835" indent="0">
              <a:buFontTx/>
              <a:buNone/>
              <a:defRPr/>
            </a:lvl2pPr>
            <a:lvl3pPr marL="571391" indent="0">
              <a:buFontTx/>
              <a:buNone/>
              <a:defRPr/>
            </a:lvl3pPr>
            <a:lvl4pPr marL="799946" indent="0">
              <a:buFontTx/>
              <a:buNone/>
              <a:defRPr/>
            </a:lvl4pPr>
            <a:lvl5pPr marL="1028502"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6227"/>
            <a:ext cx="2742914" cy="2743200"/>
          </a:xfrm>
          <a:noFill/>
        </p:spPr>
        <p:txBody>
          <a:bodyPr lIns="182863" tIns="146290" rIns="182863" bIns="146290" anchor="b" anchorCtr="0">
            <a:noAutofit/>
          </a:bodyPr>
          <a:lstStyle>
            <a:lvl1pPr marL="0" indent="0">
              <a:lnSpc>
                <a:spcPct val="100000"/>
              </a:lnSpc>
              <a:spcBef>
                <a:spcPts val="600"/>
              </a:spcBef>
              <a:buFontTx/>
              <a:buNone/>
              <a:defRPr sz="2400">
                <a:solidFill>
                  <a:schemeClr val="bg1"/>
                </a:solidFill>
              </a:defRPr>
            </a:lvl1pPr>
            <a:lvl2pPr marL="342835" indent="0">
              <a:buFontTx/>
              <a:buNone/>
              <a:defRPr/>
            </a:lvl2pPr>
            <a:lvl3pPr marL="571391" indent="0">
              <a:buFontTx/>
              <a:buNone/>
              <a:defRPr/>
            </a:lvl3pPr>
            <a:lvl4pPr marL="799946" indent="0">
              <a:buFontTx/>
              <a:buNone/>
              <a:defRPr/>
            </a:lvl4pPr>
            <a:lvl5pPr marL="1028502"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0" y="3586227"/>
            <a:ext cx="2742914" cy="2743200"/>
          </a:xfrm>
          <a:noFill/>
        </p:spPr>
        <p:txBody>
          <a:bodyPr lIns="182863" tIns="146290" rIns="182863" bIns="146290" anchor="b" anchorCtr="0">
            <a:noAutofit/>
          </a:bodyPr>
          <a:lstStyle>
            <a:lvl1pPr marL="0" indent="0">
              <a:lnSpc>
                <a:spcPct val="100000"/>
              </a:lnSpc>
              <a:spcBef>
                <a:spcPts val="600"/>
              </a:spcBef>
              <a:buFontTx/>
              <a:buNone/>
              <a:defRPr sz="2400">
                <a:solidFill>
                  <a:schemeClr val="bg1"/>
                </a:solidFill>
              </a:defRPr>
            </a:lvl1pPr>
            <a:lvl2pPr marL="342835" indent="0">
              <a:buFontTx/>
              <a:buNone/>
              <a:defRPr/>
            </a:lvl2pPr>
            <a:lvl3pPr marL="571391" indent="0">
              <a:buFontTx/>
              <a:buNone/>
              <a:defRPr/>
            </a:lvl3pPr>
            <a:lvl4pPr marL="799946" indent="0">
              <a:buFontTx/>
              <a:buNone/>
              <a:defRPr/>
            </a:lvl4pPr>
            <a:lvl5pPr marL="1028502"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1" y="3586227"/>
            <a:ext cx="2742914" cy="2743200"/>
          </a:xfrm>
          <a:noFill/>
        </p:spPr>
        <p:txBody>
          <a:bodyPr lIns="182863" tIns="146290" rIns="182863" bIns="146290" anchor="b" anchorCtr="0">
            <a:noAutofit/>
          </a:bodyPr>
          <a:lstStyle>
            <a:lvl1pPr marL="0" indent="0">
              <a:lnSpc>
                <a:spcPct val="100000"/>
              </a:lnSpc>
              <a:spcBef>
                <a:spcPts val="600"/>
              </a:spcBef>
              <a:buFontTx/>
              <a:buNone/>
              <a:defRPr sz="2400">
                <a:solidFill>
                  <a:schemeClr val="bg1"/>
                </a:solidFill>
              </a:defRPr>
            </a:lvl1pPr>
            <a:lvl2pPr marL="342835" indent="0">
              <a:buFontTx/>
              <a:buNone/>
              <a:defRPr/>
            </a:lvl2pPr>
            <a:lvl3pPr marL="571391" indent="0">
              <a:buFontTx/>
              <a:buNone/>
              <a:defRPr/>
            </a:lvl3pPr>
            <a:lvl4pPr marL="799946" indent="0">
              <a:buFontTx/>
              <a:buNone/>
              <a:defRPr/>
            </a:lvl4pPr>
            <a:lvl5pPr marL="1028502" indent="0">
              <a:buFontTx/>
              <a:buNone/>
              <a:defRPr/>
            </a:lvl5pPr>
          </a:lstStyle>
          <a:p>
            <a:pPr lvl="0"/>
            <a:r>
              <a:rPr lang="en-US"/>
              <a:t>Click to edit Master text styles</a:t>
            </a:r>
          </a:p>
        </p:txBody>
      </p:sp>
      <p:sp>
        <p:nvSpPr>
          <p:cNvPr id="6" name="Footer Placeholder 5"/>
          <p:cNvSpPr>
            <a:spLocks noGrp="1"/>
          </p:cNvSpPr>
          <p:nvPr>
            <p:ph type="ftr" sz="quarter" idx="23"/>
          </p:nvPr>
        </p:nvSpPr>
        <p:spPr/>
        <p:txBody>
          <a:bodyPr/>
          <a:lstStyle/>
          <a:p>
            <a:endParaRPr lang="en-US" dirty="0"/>
          </a:p>
        </p:txBody>
      </p:sp>
      <p:sp>
        <p:nvSpPr>
          <p:cNvPr id="7" name="Slide Number Placeholder 6"/>
          <p:cNvSpPr>
            <a:spLocks noGrp="1"/>
          </p:cNvSpPr>
          <p:nvPr>
            <p:ph type="sldNum" sz="quarter" idx="24"/>
          </p:nvPr>
        </p:nvSpPr>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140463551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360" imgH="360" progId="TCLayout.ActiveDocument.1">
                  <p:embed/>
                </p:oleObj>
              </mc:Choice>
              <mc:Fallback>
                <p:oleObj name="think-cell Slide" r:id="rId4" imgW="360" imgH="36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ext Placeholder 4"/>
          <p:cNvSpPr>
            <a:spLocks noGrp="1"/>
          </p:cNvSpPr>
          <p:nvPr>
            <p:ph type="body" sz="quarter" idx="10"/>
          </p:nvPr>
        </p:nvSpPr>
        <p:spPr>
          <a:xfrm>
            <a:off x="521209" y="375658"/>
            <a:ext cx="6400613" cy="457195"/>
          </a:xfrm>
        </p:spPr>
        <p:txBody>
          <a:bodyPr lIns="182863" tIns="146290" rIns="182863" bIns="146290" anchor="ctr" anchorCtr="0"/>
          <a:lstStyle>
            <a:lvl1pPr marL="0" indent="0">
              <a:lnSpc>
                <a:spcPts val="2800"/>
              </a:lnSpc>
              <a:spcBef>
                <a:spcPts val="0"/>
              </a:spcBef>
              <a:buFontTx/>
              <a:buNone/>
              <a:defRPr sz="2400">
                <a:solidFill>
                  <a:schemeClr val="accent1"/>
                </a:solidFill>
                <a:latin typeface="+mj-lt"/>
              </a:defRPr>
            </a:lvl1pPr>
            <a:lvl2pPr marL="342835" indent="0">
              <a:buFontTx/>
              <a:buNone/>
              <a:defRPr sz="2400">
                <a:latin typeface="Segoe Pro Light"/>
              </a:defRPr>
            </a:lvl2pPr>
            <a:lvl3pPr marL="571391" indent="0">
              <a:buFontTx/>
              <a:buNone/>
              <a:defRPr sz="2400">
                <a:latin typeface="Segoe Pro Light"/>
              </a:defRPr>
            </a:lvl3pPr>
            <a:lvl4pPr marL="799946" indent="0">
              <a:buFontTx/>
              <a:buNone/>
              <a:defRPr sz="2400">
                <a:latin typeface="Segoe Pro Light"/>
              </a:defRPr>
            </a:lvl4pPr>
            <a:lvl5pPr marL="1028502" indent="0">
              <a:buFontTx/>
              <a:buNone/>
              <a:defRPr sz="2400">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6" y="1091909"/>
            <a:ext cx="2743200" cy="2743200"/>
          </a:xfrm>
        </p:spPr>
        <p:txBody>
          <a:bodyPr lIns="146290" tIns="91432" rIns="146290" bIns="91432">
            <a:noAutofit/>
          </a:bodyPr>
          <a:lstStyle>
            <a:lvl1pPr marL="0" indent="0">
              <a:buFontTx/>
              <a:buNone/>
              <a:defRPr sz="2400">
                <a:solidFill>
                  <a:schemeClr val="tx2"/>
                </a:solidFill>
                <a:latin typeface="+mj-lt"/>
              </a:defRPr>
            </a:lvl1pPr>
            <a:lvl2pPr marL="342835" indent="0">
              <a:buFontTx/>
              <a:buNone/>
              <a:defRPr/>
            </a:lvl2pPr>
            <a:lvl3pPr marL="571391" indent="0">
              <a:buFontTx/>
              <a:buNone/>
              <a:defRPr/>
            </a:lvl3pPr>
            <a:lvl4pPr marL="799946" indent="0">
              <a:buFontTx/>
              <a:buNone/>
              <a:defRPr/>
            </a:lvl4pPr>
            <a:lvl5pPr marL="1028502"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p:spPr>
        <p:txBody>
          <a:bodyPr lIns="146290" tIns="91432" rIns="146290" bIns="91432">
            <a:noAutofit/>
          </a:bodyPr>
          <a:lstStyle>
            <a:lvl1pPr marL="0" indent="0">
              <a:buFontTx/>
              <a:buNone/>
              <a:defRPr sz="2400">
                <a:solidFill>
                  <a:schemeClr val="tx2"/>
                </a:solidFill>
                <a:latin typeface="+mj-lt"/>
              </a:defRPr>
            </a:lvl1pPr>
            <a:lvl2pPr marL="342835" indent="0">
              <a:buFontTx/>
              <a:buNone/>
              <a:defRPr/>
            </a:lvl2pPr>
            <a:lvl3pPr marL="571391" indent="0">
              <a:buFontTx/>
              <a:buNone/>
              <a:defRPr/>
            </a:lvl3pPr>
            <a:lvl4pPr marL="799946" indent="0">
              <a:buFontTx/>
              <a:buNone/>
              <a:defRPr/>
            </a:lvl4pPr>
            <a:lvl5pPr marL="1028502"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p:spPr>
        <p:txBody>
          <a:bodyPr lIns="146290" tIns="91432" rIns="146290" bIns="91432">
            <a:noAutofit/>
          </a:bodyPr>
          <a:lstStyle>
            <a:lvl1pPr marL="0" indent="0">
              <a:buFontTx/>
              <a:buNone/>
              <a:defRPr sz="2400">
                <a:solidFill>
                  <a:schemeClr val="tx2"/>
                </a:solidFill>
                <a:latin typeface="+mj-lt"/>
              </a:defRPr>
            </a:lvl1pPr>
            <a:lvl2pPr marL="342835" indent="0">
              <a:buFontTx/>
              <a:buNone/>
              <a:defRPr/>
            </a:lvl2pPr>
            <a:lvl3pPr marL="571391" indent="0">
              <a:buFontTx/>
              <a:buNone/>
              <a:defRPr/>
            </a:lvl3pPr>
            <a:lvl4pPr marL="799946" indent="0">
              <a:buFontTx/>
              <a:buNone/>
              <a:defRPr/>
            </a:lvl4pPr>
            <a:lvl5pPr marL="1028502"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p:spPr>
        <p:txBody>
          <a:bodyPr lIns="146290" tIns="91432" rIns="146290" bIns="91432">
            <a:noAutofit/>
          </a:bodyPr>
          <a:lstStyle>
            <a:lvl1pPr marL="0" indent="0">
              <a:buFontTx/>
              <a:buNone/>
              <a:defRPr sz="2400">
                <a:solidFill>
                  <a:schemeClr val="tx2"/>
                </a:solidFill>
                <a:latin typeface="+mj-lt"/>
              </a:defRPr>
            </a:lvl1pPr>
            <a:lvl2pPr marL="342835" indent="0">
              <a:buFontTx/>
              <a:buNone/>
              <a:defRPr/>
            </a:lvl2pPr>
            <a:lvl3pPr marL="571391" indent="0">
              <a:buFontTx/>
              <a:buNone/>
              <a:defRPr/>
            </a:lvl3pPr>
            <a:lvl4pPr marL="799946" indent="0">
              <a:buFontTx/>
              <a:buNone/>
              <a:defRPr/>
            </a:lvl4pPr>
            <a:lvl5pPr marL="1028502"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6" y="3954456"/>
            <a:ext cx="2743200" cy="2560671"/>
          </a:xfrm>
        </p:spPr>
        <p:txBody>
          <a:bodyPr lIns="182863" tIns="146290" bIns="146290">
            <a:noAutofit/>
          </a:bodyPr>
          <a:lstStyle>
            <a:lvl1pPr marL="0" indent="0">
              <a:lnSpc>
                <a:spcPct val="90000"/>
              </a:lnSpc>
              <a:spcBef>
                <a:spcPts val="300"/>
              </a:spcBef>
              <a:spcAft>
                <a:spcPts val="600"/>
              </a:spcAft>
              <a:buFontTx/>
              <a:buNone/>
              <a:defRPr sz="1200" b="0">
                <a:solidFill>
                  <a:schemeClr val="tx2"/>
                </a:solidFill>
                <a:latin typeface="+mn-lt"/>
                <a:cs typeface="Segoe UI" panose="020B0502040204020203" pitchFamily="34" charset="0"/>
              </a:defRPr>
            </a:lvl1pPr>
            <a:lvl2pPr marL="342835" indent="0">
              <a:buFontTx/>
              <a:buNone/>
              <a:defRPr/>
            </a:lvl2pPr>
            <a:lvl3pPr marL="571391" indent="0">
              <a:buFontTx/>
              <a:buNone/>
              <a:defRPr/>
            </a:lvl3pPr>
            <a:lvl4pPr marL="799946" indent="0">
              <a:buFontTx/>
              <a:buNone/>
              <a:defRPr/>
            </a:lvl4pPr>
            <a:lvl5pPr marL="1028502"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p:spPr>
        <p:txBody>
          <a:bodyPr lIns="182863" tIns="146290" bIns="146290">
            <a:noAutofit/>
          </a:bodyPr>
          <a:lstStyle>
            <a:lvl1pPr marL="0" indent="0">
              <a:lnSpc>
                <a:spcPts val="1440"/>
              </a:lnSpc>
              <a:spcBef>
                <a:spcPts val="300"/>
              </a:spcBef>
              <a:spcAft>
                <a:spcPts val="600"/>
              </a:spcAft>
              <a:buFontTx/>
              <a:buNone/>
              <a:defRPr sz="1200" b="0">
                <a:solidFill>
                  <a:schemeClr val="tx2"/>
                </a:solidFill>
                <a:latin typeface="+mn-lt"/>
                <a:cs typeface="Segoe UI" panose="020B0502040204020203" pitchFamily="34" charset="0"/>
              </a:defRPr>
            </a:lvl1pPr>
            <a:lvl2pPr marL="342835" indent="0">
              <a:buFontTx/>
              <a:buNone/>
              <a:defRPr/>
            </a:lvl2pPr>
            <a:lvl3pPr marL="571391" indent="0">
              <a:buFontTx/>
              <a:buNone/>
              <a:defRPr/>
            </a:lvl3pPr>
            <a:lvl4pPr marL="799946" indent="0">
              <a:buFontTx/>
              <a:buNone/>
              <a:defRPr/>
            </a:lvl4pPr>
            <a:lvl5pPr marL="1028502"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p:spPr>
        <p:txBody>
          <a:bodyPr lIns="182863" tIns="146290" bIns="146290">
            <a:noAutofit/>
          </a:bodyPr>
          <a:lstStyle>
            <a:lvl1pPr marL="0" indent="0">
              <a:lnSpc>
                <a:spcPts val="1440"/>
              </a:lnSpc>
              <a:spcBef>
                <a:spcPts val="300"/>
              </a:spcBef>
              <a:spcAft>
                <a:spcPts val="600"/>
              </a:spcAft>
              <a:buFontTx/>
              <a:buNone/>
              <a:defRPr sz="1200" b="0">
                <a:solidFill>
                  <a:schemeClr val="tx2"/>
                </a:solidFill>
                <a:latin typeface="Segoe UI" panose="020B0502040204020203" pitchFamily="34" charset="0"/>
                <a:cs typeface="Segoe UI" panose="020B0502040204020203" pitchFamily="34" charset="0"/>
                <a:sym typeface="Segoe UI" panose="020B0502040204020203" pitchFamily="34" charset="0"/>
              </a:defRPr>
            </a:lvl1pPr>
            <a:lvl2pPr marL="342835" indent="0">
              <a:buFontTx/>
              <a:buNone/>
              <a:defRPr/>
            </a:lvl2pPr>
            <a:lvl3pPr marL="571391" indent="0">
              <a:buFontTx/>
              <a:buNone/>
              <a:defRPr/>
            </a:lvl3pPr>
            <a:lvl4pPr marL="799946" indent="0">
              <a:buFontTx/>
              <a:buNone/>
              <a:defRPr/>
            </a:lvl4pPr>
            <a:lvl5pPr marL="1028502"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p:spPr>
        <p:txBody>
          <a:bodyPr lIns="182863" tIns="146290" bIns="146290">
            <a:noAutofit/>
          </a:bodyPr>
          <a:lstStyle>
            <a:lvl1pPr marL="0" indent="0">
              <a:lnSpc>
                <a:spcPts val="1440"/>
              </a:lnSpc>
              <a:spcBef>
                <a:spcPts val="300"/>
              </a:spcBef>
              <a:spcAft>
                <a:spcPts val="600"/>
              </a:spcAft>
              <a:buFontTx/>
              <a:buNone/>
              <a:defRPr sz="1200" b="0">
                <a:solidFill>
                  <a:schemeClr val="tx2"/>
                </a:solidFill>
                <a:latin typeface="+mn-lt"/>
                <a:cs typeface="Segoe UI" panose="020B0502040204020203" pitchFamily="34" charset="0"/>
              </a:defRPr>
            </a:lvl1pPr>
            <a:lvl2pPr marL="342835" indent="0">
              <a:buFontTx/>
              <a:buNone/>
              <a:defRPr/>
            </a:lvl2pPr>
            <a:lvl3pPr marL="571391" indent="0">
              <a:buFontTx/>
              <a:buNone/>
              <a:defRPr/>
            </a:lvl3pPr>
            <a:lvl4pPr marL="799946" indent="0">
              <a:buFontTx/>
              <a:buNone/>
              <a:defRPr/>
            </a:lvl4pPr>
            <a:lvl5pPr marL="1028502" indent="0">
              <a:buFontTx/>
              <a:buNone/>
              <a:defRPr/>
            </a:lvl5pPr>
          </a:lstStyle>
          <a:p>
            <a:pPr lvl="0"/>
            <a:r>
              <a:rPr lang="en-US" dirty="0"/>
              <a:t>Click to edit </a:t>
            </a:r>
            <a:br>
              <a:rPr lang="en-US" dirty="0"/>
            </a:br>
            <a:r>
              <a:rPr lang="en-US" dirty="0"/>
              <a:t>Master text styles</a:t>
            </a:r>
          </a:p>
        </p:txBody>
      </p:sp>
      <p:sp>
        <p:nvSpPr>
          <p:cNvPr id="6" name="Footer Placeholder 5"/>
          <p:cNvSpPr>
            <a:spLocks noGrp="1"/>
          </p:cNvSpPr>
          <p:nvPr>
            <p:ph type="ftr" sz="quarter" idx="43"/>
          </p:nvPr>
        </p:nvSpPr>
        <p:spPr/>
        <p:txBody>
          <a:bodyPr/>
          <a:lstStyle/>
          <a:p>
            <a:endParaRPr lang="en-US" dirty="0"/>
          </a:p>
        </p:txBody>
      </p:sp>
      <p:sp>
        <p:nvSpPr>
          <p:cNvPr id="7" name="Slide Number Placeholder 6"/>
          <p:cNvSpPr>
            <a:spLocks noGrp="1"/>
          </p:cNvSpPr>
          <p:nvPr>
            <p:ph type="sldNum" sz="quarter" idx="44"/>
          </p:nvPr>
        </p:nvSpPr>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426608760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360" imgH="360" progId="TCLayout.ActiveDocument.1">
                  <p:embed/>
                </p:oleObj>
              </mc:Choice>
              <mc:Fallback>
                <p:oleObj name="think-cell Slide" r:id="rId4" imgW="360" imgH="36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ctrTitle" hasCustomPrompt="1"/>
          </p:nvPr>
        </p:nvSpPr>
        <p:spPr>
          <a:xfrm>
            <a:off x="585222" y="2142643"/>
            <a:ext cx="11228387" cy="1720381"/>
          </a:xfrm>
        </p:spPr>
        <p:txBody>
          <a:bodyPr/>
          <a:lstStyle>
            <a:lvl1pPr>
              <a:defRPr sz="8800">
                <a:solidFill>
                  <a:schemeClr val="bg1"/>
                </a:solidFill>
              </a:defRPr>
            </a:lvl1pPr>
          </a:lstStyle>
          <a:p>
            <a:r>
              <a:rPr lang="en-US" dirty="0"/>
              <a:t>Title</a:t>
            </a:r>
          </a:p>
        </p:txBody>
      </p:sp>
    </p:spTree>
    <p:extLst>
      <p:ext uri="{BB962C8B-B14F-4D97-AF65-F5344CB8AC3E}">
        <p14:creationId xmlns:p14="http://schemas.microsoft.com/office/powerpoint/2010/main" val="138761270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ctrTitle" hasCustomPrompt="1"/>
          </p:nvPr>
        </p:nvSpPr>
        <p:spPr>
          <a:xfrm>
            <a:off x="585222" y="2142643"/>
            <a:ext cx="11228387" cy="1720381"/>
          </a:xfrm>
        </p:spPr>
        <p:txBody>
          <a:bodyPr/>
          <a:lstStyle>
            <a:lvl1pPr>
              <a:defRPr sz="8800">
                <a:solidFill>
                  <a:schemeClr val="bg1"/>
                </a:solidFill>
              </a:defRPr>
            </a:lvl1pPr>
          </a:lstStyle>
          <a:p>
            <a:r>
              <a:rPr lang="en-US" dirty="0"/>
              <a:t>Title</a:t>
            </a:r>
          </a:p>
        </p:txBody>
      </p:sp>
    </p:spTree>
    <p:extLst>
      <p:ext uri="{BB962C8B-B14F-4D97-AF65-F5344CB8AC3E}">
        <p14:creationId xmlns:p14="http://schemas.microsoft.com/office/powerpoint/2010/main" val="145325351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177931477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emplate_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3600" baseline="0">
                <a:solidFill>
                  <a:schemeClr val="accent1"/>
                </a:solidFill>
              </a:defRPr>
            </a:lvl1pPr>
          </a:lstStyle>
          <a:p>
            <a:r>
              <a:rPr lang="en-US" dirty="0"/>
              <a:t>Lorem ipsum dolor sit.</a:t>
            </a:r>
          </a:p>
        </p:txBody>
      </p:sp>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54187269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0_Illustrated Footer">
    <p:spTree>
      <p:nvGrpSpPr>
        <p:cNvPr id="1" name=""/>
        <p:cNvGrpSpPr/>
        <p:nvPr/>
      </p:nvGrpSpPr>
      <p:grpSpPr>
        <a:xfrm>
          <a:off x="0" y="0"/>
          <a:ext cx="0" cy="0"/>
          <a:chOff x="0" y="0"/>
          <a:chExt cx="0" cy="0"/>
        </a:xfrm>
      </p:grpSpPr>
      <p:grpSp>
        <p:nvGrpSpPr>
          <p:cNvPr id="7" name="Group 6"/>
          <p:cNvGrpSpPr/>
          <p:nvPr userDrawn="1"/>
        </p:nvGrpSpPr>
        <p:grpSpPr>
          <a:xfrm>
            <a:off x="-56277" y="5740095"/>
            <a:ext cx="12492753" cy="1254431"/>
            <a:chOff x="-56278" y="5740094"/>
            <a:chExt cx="12492753" cy="1254431"/>
          </a:xfrm>
        </p:grpSpPr>
        <p:grpSp>
          <p:nvGrpSpPr>
            <p:cNvPr id="491" name="Group 490"/>
            <p:cNvGrpSpPr/>
            <p:nvPr userDrawn="1"/>
          </p:nvGrpSpPr>
          <p:grpSpPr>
            <a:xfrm flipH="1">
              <a:off x="-56278" y="6236098"/>
              <a:ext cx="4293003" cy="758427"/>
              <a:chOff x="-1" y="4886404"/>
              <a:chExt cx="12436477" cy="2197100"/>
            </a:xfrm>
          </p:grpSpPr>
          <p:sp>
            <p:nvSpPr>
              <p:cNvPr id="492" name="Freeform 5"/>
              <p:cNvSpPr>
                <a:spLocks/>
              </p:cNvSpPr>
              <p:nvPr/>
            </p:nvSpPr>
            <p:spPr bwMode="auto">
              <a:xfrm>
                <a:off x="-1" y="4956254"/>
                <a:ext cx="12436477" cy="2057400"/>
              </a:xfrm>
              <a:custGeom>
                <a:avLst/>
                <a:gdLst>
                  <a:gd name="T0" fmla="*/ 2178 w 2178"/>
                  <a:gd name="T1" fmla="*/ 652 h 652"/>
                  <a:gd name="T2" fmla="*/ 1898 w 2178"/>
                  <a:gd name="T3" fmla="*/ 245 h 652"/>
                  <a:gd name="T4" fmla="*/ 1870 w 2178"/>
                  <a:gd name="T5" fmla="*/ 208 h 652"/>
                  <a:gd name="T6" fmla="*/ 1734 w 2178"/>
                  <a:gd name="T7" fmla="*/ 103 h 652"/>
                  <a:gd name="T8" fmla="*/ 1662 w 2178"/>
                  <a:gd name="T9" fmla="*/ 236 h 652"/>
                  <a:gd name="T10" fmla="*/ 1662 w 2178"/>
                  <a:gd name="T11" fmla="*/ 236 h 652"/>
                  <a:gd name="T12" fmla="*/ 1642 w 2178"/>
                  <a:gd name="T13" fmla="*/ 246 h 652"/>
                  <a:gd name="T14" fmla="*/ 1493 w 2178"/>
                  <a:gd name="T15" fmla="*/ 114 h 652"/>
                  <a:gd name="T16" fmla="*/ 1340 w 2178"/>
                  <a:gd name="T17" fmla="*/ 0 h 652"/>
                  <a:gd name="T18" fmla="*/ 1227 w 2178"/>
                  <a:gd name="T19" fmla="*/ 119 h 652"/>
                  <a:gd name="T20" fmla="*/ 1041 w 2178"/>
                  <a:gd name="T21" fmla="*/ 191 h 652"/>
                  <a:gd name="T22" fmla="*/ 939 w 2178"/>
                  <a:gd name="T23" fmla="*/ 119 h 652"/>
                  <a:gd name="T24" fmla="*/ 815 w 2178"/>
                  <a:gd name="T25" fmla="*/ 149 h 652"/>
                  <a:gd name="T26" fmla="*/ 653 w 2178"/>
                  <a:gd name="T27" fmla="*/ 368 h 652"/>
                  <a:gd name="T28" fmla="*/ 563 w 2178"/>
                  <a:gd name="T29" fmla="*/ 348 h 652"/>
                  <a:gd name="T30" fmla="*/ 486 w 2178"/>
                  <a:gd name="T31" fmla="*/ 360 h 652"/>
                  <a:gd name="T32" fmla="*/ 396 w 2178"/>
                  <a:gd name="T33" fmla="*/ 462 h 652"/>
                  <a:gd name="T34" fmla="*/ 369 w 2178"/>
                  <a:gd name="T35" fmla="*/ 405 h 652"/>
                  <a:gd name="T36" fmla="*/ 315 w 2178"/>
                  <a:gd name="T37" fmla="*/ 405 h 652"/>
                  <a:gd name="T38" fmla="*/ 240 w 2178"/>
                  <a:gd name="T39" fmla="*/ 440 h 652"/>
                  <a:gd name="T40" fmla="*/ 0 w 2178"/>
                  <a:gd name="T41" fmla="*/ 652 h 652"/>
                  <a:gd name="T42" fmla="*/ 2178 w 2178"/>
                  <a:gd name="T43" fmla="*/ 65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78" h="652">
                    <a:moveTo>
                      <a:pt x="2178" y="652"/>
                    </a:moveTo>
                    <a:cubicBezTo>
                      <a:pt x="1898" y="245"/>
                      <a:pt x="1898" y="245"/>
                      <a:pt x="1898" y="245"/>
                    </a:cubicBezTo>
                    <a:cubicBezTo>
                      <a:pt x="1870" y="208"/>
                      <a:pt x="1870" y="208"/>
                      <a:pt x="1870" y="208"/>
                    </a:cubicBezTo>
                    <a:cubicBezTo>
                      <a:pt x="1734" y="103"/>
                      <a:pt x="1734" y="103"/>
                      <a:pt x="1734" y="103"/>
                    </a:cubicBezTo>
                    <a:cubicBezTo>
                      <a:pt x="1662" y="236"/>
                      <a:pt x="1662" y="236"/>
                      <a:pt x="1662" y="236"/>
                    </a:cubicBezTo>
                    <a:cubicBezTo>
                      <a:pt x="1662" y="236"/>
                      <a:pt x="1662" y="236"/>
                      <a:pt x="1662" y="236"/>
                    </a:cubicBezTo>
                    <a:cubicBezTo>
                      <a:pt x="1642" y="246"/>
                      <a:pt x="1642" y="246"/>
                      <a:pt x="1642" y="246"/>
                    </a:cubicBezTo>
                    <a:cubicBezTo>
                      <a:pt x="1493" y="114"/>
                      <a:pt x="1493" y="114"/>
                      <a:pt x="1493" y="114"/>
                    </a:cubicBezTo>
                    <a:cubicBezTo>
                      <a:pt x="1340" y="0"/>
                      <a:pt x="1340" y="0"/>
                      <a:pt x="1340" y="0"/>
                    </a:cubicBezTo>
                    <a:cubicBezTo>
                      <a:pt x="1227" y="119"/>
                      <a:pt x="1227" y="119"/>
                      <a:pt x="1227" y="119"/>
                    </a:cubicBezTo>
                    <a:cubicBezTo>
                      <a:pt x="1041" y="191"/>
                      <a:pt x="1041" y="191"/>
                      <a:pt x="1041" y="191"/>
                    </a:cubicBezTo>
                    <a:cubicBezTo>
                      <a:pt x="939" y="119"/>
                      <a:pt x="939" y="119"/>
                      <a:pt x="939" y="119"/>
                    </a:cubicBezTo>
                    <a:cubicBezTo>
                      <a:pt x="815" y="149"/>
                      <a:pt x="815" y="149"/>
                      <a:pt x="815" y="149"/>
                    </a:cubicBezTo>
                    <a:cubicBezTo>
                      <a:pt x="653" y="368"/>
                      <a:pt x="653" y="368"/>
                      <a:pt x="653" y="368"/>
                    </a:cubicBezTo>
                    <a:cubicBezTo>
                      <a:pt x="563" y="348"/>
                      <a:pt x="563" y="348"/>
                      <a:pt x="563" y="348"/>
                    </a:cubicBezTo>
                    <a:cubicBezTo>
                      <a:pt x="486" y="360"/>
                      <a:pt x="486" y="360"/>
                      <a:pt x="486" y="360"/>
                    </a:cubicBezTo>
                    <a:cubicBezTo>
                      <a:pt x="396" y="462"/>
                      <a:pt x="396" y="462"/>
                      <a:pt x="396" y="462"/>
                    </a:cubicBezTo>
                    <a:cubicBezTo>
                      <a:pt x="369" y="405"/>
                      <a:pt x="369" y="405"/>
                      <a:pt x="369" y="405"/>
                    </a:cubicBezTo>
                    <a:cubicBezTo>
                      <a:pt x="315" y="405"/>
                      <a:pt x="315" y="405"/>
                      <a:pt x="315" y="405"/>
                    </a:cubicBezTo>
                    <a:cubicBezTo>
                      <a:pt x="315" y="405"/>
                      <a:pt x="283" y="420"/>
                      <a:pt x="240" y="440"/>
                    </a:cubicBezTo>
                    <a:cubicBezTo>
                      <a:pt x="0" y="652"/>
                      <a:pt x="0" y="652"/>
                      <a:pt x="0" y="652"/>
                    </a:cubicBezTo>
                    <a:lnTo>
                      <a:pt x="2178" y="652"/>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493" name="Freeform 41"/>
              <p:cNvSpPr>
                <a:spLocks/>
              </p:cNvSpPr>
              <p:nvPr/>
            </p:nvSpPr>
            <p:spPr bwMode="auto">
              <a:xfrm>
                <a:off x="9489402" y="5143371"/>
                <a:ext cx="1189777" cy="557421"/>
              </a:xfrm>
              <a:custGeom>
                <a:avLst/>
                <a:gdLst>
                  <a:gd name="T0" fmla="*/ 0 w 413"/>
                  <a:gd name="T1" fmla="*/ 342 h 342"/>
                  <a:gd name="T2" fmla="*/ 0 w 413"/>
                  <a:gd name="T3" fmla="*/ 342 h 342"/>
                  <a:gd name="T4" fmla="*/ 206 w 413"/>
                  <a:gd name="T5" fmla="*/ 153 h 342"/>
                  <a:gd name="T6" fmla="*/ 413 w 413"/>
                  <a:gd name="T7" fmla="*/ 286 h 342"/>
                  <a:gd name="T8" fmla="*/ 196 w 413"/>
                  <a:gd name="T9" fmla="*/ 0 h 342"/>
                  <a:gd name="T10" fmla="*/ 0 w 413"/>
                  <a:gd name="T11" fmla="*/ 342 h 342"/>
                  <a:gd name="connsiteX0" fmla="*/ 0 w 10000"/>
                  <a:gd name="connsiteY0" fmla="*/ 10267 h 10267"/>
                  <a:gd name="connsiteX1" fmla="*/ 0 w 10000"/>
                  <a:gd name="connsiteY1" fmla="*/ 10267 h 10267"/>
                  <a:gd name="connsiteX2" fmla="*/ 4988 w 10000"/>
                  <a:gd name="connsiteY2" fmla="*/ 4741 h 10267"/>
                  <a:gd name="connsiteX3" fmla="*/ 10000 w 10000"/>
                  <a:gd name="connsiteY3" fmla="*/ 8630 h 10267"/>
                  <a:gd name="connsiteX4" fmla="*/ 4136 w 10000"/>
                  <a:gd name="connsiteY4" fmla="*/ 0 h 10267"/>
                  <a:gd name="connsiteX5" fmla="*/ 0 w 10000"/>
                  <a:gd name="connsiteY5" fmla="*/ 10267 h 1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267">
                    <a:moveTo>
                      <a:pt x="0" y="10267"/>
                    </a:moveTo>
                    <a:lnTo>
                      <a:pt x="0" y="10267"/>
                    </a:lnTo>
                    <a:lnTo>
                      <a:pt x="4988" y="4741"/>
                    </a:lnTo>
                    <a:lnTo>
                      <a:pt x="10000" y="8630"/>
                    </a:lnTo>
                    <a:lnTo>
                      <a:pt x="4136" y="0"/>
                    </a:lnTo>
                    <a:lnTo>
                      <a:pt x="0" y="1026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494" name="Freeform 43"/>
              <p:cNvSpPr>
                <a:spLocks/>
              </p:cNvSpPr>
              <p:nvPr/>
            </p:nvSpPr>
            <p:spPr bwMode="auto">
              <a:xfrm>
                <a:off x="4652515" y="4886404"/>
                <a:ext cx="3871815" cy="673100"/>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495" name="AutoShape 3"/>
              <p:cNvSpPr>
                <a:spLocks noChangeAspect="1" noChangeArrowheads="1" noTextEdit="1"/>
              </p:cNvSpPr>
              <p:nvPr/>
            </p:nvSpPr>
            <p:spPr bwMode="auto">
              <a:xfrm>
                <a:off x="1693821" y="4886404"/>
                <a:ext cx="6853238" cy="219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grpSp>
        <p:grpSp>
          <p:nvGrpSpPr>
            <p:cNvPr id="6" name="Group 5"/>
            <p:cNvGrpSpPr/>
            <p:nvPr userDrawn="1"/>
          </p:nvGrpSpPr>
          <p:grpSpPr>
            <a:xfrm>
              <a:off x="10033000" y="6579580"/>
              <a:ext cx="2403475" cy="414944"/>
              <a:chOff x="9388476" y="6468308"/>
              <a:chExt cx="3047999" cy="526217"/>
            </a:xfrm>
          </p:grpSpPr>
          <p:sp>
            <p:nvSpPr>
              <p:cNvPr id="424" name="Freeform 106"/>
              <p:cNvSpPr>
                <a:spLocks/>
              </p:cNvSpPr>
              <p:nvPr userDrawn="1"/>
            </p:nvSpPr>
            <p:spPr bwMode="auto">
              <a:xfrm>
                <a:off x="9388476" y="6538913"/>
                <a:ext cx="2501424" cy="455612"/>
              </a:xfrm>
              <a:custGeom>
                <a:avLst/>
                <a:gdLst>
                  <a:gd name="T0" fmla="*/ 360 w 583"/>
                  <a:gd name="T1" fmla="*/ 5 h 121"/>
                  <a:gd name="T2" fmla="*/ 354 w 583"/>
                  <a:gd name="T3" fmla="*/ 4 h 121"/>
                  <a:gd name="T4" fmla="*/ 338 w 583"/>
                  <a:gd name="T5" fmla="*/ 2 h 121"/>
                  <a:gd name="T6" fmla="*/ 305 w 583"/>
                  <a:gd name="T7" fmla="*/ 0 h 121"/>
                  <a:gd name="T8" fmla="*/ 288 w 583"/>
                  <a:gd name="T9" fmla="*/ 0 h 121"/>
                  <a:gd name="T10" fmla="*/ 0 w 583"/>
                  <a:gd name="T11" fmla="*/ 121 h 121"/>
                  <a:gd name="T12" fmla="*/ 206 w 583"/>
                  <a:gd name="T13" fmla="*/ 121 h 121"/>
                  <a:gd name="T14" fmla="*/ 583 w 583"/>
                  <a:gd name="T15" fmla="*/ 121 h 121"/>
                  <a:gd name="T16" fmla="*/ 360 w 583"/>
                  <a:gd name="T17" fmla="*/ 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3" h="121">
                    <a:moveTo>
                      <a:pt x="360" y="5"/>
                    </a:moveTo>
                    <a:cubicBezTo>
                      <a:pt x="358" y="5"/>
                      <a:pt x="356" y="5"/>
                      <a:pt x="354" y="4"/>
                    </a:cubicBezTo>
                    <a:cubicBezTo>
                      <a:pt x="348" y="4"/>
                      <a:pt x="343" y="3"/>
                      <a:pt x="338" y="2"/>
                    </a:cubicBezTo>
                    <a:cubicBezTo>
                      <a:pt x="327" y="1"/>
                      <a:pt x="316" y="0"/>
                      <a:pt x="305" y="0"/>
                    </a:cubicBezTo>
                    <a:cubicBezTo>
                      <a:pt x="299" y="0"/>
                      <a:pt x="294" y="0"/>
                      <a:pt x="288" y="0"/>
                    </a:cubicBezTo>
                    <a:cubicBezTo>
                      <a:pt x="183" y="1"/>
                      <a:pt x="79" y="41"/>
                      <a:pt x="0" y="121"/>
                    </a:cubicBezTo>
                    <a:cubicBezTo>
                      <a:pt x="206" y="121"/>
                      <a:pt x="206" y="121"/>
                      <a:pt x="206" y="121"/>
                    </a:cubicBezTo>
                    <a:cubicBezTo>
                      <a:pt x="583" y="121"/>
                      <a:pt x="583" y="121"/>
                      <a:pt x="583" y="121"/>
                    </a:cubicBezTo>
                    <a:cubicBezTo>
                      <a:pt x="520" y="57"/>
                      <a:pt x="442" y="19"/>
                      <a:pt x="360" y="5"/>
                    </a:cubicBezTo>
                    <a:close/>
                  </a:path>
                </a:pathLst>
              </a:custGeom>
              <a:solidFill>
                <a:srgbClr val="79A500"/>
              </a:solidFill>
              <a:ln>
                <a:noFill/>
              </a:ln>
            </p:spPr>
            <p:txBody>
              <a:bodyPr vert="horz" wrap="square" lIns="91440" tIns="45720" rIns="91440" bIns="45720" numCol="1" anchor="t" anchorCtr="0" compatLnSpc="1">
                <a:prstTxWarp prst="textNoShape">
                  <a:avLst/>
                </a:prstTxWarp>
              </a:bodyPr>
              <a:lstStyle/>
              <a:p>
                <a:endParaRPr lang="en-IN" sz="1800"/>
              </a:p>
            </p:txBody>
          </p:sp>
          <p:sp>
            <p:nvSpPr>
              <p:cNvPr id="425" name="Freeform 107"/>
              <p:cNvSpPr>
                <a:spLocks/>
              </p:cNvSpPr>
              <p:nvPr userDrawn="1"/>
            </p:nvSpPr>
            <p:spPr bwMode="auto">
              <a:xfrm>
                <a:off x="9922969" y="6468308"/>
                <a:ext cx="2513506" cy="526217"/>
              </a:xfrm>
              <a:custGeom>
                <a:avLst/>
                <a:gdLst>
                  <a:gd name="T0" fmla="*/ 341 w 551"/>
                  <a:gd name="T1" fmla="*/ 6 h 115"/>
                  <a:gd name="T2" fmla="*/ 335 w 551"/>
                  <a:gd name="T3" fmla="*/ 5 h 115"/>
                  <a:gd name="T4" fmla="*/ 320 w 551"/>
                  <a:gd name="T5" fmla="*/ 3 h 115"/>
                  <a:gd name="T6" fmla="*/ 289 w 551"/>
                  <a:gd name="T7" fmla="*/ 0 h 115"/>
                  <a:gd name="T8" fmla="*/ 272 w 551"/>
                  <a:gd name="T9" fmla="*/ 0 h 115"/>
                  <a:gd name="T10" fmla="*/ 0 w 551"/>
                  <a:gd name="T11" fmla="*/ 115 h 115"/>
                  <a:gd name="T12" fmla="*/ 195 w 551"/>
                  <a:gd name="T13" fmla="*/ 115 h 115"/>
                  <a:gd name="T14" fmla="*/ 551 w 551"/>
                  <a:gd name="T15" fmla="*/ 115 h 115"/>
                  <a:gd name="T16" fmla="*/ 341 w 551"/>
                  <a:gd name="T17" fmla="*/ 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1" h="115">
                    <a:moveTo>
                      <a:pt x="341" y="6"/>
                    </a:moveTo>
                    <a:cubicBezTo>
                      <a:pt x="339" y="5"/>
                      <a:pt x="337" y="5"/>
                      <a:pt x="335" y="5"/>
                    </a:cubicBezTo>
                    <a:cubicBezTo>
                      <a:pt x="330" y="4"/>
                      <a:pt x="325" y="3"/>
                      <a:pt x="320" y="3"/>
                    </a:cubicBezTo>
                    <a:cubicBezTo>
                      <a:pt x="310" y="1"/>
                      <a:pt x="299" y="1"/>
                      <a:pt x="289" y="0"/>
                    </a:cubicBezTo>
                    <a:cubicBezTo>
                      <a:pt x="283" y="0"/>
                      <a:pt x="278" y="0"/>
                      <a:pt x="272" y="0"/>
                    </a:cubicBezTo>
                    <a:cubicBezTo>
                      <a:pt x="174" y="1"/>
                      <a:pt x="75" y="39"/>
                      <a:pt x="0" y="115"/>
                    </a:cubicBezTo>
                    <a:cubicBezTo>
                      <a:pt x="195" y="115"/>
                      <a:pt x="195" y="115"/>
                      <a:pt x="195" y="115"/>
                    </a:cubicBezTo>
                    <a:cubicBezTo>
                      <a:pt x="551" y="115"/>
                      <a:pt x="551" y="115"/>
                      <a:pt x="551" y="115"/>
                    </a:cubicBezTo>
                    <a:cubicBezTo>
                      <a:pt x="492" y="55"/>
                      <a:pt x="418" y="19"/>
                      <a:pt x="341"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grpSp>
        <p:sp>
          <p:nvSpPr>
            <p:cNvPr id="38" name="Freeform 70"/>
            <p:cNvSpPr>
              <a:spLocks/>
            </p:cNvSpPr>
            <p:nvPr userDrawn="1"/>
          </p:nvSpPr>
          <p:spPr bwMode="auto">
            <a:xfrm flipH="1">
              <a:off x="1352512" y="6834768"/>
              <a:ext cx="2066421" cy="109266"/>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47"/>
            <p:cNvSpPr>
              <a:spLocks/>
            </p:cNvSpPr>
            <p:nvPr/>
          </p:nvSpPr>
          <p:spPr bwMode="auto">
            <a:xfrm flipH="1">
              <a:off x="0" y="5814957"/>
              <a:ext cx="523152" cy="452133"/>
            </a:xfrm>
            <a:custGeom>
              <a:avLst/>
              <a:gdLst>
                <a:gd name="connsiteX0" fmla="*/ 407468 w 523152"/>
                <a:gd name="connsiteY0" fmla="*/ 0 h 452133"/>
                <a:gd name="connsiteX1" fmla="*/ 244481 w 523152"/>
                <a:gd name="connsiteY1" fmla="*/ 83151 h 452133"/>
                <a:gd name="connsiteX2" fmla="*/ 190152 w 523152"/>
                <a:gd name="connsiteY2" fmla="*/ 67560 h 452133"/>
                <a:gd name="connsiteX3" fmla="*/ 124957 w 523152"/>
                <a:gd name="connsiteY3" fmla="*/ 88348 h 452133"/>
                <a:gd name="connsiteX4" fmla="*/ 76061 w 523152"/>
                <a:gd name="connsiteY4" fmla="*/ 176696 h 452133"/>
                <a:gd name="connsiteX5" fmla="*/ 0 w 523152"/>
                <a:gd name="connsiteY5" fmla="*/ 301422 h 452133"/>
                <a:gd name="connsiteX6" fmla="*/ 141256 w 523152"/>
                <a:gd name="connsiteY6" fmla="*/ 452133 h 452133"/>
                <a:gd name="connsiteX7" fmla="*/ 157554 w 523152"/>
                <a:gd name="connsiteY7" fmla="*/ 452133 h 452133"/>
                <a:gd name="connsiteX8" fmla="*/ 173853 w 523152"/>
                <a:gd name="connsiteY8" fmla="*/ 452133 h 452133"/>
                <a:gd name="connsiteX9" fmla="*/ 499828 w 523152"/>
                <a:gd name="connsiteY9" fmla="*/ 452133 h 452133"/>
                <a:gd name="connsiteX10" fmla="*/ 505261 w 523152"/>
                <a:gd name="connsiteY10" fmla="*/ 452133 h 452133"/>
                <a:gd name="connsiteX11" fmla="*/ 516126 w 523152"/>
                <a:gd name="connsiteY11" fmla="*/ 452133 h 452133"/>
                <a:gd name="connsiteX12" fmla="*/ 523152 w 523152"/>
                <a:gd name="connsiteY12" fmla="*/ 452133 h 452133"/>
                <a:gd name="connsiteX13" fmla="*/ 523152 w 523152"/>
                <a:gd name="connsiteY13" fmla="*/ 37266 h 452133"/>
                <a:gd name="connsiteX14" fmla="*/ 487009 w 523152"/>
                <a:gd name="connsiteY14" fmla="*/ 14617 h 452133"/>
                <a:gd name="connsiteX15" fmla="*/ 407468 w 523152"/>
                <a:gd name="connsiteY15" fmla="*/ 0 h 45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3152" h="452133">
                  <a:moveTo>
                    <a:pt x="407468" y="0"/>
                  </a:moveTo>
                  <a:cubicBezTo>
                    <a:pt x="342273" y="0"/>
                    <a:pt x="277078" y="31182"/>
                    <a:pt x="244481" y="83151"/>
                  </a:cubicBezTo>
                  <a:cubicBezTo>
                    <a:pt x="228182" y="72757"/>
                    <a:pt x="211884" y="67560"/>
                    <a:pt x="190152" y="67560"/>
                  </a:cubicBezTo>
                  <a:cubicBezTo>
                    <a:pt x="162987" y="67560"/>
                    <a:pt x="141256" y="77954"/>
                    <a:pt x="124957" y="88348"/>
                  </a:cubicBezTo>
                  <a:cubicBezTo>
                    <a:pt x="92359" y="103939"/>
                    <a:pt x="76061" y="140317"/>
                    <a:pt x="76061" y="176696"/>
                  </a:cubicBezTo>
                  <a:cubicBezTo>
                    <a:pt x="32597" y="202681"/>
                    <a:pt x="0" y="249453"/>
                    <a:pt x="0" y="301422"/>
                  </a:cubicBezTo>
                  <a:cubicBezTo>
                    <a:pt x="0" y="379376"/>
                    <a:pt x="65195" y="441739"/>
                    <a:pt x="141256" y="452133"/>
                  </a:cubicBezTo>
                  <a:cubicBezTo>
                    <a:pt x="146689" y="452133"/>
                    <a:pt x="152121" y="452133"/>
                    <a:pt x="157554" y="452133"/>
                  </a:cubicBezTo>
                  <a:cubicBezTo>
                    <a:pt x="162987" y="452133"/>
                    <a:pt x="168420" y="452133"/>
                    <a:pt x="173853" y="452133"/>
                  </a:cubicBezTo>
                  <a:cubicBezTo>
                    <a:pt x="249914" y="452133"/>
                    <a:pt x="418334" y="452133"/>
                    <a:pt x="499828" y="452133"/>
                  </a:cubicBezTo>
                  <a:cubicBezTo>
                    <a:pt x="499828" y="452133"/>
                    <a:pt x="505261" y="452133"/>
                    <a:pt x="505261" y="452133"/>
                  </a:cubicBezTo>
                  <a:cubicBezTo>
                    <a:pt x="516126" y="452133"/>
                    <a:pt x="516126" y="452133"/>
                    <a:pt x="516126" y="452133"/>
                  </a:cubicBezTo>
                  <a:lnTo>
                    <a:pt x="523152" y="452133"/>
                  </a:lnTo>
                  <a:lnTo>
                    <a:pt x="523152" y="37266"/>
                  </a:lnTo>
                  <a:lnTo>
                    <a:pt x="487009" y="14617"/>
                  </a:lnTo>
                  <a:cubicBezTo>
                    <a:pt x="462816" y="5197"/>
                    <a:pt x="435991" y="0"/>
                    <a:pt x="407468"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noAutofit/>
            </a:bodyPr>
            <a:lstStyle/>
            <a:p>
              <a:endParaRPr lang="en-US" sz="1800"/>
            </a:p>
          </p:txBody>
        </p:sp>
        <p:sp>
          <p:nvSpPr>
            <p:cNvPr id="37" name="Freeform 36"/>
            <p:cNvSpPr>
              <a:spLocks/>
            </p:cNvSpPr>
            <p:nvPr/>
          </p:nvSpPr>
          <p:spPr bwMode="auto">
            <a:xfrm flipH="1">
              <a:off x="0" y="6741890"/>
              <a:ext cx="370794" cy="220431"/>
            </a:xfrm>
            <a:custGeom>
              <a:avLst/>
              <a:gdLst>
                <a:gd name="connsiteX0" fmla="*/ 370794 w 370794"/>
                <a:gd name="connsiteY0" fmla="*/ 0 h 220431"/>
                <a:gd name="connsiteX1" fmla="*/ 332995 w 370794"/>
                <a:gd name="connsiteY1" fmla="*/ 8734 h 220431"/>
                <a:gd name="connsiteX2" fmla="*/ 0 w 370794"/>
                <a:gd name="connsiteY2" fmla="*/ 220431 h 220431"/>
                <a:gd name="connsiteX3" fmla="*/ 368902 w 370794"/>
                <a:gd name="connsiteY3" fmla="*/ 220431 h 220431"/>
                <a:gd name="connsiteX4" fmla="*/ 370794 w 370794"/>
                <a:gd name="connsiteY4" fmla="*/ 220431 h 220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794" h="220431">
                  <a:moveTo>
                    <a:pt x="370794" y="0"/>
                  </a:moveTo>
                  <a:lnTo>
                    <a:pt x="332995" y="8734"/>
                  </a:lnTo>
                  <a:cubicBezTo>
                    <a:pt x="210976" y="44223"/>
                    <a:pt x="95819" y="114789"/>
                    <a:pt x="0" y="220431"/>
                  </a:cubicBezTo>
                  <a:cubicBezTo>
                    <a:pt x="368902" y="220431"/>
                    <a:pt x="368902" y="220431"/>
                    <a:pt x="368902" y="220431"/>
                  </a:cubicBezTo>
                  <a:lnTo>
                    <a:pt x="370794" y="22043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800"/>
            </a:p>
          </p:txBody>
        </p:sp>
        <p:sp>
          <p:nvSpPr>
            <p:cNvPr id="32" name="Rectangle 33"/>
            <p:cNvSpPr>
              <a:spLocks noChangeArrowheads="1"/>
            </p:cNvSpPr>
            <p:nvPr userDrawn="1"/>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nvGrpSpPr>
            <p:cNvPr id="42" name="Group 41"/>
            <p:cNvGrpSpPr/>
            <p:nvPr userDrawn="1"/>
          </p:nvGrpSpPr>
          <p:grpSpPr>
            <a:xfrm>
              <a:off x="4306096" y="6680712"/>
              <a:ext cx="124545" cy="268852"/>
              <a:chOff x="9197851" y="6405436"/>
              <a:chExt cx="124545" cy="268852"/>
            </a:xfrm>
          </p:grpSpPr>
          <p:sp>
            <p:nvSpPr>
              <p:cNvPr id="39"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420" name="Group 419"/>
            <p:cNvGrpSpPr/>
            <p:nvPr userDrawn="1"/>
          </p:nvGrpSpPr>
          <p:grpSpPr>
            <a:xfrm>
              <a:off x="2150727" y="6638524"/>
              <a:ext cx="144088" cy="311039"/>
              <a:chOff x="9197851" y="6405436"/>
              <a:chExt cx="124545" cy="268852"/>
            </a:xfrm>
          </p:grpSpPr>
          <p:sp>
            <p:nvSpPr>
              <p:cNvPr id="421"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2"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3"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641" name="Line 225"/>
            <p:cNvSpPr>
              <a:spLocks noChangeShapeType="1"/>
            </p:cNvSpPr>
            <p:nvPr/>
          </p:nvSpPr>
          <p:spPr bwMode="auto">
            <a:xfrm flipH="1">
              <a:off x="778780" y="5740094"/>
              <a:ext cx="0" cy="205837"/>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800"/>
            </a:p>
          </p:txBody>
        </p:sp>
        <p:sp>
          <p:nvSpPr>
            <p:cNvPr id="642" name="Line 226"/>
            <p:cNvSpPr>
              <a:spLocks noChangeShapeType="1"/>
            </p:cNvSpPr>
            <p:nvPr/>
          </p:nvSpPr>
          <p:spPr bwMode="auto">
            <a:xfrm flipH="1">
              <a:off x="842043" y="5740094"/>
              <a:ext cx="0" cy="205837"/>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800"/>
            </a:p>
          </p:txBody>
        </p:sp>
        <p:sp>
          <p:nvSpPr>
            <p:cNvPr id="643" name="Rectangle 227"/>
            <p:cNvSpPr>
              <a:spLocks noChangeArrowheads="1"/>
            </p:cNvSpPr>
            <p:nvPr/>
          </p:nvSpPr>
          <p:spPr bwMode="auto">
            <a:xfrm flipH="1">
              <a:off x="701629" y="5845019"/>
              <a:ext cx="217565" cy="797119"/>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44" name="Rectangle 228"/>
            <p:cNvSpPr>
              <a:spLocks noChangeArrowheads="1"/>
            </p:cNvSpPr>
            <p:nvPr/>
          </p:nvSpPr>
          <p:spPr bwMode="auto">
            <a:xfrm flipH="1">
              <a:off x="865806" y="5845019"/>
              <a:ext cx="53388" cy="79711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32" name="Rectangle 229"/>
            <p:cNvSpPr>
              <a:spLocks noChangeArrowheads="1"/>
            </p:cNvSpPr>
            <p:nvPr/>
          </p:nvSpPr>
          <p:spPr bwMode="auto">
            <a:xfrm flipH="1">
              <a:off x="958729" y="6087272"/>
              <a:ext cx="218182" cy="55486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33" name="Rectangle 230"/>
            <p:cNvSpPr>
              <a:spLocks noChangeArrowheads="1"/>
            </p:cNvSpPr>
            <p:nvPr/>
          </p:nvSpPr>
          <p:spPr bwMode="auto">
            <a:xfrm flipH="1">
              <a:off x="986195" y="5926799"/>
              <a:ext cx="163251" cy="160473"/>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34" name="Freeform 231"/>
            <p:cNvSpPr>
              <a:spLocks/>
            </p:cNvSpPr>
            <p:nvPr/>
          </p:nvSpPr>
          <p:spPr bwMode="auto">
            <a:xfrm flipH="1">
              <a:off x="1026621" y="5819714"/>
              <a:ext cx="83323" cy="107085"/>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35" name="Rectangle 232"/>
            <p:cNvSpPr>
              <a:spLocks noChangeArrowheads="1"/>
            </p:cNvSpPr>
            <p:nvPr/>
          </p:nvSpPr>
          <p:spPr bwMode="auto">
            <a:xfrm flipH="1">
              <a:off x="1123523" y="6123995"/>
              <a:ext cx="23145" cy="51814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36" name="Rectangle 233"/>
            <p:cNvSpPr>
              <a:spLocks noChangeArrowheads="1"/>
            </p:cNvSpPr>
            <p:nvPr/>
          </p:nvSpPr>
          <p:spPr bwMode="auto">
            <a:xfrm flipH="1">
              <a:off x="1079392" y="6123995"/>
              <a:ext cx="22219" cy="51814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37" name="Rectangle 234"/>
            <p:cNvSpPr>
              <a:spLocks noChangeArrowheads="1"/>
            </p:cNvSpPr>
            <p:nvPr/>
          </p:nvSpPr>
          <p:spPr bwMode="auto">
            <a:xfrm flipH="1">
              <a:off x="1034336" y="6123995"/>
              <a:ext cx="22837" cy="51814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38" name="Rectangle 235"/>
            <p:cNvSpPr>
              <a:spLocks noChangeArrowheads="1"/>
            </p:cNvSpPr>
            <p:nvPr/>
          </p:nvSpPr>
          <p:spPr bwMode="auto">
            <a:xfrm flipH="1">
              <a:off x="990206" y="6123995"/>
              <a:ext cx="22837" cy="51814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39" name="Rectangle 236"/>
            <p:cNvSpPr>
              <a:spLocks noChangeArrowheads="1"/>
            </p:cNvSpPr>
            <p:nvPr/>
          </p:nvSpPr>
          <p:spPr bwMode="auto">
            <a:xfrm flipH="1">
              <a:off x="986195" y="5926799"/>
              <a:ext cx="163251" cy="1666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40" name="Rectangle 237"/>
            <p:cNvSpPr>
              <a:spLocks noChangeArrowheads="1"/>
            </p:cNvSpPr>
            <p:nvPr/>
          </p:nvSpPr>
          <p:spPr bwMode="auto">
            <a:xfrm flipH="1">
              <a:off x="958729" y="6070299"/>
              <a:ext cx="218182" cy="1697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589" name="Rectangle 238"/>
            <p:cNvSpPr>
              <a:spLocks noChangeArrowheads="1"/>
            </p:cNvSpPr>
            <p:nvPr/>
          </p:nvSpPr>
          <p:spPr bwMode="auto">
            <a:xfrm flipH="1">
              <a:off x="1329396" y="6429511"/>
              <a:ext cx="266323" cy="21262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590" name="Freeform 239"/>
            <p:cNvSpPr>
              <a:spLocks/>
            </p:cNvSpPr>
            <p:nvPr/>
          </p:nvSpPr>
          <p:spPr bwMode="auto">
            <a:xfrm flipH="1">
              <a:off x="1216447" y="6041290"/>
              <a:ext cx="225897" cy="600848"/>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591" name="Freeform 240"/>
            <p:cNvSpPr>
              <a:spLocks/>
            </p:cNvSpPr>
            <p:nvPr/>
          </p:nvSpPr>
          <p:spPr bwMode="auto">
            <a:xfrm flipH="1">
              <a:off x="1442344" y="6432597"/>
              <a:ext cx="153375" cy="209541"/>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593" name="Rectangle 242"/>
            <p:cNvSpPr>
              <a:spLocks noChangeArrowheads="1"/>
            </p:cNvSpPr>
            <p:nvPr/>
          </p:nvSpPr>
          <p:spPr bwMode="auto">
            <a:xfrm flipH="1">
              <a:off x="1342973" y="6085728"/>
              <a:ext cx="22219" cy="4258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594" name="Rectangle 243"/>
            <p:cNvSpPr>
              <a:spLocks noChangeArrowheads="1"/>
            </p:cNvSpPr>
            <p:nvPr/>
          </p:nvSpPr>
          <p:spPr bwMode="auto">
            <a:xfrm flipH="1">
              <a:off x="1294215" y="6085728"/>
              <a:ext cx="22219" cy="4258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595" name="Rectangle 244"/>
            <p:cNvSpPr>
              <a:spLocks noChangeArrowheads="1"/>
            </p:cNvSpPr>
            <p:nvPr/>
          </p:nvSpPr>
          <p:spPr bwMode="auto">
            <a:xfrm flipH="1">
              <a:off x="1245456" y="6085728"/>
              <a:ext cx="21911" cy="42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596" name="Rectangle 245"/>
            <p:cNvSpPr>
              <a:spLocks noChangeArrowheads="1"/>
            </p:cNvSpPr>
            <p:nvPr/>
          </p:nvSpPr>
          <p:spPr bwMode="auto">
            <a:xfrm flipH="1">
              <a:off x="1392042" y="6149917"/>
              <a:ext cx="21911"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597" name="Rectangle 246"/>
            <p:cNvSpPr>
              <a:spLocks noChangeArrowheads="1"/>
            </p:cNvSpPr>
            <p:nvPr/>
          </p:nvSpPr>
          <p:spPr bwMode="auto">
            <a:xfrm flipH="1">
              <a:off x="1342973" y="6149917"/>
              <a:ext cx="22219"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598" name="Rectangle 247"/>
            <p:cNvSpPr>
              <a:spLocks noChangeArrowheads="1"/>
            </p:cNvSpPr>
            <p:nvPr/>
          </p:nvSpPr>
          <p:spPr bwMode="auto">
            <a:xfrm flipH="1">
              <a:off x="1294215" y="6149917"/>
              <a:ext cx="22219" cy="4197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599" name="Rectangle 248"/>
            <p:cNvSpPr>
              <a:spLocks noChangeArrowheads="1"/>
            </p:cNvSpPr>
            <p:nvPr/>
          </p:nvSpPr>
          <p:spPr bwMode="auto">
            <a:xfrm flipH="1">
              <a:off x="1245456" y="6149917"/>
              <a:ext cx="21911"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600" name="Rectangle 249"/>
            <p:cNvSpPr>
              <a:spLocks noChangeArrowheads="1"/>
            </p:cNvSpPr>
            <p:nvPr/>
          </p:nvSpPr>
          <p:spPr bwMode="auto">
            <a:xfrm flipH="1">
              <a:off x="1392042" y="6213181"/>
              <a:ext cx="21911" cy="4227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01" name="Rectangle 250"/>
            <p:cNvSpPr>
              <a:spLocks noChangeArrowheads="1"/>
            </p:cNvSpPr>
            <p:nvPr/>
          </p:nvSpPr>
          <p:spPr bwMode="auto">
            <a:xfrm flipH="1">
              <a:off x="1342973" y="6213181"/>
              <a:ext cx="22219"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602" name="Rectangle 251"/>
            <p:cNvSpPr>
              <a:spLocks noChangeArrowheads="1"/>
            </p:cNvSpPr>
            <p:nvPr/>
          </p:nvSpPr>
          <p:spPr bwMode="auto">
            <a:xfrm flipH="1">
              <a:off x="1294215" y="6213181"/>
              <a:ext cx="22219"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603" name="Rectangle 252"/>
            <p:cNvSpPr>
              <a:spLocks noChangeArrowheads="1"/>
            </p:cNvSpPr>
            <p:nvPr/>
          </p:nvSpPr>
          <p:spPr bwMode="auto">
            <a:xfrm flipH="1">
              <a:off x="1245456" y="6213181"/>
              <a:ext cx="21911"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604" name="Rectangle 253"/>
            <p:cNvSpPr>
              <a:spLocks noChangeArrowheads="1"/>
            </p:cNvSpPr>
            <p:nvPr/>
          </p:nvSpPr>
          <p:spPr bwMode="auto">
            <a:xfrm flipH="1">
              <a:off x="1392042" y="6277370"/>
              <a:ext cx="21911"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605" name="Rectangle 254"/>
            <p:cNvSpPr>
              <a:spLocks noChangeArrowheads="1"/>
            </p:cNvSpPr>
            <p:nvPr/>
          </p:nvSpPr>
          <p:spPr bwMode="auto">
            <a:xfrm flipH="1">
              <a:off x="1342973" y="6277370"/>
              <a:ext cx="22219" cy="4227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06" name="Rectangle 255"/>
            <p:cNvSpPr>
              <a:spLocks noChangeArrowheads="1"/>
            </p:cNvSpPr>
            <p:nvPr/>
          </p:nvSpPr>
          <p:spPr bwMode="auto">
            <a:xfrm flipH="1">
              <a:off x="1294215" y="6277370"/>
              <a:ext cx="22219" cy="4227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07" name="Rectangle 256"/>
            <p:cNvSpPr>
              <a:spLocks noChangeArrowheads="1"/>
            </p:cNvSpPr>
            <p:nvPr/>
          </p:nvSpPr>
          <p:spPr bwMode="auto">
            <a:xfrm flipH="1">
              <a:off x="1245456" y="6277370"/>
              <a:ext cx="21911"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608" name="Rectangle 257"/>
            <p:cNvSpPr>
              <a:spLocks noChangeArrowheads="1"/>
            </p:cNvSpPr>
            <p:nvPr/>
          </p:nvSpPr>
          <p:spPr bwMode="auto">
            <a:xfrm flipH="1">
              <a:off x="1392042" y="6340942"/>
              <a:ext cx="21911"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609" name="Rectangle 259"/>
            <p:cNvSpPr>
              <a:spLocks noChangeArrowheads="1"/>
            </p:cNvSpPr>
            <p:nvPr/>
          </p:nvSpPr>
          <p:spPr bwMode="auto">
            <a:xfrm flipH="1">
              <a:off x="1342973" y="6340942"/>
              <a:ext cx="22219"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610" name="Rectangle 260"/>
            <p:cNvSpPr>
              <a:spLocks noChangeArrowheads="1"/>
            </p:cNvSpPr>
            <p:nvPr/>
          </p:nvSpPr>
          <p:spPr bwMode="auto">
            <a:xfrm flipH="1">
              <a:off x="1294214" y="6340942"/>
              <a:ext cx="22219" cy="4197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11" name="Rectangle 261"/>
            <p:cNvSpPr>
              <a:spLocks noChangeArrowheads="1"/>
            </p:cNvSpPr>
            <p:nvPr/>
          </p:nvSpPr>
          <p:spPr bwMode="auto">
            <a:xfrm flipH="1">
              <a:off x="1245455" y="6340942"/>
              <a:ext cx="21911" cy="4197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12" name="Rectangle 262"/>
            <p:cNvSpPr>
              <a:spLocks noChangeArrowheads="1"/>
            </p:cNvSpPr>
            <p:nvPr/>
          </p:nvSpPr>
          <p:spPr bwMode="auto">
            <a:xfrm flipH="1">
              <a:off x="1392041" y="6404206"/>
              <a:ext cx="21911" cy="42896"/>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13" name="Rectangle 263"/>
            <p:cNvSpPr>
              <a:spLocks noChangeArrowheads="1"/>
            </p:cNvSpPr>
            <p:nvPr/>
          </p:nvSpPr>
          <p:spPr bwMode="auto">
            <a:xfrm flipH="1">
              <a:off x="1342973" y="6404206"/>
              <a:ext cx="22219" cy="42896"/>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14" name="Rectangle 264"/>
            <p:cNvSpPr>
              <a:spLocks noChangeArrowheads="1"/>
            </p:cNvSpPr>
            <p:nvPr/>
          </p:nvSpPr>
          <p:spPr bwMode="auto">
            <a:xfrm flipH="1">
              <a:off x="1294214" y="6404206"/>
              <a:ext cx="22219" cy="428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615" name="Rectangle 265"/>
            <p:cNvSpPr>
              <a:spLocks noChangeArrowheads="1"/>
            </p:cNvSpPr>
            <p:nvPr/>
          </p:nvSpPr>
          <p:spPr bwMode="auto">
            <a:xfrm flipH="1">
              <a:off x="1245455" y="6404206"/>
              <a:ext cx="21911" cy="428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616" name="Rectangle 266"/>
            <p:cNvSpPr>
              <a:spLocks noChangeArrowheads="1"/>
            </p:cNvSpPr>
            <p:nvPr/>
          </p:nvSpPr>
          <p:spPr bwMode="auto">
            <a:xfrm flipH="1">
              <a:off x="1392041" y="6468395"/>
              <a:ext cx="21911" cy="4227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17" name="Rectangle 267"/>
            <p:cNvSpPr>
              <a:spLocks noChangeArrowheads="1"/>
            </p:cNvSpPr>
            <p:nvPr/>
          </p:nvSpPr>
          <p:spPr bwMode="auto">
            <a:xfrm flipH="1">
              <a:off x="1342973" y="6468395"/>
              <a:ext cx="22219"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618" name="Rectangle 268"/>
            <p:cNvSpPr>
              <a:spLocks noChangeArrowheads="1"/>
            </p:cNvSpPr>
            <p:nvPr/>
          </p:nvSpPr>
          <p:spPr bwMode="auto">
            <a:xfrm flipH="1">
              <a:off x="1294214" y="6468395"/>
              <a:ext cx="22219" cy="4227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19" name="Rectangle 269"/>
            <p:cNvSpPr>
              <a:spLocks noChangeArrowheads="1"/>
            </p:cNvSpPr>
            <p:nvPr/>
          </p:nvSpPr>
          <p:spPr bwMode="auto">
            <a:xfrm flipH="1">
              <a:off x="1245455" y="6468395"/>
              <a:ext cx="21911"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620" name="Rectangle 270"/>
            <p:cNvSpPr>
              <a:spLocks noChangeArrowheads="1"/>
            </p:cNvSpPr>
            <p:nvPr/>
          </p:nvSpPr>
          <p:spPr bwMode="auto">
            <a:xfrm flipH="1">
              <a:off x="1557452" y="6468395"/>
              <a:ext cx="22219" cy="4227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21" name="Rectangle 271"/>
            <p:cNvSpPr>
              <a:spLocks noChangeArrowheads="1"/>
            </p:cNvSpPr>
            <p:nvPr/>
          </p:nvSpPr>
          <p:spPr bwMode="auto">
            <a:xfrm flipH="1">
              <a:off x="1508693" y="6468395"/>
              <a:ext cx="22219"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622" name="Rectangle 272"/>
            <p:cNvSpPr>
              <a:spLocks noChangeArrowheads="1"/>
            </p:cNvSpPr>
            <p:nvPr/>
          </p:nvSpPr>
          <p:spPr bwMode="auto">
            <a:xfrm flipH="1">
              <a:off x="1459934" y="6468395"/>
              <a:ext cx="21911"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623" name="Rectangle 273"/>
            <p:cNvSpPr>
              <a:spLocks noChangeArrowheads="1"/>
            </p:cNvSpPr>
            <p:nvPr/>
          </p:nvSpPr>
          <p:spPr bwMode="auto">
            <a:xfrm flipH="1">
              <a:off x="1557452" y="6531967"/>
              <a:ext cx="22219"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624" name="Rectangle 274"/>
            <p:cNvSpPr>
              <a:spLocks noChangeArrowheads="1"/>
            </p:cNvSpPr>
            <p:nvPr/>
          </p:nvSpPr>
          <p:spPr bwMode="auto">
            <a:xfrm flipH="1">
              <a:off x="1508693" y="6531967"/>
              <a:ext cx="22219" cy="4197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25" name="Rectangle 275"/>
            <p:cNvSpPr>
              <a:spLocks noChangeArrowheads="1"/>
            </p:cNvSpPr>
            <p:nvPr/>
          </p:nvSpPr>
          <p:spPr bwMode="auto">
            <a:xfrm flipH="1">
              <a:off x="1459934" y="6531967"/>
              <a:ext cx="21911"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626" name="Rectangle 276"/>
            <p:cNvSpPr>
              <a:spLocks noChangeArrowheads="1"/>
            </p:cNvSpPr>
            <p:nvPr/>
          </p:nvSpPr>
          <p:spPr bwMode="auto">
            <a:xfrm flipH="1">
              <a:off x="1392041" y="6531967"/>
              <a:ext cx="21911"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627" name="Rectangle 277"/>
            <p:cNvSpPr>
              <a:spLocks noChangeArrowheads="1"/>
            </p:cNvSpPr>
            <p:nvPr/>
          </p:nvSpPr>
          <p:spPr bwMode="auto">
            <a:xfrm flipH="1">
              <a:off x="1342973" y="6531967"/>
              <a:ext cx="22219" cy="4197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28" name="Rectangle 278"/>
            <p:cNvSpPr>
              <a:spLocks noChangeArrowheads="1"/>
            </p:cNvSpPr>
            <p:nvPr/>
          </p:nvSpPr>
          <p:spPr bwMode="auto">
            <a:xfrm flipH="1">
              <a:off x="1294214" y="6531967"/>
              <a:ext cx="22219"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629" name="Rectangle 279"/>
            <p:cNvSpPr>
              <a:spLocks noChangeArrowheads="1"/>
            </p:cNvSpPr>
            <p:nvPr/>
          </p:nvSpPr>
          <p:spPr bwMode="auto">
            <a:xfrm flipH="1">
              <a:off x="1245455" y="6531967"/>
              <a:ext cx="21911" cy="4197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630" name="Rectangle 280"/>
            <p:cNvSpPr>
              <a:spLocks noChangeArrowheads="1"/>
            </p:cNvSpPr>
            <p:nvPr/>
          </p:nvSpPr>
          <p:spPr bwMode="auto">
            <a:xfrm flipH="1">
              <a:off x="1245455" y="5999937"/>
              <a:ext cx="70979" cy="41353"/>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800"/>
            </a:p>
          </p:txBody>
        </p:sp>
        <p:sp>
          <p:nvSpPr>
            <p:cNvPr id="17" name="Freeform 70"/>
            <p:cNvSpPr>
              <a:spLocks/>
            </p:cNvSpPr>
            <p:nvPr/>
          </p:nvSpPr>
          <p:spPr bwMode="auto">
            <a:xfrm flipH="1">
              <a:off x="-15186" y="6533998"/>
              <a:ext cx="2383298" cy="428324"/>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aphicFrame>
        <p:nvGraphicFramePr>
          <p:cNvPr id="5" name="Object 4" hidden="1"/>
          <p:cNvGraphicFramePr>
            <a:graphicFrameLocks noChangeAspect="1"/>
          </p:cNvGraphicFramePr>
          <p:nvPr>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35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603504" y="1545465"/>
            <a:ext cx="11226196" cy="4663068"/>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dirty="0"/>
          </a:p>
        </p:txBody>
      </p:sp>
      <p:sp>
        <p:nvSpPr>
          <p:cNvPr id="463" name="AutoShape 3"/>
          <p:cNvSpPr>
            <a:spLocks noChangeAspect="1" noChangeArrowheads="1" noTextEdit="1"/>
          </p:cNvSpPr>
          <p:nvPr/>
        </p:nvSpPr>
        <p:spPr bwMode="auto">
          <a:xfrm flipH="1">
            <a:off x="67118" y="4454749"/>
            <a:ext cx="2729899" cy="889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solidFill>
                <a:srgbClr val="000000"/>
              </a:solidFill>
            </a:endParaRPr>
          </a:p>
        </p:txBody>
      </p:sp>
    </p:spTree>
    <p:extLst>
      <p:ext uri="{BB962C8B-B14F-4D97-AF65-F5344CB8AC3E}">
        <p14:creationId xmlns:p14="http://schemas.microsoft.com/office/powerpoint/2010/main" val="19485942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Blank">
    <p:bg>
      <p:bgPr>
        <a:solidFill>
          <a:srgbClr val="0078D7"/>
        </a:solidFill>
        <a:effectLst/>
      </p:bgPr>
    </p:bg>
    <p:spTree>
      <p:nvGrpSpPr>
        <p:cNvPr id="1" name=""/>
        <p:cNvGrpSpPr/>
        <p:nvPr/>
      </p:nvGrpSpPr>
      <p:grpSpPr>
        <a:xfrm>
          <a:off x="0" y="0"/>
          <a:ext cx="0" cy="0"/>
          <a:chOff x="0" y="0"/>
          <a:chExt cx="0" cy="0"/>
        </a:xfrm>
      </p:grpSpPr>
      <p:sp>
        <p:nvSpPr>
          <p:cNvPr id="3" name="Rectangle 2"/>
          <p:cNvSpPr/>
          <p:nvPr userDrawn="1"/>
        </p:nvSpPr>
        <p:spPr>
          <a:xfrm>
            <a:off x="11607744" y="6665829"/>
            <a:ext cx="777022" cy="235427"/>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78D7">
                    <a:lumMod val="20000"/>
                    <a:lumOff val="80000"/>
                  </a:srgbClr>
                </a:solidFill>
                <a:effectLst/>
                <a:uLnTx/>
                <a:uFillTx/>
                <a:latin typeface="Segoe UI Light"/>
                <a:ea typeface="Calibri" panose="020F0502020204030204" pitchFamily="34" charset="0"/>
                <a:cs typeface="Times New Roman" panose="02020603050405020304" pitchFamily="18" charset="0"/>
              </a:rPr>
              <a:t>#AzureTour</a:t>
            </a:r>
            <a:endParaRPr kumimoji="0" lang="en-US" sz="900" b="0" i="0" u="none" strike="noStrike" kern="1200" cap="none" spc="0" normalizeH="0" baseline="0" noProof="0" dirty="0">
              <a:ln>
                <a:noFill/>
              </a:ln>
              <a:solidFill>
                <a:srgbClr val="0078D7">
                  <a:lumMod val="20000"/>
                  <a:lumOff val="80000"/>
                </a:srgbClr>
              </a:solidFill>
              <a:effectLst/>
              <a:uLnTx/>
              <a:uFillTx/>
              <a:latin typeface="Segoe UI Light"/>
              <a:ea typeface="+mn-ea"/>
              <a:cs typeface="+mn-cs"/>
            </a:endParaRPr>
          </a:p>
        </p:txBody>
      </p:sp>
    </p:spTree>
    <p:extLst>
      <p:ext uri="{BB962C8B-B14F-4D97-AF65-F5344CB8AC3E}">
        <p14:creationId xmlns:p14="http://schemas.microsoft.com/office/powerpoint/2010/main" val="48316461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defTabSz="932597">
              <a:defRPr/>
            </a:pPr>
            <a:fld id="{00F4083B-FC8D-42CE-A45D-18496578E738}" type="datetimeFigureOut">
              <a:rPr lang="en-US" sz="1224" smtClean="0">
                <a:solidFill>
                  <a:prstClr val="black">
                    <a:tint val="75000"/>
                  </a:prstClr>
                </a:solidFill>
                <a:latin typeface="Calibri" panose="020F0502020204030204"/>
              </a:rPr>
              <a:pPr defTabSz="932597">
                <a:defRPr/>
              </a:pPr>
              <a:t>1/19/2017</a:t>
            </a:fld>
            <a:endParaRPr lang="en-US" sz="1224" dirty="0">
              <a:solidFill>
                <a:prstClr val="black">
                  <a:tint val="75000"/>
                </a:prstClr>
              </a:solidFill>
              <a:latin typeface="Calibri" panose="020F0502020204030204"/>
            </a:endParaRPr>
          </a:p>
        </p:txBody>
      </p:sp>
      <p:sp>
        <p:nvSpPr>
          <p:cNvPr id="8" name="Footer Placeholder 7"/>
          <p:cNvSpPr>
            <a:spLocks noGrp="1"/>
          </p:cNvSpPr>
          <p:nvPr>
            <p:ph type="ftr" sz="quarter" idx="11"/>
          </p:nvPr>
        </p:nvSpPr>
        <p:spPr/>
        <p:txBody>
          <a:bodyPr/>
          <a:lstStyle/>
          <a:p>
            <a:pPr algn="ctr" defTabSz="932597">
              <a:defRPr/>
            </a:pPr>
            <a:endParaRPr lang="en-US" sz="1224" dirty="0">
              <a:solidFill>
                <a:prstClr val="black">
                  <a:tint val="75000"/>
                </a:prstClr>
              </a:solidFill>
              <a:latin typeface="Calibri" panose="020F0502020204030204"/>
            </a:endParaRPr>
          </a:p>
        </p:txBody>
      </p:sp>
      <p:sp>
        <p:nvSpPr>
          <p:cNvPr id="9" name="Slide Number Placeholder 8"/>
          <p:cNvSpPr>
            <a:spLocks noGrp="1"/>
          </p:cNvSpPr>
          <p:nvPr>
            <p:ph type="sldNum" sz="quarter" idx="12"/>
          </p:nvPr>
        </p:nvSpPr>
        <p:spPr/>
        <p:txBody>
          <a:bodyPr/>
          <a:lstStyle/>
          <a:p>
            <a:pPr defTabSz="932597">
              <a:defRPr/>
            </a:pPr>
            <a:fld id="{FC3B5659-39EC-4717-8338-27D524F708C4}" type="slidenum">
              <a:rPr lang="en-US" sz="1224" smtClean="0">
                <a:solidFill>
                  <a:prstClr val="black">
                    <a:tint val="75000"/>
                  </a:prstClr>
                </a:solidFill>
                <a:latin typeface="Calibri" panose="020F0502020204030204"/>
              </a:rPr>
              <a:pPr defTabSz="932597">
                <a:defRPr/>
              </a:pPr>
              <a:t>‹#›</a:t>
            </a:fld>
            <a:endParaRPr lang="en-US" sz="1224" dirty="0">
              <a:solidFill>
                <a:prstClr val="black">
                  <a:tint val="75000"/>
                </a:prstClr>
              </a:solidFill>
              <a:latin typeface="Calibri" panose="020F0502020204030204"/>
            </a:endParaRPr>
          </a:p>
        </p:txBody>
      </p:sp>
    </p:spTree>
    <p:extLst>
      <p:ext uri="{BB962C8B-B14F-4D97-AF65-F5344CB8AC3E}">
        <p14:creationId xmlns:p14="http://schemas.microsoft.com/office/powerpoint/2010/main" val="40443047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431" y="1"/>
            <a:ext cx="12461176" cy="7012307"/>
          </a:xfrm>
          <a:prstGeom prst="rect">
            <a:avLst/>
          </a:prstGeom>
        </p:spPr>
      </p:pic>
      <p:pic>
        <p:nvPicPr>
          <p:cNvPr id="31" name="Picture 3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873010" y="443333"/>
            <a:ext cx="2133131" cy="458258"/>
          </a:xfrm>
          <a:prstGeom prst="rect">
            <a:avLst/>
          </a:prstGeom>
        </p:spPr>
      </p:pic>
      <p:sp>
        <p:nvSpPr>
          <p:cNvPr id="13" name="Rectangle 12"/>
          <p:cNvSpPr/>
          <p:nvPr userDrawn="1"/>
        </p:nvSpPr>
        <p:spPr bwMode="gray">
          <a:xfrm>
            <a:off x="6538477" y="1436209"/>
            <a:ext cx="5447176" cy="3030961"/>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538477" y="1441921"/>
            <a:ext cx="5439287" cy="2129073"/>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538477" y="3564384"/>
            <a:ext cx="5447176" cy="894625"/>
          </a:xfrm>
        </p:spPr>
        <p:txBody>
          <a:bodyPr lIns="393192" bIns="393192" anchor="b" anchorCtr="0"/>
          <a:lstStyle>
            <a:lvl1pPr marL="0" indent="0">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1024273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atacenter titl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866" y="0"/>
            <a:ext cx="12443000" cy="7032333"/>
          </a:xfrm>
          <a:prstGeom prst="rect">
            <a:avLst/>
          </a:prstGeom>
        </p:spPr>
      </p:pic>
      <p:sp>
        <p:nvSpPr>
          <p:cNvPr id="27" name="Rectangle 26"/>
          <p:cNvSpPr/>
          <p:nvPr userDrawn="1"/>
        </p:nvSpPr>
        <p:spPr>
          <a:xfrm>
            <a:off x="1" y="0"/>
            <a:ext cx="12436475" cy="7133768"/>
          </a:xfrm>
          <a:prstGeom prst="rect">
            <a:avLst/>
          </a:prstGeom>
          <a:gradFill>
            <a:gsLst>
              <a:gs pos="64000">
                <a:schemeClr val="bg1">
                  <a:alpha val="0"/>
                </a:schemeClr>
              </a:gs>
              <a:gs pos="100000">
                <a:schemeClr val="bg1">
                  <a:alpha val="60000"/>
                  <a:lumMod val="0"/>
                  <a:lumOff val="10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3" name="Rectangle 22"/>
          <p:cNvSpPr/>
          <p:nvPr userDrawn="1"/>
        </p:nvSpPr>
        <p:spPr bwMode="gray">
          <a:xfrm>
            <a:off x="6538477" y="1436209"/>
            <a:ext cx="5447176" cy="3030961"/>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538477" y="1441920"/>
            <a:ext cx="5439287" cy="2137045"/>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538477" y="3564384"/>
            <a:ext cx="5447176" cy="894625"/>
          </a:xfrm>
        </p:spPr>
        <p:txBody>
          <a:bodyPr lIns="393192" bIns="393192" anchor="b" anchorCtr="0"/>
          <a:lstStyle>
            <a:lvl1pPr marL="0" indent="0">
              <a:buNone/>
              <a:defRPr sz="2856">
                <a:solidFill>
                  <a:schemeClr val="bg1"/>
                </a:solidFill>
              </a:defRPr>
            </a:lvl1pPr>
          </a:lstStyle>
          <a:p>
            <a:pPr lvl="0"/>
            <a:r>
              <a:rPr lang="en-US" dirty="0"/>
              <a:t>Subtitl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873010" y="443333"/>
            <a:ext cx="2133131" cy="458258"/>
          </a:xfrm>
          <a:prstGeom prst="rect">
            <a:avLst/>
          </a:prstGeom>
        </p:spPr>
      </p:pic>
    </p:spTree>
    <p:extLst>
      <p:ext uri="{BB962C8B-B14F-4D97-AF65-F5344CB8AC3E}">
        <p14:creationId xmlns:p14="http://schemas.microsoft.com/office/powerpoint/2010/main" val="1801278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402094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305168298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2"/>
                </a:solidFill>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115492201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3"/>
                </a:solidFill>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19408759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4"/>
                </a:solidFill>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153274576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5"/>
                </a:solidFill>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62731441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420820051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2"/>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2979515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slideLayout" Target="../slideLayouts/slideLayout242.xml"/><Relationship Id="rId18" Type="http://schemas.openxmlformats.org/officeDocument/2006/relationships/slideLayout" Target="../slideLayouts/slideLayout247.xml"/><Relationship Id="rId3" Type="http://schemas.openxmlformats.org/officeDocument/2006/relationships/slideLayout" Target="../slideLayouts/slideLayout232.xml"/><Relationship Id="rId21" Type="http://schemas.openxmlformats.org/officeDocument/2006/relationships/theme" Target="../theme/theme10.xml"/><Relationship Id="rId7" Type="http://schemas.openxmlformats.org/officeDocument/2006/relationships/slideLayout" Target="../slideLayouts/slideLayout236.xml"/><Relationship Id="rId12" Type="http://schemas.openxmlformats.org/officeDocument/2006/relationships/slideLayout" Target="../slideLayouts/slideLayout241.xml"/><Relationship Id="rId17" Type="http://schemas.openxmlformats.org/officeDocument/2006/relationships/slideLayout" Target="../slideLayouts/slideLayout246.xml"/><Relationship Id="rId2" Type="http://schemas.openxmlformats.org/officeDocument/2006/relationships/slideLayout" Target="../slideLayouts/slideLayout231.xml"/><Relationship Id="rId16" Type="http://schemas.openxmlformats.org/officeDocument/2006/relationships/slideLayout" Target="../slideLayouts/slideLayout245.xml"/><Relationship Id="rId20" Type="http://schemas.openxmlformats.org/officeDocument/2006/relationships/slideLayout" Target="../slideLayouts/slideLayout249.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5" Type="http://schemas.openxmlformats.org/officeDocument/2006/relationships/slideLayout" Target="../slideLayouts/slideLayout234.xml"/><Relationship Id="rId15" Type="http://schemas.openxmlformats.org/officeDocument/2006/relationships/slideLayout" Target="../slideLayouts/slideLayout244.xml"/><Relationship Id="rId10" Type="http://schemas.openxmlformats.org/officeDocument/2006/relationships/slideLayout" Target="../slideLayouts/slideLayout239.xml"/><Relationship Id="rId19" Type="http://schemas.openxmlformats.org/officeDocument/2006/relationships/slideLayout" Target="../slideLayouts/slideLayout248.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252.xml"/><Relationship Id="rId2" Type="http://schemas.openxmlformats.org/officeDocument/2006/relationships/slideLayout" Target="../slideLayouts/slideLayout251.xml"/><Relationship Id="rId1" Type="http://schemas.openxmlformats.org/officeDocument/2006/relationships/slideLayout" Target="../slideLayouts/slideLayout250.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255.xml"/><Relationship Id="rId2" Type="http://schemas.openxmlformats.org/officeDocument/2006/relationships/slideLayout" Target="../slideLayouts/slideLayout254.xml"/><Relationship Id="rId1" Type="http://schemas.openxmlformats.org/officeDocument/2006/relationships/slideLayout" Target="../slideLayouts/slideLayout253.xml"/><Relationship Id="rId6" Type="http://schemas.openxmlformats.org/officeDocument/2006/relationships/theme" Target="../theme/theme12.xml"/><Relationship Id="rId5" Type="http://schemas.openxmlformats.org/officeDocument/2006/relationships/slideLayout" Target="../slideLayouts/slideLayout257.xml"/><Relationship Id="rId4" Type="http://schemas.openxmlformats.org/officeDocument/2006/relationships/slideLayout" Target="../slideLayouts/slideLayout25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65.xml"/><Relationship Id="rId13" Type="http://schemas.openxmlformats.org/officeDocument/2006/relationships/slideLayout" Target="../slideLayouts/slideLayout270.xml"/><Relationship Id="rId18" Type="http://schemas.openxmlformats.org/officeDocument/2006/relationships/slideLayout" Target="../slideLayouts/slideLayout275.xml"/><Relationship Id="rId26" Type="http://schemas.openxmlformats.org/officeDocument/2006/relationships/slideLayout" Target="../slideLayouts/slideLayout283.xml"/><Relationship Id="rId39" Type="http://schemas.openxmlformats.org/officeDocument/2006/relationships/slideLayout" Target="../slideLayouts/slideLayout296.xml"/><Relationship Id="rId3" Type="http://schemas.openxmlformats.org/officeDocument/2006/relationships/slideLayout" Target="../slideLayouts/slideLayout260.xml"/><Relationship Id="rId21" Type="http://schemas.openxmlformats.org/officeDocument/2006/relationships/slideLayout" Target="../slideLayouts/slideLayout278.xml"/><Relationship Id="rId34" Type="http://schemas.openxmlformats.org/officeDocument/2006/relationships/slideLayout" Target="../slideLayouts/slideLayout291.xml"/><Relationship Id="rId42" Type="http://schemas.openxmlformats.org/officeDocument/2006/relationships/slideLayout" Target="../slideLayouts/slideLayout299.xml"/><Relationship Id="rId7" Type="http://schemas.openxmlformats.org/officeDocument/2006/relationships/slideLayout" Target="../slideLayouts/slideLayout264.xml"/><Relationship Id="rId12" Type="http://schemas.openxmlformats.org/officeDocument/2006/relationships/slideLayout" Target="../slideLayouts/slideLayout269.xml"/><Relationship Id="rId17" Type="http://schemas.openxmlformats.org/officeDocument/2006/relationships/slideLayout" Target="../slideLayouts/slideLayout274.xml"/><Relationship Id="rId25" Type="http://schemas.openxmlformats.org/officeDocument/2006/relationships/slideLayout" Target="../slideLayouts/slideLayout282.xml"/><Relationship Id="rId33" Type="http://schemas.openxmlformats.org/officeDocument/2006/relationships/slideLayout" Target="../slideLayouts/slideLayout290.xml"/><Relationship Id="rId38" Type="http://schemas.openxmlformats.org/officeDocument/2006/relationships/slideLayout" Target="../slideLayouts/slideLayout295.xml"/><Relationship Id="rId2" Type="http://schemas.openxmlformats.org/officeDocument/2006/relationships/slideLayout" Target="../slideLayouts/slideLayout259.xml"/><Relationship Id="rId16" Type="http://schemas.openxmlformats.org/officeDocument/2006/relationships/slideLayout" Target="../slideLayouts/slideLayout273.xml"/><Relationship Id="rId20" Type="http://schemas.openxmlformats.org/officeDocument/2006/relationships/slideLayout" Target="../slideLayouts/slideLayout277.xml"/><Relationship Id="rId29" Type="http://schemas.openxmlformats.org/officeDocument/2006/relationships/slideLayout" Target="../slideLayouts/slideLayout286.xml"/><Relationship Id="rId41" Type="http://schemas.openxmlformats.org/officeDocument/2006/relationships/slideLayout" Target="../slideLayouts/slideLayout298.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24" Type="http://schemas.openxmlformats.org/officeDocument/2006/relationships/slideLayout" Target="../slideLayouts/slideLayout281.xml"/><Relationship Id="rId32" Type="http://schemas.openxmlformats.org/officeDocument/2006/relationships/slideLayout" Target="../slideLayouts/slideLayout289.xml"/><Relationship Id="rId37" Type="http://schemas.openxmlformats.org/officeDocument/2006/relationships/slideLayout" Target="../slideLayouts/slideLayout294.xml"/><Relationship Id="rId40" Type="http://schemas.openxmlformats.org/officeDocument/2006/relationships/slideLayout" Target="../slideLayouts/slideLayout297.xml"/><Relationship Id="rId5" Type="http://schemas.openxmlformats.org/officeDocument/2006/relationships/slideLayout" Target="../slideLayouts/slideLayout262.xml"/><Relationship Id="rId15" Type="http://schemas.openxmlformats.org/officeDocument/2006/relationships/slideLayout" Target="../slideLayouts/slideLayout272.xml"/><Relationship Id="rId23" Type="http://schemas.openxmlformats.org/officeDocument/2006/relationships/slideLayout" Target="../slideLayouts/slideLayout280.xml"/><Relationship Id="rId28" Type="http://schemas.openxmlformats.org/officeDocument/2006/relationships/slideLayout" Target="../slideLayouts/slideLayout285.xml"/><Relationship Id="rId36" Type="http://schemas.openxmlformats.org/officeDocument/2006/relationships/slideLayout" Target="../slideLayouts/slideLayout293.xml"/><Relationship Id="rId10" Type="http://schemas.openxmlformats.org/officeDocument/2006/relationships/slideLayout" Target="../slideLayouts/slideLayout267.xml"/><Relationship Id="rId19" Type="http://schemas.openxmlformats.org/officeDocument/2006/relationships/slideLayout" Target="../slideLayouts/slideLayout276.xml"/><Relationship Id="rId31" Type="http://schemas.openxmlformats.org/officeDocument/2006/relationships/slideLayout" Target="../slideLayouts/slideLayout288.xml"/><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slideLayout" Target="../slideLayouts/slideLayout271.xml"/><Relationship Id="rId22" Type="http://schemas.openxmlformats.org/officeDocument/2006/relationships/slideLayout" Target="../slideLayouts/slideLayout279.xml"/><Relationship Id="rId27" Type="http://schemas.openxmlformats.org/officeDocument/2006/relationships/slideLayout" Target="../slideLayouts/slideLayout284.xml"/><Relationship Id="rId30" Type="http://schemas.openxmlformats.org/officeDocument/2006/relationships/slideLayout" Target="../slideLayouts/slideLayout287.xml"/><Relationship Id="rId35" Type="http://schemas.openxmlformats.org/officeDocument/2006/relationships/slideLayout" Target="../slideLayouts/slideLayout292.xml"/><Relationship Id="rId43"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7.xml"/><Relationship Id="rId13" Type="http://schemas.openxmlformats.org/officeDocument/2006/relationships/slideLayout" Target="../slideLayouts/slideLayout312.xml"/><Relationship Id="rId18" Type="http://schemas.openxmlformats.org/officeDocument/2006/relationships/slideLayout" Target="../slideLayouts/slideLayout317.xml"/><Relationship Id="rId3" Type="http://schemas.openxmlformats.org/officeDocument/2006/relationships/slideLayout" Target="../slideLayouts/slideLayout302.xml"/><Relationship Id="rId7" Type="http://schemas.openxmlformats.org/officeDocument/2006/relationships/slideLayout" Target="../slideLayouts/slideLayout306.xml"/><Relationship Id="rId12" Type="http://schemas.openxmlformats.org/officeDocument/2006/relationships/slideLayout" Target="../slideLayouts/slideLayout311.xml"/><Relationship Id="rId17" Type="http://schemas.openxmlformats.org/officeDocument/2006/relationships/slideLayout" Target="../slideLayouts/slideLayout316.xml"/><Relationship Id="rId2" Type="http://schemas.openxmlformats.org/officeDocument/2006/relationships/slideLayout" Target="../slideLayouts/slideLayout301.xml"/><Relationship Id="rId16" Type="http://schemas.openxmlformats.org/officeDocument/2006/relationships/slideLayout" Target="../slideLayouts/slideLayout315.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slideLayout" Target="../slideLayouts/slideLayout310.xml"/><Relationship Id="rId5" Type="http://schemas.openxmlformats.org/officeDocument/2006/relationships/slideLayout" Target="../slideLayouts/slideLayout304.xml"/><Relationship Id="rId15" Type="http://schemas.openxmlformats.org/officeDocument/2006/relationships/slideLayout" Target="../slideLayouts/slideLayout314.xml"/><Relationship Id="rId10" Type="http://schemas.openxmlformats.org/officeDocument/2006/relationships/slideLayout" Target="../slideLayouts/slideLayout309.xml"/><Relationship Id="rId19" Type="http://schemas.openxmlformats.org/officeDocument/2006/relationships/theme" Target="../theme/theme14.xml"/><Relationship Id="rId4" Type="http://schemas.openxmlformats.org/officeDocument/2006/relationships/slideLayout" Target="../slideLayouts/slideLayout303.xml"/><Relationship Id="rId9" Type="http://schemas.openxmlformats.org/officeDocument/2006/relationships/slideLayout" Target="../slideLayouts/slideLayout308.xml"/><Relationship Id="rId14" Type="http://schemas.openxmlformats.org/officeDocument/2006/relationships/slideLayout" Target="../slideLayouts/slideLayout31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25.xml"/><Relationship Id="rId13" Type="http://schemas.openxmlformats.org/officeDocument/2006/relationships/theme" Target="../theme/theme15.xml"/><Relationship Id="rId3" Type="http://schemas.openxmlformats.org/officeDocument/2006/relationships/slideLayout" Target="../slideLayouts/slideLayout320.xml"/><Relationship Id="rId7" Type="http://schemas.openxmlformats.org/officeDocument/2006/relationships/slideLayout" Target="../slideLayouts/slideLayout324.xml"/><Relationship Id="rId12" Type="http://schemas.openxmlformats.org/officeDocument/2006/relationships/slideLayout" Target="../slideLayouts/slideLayout329.xml"/><Relationship Id="rId2" Type="http://schemas.openxmlformats.org/officeDocument/2006/relationships/slideLayout" Target="../slideLayouts/slideLayout319.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slideLayout" Target="../slideLayouts/slideLayout328.xml"/><Relationship Id="rId5" Type="http://schemas.openxmlformats.org/officeDocument/2006/relationships/slideLayout" Target="../slideLayouts/slideLayout322.xml"/><Relationship Id="rId15" Type="http://schemas.openxmlformats.org/officeDocument/2006/relationships/image" Target="../media/image77.png"/><Relationship Id="rId10" Type="http://schemas.openxmlformats.org/officeDocument/2006/relationships/slideLayout" Target="../slideLayouts/slideLayout327.xml"/><Relationship Id="rId4" Type="http://schemas.openxmlformats.org/officeDocument/2006/relationships/slideLayout" Target="../slideLayouts/slideLayout321.xml"/><Relationship Id="rId9" Type="http://schemas.openxmlformats.org/officeDocument/2006/relationships/slideLayout" Target="../slideLayouts/slideLayout326.xml"/><Relationship Id="rId14" Type="http://schemas.openxmlformats.org/officeDocument/2006/relationships/image" Target="../media/image76.png"/></Relationships>
</file>

<file path=ppt/slideMasters/_rels/slideMaster16.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theme" Target="../theme/theme16.xml"/><Relationship Id="rId1" Type="http://schemas.openxmlformats.org/officeDocument/2006/relationships/slideLayout" Target="../slideLayouts/slideLayout330.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8.xml"/><Relationship Id="rId13" Type="http://schemas.openxmlformats.org/officeDocument/2006/relationships/slideLayout" Target="../slideLayouts/slideLayout343.xml"/><Relationship Id="rId3" Type="http://schemas.openxmlformats.org/officeDocument/2006/relationships/slideLayout" Target="../slideLayouts/slideLayout333.xml"/><Relationship Id="rId7" Type="http://schemas.openxmlformats.org/officeDocument/2006/relationships/slideLayout" Target="../slideLayouts/slideLayout337.xml"/><Relationship Id="rId12" Type="http://schemas.openxmlformats.org/officeDocument/2006/relationships/slideLayout" Target="../slideLayouts/slideLayout342.xml"/><Relationship Id="rId17" Type="http://schemas.openxmlformats.org/officeDocument/2006/relationships/image" Target="../media/image80.jpeg"/><Relationship Id="rId2" Type="http://schemas.openxmlformats.org/officeDocument/2006/relationships/slideLayout" Target="../slideLayouts/slideLayout332.xml"/><Relationship Id="rId16" Type="http://schemas.openxmlformats.org/officeDocument/2006/relationships/theme" Target="../theme/theme17.xml"/><Relationship Id="rId1" Type="http://schemas.openxmlformats.org/officeDocument/2006/relationships/slideLayout" Target="../slideLayouts/slideLayout331.xml"/><Relationship Id="rId6" Type="http://schemas.openxmlformats.org/officeDocument/2006/relationships/slideLayout" Target="../slideLayouts/slideLayout336.xml"/><Relationship Id="rId11" Type="http://schemas.openxmlformats.org/officeDocument/2006/relationships/slideLayout" Target="../slideLayouts/slideLayout341.xml"/><Relationship Id="rId5" Type="http://schemas.openxmlformats.org/officeDocument/2006/relationships/slideLayout" Target="../slideLayouts/slideLayout335.xml"/><Relationship Id="rId15" Type="http://schemas.openxmlformats.org/officeDocument/2006/relationships/slideLayout" Target="../slideLayouts/slideLayout345.xml"/><Relationship Id="rId10" Type="http://schemas.openxmlformats.org/officeDocument/2006/relationships/slideLayout" Target="../slideLayouts/slideLayout340.xml"/><Relationship Id="rId4" Type="http://schemas.openxmlformats.org/officeDocument/2006/relationships/slideLayout" Target="../slideLayouts/slideLayout334.xml"/><Relationship Id="rId9" Type="http://schemas.openxmlformats.org/officeDocument/2006/relationships/slideLayout" Target="../slideLayouts/slideLayout339.xml"/><Relationship Id="rId14" Type="http://schemas.openxmlformats.org/officeDocument/2006/relationships/slideLayout" Target="../slideLayouts/slideLayout34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53.xml"/><Relationship Id="rId13" Type="http://schemas.openxmlformats.org/officeDocument/2006/relationships/slideLayout" Target="../slideLayouts/slideLayout358.xml"/><Relationship Id="rId3" Type="http://schemas.openxmlformats.org/officeDocument/2006/relationships/slideLayout" Target="../slideLayouts/slideLayout348.xml"/><Relationship Id="rId7" Type="http://schemas.openxmlformats.org/officeDocument/2006/relationships/slideLayout" Target="../slideLayouts/slideLayout352.xml"/><Relationship Id="rId12" Type="http://schemas.openxmlformats.org/officeDocument/2006/relationships/slideLayout" Target="../slideLayouts/slideLayout357.xml"/><Relationship Id="rId17" Type="http://schemas.openxmlformats.org/officeDocument/2006/relationships/image" Target="../media/image82.jpeg"/><Relationship Id="rId2" Type="http://schemas.openxmlformats.org/officeDocument/2006/relationships/slideLayout" Target="../slideLayouts/slideLayout347.xml"/><Relationship Id="rId16" Type="http://schemas.openxmlformats.org/officeDocument/2006/relationships/theme" Target="../theme/theme18.xml"/><Relationship Id="rId1" Type="http://schemas.openxmlformats.org/officeDocument/2006/relationships/slideLayout" Target="../slideLayouts/slideLayout346.xml"/><Relationship Id="rId6" Type="http://schemas.openxmlformats.org/officeDocument/2006/relationships/slideLayout" Target="../slideLayouts/slideLayout351.xml"/><Relationship Id="rId11" Type="http://schemas.openxmlformats.org/officeDocument/2006/relationships/slideLayout" Target="../slideLayouts/slideLayout356.xml"/><Relationship Id="rId5" Type="http://schemas.openxmlformats.org/officeDocument/2006/relationships/slideLayout" Target="../slideLayouts/slideLayout350.xml"/><Relationship Id="rId15" Type="http://schemas.openxmlformats.org/officeDocument/2006/relationships/slideLayout" Target="../slideLayouts/slideLayout360.xml"/><Relationship Id="rId10" Type="http://schemas.openxmlformats.org/officeDocument/2006/relationships/slideLayout" Target="../slideLayouts/slideLayout355.xml"/><Relationship Id="rId4" Type="http://schemas.openxmlformats.org/officeDocument/2006/relationships/slideLayout" Target="../slideLayouts/slideLayout349.xml"/><Relationship Id="rId9" Type="http://schemas.openxmlformats.org/officeDocument/2006/relationships/slideLayout" Target="../slideLayouts/slideLayout354.xml"/><Relationship Id="rId14" Type="http://schemas.openxmlformats.org/officeDocument/2006/relationships/slideLayout" Target="../slideLayouts/slideLayout35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slideLayout" Target="../slideLayouts/slideLayout373.xml"/><Relationship Id="rId18" Type="http://schemas.openxmlformats.org/officeDocument/2006/relationships/theme" Target="../theme/theme19.xml"/><Relationship Id="rId3" Type="http://schemas.openxmlformats.org/officeDocument/2006/relationships/slideLayout" Target="../slideLayouts/slideLayout363.xml"/><Relationship Id="rId7" Type="http://schemas.openxmlformats.org/officeDocument/2006/relationships/slideLayout" Target="../slideLayouts/slideLayout367.xml"/><Relationship Id="rId12" Type="http://schemas.openxmlformats.org/officeDocument/2006/relationships/slideLayout" Target="../slideLayouts/slideLayout372.xml"/><Relationship Id="rId17" Type="http://schemas.openxmlformats.org/officeDocument/2006/relationships/slideLayout" Target="../slideLayouts/slideLayout377.xml"/><Relationship Id="rId2" Type="http://schemas.openxmlformats.org/officeDocument/2006/relationships/slideLayout" Target="../slideLayouts/slideLayout362.xml"/><Relationship Id="rId16" Type="http://schemas.openxmlformats.org/officeDocument/2006/relationships/slideLayout" Target="../slideLayouts/slideLayout376.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slideLayout" Target="../slideLayouts/slideLayout371.xml"/><Relationship Id="rId5" Type="http://schemas.openxmlformats.org/officeDocument/2006/relationships/slideLayout" Target="../slideLayouts/slideLayout365.xml"/><Relationship Id="rId15" Type="http://schemas.openxmlformats.org/officeDocument/2006/relationships/slideLayout" Target="../slideLayouts/slideLayout375.xml"/><Relationship Id="rId10" Type="http://schemas.openxmlformats.org/officeDocument/2006/relationships/slideLayout" Target="../slideLayouts/slideLayout370.xml"/><Relationship Id="rId4" Type="http://schemas.openxmlformats.org/officeDocument/2006/relationships/slideLayout" Target="../slideLayouts/slideLayout364.xml"/><Relationship Id="rId9" Type="http://schemas.openxmlformats.org/officeDocument/2006/relationships/slideLayout" Target="../slideLayouts/slideLayout369.xml"/><Relationship Id="rId14" Type="http://schemas.openxmlformats.org/officeDocument/2006/relationships/slideLayout" Target="../slideLayouts/slideLayout37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theme" Target="../theme/theme2.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85.xml"/><Relationship Id="rId3" Type="http://schemas.openxmlformats.org/officeDocument/2006/relationships/slideLayout" Target="../slideLayouts/slideLayout380.xml"/><Relationship Id="rId7" Type="http://schemas.openxmlformats.org/officeDocument/2006/relationships/slideLayout" Target="../slideLayouts/slideLayout384.xml"/><Relationship Id="rId12" Type="http://schemas.openxmlformats.org/officeDocument/2006/relationships/image" Target="../media/image88.png"/><Relationship Id="rId2" Type="http://schemas.openxmlformats.org/officeDocument/2006/relationships/slideLayout" Target="../slideLayouts/slideLayout379.xml"/><Relationship Id="rId1" Type="http://schemas.openxmlformats.org/officeDocument/2006/relationships/slideLayout" Target="../slideLayouts/slideLayout378.xml"/><Relationship Id="rId6" Type="http://schemas.openxmlformats.org/officeDocument/2006/relationships/slideLayout" Target="../slideLayouts/slideLayout383.xml"/><Relationship Id="rId11" Type="http://schemas.openxmlformats.org/officeDocument/2006/relationships/image" Target="../media/image87.jpeg"/><Relationship Id="rId5" Type="http://schemas.openxmlformats.org/officeDocument/2006/relationships/slideLayout" Target="../slideLayouts/slideLayout382.xml"/><Relationship Id="rId10" Type="http://schemas.openxmlformats.org/officeDocument/2006/relationships/image" Target="../media/image86.jpeg"/><Relationship Id="rId4" Type="http://schemas.openxmlformats.org/officeDocument/2006/relationships/slideLayout" Target="../slideLayouts/slideLayout381.xml"/><Relationship Id="rId9" Type="http://schemas.openxmlformats.org/officeDocument/2006/relationships/theme" Target="../theme/theme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theme" Target="../theme/theme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oleObject" Target="../embeddings/oleObject1.bin"/><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tags" Target="../tags/tag1.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vmlDrawing" Target="../drawings/vmlDrawing1.v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theme" Target="../theme/theme4.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image" Target="../media/image2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9" Type="http://schemas.openxmlformats.org/officeDocument/2006/relationships/slideLayout" Target="../slideLayouts/slideLayout128.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34" Type="http://schemas.openxmlformats.org/officeDocument/2006/relationships/slideLayout" Target="../slideLayouts/slideLayout123.xml"/><Relationship Id="rId42" Type="http://schemas.openxmlformats.org/officeDocument/2006/relationships/theme" Target="../theme/theme5.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slideLayout" Target="../slideLayouts/slideLayout122.xml"/><Relationship Id="rId38" Type="http://schemas.openxmlformats.org/officeDocument/2006/relationships/slideLayout" Target="../slideLayouts/slideLayout127.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41" Type="http://schemas.openxmlformats.org/officeDocument/2006/relationships/slideLayout" Target="../slideLayouts/slideLayout130.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slideLayout" Target="../slideLayouts/slideLayout121.xml"/><Relationship Id="rId37" Type="http://schemas.openxmlformats.org/officeDocument/2006/relationships/slideLayout" Target="../slideLayouts/slideLayout126.xml"/><Relationship Id="rId40" Type="http://schemas.openxmlformats.org/officeDocument/2006/relationships/slideLayout" Target="../slideLayouts/slideLayout129.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36" Type="http://schemas.openxmlformats.org/officeDocument/2006/relationships/slideLayout" Target="../slideLayouts/slideLayout125.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 Id="rId35" Type="http://schemas.openxmlformats.org/officeDocument/2006/relationships/slideLayout" Target="../slideLayouts/slideLayout12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heme" Target="../theme/theme6.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image" Target="../media/image30.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2" Type="http://schemas.openxmlformats.org/officeDocument/2006/relationships/slideLayout" Target="../slideLayouts/slideLayout144.xml"/><Relationship Id="rId16" Type="http://schemas.openxmlformats.org/officeDocument/2006/relationships/image" Target="../media/image39.png"/><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theme" Target="../theme/theme7.xml"/><Relationship Id="rId10" Type="http://schemas.openxmlformats.org/officeDocument/2006/relationships/slideLayout" Target="../slideLayouts/slideLayout152.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slideLayout" Target="../slideLayouts/slideLayout182.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33" Type="http://schemas.openxmlformats.org/officeDocument/2006/relationships/theme" Target="../theme/theme8.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29" Type="http://schemas.openxmlformats.org/officeDocument/2006/relationships/slideLayout" Target="../slideLayouts/slideLayout185.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32" Type="http://schemas.openxmlformats.org/officeDocument/2006/relationships/slideLayout" Target="../slideLayouts/slideLayout188.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28" Type="http://schemas.openxmlformats.org/officeDocument/2006/relationships/slideLayout" Target="../slideLayouts/slideLayout184.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31" Type="http://schemas.openxmlformats.org/officeDocument/2006/relationships/slideLayout" Target="../slideLayouts/slideLayout187.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slideLayout" Target="../slideLayouts/slideLayout183.xml"/><Relationship Id="rId30" Type="http://schemas.openxmlformats.org/officeDocument/2006/relationships/slideLayout" Target="../slideLayouts/slideLayout18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slideLayout" Target="../slideLayouts/slideLayout214.xml"/><Relationship Id="rId39" Type="http://schemas.openxmlformats.org/officeDocument/2006/relationships/slideLayout" Target="../slideLayouts/slideLayout227.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34" Type="http://schemas.openxmlformats.org/officeDocument/2006/relationships/slideLayout" Target="../slideLayouts/slideLayout222.xml"/><Relationship Id="rId42" Type="http://schemas.openxmlformats.org/officeDocument/2006/relationships/theme" Target="../theme/theme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33" Type="http://schemas.openxmlformats.org/officeDocument/2006/relationships/slideLayout" Target="../slideLayouts/slideLayout221.xml"/><Relationship Id="rId38" Type="http://schemas.openxmlformats.org/officeDocument/2006/relationships/slideLayout" Target="../slideLayouts/slideLayout226.xml"/><Relationship Id="rId46" Type="http://schemas.openxmlformats.org/officeDocument/2006/relationships/image" Target="../media/image22.emf"/><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29" Type="http://schemas.openxmlformats.org/officeDocument/2006/relationships/slideLayout" Target="../slideLayouts/slideLayout217.xml"/><Relationship Id="rId41" Type="http://schemas.openxmlformats.org/officeDocument/2006/relationships/slideLayout" Target="../slideLayouts/slideLayout229.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32" Type="http://schemas.openxmlformats.org/officeDocument/2006/relationships/slideLayout" Target="../slideLayouts/slideLayout220.xml"/><Relationship Id="rId37" Type="http://schemas.openxmlformats.org/officeDocument/2006/relationships/slideLayout" Target="../slideLayouts/slideLayout225.xml"/><Relationship Id="rId40" Type="http://schemas.openxmlformats.org/officeDocument/2006/relationships/slideLayout" Target="../slideLayouts/slideLayout228.xml"/><Relationship Id="rId45" Type="http://schemas.openxmlformats.org/officeDocument/2006/relationships/oleObject" Target="../embeddings/oleObject22.bin"/><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28" Type="http://schemas.openxmlformats.org/officeDocument/2006/relationships/slideLayout" Target="../slideLayouts/slideLayout216.xml"/><Relationship Id="rId36" Type="http://schemas.openxmlformats.org/officeDocument/2006/relationships/slideLayout" Target="../slideLayouts/slideLayout224.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31" Type="http://schemas.openxmlformats.org/officeDocument/2006/relationships/slideLayout" Target="../slideLayouts/slideLayout219.xml"/><Relationship Id="rId44" Type="http://schemas.openxmlformats.org/officeDocument/2006/relationships/tags" Target="../tags/tag22.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slideLayout" Target="../slideLayouts/slideLayout215.xml"/><Relationship Id="rId30" Type="http://schemas.openxmlformats.org/officeDocument/2006/relationships/slideLayout" Target="../slideLayouts/slideLayout218.xml"/><Relationship Id="rId35" Type="http://schemas.openxmlformats.org/officeDocument/2006/relationships/slideLayout" Target="../slideLayouts/slideLayout223.xml"/><Relationship Id="rId43" Type="http://schemas.openxmlformats.org/officeDocument/2006/relationships/vmlDrawing" Target="../drawings/vmlDrawing22.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3" name="Group 12"/>
          <p:cNvGrpSpPr/>
          <p:nvPr userDrawn="1"/>
        </p:nvGrpSpPr>
        <p:grpSpPr>
          <a:xfrm rot="5400000">
            <a:off x="11582129" y="1045295"/>
            <a:ext cx="2703053" cy="629235"/>
            <a:chOff x="1586734" y="4543426"/>
            <a:chExt cx="2703053" cy="629235"/>
          </a:xfrm>
        </p:grpSpPr>
        <p:sp>
          <p:nvSpPr>
            <p:cNvPr id="20" name="Rectangle 19"/>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0</a:t>
              </a:r>
              <a:r>
                <a:rPr lang="en-US" sz="500" baseline="0" dirty="0">
                  <a:gradFill>
                    <a:gsLst>
                      <a:gs pos="0">
                        <a:srgbClr val="FFFFFF"/>
                      </a:gs>
                      <a:gs pos="100000">
                        <a:srgbClr val="FFFFFF"/>
                      </a:gs>
                    </a:gsLst>
                    <a:lin ang="5400000" scaled="0"/>
                  </a:gradFill>
                  <a:ea typeface="Segoe UI" pitchFamily="34" charset="0"/>
                  <a:cs typeface="Segoe UI" pitchFamily="34" charset="0"/>
                </a:rPr>
                <a:t> G:24 B:143</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userDrawn="1"/>
          </p:nvSpPr>
          <p:spPr bwMode="auto">
            <a:xfrm>
              <a:off x="3419856" y="4543426"/>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28302">
                        <a:schemeClr val="bg1"/>
                      </a:gs>
                      <a:gs pos="67000">
                        <a:schemeClr val="bg1"/>
                      </a:gs>
                    </a:gsLst>
                    <a:lin ang="5400000" scaled="1"/>
                  </a:gradFill>
                  <a:latin typeface="+mn-lt"/>
                  <a:ea typeface="Segoe UI" pitchFamily="34" charset="0"/>
                  <a:cs typeface="Segoe UI" pitchFamily="34" charset="0"/>
                </a:rPr>
                <a:t>Red</a:t>
              </a:r>
            </a:p>
            <a:p>
              <a:pPr algn="l" defTabSz="932472" fontAlgn="base">
                <a:lnSpc>
                  <a:spcPct val="100000"/>
                </a:lnSpc>
                <a:spcBef>
                  <a:spcPct val="0"/>
                </a:spcBef>
                <a:spcAft>
                  <a:spcPct val="0"/>
                </a:spcAft>
              </a:pPr>
              <a:r>
                <a:rPr lang="en-US" sz="500" dirty="0">
                  <a:gradFill>
                    <a:gsLst>
                      <a:gs pos="28302">
                        <a:schemeClr val="bg1"/>
                      </a:gs>
                      <a:gs pos="67000">
                        <a:schemeClr val="bg1"/>
                      </a:gs>
                    </a:gsLst>
                    <a:lin ang="5400000" scaled="1"/>
                  </a:gradFill>
                  <a:ea typeface="Segoe UI" pitchFamily="34" charset="0"/>
                  <a:cs typeface="Segoe UI" pitchFamily="34" charset="0"/>
                </a:rPr>
                <a:t>R:168</a:t>
              </a:r>
              <a:r>
                <a:rPr lang="en-US" sz="500" baseline="0" dirty="0">
                  <a:gradFill>
                    <a:gsLst>
                      <a:gs pos="28302">
                        <a:schemeClr val="bg1"/>
                      </a:gs>
                      <a:gs pos="67000">
                        <a:schemeClr val="bg1"/>
                      </a:gs>
                    </a:gsLst>
                    <a:lin ang="5400000" scaled="1"/>
                  </a:gradFill>
                  <a:ea typeface="Segoe UI" pitchFamily="34" charset="0"/>
                  <a:cs typeface="Segoe UI" pitchFamily="34" charset="0"/>
                </a:rPr>
                <a:t> G:0 B:0</a:t>
              </a:r>
              <a:endParaRPr lang="en-US" sz="500" dirty="0">
                <a:gradFill>
                  <a:gsLst>
                    <a:gs pos="28302">
                      <a:schemeClr val="bg1"/>
                    </a:gs>
                    <a:gs pos="67000">
                      <a:schemeClr val="bg1"/>
                    </a:gs>
                  </a:gsLst>
                  <a:lin ang="5400000" scaled="1"/>
                </a:gradFill>
                <a:ea typeface="Segoe UI" pitchFamily="34" charset="0"/>
                <a:cs typeface="Segoe UI" pitchFamily="34" charset="0"/>
              </a:endParaRPr>
            </a:p>
          </p:txBody>
        </p:sp>
        <p:sp>
          <p:nvSpPr>
            <p:cNvPr id="23" name="Rectangle 22"/>
            <p:cNvSpPr/>
            <p:nvPr userDrawn="1"/>
          </p:nvSpPr>
          <p:spPr bwMode="auto">
            <a:xfrm>
              <a:off x="1586734" y="4882895"/>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a:off x="3419857" y="4882895"/>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7547">
                        <a:schemeClr val="tx1"/>
                      </a:gs>
                      <a:gs pos="28302">
                        <a:schemeClr val="tx1"/>
                      </a:gs>
                    </a:gsLst>
                    <a:lin ang="5400000" scaled="0"/>
                  </a:gradFill>
                  <a:latin typeface="+mn-lt"/>
                  <a:ea typeface="Segoe UI" pitchFamily="34" charset="0"/>
                  <a:cs typeface="Segoe UI" pitchFamily="34" charset="0"/>
                </a:rPr>
                <a:t>Yellow</a:t>
              </a:r>
            </a:p>
            <a:p>
              <a:pPr algn="l" defTabSz="932472" fontAlgn="base">
                <a:lnSpc>
                  <a:spcPct val="100000"/>
                </a:lnSpc>
                <a:spcBef>
                  <a:spcPct val="0"/>
                </a:spcBef>
                <a:spcAft>
                  <a:spcPct val="0"/>
                </a:spcAft>
              </a:pPr>
              <a:r>
                <a:rPr lang="en-US" sz="500" dirty="0">
                  <a:gradFill>
                    <a:gsLst>
                      <a:gs pos="7547">
                        <a:schemeClr val="tx1"/>
                      </a:gs>
                      <a:gs pos="28302">
                        <a:schemeClr val="tx1"/>
                      </a:gs>
                    </a:gsLst>
                    <a:lin ang="5400000" scaled="0"/>
                  </a:gradFill>
                  <a:ea typeface="Segoe UI" pitchFamily="34" charset="0"/>
                  <a:cs typeface="Segoe UI" pitchFamily="34" charset="0"/>
                </a:rPr>
                <a:t>R:</a:t>
              </a:r>
              <a:r>
                <a:rPr lang="en-US" sz="500" baseline="0" dirty="0">
                  <a:gradFill>
                    <a:gsLst>
                      <a:gs pos="7547">
                        <a:schemeClr val="tx1"/>
                      </a:gs>
                      <a:gs pos="28302">
                        <a:schemeClr val="tx1"/>
                      </a:gs>
                    </a:gsLst>
                    <a:lin ang="5400000" scaled="0"/>
                  </a:gradFill>
                  <a:ea typeface="Segoe UI" pitchFamily="34" charset="0"/>
                  <a:cs typeface="Segoe UI" pitchFamily="34" charset="0"/>
                </a:rPr>
                <a:t>255 G:185 B:0</a:t>
              </a:r>
              <a:endParaRPr lang="en-US" sz="500" dirty="0">
                <a:gradFill>
                  <a:gsLst>
                    <a:gs pos="7547">
                      <a:schemeClr val="tx1"/>
                    </a:gs>
                    <a:gs pos="28302">
                      <a:schemeClr val="tx1"/>
                    </a:gs>
                  </a:gsLst>
                  <a:lin ang="5400000" scaled="0"/>
                </a:gradFill>
                <a:ea typeface="Segoe UI" pitchFamily="34" charset="0"/>
                <a:cs typeface="Segoe UI" pitchFamily="34" charset="0"/>
              </a:endParaRPr>
            </a:p>
          </p:txBody>
        </p:sp>
        <p:sp>
          <p:nvSpPr>
            <p:cNvPr id="25" name="Rectangle 24"/>
            <p:cNvSpPr/>
            <p:nvPr userDrawn="1"/>
          </p:nvSpPr>
          <p:spPr bwMode="auto">
            <a:xfrm>
              <a:off x="2505456" y="4882895"/>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85849">
                        <a:schemeClr val="bg1"/>
                      </a:gs>
                      <a:gs pos="62000">
                        <a:schemeClr val="bg1"/>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85849">
                        <a:schemeClr val="bg1"/>
                      </a:gs>
                      <a:gs pos="62000">
                        <a:schemeClr val="bg1"/>
                      </a:gs>
                    </a:gsLst>
                    <a:lin ang="5400000" scaled="0"/>
                  </a:gradFill>
                  <a:ea typeface="Segoe UI" pitchFamily="34" charset="0"/>
                  <a:cs typeface="Segoe UI" pitchFamily="34" charset="0"/>
                </a:rPr>
                <a:t>R:</a:t>
              </a:r>
              <a:r>
                <a:rPr lang="en-US" sz="500" baseline="0" dirty="0">
                  <a:gradFill>
                    <a:gsLst>
                      <a:gs pos="85849">
                        <a:schemeClr val="bg1"/>
                      </a:gs>
                      <a:gs pos="62000">
                        <a:schemeClr val="bg1"/>
                      </a:gs>
                    </a:gsLst>
                    <a:lin ang="5400000" scaled="0"/>
                  </a:gradFill>
                  <a:ea typeface="Segoe UI" pitchFamily="34" charset="0"/>
                  <a:cs typeface="Segoe UI" pitchFamily="34" charset="0"/>
                </a:rPr>
                <a:t>216 G:59 B:1</a:t>
              </a:r>
              <a:endParaRPr lang="en-US" sz="500" dirty="0">
                <a:gradFill>
                  <a:gsLst>
                    <a:gs pos="85849">
                      <a:schemeClr val="bg1"/>
                    </a:gs>
                    <a:gs pos="62000">
                      <a:schemeClr val="bg1"/>
                    </a:gs>
                  </a:gsLst>
                  <a:lin ang="5400000" scaled="0"/>
                </a:gradFill>
                <a:ea typeface="Segoe UI" pitchFamily="34" charset="0"/>
                <a:cs typeface="Segoe UI" pitchFamily="34" charset="0"/>
              </a:endParaRPr>
            </a:p>
          </p:txBody>
        </p:sp>
      </p:grpSp>
      <p:grpSp>
        <p:nvGrpSpPr>
          <p:cNvPr id="14" name="Group 13"/>
          <p:cNvGrpSpPr/>
          <p:nvPr userDrawn="1"/>
        </p:nvGrpSpPr>
        <p:grpSpPr>
          <a:xfrm rot="5400000">
            <a:off x="11412394" y="4270556"/>
            <a:ext cx="2703052" cy="289766"/>
            <a:chOff x="4476564" y="4543426"/>
            <a:chExt cx="2703052" cy="289766"/>
          </a:xfrm>
        </p:grpSpPr>
        <p:sp>
          <p:nvSpPr>
            <p:cNvPr id="17" name="Rectangle 16"/>
            <p:cNvSpPr/>
            <p:nvPr userDrawn="1"/>
          </p:nvSpPr>
          <p:spPr bwMode="auto">
            <a:xfrm>
              <a:off x="539528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32472" fontAlgn="base">
                <a:lnSpc>
                  <a:spcPct val="100000"/>
                </a:lnSpc>
                <a:spcBef>
                  <a:spcPct val="0"/>
                </a:spcBef>
                <a:spcAft>
                  <a:spcPct val="0"/>
                </a:spcAft>
              </a:pPr>
              <a:r>
                <a:rPr lang="en-US" sz="500" b="1" baseline="0" dirty="0">
                  <a:gradFill>
                    <a:gsLst>
                      <a:gs pos="24528">
                        <a:schemeClr val="tx1"/>
                      </a:gs>
                      <a:gs pos="55000">
                        <a:schemeClr val="tx1"/>
                      </a:gs>
                    </a:gsLst>
                    <a:lin ang="5400000" scaled="0"/>
                  </a:gradFill>
                  <a:ea typeface="Segoe UI" pitchFamily="34" charset="0"/>
                  <a:cs typeface="Segoe UI" pitchFamily="34" charset="0"/>
                </a:rPr>
                <a:t>Light Green</a:t>
              </a:r>
            </a:p>
            <a:p>
              <a:pPr lvl="0" defTabSz="932472" fontAlgn="base">
                <a:lnSpc>
                  <a:spcPct val="100000"/>
                </a:lnSpc>
                <a:spcBef>
                  <a:spcPct val="0"/>
                </a:spcBef>
                <a:spcAft>
                  <a:spcPct val="0"/>
                </a:spcAft>
              </a:pPr>
              <a:r>
                <a:rPr lang="en-US" sz="500" b="1" baseline="0" dirty="0">
                  <a:gradFill>
                    <a:gsLst>
                      <a:gs pos="24528">
                        <a:schemeClr val="tx1"/>
                      </a:gs>
                      <a:gs pos="55000">
                        <a:schemeClr val="tx1"/>
                      </a:gs>
                    </a:gsLst>
                    <a:lin ang="5400000" scaled="0"/>
                  </a:gradFill>
                  <a:ea typeface="Segoe UI" pitchFamily="34" charset="0"/>
                  <a:cs typeface="Segoe UI" pitchFamily="34" charset="0"/>
                </a:rPr>
                <a:t>R:186 G:216 B:10</a:t>
              </a:r>
            </a:p>
          </p:txBody>
        </p:sp>
        <p:sp>
          <p:nvSpPr>
            <p:cNvPr id="18" name="Rectangle 17"/>
            <p:cNvSpPr/>
            <p:nvPr userDrawn="1"/>
          </p:nvSpPr>
          <p:spPr bwMode="auto">
            <a:xfrm>
              <a:off x="6309686"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3208">
                        <a:schemeClr val="tx1"/>
                      </a:gs>
                      <a:gs pos="44000">
                        <a:schemeClr val="tx1"/>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13208">
                        <a:schemeClr val="tx1"/>
                      </a:gs>
                      <a:gs pos="44000">
                        <a:schemeClr val="tx1"/>
                      </a:gs>
                    </a:gsLst>
                    <a:lin ang="5400000" scaled="0"/>
                  </a:gradFill>
                  <a:ea typeface="Segoe UI" pitchFamily="34" charset="0"/>
                  <a:cs typeface="Segoe UI" pitchFamily="34" charset="0"/>
                </a:rPr>
                <a:t>R:0</a:t>
              </a:r>
              <a:r>
                <a:rPr lang="en-US" sz="500" baseline="0" dirty="0">
                  <a:gradFill>
                    <a:gsLst>
                      <a:gs pos="13208">
                        <a:schemeClr val="tx1"/>
                      </a:gs>
                      <a:gs pos="44000">
                        <a:schemeClr val="tx1"/>
                      </a:gs>
                    </a:gsLst>
                    <a:lin ang="5400000" scaled="0"/>
                  </a:gradFill>
                  <a:ea typeface="Segoe UI" pitchFamily="34" charset="0"/>
                  <a:cs typeface="Segoe UI" pitchFamily="34" charset="0"/>
                </a:rPr>
                <a:t> G:120 B:215</a:t>
              </a:r>
            </a:p>
          </p:txBody>
        </p:sp>
        <p:sp>
          <p:nvSpPr>
            <p:cNvPr id="19" name="Rectangle 18"/>
            <p:cNvSpPr/>
            <p:nvPr userDrawn="1"/>
          </p:nvSpPr>
          <p:spPr bwMode="auto">
            <a:xfrm>
              <a:off x="4476564" y="4543426"/>
              <a:ext cx="869930" cy="289766"/>
            </a:xfrm>
            <a:prstGeom prst="rect">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ay 7</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50</a:t>
              </a:r>
              <a:r>
                <a:rPr lang="en-US" sz="500" baseline="0" dirty="0">
                  <a:gradFill>
                    <a:gsLst>
                      <a:gs pos="2092">
                        <a:srgbClr val="F8F8F8"/>
                      </a:gs>
                      <a:gs pos="10042">
                        <a:srgbClr val="F8F8F8"/>
                      </a:gs>
                    </a:gsLst>
                    <a:lin ang="5400000" scaled="0"/>
                  </a:gradFill>
                  <a:ea typeface="Segoe UI" pitchFamily="34" charset="0"/>
                  <a:cs typeface="Segoe UI" pitchFamily="34" charset="0"/>
                </a:rPr>
                <a:t> G:150 B:15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15" name="TextBox 14"/>
          <p:cNvSpPr txBox="1"/>
          <p:nvPr userDrawn="1"/>
        </p:nvSpPr>
        <p:spPr>
          <a:xfrm rot="5400000">
            <a:off x="12988104"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6604">
                      <a:srgbClr val="515151"/>
                    </a:gs>
                    <a:gs pos="17000">
                      <a:srgbClr val="515151"/>
                    </a:gs>
                  </a:gsLst>
                  <a:lin ang="5400000" scaled="0"/>
                </a:gradFill>
              </a:rPr>
              <a:t>Main colors</a:t>
            </a:r>
          </a:p>
        </p:txBody>
      </p:sp>
      <p:sp>
        <p:nvSpPr>
          <p:cNvPr id="16" name="TextBox 15"/>
          <p:cNvSpPr txBox="1"/>
          <p:nvPr userDrawn="1"/>
        </p:nvSpPr>
        <p:spPr>
          <a:xfrm rot="5400000">
            <a:off x="11742139"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51887">
                      <a:srgbClr val="515151"/>
                    </a:gs>
                    <a:gs pos="30000">
                      <a:srgbClr val="515151"/>
                    </a:gs>
                  </a:gsLst>
                  <a:lin ang="5400000" scaled="0"/>
                </a:gradFill>
              </a:rPr>
              <a:t>Secondary colors (use only when</a:t>
            </a:r>
            <a:r>
              <a:rPr lang="en-US" sz="1000" baseline="0" dirty="0">
                <a:gradFill>
                  <a:gsLst>
                    <a:gs pos="51887">
                      <a:srgbClr val="515151"/>
                    </a:gs>
                    <a:gs pos="30000">
                      <a:srgbClr val="515151"/>
                    </a:gs>
                  </a:gsLst>
                  <a:lin ang="5400000" scaled="0"/>
                </a:gradFill>
              </a:rPr>
              <a:t> necessary)</a:t>
            </a:r>
            <a:endParaRPr lang="en-US" sz="1000" dirty="0">
              <a:gradFill>
                <a:gsLst>
                  <a:gs pos="51887">
                    <a:srgbClr val="515151"/>
                  </a:gs>
                  <a:gs pos="30000">
                    <a:srgbClr val="515151"/>
                  </a:gs>
                </a:gsLst>
                <a:lin ang="5400000" scaled="0"/>
              </a:gradFill>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337" r:id="rId1"/>
    <p:sldLayoutId id="2147484356" r:id="rId2"/>
    <p:sldLayoutId id="2147484236" r:id="rId3"/>
    <p:sldLayoutId id="2147484295" r:id="rId4"/>
    <p:sldLayoutId id="2147484240" r:id="rId5"/>
    <p:sldLayoutId id="2147484296" r:id="rId6"/>
    <p:sldLayoutId id="2147484241" r:id="rId7"/>
    <p:sldLayoutId id="2147484297" r:id="rId8"/>
    <p:sldLayoutId id="2147484244" r:id="rId9"/>
    <p:sldLayoutId id="2147484298" r:id="rId10"/>
    <p:sldLayoutId id="2147484245" r:id="rId11"/>
    <p:sldLayoutId id="2147484247" r:id="rId12"/>
    <p:sldLayoutId id="2147484249" r:id="rId13"/>
    <p:sldLayoutId id="2147484250" r:id="rId14"/>
    <p:sldLayoutId id="2147484264" r:id="rId15"/>
    <p:sldLayoutId id="2147484251" r:id="rId16"/>
    <p:sldLayoutId id="2147484252" r:id="rId17"/>
    <p:sldLayoutId id="2147484253" r:id="rId18"/>
    <p:sldLayoutId id="2147484254" r:id="rId19"/>
    <p:sldLayoutId id="2147484256" r:id="rId20"/>
    <p:sldLayoutId id="2147484257" r:id="rId21"/>
    <p:sldLayoutId id="2147484258" r:id="rId22"/>
    <p:sldLayoutId id="2147484259" r:id="rId23"/>
    <p:sldLayoutId id="2147484260" r:id="rId24"/>
    <p:sldLayoutId id="2147484263" r:id="rId25"/>
    <p:sldLayoutId id="2147484464" r:id="rId26"/>
    <p:sldLayoutId id="2147484498" r:id="rId27"/>
    <p:sldLayoutId id="2147484562" r:id="rId28"/>
    <p:sldLayoutId id="2147484563" r:id="rId29"/>
    <p:sldLayoutId id="2147484564" r:id="rId30"/>
    <p:sldLayoutId id="2147484565" r:id="rId31"/>
    <p:sldLayoutId id="2147484566" r:id="rId32"/>
    <p:sldLayoutId id="2147484652" r:id="rId33"/>
    <p:sldLayoutId id="2147484653" r:id="rId34"/>
    <p:sldLayoutId id="2147484654" r:id="rId3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3611" y="2"/>
            <a:ext cx="11582866"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109119" y="6606832"/>
            <a:ext cx="8550077" cy="387694"/>
          </a:xfrm>
          <a:prstGeom prst="rect">
            <a:avLst/>
          </a:prstGeom>
        </p:spPr>
        <p:txBody>
          <a:bodyPr vert="horz" lIns="76179" tIns="38089" rIns="76179" bIns="38089" rtlCol="0" anchor="ctr"/>
          <a:lstStyle>
            <a:lvl1pPr algn="l">
              <a:defRPr sz="765">
                <a:solidFill>
                  <a:schemeClr val="tx1"/>
                </a:solidFill>
                <a:latin typeface="Segoe UI" pitchFamily="34" charset="0"/>
                <a:ea typeface="Segoe UI" pitchFamily="34" charset="0"/>
                <a:cs typeface="Segoe UI" pitchFamily="34" charset="0"/>
              </a:defRPr>
            </a:lvl1pPr>
          </a:lstStyle>
          <a:p>
            <a:pPr defTabSz="1040398"/>
            <a:endParaRPr lang="en-US" dirty="0">
              <a:solidFill>
                <a:srgbClr val="0078D7"/>
              </a:solidFill>
            </a:endParaRPr>
          </a:p>
        </p:txBody>
      </p:sp>
      <p:sp>
        <p:nvSpPr>
          <p:cNvPr id="15" name="Text Placeholder 14"/>
          <p:cNvSpPr>
            <a:spLocks noGrp="1"/>
          </p:cNvSpPr>
          <p:nvPr>
            <p:ph type="body" idx="1"/>
          </p:nvPr>
        </p:nvSpPr>
        <p:spPr>
          <a:xfrm>
            <a:off x="153878" y="1632057"/>
            <a:ext cx="12128721" cy="4650299"/>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659197" y="6606832"/>
            <a:ext cx="777278" cy="387693"/>
          </a:xfrm>
          <a:prstGeom prst="rect">
            <a:avLst/>
          </a:prstGeom>
        </p:spPr>
        <p:txBody>
          <a:bodyPr vert="horz" lIns="91440" tIns="45720" rIns="91440" bIns="45720" rtlCol="0" anchor="ctr"/>
          <a:lstStyle>
            <a:lvl1pPr algn="r">
              <a:defRPr sz="765">
                <a:solidFill>
                  <a:schemeClr val="tx1"/>
                </a:solidFill>
                <a:latin typeface="Segoe UI" pitchFamily="34" charset="0"/>
                <a:ea typeface="Segoe UI" pitchFamily="34" charset="0"/>
                <a:cs typeface="Segoe UI" pitchFamily="34" charset="0"/>
              </a:defRPr>
            </a:lvl1pPr>
          </a:lstStyle>
          <a:p>
            <a:pPr defTabSz="1040398"/>
            <a:fld id="{FAADACFB-7C71-4E89-89D2-7BBA40B7BFA9}" type="slidenum">
              <a:rPr lang="en-US" smtClean="0">
                <a:solidFill>
                  <a:srgbClr val="0078D7"/>
                </a:solidFill>
              </a:rPr>
              <a:pPr defTabSz="1040398"/>
              <a:t>‹#›</a:t>
            </a:fld>
            <a:endParaRPr lang="en-US" dirty="0">
              <a:solidFill>
                <a:srgbClr val="0078D7"/>
              </a:solidFill>
            </a:endParaRPr>
          </a:p>
        </p:txBody>
      </p:sp>
      <p:sp>
        <p:nvSpPr>
          <p:cNvPr id="6" name="Rectangle 5"/>
          <p:cNvSpPr/>
          <p:nvPr userDrawn="1"/>
        </p:nvSpPr>
        <p:spPr>
          <a:xfrm>
            <a:off x="1" y="0"/>
            <a:ext cx="1043276" cy="947176"/>
          </a:xfrm>
          <a:prstGeom prst="rect">
            <a:avLst/>
          </a:prstGeom>
          <a:solidFill>
            <a:srgbClr val="0072B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728" tIns="71728" rIns="71728" bIns="71728" numCol="1" spcCol="0" rtlCol="0" fromWordArt="0" anchor="t" anchorCtr="0" forceAA="0" compatLnSpc="1">
            <a:prstTxWarp prst="textNoShape">
              <a:avLst/>
            </a:prstTxWarp>
            <a:noAutofit/>
          </a:bodyPr>
          <a:lstStyle/>
          <a:p>
            <a:pPr marL="0" marR="0" lvl="0" indent="0" algn="l" defTabSz="1040398" rtl="0" eaLnBrk="1" fontAlgn="auto" latinLnBrk="0" hangingPunct="1">
              <a:lnSpc>
                <a:spcPct val="100000"/>
              </a:lnSpc>
              <a:spcBef>
                <a:spcPts val="0"/>
              </a:spcBef>
              <a:spcAft>
                <a:spcPts val="0"/>
              </a:spcAft>
              <a:buClrTx/>
              <a:buSzTx/>
              <a:buFontTx/>
              <a:buNone/>
              <a:tabLst/>
              <a:defRPr/>
            </a:pPr>
            <a:r>
              <a:rPr kumimoji="0" lang="en-US" sz="1339" b="0" i="0" u="none" strike="noStrike" kern="1200" cap="none" spc="0" normalizeH="0" baseline="0" noProof="0" dirty="0">
                <a:ln>
                  <a:noFill/>
                </a:ln>
                <a:solidFill>
                  <a:prstClr val="white"/>
                </a:solidFill>
                <a:effectLst/>
                <a:uLnTx/>
                <a:uFillTx/>
                <a:latin typeface="Segoe UI Light"/>
                <a:ea typeface="+mn-ea"/>
                <a:cs typeface="+mn-cs"/>
              </a:rPr>
              <a:t>Microsoft Technology </a:t>
            </a:r>
            <a:br>
              <a:rPr kumimoji="0" lang="en-US" sz="1339" b="0" i="0" u="none" strike="noStrike" kern="1200" cap="none" spc="0" normalizeH="0" baseline="0" noProof="0" dirty="0">
                <a:ln>
                  <a:noFill/>
                </a:ln>
                <a:solidFill>
                  <a:prstClr val="white"/>
                </a:solidFill>
                <a:effectLst/>
                <a:uLnTx/>
                <a:uFillTx/>
                <a:latin typeface="Segoe UI Light"/>
                <a:ea typeface="+mn-ea"/>
                <a:cs typeface="+mn-cs"/>
              </a:rPr>
            </a:br>
            <a:r>
              <a:rPr kumimoji="0" lang="en-US" sz="1339" b="0" i="0" u="none" strike="noStrike" kern="1200" cap="none" spc="0" normalizeH="0" baseline="0" noProof="0" dirty="0">
                <a:ln>
                  <a:noFill/>
                </a:ln>
                <a:solidFill>
                  <a:prstClr val="white"/>
                </a:solidFill>
                <a:effectLst/>
                <a:uLnTx/>
                <a:uFillTx/>
                <a:latin typeface="Segoe UI Light"/>
                <a:ea typeface="+mn-ea"/>
                <a:cs typeface="+mn-cs"/>
              </a:rPr>
              <a:t>Centers</a:t>
            </a:r>
          </a:p>
        </p:txBody>
      </p:sp>
    </p:spTree>
    <p:extLst>
      <p:ext uri="{BB962C8B-B14F-4D97-AF65-F5344CB8AC3E}">
        <p14:creationId xmlns:p14="http://schemas.microsoft.com/office/powerpoint/2010/main" val="3254981924"/>
      </p:ext>
    </p:extLst>
  </p:cSld>
  <p:clrMap bg1="lt1" tx1="dk1" bg2="lt2" tx2="dk2" accent1="accent1" accent2="accent2" accent3="accent3" accent4="accent4" accent5="accent5" accent6="accent6" hlink="hlink" folHlink="folHlink"/>
  <p:sldLayoutIdLst>
    <p:sldLayoutId id="2147484542" r:id="rId1"/>
    <p:sldLayoutId id="2147484543" r:id="rId2"/>
    <p:sldLayoutId id="2147484544" r:id="rId3"/>
    <p:sldLayoutId id="2147484545" r:id="rId4"/>
    <p:sldLayoutId id="2147484546" r:id="rId5"/>
    <p:sldLayoutId id="2147484547" r:id="rId6"/>
    <p:sldLayoutId id="2147484548" r:id="rId7"/>
    <p:sldLayoutId id="2147484549" r:id="rId8"/>
    <p:sldLayoutId id="2147484550" r:id="rId9"/>
    <p:sldLayoutId id="2147484551" r:id="rId10"/>
    <p:sldLayoutId id="2147484552" r:id="rId11"/>
    <p:sldLayoutId id="2147484553" r:id="rId12"/>
    <p:sldLayoutId id="2147484554" r:id="rId13"/>
    <p:sldLayoutId id="2147484555" r:id="rId14"/>
    <p:sldLayoutId id="2147484556" r:id="rId15"/>
    <p:sldLayoutId id="2147484557" r:id="rId16"/>
    <p:sldLayoutId id="2147484558" r:id="rId17"/>
    <p:sldLayoutId id="2147484559" r:id="rId18"/>
    <p:sldLayoutId id="2147484560" r:id="rId19"/>
    <p:sldLayoutId id="2147484561" r:id="rId20"/>
  </p:sldLayoutIdLst>
  <p:transition>
    <p:fade/>
  </p:transition>
  <p:hf hdr="0" ftr="0" dt="0"/>
  <p:txStyles>
    <p:titleStyle>
      <a:lvl1pPr marL="0" algn="l" defTabSz="1040398" rtl="0" eaLnBrk="1" latinLnBrk="0" hangingPunct="1">
        <a:lnSpc>
          <a:spcPct val="90000"/>
        </a:lnSpc>
        <a:spcBef>
          <a:spcPct val="0"/>
        </a:spcBef>
        <a:buNone/>
        <a:defRPr lang="en-US" sz="3825" kern="1200" spc="-55" baseline="0" dirty="0">
          <a:solidFill>
            <a:schemeClr val="bg2"/>
          </a:solidFill>
          <a:latin typeface="Segoe UI Light" pitchFamily="34" charset="0"/>
          <a:ea typeface="Segoe UI" pitchFamily="34" charset="0"/>
          <a:cs typeface="Segoe UI" pitchFamily="34" charset="0"/>
        </a:defRPr>
      </a:lvl1pPr>
    </p:titleStyle>
    <p:bodyStyle>
      <a:lvl1pPr marL="221613" indent="-221613" algn="l" defTabSz="1040398" rtl="0" eaLnBrk="1" latinLnBrk="0" hangingPunct="1">
        <a:spcBef>
          <a:spcPts val="1722"/>
        </a:spcBef>
        <a:buClr>
          <a:schemeClr val="tx1"/>
        </a:buClr>
        <a:buSzPct val="100000"/>
        <a:buFont typeface="Arial" panose="020B0604020202020204" pitchFamily="34" charset="0"/>
        <a:buChar char="•"/>
        <a:defRPr sz="2295" kern="1200">
          <a:solidFill>
            <a:schemeClr val="tx1"/>
          </a:solidFill>
          <a:latin typeface="Segoe UI" pitchFamily="34" charset="0"/>
          <a:ea typeface="Segoe UI" pitchFamily="34" charset="0"/>
          <a:cs typeface="Segoe UI" pitchFamily="34" charset="0"/>
        </a:defRPr>
      </a:lvl1pPr>
      <a:lvl2pPr marL="455198" indent="-185873" algn="l" defTabSz="1040398" rtl="0" eaLnBrk="1" latinLnBrk="0" hangingPunct="1">
        <a:spcBef>
          <a:spcPct val="20000"/>
        </a:spcBef>
        <a:buClr>
          <a:schemeClr val="tx1"/>
        </a:buClr>
        <a:buFont typeface="Arial" pitchFamily="34" charset="0"/>
        <a:buChar char="•"/>
        <a:defRPr sz="1722" kern="1200">
          <a:solidFill>
            <a:schemeClr val="tx1"/>
          </a:solidFill>
          <a:latin typeface="Segoe UI" pitchFamily="34" charset="0"/>
          <a:ea typeface="Segoe UI" pitchFamily="34" charset="0"/>
          <a:cs typeface="Segoe UI" pitchFamily="34" charset="0"/>
        </a:defRPr>
      </a:lvl2pPr>
      <a:lvl3pPr marL="728316" indent="-165641" algn="l" defTabSz="1040398" rtl="0" eaLnBrk="1" latinLnBrk="0" hangingPunct="1">
        <a:spcBef>
          <a:spcPct val="20000"/>
        </a:spcBef>
        <a:buClr>
          <a:schemeClr val="tx1"/>
        </a:buClr>
        <a:buFont typeface="Arial" pitchFamily="34" charset="0"/>
        <a:buChar char="•"/>
        <a:defRPr sz="1530" kern="1200">
          <a:solidFill>
            <a:schemeClr val="tx1"/>
          </a:solidFill>
          <a:latin typeface="Segoe UI" pitchFamily="34" charset="0"/>
          <a:ea typeface="Segoe UI" pitchFamily="34" charset="0"/>
          <a:cs typeface="Segoe UI" pitchFamily="34" charset="0"/>
        </a:defRPr>
      </a:lvl3pPr>
      <a:lvl4pPr marL="1001434" indent="-169435" algn="l" defTabSz="1040398" rtl="0" eaLnBrk="1" latinLnBrk="0" hangingPunct="1">
        <a:spcBef>
          <a:spcPct val="20000"/>
        </a:spcBef>
        <a:buClr>
          <a:schemeClr val="tx1"/>
        </a:buClr>
        <a:buFont typeface="Arial" pitchFamily="34" charset="0"/>
        <a:buChar char="–"/>
        <a:defRPr sz="1339" kern="1200">
          <a:solidFill>
            <a:schemeClr val="tx1"/>
          </a:solidFill>
          <a:latin typeface="Segoe UI" pitchFamily="34" charset="0"/>
          <a:ea typeface="Segoe UI" pitchFamily="34" charset="0"/>
          <a:cs typeface="Segoe UI" pitchFamily="34" charset="0"/>
        </a:defRPr>
      </a:lvl4pPr>
      <a:lvl5pPr marL="1229033" indent="-171963" algn="l" defTabSz="1040398" rtl="0" eaLnBrk="1" latinLnBrk="0" hangingPunct="1">
        <a:spcBef>
          <a:spcPct val="20000"/>
        </a:spcBef>
        <a:buClr>
          <a:schemeClr val="tx1"/>
        </a:buClr>
        <a:buFont typeface="Arial" pitchFamily="34" charset="0"/>
        <a:buChar char="»"/>
        <a:defRPr sz="1339" kern="1200">
          <a:solidFill>
            <a:schemeClr val="tx1"/>
          </a:solidFill>
          <a:latin typeface="Segoe UI" pitchFamily="34" charset="0"/>
          <a:ea typeface="Segoe UI" pitchFamily="34" charset="0"/>
          <a:cs typeface="Segoe UI" pitchFamily="34" charset="0"/>
        </a:defRPr>
      </a:lvl5pPr>
      <a:lvl6pPr marL="2861097" indent="-260099" algn="l" defTabSz="1040398" rtl="0" eaLnBrk="1" latinLnBrk="0" hangingPunct="1">
        <a:spcBef>
          <a:spcPct val="20000"/>
        </a:spcBef>
        <a:buFont typeface="Arial" pitchFamily="34" charset="0"/>
        <a:buChar char="•"/>
        <a:defRPr sz="2391" kern="1200">
          <a:solidFill>
            <a:schemeClr val="tx1"/>
          </a:solidFill>
          <a:latin typeface="+mn-lt"/>
          <a:ea typeface="+mn-ea"/>
          <a:cs typeface="+mn-cs"/>
        </a:defRPr>
      </a:lvl6pPr>
      <a:lvl7pPr marL="3381296" indent="-260099" algn="l" defTabSz="1040398" rtl="0" eaLnBrk="1" latinLnBrk="0" hangingPunct="1">
        <a:spcBef>
          <a:spcPct val="20000"/>
        </a:spcBef>
        <a:buFont typeface="Arial" pitchFamily="34" charset="0"/>
        <a:buChar char="•"/>
        <a:defRPr sz="2391" kern="1200">
          <a:solidFill>
            <a:schemeClr val="tx1"/>
          </a:solidFill>
          <a:latin typeface="+mn-lt"/>
          <a:ea typeface="+mn-ea"/>
          <a:cs typeface="+mn-cs"/>
        </a:defRPr>
      </a:lvl7pPr>
      <a:lvl8pPr marL="3901496" indent="-260099" algn="l" defTabSz="1040398" rtl="0" eaLnBrk="1" latinLnBrk="0" hangingPunct="1">
        <a:spcBef>
          <a:spcPct val="20000"/>
        </a:spcBef>
        <a:buFont typeface="Arial" pitchFamily="34" charset="0"/>
        <a:buChar char="•"/>
        <a:defRPr sz="2391" kern="1200">
          <a:solidFill>
            <a:schemeClr val="tx1"/>
          </a:solidFill>
          <a:latin typeface="+mn-lt"/>
          <a:ea typeface="+mn-ea"/>
          <a:cs typeface="+mn-cs"/>
        </a:defRPr>
      </a:lvl8pPr>
      <a:lvl9pPr marL="4421695" indent="-260099" algn="l" defTabSz="1040398" rtl="0" eaLnBrk="1" latinLnBrk="0" hangingPunct="1">
        <a:spcBef>
          <a:spcPct val="20000"/>
        </a:spcBef>
        <a:buFont typeface="Arial" pitchFamily="34" charset="0"/>
        <a:buChar char="•"/>
        <a:defRPr sz="2391" kern="1200">
          <a:solidFill>
            <a:schemeClr val="tx1"/>
          </a:solidFill>
          <a:latin typeface="+mn-lt"/>
          <a:ea typeface="+mn-ea"/>
          <a:cs typeface="+mn-cs"/>
        </a:defRPr>
      </a:lvl9pPr>
    </p:bodyStyle>
    <p:otherStyle>
      <a:defPPr>
        <a:defRPr lang="en-US"/>
      </a:defPPr>
      <a:lvl1pPr marL="0" algn="l" defTabSz="1040398" rtl="0" eaLnBrk="1" latinLnBrk="0" hangingPunct="1">
        <a:defRPr sz="2104" kern="1200">
          <a:solidFill>
            <a:schemeClr val="tx1"/>
          </a:solidFill>
          <a:latin typeface="+mn-lt"/>
          <a:ea typeface="+mn-ea"/>
          <a:cs typeface="+mn-cs"/>
        </a:defRPr>
      </a:lvl1pPr>
      <a:lvl2pPr marL="520200" algn="l" defTabSz="1040398" rtl="0" eaLnBrk="1" latinLnBrk="0" hangingPunct="1">
        <a:defRPr sz="2104" kern="1200">
          <a:solidFill>
            <a:schemeClr val="tx1"/>
          </a:solidFill>
          <a:latin typeface="+mn-lt"/>
          <a:ea typeface="+mn-ea"/>
          <a:cs typeface="+mn-cs"/>
        </a:defRPr>
      </a:lvl2pPr>
      <a:lvl3pPr marL="1040398" algn="l" defTabSz="1040398" rtl="0" eaLnBrk="1" latinLnBrk="0" hangingPunct="1">
        <a:defRPr sz="2104" kern="1200">
          <a:solidFill>
            <a:schemeClr val="tx1"/>
          </a:solidFill>
          <a:latin typeface="+mn-lt"/>
          <a:ea typeface="+mn-ea"/>
          <a:cs typeface="+mn-cs"/>
        </a:defRPr>
      </a:lvl3pPr>
      <a:lvl4pPr marL="1560599" algn="l" defTabSz="1040398" rtl="0" eaLnBrk="1" latinLnBrk="0" hangingPunct="1">
        <a:defRPr sz="2104" kern="1200">
          <a:solidFill>
            <a:schemeClr val="tx1"/>
          </a:solidFill>
          <a:latin typeface="+mn-lt"/>
          <a:ea typeface="+mn-ea"/>
          <a:cs typeface="+mn-cs"/>
        </a:defRPr>
      </a:lvl4pPr>
      <a:lvl5pPr marL="2080798" algn="l" defTabSz="1040398" rtl="0" eaLnBrk="1" latinLnBrk="0" hangingPunct="1">
        <a:defRPr sz="2104" kern="1200">
          <a:solidFill>
            <a:schemeClr val="tx1"/>
          </a:solidFill>
          <a:latin typeface="+mn-lt"/>
          <a:ea typeface="+mn-ea"/>
          <a:cs typeface="+mn-cs"/>
        </a:defRPr>
      </a:lvl5pPr>
      <a:lvl6pPr marL="2600998" algn="l" defTabSz="1040398" rtl="0" eaLnBrk="1" latinLnBrk="0" hangingPunct="1">
        <a:defRPr sz="2104" kern="1200">
          <a:solidFill>
            <a:schemeClr val="tx1"/>
          </a:solidFill>
          <a:latin typeface="+mn-lt"/>
          <a:ea typeface="+mn-ea"/>
          <a:cs typeface="+mn-cs"/>
        </a:defRPr>
      </a:lvl6pPr>
      <a:lvl7pPr marL="3121196" algn="l" defTabSz="1040398" rtl="0" eaLnBrk="1" latinLnBrk="0" hangingPunct="1">
        <a:defRPr sz="2104" kern="1200">
          <a:solidFill>
            <a:schemeClr val="tx1"/>
          </a:solidFill>
          <a:latin typeface="+mn-lt"/>
          <a:ea typeface="+mn-ea"/>
          <a:cs typeface="+mn-cs"/>
        </a:defRPr>
      </a:lvl7pPr>
      <a:lvl8pPr marL="3641396" algn="l" defTabSz="1040398" rtl="0" eaLnBrk="1" latinLnBrk="0" hangingPunct="1">
        <a:defRPr sz="2104" kern="1200">
          <a:solidFill>
            <a:schemeClr val="tx1"/>
          </a:solidFill>
          <a:latin typeface="+mn-lt"/>
          <a:ea typeface="+mn-ea"/>
          <a:cs typeface="+mn-cs"/>
        </a:defRPr>
      </a:lvl8pPr>
      <a:lvl9pPr marL="4161596" algn="l" defTabSz="1040398" rtl="0" eaLnBrk="1" latinLnBrk="0" hangingPunct="1">
        <a:defRPr sz="210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0" orient="horz" pos="100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blipFill>
          <a:blip r:embed="rId5" cstate="email">
            <a:alphaModFix/>
            <a:extLst>
              <a:ext uri="{28A0092B-C50C-407E-A947-70E740481C1C}">
                <a14:useLocalDpi xmlns:a14="http://schemas.microsoft.com/office/drawing/2010/main"/>
              </a:ext>
            </a:extLst>
          </a:blip>
          <a:stretch>
            <a:fillRect/>
          </a:stretch>
        </a:blipFill>
        <a:effectLst/>
      </p:bgPr>
    </p:bg>
    <p:spTree>
      <p:nvGrpSpPr>
        <p:cNvPr id="1" name="Shape 30"/>
        <p:cNvGrpSpPr/>
        <p:nvPr/>
      </p:nvGrpSpPr>
      <p:grpSpPr>
        <a:xfrm>
          <a:off x="0" y="0"/>
          <a:ext cx="0" cy="0"/>
          <a:chOff x="0" y="0"/>
          <a:chExt cx="0" cy="0"/>
        </a:xfrm>
      </p:grpSpPr>
      <p:pic>
        <p:nvPicPr>
          <p:cNvPr id="31" name="Shape 31" descr="logo_large.png"/>
          <p:cNvPicPr preferRelativeResize="0"/>
          <p:nvPr/>
        </p:nvPicPr>
        <p:blipFill>
          <a:blip r:embed="rId6" cstate="email">
            <a:alphaModFix/>
            <a:extLst>
              <a:ext uri="{28A0092B-C50C-407E-A947-70E740481C1C}">
                <a14:useLocalDpi xmlns:a14="http://schemas.microsoft.com/office/drawing/2010/main"/>
              </a:ext>
            </a:extLst>
          </a:blip>
          <a:stretch>
            <a:fillRect/>
          </a:stretch>
        </p:blipFill>
        <p:spPr>
          <a:xfrm>
            <a:off x="1825214" y="2047760"/>
            <a:ext cx="1979240" cy="639855"/>
          </a:xfrm>
          <a:prstGeom prst="rect">
            <a:avLst/>
          </a:prstGeom>
          <a:noFill/>
          <a:ln>
            <a:noFill/>
          </a:ln>
        </p:spPr>
      </p:pic>
    </p:spTree>
    <p:extLst>
      <p:ext uri="{BB962C8B-B14F-4D97-AF65-F5344CB8AC3E}">
        <p14:creationId xmlns:p14="http://schemas.microsoft.com/office/powerpoint/2010/main" val="4217796797"/>
      </p:ext>
    </p:extLst>
  </p:cSld>
  <p:clrMap bg1="lt1" tx1="dk1" bg2="dk2" tx2="lt2" accent1="accent1" accent2="accent2" accent3="accent3" accent4="accent4" accent5="accent5" accent6="accent6" hlink="hlink" folHlink="folHlink"/>
  <p:sldLayoutIdLst>
    <p:sldLayoutId id="2147484568" r:id="rId1"/>
    <p:sldLayoutId id="2147484569" r:id="rId2"/>
    <p:sldLayoutId id="2147484570"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4"/>
        <p:cNvGrpSpPr/>
        <p:nvPr/>
      </p:nvGrpSpPr>
      <p:grpSpPr>
        <a:xfrm>
          <a:off x="0" y="0"/>
          <a:ext cx="0" cy="0"/>
          <a:chOff x="0" y="0"/>
          <a:chExt cx="0" cy="0"/>
        </a:xfrm>
      </p:grpSpPr>
      <p:sp>
        <p:nvSpPr>
          <p:cNvPr id="45" name="Shape 45"/>
          <p:cNvSpPr txBox="1">
            <a:spLocks noGrp="1"/>
          </p:cNvSpPr>
          <p:nvPr>
            <p:ph type="title"/>
          </p:nvPr>
        </p:nvSpPr>
        <p:spPr>
          <a:xfrm>
            <a:off x="423934" y="605179"/>
            <a:ext cx="11588608" cy="778801"/>
          </a:xfrm>
          <a:prstGeom prst="rect">
            <a:avLst/>
          </a:prstGeom>
          <a:noFill/>
          <a:ln>
            <a:noFill/>
          </a:ln>
        </p:spPr>
        <p:txBody>
          <a:bodyPr lIns="91425" tIns="91425" rIns="91425" bIns="91425" anchor="t" anchorCtr="0"/>
          <a:lstStyle>
            <a:lvl1pPr lvl="0">
              <a:spcBef>
                <a:spcPts val="0"/>
              </a:spcBef>
              <a:buClr>
                <a:schemeClr val="dk1"/>
              </a:buClr>
              <a:buSzPct val="100000"/>
              <a:buNone/>
              <a:defRPr sz="2800">
                <a:solidFill>
                  <a:schemeClr val="dk1"/>
                </a:solidFill>
              </a:defRPr>
            </a:lvl1pPr>
            <a:lvl2pPr lvl="1">
              <a:spcBef>
                <a:spcPts val="0"/>
              </a:spcBef>
              <a:buClr>
                <a:schemeClr val="dk1"/>
              </a:buClr>
              <a:buSzPct val="100000"/>
              <a:buNone/>
              <a:defRPr sz="2800">
                <a:solidFill>
                  <a:schemeClr val="dk1"/>
                </a:solidFill>
              </a:defRPr>
            </a:lvl2pPr>
            <a:lvl3pPr lvl="2">
              <a:spcBef>
                <a:spcPts val="0"/>
              </a:spcBef>
              <a:buClr>
                <a:schemeClr val="dk1"/>
              </a:buClr>
              <a:buSzPct val="100000"/>
              <a:buNone/>
              <a:defRPr sz="2800">
                <a:solidFill>
                  <a:schemeClr val="dk1"/>
                </a:solidFill>
              </a:defRPr>
            </a:lvl3pPr>
            <a:lvl4pPr lvl="3">
              <a:spcBef>
                <a:spcPts val="0"/>
              </a:spcBef>
              <a:buClr>
                <a:schemeClr val="dk1"/>
              </a:buClr>
              <a:buSzPct val="100000"/>
              <a:buNone/>
              <a:defRPr sz="2800">
                <a:solidFill>
                  <a:schemeClr val="dk1"/>
                </a:solidFill>
              </a:defRPr>
            </a:lvl4pPr>
            <a:lvl5pPr lvl="4">
              <a:spcBef>
                <a:spcPts val="0"/>
              </a:spcBef>
              <a:buClr>
                <a:schemeClr val="dk1"/>
              </a:buClr>
              <a:buSzPct val="100000"/>
              <a:buNone/>
              <a:defRPr sz="2800">
                <a:solidFill>
                  <a:schemeClr val="dk1"/>
                </a:solidFill>
              </a:defRPr>
            </a:lvl5pPr>
            <a:lvl6pPr lvl="5">
              <a:spcBef>
                <a:spcPts val="0"/>
              </a:spcBef>
              <a:buClr>
                <a:schemeClr val="dk1"/>
              </a:buClr>
              <a:buSzPct val="100000"/>
              <a:buNone/>
              <a:defRPr sz="2800">
                <a:solidFill>
                  <a:schemeClr val="dk1"/>
                </a:solidFill>
              </a:defRPr>
            </a:lvl6pPr>
            <a:lvl7pPr lvl="6">
              <a:spcBef>
                <a:spcPts val="0"/>
              </a:spcBef>
              <a:buClr>
                <a:schemeClr val="dk1"/>
              </a:buClr>
              <a:buSzPct val="100000"/>
              <a:buNone/>
              <a:defRPr sz="2800">
                <a:solidFill>
                  <a:schemeClr val="dk1"/>
                </a:solidFill>
              </a:defRPr>
            </a:lvl7pPr>
            <a:lvl8pPr lvl="7">
              <a:spcBef>
                <a:spcPts val="0"/>
              </a:spcBef>
              <a:buClr>
                <a:schemeClr val="dk1"/>
              </a:buClr>
              <a:buSzPct val="100000"/>
              <a:buNone/>
              <a:defRPr sz="2800">
                <a:solidFill>
                  <a:schemeClr val="dk1"/>
                </a:solidFill>
              </a:defRPr>
            </a:lvl8pPr>
            <a:lvl9pPr lvl="8">
              <a:spcBef>
                <a:spcPts val="0"/>
              </a:spcBef>
              <a:buClr>
                <a:schemeClr val="dk1"/>
              </a:buClr>
              <a:buSzPct val="100000"/>
              <a:buNone/>
              <a:defRPr sz="2800">
                <a:solidFill>
                  <a:schemeClr val="dk1"/>
                </a:solidFill>
              </a:defRPr>
            </a:lvl9pPr>
          </a:lstStyle>
          <a:p>
            <a:endParaRPr/>
          </a:p>
        </p:txBody>
      </p:sp>
      <p:sp>
        <p:nvSpPr>
          <p:cNvPr id="46" name="Shape 46"/>
          <p:cNvSpPr txBox="1">
            <a:spLocks noGrp="1"/>
          </p:cNvSpPr>
          <p:nvPr>
            <p:ph type="body" idx="1"/>
          </p:nvPr>
        </p:nvSpPr>
        <p:spPr>
          <a:xfrm>
            <a:off x="423934" y="1567224"/>
            <a:ext cx="11588608" cy="4645882"/>
          </a:xfrm>
          <a:prstGeom prst="rect">
            <a:avLst/>
          </a:prstGeom>
          <a:noFill/>
          <a:ln>
            <a:noFill/>
          </a:ln>
        </p:spPr>
        <p:txBody>
          <a:bodyPr lIns="91425" tIns="91425" rIns="91425" bIns="91425" anchor="t" anchorCtr="0"/>
          <a:lstStyle>
            <a:lvl1pPr lvl="0">
              <a:lnSpc>
                <a:spcPct val="115000"/>
              </a:lnSpc>
              <a:spcBef>
                <a:spcPts val="0"/>
              </a:spcBef>
              <a:spcAft>
                <a:spcPts val="1600"/>
              </a:spcAft>
              <a:buClr>
                <a:schemeClr val="dk2"/>
              </a:buClr>
              <a:buSzPct val="100000"/>
              <a:defRPr sz="1800">
                <a:solidFill>
                  <a:schemeClr val="dk2"/>
                </a:solidFill>
              </a:defRPr>
            </a:lvl1pPr>
            <a:lvl2pPr lvl="1">
              <a:lnSpc>
                <a:spcPct val="115000"/>
              </a:lnSpc>
              <a:spcBef>
                <a:spcPts val="0"/>
              </a:spcBef>
              <a:spcAft>
                <a:spcPts val="1600"/>
              </a:spcAft>
              <a:buClr>
                <a:schemeClr val="dk2"/>
              </a:buClr>
              <a:defRPr>
                <a:solidFill>
                  <a:schemeClr val="dk2"/>
                </a:solidFill>
              </a:defRPr>
            </a:lvl2pPr>
            <a:lvl3pPr lvl="2">
              <a:lnSpc>
                <a:spcPct val="115000"/>
              </a:lnSpc>
              <a:spcBef>
                <a:spcPts val="0"/>
              </a:spcBef>
              <a:spcAft>
                <a:spcPts val="1600"/>
              </a:spcAft>
              <a:buClr>
                <a:schemeClr val="dk2"/>
              </a:buClr>
              <a:defRPr>
                <a:solidFill>
                  <a:schemeClr val="dk2"/>
                </a:solidFill>
              </a:defRPr>
            </a:lvl3pPr>
            <a:lvl4pPr lvl="3">
              <a:lnSpc>
                <a:spcPct val="115000"/>
              </a:lnSpc>
              <a:spcBef>
                <a:spcPts val="0"/>
              </a:spcBef>
              <a:spcAft>
                <a:spcPts val="1600"/>
              </a:spcAft>
              <a:buClr>
                <a:schemeClr val="dk2"/>
              </a:buClr>
              <a:defRPr>
                <a:solidFill>
                  <a:schemeClr val="dk2"/>
                </a:solidFill>
              </a:defRPr>
            </a:lvl4pPr>
            <a:lvl5pPr lvl="4">
              <a:lnSpc>
                <a:spcPct val="115000"/>
              </a:lnSpc>
              <a:spcBef>
                <a:spcPts val="0"/>
              </a:spcBef>
              <a:spcAft>
                <a:spcPts val="1600"/>
              </a:spcAft>
              <a:buClr>
                <a:schemeClr val="dk2"/>
              </a:buClr>
              <a:defRPr>
                <a:solidFill>
                  <a:schemeClr val="dk2"/>
                </a:solidFill>
              </a:defRPr>
            </a:lvl5pPr>
            <a:lvl6pPr lvl="5">
              <a:lnSpc>
                <a:spcPct val="115000"/>
              </a:lnSpc>
              <a:spcBef>
                <a:spcPts val="0"/>
              </a:spcBef>
              <a:spcAft>
                <a:spcPts val="1600"/>
              </a:spcAft>
              <a:buClr>
                <a:schemeClr val="dk2"/>
              </a:buClr>
              <a:defRPr>
                <a:solidFill>
                  <a:schemeClr val="dk2"/>
                </a:solidFill>
              </a:defRPr>
            </a:lvl6pPr>
            <a:lvl7pPr lvl="6">
              <a:lnSpc>
                <a:spcPct val="115000"/>
              </a:lnSpc>
              <a:spcBef>
                <a:spcPts val="0"/>
              </a:spcBef>
              <a:spcAft>
                <a:spcPts val="1600"/>
              </a:spcAft>
              <a:buClr>
                <a:schemeClr val="dk2"/>
              </a:buClr>
              <a:defRPr>
                <a:solidFill>
                  <a:schemeClr val="dk2"/>
                </a:solidFill>
              </a:defRPr>
            </a:lvl7pPr>
            <a:lvl8pPr lvl="7">
              <a:lnSpc>
                <a:spcPct val="115000"/>
              </a:lnSpc>
              <a:spcBef>
                <a:spcPts val="0"/>
              </a:spcBef>
              <a:spcAft>
                <a:spcPts val="1600"/>
              </a:spcAft>
              <a:buClr>
                <a:schemeClr val="dk2"/>
              </a:buClr>
              <a:defRPr>
                <a:solidFill>
                  <a:schemeClr val="dk2"/>
                </a:solidFill>
              </a:defRPr>
            </a:lvl8pPr>
            <a:lvl9pPr lvl="8">
              <a:lnSpc>
                <a:spcPct val="115000"/>
              </a:lnSpc>
              <a:spcBef>
                <a:spcPts val="0"/>
              </a:spcBef>
              <a:spcAft>
                <a:spcPts val="1600"/>
              </a:spcAft>
              <a:buClr>
                <a:schemeClr val="dk2"/>
              </a:buClr>
              <a:defRPr>
                <a:solidFill>
                  <a:schemeClr val="dk2"/>
                </a:solidFill>
              </a:defRPr>
            </a:lvl9pPr>
          </a:lstStyle>
          <a:p>
            <a:endParaRPr/>
          </a:p>
        </p:txBody>
      </p:sp>
      <p:sp>
        <p:nvSpPr>
          <p:cNvPr id="47" name="Shape 47"/>
          <p:cNvSpPr txBox="1">
            <a:spLocks noGrp="1"/>
          </p:cNvSpPr>
          <p:nvPr>
            <p:ph type="sldNum" idx="12"/>
          </p:nvPr>
        </p:nvSpPr>
        <p:spPr>
          <a:xfrm>
            <a:off x="11523130" y="6341398"/>
            <a:ext cx="746270" cy="535247"/>
          </a:xfrm>
          <a:prstGeom prst="rect">
            <a:avLst/>
          </a:prstGeom>
          <a:noFill/>
          <a:ln>
            <a:noFill/>
          </a:ln>
        </p:spPr>
        <p:txBody>
          <a:bodyPr lIns="91425" tIns="91425" rIns="91425" bIns="91425" anchor="ctr" anchorCtr="0">
            <a:noAutofit/>
          </a:bodyPr>
          <a:lstStyle/>
          <a:p>
            <a:pPr algn="r"/>
            <a:fld id="{00000000-1234-1234-1234-123412341234}" type="slidenum">
              <a:rPr lang="en" sz="1360" smtClean="0">
                <a:solidFill>
                  <a:schemeClr val="dk2"/>
                </a:solidFill>
              </a:rPr>
              <a:pPr algn="r"/>
              <a:t>‹#›</a:t>
            </a:fld>
            <a:endParaRPr lang="en" sz="1360">
              <a:solidFill>
                <a:schemeClr val="dk2"/>
              </a:solidFill>
            </a:endParaRPr>
          </a:p>
        </p:txBody>
      </p:sp>
    </p:spTree>
    <p:extLst>
      <p:ext uri="{BB962C8B-B14F-4D97-AF65-F5344CB8AC3E}">
        <p14:creationId xmlns:p14="http://schemas.microsoft.com/office/powerpoint/2010/main" val="98327082"/>
      </p:ext>
    </p:extLst>
  </p:cSld>
  <p:clrMap bg1="lt1" tx1="dk1" bg2="dk2" tx2="lt2" accent1="accent1" accent2="accent2" accent3="accent3" accent4="accent4" accent5="accent5" accent6="accent6" hlink="hlink" folHlink="folHlink"/>
  <p:sldLayoutIdLst>
    <p:sldLayoutId id="2147484572" r:id="rId1"/>
    <p:sldLayoutId id="2147484573" r:id="rId2"/>
    <p:sldLayoutId id="2147484574" r:id="rId3"/>
    <p:sldLayoutId id="2147484575" r:id="rId4"/>
    <p:sldLayoutId id="2147484576" r:id="rId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3"/>
        <p:cNvGrpSpPr/>
        <p:nvPr/>
      </p:nvGrpSpPr>
      <p:grpSpPr>
        <a:xfrm>
          <a:off x="0" y="0"/>
          <a:ext cx="0" cy="0"/>
          <a:chOff x="0" y="0"/>
          <a:chExt cx="0" cy="0"/>
        </a:xfrm>
      </p:grpSpPr>
      <p:sp>
        <p:nvSpPr>
          <p:cNvPr id="114" name="Shape 114"/>
          <p:cNvSpPr txBox="1">
            <a:spLocks noGrp="1"/>
          </p:cNvSpPr>
          <p:nvPr>
            <p:ph type="title"/>
          </p:nvPr>
        </p:nvSpPr>
        <p:spPr>
          <a:xfrm>
            <a:off x="233184" y="233151"/>
            <a:ext cx="11970107" cy="652741"/>
          </a:xfrm>
          <a:prstGeom prst="rect">
            <a:avLst/>
          </a:prstGeom>
          <a:noFill/>
          <a:ln>
            <a:noFill/>
          </a:ln>
        </p:spPr>
        <p:txBody>
          <a:bodyPr lIns="68575" tIns="68575" rIns="68575" bIns="68575" anchor="t" anchorCtr="0"/>
          <a:lstStyle>
            <a:lvl1pPr marL="0" marR="0" lvl="0" indent="0" algn="l" rtl="0">
              <a:lnSpc>
                <a:spcPct val="90000"/>
              </a:lnSpc>
              <a:spcBef>
                <a:spcPts val="0"/>
              </a:spcBef>
              <a:buClr>
                <a:schemeClr val="accent1"/>
              </a:buClr>
              <a:buSzPct val="40740"/>
              <a:buFont typeface="Quattrocento Sans"/>
              <a:buNone/>
              <a:defRPr sz="2700" b="0" i="0" u="none" strike="noStrike" cap="none">
                <a:solidFill>
                  <a:schemeClr val="accent1"/>
                </a:solidFill>
                <a:latin typeface="Quattrocento Sans"/>
                <a:ea typeface="Quattrocento Sans"/>
                <a:cs typeface="Quattrocento Sans"/>
                <a:sym typeface="Quattrocento Sans"/>
              </a:defRPr>
            </a:lvl1pPr>
            <a:lvl2pPr lvl="1" indent="0" rtl="0">
              <a:spcBef>
                <a:spcPts val="0"/>
              </a:spcBef>
              <a:buSzPct val="78571"/>
              <a:buNone/>
              <a:defRPr sz="1400"/>
            </a:lvl2pPr>
            <a:lvl3pPr lvl="2" indent="0" rtl="0">
              <a:spcBef>
                <a:spcPts val="0"/>
              </a:spcBef>
              <a:buSzPct val="78571"/>
              <a:buNone/>
              <a:defRPr sz="1400"/>
            </a:lvl3pPr>
            <a:lvl4pPr lvl="3" indent="0" rtl="0">
              <a:spcBef>
                <a:spcPts val="0"/>
              </a:spcBef>
              <a:buSzPct val="78571"/>
              <a:buNone/>
              <a:defRPr sz="1400"/>
            </a:lvl4pPr>
            <a:lvl5pPr lvl="4" indent="0" rtl="0">
              <a:spcBef>
                <a:spcPts val="0"/>
              </a:spcBef>
              <a:buSzPct val="78571"/>
              <a:buNone/>
              <a:defRPr sz="1400"/>
            </a:lvl5pPr>
            <a:lvl6pPr lvl="5" indent="0" rtl="0">
              <a:spcBef>
                <a:spcPts val="0"/>
              </a:spcBef>
              <a:buSzPct val="78571"/>
              <a:buNone/>
              <a:defRPr sz="1400"/>
            </a:lvl6pPr>
            <a:lvl7pPr lvl="6" indent="0" rtl="0">
              <a:spcBef>
                <a:spcPts val="0"/>
              </a:spcBef>
              <a:buSzPct val="78571"/>
              <a:buNone/>
              <a:defRPr sz="1400"/>
            </a:lvl7pPr>
            <a:lvl8pPr lvl="7" indent="0" rtl="0">
              <a:spcBef>
                <a:spcPts val="0"/>
              </a:spcBef>
              <a:buSzPct val="78571"/>
              <a:buNone/>
              <a:defRPr sz="1400"/>
            </a:lvl8pPr>
            <a:lvl9pPr lvl="8" indent="0" rtl="0">
              <a:spcBef>
                <a:spcPts val="0"/>
              </a:spcBef>
              <a:buSzPct val="78571"/>
              <a:buNone/>
              <a:defRPr sz="1400"/>
            </a:lvl9pPr>
          </a:lstStyle>
          <a:p>
            <a:endParaRPr/>
          </a:p>
        </p:txBody>
      </p:sp>
      <p:sp>
        <p:nvSpPr>
          <p:cNvPr id="115" name="Shape 115"/>
          <p:cNvSpPr txBox="1">
            <a:spLocks noGrp="1"/>
          </p:cNvSpPr>
          <p:nvPr>
            <p:ph type="body" idx="1"/>
          </p:nvPr>
        </p:nvSpPr>
        <p:spPr>
          <a:xfrm>
            <a:off x="233184" y="1577020"/>
            <a:ext cx="11970107" cy="4567961"/>
          </a:xfrm>
          <a:prstGeom prst="rect">
            <a:avLst/>
          </a:prstGeom>
          <a:noFill/>
          <a:ln>
            <a:noFill/>
          </a:ln>
        </p:spPr>
        <p:txBody>
          <a:bodyPr lIns="68575" tIns="68575" rIns="68575" bIns="68575" anchor="t" anchorCtr="0"/>
          <a:lstStyle>
            <a:lvl1pPr marL="0" marR="0" lvl="0" indent="0" algn="l" rtl="0">
              <a:lnSpc>
                <a:spcPct val="100000"/>
              </a:lnSpc>
              <a:spcBef>
                <a:spcPts val="800"/>
              </a:spcBef>
              <a:buClr>
                <a:schemeClr val="dk2"/>
              </a:buClr>
              <a:buSzPct val="61111"/>
              <a:buFont typeface="Arial"/>
              <a:buNone/>
              <a:defRPr sz="1800" b="0" i="0" u="none" strike="noStrike" cap="none">
                <a:solidFill>
                  <a:schemeClr val="dk2"/>
                </a:solidFill>
                <a:latin typeface="Quattrocento Sans"/>
                <a:ea typeface="Quattrocento Sans"/>
                <a:cs typeface="Quattrocento Sans"/>
                <a:sym typeface="Quattrocento Sans"/>
              </a:defRPr>
            </a:lvl1pPr>
            <a:lvl2pPr marL="342900" marR="0" lvl="1" indent="0" algn="l" rtl="0">
              <a:lnSpc>
                <a:spcPct val="100000"/>
              </a:lnSpc>
              <a:spcBef>
                <a:spcPts val="800"/>
              </a:spcBef>
              <a:buClr>
                <a:schemeClr val="dk2"/>
              </a:buClr>
              <a:buSzPct val="73333"/>
              <a:buFont typeface="Arial"/>
              <a:buNone/>
              <a:defRPr sz="1500" b="0" i="0" u="none" strike="noStrike" cap="none">
                <a:solidFill>
                  <a:schemeClr val="dk2"/>
                </a:solidFill>
                <a:latin typeface="Quattrocento Sans"/>
                <a:ea typeface="Quattrocento Sans"/>
                <a:cs typeface="Quattrocento Sans"/>
                <a:sym typeface="Quattrocento Sans"/>
              </a:defRPr>
            </a:lvl2pPr>
            <a:lvl3pPr marL="685800" marR="0" lvl="2" indent="0" algn="l" rtl="0">
              <a:lnSpc>
                <a:spcPct val="100000"/>
              </a:lnSpc>
              <a:spcBef>
                <a:spcPts val="800"/>
              </a:spcBef>
              <a:buClr>
                <a:schemeClr val="dk2"/>
              </a:buClr>
              <a:buSzPct val="78571"/>
              <a:buFont typeface="Arial"/>
              <a:buNone/>
              <a:defRPr sz="1400" b="0" i="0" u="none" strike="noStrike" cap="none">
                <a:solidFill>
                  <a:schemeClr val="dk2"/>
                </a:solidFill>
                <a:latin typeface="Quattrocento Sans"/>
                <a:ea typeface="Quattrocento Sans"/>
                <a:cs typeface="Quattrocento Sans"/>
                <a:sym typeface="Quattrocento Sans"/>
              </a:defRPr>
            </a:lvl3pPr>
            <a:lvl4pPr marL="1028700" marR="0" lvl="3" indent="0" algn="l" rtl="0">
              <a:lnSpc>
                <a:spcPct val="100000"/>
              </a:lnSpc>
              <a:spcBef>
                <a:spcPts val="800"/>
              </a:spcBef>
              <a:buClr>
                <a:schemeClr val="dk2"/>
              </a:buClr>
              <a:buSzPct val="91666"/>
              <a:buFont typeface="Arial"/>
              <a:buNone/>
              <a:defRPr sz="1200" b="0" i="0" u="none" strike="noStrike" cap="none">
                <a:solidFill>
                  <a:schemeClr val="dk2"/>
                </a:solidFill>
                <a:latin typeface="Quattrocento Sans"/>
                <a:ea typeface="Quattrocento Sans"/>
                <a:cs typeface="Quattrocento Sans"/>
                <a:sym typeface="Quattrocento Sans"/>
              </a:defRPr>
            </a:lvl4pPr>
            <a:lvl5pPr marL="1371600" marR="0" lvl="4" indent="0" algn="l" rtl="0">
              <a:lnSpc>
                <a:spcPct val="100000"/>
              </a:lnSpc>
              <a:spcBef>
                <a:spcPts val="800"/>
              </a:spcBef>
              <a:buClr>
                <a:schemeClr val="dk2"/>
              </a:buClr>
              <a:buSzPct val="100000"/>
              <a:buFont typeface="Arial"/>
              <a:buNone/>
              <a:defRPr sz="1100" b="0" i="0" u="none" strike="noStrike" cap="none">
                <a:solidFill>
                  <a:schemeClr val="dk2"/>
                </a:solidFill>
                <a:latin typeface="Quattrocento Sans"/>
                <a:ea typeface="Quattrocento Sans"/>
                <a:cs typeface="Quattrocento Sans"/>
                <a:sym typeface="Quattrocento Sans"/>
              </a:defRPr>
            </a:lvl5pPr>
            <a:lvl6pPr marL="1892300" marR="0" lvl="5" indent="-88900" algn="l" rtl="0">
              <a:lnSpc>
                <a:spcPct val="90000"/>
              </a:lnSpc>
              <a:spcBef>
                <a:spcPts val="400"/>
              </a:spcBef>
              <a:buClr>
                <a:schemeClr val="dk1"/>
              </a:buClr>
              <a:buSzPct val="100000"/>
              <a:buFont typeface="Arial"/>
              <a:buChar char="•"/>
              <a:defRPr sz="1400" b="0" i="0" u="none" strike="noStrike" cap="none">
                <a:solidFill>
                  <a:schemeClr val="dk1"/>
                </a:solidFill>
                <a:latin typeface="Calibri"/>
                <a:ea typeface="Calibri"/>
                <a:cs typeface="Calibri"/>
                <a:sym typeface="Calibri"/>
              </a:defRPr>
            </a:lvl6pPr>
            <a:lvl7pPr marL="2235200" marR="0" lvl="6" indent="-88900" algn="l" rtl="0">
              <a:lnSpc>
                <a:spcPct val="90000"/>
              </a:lnSpc>
              <a:spcBef>
                <a:spcPts val="400"/>
              </a:spcBef>
              <a:buClr>
                <a:schemeClr val="dk1"/>
              </a:buClr>
              <a:buSzPct val="100000"/>
              <a:buFont typeface="Arial"/>
              <a:buChar char="•"/>
              <a:defRPr sz="1400" b="0" i="0" u="none" strike="noStrike" cap="none">
                <a:solidFill>
                  <a:schemeClr val="dk1"/>
                </a:solidFill>
                <a:latin typeface="Calibri"/>
                <a:ea typeface="Calibri"/>
                <a:cs typeface="Calibri"/>
                <a:sym typeface="Calibri"/>
              </a:defRPr>
            </a:lvl7pPr>
            <a:lvl8pPr marL="2578100" marR="0" lvl="7" indent="-88900" algn="l" rtl="0">
              <a:lnSpc>
                <a:spcPct val="90000"/>
              </a:lnSpc>
              <a:spcBef>
                <a:spcPts val="400"/>
              </a:spcBef>
              <a:buClr>
                <a:schemeClr val="dk1"/>
              </a:buClr>
              <a:buSzPct val="100000"/>
              <a:buFont typeface="Arial"/>
              <a:buChar char="•"/>
              <a:defRPr sz="1400" b="0" i="0" u="none" strike="noStrike" cap="none">
                <a:solidFill>
                  <a:schemeClr val="dk1"/>
                </a:solidFill>
                <a:latin typeface="Calibri"/>
                <a:ea typeface="Calibri"/>
                <a:cs typeface="Calibri"/>
                <a:sym typeface="Calibri"/>
              </a:defRPr>
            </a:lvl8pPr>
            <a:lvl9pPr marL="2921000" marR="0" lvl="8" indent="-88900" algn="l" rtl="0">
              <a:lnSpc>
                <a:spcPct val="90000"/>
              </a:lnSpc>
              <a:spcBef>
                <a:spcPts val="400"/>
              </a:spcBef>
              <a:buClr>
                <a:schemeClr val="dk1"/>
              </a:buClr>
              <a:buSzPct val="1000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116" name="Shape 116"/>
          <p:cNvSpPr txBox="1">
            <a:spLocks noGrp="1"/>
          </p:cNvSpPr>
          <p:nvPr>
            <p:ph type="sldNum" idx="12"/>
          </p:nvPr>
        </p:nvSpPr>
        <p:spPr>
          <a:xfrm>
            <a:off x="11880235" y="6611138"/>
            <a:ext cx="323153" cy="204389"/>
          </a:xfrm>
          <a:prstGeom prst="rect">
            <a:avLst/>
          </a:prstGeom>
          <a:noFill/>
          <a:ln>
            <a:noFill/>
          </a:ln>
        </p:spPr>
        <p:txBody>
          <a:bodyPr lIns="0" tIns="0" rIns="0" bIns="0" anchor="ctr" anchorCtr="0">
            <a:noAutofit/>
          </a:bodyPr>
          <a:lstStyle/>
          <a:p>
            <a:pPr algn="r">
              <a:buSzPct val="25000"/>
            </a:pPr>
            <a:fld id="{00000000-1234-1234-1234-123412341234}" type="slidenum">
              <a:rPr lang="en" sz="1224" smtClean="0">
                <a:solidFill>
                  <a:schemeClr val="dk1"/>
                </a:solidFill>
                <a:latin typeface="Quattrocento Sans"/>
                <a:ea typeface="Quattrocento Sans"/>
                <a:cs typeface="Quattrocento Sans"/>
                <a:sym typeface="Quattrocento Sans"/>
              </a:rPr>
              <a:pPr algn="r">
                <a:buSzPct val="25000"/>
              </a:pPr>
              <a:t>‹#›</a:t>
            </a:fld>
            <a:endParaRPr lang="en" sz="1224">
              <a:solidFill>
                <a:schemeClr val="dk1"/>
              </a:solidFill>
              <a:latin typeface="Quattrocento Sans"/>
              <a:ea typeface="Quattrocento Sans"/>
              <a:cs typeface="Quattrocento Sans"/>
              <a:sym typeface="Quattrocento Sans"/>
            </a:endParaRPr>
          </a:p>
        </p:txBody>
      </p:sp>
      <p:sp>
        <p:nvSpPr>
          <p:cNvPr id="117" name="Shape 117"/>
          <p:cNvSpPr/>
          <p:nvPr/>
        </p:nvSpPr>
        <p:spPr>
          <a:xfrm>
            <a:off x="233184" y="6625196"/>
            <a:ext cx="886221" cy="190111"/>
          </a:xfrm>
          <a:prstGeom prst="rect">
            <a:avLst/>
          </a:prstGeom>
          <a:noFill/>
          <a:ln>
            <a:noFill/>
          </a:ln>
        </p:spPr>
        <p:txBody>
          <a:bodyPr lIns="93254" tIns="46610" rIns="93254" bIns="46610"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118" name="Shape 118"/>
          <p:cNvSpPr/>
          <p:nvPr/>
        </p:nvSpPr>
        <p:spPr>
          <a:xfrm>
            <a:off x="233184" y="6625196"/>
            <a:ext cx="88949" cy="90160"/>
          </a:xfrm>
          <a:custGeom>
            <a:avLst/>
            <a:gdLst/>
            <a:ahLst/>
            <a:cxnLst/>
            <a:rect l="0" t="0" r="0" b="0"/>
            <a:pathLst>
              <a:path w="120000" h="120000" extrusionOk="0">
                <a:moveTo>
                  <a:pt x="0" y="0"/>
                </a:moveTo>
                <a:cubicBezTo>
                  <a:pt x="120000" y="0"/>
                  <a:pt x="120000" y="0"/>
                  <a:pt x="120000" y="0"/>
                </a:cubicBezTo>
                <a:cubicBezTo>
                  <a:pt x="120000" y="40258"/>
                  <a:pt x="120000" y="80516"/>
                  <a:pt x="120000" y="120000"/>
                </a:cubicBezTo>
                <a:cubicBezTo>
                  <a:pt x="80259" y="120000"/>
                  <a:pt x="39740" y="120000"/>
                  <a:pt x="0" y="120000"/>
                </a:cubicBezTo>
                <a:cubicBezTo>
                  <a:pt x="0" y="0"/>
                  <a:pt x="0" y="0"/>
                  <a:pt x="0" y="0"/>
                </a:cubicBezTo>
                <a:close/>
              </a:path>
            </a:pathLst>
          </a:custGeom>
          <a:solidFill>
            <a:srgbClr val="EF5125"/>
          </a:solidFill>
          <a:ln>
            <a:noFill/>
          </a:ln>
        </p:spPr>
        <p:txBody>
          <a:bodyPr lIns="93254" tIns="46610" rIns="93254" bIns="46610"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119" name="Shape 119"/>
          <p:cNvSpPr/>
          <p:nvPr/>
        </p:nvSpPr>
        <p:spPr>
          <a:xfrm>
            <a:off x="331050" y="6625196"/>
            <a:ext cx="91397" cy="90160"/>
          </a:xfrm>
          <a:custGeom>
            <a:avLst/>
            <a:gdLst/>
            <a:ahLst/>
            <a:cxnLst/>
            <a:rect l="0" t="0" r="0" b="0"/>
            <a:pathLst>
              <a:path w="120000" h="120000" extrusionOk="0">
                <a:moveTo>
                  <a:pt x="0" y="0"/>
                </a:moveTo>
                <a:cubicBezTo>
                  <a:pt x="120000" y="0"/>
                  <a:pt x="120000" y="0"/>
                  <a:pt x="120000" y="0"/>
                </a:cubicBezTo>
                <a:cubicBezTo>
                  <a:pt x="120000" y="40258"/>
                  <a:pt x="120000" y="80516"/>
                  <a:pt x="120000" y="120000"/>
                </a:cubicBezTo>
                <a:cubicBezTo>
                  <a:pt x="79741" y="120000"/>
                  <a:pt x="39483" y="120000"/>
                  <a:pt x="0" y="120000"/>
                </a:cubicBezTo>
                <a:cubicBezTo>
                  <a:pt x="0" y="80516"/>
                  <a:pt x="0" y="40258"/>
                  <a:pt x="0" y="0"/>
                </a:cubicBezTo>
                <a:close/>
              </a:path>
            </a:pathLst>
          </a:custGeom>
          <a:solidFill>
            <a:srgbClr val="80BA42"/>
          </a:solidFill>
          <a:ln>
            <a:noFill/>
          </a:ln>
        </p:spPr>
        <p:txBody>
          <a:bodyPr lIns="93254" tIns="46610" rIns="93254" bIns="46610"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120" name="Shape 120"/>
          <p:cNvSpPr/>
          <p:nvPr/>
        </p:nvSpPr>
        <p:spPr>
          <a:xfrm>
            <a:off x="1018770" y="6652965"/>
            <a:ext cx="100373" cy="126876"/>
          </a:xfrm>
          <a:custGeom>
            <a:avLst/>
            <a:gdLst/>
            <a:ahLst/>
            <a:cxnLst/>
            <a:rect l="0" t="0" r="0" b="0"/>
            <a:pathLst>
              <a:path w="120000" h="120000" extrusionOk="0">
                <a:moveTo>
                  <a:pt x="31213" y="5581"/>
                </a:moveTo>
                <a:cubicBezTo>
                  <a:pt x="40924" y="558"/>
                  <a:pt x="53410" y="0"/>
                  <a:pt x="65202" y="2790"/>
                </a:cubicBezTo>
                <a:cubicBezTo>
                  <a:pt x="65202" y="7813"/>
                  <a:pt x="65202" y="13395"/>
                  <a:pt x="65202" y="18418"/>
                </a:cubicBezTo>
                <a:cubicBezTo>
                  <a:pt x="59653" y="16744"/>
                  <a:pt x="53410" y="15627"/>
                  <a:pt x="47861" y="17302"/>
                </a:cubicBezTo>
                <a:cubicBezTo>
                  <a:pt x="43699" y="18976"/>
                  <a:pt x="40924" y="22325"/>
                  <a:pt x="40231" y="26232"/>
                </a:cubicBezTo>
                <a:cubicBezTo>
                  <a:pt x="39537" y="30697"/>
                  <a:pt x="39537" y="35162"/>
                  <a:pt x="39537" y="40186"/>
                </a:cubicBezTo>
                <a:cubicBezTo>
                  <a:pt x="51329" y="40186"/>
                  <a:pt x="62427" y="40186"/>
                  <a:pt x="73526" y="40186"/>
                </a:cubicBezTo>
                <a:cubicBezTo>
                  <a:pt x="73526" y="34046"/>
                  <a:pt x="73526" y="28465"/>
                  <a:pt x="73526" y="22325"/>
                </a:cubicBezTo>
                <a:cubicBezTo>
                  <a:pt x="81156" y="20651"/>
                  <a:pt x="88786" y="18418"/>
                  <a:pt x="96416" y="16744"/>
                </a:cubicBezTo>
                <a:cubicBezTo>
                  <a:pt x="96416" y="24558"/>
                  <a:pt x="96416" y="32372"/>
                  <a:pt x="96416" y="40186"/>
                </a:cubicBezTo>
                <a:cubicBezTo>
                  <a:pt x="104046" y="40186"/>
                  <a:pt x="112369" y="40186"/>
                  <a:pt x="120000" y="40186"/>
                </a:cubicBezTo>
                <a:cubicBezTo>
                  <a:pt x="120000" y="55255"/>
                  <a:pt x="120000" y="55255"/>
                  <a:pt x="120000" y="55255"/>
                </a:cubicBezTo>
                <a:cubicBezTo>
                  <a:pt x="111676" y="54697"/>
                  <a:pt x="104046" y="55255"/>
                  <a:pt x="96416" y="55255"/>
                </a:cubicBezTo>
                <a:cubicBezTo>
                  <a:pt x="96416" y="63627"/>
                  <a:pt x="96416" y="72558"/>
                  <a:pt x="96416" y="81488"/>
                </a:cubicBezTo>
                <a:cubicBezTo>
                  <a:pt x="97109" y="85953"/>
                  <a:pt x="96416" y="90976"/>
                  <a:pt x="97109" y="96000"/>
                </a:cubicBezTo>
                <a:cubicBezTo>
                  <a:pt x="97803" y="98790"/>
                  <a:pt x="98497" y="101581"/>
                  <a:pt x="101965" y="103255"/>
                </a:cubicBezTo>
                <a:cubicBezTo>
                  <a:pt x="107514" y="105488"/>
                  <a:pt x="114450" y="104372"/>
                  <a:pt x="120000" y="101581"/>
                </a:cubicBezTo>
                <a:cubicBezTo>
                  <a:pt x="120000" y="117209"/>
                  <a:pt x="120000" y="117209"/>
                  <a:pt x="120000" y="117209"/>
                </a:cubicBezTo>
                <a:cubicBezTo>
                  <a:pt x="113063" y="119441"/>
                  <a:pt x="105433" y="120000"/>
                  <a:pt x="98497" y="120000"/>
                </a:cubicBezTo>
                <a:cubicBezTo>
                  <a:pt x="91560" y="119441"/>
                  <a:pt x="84624" y="117209"/>
                  <a:pt x="80462" y="112744"/>
                </a:cubicBezTo>
                <a:cubicBezTo>
                  <a:pt x="74913" y="108279"/>
                  <a:pt x="73526" y="101581"/>
                  <a:pt x="73526" y="95441"/>
                </a:cubicBezTo>
                <a:cubicBezTo>
                  <a:pt x="73526" y="82046"/>
                  <a:pt x="73526" y="68651"/>
                  <a:pt x="73526" y="55255"/>
                </a:cubicBezTo>
                <a:cubicBezTo>
                  <a:pt x="62427" y="55255"/>
                  <a:pt x="51329" y="55255"/>
                  <a:pt x="39537" y="55255"/>
                </a:cubicBezTo>
                <a:cubicBezTo>
                  <a:pt x="39537" y="75906"/>
                  <a:pt x="39537" y="97116"/>
                  <a:pt x="39537" y="118325"/>
                </a:cubicBezTo>
                <a:cubicBezTo>
                  <a:pt x="31907" y="118325"/>
                  <a:pt x="24277" y="118325"/>
                  <a:pt x="16647" y="118325"/>
                </a:cubicBezTo>
                <a:cubicBezTo>
                  <a:pt x="16647" y="97116"/>
                  <a:pt x="16647" y="75906"/>
                  <a:pt x="16647" y="55255"/>
                </a:cubicBezTo>
                <a:cubicBezTo>
                  <a:pt x="11098" y="55255"/>
                  <a:pt x="5549" y="55255"/>
                  <a:pt x="693" y="55255"/>
                </a:cubicBezTo>
                <a:cubicBezTo>
                  <a:pt x="693" y="50232"/>
                  <a:pt x="693" y="45209"/>
                  <a:pt x="0" y="40186"/>
                </a:cubicBezTo>
                <a:cubicBezTo>
                  <a:pt x="5549" y="40186"/>
                  <a:pt x="11098" y="40186"/>
                  <a:pt x="16647" y="40186"/>
                </a:cubicBezTo>
                <a:cubicBezTo>
                  <a:pt x="16647" y="33488"/>
                  <a:pt x="15260" y="26790"/>
                  <a:pt x="18034" y="20093"/>
                </a:cubicBezTo>
                <a:cubicBezTo>
                  <a:pt x="20115" y="14511"/>
                  <a:pt x="24971" y="8930"/>
                  <a:pt x="31213" y="5581"/>
                </a:cubicBezTo>
                <a:close/>
              </a:path>
            </a:pathLst>
          </a:custGeom>
          <a:solidFill>
            <a:schemeClr val="dk1"/>
          </a:solidFill>
          <a:ln>
            <a:noFill/>
          </a:ln>
        </p:spPr>
        <p:txBody>
          <a:bodyPr lIns="93254" tIns="46610" rIns="93254" bIns="46610"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121" name="Shape 121"/>
          <p:cNvSpPr/>
          <p:nvPr/>
        </p:nvSpPr>
        <p:spPr>
          <a:xfrm>
            <a:off x="618042" y="6659576"/>
            <a:ext cx="23665" cy="23662"/>
          </a:xfrm>
          <a:custGeom>
            <a:avLst/>
            <a:gdLst/>
            <a:ahLst/>
            <a:cxnLst/>
            <a:rect l="0" t="0" r="0" b="0"/>
            <a:pathLst>
              <a:path w="120000" h="120000" extrusionOk="0">
                <a:moveTo>
                  <a:pt x="48571" y="2926"/>
                </a:moveTo>
                <a:cubicBezTo>
                  <a:pt x="68571" y="0"/>
                  <a:pt x="88571" y="8780"/>
                  <a:pt x="100000" y="23414"/>
                </a:cubicBezTo>
                <a:cubicBezTo>
                  <a:pt x="117142" y="40975"/>
                  <a:pt x="120000" y="67317"/>
                  <a:pt x="108571" y="87804"/>
                </a:cubicBezTo>
                <a:cubicBezTo>
                  <a:pt x="94285" y="108292"/>
                  <a:pt x="68571" y="120000"/>
                  <a:pt x="42857" y="114146"/>
                </a:cubicBezTo>
                <a:cubicBezTo>
                  <a:pt x="20000" y="108292"/>
                  <a:pt x="0" y="84878"/>
                  <a:pt x="0" y="58536"/>
                </a:cubicBezTo>
                <a:cubicBezTo>
                  <a:pt x="0" y="32195"/>
                  <a:pt x="22857" y="5853"/>
                  <a:pt x="48571" y="2926"/>
                </a:cubicBezTo>
                <a:close/>
              </a:path>
            </a:pathLst>
          </a:custGeom>
          <a:solidFill>
            <a:schemeClr val="dk1"/>
          </a:solidFill>
          <a:ln>
            <a:noFill/>
          </a:ln>
        </p:spPr>
        <p:txBody>
          <a:bodyPr lIns="93254" tIns="46610" rIns="93254" bIns="46610"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122" name="Shape 122"/>
          <p:cNvSpPr/>
          <p:nvPr/>
        </p:nvSpPr>
        <p:spPr>
          <a:xfrm>
            <a:off x="477854" y="6662222"/>
            <a:ext cx="122814" cy="116269"/>
          </a:xfrm>
          <a:custGeom>
            <a:avLst/>
            <a:gdLst/>
            <a:ahLst/>
            <a:cxnLst/>
            <a:rect l="0" t="0" r="0" b="0"/>
            <a:pathLst>
              <a:path w="120000" h="120000" extrusionOk="0">
                <a:moveTo>
                  <a:pt x="0" y="0"/>
                </a:moveTo>
                <a:cubicBezTo>
                  <a:pt x="9099" y="0"/>
                  <a:pt x="18199" y="0"/>
                  <a:pt x="27298" y="0"/>
                </a:cubicBezTo>
                <a:cubicBezTo>
                  <a:pt x="35829" y="23877"/>
                  <a:pt x="44928" y="47142"/>
                  <a:pt x="53459" y="71020"/>
                </a:cubicBezTo>
                <a:cubicBezTo>
                  <a:pt x="55734" y="76530"/>
                  <a:pt x="57440" y="82653"/>
                  <a:pt x="59715" y="88775"/>
                </a:cubicBezTo>
                <a:cubicBezTo>
                  <a:pt x="71090" y="59387"/>
                  <a:pt x="82464" y="29999"/>
                  <a:pt x="93270" y="612"/>
                </a:cubicBezTo>
                <a:cubicBezTo>
                  <a:pt x="101800" y="0"/>
                  <a:pt x="110900" y="612"/>
                  <a:pt x="120000" y="612"/>
                </a:cubicBezTo>
                <a:cubicBezTo>
                  <a:pt x="120000" y="40408"/>
                  <a:pt x="120000" y="80204"/>
                  <a:pt x="120000" y="119387"/>
                </a:cubicBezTo>
                <a:cubicBezTo>
                  <a:pt x="113175" y="119387"/>
                  <a:pt x="106919" y="119999"/>
                  <a:pt x="100663" y="119387"/>
                </a:cubicBezTo>
                <a:cubicBezTo>
                  <a:pt x="100663" y="89999"/>
                  <a:pt x="100663" y="61224"/>
                  <a:pt x="100663" y="31836"/>
                </a:cubicBezTo>
                <a:cubicBezTo>
                  <a:pt x="100663" y="29999"/>
                  <a:pt x="100663" y="28775"/>
                  <a:pt x="100663" y="27551"/>
                </a:cubicBezTo>
                <a:cubicBezTo>
                  <a:pt x="100094" y="28163"/>
                  <a:pt x="100094" y="28775"/>
                  <a:pt x="99526" y="29387"/>
                </a:cubicBezTo>
                <a:cubicBezTo>
                  <a:pt x="88720" y="59387"/>
                  <a:pt x="77345" y="89387"/>
                  <a:pt x="66540" y="119387"/>
                </a:cubicBezTo>
                <a:cubicBezTo>
                  <a:pt x="61990" y="119999"/>
                  <a:pt x="57440" y="119387"/>
                  <a:pt x="52890" y="119999"/>
                </a:cubicBezTo>
                <a:cubicBezTo>
                  <a:pt x="41516" y="89387"/>
                  <a:pt x="30142" y="59387"/>
                  <a:pt x="18767" y="29387"/>
                </a:cubicBezTo>
                <a:cubicBezTo>
                  <a:pt x="18767" y="28775"/>
                  <a:pt x="18199" y="28163"/>
                  <a:pt x="18199" y="27551"/>
                </a:cubicBezTo>
                <a:cubicBezTo>
                  <a:pt x="17630" y="40408"/>
                  <a:pt x="18199" y="53265"/>
                  <a:pt x="17630" y="66122"/>
                </a:cubicBezTo>
                <a:cubicBezTo>
                  <a:pt x="17630" y="83877"/>
                  <a:pt x="17630" y="101632"/>
                  <a:pt x="17630" y="119387"/>
                </a:cubicBezTo>
                <a:cubicBezTo>
                  <a:pt x="11943" y="119999"/>
                  <a:pt x="5687" y="119387"/>
                  <a:pt x="0" y="119999"/>
                </a:cubicBezTo>
                <a:cubicBezTo>
                  <a:pt x="0" y="80204"/>
                  <a:pt x="0" y="39795"/>
                  <a:pt x="0" y="0"/>
                </a:cubicBezTo>
                <a:close/>
              </a:path>
            </a:pathLst>
          </a:custGeom>
          <a:solidFill>
            <a:schemeClr val="dk1"/>
          </a:solidFill>
          <a:ln>
            <a:noFill/>
          </a:ln>
        </p:spPr>
        <p:txBody>
          <a:bodyPr lIns="93254" tIns="46610" rIns="93254" bIns="46610"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123" name="Shape 123"/>
          <p:cNvSpPr/>
          <p:nvPr/>
        </p:nvSpPr>
        <p:spPr>
          <a:xfrm>
            <a:off x="651105" y="6692635"/>
            <a:ext cx="64875" cy="87304"/>
          </a:xfrm>
          <a:custGeom>
            <a:avLst/>
            <a:gdLst/>
            <a:ahLst/>
            <a:cxnLst/>
            <a:rect l="0" t="0" r="0" b="0"/>
            <a:pathLst>
              <a:path w="120000" h="120000" extrusionOk="0">
                <a:moveTo>
                  <a:pt x="55636" y="4054"/>
                </a:moveTo>
                <a:cubicBezTo>
                  <a:pt x="73090" y="0"/>
                  <a:pt x="91636" y="0"/>
                  <a:pt x="110181" y="4054"/>
                </a:cubicBezTo>
                <a:cubicBezTo>
                  <a:pt x="113454" y="4864"/>
                  <a:pt x="116727" y="5675"/>
                  <a:pt x="120000" y="7297"/>
                </a:cubicBezTo>
                <a:cubicBezTo>
                  <a:pt x="120000" y="15405"/>
                  <a:pt x="120000" y="24324"/>
                  <a:pt x="120000" y="33243"/>
                </a:cubicBezTo>
                <a:cubicBezTo>
                  <a:pt x="108000" y="25945"/>
                  <a:pt x="93818" y="21891"/>
                  <a:pt x="78545" y="23513"/>
                </a:cubicBezTo>
                <a:cubicBezTo>
                  <a:pt x="66545" y="24324"/>
                  <a:pt x="55636" y="29189"/>
                  <a:pt x="48000" y="35675"/>
                </a:cubicBezTo>
                <a:cubicBezTo>
                  <a:pt x="39272" y="44594"/>
                  <a:pt x="37090" y="56756"/>
                  <a:pt x="38181" y="67297"/>
                </a:cubicBezTo>
                <a:cubicBezTo>
                  <a:pt x="39272" y="76216"/>
                  <a:pt x="44727" y="84324"/>
                  <a:pt x="53454" y="90000"/>
                </a:cubicBezTo>
                <a:cubicBezTo>
                  <a:pt x="62181" y="95675"/>
                  <a:pt x="75272" y="98108"/>
                  <a:pt x="87272" y="97297"/>
                </a:cubicBezTo>
                <a:cubicBezTo>
                  <a:pt x="99272" y="96486"/>
                  <a:pt x="110181" y="92432"/>
                  <a:pt x="120000" y="87567"/>
                </a:cubicBezTo>
                <a:cubicBezTo>
                  <a:pt x="120000" y="95675"/>
                  <a:pt x="120000" y="103783"/>
                  <a:pt x="120000" y="111891"/>
                </a:cubicBezTo>
                <a:cubicBezTo>
                  <a:pt x="104727" y="118378"/>
                  <a:pt x="87272" y="120000"/>
                  <a:pt x="69818" y="120000"/>
                </a:cubicBezTo>
                <a:cubicBezTo>
                  <a:pt x="52363" y="119189"/>
                  <a:pt x="34909" y="114324"/>
                  <a:pt x="22909" y="104594"/>
                </a:cubicBezTo>
                <a:cubicBezTo>
                  <a:pt x="8727" y="94864"/>
                  <a:pt x="1090" y="81081"/>
                  <a:pt x="1090" y="67297"/>
                </a:cubicBezTo>
                <a:cubicBezTo>
                  <a:pt x="0" y="52702"/>
                  <a:pt x="3272" y="37297"/>
                  <a:pt x="15272" y="25135"/>
                </a:cubicBezTo>
                <a:cubicBezTo>
                  <a:pt x="24000" y="14594"/>
                  <a:pt x="39272" y="7297"/>
                  <a:pt x="55636" y="4054"/>
                </a:cubicBezTo>
                <a:close/>
              </a:path>
            </a:pathLst>
          </a:custGeom>
          <a:solidFill>
            <a:schemeClr val="dk1"/>
          </a:solidFill>
          <a:ln>
            <a:noFill/>
          </a:ln>
        </p:spPr>
        <p:txBody>
          <a:bodyPr lIns="93254" tIns="46610" rIns="93254" bIns="46610"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124" name="Shape 124"/>
          <p:cNvSpPr/>
          <p:nvPr/>
        </p:nvSpPr>
        <p:spPr>
          <a:xfrm>
            <a:off x="870646" y="6692635"/>
            <a:ext cx="56715" cy="87304"/>
          </a:xfrm>
          <a:custGeom>
            <a:avLst/>
            <a:gdLst/>
            <a:ahLst/>
            <a:cxnLst/>
            <a:rect l="0" t="0" r="0" b="0"/>
            <a:pathLst>
              <a:path w="120000" h="120000" extrusionOk="0">
                <a:moveTo>
                  <a:pt x="49484" y="1621"/>
                </a:moveTo>
                <a:cubicBezTo>
                  <a:pt x="69278" y="0"/>
                  <a:pt x="89072" y="1621"/>
                  <a:pt x="106391" y="5675"/>
                </a:cubicBezTo>
                <a:cubicBezTo>
                  <a:pt x="106391" y="14594"/>
                  <a:pt x="106391" y="22702"/>
                  <a:pt x="106391" y="30810"/>
                </a:cubicBezTo>
                <a:cubicBezTo>
                  <a:pt x="94020" y="25135"/>
                  <a:pt x="79175" y="21891"/>
                  <a:pt x="63092" y="22702"/>
                </a:cubicBezTo>
                <a:cubicBezTo>
                  <a:pt x="55670" y="22702"/>
                  <a:pt x="47010" y="25135"/>
                  <a:pt x="43298" y="29189"/>
                </a:cubicBezTo>
                <a:cubicBezTo>
                  <a:pt x="40824" y="34054"/>
                  <a:pt x="43298" y="40540"/>
                  <a:pt x="49484" y="43783"/>
                </a:cubicBezTo>
                <a:cubicBezTo>
                  <a:pt x="61855" y="48648"/>
                  <a:pt x="75463" y="51081"/>
                  <a:pt x="87835" y="55135"/>
                </a:cubicBezTo>
                <a:cubicBezTo>
                  <a:pt x="97731" y="59189"/>
                  <a:pt x="106391" y="63243"/>
                  <a:pt x="111340" y="70540"/>
                </a:cubicBezTo>
                <a:cubicBezTo>
                  <a:pt x="120000" y="82702"/>
                  <a:pt x="116288" y="98918"/>
                  <a:pt x="100206" y="108648"/>
                </a:cubicBezTo>
                <a:cubicBezTo>
                  <a:pt x="85360" y="117567"/>
                  <a:pt x="63092" y="120000"/>
                  <a:pt x="43298" y="120000"/>
                </a:cubicBezTo>
                <a:cubicBezTo>
                  <a:pt x="28453" y="119189"/>
                  <a:pt x="13608" y="117567"/>
                  <a:pt x="1237" y="113513"/>
                </a:cubicBezTo>
                <a:cubicBezTo>
                  <a:pt x="1237" y="104594"/>
                  <a:pt x="1237" y="95675"/>
                  <a:pt x="1237" y="87567"/>
                </a:cubicBezTo>
                <a:cubicBezTo>
                  <a:pt x="12371" y="92432"/>
                  <a:pt x="24742" y="96486"/>
                  <a:pt x="38350" y="98108"/>
                </a:cubicBezTo>
                <a:cubicBezTo>
                  <a:pt x="48247" y="98918"/>
                  <a:pt x="58144" y="98918"/>
                  <a:pt x="66804" y="96486"/>
                </a:cubicBezTo>
                <a:cubicBezTo>
                  <a:pt x="75463" y="93243"/>
                  <a:pt x="76701" y="85945"/>
                  <a:pt x="71752" y="81081"/>
                </a:cubicBezTo>
                <a:cubicBezTo>
                  <a:pt x="66804" y="77027"/>
                  <a:pt x="60618" y="74594"/>
                  <a:pt x="54432" y="72972"/>
                </a:cubicBezTo>
                <a:cubicBezTo>
                  <a:pt x="42061" y="69729"/>
                  <a:pt x="28453" y="66486"/>
                  <a:pt x="18556" y="60810"/>
                </a:cubicBezTo>
                <a:cubicBezTo>
                  <a:pt x="11134" y="57567"/>
                  <a:pt x="4948" y="51891"/>
                  <a:pt x="2474" y="45405"/>
                </a:cubicBezTo>
                <a:cubicBezTo>
                  <a:pt x="0" y="36486"/>
                  <a:pt x="0" y="26756"/>
                  <a:pt x="8659" y="18648"/>
                </a:cubicBezTo>
                <a:cubicBezTo>
                  <a:pt x="17319" y="9729"/>
                  <a:pt x="33402" y="4054"/>
                  <a:pt x="49484" y="1621"/>
                </a:cubicBezTo>
                <a:close/>
              </a:path>
            </a:pathLst>
          </a:custGeom>
          <a:solidFill>
            <a:schemeClr val="dk1"/>
          </a:solidFill>
          <a:ln>
            <a:noFill/>
          </a:ln>
        </p:spPr>
        <p:txBody>
          <a:bodyPr lIns="93254" tIns="46610" rIns="93254" bIns="46610"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125" name="Shape 125"/>
          <p:cNvSpPr/>
          <p:nvPr/>
        </p:nvSpPr>
        <p:spPr>
          <a:xfrm>
            <a:off x="730457" y="6693958"/>
            <a:ext cx="46106" cy="84856"/>
          </a:xfrm>
          <a:custGeom>
            <a:avLst/>
            <a:gdLst/>
            <a:ahLst/>
            <a:cxnLst/>
            <a:rect l="0" t="0" r="0" b="0"/>
            <a:pathLst>
              <a:path w="120000" h="120000" extrusionOk="0">
                <a:moveTo>
                  <a:pt x="74074" y="5000"/>
                </a:moveTo>
                <a:cubicBezTo>
                  <a:pt x="87407" y="0"/>
                  <a:pt x="105185" y="0"/>
                  <a:pt x="120000" y="2500"/>
                </a:cubicBezTo>
                <a:cubicBezTo>
                  <a:pt x="120000" y="11666"/>
                  <a:pt x="120000" y="21666"/>
                  <a:pt x="120000" y="30833"/>
                </a:cubicBezTo>
                <a:cubicBezTo>
                  <a:pt x="109629" y="26666"/>
                  <a:pt x="97777" y="25833"/>
                  <a:pt x="85925" y="25833"/>
                </a:cubicBezTo>
                <a:cubicBezTo>
                  <a:pt x="72592" y="26666"/>
                  <a:pt x="60740" y="33333"/>
                  <a:pt x="54814" y="40000"/>
                </a:cubicBezTo>
                <a:cubicBezTo>
                  <a:pt x="48888" y="47500"/>
                  <a:pt x="47407" y="55833"/>
                  <a:pt x="48888" y="64166"/>
                </a:cubicBezTo>
                <a:cubicBezTo>
                  <a:pt x="48888" y="82500"/>
                  <a:pt x="48888" y="100833"/>
                  <a:pt x="48888" y="120000"/>
                </a:cubicBezTo>
                <a:cubicBezTo>
                  <a:pt x="32592" y="120000"/>
                  <a:pt x="16296" y="120000"/>
                  <a:pt x="0" y="120000"/>
                </a:cubicBezTo>
                <a:cubicBezTo>
                  <a:pt x="0" y="80833"/>
                  <a:pt x="0" y="41666"/>
                  <a:pt x="0" y="3333"/>
                </a:cubicBezTo>
                <a:cubicBezTo>
                  <a:pt x="16296" y="3333"/>
                  <a:pt x="32592" y="3333"/>
                  <a:pt x="48888" y="3333"/>
                </a:cubicBezTo>
                <a:cubicBezTo>
                  <a:pt x="48888" y="10000"/>
                  <a:pt x="48888" y="16666"/>
                  <a:pt x="48888" y="23333"/>
                </a:cubicBezTo>
                <a:cubicBezTo>
                  <a:pt x="53333" y="15833"/>
                  <a:pt x="60740" y="9166"/>
                  <a:pt x="74074" y="5000"/>
                </a:cubicBezTo>
                <a:close/>
              </a:path>
            </a:pathLst>
          </a:custGeom>
          <a:solidFill>
            <a:schemeClr val="dk1"/>
          </a:solidFill>
          <a:ln>
            <a:noFill/>
          </a:ln>
        </p:spPr>
        <p:txBody>
          <a:bodyPr lIns="93254" tIns="46610" rIns="93254" bIns="46610"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126" name="Shape 126"/>
          <p:cNvSpPr/>
          <p:nvPr/>
        </p:nvSpPr>
        <p:spPr>
          <a:xfrm>
            <a:off x="619363" y="6695280"/>
            <a:ext cx="19993" cy="83224"/>
          </a:xfrm>
          <a:custGeom>
            <a:avLst/>
            <a:gdLst/>
            <a:ahLst/>
            <a:cxnLst/>
            <a:rect l="0" t="0" r="0" b="0"/>
            <a:pathLst>
              <a:path w="120000" h="120000" extrusionOk="0">
                <a:moveTo>
                  <a:pt x="0" y="0"/>
                </a:moveTo>
                <a:cubicBezTo>
                  <a:pt x="40000" y="0"/>
                  <a:pt x="80000" y="0"/>
                  <a:pt x="120000" y="0"/>
                </a:cubicBezTo>
                <a:cubicBezTo>
                  <a:pt x="120000" y="39428"/>
                  <a:pt x="120000" y="79714"/>
                  <a:pt x="120000" y="120000"/>
                </a:cubicBezTo>
                <a:cubicBezTo>
                  <a:pt x="80000" y="120000"/>
                  <a:pt x="40000" y="120000"/>
                  <a:pt x="0" y="120000"/>
                </a:cubicBezTo>
                <a:cubicBezTo>
                  <a:pt x="0" y="79714"/>
                  <a:pt x="0" y="39428"/>
                  <a:pt x="0" y="0"/>
                </a:cubicBezTo>
                <a:close/>
              </a:path>
            </a:pathLst>
          </a:custGeom>
          <a:solidFill>
            <a:schemeClr val="dk1"/>
          </a:solidFill>
          <a:ln>
            <a:noFill/>
          </a:ln>
        </p:spPr>
        <p:txBody>
          <a:bodyPr lIns="93254" tIns="46610" rIns="93254" bIns="46610"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127" name="Shape 127"/>
          <p:cNvSpPr/>
          <p:nvPr/>
        </p:nvSpPr>
        <p:spPr>
          <a:xfrm>
            <a:off x="778067" y="6692635"/>
            <a:ext cx="84868" cy="87304"/>
          </a:xfrm>
          <a:custGeom>
            <a:avLst/>
            <a:gdLst/>
            <a:ahLst/>
            <a:cxnLst/>
            <a:rect l="0" t="0" r="0" b="0"/>
            <a:pathLst>
              <a:path w="120000" h="120000" extrusionOk="0">
                <a:moveTo>
                  <a:pt x="114206" y="29798"/>
                </a:moveTo>
                <a:cubicBezTo>
                  <a:pt x="109241" y="19328"/>
                  <a:pt x="100137" y="11275"/>
                  <a:pt x="89379" y="6442"/>
                </a:cubicBezTo>
                <a:cubicBezTo>
                  <a:pt x="76965" y="805"/>
                  <a:pt x="63724" y="0"/>
                  <a:pt x="49655" y="1610"/>
                </a:cubicBezTo>
                <a:cubicBezTo>
                  <a:pt x="36413" y="3221"/>
                  <a:pt x="22344" y="9664"/>
                  <a:pt x="13241" y="20939"/>
                </a:cubicBezTo>
                <a:cubicBezTo>
                  <a:pt x="5793" y="30604"/>
                  <a:pt x="1655" y="42684"/>
                  <a:pt x="827" y="54765"/>
                </a:cubicBezTo>
                <a:cubicBezTo>
                  <a:pt x="0" y="69261"/>
                  <a:pt x="2482" y="85369"/>
                  <a:pt x="10758" y="97449"/>
                </a:cubicBezTo>
                <a:cubicBezTo>
                  <a:pt x="18206" y="107919"/>
                  <a:pt x="30620" y="115167"/>
                  <a:pt x="43034" y="117583"/>
                </a:cubicBezTo>
                <a:cubicBezTo>
                  <a:pt x="53793" y="119194"/>
                  <a:pt x="64551" y="120000"/>
                  <a:pt x="75310" y="117583"/>
                </a:cubicBezTo>
                <a:cubicBezTo>
                  <a:pt x="87724" y="115167"/>
                  <a:pt x="99310" y="107919"/>
                  <a:pt x="106758" y="98255"/>
                </a:cubicBezTo>
                <a:cubicBezTo>
                  <a:pt x="115034" y="89395"/>
                  <a:pt x="118344" y="77315"/>
                  <a:pt x="119172" y="65234"/>
                </a:cubicBezTo>
                <a:cubicBezTo>
                  <a:pt x="120000" y="53959"/>
                  <a:pt x="119172" y="41073"/>
                  <a:pt x="114206" y="29798"/>
                </a:cubicBezTo>
                <a:close/>
                <a:moveTo>
                  <a:pt x="86896" y="82147"/>
                </a:moveTo>
                <a:cubicBezTo>
                  <a:pt x="84413" y="87785"/>
                  <a:pt x="79448" y="92617"/>
                  <a:pt x="73655" y="95033"/>
                </a:cubicBezTo>
                <a:cubicBezTo>
                  <a:pt x="66206" y="97449"/>
                  <a:pt x="57931" y="97449"/>
                  <a:pt x="51310" y="95838"/>
                </a:cubicBezTo>
                <a:cubicBezTo>
                  <a:pt x="43034" y="93422"/>
                  <a:pt x="37241" y="88590"/>
                  <a:pt x="33931" y="82147"/>
                </a:cubicBezTo>
                <a:cubicBezTo>
                  <a:pt x="28965" y="73288"/>
                  <a:pt x="28137" y="62818"/>
                  <a:pt x="29793" y="53959"/>
                </a:cubicBezTo>
                <a:cubicBezTo>
                  <a:pt x="30620" y="45100"/>
                  <a:pt x="33103" y="36241"/>
                  <a:pt x="39724" y="29798"/>
                </a:cubicBezTo>
                <a:cubicBezTo>
                  <a:pt x="44689" y="25771"/>
                  <a:pt x="51310" y="23355"/>
                  <a:pt x="57931" y="23355"/>
                </a:cubicBezTo>
                <a:cubicBezTo>
                  <a:pt x="66206" y="22550"/>
                  <a:pt x="75310" y="24966"/>
                  <a:pt x="81103" y="30604"/>
                </a:cubicBezTo>
                <a:cubicBezTo>
                  <a:pt x="87724" y="37046"/>
                  <a:pt x="90206" y="45906"/>
                  <a:pt x="91034" y="53959"/>
                </a:cubicBezTo>
                <a:cubicBezTo>
                  <a:pt x="91862" y="63624"/>
                  <a:pt x="91034" y="73288"/>
                  <a:pt x="86896" y="82147"/>
                </a:cubicBezTo>
                <a:close/>
              </a:path>
            </a:pathLst>
          </a:custGeom>
          <a:solidFill>
            <a:schemeClr val="dk1"/>
          </a:solidFill>
          <a:ln>
            <a:noFill/>
          </a:ln>
        </p:spPr>
        <p:txBody>
          <a:bodyPr lIns="93254" tIns="46610" rIns="93254" bIns="46610"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128" name="Shape 128"/>
          <p:cNvSpPr/>
          <p:nvPr/>
        </p:nvSpPr>
        <p:spPr>
          <a:xfrm>
            <a:off x="932805" y="6692635"/>
            <a:ext cx="84868" cy="87304"/>
          </a:xfrm>
          <a:custGeom>
            <a:avLst/>
            <a:gdLst/>
            <a:ahLst/>
            <a:cxnLst/>
            <a:rect l="0" t="0" r="0" b="0"/>
            <a:pathLst>
              <a:path w="120000" h="120000" extrusionOk="0">
                <a:moveTo>
                  <a:pt x="115034" y="33020"/>
                </a:moveTo>
                <a:cubicBezTo>
                  <a:pt x="110896" y="22550"/>
                  <a:pt x="102620" y="12885"/>
                  <a:pt x="91862" y="7248"/>
                </a:cubicBezTo>
                <a:cubicBezTo>
                  <a:pt x="78620" y="805"/>
                  <a:pt x="64551" y="0"/>
                  <a:pt x="50482" y="1610"/>
                </a:cubicBezTo>
                <a:cubicBezTo>
                  <a:pt x="39724" y="3221"/>
                  <a:pt x="28137" y="7248"/>
                  <a:pt x="19862" y="14496"/>
                </a:cubicBezTo>
                <a:cubicBezTo>
                  <a:pt x="9103" y="23355"/>
                  <a:pt x="3310" y="36241"/>
                  <a:pt x="1655" y="49127"/>
                </a:cubicBezTo>
                <a:cubicBezTo>
                  <a:pt x="0" y="62013"/>
                  <a:pt x="827" y="75704"/>
                  <a:pt x="5793" y="87785"/>
                </a:cubicBezTo>
                <a:cubicBezTo>
                  <a:pt x="11586" y="99865"/>
                  <a:pt x="21517" y="110335"/>
                  <a:pt x="33931" y="114362"/>
                </a:cubicBezTo>
                <a:cubicBezTo>
                  <a:pt x="46344" y="119194"/>
                  <a:pt x="60413" y="120000"/>
                  <a:pt x="72827" y="117583"/>
                </a:cubicBezTo>
                <a:cubicBezTo>
                  <a:pt x="86068" y="115973"/>
                  <a:pt x="98482" y="108724"/>
                  <a:pt x="106758" y="98255"/>
                </a:cubicBezTo>
                <a:cubicBezTo>
                  <a:pt x="115862" y="87785"/>
                  <a:pt x="120000" y="74093"/>
                  <a:pt x="120000" y="60402"/>
                </a:cubicBezTo>
                <a:cubicBezTo>
                  <a:pt x="120000" y="50738"/>
                  <a:pt x="118344" y="41879"/>
                  <a:pt x="115034" y="33020"/>
                </a:cubicBezTo>
                <a:close/>
                <a:moveTo>
                  <a:pt x="90206" y="71677"/>
                </a:moveTo>
                <a:cubicBezTo>
                  <a:pt x="89379" y="77315"/>
                  <a:pt x="86896" y="82953"/>
                  <a:pt x="83586" y="87785"/>
                </a:cubicBezTo>
                <a:cubicBezTo>
                  <a:pt x="79448" y="92617"/>
                  <a:pt x="72827" y="95838"/>
                  <a:pt x="67034" y="96644"/>
                </a:cubicBezTo>
                <a:cubicBezTo>
                  <a:pt x="60413" y="97449"/>
                  <a:pt x="53793" y="96644"/>
                  <a:pt x="47172" y="94228"/>
                </a:cubicBezTo>
                <a:cubicBezTo>
                  <a:pt x="40551" y="91812"/>
                  <a:pt x="35586" y="86174"/>
                  <a:pt x="32275" y="79731"/>
                </a:cubicBezTo>
                <a:cubicBezTo>
                  <a:pt x="28965" y="71677"/>
                  <a:pt x="28965" y="63624"/>
                  <a:pt x="28965" y="54765"/>
                </a:cubicBezTo>
                <a:cubicBezTo>
                  <a:pt x="29793" y="46711"/>
                  <a:pt x="32275" y="38657"/>
                  <a:pt x="38068" y="32214"/>
                </a:cubicBezTo>
                <a:cubicBezTo>
                  <a:pt x="43034" y="26577"/>
                  <a:pt x="50482" y="23355"/>
                  <a:pt x="57931" y="23355"/>
                </a:cubicBezTo>
                <a:cubicBezTo>
                  <a:pt x="65379" y="22550"/>
                  <a:pt x="74482" y="24161"/>
                  <a:pt x="80275" y="29798"/>
                </a:cubicBezTo>
                <a:cubicBezTo>
                  <a:pt x="85241" y="33825"/>
                  <a:pt x="88551" y="41073"/>
                  <a:pt x="90206" y="47516"/>
                </a:cubicBezTo>
                <a:cubicBezTo>
                  <a:pt x="91862" y="55570"/>
                  <a:pt x="91862" y="63624"/>
                  <a:pt x="90206" y="71677"/>
                </a:cubicBezTo>
                <a:close/>
              </a:path>
            </a:pathLst>
          </a:custGeom>
          <a:solidFill>
            <a:schemeClr val="dk1"/>
          </a:solidFill>
          <a:ln>
            <a:noFill/>
          </a:ln>
        </p:spPr>
        <p:txBody>
          <a:bodyPr lIns="93254" tIns="46610" rIns="93254" bIns="46610"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129" name="Shape 129"/>
          <p:cNvSpPr/>
          <p:nvPr/>
        </p:nvSpPr>
        <p:spPr>
          <a:xfrm>
            <a:off x="233184" y="6725694"/>
            <a:ext cx="88949" cy="90160"/>
          </a:xfrm>
          <a:custGeom>
            <a:avLst/>
            <a:gdLst/>
            <a:ahLst/>
            <a:cxnLst/>
            <a:rect l="0" t="0" r="0" b="0"/>
            <a:pathLst>
              <a:path w="120000" h="120000" extrusionOk="0">
                <a:moveTo>
                  <a:pt x="0" y="0"/>
                </a:moveTo>
                <a:cubicBezTo>
                  <a:pt x="39740" y="0"/>
                  <a:pt x="80259" y="0"/>
                  <a:pt x="120000" y="0"/>
                </a:cubicBezTo>
                <a:cubicBezTo>
                  <a:pt x="120000" y="39483"/>
                  <a:pt x="120000" y="79741"/>
                  <a:pt x="120000" y="120000"/>
                </a:cubicBezTo>
                <a:cubicBezTo>
                  <a:pt x="0" y="120000"/>
                  <a:pt x="0" y="120000"/>
                  <a:pt x="0" y="120000"/>
                </a:cubicBezTo>
                <a:cubicBezTo>
                  <a:pt x="0" y="0"/>
                  <a:pt x="0" y="0"/>
                  <a:pt x="0" y="0"/>
                </a:cubicBezTo>
                <a:close/>
              </a:path>
            </a:pathLst>
          </a:custGeom>
          <a:solidFill>
            <a:srgbClr val="349FD9"/>
          </a:solidFill>
          <a:ln>
            <a:noFill/>
          </a:ln>
        </p:spPr>
        <p:txBody>
          <a:bodyPr lIns="93254" tIns="46610" rIns="93254" bIns="46610"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
        <p:nvSpPr>
          <p:cNvPr id="130" name="Shape 130"/>
          <p:cNvSpPr/>
          <p:nvPr/>
        </p:nvSpPr>
        <p:spPr>
          <a:xfrm>
            <a:off x="331050" y="6725694"/>
            <a:ext cx="91397" cy="90160"/>
          </a:xfrm>
          <a:custGeom>
            <a:avLst/>
            <a:gdLst/>
            <a:ahLst/>
            <a:cxnLst/>
            <a:rect l="0" t="0" r="0" b="0"/>
            <a:pathLst>
              <a:path w="120000" h="120000" extrusionOk="0">
                <a:moveTo>
                  <a:pt x="0" y="0"/>
                </a:moveTo>
                <a:cubicBezTo>
                  <a:pt x="39483" y="0"/>
                  <a:pt x="79741" y="0"/>
                  <a:pt x="120000" y="0"/>
                </a:cubicBezTo>
                <a:cubicBezTo>
                  <a:pt x="120000" y="39483"/>
                  <a:pt x="120000" y="79741"/>
                  <a:pt x="120000" y="120000"/>
                </a:cubicBezTo>
                <a:cubicBezTo>
                  <a:pt x="0" y="120000"/>
                  <a:pt x="0" y="120000"/>
                  <a:pt x="0" y="120000"/>
                </a:cubicBezTo>
                <a:cubicBezTo>
                  <a:pt x="0" y="79741"/>
                  <a:pt x="0" y="39483"/>
                  <a:pt x="0" y="0"/>
                </a:cubicBezTo>
                <a:close/>
              </a:path>
            </a:pathLst>
          </a:custGeom>
          <a:solidFill>
            <a:srgbClr val="FCB713"/>
          </a:solidFill>
          <a:ln>
            <a:noFill/>
          </a:ln>
        </p:spPr>
        <p:txBody>
          <a:bodyPr lIns="93254" tIns="46610" rIns="93254" bIns="46610" anchor="t" anchorCtr="0">
            <a:noAutofit/>
          </a:bodyPr>
          <a:lstStyle/>
          <a:p>
            <a:pPr marL="0" marR="0" lvl="0" indent="0" algn="l" rtl="0">
              <a:spcBef>
                <a:spcPts val="0"/>
              </a:spcBef>
              <a:buNone/>
            </a:pPr>
            <a:endParaRPr sz="1904">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85752755"/>
      </p:ext>
    </p:extLst>
  </p:cSld>
  <p:clrMap bg1="lt1" tx1="dk1" bg2="dk2" tx2="lt2" accent1="accent1" accent2="accent2" accent3="accent3" accent4="accent4" accent5="accent5" accent6="accent6" hlink="hlink" folHlink="folHlink"/>
  <p:sldLayoutIdLst>
    <p:sldLayoutId id="2147484578" r:id="rId1"/>
    <p:sldLayoutId id="2147484579" r:id="rId2"/>
    <p:sldLayoutId id="2147484580" r:id="rId3"/>
    <p:sldLayoutId id="2147484581" r:id="rId4"/>
    <p:sldLayoutId id="2147484582" r:id="rId5"/>
    <p:sldLayoutId id="2147484583" r:id="rId6"/>
    <p:sldLayoutId id="2147484584" r:id="rId7"/>
    <p:sldLayoutId id="2147484585" r:id="rId8"/>
    <p:sldLayoutId id="2147484586" r:id="rId9"/>
    <p:sldLayoutId id="2147484587" r:id="rId10"/>
    <p:sldLayoutId id="2147484588" r:id="rId11"/>
    <p:sldLayoutId id="2147484589" r:id="rId12"/>
    <p:sldLayoutId id="2147484590" r:id="rId13"/>
    <p:sldLayoutId id="2147484591" r:id="rId14"/>
    <p:sldLayoutId id="2147484592" r:id="rId15"/>
    <p:sldLayoutId id="2147484593" r:id="rId16"/>
    <p:sldLayoutId id="2147484594" r:id="rId17"/>
    <p:sldLayoutId id="2147484595" r:id="rId18"/>
    <p:sldLayoutId id="2147484596" r:id="rId19"/>
    <p:sldLayoutId id="2147484597" r:id="rId20"/>
    <p:sldLayoutId id="2147484598" r:id="rId21"/>
    <p:sldLayoutId id="2147484599" r:id="rId22"/>
    <p:sldLayoutId id="2147484600" r:id="rId23"/>
    <p:sldLayoutId id="2147484601" r:id="rId24"/>
    <p:sldLayoutId id="2147484602" r:id="rId25"/>
    <p:sldLayoutId id="2147484603" r:id="rId26"/>
    <p:sldLayoutId id="2147484604" r:id="rId27"/>
    <p:sldLayoutId id="2147484605" r:id="rId28"/>
    <p:sldLayoutId id="2147484606" r:id="rId29"/>
    <p:sldLayoutId id="2147484607" r:id="rId30"/>
    <p:sldLayoutId id="2147484608" r:id="rId31"/>
    <p:sldLayoutId id="2147484609" r:id="rId32"/>
    <p:sldLayoutId id="2147484610" r:id="rId33"/>
    <p:sldLayoutId id="2147484611" r:id="rId34"/>
    <p:sldLayoutId id="2147484612" r:id="rId35"/>
    <p:sldLayoutId id="2147484613" r:id="rId36"/>
    <p:sldLayoutId id="2147484614" r:id="rId37"/>
    <p:sldLayoutId id="2147484615" r:id="rId38"/>
    <p:sldLayoutId id="2147484616" r:id="rId39"/>
    <p:sldLayoutId id="2147484617" r:id="rId40"/>
    <p:sldLayoutId id="2147484618" r:id="rId41"/>
    <p:sldLayoutId id="2147484619" r:id="rId4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33"/>
        <p:cNvGrpSpPr/>
        <p:nvPr/>
      </p:nvGrpSpPr>
      <p:grpSpPr>
        <a:xfrm>
          <a:off x="0" y="0"/>
          <a:ext cx="0" cy="0"/>
          <a:chOff x="0" y="0"/>
          <a:chExt cx="0" cy="0"/>
        </a:xfrm>
      </p:grpSpPr>
      <p:sp>
        <p:nvSpPr>
          <p:cNvPr id="734" name="Shape 734"/>
          <p:cNvSpPr txBox="1">
            <a:spLocks noGrp="1"/>
          </p:cNvSpPr>
          <p:nvPr>
            <p:ph type="title"/>
          </p:nvPr>
        </p:nvSpPr>
        <p:spPr>
          <a:xfrm>
            <a:off x="274639" y="295277"/>
            <a:ext cx="11888503" cy="917509"/>
          </a:xfrm>
          <a:prstGeom prst="rect">
            <a:avLst/>
          </a:prstGeom>
          <a:noFill/>
          <a:ln>
            <a:noFill/>
          </a:ln>
        </p:spPr>
        <p:txBody>
          <a:bodyPr lIns="68575" tIns="68575" rIns="68575" bIns="68575" anchor="t" anchorCtr="0"/>
          <a:lstStyle>
            <a:lvl1pPr marL="0" marR="0" lvl="0" indent="0" algn="l" rtl="0">
              <a:lnSpc>
                <a:spcPct val="90000"/>
              </a:lnSpc>
              <a:spcBef>
                <a:spcPts val="0"/>
              </a:spcBef>
              <a:spcAft>
                <a:spcPts val="0"/>
              </a:spcAft>
              <a:buSzPct val="27500"/>
              <a:buNone/>
              <a:defRPr sz="4000" b="0" i="0" u="none" strike="noStrike" cap="none">
                <a:solidFill>
                  <a:schemeClr val="dk2"/>
                </a:solidFill>
                <a:latin typeface="Quattrocento Sans"/>
                <a:ea typeface="Quattrocento Sans"/>
                <a:cs typeface="Quattrocento Sans"/>
                <a:sym typeface="Quattrocento Sans"/>
              </a:defRPr>
            </a:lvl1pPr>
            <a:lvl2pPr marL="0" marR="0" lvl="1" indent="0" algn="l" rtl="0">
              <a:lnSpc>
                <a:spcPct val="90000"/>
              </a:lnSpc>
              <a:spcBef>
                <a:spcPts val="0"/>
              </a:spcBef>
              <a:spcAft>
                <a:spcPts val="0"/>
              </a:spcAft>
              <a:buSzPct val="27500"/>
              <a:buNone/>
              <a:defRPr sz="4000" b="0" i="0" u="none" strike="noStrike" cap="none">
                <a:solidFill>
                  <a:schemeClr val="dk2"/>
                </a:solidFill>
                <a:latin typeface="Quattrocento Sans"/>
                <a:ea typeface="Quattrocento Sans"/>
                <a:cs typeface="Quattrocento Sans"/>
                <a:sym typeface="Quattrocento Sans"/>
              </a:defRPr>
            </a:lvl2pPr>
            <a:lvl3pPr marL="0" marR="0" lvl="2" indent="0" algn="l" rtl="0">
              <a:lnSpc>
                <a:spcPct val="90000"/>
              </a:lnSpc>
              <a:spcBef>
                <a:spcPts val="0"/>
              </a:spcBef>
              <a:spcAft>
                <a:spcPts val="0"/>
              </a:spcAft>
              <a:buSzPct val="27500"/>
              <a:buNone/>
              <a:defRPr sz="4000" b="0" i="0" u="none" strike="noStrike" cap="none">
                <a:solidFill>
                  <a:schemeClr val="dk2"/>
                </a:solidFill>
                <a:latin typeface="Quattrocento Sans"/>
                <a:ea typeface="Quattrocento Sans"/>
                <a:cs typeface="Quattrocento Sans"/>
                <a:sym typeface="Quattrocento Sans"/>
              </a:defRPr>
            </a:lvl3pPr>
            <a:lvl4pPr marL="0" marR="0" lvl="3" indent="0" algn="l" rtl="0">
              <a:lnSpc>
                <a:spcPct val="90000"/>
              </a:lnSpc>
              <a:spcBef>
                <a:spcPts val="0"/>
              </a:spcBef>
              <a:spcAft>
                <a:spcPts val="0"/>
              </a:spcAft>
              <a:buSzPct val="27500"/>
              <a:buNone/>
              <a:defRPr sz="4000" b="0" i="0" u="none" strike="noStrike" cap="none">
                <a:solidFill>
                  <a:schemeClr val="dk2"/>
                </a:solidFill>
                <a:latin typeface="Quattrocento Sans"/>
                <a:ea typeface="Quattrocento Sans"/>
                <a:cs typeface="Quattrocento Sans"/>
                <a:sym typeface="Quattrocento Sans"/>
              </a:defRPr>
            </a:lvl4pPr>
            <a:lvl5pPr marL="0" marR="0" lvl="4" indent="0" algn="l" rtl="0">
              <a:lnSpc>
                <a:spcPct val="90000"/>
              </a:lnSpc>
              <a:spcBef>
                <a:spcPts val="0"/>
              </a:spcBef>
              <a:spcAft>
                <a:spcPts val="0"/>
              </a:spcAft>
              <a:buSzPct val="27500"/>
              <a:buNone/>
              <a:defRPr sz="4000" b="0" i="0" u="none" strike="noStrike" cap="none">
                <a:solidFill>
                  <a:schemeClr val="dk2"/>
                </a:solidFill>
                <a:latin typeface="Quattrocento Sans"/>
                <a:ea typeface="Quattrocento Sans"/>
                <a:cs typeface="Quattrocento Sans"/>
                <a:sym typeface="Quattrocento Sans"/>
              </a:defRPr>
            </a:lvl5pPr>
            <a:lvl6pPr marL="330200" marR="0" lvl="5" indent="0" algn="l" rtl="0">
              <a:lnSpc>
                <a:spcPct val="90000"/>
              </a:lnSpc>
              <a:spcBef>
                <a:spcPts val="0"/>
              </a:spcBef>
              <a:spcAft>
                <a:spcPts val="0"/>
              </a:spcAft>
              <a:buSzPct val="27500"/>
              <a:buNone/>
              <a:defRPr sz="4000" b="0" i="0" u="none" strike="noStrike" cap="none">
                <a:solidFill>
                  <a:schemeClr val="dk2"/>
                </a:solidFill>
                <a:latin typeface="Quattrocento Sans"/>
                <a:ea typeface="Quattrocento Sans"/>
                <a:cs typeface="Quattrocento Sans"/>
                <a:sym typeface="Quattrocento Sans"/>
              </a:defRPr>
            </a:lvl6pPr>
            <a:lvl7pPr marL="673100" marR="0" lvl="6" indent="0" algn="l" rtl="0">
              <a:lnSpc>
                <a:spcPct val="90000"/>
              </a:lnSpc>
              <a:spcBef>
                <a:spcPts val="0"/>
              </a:spcBef>
              <a:spcAft>
                <a:spcPts val="0"/>
              </a:spcAft>
              <a:buSzPct val="27500"/>
              <a:buNone/>
              <a:defRPr sz="4000" b="0" i="0" u="none" strike="noStrike" cap="none">
                <a:solidFill>
                  <a:schemeClr val="dk2"/>
                </a:solidFill>
                <a:latin typeface="Quattrocento Sans"/>
                <a:ea typeface="Quattrocento Sans"/>
                <a:cs typeface="Quattrocento Sans"/>
                <a:sym typeface="Quattrocento Sans"/>
              </a:defRPr>
            </a:lvl7pPr>
            <a:lvl8pPr marL="1003300" marR="0" lvl="7" indent="0" algn="l" rtl="0">
              <a:lnSpc>
                <a:spcPct val="90000"/>
              </a:lnSpc>
              <a:spcBef>
                <a:spcPts val="0"/>
              </a:spcBef>
              <a:spcAft>
                <a:spcPts val="0"/>
              </a:spcAft>
              <a:buSzPct val="27500"/>
              <a:buNone/>
              <a:defRPr sz="4000" b="0" i="0" u="none" strike="noStrike" cap="none">
                <a:solidFill>
                  <a:schemeClr val="dk2"/>
                </a:solidFill>
                <a:latin typeface="Quattrocento Sans"/>
                <a:ea typeface="Quattrocento Sans"/>
                <a:cs typeface="Quattrocento Sans"/>
                <a:sym typeface="Quattrocento Sans"/>
              </a:defRPr>
            </a:lvl8pPr>
            <a:lvl9pPr marL="1346200" marR="0" lvl="8" indent="0" algn="l" rtl="0">
              <a:lnSpc>
                <a:spcPct val="90000"/>
              </a:lnSpc>
              <a:spcBef>
                <a:spcPts val="0"/>
              </a:spcBef>
              <a:spcAft>
                <a:spcPts val="0"/>
              </a:spcAft>
              <a:buSzPct val="27500"/>
              <a:buNone/>
              <a:defRPr sz="4000" b="0" i="0" u="none" strike="noStrike" cap="none">
                <a:solidFill>
                  <a:schemeClr val="dk2"/>
                </a:solidFill>
                <a:latin typeface="Quattrocento Sans"/>
                <a:ea typeface="Quattrocento Sans"/>
                <a:cs typeface="Quattrocento Sans"/>
                <a:sym typeface="Quattrocento Sans"/>
              </a:defRPr>
            </a:lvl9pPr>
          </a:lstStyle>
          <a:p>
            <a:endParaRPr/>
          </a:p>
        </p:txBody>
      </p:sp>
      <p:sp>
        <p:nvSpPr>
          <p:cNvPr id="735" name="Shape 735"/>
          <p:cNvSpPr txBox="1">
            <a:spLocks noGrp="1"/>
          </p:cNvSpPr>
          <p:nvPr>
            <p:ph type="body" idx="1"/>
          </p:nvPr>
        </p:nvSpPr>
        <p:spPr>
          <a:xfrm>
            <a:off x="274637" y="1212852"/>
            <a:ext cx="11887279" cy="2092442"/>
          </a:xfrm>
          <a:prstGeom prst="rect">
            <a:avLst/>
          </a:prstGeom>
          <a:noFill/>
          <a:ln>
            <a:noFill/>
          </a:ln>
        </p:spPr>
        <p:txBody>
          <a:bodyPr lIns="68575" tIns="68575" rIns="68575" bIns="68575" anchor="t" anchorCtr="0"/>
          <a:lstStyle>
            <a:lvl1pPr marL="0" marR="0" lvl="0" indent="0" algn="l" rtl="0">
              <a:lnSpc>
                <a:spcPct val="90000"/>
              </a:lnSpc>
              <a:spcBef>
                <a:spcPts val="600"/>
              </a:spcBef>
              <a:spcAft>
                <a:spcPts val="0"/>
              </a:spcAft>
              <a:buClr>
                <a:schemeClr val="dk2"/>
              </a:buClr>
              <a:buSzPct val="37931"/>
              <a:buFont typeface="Arial"/>
              <a:buNone/>
              <a:defRPr sz="2900" b="0" i="0" u="none" strike="noStrike" cap="none">
                <a:solidFill>
                  <a:schemeClr val="dk2"/>
                </a:solidFill>
                <a:latin typeface="Quattrocento Sans"/>
                <a:ea typeface="Quattrocento Sans"/>
                <a:cs typeface="Quattrocento Sans"/>
                <a:sym typeface="Quattrocento Sans"/>
              </a:defRPr>
            </a:lvl1pPr>
            <a:lvl2pPr marL="0" marR="0" lvl="1" indent="0" algn="l" rtl="0">
              <a:lnSpc>
                <a:spcPct val="90000"/>
              </a:lnSpc>
              <a:spcBef>
                <a:spcPts val="400"/>
              </a:spcBef>
              <a:spcAft>
                <a:spcPts val="0"/>
              </a:spcAft>
              <a:buClr>
                <a:schemeClr val="dk2"/>
              </a:buClr>
              <a:buSzPct val="61111"/>
              <a:buFont typeface="Arial"/>
              <a:buNone/>
              <a:defRPr sz="1800" b="0" i="0" u="none" strike="noStrike" cap="none">
                <a:solidFill>
                  <a:schemeClr val="dk2"/>
                </a:solidFill>
                <a:latin typeface="Quattrocento Sans"/>
                <a:ea typeface="Quattrocento Sans"/>
                <a:cs typeface="Quattrocento Sans"/>
                <a:sym typeface="Quattrocento Sans"/>
              </a:defRPr>
            </a:lvl2pPr>
            <a:lvl3pPr marL="584200" marR="0" lvl="2" indent="-76200" algn="l" rtl="0">
              <a:lnSpc>
                <a:spcPct val="90000"/>
              </a:lnSpc>
              <a:spcBef>
                <a:spcPts val="300"/>
              </a:spcBef>
              <a:spcAft>
                <a:spcPts val="0"/>
              </a:spcAft>
              <a:buClr>
                <a:schemeClr val="dk2"/>
              </a:buClr>
              <a:buSzPct val="86666"/>
              <a:buFont typeface="Arial"/>
              <a:buChar char="•"/>
              <a:defRPr sz="1500" b="0" i="0" u="none" strike="noStrike" cap="none">
                <a:solidFill>
                  <a:schemeClr val="dk2"/>
                </a:solidFill>
                <a:latin typeface="Quattrocento Sans"/>
                <a:ea typeface="Quattrocento Sans"/>
                <a:cs typeface="Quattrocento Sans"/>
                <a:sym typeface="Quattrocento Sans"/>
              </a:defRPr>
            </a:lvl3pPr>
            <a:lvl4pPr marL="762000" marR="0" lvl="3" indent="-101600" algn="l" rtl="0">
              <a:lnSpc>
                <a:spcPct val="90000"/>
              </a:lnSpc>
              <a:spcBef>
                <a:spcPts val="300"/>
              </a:spcBef>
              <a:spcAft>
                <a:spcPts val="0"/>
              </a:spcAft>
              <a:buClr>
                <a:schemeClr val="dk2"/>
              </a:buClr>
              <a:buSzPct val="85714"/>
              <a:buFont typeface="Arial"/>
              <a:buChar char="•"/>
              <a:defRPr sz="1400" b="0" i="0" u="none" strike="noStrike" cap="none">
                <a:solidFill>
                  <a:schemeClr val="dk2"/>
                </a:solidFill>
                <a:latin typeface="Quattrocento Sans"/>
                <a:ea typeface="Quattrocento Sans"/>
                <a:cs typeface="Quattrocento Sans"/>
                <a:sym typeface="Quattrocento Sans"/>
              </a:defRPr>
            </a:lvl4pPr>
            <a:lvl5pPr marL="927100" marR="0" lvl="4" indent="-101600" algn="l" rtl="0">
              <a:lnSpc>
                <a:spcPct val="90000"/>
              </a:lnSpc>
              <a:spcBef>
                <a:spcPts val="300"/>
              </a:spcBef>
              <a:spcAft>
                <a:spcPts val="0"/>
              </a:spcAft>
              <a:buClr>
                <a:schemeClr val="dk2"/>
              </a:buClr>
              <a:buSzPct val="85714"/>
              <a:buFont typeface="Arial"/>
              <a:buChar char="•"/>
              <a:defRPr sz="1400" b="0" i="0" u="none" strike="noStrike" cap="none">
                <a:solidFill>
                  <a:schemeClr val="dk2"/>
                </a:solidFill>
                <a:latin typeface="Quattrocento Sans"/>
                <a:ea typeface="Quattrocento Sans"/>
                <a:cs typeface="Quattrocento Sans"/>
                <a:sym typeface="Quattrocento Sans"/>
              </a:defRPr>
            </a:lvl5pPr>
            <a:lvl6pPr marL="1879600" marR="0" lvl="5" indent="-76200" algn="l" rtl="0">
              <a:spcBef>
                <a:spcPts val="300"/>
              </a:spcBef>
              <a:buClr>
                <a:schemeClr val="dk1"/>
              </a:buClr>
              <a:buSzPct val="100000"/>
              <a:buFont typeface="Arial"/>
              <a:buChar char="•"/>
              <a:defRPr sz="1500" b="0" i="0" u="none" strike="noStrike" cap="none">
                <a:solidFill>
                  <a:schemeClr val="dk1"/>
                </a:solidFill>
                <a:latin typeface="Quattrocento Sans"/>
                <a:ea typeface="Quattrocento Sans"/>
                <a:cs typeface="Quattrocento Sans"/>
                <a:sym typeface="Quattrocento Sans"/>
              </a:defRPr>
            </a:lvl6pPr>
            <a:lvl7pPr marL="2222500" marR="0" lvl="6" indent="-76200" algn="l" rtl="0">
              <a:spcBef>
                <a:spcPts val="300"/>
              </a:spcBef>
              <a:buClr>
                <a:schemeClr val="dk1"/>
              </a:buClr>
              <a:buSzPct val="100000"/>
              <a:buFont typeface="Arial"/>
              <a:buChar char="•"/>
              <a:defRPr sz="1500" b="0" i="0" u="none" strike="noStrike" cap="none">
                <a:solidFill>
                  <a:schemeClr val="dk1"/>
                </a:solidFill>
                <a:latin typeface="Quattrocento Sans"/>
                <a:ea typeface="Quattrocento Sans"/>
                <a:cs typeface="Quattrocento Sans"/>
                <a:sym typeface="Quattrocento Sans"/>
              </a:defRPr>
            </a:lvl7pPr>
            <a:lvl8pPr marL="2565400" marR="0" lvl="7" indent="-76200" algn="l" rtl="0">
              <a:spcBef>
                <a:spcPts val="300"/>
              </a:spcBef>
              <a:buClr>
                <a:schemeClr val="dk1"/>
              </a:buClr>
              <a:buSzPct val="100000"/>
              <a:buFont typeface="Arial"/>
              <a:buChar char="•"/>
              <a:defRPr sz="1500" b="0" i="0" u="none" strike="noStrike" cap="none">
                <a:solidFill>
                  <a:schemeClr val="dk1"/>
                </a:solidFill>
                <a:latin typeface="Quattrocento Sans"/>
                <a:ea typeface="Quattrocento Sans"/>
                <a:cs typeface="Quattrocento Sans"/>
                <a:sym typeface="Quattrocento Sans"/>
              </a:defRPr>
            </a:lvl8pPr>
            <a:lvl9pPr marL="2908300" marR="0" lvl="8" indent="-76200" algn="l" rtl="0">
              <a:spcBef>
                <a:spcPts val="300"/>
              </a:spcBef>
              <a:buClr>
                <a:schemeClr val="dk1"/>
              </a:buClr>
              <a:buSzPct val="100000"/>
              <a:buFont typeface="Arial"/>
              <a:buChar char="•"/>
              <a:defRPr sz="1500" b="0" i="0" u="none" strike="noStrike" cap="none">
                <a:solidFill>
                  <a:schemeClr val="dk1"/>
                </a:solidFill>
                <a:latin typeface="Quattrocento Sans"/>
                <a:ea typeface="Quattrocento Sans"/>
                <a:cs typeface="Quattrocento Sans"/>
                <a:sym typeface="Quattrocento Sans"/>
              </a:defRPr>
            </a:lvl9pPr>
          </a:lstStyle>
          <a:p>
            <a:endParaRPr/>
          </a:p>
        </p:txBody>
      </p:sp>
      <p:sp>
        <p:nvSpPr>
          <p:cNvPr id="736" name="Shape 736"/>
          <p:cNvSpPr txBox="1">
            <a:spLocks noGrp="1"/>
          </p:cNvSpPr>
          <p:nvPr>
            <p:ph type="sldNum" idx="12"/>
          </p:nvPr>
        </p:nvSpPr>
        <p:spPr>
          <a:xfrm>
            <a:off x="11595099" y="6565900"/>
            <a:ext cx="566741" cy="136668"/>
          </a:xfrm>
          <a:prstGeom prst="rect">
            <a:avLst/>
          </a:prstGeom>
          <a:noFill/>
          <a:ln>
            <a:noFill/>
          </a:ln>
        </p:spPr>
        <p:txBody>
          <a:bodyPr lIns="68575" tIns="0" rIns="0" bIns="0" anchor="ctr" anchorCtr="0">
            <a:noAutofit/>
          </a:bodyPr>
          <a:lstStyle/>
          <a:p>
            <a:pPr algn="r">
              <a:buSzPct val="25000"/>
            </a:pPr>
            <a:fld id="{00000000-1234-1234-1234-123412341234}" type="slidenum">
              <a:rPr lang="en" sz="952" smtClean="0">
                <a:solidFill>
                  <a:srgbClr val="505050"/>
                </a:solidFill>
                <a:latin typeface="Quattrocento Sans"/>
                <a:ea typeface="Quattrocento Sans"/>
                <a:cs typeface="Quattrocento Sans"/>
                <a:sym typeface="Quattrocento Sans"/>
              </a:rPr>
              <a:pPr algn="r">
                <a:buSzPct val="25000"/>
              </a:pPr>
              <a:t>‹#›</a:t>
            </a:fld>
            <a:endParaRPr lang="en" sz="952">
              <a:solidFill>
                <a:srgbClr val="505050"/>
              </a:solidFill>
              <a:latin typeface="Quattrocento Sans"/>
              <a:ea typeface="Quattrocento Sans"/>
              <a:cs typeface="Quattrocento Sans"/>
              <a:sym typeface="Quattrocento Sans"/>
            </a:endParaRPr>
          </a:p>
        </p:txBody>
      </p:sp>
    </p:spTree>
    <p:extLst>
      <p:ext uri="{BB962C8B-B14F-4D97-AF65-F5344CB8AC3E}">
        <p14:creationId xmlns:p14="http://schemas.microsoft.com/office/powerpoint/2010/main" val="2250499175"/>
      </p:ext>
    </p:extLst>
  </p:cSld>
  <p:clrMap bg1="lt1" tx1="dk1" bg2="dk2" tx2="lt2" accent1="accent1" accent2="accent2" accent3="accent3" accent4="accent4" accent5="accent5" accent6="accent6" hlink="hlink" folHlink="folHlink"/>
  <p:sldLayoutIdLst>
    <p:sldLayoutId id="2147484621" r:id="rId1"/>
    <p:sldLayoutId id="2147484622" r:id="rId2"/>
    <p:sldLayoutId id="2147484623" r:id="rId3"/>
    <p:sldLayoutId id="2147484624" r:id="rId4"/>
    <p:sldLayoutId id="2147484625" r:id="rId5"/>
    <p:sldLayoutId id="2147484626" r:id="rId6"/>
    <p:sldLayoutId id="2147484627" r:id="rId7"/>
    <p:sldLayoutId id="2147484628" r:id="rId8"/>
    <p:sldLayoutId id="2147484629" r:id="rId9"/>
    <p:sldLayoutId id="2147484630" r:id="rId10"/>
    <p:sldLayoutId id="2147484631" r:id="rId11"/>
    <p:sldLayoutId id="2147484632" r:id="rId12"/>
    <p:sldLayoutId id="2147484633" r:id="rId13"/>
    <p:sldLayoutId id="2147484634" r:id="rId14"/>
    <p:sldLayoutId id="2147484635" r:id="rId15"/>
    <p:sldLayoutId id="2147484636" r:id="rId16"/>
    <p:sldLayoutId id="2147484637" r:id="rId17"/>
    <p:sldLayoutId id="2147484638" r:id="rId1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9"/>
        <p:cNvGrpSpPr/>
        <p:nvPr/>
      </p:nvGrpSpPr>
      <p:grpSpPr>
        <a:xfrm>
          <a:off x="0" y="0"/>
          <a:ext cx="0" cy="0"/>
          <a:chOff x="0" y="0"/>
          <a:chExt cx="0" cy="0"/>
        </a:xfrm>
      </p:grpSpPr>
      <p:sp>
        <p:nvSpPr>
          <p:cNvPr id="60" name="Shape 60"/>
          <p:cNvSpPr/>
          <p:nvPr/>
        </p:nvSpPr>
        <p:spPr>
          <a:xfrm rot="5400000">
            <a:off x="9394086" y="3050299"/>
            <a:ext cx="6994933" cy="893974"/>
          </a:xfrm>
          <a:prstGeom prst="rect">
            <a:avLst/>
          </a:prstGeom>
          <a:noFill/>
          <a:ln>
            <a:noFill/>
          </a:ln>
        </p:spPr>
        <p:txBody>
          <a:bodyPr lIns="91418" tIns="91418" rIns="91418" bIns="91418" anchor="ctr" anchorCtr="0">
            <a:noAutofit/>
          </a:bodyPr>
          <a:lstStyle/>
          <a:p>
            <a:pPr lvl="0">
              <a:spcBef>
                <a:spcPts val="0"/>
              </a:spcBef>
              <a:buNone/>
            </a:pPr>
            <a:endParaRPr sz="2448"/>
          </a:p>
        </p:txBody>
      </p:sp>
      <p:sp>
        <p:nvSpPr>
          <p:cNvPr id="61" name="Shape 61"/>
          <p:cNvSpPr txBox="1">
            <a:spLocks noGrp="1"/>
          </p:cNvSpPr>
          <p:nvPr>
            <p:ph type="title"/>
          </p:nvPr>
        </p:nvSpPr>
        <p:spPr>
          <a:xfrm>
            <a:off x="274680" y="295199"/>
            <a:ext cx="11889319" cy="917509"/>
          </a:xfrm>
          <a:prstGeom prst="rect">
            <a:avLst/>
          </a:prstGeom>
          <a:noFill/>
          <a:ln>
            <a:noFill/>
          </a:ln>
        </p:spPr>
        <p:txBody>
          <a:bodyPr lIns="67225" tIns="67225" rIns="67225" bIns="67225" anchor="t" anchorCtr="0"/>
          <a:lstStyle>
            <a:lvl1pPr marL="0" marR="0" lvl="0" indent="0" algn="l" rtl="0">
              <a:spcBef>
                <a:spcPts val="0"/>
              </a:spcBef>
              <a:buSzPct val="76923"/>
              <a:buNone/>
              <a:defRPr sz="1300" b="0" i="0" u="none" strike="noStrike" cap="none"/>
            </a:lvl1pPr>
            <a:lvl2pPr marL="0" marR="0" lvl="1" indent="0" algn="l" rtl="0">
              <a:spcBef>
                <a:spcPts val="0"/>
              </a:spcBef>
              <a:buSzPct val="76923"/>
              <a:buNone/>
              <a:defRPr sz="1300" b="0" i="0" u="none" strike="noStrike" cap="none"/>
            </a:lvl2pPr>
            <a:lvl3pPr marL="0" marR="0" lvl="2" indent="0" algn="l" rtl="0">
              <a:spcBef>
                <a:spcPts val="0"/>
              </a:spcBef>
              <a:buSzPct val="76923"/>
              <a:buNone/>
              <a:defRPr sz="1300" b="0" i="0" u="none" strike="noStrike" cap="none"/>
            </a:lvl3pPr>
            <a:lvl4pPr marL="0" marR="0" lvl="3" indent="0" algn="l" rtl="0">
              <a:spcBef>
                <a:spcPts val="0"/>
              </a:spcBef>
              <a:buSzPct val="76923"/>
              <a:buNone/>
              <a:defRPr sz="1300" b="0" i="0" u="none" strike="noStrike" cap="none"/>
            </a:lvl4pPr>
            <a:lvl5pPr marL="0" marR="0" lvl="4" indent="0" algn="l" rtl="0">
              <a:spcBef>
                <a:spcPts val="0"/>
              </a:spcBef>
              <a:buSzPct val="76923"/>
              <a:buNone/>
              <a:defRPr sz="1300" b="0" i="0" u="none" strike="noStrike" cap="none"/>
            </a:lvl5pPr>
            <a:lvl6pPr marL="0" marR="0" lvl="5" indent="0" algn="l" rtl="0">
              <a:spcBef>
                <a:spcPts val="0"/>
              </a:spcBef>
              <a:buSzPct val="76923"/>
              <a:buNone/>
              <a:defRPr sz="1300" b="0" i="0" u="none" strike="noStrike" cap="none"/>
            </a:lvl6pPr>
            <a:lvl7pPr marL="0" marR="0" lvl="6" indent="0" algn="l" rtl="0">
              <a:spcBef>
                <a:spcPts val="0"/>
              </a:spcBef>
              <a:buSzPct val="76923"/>
              <a:buNone/>
              <a:defRPr sz="1300" b="0" i="0" u="none" strike="noStrike" cap="none"/>
            </a:lvl7pPr>
            <a:lvl8pPr marL="0" marR="0" lvl="7" indent="0" algn="l" rtl="0">
              <a:spcBef>
                <a:spcPts val="0"/>
              </a:spcBef>
              <a:buSzPct val="76923"/>
              <a:buNone/>
              <a:defRPr sz="1300" b="0" i="0" u="none" strike="noStrike" cap="none"/>
            </a:lvl8pPr>
            <a:lvl9pPr marL="0" marR="0" lvl="8" indent="0" algn="l" rtl="0">
              <a:spcBef>
                <a:spcPts val="0"/>
              </a:spcBef>
              <a:buSzPct val="76923"/>
              <a:buNone/>
              <a:defRPr sz="1300" b="0" i="0" u="none" strike="noStrike" cap="none"/>
            </a:lvl9pPr>
          </a:lstStyle>
          <a:p>
            <a:endParaRPr/>
          </a:p>
        </p:txBody>
      </p:sp>
      <p:sp>
        <p:nvSpPr>
          <p:cNvPr id="62" name="Shape 62"/>
          <p:cNvSpPr txBox="1">
            <a:spLocks noGrp="1"/>
          </p:cNvSpPr>
          <p:nvPr>
            <p:ph type="sldNum" idx="12"/>
          </p:nvPr>
        </p:nvSpPr>
        <p:spPr>
          <a:xfrm>
            <a:off x="11247479" y="6663599"/>
            <a:ext cx="913967" cy="181951"/>
          </a:xfrm>
          <a:prstGeom prst="rect">
            <a:avLst/>
          </a:prstGeom>
          <a:noFill/>
          <a:ln>
            <a:noFill/>
          </a:ln>
        </p:spPr>
        <p:txBody>
          <a:bodyPr lIns="67225" tIns="33600" rIns="67225" bIns="33600" anchor="ctr" anchorCtr="0">
            <a:noAutofit/>
          </a:bodyPr>
          <a:lstStyle/>
          <a:p>
            <a:pPr algn="r">
              <a:buSzPct val="25000"/>
            </a:pPr>
            <a:fld id="{00000000-1234-1234-1234-123412341234}" type="slidenum">
              <a:rPr lang="en" sz="1224" smtClean="0">
                <a:solidFill>
                  <a:srgbClr val="B8B8B8"/>
                </a:solidFill>
                <a:latin typeface="Quattrocento Sans"/>
                <a:ea typeface="Quattrocento Sans"/>
                <a:cs typeface="Quattrocento Sans"/>
                <a:sym typeface="Quattrocento Sans"/>
              </a:rPr>
              <a:pPr algn="r">
                <a:buSzPct val="25000"/>
              </a:pPr>
              <a:t>‹#›</a:t>
            </a:fld>
            <a:endParaRPr lang="en" sz="1224">
              <a:solidFill>
                <a:srgbClr val="B8B8B8"/>
              </a:solidFill>
              <a:latin typeface="Quattrocento Sans"/>
              <a:ea typeface="Quattrocento Sans"/>
              <a:cs typeface="Quattrocento Sans"/>
              <a:sym typeface="Quattrocento Sans"/>
            </a:endParaRPr>
          </a:p>
        </p:txBody>
      </p:sp>
      <p:sp>
        <p:nvSpPr>
          <p:cNvPr id="63" name="Shape 63"/>
          <p:cNvSpPr txBox="1">
            <a:spLocks noGrp="1"/>
          </p:cNvSpPr>
          <p:nvPr>
            <p:ph type="body" idx="1"/>
          </p:nvPr>
        </p:nvSpPr>
        <p:spPr>
          <a:xfrm>
            <a:off x="621719" y="1636560"/>
            <a:ext cx="11192419" cy="4055968"/>
          </a:xfrm>
          <a:prstGeom prst="rect">
            <a:avLst/>
          </a:prstGeom>
          <a:noFill/>
          <a:ln>
            <a:noFill/>
          </a:ln>
        </p:spPr>
        <p:txBody>
          <a:bodyPr lIns="67225" tIns="67225" rIns="67225" bIns="67225" anchor="t" anchorCtr="0"/>
          <a:lstStyle>
            <a:lvl1pPr marL="0" marR="0" lvl="0" indent="0" algn="l" rtl="0">
              <a:spcBef>
                <a:spcPts val="0"/>
              </a:spcBef>
              <a:buSzPct val="76923"/>
              <a:buNone/>
              <a:defRPr sz="1300" b="0" i="0" u="none" strike="noStrike" cap="none"/>
            </a:lvl1pPr>
            <a:lvl2pPr marL="330200" marR="0" lvl="1" indent="0" algn="l" rtl="0">
              <a:spcBef>
                <a:spcPts val="0"/>
              </a:spcBef>
              <a:buSzPct val="76923"/>
              <a:buNone/>
              <a:defRPr sz="1300" b="0" i="0" u="none" strike="noStrike" cap="none"/>
            </a:lvl2pPr>
            <a:lvl3pPr marL="673100" marR="0" lvl="2" indent="0" algn="l" rtl="0">
              <a:spcBef>
                <a:spcPts val="0"/>
              </a:spcBef>
              <a:buSzPct val="76923"/>
              <a:buNone/>
              <a:defRPr sz="1300" b="0" i="0" u="none" strike="noStrike" cap="none"/>
            </a:lvl3pPr>
            <a:lvl4pPr marL="1003300" marR="0" lvl="3" indent="0" algn="l" rtl="0">
              <a:spcBef>
                <a:spcPts val="0"/>
              </a:spcBef>
              <a:buSzPct val="76923"/>
              <a:buNone/>
              <a:defRPr sz="1300" b="0" i="0" u="none" strike="noStrike" cap="none"/>
            </a:lvl4pPr>
            <a:lvl5pPr marL="1346200" marR="0" lvl="4" indent="0" algn="l" rtl="0">
              <a:spcBef>
                <a:spcPts val="0"/>
              </a:spcBef>
              <a:buSzPct val="76923"/>
              <a:buNone/>
              <a:defRPr sz="1300" b="0" i="0" u="none" strike="noStrike" cap="none"/>
            </a:lvl5pPr>
            <a:lvl6pPr marL="1676400" marR="0" lvl="5" indent="0" algn="l" rtl="0">
              <a:spcBef>
                <a:spcPts val="0"/>
              </a:spcBef>
              <a:buSzPct val="76923"/>
              <a:buNone/>
              <a:defRPr sz="1300" b="0" i="0" u="none" strike="noStrike" cap="none"/>
            </a:lvl6pPr>
            <a:lvl7pPr marL="2019300" marR="0" lvl="6" indent="0" algn="l" rtl="0">
              <a:spcBef>
                <a:spcPts val="0"/>
              </a:spcBef>
              <a:buSzPct val="76923"/>
              <a:buNone/>
              <a:defRPr sz="1300" b="0" i="0" u="none" strike="noStrike" cap="none"/>
            </a:lvl7pPr>
            <a:lvl8pPr marL="2349500" marR="0" lvl="7" indent="0" algn="l" rtl="0">
              <a:spcBef>
                <a:spcPts val="0"/>
              </a:spcBef>
              <a:buSzPct val="76923"/>
              <a:buNone/>
              <a:defRPr sz="1300" b="0" i="0" u="none" strike="noStrike" cap="none"/>
            </a:lvl8pPr>
            <a:lvl9pPr marL="2692400" marR="0" lvl="8" indent="0" algn="l" rtl="0">
              <a:spcBef>
                <a:spcPts val="0"/>
              </a:spcBef>
              <a:buSzPct val="76923"/>
              <a:buNone/>
              <a:defRPr sz="1300" b="0" i="0" u="none" strike="noStrike" cap="none"/>
            </a:lvl9pPr>
          </a:lstStyle>
          <a:p>
            <a:endParaRPr/>
          </a:p>
        </p:txBody>
      </p:sp>
      <p:sp>
        <p:nvSpPr>
          <p:cNvPr id="64" name="Shape 64"/>
          <p:cNvSpPr/>
          <p:nvPr/>
        </p:nvSpPr>
        <p:spPr>
          <a:xfrm>
            <a:off x="0" y="6580079"/>
            <a:ext cx="12436067" cy="478949"/>
          </a:xfrm>
          <a:prstGeom prst="rect">
            <a:avLst/>
          </a:prstGeom>
          <a:solidFill>
            <a:srgbClr val="EAEAEA"/>
          </a:solidFill>
          <a:ln>
            <a:noFill/>
          </a:ln>
        </p:spPr>
        <p:txBody>
          <a:bodyPr lIns="91418" tIns="91418" rIns="91418" bIns="91418" anchor="ctr" anchorCtr="0">
            <a:noAutofit/>
          </a:bodyPr>
          <a:lstStyle/>
          <a:p>
            <a:pPr lvl="0">
              <a:spcBef>
                <a:spcPts val="0"/>
              </a:spcBef>
              <a:buNone/>
            </a:pPr>
            <a:endParaRPr sz="2448"/>
          </a:p>
        </p:txBody>
      </p:sp>
      <p:pic>
        <p:nvPicPr>
          <p:cNvPr id="65" name="Shape 65"/>
          <p:cNvPicPr preferRelativeResize="0"/>
          <p:nvPr/>
        </p:nvPicPr>
        <p:blipFill rotWithShape="1">
          <a:blip r:embed="rId14" cstate="email">
            <a:alphaModFix/>
            <a:extLst>
              <a:ext uri="{28A0092B-C50C-407E-A947-70E740481C1C}">
                <a14:useLocalDpi xmlns:a14="http://schemas.microsoft.com/office/drawing/2010/main"/>
              </a:ext>
            </a:extLst>
          </a:blip>
          <a:srcRect/>
          <a:stretch/>
        </p:blipFill>
        <p:spPr>
          <a:xfrm>
            <a:off x="514440" y="6651719"/>
            <a:ext cx="1041677" cy="335346"/>
          </a:xfrm>
          <a:prstGeom prst="rect">
            <a:avLst/>
          </a:prstGeom>
          <a:noFill/>
          <a:ln>
            <a:noFill/>
          </a:ln>
        </p:spPr>
      </p:pic>
      <p:pic>
        <p:nvPicPr>
          <p:cNvPr id="66" name="Shape 66"/>
          <p:cNvPicPr preferRelativeResize="0"/>
          <p:nvPr/>
        </p:nvPicPr>
        <p:blipFill rotWithShape="1">
          <a:blip r:embed="rId15" cstate="email">
            <a:alphaModFix/>
            <a:extLst>
              <a:ext uri="{28A0092B-C50C-407E-A947-70E740481C1C}">
                <a14:useLocalDpi xmlns:a14="http://schemas.microsoft.com/office/drawing/2010/main"/>
              </a:ext>
            </a:extLst>
          </a:blip>
          <a:srcRect/>
          <a:stretch/>
        </p:blipFill>
        <p:spPr>
          <a:xfrm>
            <a:off x="1947240" y="6701760"/>
            <a:ext cx="1097984" cy="235395"/>
          </a:xfrm>
          <a:prstGeom prst="rect">
            <a:avLst/>
          </a:prstGeom>
          <a:noFill/>
          <a:ln>
            <a:noFill/>
          </a:ln>
        </p:spPr>
      </p:pic>
    </p:spTree>
    <p:extLst>
      <p:ext uri="{BB962C8B-B14F-4D97-AF65-F5344CB8AC3E}">
        <p14:creationId xmlns:p14="http://schemas.microsoft.com/office/powerpoint/2010/main" val="713676543"/>
      </p:ext>
    </p:extLst>
  </p:cSld>
  <p:clrMap bg1="lt1" tx1="dk1" bg2="dk2" tx2="lt2" accent1="accent1" accent2="accent2" accent3="accent3" accent4="accent4" accent5="accent5" accent6="accent6" hlink="hlink" folHlink="folHlink"/>
  <p:sldLayoutIdLst>
    <p:sldLayoutId id="2147484640" r:id="rId1"/>
    <p:sldLayoutId id="2147484641" r:id="rId2"/>
    <p:sldLayoutId id="2147484642" r:id="rId3"/>
    <p:sldLayoutId id="2147484643" r:id="rId4"/>
    <p:sldLayoutId id="2147484644" r:id="rId5"/>
    <p:sldLayoutId id="2147484645" r:id="rId6"/>
    <p:sldLayoutId id="2147484646" r:id="rId7"/>
    <p:sldLayoutId id="2147484647" r:id="rId8"/>
    <p:sldLayoutId id="2147484648" r:id="rId9"/>
    <p:sldLayoutId id="2147484649" r:id="rId10"/>
    <p:sldLayoutId id="2147484650" r:id="rId11"/>
    <p:sldLayoutId id="2147484651" r:id="rId1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904" b="0" i="0" u="none" strike="noStrike" cap="none">
          <a:solidFill>
            <a:srgbClr val="000000"/>
          </a:solidFill>
          <a:latin typeface="Arial"/>
          <a:ea typeface="Arial"/>
          <a:cs typeface="Arial"/>
          <a:sym typeface="Arial"/>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4" name="Picture 2" descr="D:\2014\1205\AP_Homepage_banner_enagling.jpg"/>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 y="1"/>
            <a:ext cx="12436474" cy="6994525"/>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userDrawn="1"/>
        </p:nvSpPr>
        <p:spPr>
          <a:xfrm>
            <a:off x="-1" y="2097412"/>
            <a:ext cx="12436475" cy="2642376"/>
          </a:xfrm>
          <a:prstGeom prst="rect">
            <a:avLst/>
          </a:prstGeom>
          <a:solidFill>
            <a:srgbClr val="020202">
              <a:alpha val="9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66298"/>
            <a:endParaRPr lang="en-US" sz="1836" dirty="0">
              <a:solidFill>
                <a:prstClr val="white"/>
              </a:solidFill>
            </a:endParaRPr>
          </a:p>
        </p:txBody>
      </p:sp>
    </p:spTree>
    <p:extLst>
      <p:ext uri="{BB962C8B-B14F-4D97-AF65-F5344CB8AC3E}">
        <p14:creationId xmlns:p14="http://schemas.microsoft.com/office/powerpoint/2010/main" val="1053038778"/>
      </p:ext>
    </p:extLst>
  </p:cSld>
  <p:clrMap bg1="lt1" tx1="dk1" bg2="lt2" tx2="dk2" accent1="accent1" accent2="accent2" accent3="accent3" accent4="accent4" accent5="accent5" accent6="accent6" hlink="hlink" folHlink="folHlink"/>
  <p:sldLayoutIdLst>
    <p:sldLayoutId id="2147484656" r:id="rId1"/>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zh-CN"/>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7"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1" y="233153"/>
            <a:ext cx="11375536" cy="762786"/>
          </a:xfrm>
          <a:prstGeom prst="rect">
            <a:avLst/>
          </a:prstGeom>
        </p:spPr>
        <p:txBody>
          <a:bodyPr vert="horz" wrap="square" lIns="0" tIns="0" rIns="0" bIns="0" rtlCol="0" anchor="t">
            <a:spAutoFit/>
          </a:bodyPr>
          <a:lstStyle/>
          <a:p>
            <a:r>
              <a:rPr lang="el-GR" dirty="0"/>
              <a:t>Στυλ κύριου τίτλου</a:t>
            </a:r>
            <a:endParaRPr lang="en-US" dirty="0"/>
          </a:p>
        </p:txBody>
      </p:sp>
      <p:sp>
        <p:nvSpPr>
          <p:cNvPr id="3" name="Text Placeholder 2"/>
          <p:cNvSpPr>
            <a:spLocks noGrp="1"/>
          </p:cNvSpPr>
          <p:nvPr>
            <p:ph type="body" idx="1"/>
          </p:nvPr>
        </p:nvSpPr>
        <p:spPr>
          <a:xfrm>
            <a:off x="529661" y="1476622"/>
            <a:ext cx="11375535" cy="1739026"/>
          </a:xfrm>
          <a:prstGeom prst="rect">
            <a:avLst/>
          </a:prstGeom>
        </p:spPr>
        <p:txBody>
          <a:bodyPr vert="horz" wrap="square" lIns="0" tIns="0" rIns="0" bIns="0" rtlCol="0">
            <a:spAutoFit/>
          </a:bodyPr>
          <a:lstStyle/>
          <a:p>
            <a:pPr lvl="0"/>
            <a:r>
              <a:rPr lang="el-GR" dirty="0"/>
              <a:t>Στυλ υποδείγματος κειμένου</a:t>
            </a:r>
          </a:p>
          <a:p>
            <a:pPr lvl="1"/>
            <a:r>
              <a:rPr lang="el-GR" dirty="0"/>
              <a:t>Δεύτερου επιπέδου</a:t>
            </a:r>
          </a:p>
          <a:p>
            <a:pPr lvl="2"/>
            <a:r>
              <a:rPr lang="el-GR" dirty="0"/>
              <a:t>Τρίτου επιπέδου</a:t>
            </a:r>
          </a:p>
          <a:p>
            <a:pPr lvl="3"/>
            <a:r>
              <a:rPr lang="el-GR" dirty="0"/>
              <a:t>Τέταρτου επιπέδου</a:t>
            </a:r>
          </a:p>
          <a:p>
            <a:pPr lvl="4"/>
            <a:r>
              <a:rPr lang="el-GR" dirty="0"/>
              <a:t>Πέμπτου επιπέδου</a:t>
            </a:r>
            <a:endParaRPr lang="en-US" dirty="0"/>
          </a:p>
        </p:txBody>
      </p:sp>
    </p:spTree>
    <p:extLst>
      <p:ext uri="{BB962C8B-B14F-4D97-AF65-F5344CB8AC3E}">
        <p14:creationId xmlns:p14="http://schemas.microsoft.com/office/powerpoint/2010/main" val="2434023744"/>
      </p:ext>
    </p:extLst>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 id="2147484668" r:id="rId11"/>
    <p:sldLayoutId id="2147484669" r:id="rId12"/>
    <p:sldLayoutId id="2147484670" r:id="rId13"/>
    <p:sldLayoutId id="2147484671" r:id="rId14"/>
    <p:sldLayoutId id="2147484672" r:id="rId15"/>
  </p:sldLayoutIdLst>
  <p:transition>
    <p:fade/>
  </p:transition>
  <p:txStyles>
    <p:titleStyle>
      <a:lvl1pPr algn="l" defTabSz="932535" rtl="0" eaLnBrk="1" latinLnBrk="0" hangingPunct="1">
        <a:lnSpc>
          <a:spcPct val="90000"/>
        </a:lnSpc>
        <a:spcBef>
          <a:spcPct val="0"/>
        </a:spcBef>
        <a:buNone/>
        <a:defRPr kumimoji="0" lang="en-US" sz="5507" b="0" i="0" u="none" strike="noStrike" kern="1200" cap="none" spc="-102" normalizeH="0" baseline="0" noProof="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panose="020B0502040204020203" pitchFamily="34" charset="0"/>
          <a:ea typeface="+mn-ea"/>
          <a:cs typeface="Segoe UI" panose="020B0502040204020203" pitchFamily="34" charset="0"/>
        </a:defRPr>
      </a:lvl1pPr>
    </p:titleStyle>
    <p:bodyStyle>
      <a:lvl1pPr marL="279772" indent="-352953" algn="l" defTabSz="932535" rtl="0" eaLnBrk="1" latinLnBrk="0" hangingPunct="1">
        <a:lnSpc>
          <a:spcPct val="90000"/>
        </a:lnSpc>
        <a:spcBef>
          <a:spcPct val="20000"/>
        </a:spcBef>
        <a:buSzPct val="90000"/>
        <a:buFont typeface="Arial" pitchFamily="34" charset="0"/>
        <a:buChar char="•"/>
        <a:defRPr sz="4080" kern="1200">
          <a:solidFill>
            <a:srgbClr val="E31A25"/>
          </a:solidFill>
          <a:latin typeface="Segoe UI" panose="020B0502040204020203" pitchFamily="34" charset="0"/>
          <a:ea typeface="+mn-ea"/>
          <a:cs typeface="Segoe UI" panose="020B0502040204020203" pitchFamily="34" charset="0"/>
        </a:defRPr>
      </a:lvl1pPr>
      <a:lvl2pPr marL="466287" indent="-289811" algn="l" defTabSz="932535" rtl="0" eaLnBrk="1" latinLnBrk="0" hangingPunct="1">
        <a:lnSpc>
          <a:spcPct val="90000"/>
        </a:lnSpc>
        <a:spcBef>
          <a:spcPct val="20000"/>
        </a:spcBef>
        <a:buSzPct val="90000"/>
        <a:buFont typeface="Arial" pitchFamily="34" charset="0"/>
        <a:buChar char="•"/>
        <a:tabLst>
          <a:tab pos="642764" algn="l"/>
        </a:tabLst>
        <a:defRPr sz="2040" kern="1200">
          <a:solidFill>
            <a:srgbClr val="676767"/>
          </a:solidFill>
          <a:latin typeface="Segoe UI" panose="020B0502040204020203" pitchFamily="34" charset="0"/>
          <a:ea typeface="Segoe UI Symbol" panose="020B0502040204020203" pitchFamily="34" charset="0"/>
          <a:cs typeface="Segoe UI" panose="020B0502040204020203" pitchFamily="34" charset="0"/>
        </a:defRPr>
      </a:lvl2pPr>
      <a:lvl3pPr marL="652801" indent="-289811" algn="l" defTabSz="932535" rtl="0" eaLnBrk="1" latinLnBrk="0" hangingPunct="1">
        <a:lnSpc>
          <a:spcPct val="90000"/>
        </a:lnSpc>
        <a:spcBef>
          <a:spcPct val="20000"/>
        </a:spcBef>
        <a:buSzPct val="90000"/>
        <a:buFont typeface="Arial" pitchFamily="34" charset="0"/>
        <a:buChar char="•"/>
        <a:defRPr sz="1836" kern="1200">
          <a:solidFill>
            <a:srgbClr val="676767"/>
          </a:solidFill>
          <a:latin typeface="Segoe UI" panose="020B0502040204020203" pitchFamily="34" charset="0"/>
          <a:ea typeface="+mn-ea"/>
          <a:cs typeface="Segoe UI" panose="020B0502040204020203" pitchFamily="34" charset="0"/>
        </a:defRPr>
      </a:lvl3pPr>
      <a:lvl4pPr marL="839315" indent="-228287" algn="l" defTabSz="932535" rtl="0" eaLnBrk="1" latinLnBrk="0" hangingPunct="1">
        <a:lnSpc>
          <a:spcPct val="90000"/>
        </a:lnSpc>
        <a:spcBef>
          <a:spcPct val="20000"/>
        </a:spcBef>
        <a:buSzPct val="90000"/>
        <a:buFont typeface="Arial" pitchFamily="34" charset="0"/>
        <a:buChar char="•"/>
        <a:tabLst>
          <a:tab pos="932573" algn="l"/>
        </a:tabLst>
        <a:defRPr sz="1632" kern="1200">
          <a:solidFill>
            <a:srgbClr val="676767"/>
          </a:solidFill>
          <a:latin typeface="Segoe UI" panose="020B0502040204020203" pitchFamily="34" charset="0"/>
          <a:ea typeface="+mn-ea"/>
          <a:cs typeface="Segoe UI" panose="020B0502040204020203" pitchFamily="34" charset="0"/>
        </a:defRPr>
      </a:lvl4pPr>
      <a:lvl5pPr marL="1025831" indent="-234763" algn="l" defTabSz="932535" rtl="0" eaLnBrk="1" latinLnBrk="0" hangingPunct="1">
        <a:lnSpc>
          <a:spcPct val="90000"/>
        </a:lnSpc>
        <a:spcBef>
          <a:spcPct val="20000"/>
        </a:spcBef>
        <a:buSzPct val="90000"/>
        <a:buFont typeface="Arial" pitchFamily="34" charset="0"/>
        <a:buChar char="•"/>
        <a:defRPr sz="1428" kern="1200">
          <a:solidFill>
            <a:srgbClr val="676767"/>
          </a:solidFill>
          <a:latin typeface="Segoe UI" panose="020B0502040204020203" pitchFamily="34" charset="0"/>
          <a:ea typeface="+mn-ea"/>
          <a:cs typeface="Segoe UI" panose="020B0502040204020203" pitchFamily="34" charset="0"/>
        </a:defRPr>
      </a:lvl5pPr>
      <a:lvl6pPr marL="2564473"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742"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10"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278"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35" rtl="0" eaLnBrk="1" latinLnBrk="0" hangingPunct="1">
        <a:defRPr sz="1836" kern="1200">
          <a:solidFill>
            <a:schemeClr val="tx1"/>
          </a:solidFill>
          <a:latin typeface="+mn-lt"/>
          <a:ea typeface="+mn-ea"/>
          <a:cs typeface="+mn-cs"/>
        </a:defRPr>
      </a:lvl1pPr>
      <a:lvl2pPr marL="466269" algn="l" defTabSz="932535" rtl="0" eaLnBrk="1" latinLnBrk="0" hangingPunct="1">
        <a:defRPr sz="1836" kern="1200">
          <a:solidFill>
            <a:schemeClr val="tx1"/>
          </a:solidFill>
          <a:latin typeface="+mn-lt"/>
          <a:ea typeface="+mn-ea"/>
          <a:cs typeface="+mn-cs"/>
        </a:defRPr>
      </a:lvl2pPr>
      <a:lvl3pPr marL="932535" algn="l" defTabSz="932535" rtl="0" eaLnBrk="1" latinLnBrk="0" hangingPunct="1">
        <a:defRPr sz="1836" kern="1200">
          <a:solidFill>
            <a:schemeClr val="tx1"/>
          </a:solidFill>
          <a:latin typeface="+mn-lt"/>
          <a:ea typeface="+mn-ea"/>
          <a:cs typeface="+mn-cs"/>
        </a:defRPr>
      </a:lvl3pPr>
      <a:lvl4pPr marL="1398804" algn="l" defTabSz="932535" rtl="0" eaLnBrk="1" latinLnBrk="0" hangingPunct="1">
        <a:defRPr sz="1836" kern="1200">
          <a:solidFill>
            <a:schemeClr val="tx1"/>
          </a:solidFill>
          <a:latin typeface="+mn-lt"/>
          <a:ea typeface="+mn-ea"/>
          <a:cs typeface="+mn-cs"/>
        </a:defRPr>
      </a:lvl4pPr>
      <a:lvl5pPr marL="1865072" algn="l" defTabSz="932535" rtl="0" eaLnBrk="1" latinLnBrk="0" hangingPunct="1">
        <a:defRPr sz="1836" kern="1200">
          <a:solidFill>
            <a:schemeClr val="tx1"/>
          </a:solidFill>
          <a:latin typeface="+mn-lt"/>
          <a:ea typeface="+mn-ea"/>
          <a:cs typeface="+mn-cs"/>
        </a:defRPr>
      </a:lvl5pPr>
      <a:lvl6pPr marL="2331340" algn="l" defTabSz="932535" rtl="0" eaLnBrk="1" latinLnBrk="0" hangingPunct="1">
        <a:defRPr sz="1836" kern="1200">
          <a:solidFill>
            <a:schemeClr val="tx1"/>
          </a:solidFill>
          <a:latin typeface="+mn-lt"/>
          <a:ea typeface="+mn-ea"/>
          <a:cs typeface="+mn-cs"/>
        </a:defRPr>
      </a:lvl6pPr>
      <a:lvl7pPr marL="2797608" algn="l" defTabSz="932535" rtl="0" eaLnBrk="1" latinLnBrk="0" hangingPunct="1">
        <a:defRPr sz="1836" kern="1200">
          <a:solidFill>
            <a:schemeClr val="tx1"/>
          </a:solidFill>
          <a:latin typeface="+mn-lt"/>
          <a:ea typeface="+mn-ea"/>
          <a:cs typeface="+mn-cs"/>
        </a:defRPr>
      </a:lvl7pPr>
      <a:lvl8pPr marL="3263876" algn="l" defTabSz="932535" rtl="0" eaLnBrk="1" latinLnBrk="0" hangingPunct="1">
        <a:defRPr sz="1836" kern="1200">
          <a:solidFill>
            <a:schemeClr val="tx1"/>
          </a:solidFill>
          <a:latin typeface="+mn-lt"/>
          <a:ea typeface="+mn-ea"/>
          <a:cs typeface="+mn-cs"/>
        </a:defRPr>
      </a:lvl8pPr>
      <a:lvl9pPr marL="3730145" algn="l" defTabSz="932535" rtl="0" eaLnBrk="1" latinLnBrk="0" hangingPunct="1">
        <a:defRPr sz="1836"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7"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1" y="233152"/>
            <a:ext cx="11375536" cy="762786"/>
          </a:xfrm>
          <a:prstGeom prst="rect">
            <a:avLst/>
          </a:prstGeom>
        </p:spPr>
        <p:txBody>
          <a:bodyPr vert="horz" wrap="square" lIns="0" tIns="0" rIns="0" bIns="0" rtlCol="0" anchor="t">
            <a:spAutoFit/>
          </a:bodyPr>
          <a:lstStyle/>
          <a:p>
            <a:r>
              <a:rPr lang="el-GR" dirty="0"/>
              <a:t>Στυλ κύριου τίτλου</a:t>
            </a:r>
            <a:endParaRPr lang="en-US" dirty="0"/>
          </a:p>
        </p:txBody>
      </p:sp>
      <p:sp>
        <p:nvSpPr>
          <p:cNvPr id="3" name="Text Placeholder 2"/>
          <p:cNvSpPr>
            <a:spLocks noGrp="1"/>
          </p:cNvSpPr>
          <p:nvPr>
            <p:ph type="body" idx="1"/>
          </p:nvPr>
        </p:nvSpPr>
        <p:spPr>
          <a:xfrm>
            <a:off x="529660" y="1476622"/>
            <a:ext cx="11375535" cy="1739026"/>
          </a:xfrm>
          <a:prstGeom prst="rect">
            <a:avLst/>
          </a:prstGeom>
        </p:spPr>
        <p:txBody>
          <a:bodyPr vert="horz" wrap="square" lIns="0" tIns="0" rIns="0" bIns="0" rtlCol="0">
            <a:spAutoFit/>
          </a:bodyPr>
          <a:lstStyle/>
          <a:p>
            <a:pPr lvl="0"/>
            <a:r>
              <a:rPr lang="el-GR" dirty="0"/>
              <a:t>Στυλ υποδείγματος κειμένου</a:t>
            </a:r>
          </a:p>
          <a:p>
            <a:pPr lvl="1"/>
            <a:r>
              <a:rPr lang="el-GR" dirty="0"/>
              <a:t>Δεύτερου επιπέδου</a:t>
            </a:r>
          </a:p>
          <a:p>
            <a:pPr lvl="2"/>
            <a:r>
              <a:rPr lang="el-GR" dirty="0"/>
              <a:t>Τρίτου επιπέδου</a:t>
            </a:r>
          </a:p>
          <a:p>
            <a:pPr lvl="3"/>
            <a:r>
              <a:rPr lang="el-GR" dirty="0"/>
              <a:t>Τέταρτου επιπέδου</a:t>
            </a:r>
          </a:p>
          <a:p>
            <a:pPr lvl="4"/>
            <a:r>
              <a:rPr lang="el-GR" dirty="0"/>
              <a:t>Πέμπτου επιπέδου</a:t>
            </a:r>
            <a:endParaRPr lang="en-US" dirty="0"/>
          </a:p>
        </p:txBody>
      </p:sp>
      <p:sp>
        <p:nvSpPr>
          <p:cNvPr id="5" name="Footer Placeholder 3"/>
          <p:cNvSpPr txBox="1">
            <a:spLocks/>
          </p:cNvSpPr>
          <p:nvPr/>
        </p:nvSpPr>
        <p:spPr>
          <a:xfrm>
            <a:off x="2532048" y="6482889"/>
            <a:ext cx="7372381" cy="37239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66298" rtl="0" eaLnBrk="1" fontAlgn="auto" latinLnBrk="0" hangingPunct="1">
              <a:lnSpc>
                <a:spcPts val="1122"/>
              </a:lnSpc>
              <a:spcBef>
                <a:spcPts val="0"/>
              </a:spcBef>
              <a:spcAft>
                <a:spcPts val="0"/>
              </a:spcAft>
              <a:buClrTx/>
              <a:buSzTx/>
              <a:buFontTx/>
              <a:buNone/>
              <a:tabLst/>
              <a:defRPr/>
            </a:pPr>
            <a:r>
              <a:rPr kumimoji="0" lang="en-US" sz="918" b="0" i="0" u="none" strike="noStrike" kern="1200" cap="none" spc="0" normalizeH="0" baseline="0" noProof="0" dirty="0">
                <a:ln>
                  <a:noFill/>
                </a:ln>
                <a:solidFill>
                  <a:srgbClr val="FFFFFF">
                    <a:lumMod val="50000"/>
                  </a:srgbClr>
                </a:solidFill>
                <a:effectLst/>
                <a:uLnTx/>
                <a:uFillTx/>
                <a:latin typeface="Segoe UI Semilight" panose="020B0402040204020203" pitchFamily="34" charset="0"/>
                <a:ea typeface="+mn-ea"/>
                <a:cs typeface="Segoe UI Semilight" panose="020B0402040204020203" pitchFamily="34" charset="0"/>
              </a:rPr>
              <a:t>©AvePoint, Inc. All rights reserved. Confidential and proprietary information of AvePoint, Inc. No part of this may be reproduced, stored in a retrieval system, or transmitted in any form or by any means, without the prior written consent of AvePoint, Inc.</a:t>
            </a:r>
          </a:p>
        </p:txBody>
      </p:sp>
    </p:spTree>
    <p:extLst>
      <p:ext uri="{BB962C8B-B14F-4D97-AF65-F5344CB8AC3E}">
        <p14:creationId xmlns:p14="http://schemas.microsoft.com/office/powerpoint/2010/main" val="1573550290"/>
      </p:ext>
    </p:extLst>
  </p:cSld>
  <p:clrMap bg1="lt1" tx1="dk1" bg2="lt2" tx2="dk2" accent1="accent1" accent2="accent2" accent3="accent3" accent4="accent4" accent5="accent5" accent6="accent6" hlink="hlink" folHlink="folHlink"/>
  <p:sldLayoutIdLst>
    <p:sldLayoutId id="2147484674" r:id="rId1"/>
    <p:sldLayoutId id="2147484675" r:id="rId2"/>
    <p:sldLayoutId id="2147484676" r:id="rId3"/>
    <p:sldLayoutId id="2147484677" r:id="rId4"/>
    <p:sldLayoutId id="2147484678" r:id="rId5"/>
    <p:sldLayoutId id="2147484679" r:id="rId6"/>
    <p:sldLayoutId id="2147484680" r:id="rId7"/>
    <p:sldLayoutId id="2147484681" r:id="rId8"/>
    <p:sldLayoutId id="2147484682" r:id="rId9"/>
    <p:sldLayoutId id="2147484683" r:id="rId10"/>
    <p:sldLayoutId id="2147484684" r:id="rId11"/>
    <p:sldLayoutId id="2147484685" r:id="rId12"/>
    <p:sldLayoutId id="2147484686" r:id="rId13"/>
    <p:sldLayoutId id="2147484687" r:id="rId14"/>
    <p:sldLayoutId id="2147484688" r:id="rId15"/>
  </p:sldLayoutIdLst>
  <p:transition>
    <p:fade/>
  </p:transition>
  <p:txStyles>
    <p:titleStyle>
      <a:lvl1pPr algn="l" defTabSz="932559" rtl="0" eaLnBrk="1" latinLnBrk="0" hangingPunct="1">
        <a:lnSpc>
          <a:spcPct val="90000"/>
        </a:lnSpc>
        <a:spcBef>
          <a:spcPct val="0"/>
        </a:spcBef>
        <a:buNone/>
        <a:defRPr kumimoji="0" lang="en-US" sz="5507" b="0" i="0" u="none" strike="noStrike" kern="1200" cap="none" spc="-102" normalizeH="0" baseline="0" noProof="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panose="020B0502040204020203" pitchFamily="34" charset="0"/>
          <a:ea typeface="+mn-ea"/>
          <a:cs typeface="Segoe UI" panose="020B0502040204020203" pitchFamily="34" charset="0"/>
        </a:defRPr>
      </a:lvl1pPr>
    </p:titleStyle>
    <p:bodyStyle>
      <a:lvl1pPr marL="279779" indent="-352962" algn="l" defTabSz="932559" rtl="0" eaLnBrk="1" latinLnBrk="0" hangingPunct="1">
        <a:lnSpc>
          <a:spcPct val="90000"/>
        </a:lnSpc>
        <a:spcBef>
          <a:spcPct val="20000"/>
        </a:spcBef>
        <a:buSzPct val="90000"/>
        <a:buFont typeface="Arial" pitchFamily="34" charset="0"/>
        <a:buChar char="•"/>
        <a:defRPr sz="4080" kern="1200">
          <a:solidFill>
            <a:srgbClr val="E31A25"/>
          </a:solidFill>
          <a:latin typeface="Segoe UI" panose="020B0502040204020203" pitchFamily="34" charset="0"/>
          <a:ea typeface="+mn-ea"/>
          <a:cs typeface="Segoe UI" panose="020B0502040204020203" pitchFamily="34" charset="0"/>
        </a:defRPr>
      </a:lvl1pPr>
      <a:lvl2pPr marL="466298" indent="-289818" algn="l" defTabSz="932559" rtl="0" eaLnBrk="1" latinLnBrk="0" hangingPunct="1">
        <a:lnSpc>
          <a:spcPct val="90000"/>
        </a:lnSpc>
        <a:spcBef>
          <a:spcPct val="20000"/>
        </a:spcBef>
        <a:buSzPct val="90000"/>
        <a:buFont typeface="Arial" pitchFamily="34" charset="0"/>
        <a:buChar char="•"/>
        <a:tabLst>
          <a:tab pos="642780" algn="l"/>
        </a:tabLst>
        <a:defRPr sz="2040" kern="1200">
          <a:solidFill>
            <a:srgbClr val="676767"/>
          </a:solidFill>
          <a:latin typeface="Segoe UI" panose="020B0502040204020203" pitchFamily="34" charset="0"/>
          <a:ea typeface="Segoe UI Symbol" panose="020B0502040204020203" pitchFamily="34" charset="0"/>
          <a:cs typeface="Segoe UI" panose="020B0502040204020203" pitchFamily="34" charset="0"/>
        </a:defRPr>
      </a:lvl2pPr>
      <a:lvl3pPr marL="652818" indent="-289818" algn="l" defTabSz="932559" rtl="0" eaLnBrk="1" latinLnBrk="0" hangingPunct="1">
        <a:lnSpc>
          <a:spcPct val="90000"/>
        </a:lnSpc>
        <a:spcBef>
          <a:spcPct val="20000"/>
        </a:spcBef>
        <a:buSzPct val="90000"/>
        <a:buFont typeface="Arial" pitchFamily="34" charset="0"/>
        <a:buChar char="•"/>
        <a:defRPr sz="1836" kern="1200">
          <a:solidFill>
            <a:srgbClr val="676767"/>
          </a:solidFill>
          <a:latin typeface="Segoe UI" panose="020B0502040204020203" pitchFamily="34" charset="0"/>
          <a:ea typeface="+mn-ea"/>
          <a:cs typeface="Segoe UI" panose="020B0502040204020203" pitchFamily="34" charset="0"/>
        </a:defRPr>
      </a:lvl3pPr>
      <a:lvl4pPr marL="839337" indent="-228292" algn="l" defTabSz="932559" rtl="0" eaLnBrk="1" latinLnBrk="0" hangingPunct="1">
        <a:lnSpc>
          <a:spcPct val="90000"/>
        </a:lnSpc>
        <a:spcBef>
          <a:spcPct val="20000"/>
        </a:spcBef>
        <a:buSzPct val="90000"/>
        <a:buFont typeface="Arial" pitchFamily="34" charset="0"/>
        <a:buChar char="•"/>
        <a:tabLst>
          <a:tab pos="932597" algn="l"/>
        </a:tabLst>
        <a:defRPr sz="1632" kern="1200">
          <a:solidFill>
            <a:srgbClr val="676767"/>
          </a:solidFill>
          <a:latin typeface="Segoe UI" panose="020B0502040204020203" pitchFamily="34" charset="0"/>
          <a:ea typeface="+mn-ea"/>
          <a:cs typeface="Segoe UI" panose="020B0502040204020203" pitchFamily="34" charset="0"/>
        </a:defRPr>
      </a:lvl4pPr>
      <a:lvl5pPr marL="1025856" indent="-234769" algn="l" defTabSz="932559" rtl="0" eaLnBrk="1" latinLnBrk="0" hangingPunct="1">
        <a:lnSpc>
          <a:spcPct val="90000"/>
        </a:lnSpc>
        <a:spcBef>
          <a:spcPct val="20000"/>
        </a:spcBef>
        <a:buSzPct val="90000"/>
        <a:buFont typeface="Arial" pitchFamily="34" charset="0"/>
        <a:buChar char="•"/>
        <a:defRPr sz="1428" kern="1200">
          <a:solidFill>
            <a:srgbClr val="676767"/>
          </a:solidFill>
          <a:latin typeface="Segoe UI" panose="020B0502040204020203" pitchFamily="34" charset="0"/>
          <a:ea typeface="+mn-ea"/>
          <a:cs typeface="Segoe UI" panose="020B0502040204020203" pitchFamily="34" charset="0"/>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00B9F2"/>
            </a:gs>
            <a:gs pos="90000">
              <a:srgbClr val="053264"/>
            </a:gs>
            <a:gs pos="30000">
              <a:srgbClr val="007AC2"/>
            </a:gs>
          </a:gsLst>
          <a:lin ang="16200000" scaled="0"/>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32737" y="696215"/>
            <a:ext cx="10571004" cy="376684"/>
          </a:xfrm>
          <a:prstGeom prst="rect">
            <a:avLst/>
          </a:prstGeom>
          <a:noFill/>
        </p:spPr>
        <p:txBody>
          <a:bodyPr vert="horz"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1243649" y="1865206"/>
            <a:ext cx="9949180" cy="3497263"/>
          </a:xfrm>
          <a:prstGeom prst="rect">
            <a:avLst/>
          </a:prstGeom>
          <a:noFill/>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614372529"/>
      </p:ext>
    </p:extLst>
  </p:cSld>
  <p:clrMap bg1="dk1" tx1="lt1" bg2="dk2" tx2="lt2" accent1="accent1" accent2="accent2" accent3="accent3" accent4="accent4" accent5="accent5" accent6="accent6" hlink="hlink" folHlink="folHlink"/>
  <p:sldLayoutIdLst>
    <p:sldLayoutId id="2147484690" r:id="rId1"/>
    <p:sldLayoutId id="2147484691" r:id="rId2"/>
    <p:sldLayoutId id="2147484692" r:id="rId3"/>
    <p:sldLayoutId id="2147484693" r:id="rId4"/>
    <p:sldLayoutId id="2147484694" r:id="rId5"/>
    <p:sldLayoutId id="2147484695" r:id="rId6"/>
    <p:sldLayoutId id="2147484696" r:id="rId7"/>
    <p:sldLayoutId id="2147484697" r:id="rId8"/>
    <p:sldLayoutId id="2147484698" r:id="rId9"/>
    <p:sldLayoutId id="2147484699" r:id="rId10"/>
    <p:sldLayoutId id="2147484700" r:id="rId11"/>
    <p:sldLayoutId id="2147484701" r:id="rId12"/>
    <p:sldLayoutId id="2147484702" r:id="rId13"/>
    <p:sldLayoutId id="2147484703" r:id="rId14"/>
    <p:sldLayoutId id="2147484704" r:id="rId15"/>
    <p:sldLayoutId id="2147484705" r:id="rId16"/>
    <p:sldLayoutId id="2147484706" r:id="rId17"/>
  </p:sldLayoutIdLst>
  <p:transition spd="med">
    <p:fade/>
  </p:transition>
  <p:txStyles>
    <p:titleStyle>
      <a:lvl1pPr algn="l" defTabSz="466298" rtl="0" eaLnBrk="1" latinLnBrk="0" hangingPunct="1">
        <a:lnSpc>
          <a:spcPct val="100000"/>
        </a:lnSpc>
        <a:spcBef>
          <a:spcPct val="0"/>
        </a:spcBef>
        <a:buNone/>
        <a:defRPr sz="2448" b="1" kern="1200">
          <a:solidFill>
            <a:schemeClr val="tx1"/>
          </a:solidFill>
          <a:latin typeface="+mj-lt"/>
          <a:ea typeface="+mj-ea"/>
          <a:cs typeface="Arial"/>
        </a:defRPr>
      </a:lvl1pPr>
    </p:titleStyle>
    <p:bodyStyle>
      <a:lvl1pPr marL="179720" indent="-179720" algn="l" defTabSz="466298" rtl="0" eaLnBrk="1" latinLnBrk="0" hangingPunct="1">
        <a:lnSpc>
          <a:spcPct val="100000"/>
        </a:lnSpc>
        <a:spcBef>
          <a:spcPts val="306"/>
        </a:spcBef>
        <a:spcAft>
          <a:spcPts val="612"/>
        </a:spcAft>
        <a:buClr>
          <a:schemeClr val="accent4">
            <a:lumMod val="60000"/>
            <a:lumOff val="40000"/>
          </a:schemeClr>
        </a:buClr>
        <a:buSzPct val="80000"/>
        <a:buFont typeface="Arial"/>
        <a:buChar char="•"/>
        <a:defRPr sz="2040" b="1" kern="1200">
          <a:solidFill>
            <a:schemeClr val="tx1"/>
          </a:solidFill>
          <a:latin typeface="+mn-lt"/>
          <a:ea typeface="+mn-ea"/>
          <a:cs typeface="Arial"/>
        </a:defRPr>
      </a:lvl1pPr>
      <a:lvl2pPr marL="466298" indent="-177193" algn="l" defTabSz="466298" rtl="0" eaLnBrk="1" latinLnBrk="0" hangingPunct="1">
        <a:lnSpc>
          <a:spcPct val="100000"/>
        </a:lnSpc>
        <a:spcBef>
          <a:spcPts val="0"/>
        </a:spcBef>
        <a:spcAft>
          <a:spcPts val="612"/>
        </a:spcAft>
        <a:buClr>
          <a:schemeClr val="accent4">
            <a:lumMod val="60000"/>
            <a:lumOff val="40000"/>
          </a:schemeClr>
        </a:buClr>
        <a:buSzPct val="80000"/>
        <a:buFont typeface="Lucida Grande"/>
        <a:buChar char="-"/>
        <a:defRPr sz="1836" b="1" kern="1200">
          <a:solidFill>
            <a:schemeClr val="tx1"/>
          </a:solidFill>
          <a:latin typeface="+mn-lt"/>
          <a:ea typeface="+mn-ea"/>
          <a:cs typeface="Arial"/>
        </a:defRPr>
      </a:lvl2pPr>
      <a:lvl3pPr marL="811359" indent="-177193" algn="l" defTabSz="466298" rtl="0" eaLnBrk="1" latinLnBrk="0" hangingPunct="1">
        <a:lnSpc>
          <a:spcPct val="100000"/>
        </a:lnSpc>
        <a:spcBef>
          <a:spcPts val="0"/>
        </a:spcBef>
        <a:spcAft>
          <a:spcPts val="612"/>
        </a:spcAft>
        <a:buClr>
          <a:schemeClr val="accent4">
            <a:lumMod val="60000"/>
            <a:lumOff val="40000"/>
          </a:schemeClr>
        </a:buClr>
        <a:buSzPct val="80000"/>
        <a:buFont typeface="Lucida Grande"/>
        <a:buChar char="-"/>
        <a:defRPr sz="1632" b="1" kern="1200">
          <a:solidFill>
            <a:schemeClr val="tx1"/>
          </a:solidFill>
          <a:latin typeface="+mn-lt"/>
          <a:ea typeface="+mn-ea"/>
          <a:cs typeface="Arial"/>
        </a:defRPr>
      </a:lvl3pPr>
      <a:lvl4pPr marL="1240353" indent="-177193" algn="l" defTabSz="466298" rtl="0" eaLnBrk="1" latinLnBrk="0" hangingPunct="1">
        <a:lnSpc>
          <a:spcPts val="1836"/>
        </a:lnSpc>
        <a:spcBef>
          <a:spcPts val="0"/>
        </a:spcBef>
        <a:spcAft>
          <a:spcPts val="612"/>
        </a:spcAft>
        <a:buClr>
          <a:schemeClr val="accent4">
            <a:lumMod val="60000"/>
            <a:lumOff val="40000"/>
          </a:schemeClr>
        </a:buClr>
        <a:buSzPct val="80000"/>
        <a:buFont typeface="Lucida Grande"/>
        <a:buChar char="-"/>
        <a:defRPr sz="1428" b="1" kern="1200">
          <a:solidFill>
            <a:schemeClr val="tx1"/>
          </a:solidFill>
          <a:latin typeface="+mn-lt"/>
          <a:ea typeface="+mn-ea"/>
          <a:cs typeface="Arial"/>
        </a:defRPr>
      </a:lvl4pPr>
      <a:lvl5pPr marL="1576995" indent="-179720" algn="l" defTabSz="466298" rtl="0" eaLnBrk="1" latinLnBrk="0" hangingPunct="1">
        <a:lnSpc>
          <a:spcPts val="1938"/>
        </a:lnSpc>
        <a:spcBef>
          <a:spcPts val="0"/>
        </a:spcBef>
        <a:spcAft>
          <a:spcPts val="612"/>
        </a:spcAft>
        <a:buClr>
          <a:schemeClr val="accent4">
            <a:lumMod val="60000"/>
            <a:lumOff val="40000"/>
          </a:schemeClr>
        </a:buClr>
        <a:buSzPct val="80000"/>
        <a:buFont typeface="Lucida Grande"/>
        <a:buChar char="-"/>
        <a:defRPr lang="en-US" sz="1428" b="1" kern="1200" dirty="0">
          <a:solidFill>
            <a:schemeClr val="tx1"/>
          </a:solidFill>
          <a:latin typeface="+mn-lt"/>
          <a:ea typeface="+mn-ea"/>
          <a:cs typeface="Arial"/>
        </a:defRPr>
      </a:lvl5pPr>
      <a:lvl6pPr marL="1808525" indent="-181338" algn="l" defTabSz="409631" rtl="0" eaLnBrk="1" latinLnBrk="0" hangingPunct="1">
        <a:lnSpc>
          <a:spcPts val="1734"/>
        </a:lnSpc>
        <a:spcBef>
          <a:spcPts val="306"/>
        </a:spcBef>
        <a:spcAft>
          <a:spcPts val="306"/>
        </a:spcAft>
        <a:buSzPct val="80000"/>
        <a:buFont typeface="Lucida Grande"/>
        <a:buChar char="-"/>
        <a:tabLst>
          <a:tab pos="1513851" algn="l"/>
        </a:tabLst>
        <a:defRPr sz="1428" b="1" kern="1200">
          <a:solidFill>
            <a:schemeClr val="tx1"/>
          </a:solidFill>
          <a:latin typeface="Arial"/>
          <a:ea typeface="+mn-ea"/>
          <a:cs typeface="Arial"/>
        </a:defRPr>
      </a:lvl6pPr>
      <a:lvl7pPr marL="2103200" indent="-179720" algn="l" defTabSz="466298" rtl="0" eaLnBrk="1" latinLnBrk="0" hangingPunct="1">
        <a:lnSpc>
          <a:spcPts val="1734"/>
        </a:lnSpc>
        <a:spcBef>
          <a:spcPts val="306"/>
        </a:spcBef>
        <a:spcAft>
          <a:spcPts val="306"/>
        </a:spcAft>
        <a:buSzPct val="80000"/>
        <a:buFont typeface="Lucida Grande"/>
        <a:buChar char="-"/>
        <a:defRPr sz="1428" b="1" kern="1200">
          <a:solidFill>
            <a:schemeClr val="tx1"/>
          </a:solidFill>
          <a:latin typeface="Arial"/>
          <a:ea typeface="+mn-ea"/>
          <a:cs typeface="Arial"/>
        </a:defRPr>
      </a:lvl7pPr>
      <a:lvl8pPr marL="2331491" indent="-176481" algn="l" defTabSz="466298" rtl="0" eaLnBrk="1" latinLnBrk="0" hangingPunct="1">
        <a:lnSpc>
          <a:spcPts val="1734"/>
        </a:lnSpc>
        <a:spcBef>
          <a:spcPts val="306"/>
        </a:spcBef>
        <a:spcAft>
          <a:spcPts val="306"/>
        </a:spcAft>
        <a:buSzPct val="80000"/>
        <a:buFont typeface="Lucida Grande"/>
        <a:buChar char="-"/>
        <a:defRPr sz="1428" b="1" kern="1200">
          <a:solidFill>
            <a:schemeClr val="tx1"/>
          </a:solidFill>
          <a:latin typeface="Arial"/>
          <a:ea typeface="+mn-ea"/>
          <a:cs typeface="Arial"/>
        </a:defRPr>
      </a:lvl8pPr>
      <a:lvl9pPr marL="2501496" indent="-166767" algn="l" defTabSz="466298" rtl="0" eaLnBrk="1" latinLnBrk="0" hangingPunct="1">
        <a:lnSpc>
          <a:spcPts val="1734"/>
        </a:lnSpc>
        <a:spcBef>
          <a:spcPts val="306"/>
        </a:spcBef>
        <a:spcAft>
          <a:spcPts val="306"/>
        </a:spcAft>
        <a:buSzPct val="80000"/>
        <a:buFont typeface="Lucida Grande"/>
        <a:buChar char="-"/>
        <a:defRPr sz="1428" b="1" kern="1200">
          <a:solidFill>
            <a:schemeClr val="tx1"/>
          </a:solidFill>
          <a:latin typeface="Arial"/>
          <a:ea typeface="+mn-ea"/>
          <a:cs typeface="Arial"/>
        </a:defRPr>
      </a:lvl9pPr>
    </p:bodyStyle>
    <p:otherStyle>
      <a:defPPr>
        <a:defRPr lang="en-US"/>
      </a:defPPr>
      <a:lvl1pPr marL="0" algn="l" defTabSz="466298" rtl="0" eaLnBrk="1" latinLnBrk="0" hangingPunct="1">
        <a:defRPr sz="1836" kern="1200">
          <a:solidFill>
            <a:schemeClr val="tx1"/>
          </a:solidFill>
          <a:latin typeface="+mn-lt"/>
          <a:ea typeface="+mn-ea"/>
          <a:cs typeface="+mn-cs"/>
        </a:defRPr>
      </a:lvl1pPr>
      <a:lvl2pPr marL="466298" algn="l" defTabSz="466298" rtl="0" eaLnBrk="1" latinLnBrk="0" hangingPunct="1">
        <a:defRPr sz="1836" kern="1200">
          <a:solidFill>
            <a:schemeClr val="tx1"/>
          </a:solidFill>
          <a:latin typeface="+mn-lt"/>
          <a:ea typeface="+mn-ea"/>
          <a:cs typeface="+mn-cs"/>
        </a:defRPr>
      </a:lvl2pPr>
      <a:lvl3pPr marL="932597" algn="l" defTabSz="466298" rtl="0" eaLnBrk="1" latinLnBrk="0" hangingPunct="1">
        <a:defRPr sz="1836" kern="1200">
          <a:solidFill>
            <a:schemeClr val="tx1"/>
          </a:solidFill>
          <a:latin typeface="+mn-lt"/>
          <a:ea typeface="+mn-ea"/>
          <a:cs typeface="+mn-cs"/>
        </a:defRPr>
      </a:lvl3pPr>
      <a:lvl4pPr marL="1398895" algn="l" defTabSz="466298" rtl="0" eaLnBrk="1" latinLnBrk="0" hangingPunct="1">
        <a:defRPr sz="1836" kern="1200">
          <a:solidFill>
            <a:schemeClr val="tx1"/>
          </a:solidFill>
          <a:latin typeface="+mn-lt"/>
          <a:ea typeface="+mn-ea"/>
          <a:cs typeface="+mn-cs"/>
        </a:defRPr>
      </a:lvl4pPr>
      <a:lvl5pPr marL="1865193" algn="l" defTabSz="466298" rtl="0" eaLnBrk="1" latinLnBrk="0" hangingPunct="1">
        <a:defRPr sz="1836" kern="1200">
          <a:solidFill>
            <a:schemeClr val="tx1"/>
          </a:solidFill>
          <a:latin typeface="+mn-lt"/>
          <a:ea typeface="+mn-ea"/>
          <a:cs typeface="+mn-cs"/>
        </a:defRPr>
      </a:lvl5pPr>
      <a:lvl6pPr marL="2331491" algn="l" defTabSz="466298" rtl="0" eaLnBrk="1" latinLnBrk="0" hangingPunct="1">
        <a:defRPr sz="1836" kern="1200">
          <a:solidFill>
            <a:schemeClr val="tx1"/>
          </a:solidFill>
          <a:latin typeface="+mn-lt"/>
          <a:ea typeface="+mn-ea"/>
          <a:cs typeface="+mn-cs"/>
        </a:defRPr>
      </a:lvl6pPr>
      <a:lvl7pPr marL="2797790" algn="l" defTabSz="466298" rtl="0" eaLnBrk="1" latinLnBrk="0" hangingPunct="1">
        <a:defRPr sz="1836" kern="1200">
          <a:solidFill>
            <a:schemeClr val="tx1"/>
          </a:solidFill>
          <a:latin typeface="+mn-lt"/>
          <a:ea typeface="+mn-ea"/>
          <a:cs typeface="+mn-cs"/>
        </a:defRPr>
      </a:lvl7pPr>
      <a:lvl8pPr marL="3264088" algn="l" defTabSz="466298" rtl="0" eaLnBrk="1" latinLnBrk="0" hangingPunct="1">
        <a:defRPr sz="1836" kern="1200">
          <a:solidFill>
            <a:schemeClr val="tx1"/>
          </a:solidFill>
          <a:latin typeface="+mn-lt"/>
          <a:ea typeface="+mn-ea"/>
          <a:cs typeface="+mn-cs"/>
        </a:defRPr>
      </a:lvl8pPr>
      <a:lvl9pPr marL="3730386" algn="l" defTabSz="466298"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9037" y="0"/>
            <a:ext cx="952400" cy="5766965"/>
            <a:chOff x="12619037" y="0"/>
            <a:chExt cx="952400" cy="5766965"/>
          </a:xfrm>
        </p:grpSpPr>
        <p:grpSp>
          <p:nvGrpSpPr>
            <p:cNvPr id="13" name="Group 12"/>
            <p:cNvGrpSpPr/>
            <p:nvPr userDrawn="1"/>
          </p:nvGrpSpPr>
          <p:grpSpPr>
            <a:xfrm rot="5400000">
              <a:off x="11582129" y="1045295"/>
              <a:ext cx="2703053" cy="629235"/>
              <a:chOff x="1586734" y="4543426"/>
              <a:chExt cx="2703053" cy="629235"/>
            </a:xfrm>
          </p:grpSpPr>
          <p:sp>
            <p:nvSpPr>
              <p:cNvPr id="20" name="Rectangle 19"/>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0</a:t>
                </a:r>
                <a:r>
                  <a:rPr lang="en-US" sz="500" baseline="0" dirty="0">
                    <a:gradFill>
                      <a:gsLst>
                        <a:gs pos="0">
                          <a:srgbClr val="FFFFFF"/>
                        </a:gs>
                        <a:gs pos="100000">
                          <a:srgbClr val="FFFFFF"/>
                        </a:gs>
                      </a:gsLst>
                      <a:lin ang="5400000" scaled="0"/>
                    </a:gradFill>
                    <a:ea typeface="Segoe UI" pitchFamily="34" charset="0"/>
                    <a:cs typeface="Segoe UI" pitchFamily="34" charset="0"/>
                  </a:rPr>
                  <a:t> G:24 B:143</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userDrawn="1"/>
            </p:nvSpPr>
            <p:spPr bwMode="auto">
              <a:xfrm>
                <a:off x="3419856" y="4543426"/>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74528">
                          <a:schemeClr val="tx1"/>
                        </a:gs>
                        <a:gs pos="58491">
                          <a:schemeClr val="tx1"/>
                        </a:gs>
                      </a:gsLst>
                      <a:lin ang="5400000" scaled="0"/>
                    </a:gradFill>
                    <a:latin typeface="+mn-lt"/>
                    <a:ea typeface="Segoe UI" pitchFamily="34" charset="0"/>
                    <a:cs typeface="Segoe UI" pitchFamily="34" charset="0"/>
                  </a:rPr>
                  <a:t>Red</a:t>
                </a:r>
              </a:p>
              <a:p>
                <a:pPr algn="l" defTabSz="932472" fontAlgn="base">
                  <a:lnSpc>
                    <a:spcPct val="100000"/>
                  </a:lnSpc>
                  <a:spcBef>
                    <a:spcPct val="0"/>
                  </a:spcBef>
                  <a:spcAft>
                    <a:spcPct val="0"/>
                  </a:spcAft>
                </a:pPr>
                <a:r>
                  <a:rPr lang="en-US" sz="500" dirty="0">
                    <a:gradFill>
                      <a:gsLst>
                        <a:gs pos="74528">
                          <a:schemeClr val="tx1"/>
                        </a:gs>
                        <a:gs pos="58491">
                          <a:schemeClr val="tx1"/>
                        </a:gs>
                      </a:gsLst>
                      <a:lin ang="5400000" scaled="0"/>
                    </a:gradFill>
                    <a:ea typeface="Segoe UI" pitchFamily="34" charset="0"/>
                    <a:cs typeface="Segoe UI" pitchFamily="34" charset="0"/>
                  </a:rPr>
                  <a:t>R:168</a:t>
                </a:r>
                <a:r>
                  <a:rPr lang="en-US" sz="500" baseline="0" dirty="0">
                    <a:gradFill>
                      <a:gsLst>
                        <a:gs pos="74528">
                          <a:schemeClr val="tx1"/>
                        </a:gs>
                        <a:gs pos="58491">
                          <a:schemeClr val="tx1"/>
                        </a:gs>
                      </a:gsLst>
                      <a:lin ang="5400000" scaled="0"/>
                    </a:gradFill>
                    <a:ea typeface="Segoe UI" pitchFamily="34" charset="0"/>
                    <a:cs typeface="Segoe UI" pitchFamily="34" charset="0"/>
                  </a:rPr>
                  <a:t> G:0 B:0</a:t>
                </a:r>
                <a:endParaRPr lang="en-US" sz="500" dirty="0">
                  <a:gradFill>
                    <a:gsLst>
                      <a:gs pos="74528">
                        <a:schemeClr val="tx1"/>
                      </a:gs>
                      <a:gs pos="58491">
                        <a:schemeClr val="tx1"/>
                      </a:gs>
                    </a:gsLst>
                    <a:lin ang="5400000" scaled="0"/>
                  </a:gradFill>
                  <a:ea typeface="Segoe UI" pitchFamily="34" charset="0"/>
                  <a:cs typeface="Segoe UI" pitchFamily="34" charset="0"/>
                </a:endParaRPr>
              </a:p>
            </p:txBody>
          </p:sp>
          <p:sp>
            <p:nvSpPr>
              <p:cNvPr id="23" name="Rectangle 22"/>
              <p:cNvSpPr/>
              <p:nvPr userDrawn="1"/>
            </p:nvSpPr>
            <p:spPr bwMode="auto">
              <a:xfrm>
                <a:off x="1586734" y="4882895"/>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a:off x="3419857" y="4882895"/>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90566">
                          <a:schemeClr val="bg1"/>
                        </a:gs>
                        <a:gs pos="74528">
                          <a:schemeClr val="bg1"/>
                        </a:gs>
                      </a:gsLst>
                      <a:lin ang="5400000" scaled="0"/>
                    </a:gradFill>
                    <a:latin typeface="+mn-lt"/>
                    <a:ea typeface="Segoe UI" pitchFamily="34" charset="0"/>
                    <a:cs typeface="Segoe UI" pitchFamily="34" charset="0"/>
                  </a:rPr>
                  <a:t>Yellow</a:t>
                </a:r>
              </a:p>
              <a:p>
                <a:pPr algn="l" defTabSz="932472" fontAlgn="base">
                  <a:lnSpc>
                    <a:spcPct val="100000"/>
                  </a:lnSpc>
                  <a:spcBef>
                    <a:spcPct val="0"/>
                  </a:spcBef>
                  <a:spcAft>
                    <a:spcPct val="0"/>
                  </a:spcAft>
                </a:pPr>
                <a:r>
                  <a:rPr lang="en-US" sz="500" dirty="0">
                    <a:gradFill>
                      <a:gsLst>
                        <a:gs pos="90566">
                          <a:schemeClr val="bg1"/>
                        </a:gs>
                        <a:gs pos="74528">
                          <a:schemeClr val="bg1"/>
                        </a:gs>
                      </a:gsLst>
                      <a:lin ang="5400000" scaled="0"/>
                    </a:gradFill>
                    <a:ea typeface="Segoe UI" pitchFamily="34" charset="0"/>
                    <a:cs typeface="Segoe UI" pitchFamily="34" charset="0"/>
                  </a:rPr>
                  <a:t>R:</a:t>
                </a:r>
                <a:r>
                  <a:rPr lang="en-US" sz="500" baseline="0" dirty="0">
                    <a:gradFill>
                      <a:gsLst>
                        <a:gs pos="90566">
                          <a:schemeClr val="bg1"/>
                        </a:gs>
                        <a:gs pos="74528">
                          <a:schemeClr val="bg1"/>
                        </a:gs>
                      </a:gsLst>
                      <a:lin ang="5400000" scaled="0"/>
                    </a:gradFill>
                    <a:ea typeface="Segoe UI" pitchFamily="34" charset="0"/>
                    <a:cs typeface="Segoe UI" pitchFamily="34" charset="0"/>
                  </a:rPr>
                  <a:t>255 G:185 B:0</a:t>
                </a:r>
                <a:endParaRPr lang="en-US" sz="500" dirty="0">
                  <a:gradFill>
                    <a:gsLst>
                      <a:gs pos="90566">
                        <a:schemeClr val="bg1"/>
                      </a:gs>
                      <a:gs pos="74528">
                        <a:schemeClr val="bg1"/>
                      </a:gs>
                    </a:gsLst>
                    <a:lin ang="5400000" scaled="0"/>
                  </a:gradFill>
                  <a:ea typeface="Segoe UI" pitchFamily="34" charset="0"/>
                  <a:cs typeface="Segoe UI" pitchFamily="34" charset="0"/>
                </a:endParaRPr>
              </a:p>
            </p:txBody>
          </p:sp>
          <p:sp>
            <p:nvSpPr>
              <p:cNvPr id="25" name="Rectangle 24"/>
              <p:cNvSpPr/>
              <p:nvPr userDrawn="1"/>
            </p:nvSpPr>
            <p:spPr bwMode="auto">
              <a:xfrm>
                <a:off x="2505456" y="4882895"/>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74528">
                          <a:schemeClr val="tx1"/>
                        </a:gs>
                        <a:gs pos="58491">
                          <a:schemeClr val="tx1"/>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74528">
                          <a:schemeClr val="tx1"/>
                        </a:gs>
                        <a:gs pos="58491">
                          <a:schemeClr val="tx1"/>
                        </a:gs>
                      </a:gsLst>
                      <a:lin ang="5400000" scaled="0"/>
                    </a:gradFill>
                    <a:ea typeface="Segoe UI" pitchFamily="34" charset="0"/>
                    <a:cs typeface="Segoe UI" pitchFamily="34" charset="0"/>
                  </a:rPr>
                  <a:t>R:</a:t>
                </a:r>
                <a:r>
                  <a:rPr lang="en-US" sz="500" baseline="0" dirty="0">
                    <a:gradFill>
                      <a:gsLst>
                        <a:gs pos="74528">
                          <a:schemeClr val="tx1"/>
                        </a:gs>
                        <a:gs pos="58491">
                          <a:schemeClr val="tx1"/>
                        </a:gs>
                      </a:gsLst>
                      <a:lin ang="5400000" scaled="0"/>
                    </a:gradFill>
                    <a:ea typeface="Segoe UI" pitchFamily="34" charset="0"/>
                    <a:cs typeface="Segoe UI" pitchFamily="34" charset="0"/>
                  </a:rPr>
                  <a:t>216 G:59 B:1</a:t>
                </a:r>
                <a:endParaRPr lang="en-US" sz="500" dirty="0">
                  <a:gradFill>
                    <a:gsLst>
                      <a:gs pos="74528">
                        <a:schemeClr val="tx1"/>
                      </a:gs>
                      <a:gs pos="58491">
                        <a:schemeClr val="tx1"/>
                      </a:gs>
                    </a:gsLst>
                    <a:lin ang="5400000" scaled="0"/>
                  </a:gradFill>
                  <a:ea typeface="Segoe UI" pitchFamily="34" charset="0"/>
                  <a:cs typeface="Segoe UI" pitchFamily="34" charset="0"/>
                </a:endParaRPr>
              </a:p>
            </p:txBody>
          </p:sp>
        </p:grpSp>
        <p:grpSp>
          <p:nvGrpSpPr>
            <p:cNvPr id="14" name="Group 13"/>
            <p:cNvGrpSpPr/>
            <p:nvPr userDrawn="1"/>
          </p:nvGrpSpPr>
          <p:grpSpPr>
            <a:xfrm rot="5400000">
              <a:off x="11412394" y="4270556"/>
              <a:ext cx="2703052" cy="289766"/>
              <a:chOff x="4476564" y="4543426"/>
              <a:chExt cx="2703052" cy="289766"/>
            </a:xfrm>
          </p:grpSpPr>
          <p:sp>
            <p:nvSpPr>
              <p:cNvPr id="17" name="Rectangle 16"/>
              <p:cNvSpPr/>
              <p:nvPr userDrawn="1"/>
            </p:nvSpPr>
            <p:spPr bwMode="auto">
              <a:xfrm>
                <a:off x="539528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32472" fontAlgn="base">
                  <a:lnSpc>
                    <a:spcPct val="100000"/>
                  </a:lnSpc>
                  <a:spcBef>
                    <a:spcPct val="0"/>
                  </a:spcBef>
                  <a:spcAft>
                    <a:spcPct val="0"/>
                  </a:spcAft>
                </a:pPr>
                <a:r>
                  <a:rPr lang="en-US" sz="500" b="1" baseline="0" dirty="0">
                    <a:gradFill>
                      <a:gsLst>
                        <a:gs pos="90566">
                          <a:schemeClr val="bg1"/>
                        </a:gs>
                        <a:gs pos="74528">
                          <a:schemeClr val="bg1"/>
                        </a:gs>
                      </a:gsLst>
                      <a:lin ang="5400000" scaled="0"/>
                    </a:gradFill>
                    <a:ea typeface="Segoe UI" pitchFamily="34" charset="0"/>
                    <a:cs typeface="Segoe UI" pitchFamily="34" charset="0"/>
                  </a:rPr>
                  <a:t>Light Green</a:t>
                </a:r>
              </a:p>
              <a:p>
                <a:pPr lvl="0" defTabSz="932472" fontAlgn="base">
                  <a:lnSpc>
                    <a:spcPct val="100000"/>
                  </a:lnSpc>
                  <a:spcBef>
                    <a:spcPct val="0"/>
                  </a:spcBef>
                  <a:spcAft>
                    <a:spcPct val="0"/>
                  </a:spcAft>
                </a:pPr>
                <a:r>
                  <a:rPr lang="en-US" sz="500" b="1" baseline="0" dirty="0">
                    <a:gradFill>
                      <a:gsLst>
                        <a:gs pos="90566">
                          <a:schemeClr val="bg1"/>
                        </a:gs>
                        <a:gs pos="74528">
                          <a:schemeClr val="bg1"/>
                        </a:gs>
                      </a:gsLst>
                      <a:lin ang="5400000" scaled="0"/>
                    </a:gradFill>
                    <a:ea typeface="Segoe UI" pitchFamily="34" charset="0"/>
                    <a:cs typeface="Segoe UI" pitchFamily="34" charset="0"/>
                  </a:rPr>
                  <a:t>R:186 G:216 B:10</a:t>
                </a:r>
              </a:p>
            </p:txBody>
          </p:sp>
          <p:sp>
            <p:nvSpPr>
              <p:cNvPr id="18" name="Rectangle 17"/>
              <p:cNvSpPr/>
              <p:nvPr userDrawn="1"/>
            </p:nvSpPr>
            <p:spPr bwMode="auto">
              <a:xfrm>
                <a:off x="6309686"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3208">
                          <a:schemeClr val="tx1"/>
                        </a:gs>
                        <a:gs pos="44000">
                          <a:schemeClr val="tx1"/>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13208">
                          <a:schemeClr val="tx1"/>
                        </a:gs>
                        <a:gs pos="44000">
                          <a:schemeClr val="tx1"/>
                        </a:gs>
                      </a:gsLst>
                      <a:lin ang="5400000" scaled="0"/>
                    </a:gradFill>
                    <a:ea typeface="Segoe UI" pitchFamily="34" charset="0"/>
                    <a:cs typeface="Segoe UI" pitchFamily="34" charset="0"/>
                  </a:rPr>
                  <a:t>R:0</a:t>
                </a:r>
                <a:r>
                  <a:rPr lang="en-US" sz="500" baseline="0" dirty="0">
                    <a:gradFill>
                      <a:gsLst>
                        <a:gs pos="13208">
                          <a:schemeClr val="tx1"/>
                        </a:gs>
                        <a:gs pos="44000">
                          <a:schemeClr val="tx1"/>
                        </a:gs>
                      </a:gsLst>
                      <a:lin ang="5400000" scaled="0"/>
                    </a:gradFill>
                    <a:ea typeface="Segoe UI" pitchFamily="34" charset="0"/>
                    <a:cs typeface="Segoe UI" pitchFamily="34" charset="0"/>
                  </a:rPr>
                  <a:t> G:120 B:215</a:t>
                </a:r>
              </a:p>
            </p:txBody>
          </p:sp>
          <p:sp>
            <p:nvSpPr>
              <p:cNvPr id="19" name="Rectangle 18"/>
              <p:cNvSpPr/>
              <p:nvPr userDrawn="1"/>
            </p:nvSpPr>
            <p:spPr bwMode="auto">
              <a:xfrm>
                <a:off x="4476564" y="4543426"/>
                <a:ext cx="869930" cy="289766"/>
              </a:xfrm>
              <a:prstGeom prst="rect">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ay 7</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50</a:t>
                </a:r>
                <a:r>
                  <a:rPr lang="en-US" sz="500" baseline="0" dirty="0">
                    <a:gradFill>
                      <a:gsLst>
                        <a:gs pos="2092">
                          <a:srgbClr val="F8F8F8"/>
                        </a:gs>
                        <a:gs pos="10042">
                          <a:srgbClr val="F8F8F8"/>
                        </a:gs>
                      </a:gsLst>
                      <a:lin ang="5400000" scaled="0"/>
                    </a:gradFill>
                    <a:ea typeface="Segoe UI" pitchFamily="34" charset="0"/>
                    <a:cs typeface="Segoe UI" pitchFamily="34" charset="0"/>
                  </a:rPr>
                  <a:t> G:150 B:15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15" name="TextBox 14"/>
            <p:cNvSpPr txBox="1"/>
            <p:nvPr userDrawn="1"/>
          </p:nvSpPr>
          <p:spPr>
            <a:xfrm rot="5400000">
              <a:off x="12988104"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58491">
                        <a:schemeClr val="bg1"/>
                      </a:gs>
                      <a:gs pos="49000">
                        <a:schemeClr val="bg1"/>
                      </a:gs>
                    </a:gsLst>
                    <a:lin ang="5400000" scaled="0"/>
                  </a:gradFill>
                </a:rPr>
                <a:t>Main colors</a:t>
              </a:r>
            </a:p>
          </p:txBody>
        </p:sp>
        <p:sp>
          <p:nvSpPr>
            <p:cNvPr id="16" name="TextBox 15"/>
            <p:cNvSpPr txBox="1"/>
            <p:nvPr userDrawn="1"/>
          </p:nvSpPr>
          <p:spPr>
            <a:xfrm rot="5400000">
              <a:off x="11742139"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58491">
                        <a:schemeClr val="bg1"/>
                      </a:gs>
                      <a:gs pos="49000">
                        <a:schemeClr val="bg1"/>
                      </a:gs>
                    </a:gsLst>
                    <a:lin ang="5400000" scaled="0"/>
                  </a:gradFill>
                  <a:latin typeface="+mn-lt"/>
                  <a:ea typeface="+mn-ea"/>
                  <a:cs typeface="+mn-cs"/>
                </a:rPr>
                <a:t>Secondary colors (use only when necessary)</a:t>
              </a:r>
            </a:p>
          </p:txBody>
        </p:sp>
      </p:grpSp>
    </p:spTree>
    <p:extLst>
      <p:ext uri="{BB962C8B-B14F-4D97-AF65-F5344CB8AC3E}">
        <p14:creationId xmlns:p14="http://schemas.microsoft.com/office/powerpoint/2010/main" val="587688045"/>
      </p:ext>
    </p:extLst>
  </p:cSld>
  <p:clrMap bg1="dk1" tx1="lt1" bg2="dk2" tx2="lt2" accent1="accent1" accent2="accent2" accent3="accent3" accent4="accent4" accent5="accent5" accent6="accent6" hlink="hlink" folHlink="folHlink"/>
  <p:sldLayoutIdLst>
    <p:sldLayoutId id="2147484344" r:id="rId1"/>
    <p:sldLayoutId id="2147484357" r:id="rId2"/>
    <p:sldLayoutId id="2147484313" r:id="rId3"/>
    <p:sldLayoutId id="2147484314" r:id="rId4"/>
    <p:sldLayoutId id="2147484317" r:id="rId5"/>
    <p:sldLayoutId id="2147484319" r:id="rId6"/>
    <p:sldLayoutId id="2147484321" r:id="rId7"/>
    <p:sldLayoutId id="2147484322" r:id="rId8"/>
    <p:sldLayoutId id="2147484323" r:id="rId9"/>
    <p:sldLayoutId id="2147484324" r:id="rId10"/>
    <p:sldLayoutId id="2147484325" r:id="rId11"/>
    <p:sldLayoutId id="2147484326" r:id="rId12"/>
    <p:sldLayoutId id="2147484327" r:id="rId13"/>
    <p:sldLayoutId id="2147484329" r:id="rId14"/>
    <p:sldLayoutId id="2147484330" r:id="rId15"/>
    <p:sldLayoutId id="2147484331" r:id="rId16"/>
    <p:sldLayoutId id="2147484332" r:id="rId17"/>
    <p:sldLayoutId id="2147484334" r:id="rId18"/>
    <p:sldLayoutId id="2147484335" r:id="rId19"/>
    <p:sldLayoutId id="2147484336"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95283">
                <a:schemeClr val="tx1"/>
              </a:gs>
              <a:gs pos="68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95283">
                <a:schemeClr val="tx1"/>
              </a:gs>
              <a:gs pos="68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95283">
                <a:schemeClr val="tx1"/>
              </a:gs>
              <a:gs pos="68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95283">
                <a:schemeClr val="tx1"/>
              </a:gs>
              <a:gs pos="68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95283">
                <a:schemeClr val="tx1"/>
              </a:gs>
              <a:gs pos="68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95283">
                <a:schemeClr val="tx1"/>
              </a:gs>
              <a:gs pos="68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0" y="6584285"/>
            <a:ext cx="12433366" cy="410242"/>
          </a:xfrm>
          <a:prstGeom prst="rect">
            <a:avLst/>
          </a:prstGeom>
        </p:spPr>
      </p:pic>
      <p:sp>
        <p:nvSpPr>
          <p:cNvPr id="199684" name="Rectangle 4"/>
          <p:cNvSpPr>
            <a:spLocks noGrp="1" noChangeArrowheads="1"/>
          </p:cNvSpPr>
          <p:nvPr>
            <p:ph type="sldNum" sz="quarter" idx="4"/>
          </p:nvPr>
        </p:nvSpPr>
        <p:spPr bwMode="auto">
          <a:xfrm>
            <a:off x="11396385" y="6715638"/>
            <a:ext cx="682279" cy="147535"/>
          </a:xfrm>
          <a:prstGeom prst="rect">
            <a:avLst/>
          </a:prstGeom>
        </p:spPr>
        <p:txBody>
          <a:bodyPr vert="horz" lIns="0" tIns="45720" rIns="91440" bIns="45720" rtlCol="0" anchor="ctr"/>
          <a:lstStyle>
            <a:lvl1pPr algn="r">
              <a:defRPr lang="en-US" sz="714" smtClean="0">
                <a:latin typeface="+mj-lt"/>
              </a:defRPr>
            </a:lvl1pPr>
          </a:lstStyle>
          <a:p>
            <a:fld id="{8022235C-F2BB-49F2-A307-DAF5D2C4A06C}" type="slidenum">
              <a:rPr lang="en-US" smtClean="0"/>
              <a:pPr/>
              <a:t>‹#›</a:t>
            </a:fld>
            <a:endParaRPr lang="en-US" dirty="0"/>
          </a:p>
        </p:txBody>
      </p:sp>
      <p:sp>
        <p:nvSpPr>
          <p:cNvPr id="6" name="Text Placeholder 5"/>
          <p:cNvSpPr>
            <a:spLocks noGrp="1"/>
          </p:cNvSpPr>
          <p:nvPr>
            <p:ph type="body" idx="1"/>
          </p:nvPr>
        </p:nvSpPr>
        <p:spPr>
          <a:xfrm>
            <a:off x="366121" y="1185183"/>
            <a:ext cx="11702723" cy="1741119"/>
          </a:xfrm>
          <a:prstGeom prst="rect">
            <a:avLst/>
          </a:prstGeom>
        </p:spPr>
        <p:txBody>
          <a:bodyPr vert="horz" lIns="45720" tIns="45720" rIns="45720" bIns="45720" rtlCol="0">
            <a:spAutoFit/>
          </a:bodyPr>
          <a:lstStyle/>
          <a:p>
            <a:pPr lvl="0"/>
            <a:r>
              <a:rPr lang="en-US" dirty="0"/>
              <a:t>Click to edit Master text styles</a:t>
            </a:r>
          </a:p>
          <a:p>
            <a:pPr marL="471156" lvl="1" indent="-229911" algn="l" rtl="0" eaLnBrk="1" fontAlgn="base" hangingPunct="1">
              <a:lnSpc>
                <a:spcPct val="100000"/>
              </a:lnSpc>
              <a:spcBef>
                <a:spcPts val="306"/>
              </a:spcBef>
              <a:spcAft>
                <a:spcPts val="408"/>
              </a:spcAft>
              <a:buClr>
                <a:srgbClr val="336699"/>
              </a:buClr>
              <a:buSzPct val="95000"/>
              <a:buFont typeface="Arial" panose="020B0604020202020204" pitchFamily="34" charset="0"/>
              <a:buChar char="•"/>
            </a:pPr>
            <a:r>
              <a:rPr lang="en-US" dirty="0"/>
              <a:t>Second level</a:t>
            </a:r>
          </a:p>
          <a:p>
            <a:pPr marL="702686" lvl="2" indent="-239626" algn="l" rtl="0" eaLnBrk="1" fontAlgn="base" hangingPunct="1">
              <a:lnSpc>
                <a:spcPct val="100000"/>
              </a:lnSpc>
              <a:spcBef>
                <a:spcPts val="306"/>
              </a:spcBef>
              <a:spcAft>
                <a:spcPts val="408"/>
              </a:spcAft>
              <a:buClr>
                <a:srgbClr val="336699"/>
              </a:buClr>
              <a:buSzPct val="80000"/>
              <a:buFont typeface="Arial" pitchFamily="34" charset="0"/>
              <a:buChar char="•"/>
            </a:pPr>
            <a:r>
              <a:rPr lang="en-US" dirty="0"/>
              <a:t>Third level</a:t>
            </a:r>
          </a:p>
          <a:p>
            <a:pPr marL="932597" lvl="3" indent="-229911" algn="l" rtl="0" eaLnBrk="1" fontAlgn="base" hangingPunct="1">
              <a:lnSpc>
                <a:spcPct val="100000"/>
              </a:lnSpc>
              <a:spcBef>
                <a:spcPts val="306"/>
              </a:spcBef>
              <a:spcAft>
                <a:spcPts val="408"/>
              </a:spcAft>
              <a:buClr>
                <a:srgbClr val="336699"/>
              </a:buClr>
              <a:buSzPct val="70000"/>
              <a:buFont typeface="Arial" pitchFamily="34" charset="0"/>
              <a:buChar char="•"/>
            </a:pPr>
            <a:r>
              <a:rPr lang="en-US" dirty="0"/>
              <a:t>Fourth level</a:t>
            </a:r>
          </a:p>
          <a:p>
            <a:pPr marL="1162508" lvl="4" indent="-231531" algn="l" rtl="0" eaLnBrk="1" fontAlgn="base" hangingPunct="1">
              <a:lnSpc>
                <a:spcPct val="100000"/>
              </a:lnSpc>
              <a:spcBef>
                <a:spcPts val="306"/>
              </a:spcBef>
              <a:spcAft>
                <a:spcPts val="408"/>
              </a:spcAft>
              <a:buClr>
                <a:srgbClr val="336699"/>
              </a:buClr>
              <a:buSzPct val="60000"/>
              <a:buFont typeface="Arial" pitchFamily="34" charset="0"/>
              <a:buChar char="•"/>
            </a:pPr>
            <a:r>
              <a:rPr lang="en-US" dirty="0"/>
              <a:t>Fifth level</a:t>
            </a:r>
          </a:p>
        </p:txBody>
      </p:sp>
      <p:grpSp>
        <p:nvGrpSpPr>
          <p:cNvPr id="20" name="Group 19"/>
          <p:cNvGrpSpPr/>
          <p:nvPr userDrawn="1"/>
        </p:nvGrpSpPr>
        <p:grpSpPr>
          <a:xfrm>
            <a:off x="0" y="3"/>
            <a:ext cx="12436475" cy="975779"/>
            <a:chOff x="0" y="0"/>
            <a:chExt cx="12192000" cy="956733"/>
          </a:xfrm>
        </p:grpSpPr>
        <p:sp>
          <p:nvSpPr>
            <p:cNvPr id="3" name="Rectangle 2"/>
            <p:cNvSpPr/>
            <p:nvPr userDrawn="1"/>
          </p:nvSpPr>
          <p:spPr bwMode="auto">
            <a:xfrm>
              <a:off x="0" y="135467"/>
              <a:ext cx="12192000" cy="821266"/>
            </a:xfrm>
            <a:prstGeom prst="rect">
              <a:avLst/>
            </a:prstGeom>
            <a:solidFill>
              <a:srgbClr val="191516"/>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32597" rtl="0" eaLnBrk="1" fontAlgn="base" latinLnBrk="0" hangingPunct="1">
                <a:lnSpc>
                  <a:spcPct val="100000"/>
                </a:lnSpc>
                <a:spcBef>
                  <a:spcPct val="0"/>
                </a:spcBef>
                <a:spcAft>
                  <a:spcPct val="0"/>
                </a:spcAft>
                <a:buClrTx/>
                <a:buSzTx/>
                <a:buFontTx/>
                <a:buNone/>
                <a:tabLst/>
              </a:pPr>
              <a:endParaRPr kumimoji="0" lang="en-US" sz="2448" b="0" i="0" u="none" strike="noStrike" cap="none" normalizeH="0" baseline="0" dirty="0">
                <a:ln>
                  <a:noFill/>
                </a:ln>
                <a:solidFill>
                  <a:schemeClr val="tx1"/>
                </a:solidFill>
                <a:effectLst/>
                <a:latin typeface="Times New Roman" pitchFamily="18" charset="0"/>
              </a:endParaRPr>
            </a:p>
          </p:txBody>
        </p:sp>
        <p:pic>
          <p:nvPicPr>
            <p:cNvPr id="5" name="Picture 4"/>
            <p:cNvPicPr>
              <a:picLocks noChangeAspect="1"/>
            </p:cNvPicPr>
            <p:nvPr userDrawn="1"/>
          </p:nvPicPr>
          <p:blipFill rotWithShape="1">
            <a:blip r:embed="rId11" cstate="email">
              <a:extLst>
                <a:ext uri="{28A0092B-C50C-407E-A947-70E740481C1C}">
                  <a14:useLocalDpi xmlns:a14="http://schemas.microsoft.com/office/drawing/2010/main"/>
                </a:ext>
              </a:extLst>
            </a:blip>
            <a:srcRect/>
            <a:stretch/>
          </p:blipFill>
          <p:spPr>
            <a:xfrm>
              <a:off x="0" y="0"/>
              <a:ext cx="12188952" cy="135467"/>
            </a:xfrm>
            <a:prstGeom prst="rect">
              <a:avLst/>
            </a:prstGeom>
          </p:spPr>
        </p:pic>
      </p:grpSp>
      <p:sp>
        <p:nvSpPr>
          <p:cNvPr id="199682" name="Rectangle 2"/>
          <p:cNvSpPr>
            <a:spLocks noGrp="1" noChangeArrowheads="1"/>
          </p:cNvSpPr>
          <p:nvPr userDrawn="1">
            <p:ph type="title"/>
          </p:nvPr>
        </p:nvSpPr>
        <p:spPr bwMode="auto">
          <a:xfrm>
            <a:off x="366124" y="256088"/>
            <a:ext cx="11716057" cy="564258"/>
          </a:xfrm>
          <a:prstGeom prst="rect">
            <a:avLst/>
          </a:prstGeom>
          <a:noFill/>
          <a:ln w="9525">
            <a:noFill/>
            <a:miter lim="800000"/>
            <a:headEnd/>
            <a:tailEnd/>
          </a:ln>
          <a:effectLst/>
        </p:spPr>
        <p:txBody>
          <a:bodyPr vert="horz" wrap="square" lIns="45720" tIns="45720" rIns="45720" bIns="0" numCol="1" anchor="ctr" anchorCtr="0" compatLnSpc="1">
            <a:prstTxWarp prst="textNoShape">
              <a:avLst/>
            </a:prstTxWarp>
          </a:bodyPr>
          <a:lstStyle/>
          <a:p>
            <a:pPr lvl="0"/>
            <a:r>
              <a:rPr lang="en-US" dirty="0"/>
              <a:t>Click to edit Master title style</a:t>
            </a:r>
          </a:p>
        </p:txBody>
      </p:sp>
      <p:sp>
        <p:nvSpPr>
          <p:cNvPr id="2" name="TextBox 1"/>
          <p:cNvSpPr txBox="1"/>
          <p:nvPr userDrawn="1"/>
        </p:nvSpPr>
        <p:spPr bwMode="auto">
          <a:xfrm>
            <a:off x="1347284" y="6688842"/>
            <a:ext cx="9954565" cy="305686"/>
          </a:xfrm>
          <a:prstGeom prst="rect">
            <a:avLst/>
          </a:prstGeom>
        </p:spPr>
        <p:txBody>
          <a:bodyPr vert="horz" lIns="0" tIns="46630" rIns="93260" bIns="46630" rtlCol="0" anchor="ctr"/>
          <a:lstStyle>
            <a:defPPr>
              <a:defRPr lang="en-US"/>
            </a:defPPr>
            <a:lvl1pPr>
              <a:defRPr sz="700">
                <a:latin typeface="+mj-lt"/>
              </a:defRPr>
            </a:lvl1pPr>
          </a:lstStyle>
          <a:p>
            <a:pPr lvl="0" algn="ctr"/>
            <a:r>
              <a:rPr lang="en-US" sz="714" dirty="0"/>
              <a:t>© 2016 Silanis Technology Inc. All rights reserved. </a:t>
            </a:r>
          </a:p>
        </p:txBody>
      </p:sp>
      <p:pic>
        <p:nvPicPr>
          <p:cNvPr id="7" name="Picture 6"/>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274758" y="6560060"/>
            <a:ext cx="1121081" cy="472262"/>
          </a:xfrm>
          <a:prstGeom prst="rect">
            <a:avLst/>
          </a:prstGeom>
        </p:spPr>
      </p:pic>
      <p:sp>
        <p:nvSpPr>
          <p:cNvPr id="11" name="Rectangle 10"/>
          <p:cNvSpPr/>
          <p:nvPr userDrawn="1"/>
        </p:nvSpPr>
        <p:spPr bwMode="auto">
          <a:xfrm>
            <a:off x="0" y="146798"/>
            <a:ext cx="12436475" cy="915333"/>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indent="0" algn="l" defTabSz="932597" rtl="0" eaLnBrk="1" fontAlgn="base" latinLnBrk="0" hangingPunct="1">
              <a:lnSpc>
                <a:spcPct val="100000"/>
              </a:lnSpc>
              <a:spcBef>
                <a:spcPct val="0"/>
              </a:spcBef>
              <a:spcAft>
                <a:spcPct val="0"/>
              </a:spcAft>
              <a:buClrTx/>
              <a:buSzTx/>
              <a:buFontTx/>
              <a:buNone/>
              <a:tabLst/>
            </a:pPr>
            <a:endParaRPr kumimoji="0" lang="en-US" sz="2448" b="0" i="0" u="none" strike="noStrike" cap="none" normalizeH="0" baseline="0">
              <a:ln>
                <a:noFill/>
              </a:ln>
              <a:solidFill>
                <a:schemeClr val="tx1"/>
              </a:solidFill>
              <a:effectLst/>
              <a:latin typeface="Times New Roman" pitchFamily="18" charset="0"/>
            </a:endParaRPr>
          </a:p>
        </p:txBody>
      </p:sp>
    </p:spTree>
    <p:extLst>
      <p:ext uri="{BB962C8B-B14F-4D97-AF65-F5344CB8AC3E}">
        <p14:creationId xmlns:p14="http://schemas.microsoft.com/office/powerpoint/2010/main" val="4280418219"/>
      </p:ext>
    </p:extLst>
  </p:cSld>
  <p:clrMap bg1="lt1" tx1="dk1" bg2="lt2" tx2="dk2" accent1="accent1" accent2="accent2" accent3="accent3" accent4="accent4" accent5="accent5" accent6="accent6" hlink="hlink" folHlink="folHlink"/>
  <p:sldLayoutIdLst>
    <p:sldLayoutId id="2147484708" r:id="rId1"/>
    <p:sldLayoutId id="2147484709" r:id="rId2"/>
    <p:sldLayoutId id="2147484710" r:id="rId3"/>
    <p:sldLayoutId id="2147484711" r:id="rId4"/>
    <p:sldLayoutId id="2147484712" r:id="rId5"/>
    <p:sldLayoutId id="2147484713" r:id="rId6"/>
    <p:sldLayoutId id="2147484714" r:id="rId7"/>
    <p:sldLayoutId id="2147484715" r:id="rId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hf hdr="0" ftr="0" dt="0"/>
  <p:txStyles>
    <p:titleStyle>
      <a:lvl1pPr algn="ctr" rtl="0" eaLnBrk="1" fontAlgn="base" hangingPunct="1">
        <a:lnSpc>
          <a:spcPct val="90000"/>
        </a:lnSpc>
        <a:spcBef>
          <a:spcPct val="0"/>
        </a:spcBef>
        <a:spcAft>
          <a:spcPct val="0"/>
        </a:spcAft>
        <a:defRPr sz="2652" b="0">
          <a:solidFill>
            <a:schemeClr val="bg1"/>
          </a:solidFill>
          <a:latin typeface="+mj-lt"/>
          <a:ea typeface="+mj-ea"/>
          <a:cs typeface="Arial" pitchFamily="34" charset="0"/>
        </a:defRPr>
      </a:lvl1pPr>
      <a:lvl2pPr algn="l" rtl="0" eaLnBrk="1" fontAlgn="base" hangingPunct="1">
        <a:lnSpc>
          <a:spcPct val="90000"/>
        </a:lnSpc>
        <a:spcBef>
          <a:spcPct val="0"/>
        </a:spcBef>
        <a:spcAft>
          <a:spcPct val="0"/>
        </a:spcAft>
        <a:defRPr sz="2550" b="1">
          <a:solidFill>
            <a:srgbClr val="000000"/>
          </a:solidFill>
          <a:latin typeface="Arial" charset="0"/>
        </a:defRPr>
      </a:lvl2pPr>
      <a:lvl3pPr algn="l" rtl="0" eaLnBrk="1" fontAlgn="base" hangingPunct="1">
        <a:lnSpc>
          <a:spcPct val="90000"/>
        </a:lnSpc>
        <a:spcBef>
          <a:spcPct val="0"/>
        </a:spcBef>
        <a:spcAft>
          <a:spcPct val="0"/>
        </a:spcAft>
        <a:defRPr sz="2550" b="1">
          <a:solidFill>
            <a:srgbClr val="000000"/>
          </a:solidFill>
          <a:latin typeface="Arial" charset="0"/>
        </a:defRPr>
      </a:lvl3pPr>
      <a:lvl4pPr algn="l" rtl="0" eaLnBrk="1" fontAlgn="base" hangingPunct="1">
        <a:lnSpc>
          <a:spcPct val="90000"/>
        </a:lnSpc>
        <a:spcBef>
          <a:spcPct val="0"/>
        </a:spcBef>
        <a:spcAft>
          <a:spcPct val="0"/>
        </a:spcAft>
        <a:defRPr sz="2550" b="1">
          <a:solidFill>
            <a:srgbClr val="000000"/>
          </a:solidFill>
          <a:latin typeface="Arial" charset="0"/>
        </a:defRPr>
      </a:lvl4pPr>
      <a:lvl5pPr algn="l" rtl="0" eaLnBrk="1" fontAlgn="base" hangingPunct="1">
        <a:lnSpc>
          <a:spcPct val="90000"/>
        </a:lnSpc>
        <a:spcBef>
          <a:spcPct val="0"/>
        </a:spcBef>
        <a:spcAft>
          <a:spcPct val="0"/>
        </a:spcAft>
        <a:defRPr sz="2550" b="1">
          <a:solidFill>
            <a:srgbClr val="000000"/>
          </a:solidFill>
          <a:latin typeface="Arial" charset="0"/>
        </a:defRPr>
      </a:lvl5pPr>
      <a:lvl6pPr marL="466298" algn="l" rtl="0" eaLnBrk="1" fontAlgn="base" hangingPunct="1">
        <a:lnSpc>
          <a:spcPct val="90000"/>
        </a:lnSpc>
        <a:spcBef>
          <a:spcPct val="0"/>
        </a:spcBef>
        <a:spcAft>
          <a:spcPct val="0"/>
        </a:spcAft>
        <a:defRPr sz="2550" b="1">
          <a:solidFill>
            <a:srgbClr val="000000"/>
          </a:solidFill>
          <a:latin typeface="Arial" charset="0"/>
        </a:defRPr>
      </a:lvl6pPr>
      <a:lvl7pPr marL="932597" algn="l" rtl="0" eaLnBrk="1" fontAlgn="base" hangingPunct="1">
        <a:lnSpc>
          <a:spcPct val="90000"/>
        </a:lnSpc>
        <a:spcBef>
          <a:spcPct val="0"/>
        </a:spcBef>
        <a:spcAft>
          <a:spcPct val="0"/>
        </a:spcAft>
        <a:defRPr sz="2550" b="1">
          <a:solidFill>
            <a:srgbClr val="000000"/>
          </a:solidFill>
          <a:latin typeface="Arial" charset="0"/>
        </a:defRPr>
      </a:lvl7pPr>
      <a:lvl8pPr marL="1398895" algn="l" rtl="0" eaLnBrk="1" fontAlgn="base" hangingPunct="1">
        <a:lnSpc>
          <a:spcPct val="90000"/>
        </a:lnSpc>
        <a:spcBef>
          <a:spcPct val="0"/>
        </a:spcBef>
        <a:spcAft>
          <a:spcPct val="0"/>
        </a:spcAft>
        <a:defRPr sz="2550" b="1">
          <a:solidFill>
            <a:srgbClr val="000000"/>
          </a:solidFill>
          <a:latin typeface="Arial" charset="0"/>
        </a:defRPr>
      </a:lvl8pPr>
      <a:lvl9pPr marL="1865193" algn="l" rtl="0" eaLnBrk="1" fontAlgn="base" hangingPunct="1">
        <a:lnSpc>
          <a:spcPct val="90000"/>
        </a:lnSpc>
        <a:spcBef>
          <a:spcPct val="0"/>
        </a:spcBef>
        <a:spcAft>
          <a:spcPct val="0"/>
        </a:spcAft>
        <a:defRPr sz="2550" b="1">
          <a:solidFill>
            <a:srgbClr val="000000"/>
          </a:solidFill>
          <a:latin typeface="Arial" charset="0"/>
        </a:defRPr>
      </a:lvl9pPr>
    </p:titleStyle>
    <p:bodyStyle>
      <a:lvl1pPr marL="229911" indent="-229911" algn="l" rtl="0" eaLnBrk="1" fontAlgn="base" hangingPunct="1">
        <a:lnSpc>
          <a:spcPct val="100000"/>
        </a:lnSpc>
        <a:spcBef>
          <a:spcPts val="306"/>
        </a:spcBef>
        <a:spcAft>
          <a:spcPts val="408"/>
        </a:spcAft>
        <a:buClr>
          <a:schemeClr val="accent5">
            <a:lumMod val="50000"/>
          </a:schemeClr>
        </a:buClr>
        <a:buFont typeface="Arial" panose="020B0604020202020204" pitchFamily="34" charset="0"/>
        <a:buChar char="•"/>
        <a:defRPr lang="en-US" sz="2040" kern="0" dirty="0" smtClean="0">
          <a:solidFill>
            <a:srgbClr val="1F6891"/>
          </a:solidFill>
          <a:latin typeface="+mn-lt"/>
          <a:ea typeface="+mn-ea"/>
          <a:cs typeface="Arial" pitchFamily="34" charset="0"/>
        </a:defRPr>
      </a:lvl1pPr>
      <a:lvl2pPr marL="532682" indent="-291436" algn="l" rtl="0" eaLnBrk="1" fontAlgn="base" hangingPunct="1">
        <a:lnSpc>
          <a:spcPct val="100000"/>
        </a:lnSpc>
        <a:spcBef>
          <a:spcPts val="306"/>
        </a:spcBef>
        <a:spcAft>
          <a:spcPts val="408"/>
        </a:spcAft>
        <a:buClr>
          <a:srgbClr val="336699"/>
        </a:buClr>
        <a:buSzPct val="95000"/>
        <a:buFont typeface="Arial" panose="020B0604020202020204" pitchFamily="34" charset="0"/>
        <a:buChar char="•"/>
        <a:defRPr lang="en-US" sz="1836" kern="0" dirty="0" smtClean="0">
          <a:solidFill>
            <a:schemeClr val="bg2">
              <a:lumMod val="25000"/>
            </a:schemeClr>
          </a:solidFill>
          <a:latin typeface="+mn-lt"/>
          <a:ea typeface="+mn-ea"/>
          <a:cs typeface="Arial" pitchFamily="34" charset="0"/>
        </a:defRPr>
      </a:lvl2pPr>
      <a:lvl3pPr marL="754497" indent="-291436" algn="l" rtl="0" eaLnBrk="1" fontAlgn="base" hangingPunct="1">
        <a:lnSpc>
          <a:spcPct val="100000"/>
        </a:lnSpc>
        <a:spcBef>
          <a:spcPts val="306"/>
        </a:spcBef>
        <a:spcAft>
          <a:spcPts val="408"/>
        </a:spcAft>
        <a:buClr>
          <a:srgbClr val="336699"/>
        </a:buClr>
        <a:buSzPct val="80000"/>
        <a:buFont typeface="Arial" pitchFamily="34" charset="0"/>
        <a:buChar char="•"/>
        <a:defRPr lang="en-US" sz="1632" kern="0" dirty="0" smtClean="0">
          <a:solidFill>
            <a:schemeClr val="bg2">
              <a:lumMod val="25000"/>
            </a:schemeClr>
          </a:solidFill>
          <a:latin typeface="+mn-lt"/>
          <a:ea typeface="+mn-ea"/>
          <a:cs typeface="Arial" pitchFamily="34" charset="0"/>
        </a:defRPr>
      </a:lvl3pPr>
      <a:lvl4pPr marL="994122" indent="-291436" algn="l" rtl="0" eaLnBrk="1" fontAlgn="base" hangingPunct="1">
        <a:lnSpc>
          <a:spcPct val="100000"/>
        </a:lnSpc>
        <a:spcBef>
          <a:spcPts val="306"/>
        </a:spcBef>
        <a:spcAft>
          <a:spcPts val="408"/>
        </a:spcAft>
        <a:buClr>
          <a:srgbClr val="336699"/>
        </a:buClr>
        <a:buSzPct val="70000"/>
        <a:buFont typeface="Arial" pitchFamily="34" charset="0"/>
        <a:buChar char="•"/>
        <a:defRPr lang="en-US" sz="1428" kern="0" dirty="0" smtClean="0">
          <a:solidFill>
            <a:schemeClr val="bg2">
              <a:lumMod val="25000"/>
            </a:schemeClr>
          </a:solidFill>
          <a:latin typeface="+mn-lt"/>
          <a:ea typeface="+mn-ea"/>
          <a:cs typeface="Arial" pitchFamily="34" charset="0"/>
        </a:defRPr>
      </a:lvl4pPr>
      <a:lvl5pPr marL="932597" indent="-231531" algn="l" rtl="0" eaLnBrk="1" fontAlgn="base" hangingPunct="1">
        <a:lnSpc>
          <a:spcPct val="100000"/>
        </a:lnSpc>
        <a:spcBef>
          <a:spcPts val="306"/>
        </a:spcBef>
        <a:spcAft>
          <a:spcPts val="408"/>
        </a:spcAft>
        <a:buClr>
          <a:srgbClr val="336699"/>
        </a:buClr>
        <a:buSzPct val="60000"/>
        <a:buFont typeface="Arial" pitchFamily="34" charset="0"/>
        <a:buChar char="•"/>
        <a:defRPr lang="en-US" sz="1224" kern="0" dirty="0">
          <a:solidFill>
            <a:schemeClr val="bg2">
              <a:lumMod val="25000"/>
            </a:schemeClr>
          </a:solidFill>
          <a:latin typeface="+mn-lt"/>
          <a:ea typeface="+mn-ea"/>
          <a:cs typeface="Arial" pitchFamily="34" charset="0"/>
        </a:defRPr>
      </a:lvl5pPr>
      <a:lvl6pPr marL="2155011" indent="-406392"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6pPr>
      <a:lvl7pPr marL="2621309" indent="-406392"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7pPr>
      <a:lvl8pPr marL="3087608" indent="-406392"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8pPr>
      <a:lvl9pPr marL="3553906" indent="-406392"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51C00694-6F2B-4C08-A3AE-B56C93C20224}" type="datetimeFigureOut">
              <a:rPr lang="en-US" smtClean="0"/>
              <a:t>1/19/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1AD2638F-C939-474F-8A8A-BB94E8289FF0}" type="slidenum">
              <a:rPr lang="en-US" smtClean="0"/>
              <a:t>‹#›</a:t>
            </a:fld>
            <a:endParaRPr lang="en-US"/>
          </a:p>
        </p:txBody>
      </p:sp>
    </p:spTree>
    <p:extLst>
      <p:ext uri="{BB962C8B-B14F-4D97-AF65-F5344CB8AC3E}">
        <p14:creationId xmlns:p14="http://schemas.microsoft.com/office/powerpoint/2010/main" val="3340039343"/>
      </p:ext>
    </p:extLst>
  </p:cSld>
  <p:clrMap bg1="lt1" tx1="dk1" bg2="lt2" tx2="dk2" accent1="accent1" accent2="accent2" accent3="accent3" accent4="accent4" accent5="accent5" accent6="accent6" hlink="hlink" folHlink="folHlink"/>
  <p:sldLayoutIdLst>
    <p:sldLayoutId id="2147484359" r:id="rId1"/>
    <p:sldLayoutId id="2147484360" r:id="rId2"/>
    <p:sldLayoutId id="2147484361" r:id="rId3"/>
    <p:sldLayoutId id="2147484362" r:id="rId4"/>
    <p:sldLayoutId id="2147484363" r:id="rId5"/>
    <p:sldLayoutId id="2147484364" r:id="rId6"/>
    <p:sldLayoutId id="2147484365" r:id="rId7"/>
    <p:sldLayoutId id="2147484366" r:id="rId8"/>
    <p:sldLayoutId id="2147484367" r:id="rId9"/>
    <p:sldLayoutId id="2147484368" r:id="rId10"/>
    <p:sldLayoutId id="2147484369" r:id="rId11"/>
    <p:sldLayoutId id="2147484370"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5"/>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26" imgW="360" imgH="360" progId="TCLayout.ActiveDocument.1">
                  <p:embed/>
                </p:oleObj>
              </mc:Choice>
              <mc:Fallback>
                <p:oleObj name="think-cell Slide" r:id="rId26" imgW="360" imgH="360" progId="TCLayout.ActiveDocument.1">
                  <p:embed/>
                  <p:pic>
                    <p:nvPicPr>
                      <p:cNvPr id="6" name="Object 5"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85223" y="295281"/>
            <a:ext cx="11271191" cy="917575"/>
          </a:xfrm>
          <a:prstGeom prst="rect">
            <a:avLst/>
          </a:prstGeom>
        </p:spPr>
        <p:txBody>
          <a:bodyPr vert="horz" wrap="square" lIns="0" tIns="91380" rIns="146206" bIns="9138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603504" y="1212851"/>
            <a:ext cx="11268948" cy="2092881"/>
          </a:xfrm>
          <a:prstGeom prst="rect">
            <a:avLst/>
          </a:prstGeom>
        </p:spPr>
        <p:txBody>
          <a:bodyPr vert="horz" wrap="square" lIns="0" tIns="146206" rIns="182759" bIns="146206"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585221" y="6680712"/>
            <a:ext cx="3937000" cy="137160"/>
          </a:xfrm>
          <a:prstGeom prst="rect">
            <a:avLst/>
          </a:prstGeom>
        </p:spPr>
        <p:txBody>
          <a:bodyPr vert="horz" lIns="0" tIns="0" rIns="91380" bIns="0" rtlCol="0" anchor="ctr"/>
          <a:lstStyle>
            <a:lvl1pPr marL="0" algn="l" defTabSz="932121" rtl="0" eaLnBrk="1" latinLnBrk="0" hangingPunct="1">
              <a:defRPr lang="en-US" sz="900" kern="1200">
                <a:solidFill>
                  <a:schemeClr val="tx2"/>
                </a:solidFill>
                <a:latin typeface="+mn-lt"/>
                <a:ea typeface="+mn-ea"/>
                <a:cs typeface="+mn-cs"/>
              </a:defRPr>
            </a:lvl1pPr>
          </a:lstStyle>
          <a:p>
            <a:endParaRPr lang="en-US" dirty="0"/>
          </a:p>
        </p:txBody>
      </p:sp>
      <p:sp>
        <p:nvSpPr>
          <p:cNvPr id="5" name="Slide Number Placeholder 4"/>
          <p:cNvSpPr>
            <a:spLocks noGrp="1"/>
          </p:cNvSpPr>
          <p:nvPr>
            <p:ph type="sldNum" sz="quarter" idx="4"/>
          </p:nvPr>
        </p:nvSpPr>
        <p:spPr>
          <a:xfrm>
            <a:off x="11305722" y="6680712"/>
            <a:ext cx="566737" cy="137160"/>
          </a:xfrm>
          <a:prstGeom prst="rect">
            <a:avLst/>
          </a:prstGeom>
        </p:spPr>
        <p:txBody>
          <a:bodyPr vert="horz" lIns="91380" tIns="0" rIns="0" bIns="0" rtlCol="0" anchor="ctr"/>
          <a:lstStyle>
            <a:lvl1pPr algn="r">
              <a:defRPr lang="en-US" sz="900" b="0" kern="1200" smtClean="0">
                <a:solidFill>
                  <a:schemeClr val="tx2"/>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596685078"/>
      </p:ext>
    </p:extLst>
  </p:cSld>
  <p:clrMap bg1="lt1" tx1="dk1" bg2="lt2" tx2="dk2" accent1="accent1" accent2="accent2" accent3="accent3" accent4="accent4" accent5="accent5" accent6="accent6" hlink="hlink" folHlink="folHlink"/>
  <p:sldLayoutIdLst>
    <p:sldLayoutId id="2147484372" r:id="rId1"/>
    <p:sldLayoutId id="2147484373" r:id="rId2"/>
    <p:sldLayoutId id="2147484374" r:id="rId3"/>
    <p:sldLayoutId id="2147484375" r:id="rId4"/>
    <p:sldLayoutId id="2147484376" r:id="rId5"/>
    <p:sldLayoutId id="2147484377" r:id="rId6"/>
    <p:sldLayoutId id="2147484378" r:id="rId7"/>
    <p:sldLayoutId id="2147484379" r:id="rId8"/>
    <p:sldLayoutId id="2147484380" r:id="rId9"/>
    <p:sldLayoutId id="2147484381" r:id="rId10"/>
    <p:sldLayoutId id="2147484382" r:id="rId11"/>
    <p:sldLayoutId id="2147484383" r:id="rId12"/>
    <p:sldLayoutId id="2147484384" r:id="rId13"/>
    <p:sldLayoutId id="2147484385" r:id="rId14"/>
    <p:sldLayoutId id="2147484386" r:id="rId15"/>
    <p:sldLayoutId id="2147484387" r:id="rId16"/>
    <p:sldLayoutId id="2147484388" r:id="rId17"/>
    <p:sldLayoutId id="2147484389" r:id="rId18"/>
    <p:sldLayoutId id="2147484390" r:id="rId19"/>
    <p:sldLayoutId id="2147484391" r:id="rId20"/>
    <p:sldLayoutId id="2147484392" r:id="rId21"/>
    <p:sldLayoutId id="2147484393" r:id="rId22"/>
  </p:sldLayoutIdLst>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hf hdr="0" ftr="0" dt="0"/>
  <p:txStyles>
    <p:titleStyle>
      <a:lvl1pPr algn="l" defTabSz="932121" rtl="0" eaLnBrk="1" latinLnBrk="0" hangingPunct="1">
        <a:lnSpc>
          <a:spcPct val="90000"/>
        </a:lnSpc>
        <a:spcBef>
          <a:spcPct val="0"/>
        </a:spcBef>
        <a:buNone/>
        <a:defRPr lang="en-US" sz="5400" b="0" kern="1200" cap="none" spc="-102" baseline="0" dirty="0" smtClean="0">
          <a:ln w="3175">
            <a:noFill/>
          </a:ln>
          <a:solidFill>
            <a:schemeClr val="tx2"/>
          </a:solidFill>
          <a:effectLst/>
          <a:latin typeface="+mj-lt"/>
          <a:ea typeface="+mn-ea"/>
          <a:cs typeface="Segoe UI" pitchFamily="34" charset="0"/>
        </a:defRPr>
      </a:lvl1pPr>
    </p:titleStyle>
    <p:bodyStyle>
      <a:lvl1pPr marL="342673" marR="0" indent="-342673" algn="l" defTabSz="932121"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3811" marR="0" indent="-241139" algn="l" defTabSz="93212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799569" marR="0" indent="-228449" algn="l" defTabSz="93212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017" marR="0" indent="-228449" algn="l" defTabSz="93212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6464" marR="0" indent="-228449" algn="l" defTabSz="93212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3332" indent="-233030" algn="l" defTabSz="93212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393" indent="-233030" algn="l" defTabSz="93212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455" indent="-233030" algn="l" defTabSz="93212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515" indent="-233030" algn="l" defTabSz="93212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121" rtl="0" eaLnBrk="1" latinLnBrk="0" hangingPunct="1">
        <a:defRPr sz="1800" kern="1200">
          <a:solidFill>
            <a:schemeClr val="tx1"/>
          </a:solidFill>
          <a:latin typeface="+mn-lt"/>
          <a:ea typeface="+mn-ea"/>
          <a:cs typeface="+mn-cs"/>
        </a:defRPr>
      </a:lvl1pPr>
      <a:lvl2pPr marL="466060" algn="l" defTabSz="932121" rtl="0" eaLnBrk="1" latinLnBrk="0" hangingPunct="1">
        <a:defRPr sz="1800" kern="1200">
          <a:solidFill>
            <a:schemeClr val="tx1"/>
          </a:solidFill>
          <a:latin typeface="+mn-lt"/>
          <a:ea typeface="+mn-ea"/>
          <a:cs typeface="+mn-cs"/>
        </a:defRPr>
      </a:lvl2pPr>
      <a:lvl3pPr marL="932121" algn="l" defTabSz="932121" rtl="0" eaLnBrk="1" latinLnBrk="0" hangingPunct="1">
        <a:defRPr sz="1800" kern="1200">
          <a:solidFill>
            <a:schemeClr val="tx1"/>
          </a:solidFill>
          <a:latin typeface="+mn-lt"/>
          <a:ea typeface="+mn-ea"/>
          <a:cs typeface="+mn-cs"/>
        </a:defRPr>
      </a:lvl3pPr>
      <a:lvl4pPr marL="1398180" algn="l" defTabSz="932121" rtl="0" eaLnBrk="1" latinLnBrk="0" hangingPunct="1">
        <a:defRPr sz="1800" kern="1200">
          <a:solidFill>
            <a:schemeClr val="tx1"/>
          </a:solidFill>
          <a:latin typeface="+mn-lt"/>
          <a:ea typeface="+mn-ea"/>
          <a:cs typeface="+mn-cs"/>
        </a:defRPr>
      </a:lvl4pPr>
      <a:lvl5pPr marL="1864242" algn="l" defTabSz="932121" rtl="0" eaLnBrk="1" latinLnBrk="0" hangingPunct="1">
        <a:defRPr sz="1800" kern="1200">
          <a:solidFill>
            <a:schemeClr val="tx1"/>
          </a:solidFill>
          <a:latin typeface="+mn-lt"/>
          <a:ea typeface="+mn-ea"/>
          <a:cs typeface="+mn-cs"/>
        </a:defRPr>
      </a:lvl5pPr>
      <a:lvl6pPr marL="2330303" algn="l" defTabSz="932121" rtl="0" eaLnBrk="1" latinLnBrk="0" hangingPunct="1">
        <a:defRPr sz="1800" kern="1200">
          <a:solidFill>
            <a:schemeClr val="tx1"/>
          </a:solidFill>
          <a:latin typeface="+mn-lt"/>
          <a:ea typeface="+mn-ea"/>
          <a:cs typeface="+mn-cs"/>
        </a:defRPr>
      </a:lvl6pPr>
      <a:lvl7pPr marL="2796363" algn="l" defTabSz="932121" rtl="0" eaLnBrk="1" latinLnBrk="0" hangingPunct="1">
        <a:defRPr sz="1800" kern="1200">
          <a:solidFill>
            <a:schemeClr val="tx1"/>
          </a:solidFill>
          <a:latin typeface="+mn-lt"/>
          <a:ea typeface="+mn-ea"/>
          <a:cs typeface="+mn-cs"/>
        </a:defRPr>
      </a:lvl7pPr>
      <a:lvl8pPr marL="3262422" algn="l" defTabSz="932121" rtl="0" eaLnBrk="1" latinLnBrk="0" hangingPunct="1">
        <a:defRPr sz="1800" kern="1200">
          <a:solidFill>
            <a:schemeClr val="tx1"/>
          </a:solidFill>
          <a:latin typeface="+mn-lt"/>
          <a:ea typeface="+mn-ea"/>
          <a:cs typeface="+mn-cs"/>
        </a:defRPr>
      </a:lvl8pPr>
      <a:lvl9pPr marL="3728486" algn="l" defTabSz="932121"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1/19/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2501097493"/>
      </p:ext>
    </p:extLst>
  </p:cSld>
  <p:clrMap bg1="lt1" tx1="dk1" bg2="lt2" tx2="dk2" accent1="accent1" accent2="accent2" accent3="accent3" accent4="accent4" accent5="accent5" accent6="accent6" hlink="hlink" folHlink="folHlink"/>
  <p:sldLayoutIdLst>
    <p:sldLayoutId id="2147484395" r:id="rId1"/>
    <p:sldLayoutId id="2147484396" r:id="rId2"/>
    <p:sldLayoutId id="2147484397" r:id="rId3"/>
    <p:sldLayoutId id="2147484398" r:id="rId4"/>
    <p:sldLayoutId id="2147484399" r:id="rId5"/>
    <p:sldLayoutId id="2147484400" r:id="rId6"/>
    <p:sldLayoutId id="2147484401" r:id="rId7"/>
    <p:sldLayoutId id="2147484402" r:id="rId8"/>
    <p:sldLayoutId id="2147484403" r:id="rId9"/>
    <p:sldLayoutId id="2147484404" r:id="rId10"/>
    <p:sldLayoutId id="2147484405" r:id="rId11"/>
    <p:sldLayoutId id="2147484406" r:id="rId12"/>
    <p:sldLayoutId id="2147484407" r:id="rId13"/>
    <p:sldLayoutId id="2147484408" r:id="rId14"/>
    <p:sldLayoutId id="2147484409" r:id="rId15"/>
    <p:sldLayoutId id="2147484410" r:id="rId16"/>
    <p:sldLayoutId id="2147484411" r:id="rId17"/>
    <p:sldLayoutId id="2147484412" r:id="rId18"/>
    <p:sldLayoutId id="2147484413" r:id="rId19"/>
    <p:sldLayoutId id="2147484414" r:id="rId20"/>
    <p:sldLayoutId id="2147484415" r:id="rId21"/>
    <p:sldLayoutId id="2147484416" r:id="rId22"/>
    <p:sldLayoutId id="2147484417" r:id="rId23"/>
    <p:sldLayoutId id="2147484418" r:id="rId24"/>
    <p:sldLayoutId id="2147484419" r:id="rId25"/>
    <p:sldLayoutId id="2147484420" r:id="rId26"/>
    <p:sldLayoutId id="2147484421" r:id="rId27"/>
    <p:sldLayoutId id="2147484422" r:id="rId28"/>
    <p:sldLayoutId id="2147484423" r:id="rId29"/>
    <p:sldLayoutId id="2147484424" r:id="rId30"/>
    <p:sldLayoutId id="2147484425" r:id="rId31"/>
    <p:sldLayoutId id="2147484426" r:id="rId32"/>
    <p:sldLayoutId id="2147484427" r:id="rId33"/>
    <p:sldLayoutId id="2147484428" r:id="rId34"/>
    <p:sldLayoutId id="2147484429" r:id="rId35"/>
    <p:sldLayoutId id="2147484430" r:id="rId36"/>
    <p:sldLayoutId id="2147484431" r:id="rId37"/>
    <p:sldLayoutId id="2147484432" r:id="rId38"/>
    <p:sldLayoutId id="2147484433" r:id="rId39"/>
    <p:sldLayoutId id="2147484434" r:id="rId40"/>
    <p:sldLayoutId id="2147484435" r:id="rId41"/>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p:nvSpPr>
        <p:spPr bwMode="auto">
          <a:xfrm>
            <a:off x="0" y="0"/>
            <a:ext cx="12436475" cy="13636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47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p:ph type="title"/>
          </p:nvPr>
        </p:nvSpPr>
        <p:spPr>
          <a:xfrm>
            <a:off x="293688" y="295275"/>
            <a:ext cx="11850180"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93688" y="1670914"/>
            <a:ext cx="11870739" cy="5012743"/>
          </a:xfrm>
          <a:prstGeom prst="rect">
            <a:avLst/>
          </a:prstGeom>
        </p:spPr>
        <p:txBody>
          <a:bodyPr vert="horz" wrap="square" lIns="146304" tIns="91440" rIns="146304" bIns="9144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9" name="Group 18"/>
          <p:cNvGrpSpPr/>
          <p:nvPr/>
        </p:nvGrpSpPr>
        <p:grpSpPr>
          <a:xfrm>
            <a:off x="12619037" y="19412"/>
            <a:ext cx="727074" cy="4161151"/>
            <a:chOff x="12912724" y="60725"/>
            <a:chExt cx="853436" cy="4884337"/>
          </a:xfrm>
        </p:grpSpPr>
        <p:grpSp>
          <p:nvGrpSpPr>
            <p:cNvPr id="18" name="Group 17"/>
            <p:cNvGrpSpPr/>
            <p:nvPr userDrawn="1"/>
          </p:nvGrpSpPr>
          <p:grpSpPr>
            <a:xfrm>
              <a:off x="12912724" y="595396"/>
              <a:ext cx="853436" cy="4349666"/>
              <a:chOff x="12619037" y="21669"/>
              <a:chExt cx="1440814" cy="7343325"/>
            </a:xfrm>
          </p:grpSpPr>
          <p:sp>
            <p:nvSpPr>
              <p:cNvPr id="9" name="Rectangle: Rounded Corners 8"/>
              <p:cNvSpPr/>
              <p:nvPr userDrawn="1"/>
            </p:nvSpPr>
            <p:spPr bwMode="auto">
              <a:xfrm rot="5400000">
                <a:off x="9667781" y="2972925"/>
                <a:ext cx="7343325" cy="1440814"/>
              </a:xfrm>
              <a:prstGeom prst="roundRect">
                <a:avLst>
                  <a:gd name="adj" fmla="val 50000"/>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90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10" name="Oval 9"/>
              <p:cNvSpPr/>
              <p:nvPr userDrawn="1"/>
            </p:nvSpPr>
            <p:spPr bwMode="auto">
              <a:xfrm>
                <a:off x="12745094" y="2804501"/>
                <a:ext cx="1206527" cy="1206042"/>
              </a:xfrm>
              <a:prstGeom prst="ellipse">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r>
                  <a:rPr lang="en-US" sz="8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ccent 3</a:t>
                </a:r>
              </a:p>
            </p:txBody>
          </p:sp>
          <p:sp>
            <p:nvSpPr>
              <p:cNvPr id="11" name="Oval 10"/>
              <p:cNvSpPr/>
              <p:nvPr userDrawn="1"/>
            </p:nvSpPr>
            <p:spPr bwMode="auto">
              <a:xfrm>
                <a:off x="12745094" y="1499525"/>
                <a:ext cx="1206527" cy="1206042"/>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r>
                  <a:rPr lang="en-US" sz="8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ccent 2</a:t>
                </a:r>
              </a:p>
            </p:txBody>
          </p:sp>
          <p:sp>
            <p:nvSpPr>
              <p:cNvPr id="12" name="Oval 11"/>
              <p:cNvSpPr/>
              <p:nvPr userDrawn="1"/>
            </p:nvSpPr>
            <p:spPr bwMode="auto">
              <a:xfrm>
                <a:off x="12745094" y="194549"/>
                <a:ext cx="1206527" cy="120604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r>
                  <a:rPr lang="en-US" sz="8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ccent 1</a:t>
                </a:r>
              </a:p>
            </p:txBody>
          </p:sp>
          <p:sp>
            <p:nvSpPr>
              <p:cNvPr id="13" name="Oval 12"/>
              <p:cNvSpPr/>
              <p:nvPr userDrawn="1"/>
            </p:nvSpPr>
            <p:spPr bwMode="auto">
              <a:xfrm>
                <a:off x="12880492" y="6179816"/>
                <a:ext cx="935733" cy="935357"/>
              </a:xfrm>
              <a:prstGeom prst="ellipse">
                <a:avLst/>
              </a:prstGeom>
              <a:solidFill>
                <a:schemeClr val="accent6"/>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r>
                  <a:rPr lang="en-US" sz="4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ccent 6</a:t>
                </a:r>
              </a:p>
            </p:txBody>
          </p:sp>
          <p:sp>
            <p:nvSpPr>
              <p:cNvPr id="14" name="Oval 13"/>
              <p:cNvSpPr/>
              <p:nvPr userDrawn="1"/>
            </p:nvSpPr>
            <p:spPr bwMode="auto">
              <a:xfrm>
                <a:off x="12880492" y="5148257"/>
                <a:ext cx="935733" cy="935357"/>
              </a:xfrm>
              <a:prstGeom prst="ellipse">
                <a:avLst/>
              </a:prstGeom>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r>
                  <a:rPr lang="en-US" sz="4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ccent 5</a:t>
                </a:r>
              </a:p>
            </p:txBody>
          </p:sp>
          <p:sp>
            <p:nvSpPr>
              <p:cNvPr id="15" name="Oval 14"/>
              <p:cNvSpPr/>
              <p:nvPr userDrawn="1"/>
            </p:nvSpPr>
            <p:spPr bwMode="auto">
              <a:xfrm>
                <a:off x="12880492" y="4109425"/>
                <a:ext cx="935733" cy="935357"/>
              </a:xfrm>
              <a:prstGeom prst="ellipse">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r>
                  <a:rPr lang="en-US" sz="4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ccent 4</a:t>
                </a:r>
              </a:p>
            </p:txBody>
          </p:sp>
        </p:grpSp>
        <p:sp>
          <p:nvSpPr>
            <p:cNvPr id="17" name="TextBox 16"/>
            <p:cNvSpPr txBox="1"/>
            <p:nvPr userDrawn="1"/>
          </p:nvSpPr>
          <p:spPr>
            <a:xfrm>
              <a:off x="12912724" y="60725"/>
              <a:ext cx="853436" cy="397628"/>
            </a:xfrm>
            <a:prstGeom prst="rect">
              <a:avLst/>
            </a:prstGeom>
            <a:noFill/>
          </p:spPr>
          <p:txBody>
            <a:bodyPr wrap="square" lIns="0" tIns="0" rIns="0" bIns="0" rtlCol="0" anchor="ctr">
              <a:spAutoFit/>
            </a:bodyPr>
            <a:lstStyle/>
            <a:p>
              <a:pPr algn="ctr">
                <a:lnSpc>
                  <a:spcPct val="90000"/>
                </a:lnSpc>
                <a:spcAft>
                  <a:spcPts val="600"/>
                </a:spcAft>
              </a:pPr>
              <a:r>
                <a:rPr lang="en-US" sz="119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olor </a:t>
              </a:r>
              <a:br>
                <a:rPr lang="en-US" sz="119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119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cheme</a:t>
              </a:r>
            </a:p>
          </p:txBody>
        </p:sp>
      </p:grpSp>
      <p:pic>
        <p:nvPicPr>
          <p:cNvPr id="16" name="Picture 15"/>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0995863" y="-13688"/>
            <a:ext cx="1417638" cy="1417638"/>
          </a:xfrm>
          <a:prstGeom prst="rect">
            <a:avLst/>
          </a:prstGeom>
        </p:spPr>
      </p:pic>
    </p:spTree>
    <p:extLst>
      <p:ext uri="{BB962C8B-B14F-4D97-AF65-F5344CB8AC3E}">
        <p14:creationId xmlns:p14="http://schemas.microsoft.com/office/powerpoint/2010/main" val="518970840"/>
      </p:ext>
    </p:extLst>
  </p:cSld>
  <p:clrMap bg1="lt1" tx1="dk1" bg2="lt2" tx2="dk2" accent1="accent1" accent2="accent2" accent3="accent3" accent4="accent4" accent5="accent5" accent6="accent6" hlink="hlink" folHlink="folHlink"/>
  <p:sldLayoutIdLst>
    <p:sldLayoutId id="2147484437" r:id="rId1"/>
    <p:sldLayoutId id="2147484438" r:id="rId2"/>
    <p:sldLayoutId id="2147484439" r:id="rId3"/>
    <p:sldLayoutId id="2147484440" r:id="rId4"/>
    <p:sldLayoutId id="2147484441" r:id="rId5"/>
    <p:sldLayoutId id="2147484442" r:id="rId6"/>
    <p:sldLayoutId id="2147484443" r:id="rId7"/>
    <p:sldLayoutId id="2147484444" r:id="rId8"/>
    <p:sldLayoutId id="2147484445" r:id="rId9"/>
    <p:sldLayoutId id="2147484446" r:id="rId10"/>
    <p:sldLayoutId id="2147484447" r:id="rId11"/>
    <p:sldLayoutId id="2147484448" r:id="rId12"/>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solidFill>
            <a:srgbClr val="FFFFFF"/>
          </a:solidFill>
          <a:effectLst/>
          <a:latin typeface="+mj-lt"/>
          <a:ea typeface="+mn-ea"/>
          <a:cs typeface="Segoe UI" pitchFamily="34" charset="0"/>
        </a:defRPr>
      </a:lvl1pPr>
    </p:titleStyle>
    <p:body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2400" kern="1200" spc="0" baseline="0">
          <a:solidFill>
            <a:schemeClr val="tx2"/>
          </a:solidFill>
          <a:latin typeface="+mn-lt"/>
          <a:ea typeface="+mn-ea"/>
          <a:cs typeface="+mn-cs"/>
        </a:defRPr>
      </a:lvl1pPr>
      <a:lvl2pPr marL="342834"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85">
          <p15:clr>
            <a:srgbClr val="C35EA4"/>
          </p15:clr>
        </p15:guide>
        <p15:guide id="17" pos="7512">
          <p15:clr>
            <a:srgbClr val="C35EA4"/>
          </p15:clr>
        </p15:guide>
        <p15:guide id="25" orient="horz" pos="187">
          <p15:clr>
            <a:srgbClr val="C35EA4"/>
          </p15:clr>
        </p15:guide>
        <p15:guide id="27" pos="3917">
          <p15:clr>
            <a:srgbClr val="C35EA4"/>
          </p15:clr>
        </p15:guide>
        <p15:guide id="28" orient="horz" pos="1032">
          <p15:clr>
            <a:srgbClr val="C35EA4"/>
          </p15:clr>
        </p15:guide>
        <p15:guide id="29" orient="horz" pos="4128">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p:nvSpPr>
        <p:spPr bwMode="auto">
          <a:xfrm>
            <a:off x="0" y="0"/>
            <a:ext cx="12436475" cy="13636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47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p:ph type="title"/>
          </p:nvPr>
        </p:nvSpPr>
        <p:spPr>
          <a:xfrm>
            <a:off x="293688" y="295275"/>
            <a:ext cx="11850180"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93688" y="1670914"/>
            <a:ext cx="11870739" cy="5012743"/>
          </a:xfrm>
          <a:prstGeom prst="rect">
            <a:avLst/>
          </a:prstGeom>
        </p:spPr>
        <p:txBody>
          <a:bodyPr vert="horz" wrap="square" lIns="146304" tIns="91440" rIns="146304" bIns="9144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9" name="Group 18"/>
          <p:cNvGrpSpPr/>
          <p:nvPr/>
        </p:nvGrpSpPr>
        <p:grpSpPr>
          <a:xfrm>
            <a:off x="12619037" y="19412"/>
            <a:ext cx="727074" cy="4161151"/>
            <a:chOff x="12912724" y="60725"/>
            <a:chExt cx="853436" cy="4884337"/>
          </a:xfrm>
        </p:grpSpPr>
        <p:grpSp>
          <p:nvGrpSpPr>
            <p:cNvPr id="18" name="Group 17"/>
            <p:cNvGrpSpPr/>
            <p:nvPr userDrawn="1"/>
          </p:nvGrpSpPr>
          <p:grpSpPr>
            <a:xfrm>
              <a:off x="12912724" y="595396"/>
              <a:ext cx="853436" cy="4349666"/>
              <a:chOff x="12619037" y="21669"/>
              <a:chExt cx="1440814" cy="7343325"/>
            </a:xfrm>
          </p:grpSpPr>
          <p:sp>
            <p:nvSpPr>
              <p:cNvPr id="9" name="Rectangle: Rounded Corners 8"/>
              <p:cNvSpPr/>
              <p:nvPr userDrawn="1"/>
            </p:nvSpPr>
            <p:spPr bwMode="auto">
              <a:xfrm rot="5400000">
                <a:off x="9667781" y="2972925"/>
                <a:ext cx="7343325" cy="1440814"/>
              </a:xfrm>
              <a:prstGeom prst="roundRect">
                <a:avLst>
                  <a:gd name="adj" fmla="val 50000"/>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90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10" name="Oval 9"/>
              <p:cNvSpPr/>
              <p:nvPr userDrawn="1"/>
            </p:nvSpPr>
            <p:spPr bwMode="auto">
              <a:xfrm>
                <a:off x="12745094" y="2804501"/>
                <a:ext cx="1206527" cy="1206042"/>
              </a:xfrm>
              <a:prstGeom prst="ellipse">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r>
                  <a:rPr lang="en-US" sz="8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ccent 3</a:t>
                </a:r>
              </a:p>
            </p:txBody>
          </p:sp>
          <p:sp>
            <p:nvSpPr>
              <p:cNvPr id="11" name="Oval 10"/>
              <p:cNvSpPr/>
              <p:nvPr userDrawn="1"/>
            </p:nvSpPr>
            <p:spPr bwMode="auto">
              <a:xfrm>
                <a:off x="12745094" y="1499525"/>
                <a:ext cx="1206527" cy="1206042"/>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r>
                  <a:rPr lang="en-US" sz="8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ccent 2</a:t>
                </a:r>
              </a:p>
            </p:txBody>
          </p:sp>
          <p:sp>
            <p:nvSpPr>
              <p:cNvPr id="12" name="Oval 11"/>
              <p:cNvSpPr/>
              <p:nvPr userDrawn="1"/>
            </p:nvSpPr>
            <p:spPr bwMode="auto">
              <a:xfrm>
                <a:off x="12745094" y="194549"/>
                <a:ext cx="1206527" cy="120604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r>
                  <a:rPr lang="en-US" sz="8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ccent 1</a:t>
                </a:r>
              </a:p>
            </p:txBody>
          </p:sp>
          <p:sp>
            <p:nvSpPr>
              <p:cNvPr id="13" name="Oval 12"/>
              <p:cNvSpPr/>
              <p:nvPr userDrawn="1"/>
            </p:nvSpPr>
            <p:spPr bwMode="auto">
              <a:xfrm>
                <a:off x="12880492" y="6179816"/>
                <a:ext cx="935733" cy="935357"/>
              </a:xfrm>
              <a:prstGeom prst="ellipse">
                <a:avLst/>
              </a:prstGeom>
              <a:solidFill>
                <a:schemeClr val="accent6"/>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r>
                  <a:rPr lang="en-US" sz="4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ccent 6</a:t>
                </a:r>
              </a:p>
            </p:txBody>
          </p:sp>
          <p:sp>
            <p:nvSpPr>
              <p:cNvPr id="14" name="Oval 13"/>
              <p:cNvSpPr/>
              <p:nvPr userDrawn="1"/>
            </p:nvSpPr>
            <p:spPr bwMode="auto">
              <a:xfrm>
                <a:off x="12880492" y="5148257"/>
                <a:ext cx="935733" cy="935357"/>
              </a:xfrm>
              <a:prstGeom prst="ellipse">
                <a:avLst/>
              </a:prstGeom>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r>
                  <a:rPr lang="en-US" sz="4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ccent 5</a:t>
                </a:r>
              </a:p>
            </p:txBody>
          </p:sp>
          <p:sp>
            <p:nvSpPr>
              <p:cNvPr id="15" name="Oval 14"/>
              <p:cNvSpPr/>
              <p:nvPr userDrawn="1"/>
            </p:nvSpPr>
            <p:spPr bwMode="auto">
              <a:xfrm>
                <a:off x="12880492" y="4109425"/>
                <a:ext cx="935733" cy="935357"/>
              </a:xfrm>
              <a:prstGeom prst="ellipse">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r>
                  <a:rPr lang="en-US" sz="4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ccent 4</a:t>
                </a:r>
              </a:p>
            </p:txBody>
          </p:sp>
        </p:grpSp>
        <p:sp>
          <p:nvSpPr>
            <p:cNvPr id="17" name="TextBox 16"/>
            <p:cNvSpPr txBox="1"/>
            <p:nvPr userDrawn="1"/>
          </p:nvSpPr>
          <p:spPr>
            <a:xfrm>
              <a:off x="12912724" y="60725"/>
              <a:ext cx="853436" cy="397628"/>
            </a:xfrm>
            <a:prstGeom prst="rect">
              <a:avLst/>
            </a:prstGeom>
            <a:noFill/>
          </p:spPr>
          <p:txBody>
            <a:bodyPr wrap="square" lIns="0" tIns="0" rIns="0" bIns="0" rtlCol="0" anchor="ctr">
              <a:spAutoFit/>
            </a:bodyPr>
            <a:lstStyle/>
            <a:p>
              <a:pPr algn="ctr">
                <a:lnSpc>
                  <a:spcPct val="90000"/>
                </a:lnSpc>
                <a:spcAft>
                  <a:spcPts val="600"/>
                </a:spcAft>
              </a:pPr>
              <a:r>
                <a:rPr lang="en-US" sz="119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olor </a:t>
              </a:r>
              <a:br>
                <a:rPr lang="en-US" sz="119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119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cheme</a:t>
              </a:r>
            </a:p>
          </p:txBody>
        </p:sp>
      </p:grpSp>
      <p:pic>
        <p:nvPicPr>
          <p:cNvPr id="16" name="Picture 15"/>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0995863" y="-13688"/>
            <a:ext cx="1417638" cy="1417638"/>
          </a:xfrm>
          <a:prstGeom prst="rect">
            <a:avLst/>
          </a:prstGeom>
        </p:spPr>
      </p:pic>
    </p:spTree>
    <p:extLst>
      <p:ext uri="{BB962C8B-B14F-4D97-AF65-F5344CB8AC3E}">
        <p14:creationId xmlns:p14="http://schemas.microsoft.com/office/powerpoint/2010/main" val="3098719335"/>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 id="2147484462" r:id="rId13"/>
    <p:sldLayoutId id="2147484463" r:id="rId14"/>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solidFill>
            <a:srgbClr val="FFFFFF"/>
          </a:solidFill>
          <a:effectLst/>
          <a:latin typeface="+mj-lt"/>
          <a:ea typeface="+mn-ea"/>
          <a:cs typeface="Segoe UI" pitchFamily="34" charset="0"/>
        </a:defRPr>
      </a:lvl1pPr>
    </p:titleStyle>
    <p:body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2400" kern="1200" spc="0" baseline="0">
          <a:solidFill>
            <a:schemeClr val="tx2"/>
          </a:solidFill>
          <a:latin typeface="+mn-lt"/>
          <a:ea typeface="+mn-ea"/>
          <a:cs typeface="+mn-cs"/>
        </a:defRPr>
      </a:lvl1pPr>
      <a:lvl2pPr marL="342834"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85">
          <p15:clr>
            <a:srgbClr val="C35EA4"/>
          </p15:clr>
        </p15:guide>
        <p15:guide id="17" pos="7512">
          <p15:clr>
            <a:srgbClr val="C35EA4"/>
          </p15:clr>
        </p15:guide>
        <p15:guide id="25" orient="horz" pos="187">
          <p15:clr>
            <a:srgbClr val="C35EA4"/>
          </p15:clr>
        </p15:guide>
        <p15:guide id="27" pos="3917">
          <p15:clr>
            <a:srgbClr val="C35EA4"/>
          </p15:clr>
        </p15:guide>
        <p15:guide id="28" orient="horz" pos="1032">
          <p15:clr>
            <a:srgbClr val="C35EA4"/>
          </p15:clr>
        </p15:guide>
        <p15:guide id="29" orient="horz" pos="4128">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2" y="295277"/>
            <a:ext cx="11889564" cy="917575"/>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0" y="1212854"/>
            <a:ext cx="11887198" cy="2121397"/>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8957697"/>
      </p:ext>
    </p:extLst>
  </p:cSld>
  <p:clrMap bg1="lt1" tx1="dk1" bg2="lt2" tx2="dk2" accent1="accent1" accent2="accent2" accent3="accent3" accent4="accent4" accent5="accent5" accent6="accent6" hlink="hlink" folHlink="folHlink"/>
  <p:sldLayoutIdLst>
    <p:sldLayoutId id="2147484466" r:id="rId1"/>
    <p:sldLayoutId id="2147484467" r:id="rId2"/>
    <p:sldLayoutId id="2147484468" r:id="rId3"/>
    <p:sldLayoutId id="2147484469" r:id="rId4"/>
    <p:sldLayoutId id="2147484470" r:id="rId5"/>
    <p:sldLayoutId id="2147484471" r:id="rId6"/>
    <p:sldLayoutId id="2147484472" r:id="rId7"/>
    <p:sldLayoutId id="2147484473" r:id="rId8"/>
    <p:sldLayoutId id="2147484474" r:id="rId9"/>
    <p:sldLayoutId id="2147484475" r:id="rId10"/>
    <p:sldLayoutId id="2147484476" r:id="rId11"/>
    <p:sldLayoutId id="2147484477" r:id="rId12"/>
    <p:sldLayoutId id="2147484478" r:id="rId13"/>
    <p:sldLayoutId id="2147484479" r:id="rId14"/>
    <p:sldLayoutId id="2147484480" r:id="rId15"/>
    <p:sldLayoutId id="2147484481" r:id="rId16"/>
    <p:sldLayoutId id="2147484482" r:id="rId17"/>
    <p:sldLayoutId id="2147484483" r:id="rId18"/>
    <p:sldLayoutId id="2147484484" r:id="rId19"/>
    <p:sldLayoutId id="2147484485" r:id="rId20"/>
    <p:sldLayoutId id="2147484486" r:id="rId21"/>
    <p:sldLayoutId id="2147484487" r:id="rId22"/>
    <p:sldLayoutId id="2147484488" r:id="rId23"/>
    <p:sldLayoutId id="2147484489" r:id="rId24"/>
    <p:sldLayoutId id="2147484490" r:id="rId25"/>
    <p:sldLayoutId id="2147484491" r:id="rId26"/>
    <p:sldLayoutId id="2147484492" r:id="rId27"/>
    <p:sldLayoutId id="2147484493" r:id="rId28"/>
    <p:sldLayoutId id="2147484494" r:id="rId29"/>
    <p:sldLayoutId id="2147484495" r:id="rId30"/>
    <p:sldLayoutId id="2147484496" r:id="rId31"/>
    <p:sldLayoutId id="2147484497" r:id="rId32"/>
  </p:sldLayoutIdLst>
  <p:transition>
    <p:fade/>
  </p:transition>
  <p:txStyles>
    <p:titleStyle>
      <a:lvl1pPr algn="l" defTabSz="932468"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00" marR="0" indent="-342800" algn="l" defTabSz="932468"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029" marR="0" indent="-241229" algn="l" defTabSz="93246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66"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97"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929"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286"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1"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55"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0"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68" rtl="0" eaLnBrk="1" latinLnBrk="0" hangingPunct="1">
        <a:defRPr sz="1800" kern="1200">
          <a:solidFill>
            <a:schemeClr val="tx1"/>
          </a:solidFill>
          <a:latin typeface="+mn-lt"/>
          <a:ea typeface="+mn-ea"/>
          <a:cs typeface="+mn-cs"/>
        </a:defRPr>
      </a:lvl1pPr>
      <a:lvl2pPr marL="466235" algn="l" defTabSz="932468" rtl="0" eaLnBrk="1" latinLnBrk="0" hangingPunct="1">
        <a:defRPr sz="1800" kern="1200">
          <a:solidFill>
            <a:schemeClr val="tx1"/>
          </a:solidFill>
          <a:latin typeface="+mn-lt"/>
          <a:ea typeface="+mn-ea"/>
          <a:cs typeface="+mn-cs"/>
        </a:defRPr>
      </a:lvl2pPr>
      <a:lvl3pPr marL="932468" algn="l" defTabSz="932468" rtl="0" eaLnBrk="1" latinLnBrk="0" hangingPunct="1">
        <a:defRPr sz="1800" kern="1200">
          <a:solidFill>
            <a:schemeClr val="tx1"/>
          </a:solidFill>
          <a:latin typeface="+mn-lt"/>
          <a:ea typeface="+mn-ea"/>
          <a:cs typeface="+mn-cs"/>
        </a:defRPr>
      </a:lvl3pPr>
      <a:lvl4pPr marL="1398702" algn="l" defTabSz="932468" rtl="0" eaLnBrk="1" latinLnBrk="0" hangingPunct="1">
        <a:defRPr sz="1800" kern="1200">
          <a:solidFill>
            <a:schemeClr val="tx1"/>
          </a:solidFill>
          <a:latin typeface="+mn-lt"/>
          <a:ea typeface="+mn-ea"/>
          <a:cs typeface="+mn-cs"/>
        </a:defRPr>
      </a:lvl4pPr>
      <a:lvl5pPr marL="1864936" algn="l" defTabSz="932468" rtl="0" eaLnBrk="1" latinLnBrk="0" hangingPunct="1">
        <a:defRPr sz="1800" kern="1200">
          <a:solidFill>
            <a:schemeClr val="tx1"/>
          </a:solidFill>
          <a:latin typeface="+mn-lt"/>
          <a:ea typeface="+mn-ea"/>
          <a:cs typeface="+mn-cs"/>
        </a:defRPr>
      </a:lvl5pPr>
      <a:lvl6pPr marL="2331170" algn="l" defTabSz="932468" rtl="0" eaLnBrk="1" latinLnBrk="0" hangingPunct="1">
        <a:defRPr sz="1800" kern="1200">
          <a:solidFill>
            <a:schemeClr val="tx1"/>
          </a:solidFill>
          <a:latin typeface="+mn-lt"/>
          <a:ea typeface="+mn-ea"/>
          <a:cs typeface="+mn-cs"/>
        </a:defRPr>
      </a:lvl6pPr>
      <a:lvl7pPr marL="2797404" algn="l" defTabSz="932468" rtl="0" eaLnBrk="1" latinLnBrk="0" hangingPunct="1">
        <a:defRPr sz="1800" kern="1200">
          <a:solidFill>
            <a:schemeClr val="tx1"/>
          </a:solidFill>
          <a:latin typeface="+mn-lt"/>
          <a:ea typeface="+mn-ea"/>
          <a:cs typeface="+mn-cs"/>
        </a:defRPr>
      </a:lvl7pPr>
      <a:lvl8pPr marL="3263638" algn="l" defTabSz="932468" rtl="0" eaLnBrk="1" latinLnBrk="0" hangingPunct="1">
        <a:defRPr sz="1800" kern="1200">
          <a:solidFill>
            <a:schemeClr val="tx1"/>
          </a:solidFill>
          <a:latin typeface="+mn-lt"/>
          <a:ea typeface="+mn-ea"/>
          <a:cs typeface="+mn-cs"/>
        </a:defRPr>
      </a:lvl8pPr>
      <a:lvl9pPr marL="3729872" algn="l" defTabSz="932468"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4"/>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5" imgW="270" imgH="270" progId="TCLayout.ActiveDocument.1">
                  <p:embed/>
                </p:oleObj>
              </mc:Choice>
              <mc:Fallback>
                <p:oleObj name="think-cell Slide" r:id="rId45" imgW="270" imgH="270" progId="TCLayout.ActiveDocument.1">
                  <p:embed/>
                  <p:pic>
                    <p:nvPicPr>
                      <p:cNvPr id="6" name="Object 5" hidden="1"/>
                      <p:cNvPicPr/>
                      <p:nvPr/>
                    </p:nvPicPr>
                    <p:blipFill>
                      <a:blip r:embed="rId46"/>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85219" y="295278"/>
            <a:ext cx="11271191" cy="91757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603504" y="1212851"/>
            <a:ext cx="11268948" cy="2092881"/>
          </a:xfrm>
          <a:prstGeom prst="rect">
            <a:avLst/>
          </a:prstGeom>
        </p:spPr>
        <p:txBody>
          <a:bodyPr vert="horz" wrap="square" lIns="0" tIns="146304" rIns="182880" bIns="146304"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585219" y="6680714"/>
            <a:ext cx="3937000" cy="137160"/>
          </a:xfrm>
          <a:prstGeom prst="rect">
            <a:avLst/>
          </a:prstGeom>
        </p:spPr>
        <p:txBody>
          <a:bodyPr vert="horz" lIns="0" tIns="0" rIns="91440" bIns="0" rtlCol="0" anchor="ctr"/>
          <a:lstStyle>
            <a:lvl1pPr marL="0" algn="l" defTabSz="932361" rtl="0" eaLnBrk="1" latinLnBrk="0" hangingPunct="1">
              <a:defRPr lang="en-US" sz="901" kern="1200">
                <a:solidFill>
                  <a:schemeClr val="tx2"/>
                </a:solidFill>
                <a:latin typeface="+mn-lt"/>
                <a:ea typeface="+mn-ea"/>
                <a:cs typeface="+mn-cs"/>
              </a:defRPr>
            </a:lvl1pPr>
          </a:lstStyle>
          <a:p>
            <a:pPr>
              <a:defRPr/>
            </a:pPr>
            <a:r>
              <a:rPr lang="en-US">
                <a:solidFill>
                  <a:srgbClr val="505050"/>
                </a:solidFill>
              </a:rPr>
              <a:t>Microsoft confidential 2015</a:t>
            </a:r>
            <a:endParaRPr lang="en-US" dirty="0">
              <a:solidFill>
                <a:srgbClr val="505050"/>
              </a:solidFill>
            </a:endParaRPr>
          </a:p>
        </p:txBody>
      </p:sp>
      <p:sp>
        <p:nvSpPr>
          <p:cNvPr id="5" name="Slide Number Placeholder 4"/>
          <p:cNvSpPr>
            <a:spLocks noGrp="1"/>
          </p:cNvSpPr>
          <p:nvPr>
            <p:ph type="sldNum" sz="quarter" idx="4"/>
          </p:nvPr>
        </p:nvSpPr>
        <p:spPr>
          <a:xfrm>
            <a:off x="11305718" y="6680714"/>
            <a:ext cx="566737" cy="137160"/>
          </a:xfrm>
          <a:prstGeom prst="rect">
            <a:avLst/>
          </a:prstGeom>
        </p:spPr>
        <p:txBody>
          <a:bodyPr vert="horz" lIns="91440" tIns="0" rIns="0" bIns="0" rtlCol="0" anchor="ctr"/>
          <a:lstStyle>
            <a:lvl1pPr algn="r">
              <a:defRPr lang="en-US" sz="901" b="0" kern="1200" smtClean="0">
                <a:solidFill>
                  <a:schemeClr val="tx2"/>
                </a:solidFill>
                <a:latin typeface="+mn-lt"/>
                <a:ea typeface="+mn-ea"/>
                <a:cs typeface="+mn-cs"/>
              </a:defRPr>
            </a:lvl1pPr>
          </a:lstStyle>
          <a:p>
            <a:pPr defTabSz="932361">
              <a:defRPr/>
            </a:pPr>
            <a:fld id="{27258FFF-F925-446B-8502-81C933981705}" type="slidenum">
              <a:rPr lang="en-US" smtClean="0">
                <a:solidFill>
                  <a:srgbClr val="505050"/>
                </a:solidFill>
              </a:rPr>
              <a:pPr defTabSz="932361">
                <a:defRPr/>
              </a:pPr>
              <a:t>‹#›</a:t>
            </a:fld>
            <a:endParaRPr lang="en-US" dirty="0">
              <a:solidFill>
                <a:srgbClr val="505050"/>
              </a:solidFill>
            </a:endParaRPr>
          </a:p>
        </p:txBody>
      </p:sp>
    </p:spTree>
    <p:extLst>
      <p:ext uri="{BB962C8B-B14F-4D97-AF65-F5344CB8AC3E}">
        <p14:creationId xmlns:p14="http://schemas.microsoft.com/office/powerpoint/2010/main" val="1470790330"/>
      </p:ext>
    </p:extLst>
  </p:cSld>
  <p:clrMap bg1="lt1" tx1="dk1" bg2="lt2" tx2="dk2" accent1="accent1" accent2="accent2" accent3="accent3" accent4="accent4" accent5="accent5" accent6="accent6" hlink="hlink" folHlink="folHlink"/>
  <p:sldLayoutIdLst>
    <p:sldLayoutId id="2147484500" r:id="rId1"/>
    <p:sldLayoutId id="2147484501" r:id="rId2"/>
    <p:sldLayoutId id="2147484502" r:id="rId3"/>
    <p:sldLayoutId id="2147484503"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 id="2147484519" r:id="rId20"/>
    <p:sldLayoutId id="2147484520" r:id="rId21"/>
    <p:sldLayoutId id="2147484521" r:id="rId22"/>
    <p:sldLayoutId id="2147484522" r:id="rId23"/>
    <p:sldLayoutId id="2147484523" r:id="rId24"/>
    <p:sldLayoutId id="2147484524" r:id="rId25"/>
    <p:sldLayoutId id="2147484525" r:id="rId26"/>
    <p:sldLayoutId id="2147484526" r:id="rId27"/>
    <p:sldLayoutId id="2147484527" r:id="rId28"/>
    <p:sldLayoutId id="2147484528" r:id="rId29"/>
    <p:sldLayoutId id="2147484529" r:id="rId30"/>
    <p:sldLayoutId id="2147484530" r:id="rId31"/>
    <p:sldLayoutId id="2147484531" r:id="rId32"/>
    <p:sldLayoutId id="2147484532" r:id="rId33"/>
    <p:sldLayoutId id="2147484533" r:id="rId34"/>
    <p:sldLayoutId id="2147484534" r:id="rId35"/>
    <p:sldLayoutId id="2147484535" r:id="rId36"/>
    <p:sldLayoutId id="2147484536" r:id="rId37"/>
    <p:sldLayoutId id="2147484537" r:id="rId38"/>
    <p:sldLayoutId id="2147484538" r:id="rId39"/>
    <p:sldLayoutId id="2147484539" r:id="rId40"/>
    <p:sldLayoutId id="2147484540" r:id="rId41"/>
  </p:sldLayoutIdLst>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hf hdr="0" ftr="0" dt="0"/>
  <p:txStyles>
    <p:titleStyle>
      <a:lvl1pPr algn="l" defTabSz="932361" rtl="0" eaLnBrk="1" latinLnBrk="0" hangingPunct="1">
        <a:lnSpc>
          <a:spcPct val="90000"/>
        </a:lnSpc>
        <a:spcBef>
          <a:spcPct val="0"/>
        </a:spcBef>
        <a:buNone/>
        <a:defRPr lang="en-US" sz="5398" b="0" kern="1200" cap="none" spc="-102" baseline="0" dirty="0" smtClean="0">
          <a:ln w="3175">
            <a:noFill/>
          </a:ln>
          <a:solidFill>
            <a:schemeClr val="tx2"/>
          </a:solidFill>
          <a:effectLst/>
          <a:latin typeface="+mj-lt"/>
          <a:ea typeface="+mn-ea"/>
          <a:cs typeface="Segoe UI" pitchFamily="34" charset="0"/>
        </a:defRPr>
      </a:lvl1pPr>
    </p:titleStyle>
    <p:bodyStyle>
      <a:lvl1pPr marL="342760" marR="0" indent="-342760" algn="l" defTabSz="932361"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solidFill>
            <a:schemeClr val="tx2"/>
          </a:solidFill>
          <a:latin typeface="+mj-lt"/>
          <a:ea typeface="+mn-ea"/>
          <a:cs typeface="+mn-cs"/>
        </a:defRPr>
      </a:lvl1pPr>
      <a:lvl2pPr marL="583961" marR="0" indent="-241200" algn="l" defTabSz="93236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799772" marR="0" indent="-228508" algn="l" defTabSz="93236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279" marR="0" indent="-228508" algn="l" defTabSz="93236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6786" marR="0" indent="-228508" algn="l" defTabSz="93236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3992" indent="-233090" algn="l" defTabSz="93236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172" indent="-233090" algn="l" defTabSz="93236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353" indent="-233090" algn="l" defTabSz="93236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534" indent="-233090" algn="l" defTabSz="93236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61" rtl="0" eaLnBrk="1" latinLnBrk="0" hangingPunct="1">
        <a:defRPr sz="1800" kern="1200">
          <a:solidFill>
            <a:schemeClr val="tx1"/>
          </a:solidFill>
          <a:latin typeface="+mn-lt"/>
          <a:ea typeface="+mn-ea"/>
          <a:cs typeface="+mn-cs"/>
        </a:defRPr>
      </a:lvl1pPr>
      <a:lvl2pPr marL="466179" algn="l" defTabSz="932361" rtl="0" eaLnBrk="1" latinLnBrk="0" hangingPunct="1">
        <a:defRPr sz="1800" kern="1200">
          <a:solidFill>
            <a:schemeClr val="tx1"/>
          </a:solidFill>
          <a:latin typeface="+mn-lt"/>
          <a:ea typeface="+mn-ea"/>
          <a:cs typeface="+mn-cs"/>
        </a:defRPr>
      </a:lvl2pPr>
      <a:lvl3pPr marL="932361" algn="l" defTabSz="932361" rtl="0" eaLnBrk="1" latinLnBrk="0" hangingPunct="1">
        <a:defRPr sz="1800" kern="1200">
          <a:solidFill>
            <a:schemeClr val="tx1"/>
          </a:solidFill>
          <a:latin typeface="+mn-lt"/>
          <a:ea typeface="+mn-ea"/>
          <a:cs typeface="+mn-cs"/>
        </a:defRPr>
      </a:lvl3pPr>
      <a:lvl4pPr marL="1398540" algn="l" defTabSz="932361" rtl="0" eaLnBrk="1" latinLnBrk="0" hangingPunct="1">
        <a:defRPr sz="1800" kern="1200">
          <a:solidFill>
            <a:schemeClr val="tx1"/>
          </a:solidFill>
          <a:latin typeface="+mn-lt"/>
          <a:ea typeface="+mn-ea"/>
          <a:cs typeface="+mn-cs"/>
        </a:defRPr>
      </a:lvl4pPr>
      <a:lvl5pPr marL="1864721" algn="l" defTabSz="932361" rtl="0" eaLnBrk="1" latinLnBrk="0" hangingPunct="1">
        <a:defRPr sz="1800" kern="1200">
          <a:solidFill>
            <a:schemeClr val="tx1"/>
          </a:solidFill>
          <a:latin typeface="+mn-lt"/>
          <a:ea typeface="+mn-ea"/>
          <a:cs typeface="+mn-cs"/>
        </a:defRPr>
      </a:lvl5pPr>
      <a:lvl6pPr marL="2330902" algn="l" defTabSz="932361" rtl="0" eaLnBrk="1" latinLnBrk="0" hangingPunct="1">
        <a:defRPr sz="1800" kern="1200">
          <a:solidFill>
            <a:schemeClr val="tx1"/>
          </a:solidFill>
          <a:latin typeface="+mn-lt"/>
          <a:ea typeface="+mn-ea"/>
          <a:cs typeface="+mn-cs"/>
        </a:defRPr>
      </a:lvl6pPr>
      <a:lvl7pPr marL="2797082" algn="l" defTabSz="932361" rtl="0" eaLnBrk="1" latinLnBrk="0" hangingPunct="1">
        <a:defRPr sz="1800" kern="1200">
          <a:solidFill>
            <a:schemeClr val="tx1"/>
          </a:solidFill>
          <a:latin typeface="+mn-lt"/>
          <a:ea typeface="+mn-ea"/>
          <a:cs typeface="+mn-cs"/>
        </a:defRPr>
      </a:lvl7pPr>
      <a:lvl8pPr marL="3263263" algn="l" defTabSz="932361" rtl="0" eaLnBrk="1" latinLnBrk="0" hangingPunct="1">
        <a:defRPr sz="1800" kern="1200">
          <a:solidFill>
            <a:schemeClr val="tx1"/>
          </a:solidFill>
          <a:latin typeface="+mn-lt"/>
          <a:ea typeface="+mn-ea"/>
          <a:cs typeface="+mn-cs"/>
        </a:defRPr>
      </a:lvl8pPr>
      <a:lvl9pPr marL="3729443" algn="l" defTabSz="93236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0.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56.xml"/><Relationship Id="rId1" Type="http://schemas.openxmlformats.org/officeDocument/2006/relationships/slideLayout" Target="../slideLayouts/slideLayout343.xml"/><Relationship Id="rId6" Type="http://schemas.openxmlformats.org/officeDocument/2006/relationships/image" Target="../media/image277.jpeg"/><Relationship Id="rId5" Type="http://schemas.openxmlformats.org/officeDocument/2006/relationships/image" Target="../media/image276.emf"/><Relationship Id="rId4" Type="http://schemas.openxmlformats.org/officeDocument/2006/relationships/image" Target="../media/image275.emf"/></Relationships>
</file>

<file path=ppt/slides/_rels/slide101.xml.rels><?xml version="1.0" encoding="UTF-8" standalone="yes"?>
<Relationships xmlns="http://schemas.openxmlformats.org/package/2006/relationships"><Relationship Id="rId8" Type="http://schemas.openxmlformats.org/officeDocument/2006/relationships/image" Target="../media/image283.jpeg"/><Relationship Id="rId13" Type="http://schemas.openxmlformats.org/officeDocument/2006/relationships/image" Target="../media/image288.jpeg"/><Relationship Id="rId18" Type="http://schemas.openxmlformats.org/officeDocument/2006/relationships/image" Target="../media/image293.jpeg"/><Relationship Id="rId3" Type="http://schemas.openxmlformats.org/officeDocument/2006/relationships/image" Target="../media/image278.jpeg"/><Relationship Id="rId7" Type="http://schemas.openxmlformats.org/officeDocument/2006/relationships/image" Target="../media/image282.jpeg"/><Relationship Id="rId12" Type="http://schemas.openxmlformats.org/officeDocument/2006/relationships/image" Target="../media/image287.gif"/><Relationship Id="rId17" Type="http://schemas.openxmlformats.org/officeDocument/2006/relationships/image" Target="../media/image292.png"/><Relationship Id="rId2" Type="http://schemas.openxmlformats.org/officeDocument/2006/relationships/notesSlide" Target="../notesSlides/notesSlide57.xml"/><Relationship Id="rId16" Type="http://schemas.openxmlformats.org/officeDocument/2006/relationships/image" Target="../media/image291.jpeg"/><Relationship Id="rId20" Type="http://schemas.openxmlformats.org/officeDocument/2006/relationships/image" Target="../media/image295.gif"/><Relationship Id="rId1" Type="http://schemas.openxmlformats.org/officeDocument/2006/relationships/slideLayout" Target="../slideLayouts/slideLayout331.xml"/><Relationship Id="rId6" Type="http://schemas.openxmlformats.org/officeDocument/2006/relationships/image" Target="../media/image281.png"/><Relationship Id="rId11" Type="http://schemas.openxmlformats.org/officeDocument/2006/relationships/image" Target="../media/image286.jpeg"/><Relationship Id="rId5" Type="http://schemas.openxmlformats.org/officeDocument/2006/relationships/image" Target="../media/image280.png"/><Relationship Id="rId15" Type="http://schemas.openxmlformats.org/officeDocument/2006/relationships/image" Target="../media/image290.png"/><Relationship Id="rId10" Type="http://schemas.openxmlformats.org/officeDocument/2006/relationships/image" Target="../media/image285.jpeg"/><Relationship Id="rId19" Type="http://schemas.openxmlformats.org/officeDocument/2006/relationships/image" Target="../media/image294.jpeg"/><Relationship Id="rId4" Type="http://schemas.openxmlformats.org/officeDocument/2006/relationships/image" Target="../media/image279.png"/><Relationship Id="rId9" Type="http://schemas.openxmlformats.org/officeDocument/2006/relationships/image" Target="../media/image284.png"/><Relationship Id="rId14" Type="http://schemas.openxmlformats.org/officeDocument/2006/relationships/image" Target="../media/image289.jpeg"/></Relationships>
</file>

<file path=ppt/slides/_rels/slide102.xml.rels><?xml version="1.0" encoding="UTF-8" standalone="yes"?>
<Relationships xmlns="http://schemas.openxmlformats.org/package/2006/relationships"><Relationship Id="rId3" Type="http://schemas.openxmlformats.org/officeDocument/2006/relationships/image" Target="../media/image273.png"/><Relationship Id="rId2" Type="http://schemas.openxmlformats.org/officeDocument/2006/relationships/notesSlide" Target="../notesSlides/notesSlide58.xml"/><Relationship Id="rId1" Type="http://schemas.openxmlformats.org/officeDocument/2006/relationships/slideLayout" Target="../slideLayouts/slideLayout346.xml"/><Relationship Id="rId5" Type="http://schemas.openxmlformats.org/officeDocument/2006/relationships/image" Target="../media/image297.jpeg"/><Relationship Id="rId4" Type="http://schemas.openxmlformats.org/officeDocument/2006/relationships/image" Target="../media/image296.jpeg"/></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56.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31.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32.xml"/></Relationships>
</file>

<file path=ppt/slides/_rels/slide106.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61.xml"/><Relationship Id="rId1" Type="http://schemas.openxmlformats.org/officeDocument/2006/relationships/slideLayout" Target="../slideLayouts/slideLayout332.xml"/></Relationships>
</file>

<file path=ppt/slides/_rels/slide107.xml.rels><?xml version="1.0" encoding="UTF-8" standalone="yes"?>
<Relationships xmlns="http://schemas.openxmlformats.org/package/2006/relationships"><Relationship Id="rId2" Type="http://schemas.openxmlformats.org/officeDocument/2006/relationships/image" Target="../media/image299.png"/><Relationship Id="rId1" Type="http://schemas.openxmlformats.org/officeDocument/2006/relationships/slideLayout" Target="../slideLayouts/slideLayout331.xml"/></Relationships>
</file>

<file path=ppt/slides/_rels/slide108.xml.rels><?xml version="1.0" encoding="UTF-8" standalone="yes"?>
<Relationships xmlns="http://schemas.openxmlformats.org/package/2006/relationships"><Relationship Id="rId3" Type="http://schemas.openxmlformats.org/officeDocument/2006/relationships/image" Target="../media/image300.emf"/><Relationship Id="rId2" Type="http://schemas.openxmlformats.org/officeDocument/2006/relationships/notesSlide" Target="../notesSlides/notesSlide62.xml"/><Relationship Id="rId1" Type="http://schemas.openxmlformats.org/officeDocument/2006/relationships/slideLayout" Target="../slideLayouts/slideLayout331.xml"/><Relationship Id="rId4" Type="http://schemas.openxmlformats.org/officeDocument/2006/relationships/image" Target="../media/image301.emf"/></Relationships>
</file>

<file path=ppt/slides/_rels/slide109.xml.rels><?xml version="1.0" encoding="UTF-8" standalone="yes"?>
<Relationships xmlns="http://schemas.openxmlformats.org/package/2006/relationships"><Relationship Id="rId3" Type="http://schemas.openxmlformats.org/officeDocument/2006/relationships/image" Target="../media/image302.emf"/><Relationship Id="rId2" Type="http://schemas.openxmlformats.org/officeDocument/2006/relationships/notesSlide" Target="../notesSlides/notesSlide63.xml"/><Relationship Id="rId1" Type="http://schemas.openxmlformats.org/officeDocument/2006/relationships/slideLayout" Target="../slideLayouts/slideLayout331.xml"/><Relationship Id="rId4" Type="http://schemas.openxmlformats.org/officeDocument/2006/relationships/image" Target="../media/image303.png"/></Relationships>
</file>

<file path=ppt/slides/_rels/slide11.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1.xml"/><Relationship Id="rId1" Type="http://schemas.openxmlformats.org/officeDocument/2006/relationships/slideLayout" Target="../slideLayouts/slideLayout67.xml"/></Relationships>
</file>

<file path=ppt/slides/_rels/slide110.xml.rels><?xml version="1.0" encoding="UTF-8" standalone="yes"?>
<Relationships xmlns="http://schemas.openxmlformats.org/package/2006/relationships"><Relationship Id="rId2" Type="http://schemas.openxmlformats.org/officeDocument/2006/relationships/image" Target="../media/image304.png"/><Relationship Id="rId1" Type="http://schemas.openxmlformats.org/officeDocument/2006/relationships/slideLayout" Target="../slideLayouts/slideLayout33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45.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344.xml"/></Relationships>
</file>

<file path=ppt/slides/_rels/slide11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16.emf"/><Relationship Id="rId2" Type="http://schemas.openxmlformats.org/officeDocument/2006/relationships/diagramData" Target="../diagrams/data1.xml"/><Relationship Id="rId1" Type="http://schemas.openxmlformats.org/officeDocument/2006/relationships/slideLayout" Target="../slideLayouts/slideLayout34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4.xml.rels><?xml version="1.0" encoding="UTF-8" standalone="yes"?>
<Relationships xmlns="http://schemas.openxmlformats.org/package/2006/relationships"><Relationship Id="rId2" Type="http://schemas.openxmlformats.org/officeDocument/2006/relationships/image" Target="../media/image317.png"/><Relationship Id="rId1" Type="http://schemas.openxmlformats.org/officeDocument/2006/relationships/slideLayout" Target="../slideLayouts/slideLayout361.xml"/></Relationships>
</file>

<file path=ppt/slides/_rels/slide115.xml.rels><?xml version="1.0" encoding="UTF-8" standalone="yes"?>
<Relationships xmlns="http://schemas.openxmlformats.org/package/2006/relationships"><Relationship Id="rId8" Type="http://schemas.openxmlformats.org/officeDocument/2006/relationships/image" Target="../media/image320.png"/><Relationship Id="rId13" Type="http://schemas.openxmlformats.org/officeDocument/2006/relationships/hyperlink" Target="http://www.whitehouse.gov/goodbye/fc4494e0d5c4bec7690f9052ea1d5ecf61276ee3.html" TargetMode="External"/><Relationship Id="rId18" Type="http://schemas.openxmlformats.org/officeDocument/2006/relationships/image" Target="../media/image325.png"/><Relationship Id="rId26" Type="http://schemas.openxmlformats.org/officeDocument/2006/relationships/image" Target="../media/image329.png"/><Relationship Id="rId3" Type="http://schemas.openxmlformats.org/officeDocument/2006/relationships/hyperlink" Target="http://www.whitehouse.gov/goodbye/e6f48d123024abc8ede6600bbc47dba64bdda76d.html" TargetMode="External"/><Relationship Id="rId21" Type="http://schemas.openxmlformats.org/officeDocument/2006/relationships/hyperlink" Target="http://www.whitehouse.gov/goodbye/7275bb52afbca920399bf80a915132766478eecb.html" TargetMode="External"/><Relationship Id="rId7" Type="http://schemas.openxmlformats.org/officeDocument/2006/relationships/hyperlink" Target="http://www.whitehouse.gov/goodbye/f68f03c8330754554c5ff31591a960ac8ca7294e.html" TargetMode="External"/><Relationship Id="rId12" Type="http://schemas.openxmlformats.org/officeDocument/2006/relationships/image" Target="../media/image322.png"/><Relationship Id="rId17" Type="http://schemas.openxmlformats.org/officeDocument/2006/relationships/hyperlink" Target="http://www.whitehouse.gov/goodbye/cf50cf3cf5d2492bb252cd631f11aa6ccaf1be7a.html" TargetMode="External"/><Relationship Id="rId25" Type="http://schemas.openxmlformats.org/officeDocument/2006/relationships/hyperlink" Target="http://www.whitehouse.gov/goodbye/df1e1904fbc823d12f3fff238e830972c239b085.html" TargetMode="External"/><Relationship Id="rId2" Type="http://schemas.openxmlformats.org/officeDocument/2006/relationships/notesSlide" Target="../notesSlides/notesSlide65.xml"/><Relationship Id="rId16" Type="http://schemas.openxmlformats.org/officeDocument/2006/relationships/image" Target="../media/image324.png"/><Relationship Id="rId20" Type="http://schemas.openxmlformats.org/officeDocument/2006/relationships/image" Target="../media/image326.png"/><Relationship Id="rId29" Type="http://schemas.openxmlformats.org/officeDocument/2006/relationships/hyperlink" Target="http://www.whitehouse.gov/goodbye/f467be18c7d8c3f3b50acf8f3641f913e7824493.html" TargetMode="External"/><Relationship Id="rId1" Type="http://schemas.openxmlformats.org/officeDocument/2006/relationships/slideLayout" Target="../slideLayouts/slideLayout366.xml"/><Relationship Id="rId6" Type="http://schemas.openxmlformats.org/officeDocument/2006/relationships/image" Target="../media/image319.png"/><Relationship Id="rId11" Type="http://schemas.openxmlformats.org/officeDocument/2006/relationships/hyperlink" Target="http://www.whitehouse.gov/goodbye/10b014372e3066b4a85a04e1fea95dca6fa27bb3.html" TargetMode="External"/><Relationship Id="rId24" Type="http://schemas.openxmlformats.org/officeDocument/2006/relationships/image" Target="../media/image328.png"/><Relationship Id="rId32" Type="http://schemas.openxmlformats.org/officeDocument/2006/relationships/image" Target="../media/image333.png"/><Relationship Id="rId5" Type="http://schemas.openxmlformats.org/officeDocument/2006/relationships/hyperlink" Target="http://www.whitehouse.gov/goodbye/eb63711e54f9a6b23834ec656f7e8bc007f7706e.html" TargetMode="External"/><Relationship Id="rId15" Type="http://schemas.openxmlformats.org/officeDocument/2006/relationships/hyperlink" Target="http://www.whitehouse.gov/goodbye/56af60bcf8df442dafe73cbec8a92ea5bddc2cd1.html" TargetMode="External"/><Relationship Id="rId23" Type="http://schemas.openxmlformats.org/officeDocument/2006/relationships/hyperlink" Target="http://www.whitehouse.gov/goodbye/bfb51c79338cc0acc0579d54986eb867274aefc0.html" TargetMode="External"/><Relationship Id="rId28" Type="http://schemas.openxmlformats.org/officeDocument/2006/relationships/image" Target="../media/image331.png"/><Relationship Id="rId10" Type="http://schemas.openxmlformats.org/officeDocument/2006/relationships/image" Target="../media/image321.png"/><Relationship Id="rId19" Type="http://schemas.openxmlformats.org/officeDocument/2006/relationships/hyperlink" Target="http://www.whitehouse.gov/goodbye/09ccc51137a3c315205f2bb4b2d57b8346293709.html" TargetMode="External"/><Relationship Id="rId31" Type="http://schemas.openxmlformats.org/officeDocument/2006/relationships/hyperlink" Target="http://www.whitehouse.gov/goodbye/c3f35a26e6ee60ac30cb24f1f42b3348c3002a7a.html" TargetMode="External"/><Relationship Id="rId4" Type="http://schemas.openxmlformats.org/officeDocument/2006/relationships/image" Target="../media/image318.png"/><Relationship Id="rId9" Type="http://schemas.openxmlformats.org/officeDocument/2006/relationships/hyperlink" Target="http://www.whitehouse.gov/goodbye/ee378f33fd42d904cec999424bd36f79ee4830b4.html" TargetMode="External"/><Relationship Id="rId14" Type="http://schemas.openxmlformats.org/officeDocument/2006/relationships/image" Target="../media/image323.png"/><Relationship Id="rId22" Type="http://schemas.openxmlformats.org/officeDocument/2006/relationships/image" Target="../media/image327.png"/><Relationship Id="rId27" Type="http://schemas.openxmlformats.org/officeDocument/2006/relationships/image" Target="../media/image330.png"/><Relationship Id="rId30" Type="http://schemas.openxmlformats.org/officeDocument/2006/relationships/image" Target="../media/image332.png"/></Relationships>
</file>

<file path=ppt/slides/_rels/slide116.xml.rels><?xml version="1.0" encoding="UTF-8" standalone="yes"?>
<Relationships xmlns="http://schemas.openxmlformats.org/package/2006/relationships"><Relationship Id="rId3" Type="http://schemas.openxmlformats.org/officeDocument/2006/relationships/image" Target="../media/image334.png"/><Relationship Id="rId2" Type="http://schemas.openxmlformats.org/officeDocument/2006/relationships/notesSlide" Target="../notesSlides/notesSlide66.xml"/><Relationship Id="rId1" Type="http://schemas.openxmlformats.org/officeDocument/2006/relationships/slideLayout" Target="../slideLayouts/slideLayout365.xml"/><Relationship Id="rId4" Type="http://schemas.openxmlformats.org/officeDocument/2006/relationships/image" Target="../media/image335.png"/></Relationships>
</file>

<file path=ppt/slides/_rels/slide117.xml.rels><?xml version="1.0" encoding="UTF-8" standalone="yes"?>
<Relationships xmlns="http://schemas.openxmlformats.org/package/2006/relationships"><Relationship Id="rId3" Type="http://schemas.openxmlformats.org/officeDocument/2006/relationships/image" Target="../media/image336.png"/><Relationship Id="rId2" Type="http://schemas.openxmlformats.org/officeDocument/2006/relationships/notesSlide" Target="../notesSlides/notesSlide67.xml"/><Relationship Id="rId1" Type="http://schemas.openxmlformats.org/officeDocument/2006/relationships/slideLayout" Target="../slideLayouts/slideLayout366.xml"/><Relationship Id="rId4" Type="http://schemas.openxmlformats.org/officeDocument/2006/relationships/image" Target="../media/image337.png"/></Relationships>
</file>

<file path=ppt/slides/_rels/slide118.xml.rels><?xml version="1.0" encoding="UTF-8" standalone="yes"?>
<Relationships xmlns="http://schemas.openxmlformats.org/package/2006/relationships"><Relationship Id="rId8" Type="http://schemas.openxmlformats.org/officeDocument/2006/relationships/image" Target="../media/image342.png"/><Relationship Id="rId3" Type="http://schemas.openxmlformats.org/officeDocument/2006/relationships/image" Target="../media/image334.png"/><Relationship Id="rId7" Type="http://schemas.openxmlformats.org/officeDocument/2006/relationships/image" Target="../media/image341.tiff"/><Relationship Id="rId2" Type="http://schemas.openxmlformats.org/officeDocument/2006/relationships/notesSlide" Target="../notesSlides/notesSlide68.xml"/><Relationship Id="rId1" Type="http://schemas.openxmlformats.org/officeDocument/2006/relationships/slideLayout" Target="../slideLayouts/slideLayout364.xml"/><Relationship Id="rId6" Type="http://schemas.openxmlformats.org/officeDocument/2006/relationships/image" Target="../media/image340.png"/><Relationship Id="rId5" Type="http://schemas.openxmlformats.org/officeDocument/2006/relationships/image" Target="../media/image339.png"/><Relationship Id="rId4" Type="http://schemas.openxmlformats.org/officeDocument/2006/relationships/image" Target="../media/image338.png"/><Relationship Id="rId9" Type="http://schemas.openxmlformats.org/officeDocument/2006/relationships/image" Target="../media/image343.jpeg"/></Relationships>
</file>

<file path=ppt/slides/_rels/slide119.xml.rels><?xml version="1.0" encoding="UTF-8" standalone="yes"?>
<Relationships xmlns="http://schemas.openxmlformats.org/package/2006/relationships"><Relationship Id="rId3" Type="http://schemas.openxmlformats.org/officeDocument/2006/relationships/image" Target="../media/image344.png"/><Relationship Id="rId2" Type="http://schemas.openxmlformats.org/officeDocument/2006/relationships/notesSlide" Target="../notesSlides/notesSlide69.xml"/><Relationship Id="rId1" Type="http://schemas.openxmlformats.org/officeDocument/2006/relationships/slideLayout" Target="../slideLayouts/slideLayout362.xml"/></Relationships>
</file>

<file path=ppt/slides/_rels/slide12.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notesSlide" Target="../notesSlides/notesSlide2.xml"/><Relationship Id="rId1" Type="http://schemas.openxmlformats.org/officeDocument/2006/relationships/slideLayout" Target="../slideLayouts/slideLayout67.xml"/><Relationship Id="rId6" Type="http://schemas.openxmlformats.org/officeDocument/2006/relationships/image" Target="../media/image100.emf"/><Relationship Id="rId5" Type="http://schemas.openxmlformats.org/officeDocument/2006/relationships/image" Target="../media/image99.emf"/><Relationship Id="rId10" Type="http://schemas.openxmlformats.org/officeDocument/2006/relationships/image" Target="../media/image104.emf"/><Relationship Id="rId4" Type="http://schemas.openxmlformats.org/officeDocument/2006/relationships/image" Target="../media/image98.emf"/><Relationship Id="rId9" Type="http://schemas.openxmlformats.org/officeDocument/2006/relationships/image" Target="../media/image103.png"/></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62.xml"/></Relationships>
</file>

<file path=ppt/slides/_rels/slide121.xml.rels><?xml version="1.0" encoding="UTF-8" standalone="yes"?>
<Relationships xmlns="http://schemas.openxmlformats.org/package/2006/relationships"><Relationship Id="rId3" Type="http://schemas.openxmlformats.org/officeDocument/2006/relationships/hyperlink" Target="http://server.arcgis.com/en/server/latest/cloud/azure/overview-arcgis-server-on-microsoft-azure.htm" TargetMode="External"/><Relationship Id="rId2" Type="http://schemas.openxmlformats.org/officeDocument/2006/relationships/notesSlide" Target="../notesSlides/notesSlide71.xml"/><Relationship Id="rId1" Type="http://schemas.openxmlformats.org/officeDocument/2006/relationships/slideLayout" Target="../slideLayouts/slideLayout362.xml"/></Relationships>
</file>

<file path=ppt/slides/_rels/slide122.xml.rels><?xml version="1.0" encoding="UTF-8" standalone="yes"?>
<Relationships xmlns="http://schemas.openxmlformats.org/package/2006/relationships"><Relationship Id="rId3" Type="http://schemas.openxmlformats.org/officeDocument/2006/relationships/image" Target="../media/image345.emf"/><Relationship Id="rId2" Type="http://schemas.openxmlformats.org/officeDocument/2006/relationships/notesSlide" Target="../notesSlides/notesSlide72.xml"/><Relationship Id="rId1" Type="http://schemas.openxmlformats.org/officeDocument/2006/relationships/slideLayout" Target="../slideLayouts/slideLayout368.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78.xml"/></Relationships>
</file>

<file path=ppt/slides/_rels/slide124.xml.rels><?xml version="1.0" encoding="UTF-8" standalone="yes"?>
<Relationships xmlns="http://schemas.openxmlformats.org/package/2006/relationships"><Relationship Id="rId2" Type="http://schemas.openxmlformats.org/officeDocument/2006/relationships/image" Target="../media/image346.png"/><Relationship Id="rId1" Type="http://schemas.openxmlformats.org/officeDocument/2006/relationships/slideLayout" Target="../slideLayouts/slideLayout379.xml"/></Relationships>
</file>

<file path=ppt/slides/_rels/slide125.xml.rels><?xml version="1.0" encoding="UTF-8" standalone="yes"?>
<Relationships xmlns="http://schemas.openxmlformats.org/package/2006/relationships"><Relationship Id="rId8" Type="http://schemas.openxmlformats.org/officeDocument/2006/relationships/image" Target="../media/image353.png"/><Relationship Id="rId3" Type="http://schemas.openxmlformats.org/officeDocument/2006/relationships/image" Target="../media/image348.png"/><Relationship Id="rId7" Type="http://schemas.openxmlformats.org/officeDocument/2006/relationships/image" Target="../media/image352.jpeg"/><Relationship Id="rId2" Type="http://schemas.openxmlformats.org/officeDocument/2006/relationships/image" Target="../media/image347.jpeg"/><Relationship Id="rId1" Type="http://schemas.openxmlformats.org/officeDocument/2006/relationships/slideLayout" Target="../slideLayouts/slideLayout379.xml"/><Relationship Id="rId6" Type="http://schemas.openxmlformats.org/officeDocument/2006/relationships/image" Target="../media/image351.png"/><Relationship Id="rId11" Type="http://schemas.openxmlformats.org/officeDocument/2006/relationships/image" Target="../media/image356.png"/><Relationship Id="rId5" Type="http://schemas.openxmlformats.org/officeDocument/2006/relationships/image" Target="../media/image350.gif"/><Relationship Id="rId10" Type="http://schemas.openxmlformats.org/officeDocument/2006/relationships/image" Target="../media/image355.png"/><Relationship Id="rId4" Type="http://schemas.openxmlformats.org/officeDocument/2006/relationships/image" Target="../media/image349.jpeg"/><Relationship Id="rId9" Type="http://schemas.openxmlformats.org/officeDocument/2006/relationships/image" Target="../media/image354.png"/></Relationships>
</file>

<file path=ppt/slides/_rels/slide126.xml.rels><?xml version="1.0" encoding="UTF-8" standalone="yes"?>
<Relationships xmlns="http://schemas.openxmlformats.org/package/2006/relationships"><Relationship Id="rId8" Type="http://schemas.openxmlformats.org/officeDocument/2006/relationships/image" Target="../media/image363.png"/><Relationship Id="rId3" Type="http://schemas.openxmlformats.org/officeDocument/2006/relationships/image" Target="../media/image358.png"/><Relationship Id="rId7" Type="http://schemas.openxmlformats.org/officeDocument/2006/relationships/image" Target="../media/image362.jpeg"/><Relationship Id="rId2" Type="http://schemas.openxmlformats.org/officeDocument/2006/relationships/image" Target="../media/image357.emf"/><Relationship Id="rId1" Type="http://schemas.openxmlformats.org/officeDocument/2006/relationships/slideLayout" Target="../slideLayouts/slideLayout379.xml"/><Relationship Id="rId6" Type="http://schemas.openxmlformats.org/officeDocument/2006/relationships/image" Target="../media/image361.png"/><Relationship Id="rId5" Type="http://schemas.openxmlformats.org/officeDocument/2006/relationships/image" Target="../media/image360.png"/><Relationship Id="rId10" Type="http://schemas.openxmlformats.org/officeDocument/2006/relationships/image" Target="../media/image365.png"/><Relationship Id="rId4" Type="http://schemas.openxmlformats.org/officeDocument/2006/relationships/image" Target="../media/image359.png"/><Relationship Id="rId9" Type="http://schemas.openxmlformats.org/officeDocument/2006/relationships/image" Target="../media/image364.png"/></Relationships>
</file>

<file path=ppt/slides/_rels/slide127.xml.rels><?xml version="1.0" encoding="UTF-8" standalone="yes"?>
<Relationships xmlns="http://schemas.openxmlformats.org/package/2006/relationships"><Relationship Id="rId8" Type="http://schemas.openxmlformats.org/officeDocument/2006/relationships/image" Target="../media/image371.png"/><Relationship Id="rId13" Type="http://schemas.openxmlformats.org/officeDocument/2006/relationships/image" Target="../media/image376.png"/><Relationship Id="rId18" Type="http://schemas.openxmlformats.org/officeDocument/2006/relationships/image" Target="../media/image381.png"/><Relationship Id="rId3" Type="http://schemas.openxmlformats.org/officeDocument/2006/relationships/image" Target="../media/image366.png"/><Relationship Id="rId21" Type="http://schemas.openxmlformats.org/officeDocument/2006/relationships/image" Target="../media/image384.png"/><Relationship Id="rId7" Type="http://schemas.openxmlformats.org/officeDocument/2006/relationships/image" Target="../media/image370.png"/><Relationship Id="rId12" Type="http://schemas.openxmlformats.org/officeDocument/2006/relationships/image" Target="../media/image375.png"/><Relationship Id="rId17" Type="http://schemas.openxmlformats.org/officeDocument/2006/relationships/image" Target="../media/image380.png"/><Relationship Id="rId2" Type="http://schemas.openxmlformats.org/officeDocument/2006/relationships/notesSlide" Target="../notesSlides/notesSlide74.xml"/><Relationship Id="rId16" Type="http://schemas.openxmlformats.org/officeDocument/2006/relationships/image" Target="../media/image379.png"/><Relationship Id="rId20" Type="http://schemas.openxmlformats.org/officeDocument/2006/relationships/image" Target="../media/image383.png"/><Relationship Id="rId1" Type="http://schemas.openxmlformats.org/officeDocument/2006/relationships/slideLayout" Target="../slideLayouts/slideLayout379.xml"/><Relationship Id="rId6" Type="http://schemas.openxmlformats.org/officeDocument/2006/relationships/image" Target="../media/image369.png"/><Relationship Id="rId11" Type="http://schemas.openxmlformats.org/officeDocument/2006/relationships/image" Target="../media/image374.png"/><Relationship Id="rId5" Type="http://schemas.openxmlformats.org/officeDocument/2006/relationships/image" Target="../media/image368.png"/><Relationship Id="rId15" Type="http://schemas.openxmlformats.org/officeDocument/2006/relationships/image" Target="../media/image378.png"/><Relationship Id="rId10" Type="http://schemas.openxmlformats.org/officeDocument/2006/relationships/image" Target="../media/image373.png"/><Relationship Id="rId19" Type="http://schemas.openxmlformats.org/officeDocument/2006/relationships/image" Target="../media/image382.png"/><Relationship Id="rId4" Type="http://schemas.openxmlformats.org/officeDocument/2006/relationships/image" Target="../media/image367.png"/><Relationship Id="rId9" Type="http://schemas.openxmlformats.org/officeDocument/2006/relationships/image" Target="../media/image372.png"/><Relationship Id="rId14" Type="http://schemas.openxmlformats.org/officeDocument/2006/relationships/image" Target="../media/image377.png"/></Relationships>
</file>

<file path=ppt/slides/_rels/slide128.xml.rels><?xml version="1.0" encoding="UTF-8" standalone="yes"?>
<Relationships xmlns="http://schemas.openxmlformats.org/package/2006/relationships"><Relationship Id="rId8" Type="http://schemas.openxmlformats.org/officeDocument/2006/relationships/image" Target="../media/image391.png"/><Relationship Id="rId3" Type="http://schemas.openxmlformats.org/officeDocument/2006/relationships/image" Target="../media/image386.png"/><Relationship Id="rId7" Type="http://schemas.openxmlformats.org/officeDocument/2006/relationships/image" Target="../media/image390.jpeg"/><Relationship Id="rId2" Type="http://schemas.openxmlformats.org/officeDocument/2006/relationships/image" Target="../media/image385.png"/><Relationship Id="rId1" Type="http://schemas.openxmlformats.org/officeDocument/2006/relationships/slideLayout" Target="../slideLayouts/slideLayout385.xml"/><Relationship Id="rId6" Type="http://schemas.openxmlformats.org/officeDocument/2006/relationships/image" Target="../media/image389.png"/><Relationship Id="rId5" Type="http://schemas.openxmlformats.org/officeDocument/2006/relationships/image" Target="../media/image388.png"/><Relationship Id="rId4" Type="http://schemas.openxmlformats.org/officeDocument/2006/relationships/image" Target="../media/image387.png"/></Relationships>
</file>

<file path=ppt/slides/_rels/slide129.xml.rels><?xml version="1.0" encoding="UTF-8" standalone="yes"?>
<Relationships xmlns="http://schemas.openxmlformats.org/package/2006/relationships"><Relationship Id="rId3" Type="http://schemas.openxmlformats.org/officeDocument/2006/relationships/image" Target="../media/image393.png"/><Relationship Id="rId7" Type="http://schemas.openxmlformats.org/officeDocument/2006/relationships/image" Target="../media/image397.png"/><Relationship Id="rId2" Type="http://schemas.openxmlformats.org/officeDocument/2006/relationships/image" Target="../media/image392.png"/><Relationship Id="rId1" Type="http://schemas.openxmlformats.org/officeDocument/2006/relationships/slideLayout" Target="../slideLayouts/slideLayout379.xml"/><Relationship Id="rId6" Type="http://schemas.openxmlformats.org/officeDocument/2006/relationships/image" Target="../media/image396.png"/><Relationship Id="rId5" Type="http://schemas.openxmlformats.org/officeDocument/2006/relationships/image" Target="../media/image395.jpeg"/><Relationship Id="rId4" Type="http://schemas.openxmlformats.org/officeDocument/2006/relationships/image" Target="../media/image394.png"/></Relationships>
</file>

<file path=ppt/slides/_rels/slide13.xml.rels><?xml version="1.0" encoding="UTF-8" standalone="yes"?>
<Relationships xmlns="http://schemas.openxmlformats.org/package/2006/relationships"><Relationship Id="rId8" Type="http://schemas.openxmlformats.org/officeDocument/2006/relationships/image" Target="../media/image110.jpeg"/><Relationship Id="rId3" Type="http://schemas.openxmlformats.org/officeDocument/2006/relationships/image" Target="../media/image105.png"/><Relationship Id="rId7" Type="http://schemas.openxmlformats.org/officeDocument/2006/relationships/image" Target="../media/image109.jpeg"/><Relationship Id="rId2" Type="http://schemas.openxmlformats.org/officeDocument/2006/relationships/notesSlide" Target="../notesSlides/notesSlide3.xml"/><Relationship Id="rId1" Type="http://schemas.openxmlformats.org/officeDocument/2006/relationships/slideLayout" Target="../slideLayouts/slideLayout67.xml"/><Relationship Id="rId6" Type="http://schemas.openxmlformats.org/officeDocument/2006/relationships/image" Target="../media/image108.jpeg"/><Relationship Id="rId5" Type="http://schemas.openxmlformats.org/officeDocument/2006/relationships/image" Target="../media/image107.png"/><Relationship Id="rId4" Type="http://schemas.openxmlformats.org/officeDocument/2006/relationships/image" Target="../media/image106.png"/><Relationship Id="rId9" Type="http://schemas.openxmlformats.org/officeDocument/2006/relationships/image" Target="../media/image111.png"/></Relationships>
</file>

<file path=ppt/slides/_rels/slide130.xml.rels><?xml version="1.0" encoding="UTF-8" standalone="yes"?>
<Relationships xmlns="http://schemas.openxmlformats.org/package/2006/relationships"><Relationship Id="rId8" Type="http://schemas.openxmlformats.org/officeDocument/2006/relationships/image" Target="../media/image403.png"/><Relationship Id="rId3" Type="http://schemas.openxmlformats.org/officeDocument/2006/relationships/image" Target="../media/image398.png"/><Relationship Id="rId7" Type="http://schemas.openxmlformats.org/officeDocument/2006/relationships/image" Target="../media/image402.png"/><Relationship Id="rId2" Type="http://schemas.openxmlformats.org/officeDocument/2006/relationships/notesSlide" Target="../notesSlides/notesSlide75.xml"/><Relationship Id="rId1" Type="http://schemas.openxmlformats.org/officeDocument/2006/relationships/slideLayout" Target="../slideLayouts/slideLayout379.xml"/><Relationship Id="rId6" Type="http://schemas.openxmlformats.org/officeDocument/2006/relationships/image" Target="../media/image401.png"/><Relationship Id="rId5" Type="http://schemas.openxmlformats.org/officeDocument/2006/relationships/image" Target="../media/image400.png"/><Relationship Id="rId10" Type="http://schemas.openxmlformats.org/officeDocument/2006/relationships/image" Target="../media/image405.jpeg"/><Relationship Id="rId4" Type="http://schemas.openxmlformats.org/officeDocument/2006/relationships/image" Target="../media/image399.jpeg"/><Relationship Id="rId9" Type="http://schemas.openxmlformats.org/officeDocument/2006/relationships/image" Target="../media/image404.png"/></Relationships>
</file>

<file path=ppt/slides/_rels/slide131.xml.rels><?xml version="1.0" encoding="UTF-8" standalone="yes"?>
<Relationships xmlns="http://schemas.openxmlformats.org/package/2006/relationships"><Relationship Id="rId3" Type="http://schemas.openxmlformats.org/officeDocument/2006/relationships/image" Target="../media/image391.png"/><Relationship Id="rId2" Type="http://schemas.openxmlformats.org/officeDocument/2006/relationships/image" Target="../media/image406.jpeg"/><Relationship Id="rId1" Type="http://schemas.openxmlformats.org/officeDocument/2006/relationships/slideLayout" Target="../slideLayouts/slideLayout379.xml"/><Relationship Id="rId4" Type="http://schemas.openxmlformats.org/officeDocument/2006/relationships/image" Target="../media/image407.png"/></Relationships>
</file>

<file path=ppt/slides/_rels/slide132.xml.rels><?xml version="1.0" encoding="UTF-8" standalone="yes"?>
<Relationships xmlns="http://schemas.openxmlformats.org/package/2006/relationships"><Relationship Id="rId3" Type="http://schemas.openxmlformats.org/officeDocument/2006/relationships/image" Target="../media/image391.png"/><Relationship Id="rId2" Type="http://schemas.openxmlformats.org/officeDocument/2006/relationships/image" Target="../media/image406.jpeg"/><Relationship Id="rId1" Type="http://schemas.openxmlformats.org/officeDocument/2006/relationships/slideLayout" Target="../slideLayouts/slideLayout379.xml"/><Relationship Id="rId4" Type="http://schemas.openxmlformats.org/officeDocument/2006/relationships/image" Target="../media/image407.png"/></Relationships>
</file>

<file path=ppt/slides/_rels/slide133.xml.rels><?xml version="1.0" encoding="UTF-8" standalone="yes"?>
<Relationships xmlns="http://schemas.openxmlformats.org/package/2006/relationships"><Relationship Id="rId8" Type="http://schemas.openxmlformats.org/officeDocument/2006/relationships/image" Target="../media/image412.jpeg"/><Relationship Id="rId13" Type="http://schemas.openxmlformats.org/officeDocument/2006/relationships/image" Target="../media/image417.jpeg"/><Relationship Id="rId18" Type="http://schemas.openxmlformats.org/officeDocument/2006/relationships/image" Target="../media/image422.jpeg"/><Relationship Id="rId26" Type="http://schemas.openxmlformats.org/officeDocument/2006/relationships/image" Target="../media/image430.jpeg"/><Relationship Id="rId3" Type="http://schemas.openxmlformats.org/officeDocument/2006/relationships/notesSlide" Target="../notesSlides/notesSlide76.xml"/><Relationship Id="rId21" Type="http://schemas.openxmlformats.org/officeDocument/2006/relationships/image" Target="../media/image425.png"/><Relationship Id="rId7" Type="http://schemas.openxmlformats.org/officeDocument/2006/relationships/image" Target="../media/image411.jpeg"/><Relationship Id="rId12" Type="http://schemas.openxmlformats.org/officeDocument/2006/relationships/image" Target="../media/image416.png"/><Relationship Id="rId17" Type="http://schemas.openxmlformats.org/officeDocument/2006/relationships/image" Target="../media/image421.jpeg"/><Relationship Id="rId25" Type="http://schemas.openxmlformats.org/officeDocument/2006/relationships/image" Target="../media/image429.jpeg"/><Relationship Id="rId2" Type="http://schemas.openxmlformats.org/officeDocument/2006/relationships/slideLayout" Target="../slideLayouts/slideLayout384.xml"/><Relationship Id="rId16" Type="http://schemas.openxmlformats.org/officeDocument/2006/relationships/image" Target="../media/image420.gif"/><Relationship Id="rId20" Type="http://schemas.openxmlformats.org/officeDocument/2006/relationships/image" Target="../media/image424.png"/><Relationship Id="rId29" Type="http://schemas.openxmlformats.org/officeDocument/2006/relationships/image" Target="../media/image431.jpeg"/><Relationship Id="rId1" Type="http://schemas.openxmlformats.org/officeDocument/2006/relationships/vmlDrawing" Target="../drawings/vmlDrawing63.vml"/><Relationship Id="rId6" Type="http://schemas.openxmlformats.org/officeDocument/2006/relationships/image" Target="../media/image350.gif"/><Relationship Id="rId11" Type="http://schemas.openxmlformats.org/officeDocument/2006/relationships/image" Target="../media/image415.jpeg"/><Relationship Id="rId24" Type="http://schemas.openxmlformats.org/officeDocument/2006/relationships/image" Target="../media/image428.jpeg"/><Relationship Id="rId32" Type="http://schemas.openxmlformats.org/officeDocument/2006/relationships/image" Target="../media/image434.png"/><Relationship Id="rId5" Type="http://schemas.openxmlformats.org/officeDocument/2006/relationships/image" Target="../media/image410.png"/><Relationship Id="rId15" Type="http://schemas.openxmlformats.org/officeDocument/2006/relationships/image" Target="../media/image419.jpeg"/><Relationship Id="rId23" Type="http://schemas.openxmlformats.org/officeDocument/2006/relationships/image" Target="../media/image427.png"/><Relationship Id="rId28" Type="http://schemas.openxmlformats.org/officeDocument/2006/relationships/image" Target="../media/image408.png"/><Relationship Id="rId10" Type="http://schemas.openxmlformats.org/officeDocument/2006/relationships/image" Target="../media/image414.jpeg"/><Relationship Id="rId19" Type="http://schemas.openxmlformats.org/officeDocument/2006/relationships/image" Target="../media/image423.gif"/><Relationship Id="rId31" Type="http://schemas.openxmlformats.org/officeDocument/2006/relationships/image" Target="../media/image433.png"/><Relationship Id="rId4" Type="http://schemas.openxmlformats.org/officeDocument/2006/relationships/image" Target="../media/image409.png"/><Relationship Id="rId9" Type="http://schemas.openxmlformats.org/officeDocument/2006/relationships/image" Target="../media/image413.png"/><Relationship Id="rId14" Type="http://schemas.openxmlformats.org/officeDocument/2006/relationships/image" Target="../media/image418.jpeg"/><Relationship Id="rId22" Type="http://schemas.openxmlformats.org/officeDocument/2006/relationships/image" Target="../media/image426.jpeg"/><Relationship Id="rId27" Type="http://schemas.openxmlformats.org/officeDocument/2006/relationships/oleObject" Target="../embeddings/oleObject63.bin"/><Relationship Id="rId30" Type="http://schemas.openxmlformats.org/officeDocument/2006/relationships/image" Target="../media/image432.png"/></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379.xml"/></Relationships>
</file>

<file path=ppt/slides/_rels/slide135.xml.rels><?xml version="1.0" encoding="UTF-8" standalone="yes"?>
<Relationships xmlns="http://schemas.openxmlformats.org/package/2006/relationships"><Relationship Id="rId3" Type="http://schemas.openxmlformats.org/officeDocument/2006/relationships/image" Target="../media/image435.png"/><Relationship Id="rId7" Type="http://schemas.openxmlformats.org/officeDocument/2006/relationships/image" Target="../media/image439.png"/><Relationship Id="rId2" Type="http://schemas.openxmlformats.org/officeDocument/2006/relationships/image" Target="../media/image347.jpeg"/><Relationship Id="rId1" Type="http://schemas.openxmlformats.org/officeDocument/2006/relationships/slideLayout" Target="../slideLayouts/slideLayout379.xml"/><Relationship Id="rId6" Type="http://schemas.openxmlformats.org/officeDocument/2006/relationships/image" Target="../media/image438.png"/><Relationship Id="rId5" Type="http://schemas.openxmlformats.org/officeDocument/2006/relationships/image" Target="../media/image437.png"/><Relationship Id="rId4" Type="http://schemas.openxmlformats.org/officeDocument/2006/relationships/image" Target="../media/image436.png"/></Relationships>
</file>

<file path=ppt/slides/_rels/slide136.xml.rels><?xml version="1.0" encoding="UTF-8" standalone="yes"?>
<Relationships xmlns="http://schemas.openxmlformats.org/package/2006/relationships"><Relationship Id="rId3" Type="http://schemas.openxmlformats.org/officeDocument/2006/relationships/image" Target="../media/image440.png"/><Relationship Id="rId2" Type="http://schemas.openxmlformats.org/officeDocument/2006/relationships/image" Target="../media/image347.jpeg"/><Relationship Id="rId1" Type="http://schemas.openxmlformats.org/officeDocument/2006/relationships/slideLayout" Target="../slideLayouts/slideLayout379.xml"/><Relationship Id="rId5" Type="http://schemas.openxmlformats.org/officeDocument/2006/relationships/image" Target="../media/image442.png"/><Relationship Id="rId4" Type="http://schemas.openxmlformats.org/officeDocument/2006/relationships/image" Target="../media/image441.png"/></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12.jpg"/><Relationship Id="rId2" Type="http://schemas.openxmlformats.org/officeDocument/2006/relationships/notesSlide" Target="../notesSlides/notesSlide4.xml"/><Relationship Id="rId1" Type="http://schemas.openxmlformats.org/officeDocument/2006/relationships/slideLayout" Target="../slideLayouts/slideLayout67.xml"/><Relationship Id="rId5" Type="http://schemas.openxmlformats.org/officeDocument/2006/relationships/image" Target="../media/image114.emf"/><Relationship Id="rId4" Type="http://schemas.openxmlformats.org/officeDocument/2006/relationships/image" Target="../media/image11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slideLayout" Target="../slideLayouts/slideLayout80.xml"/><Relationship Id="rId7" Type="http://schemas.openxmlformats.org/officeDocument/2006/relationships/image" Target="../media/image115.png"/><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22.emf"/><Relationship Id="rId5" Type="http://schemas.openxmlformats.org/officeDocument/2006/relationships/oleObject" Target="../embeddings/oleObject62.bin"/><Relationship Id="rId4" Type="http://schemas.openxmlformats.org/officeDocument/2006/relationships/notesSlide" Target="../notesSlides/notesSlide5.xml"/></Relationships>
</file>

<file path=ppt/slides/_rels/slide17.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4.png"/><Relationship Id="rId18" Type="http://schemas.openxmlformats.org/officeDocument/2006/relationships/image" Target="../media/image129.png"/><Relationship Id="rId3" Type="http://schemas.openxmlformats.org/officeDocument/2006/relationships/image" Target="../media/image116.png"/><Relationship Id="rId21" Type="http://schemas.openxmlformats.org/officeDocument/2006/relationships/image" Target="../media/image132.png"/><Relationship Id="rId7" Type="http://schemas.openxmlformats.org/officeDocument/2006/relationships/image" Target="../media/image119.png"/><Relationship Id="rId12" Type="http://schemas.microsoft.com/office/2007/relationships/hdphoto" Target="../media/hdphoto7.wdp"/><Relationship Id="rId17" Type="http://schemas.openxmlformats.org/officeDocument/2006/relationships/image" Target="../media/image128.png"/><Relationship Id="rId2" Type="http://schemas.openxmlformats.org/officeDocument/2006/relationships/notesSlide" Target="../notesSlides/notesSlide6.xml"/><Relationship Id="rId16" Type="http://schemas.openxmlformats.org/officeDocument/2006/relationships/image" Target="../media/image127.png"/><Relationship Id="rId20" Type="http://schemas.openxmlformats.org/officeDocument/2006/relationships/image" Target="../media/image131.png"/><Relationship Id="rId1" Type="http://schemas.openxmlformats.org/officeDocument/2006/relationships/slideLayout" Target="../slideLayouts/slideLayout130.xml"/><Relationship Id="rId6" Type="http://schemas.microsoft.com/office/2007/relationships/hdphoto" Target="../media/hdphoto6.wdp"/><Relationship Id="rId11" Type="http://schemas.openxmlformats.org/officeDocument/2006/relationships/image" Target="../media/image123.png"/><Relationship Id="rId5" Type="http://schemas.openxmlformats.org/officeDocument/2006/relationships/image" Target="../media/image118.png"/><Relationship Id="rId15" Type="http://schemas.openxmlformats.org/officeDocument/2006/relationships/image" Target="../media/image126.png"/><Relationship Id="rId10" Type="http://schemas.openxmlformats.org/officeDocument/2006/relationships/image" Target="../media/image122.png"/><Relationship Id="rId19" Type="http://schemas.openxmlformats.org/officeDocument/2006/relationships/image" Target="../media/image130.png"/><Relationship Id="rId4" Type="http://schemas.openxmlformats.org/officeDocument/2006/relationships/image" Target="../media/image117.png"/><Relationship Id="rId9" Type="http://schemas.openxmlformats.org/officeDocument/2006/relationships/image" Target="../media/image121.emf"/><Relationship Id="rId14" Type="http://schemas.openxmlformats.org/officeDocument/2006/relationships/image" Target="../media/image125.png"/></Relationships>
</file>

<file path=ppt/slides/_rels/slide18.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hyperlink" Target="https://azure.microsoft.com/en-us/offers/ms-azr-0148p/"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hyperlink" Target="https://microsoft.sharepoint.com/teams/GearUp/SitePages/Compete.aspx" TargetMode="External"/><Relationship Id="rId5" Type="http://schemas.openxmlformats.org/officeDocument/2006/relationships/hyperlink" Target="https://microsoft.sharepoint.com/teams/salesdesk/" TargetMode="External"/><Relationship Id="rId4" Type="http://schemas.openxmlformats.org/officeDocument/2006/relationships/hyperlink" Target="https://azure.microsoft.com/en-us/services/devtest-lab/"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34.jp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35.emf"/><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136.emf"/><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37.emf"/><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140.emf"/><Relationship Id="rId5" Type="http://schemas.openxmlformats.org/officeDocument/2006/relationships/image" Target="../media/image139.emf"/><Relationship Id="rId4" Type="http://schemas.openxmlformats.org/officeDocument/2006/relationships/image" Target="../media/image138.emf"/></Relationships>
</file>

<file path=ppt/slides/_rels/slide28.xml.rels><?xml version="1.0" encoding="UTF-8" standalone="yes"?>
<Relationships xmlns="http://schemas.openxmlformats.org/package/2006/relationships"><Relationship Id="rId3" Type="http://schemas.openxmlformats.org/officeDocument/2006/relationships/image" Target="../media/image141.emf"/><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144.emf"/><Relationship Id="rId5" Type="http://schemas.openxmlformats.org/officeDocument/2006/relationships/image" Target="../media/image143.emf"/><Relationship Id="rId4" Type="http://schemas.openxmlformats.org/officeDocument/2006/relationships/image" Target="../media/image142.emf"/></Relationships>
</file>

<file path=ppt/slides/_rels/slide29.xml.rels><?xml version="1.0" encoding="UTF-8" standalone="yes"?>
<Relationships xmlns="http://schemas.openxmlformats.org/package/2006/relationships"><Relationship Id="rId8" Type="http://schemas.openxmlformats.org/officeDocument/2006/relationships/hyperlink" Target="https://azure.microsoft.com/en-us/marketplace/partners/netapp/netapp-altavault-cloud-integrated-storage-solution/" TargetMode="External"/><Relationship Id="rId13" Type="http://schemas.openxmlformats.org/officeDocument/2006/relationships/hyperlink" Target="https://azure.microsoft.com/en-us/marketplace/partners/veeam/veeamcloudconnect/" TargetMode="External"/><Relationship Id="rId18" Type="http://schemas.openxmlformats.org/officeDocument/2006/relationships/image" Target="../media/image146.png"/><Relationship Id="rId3" Type="http://schemas.openxmlformats.org/officeDocument/2006/relationships/hyperlink" Target="https://azure.microsoft.com/en-us/marketplace/partners/commvault/commvault/" TargetMode="External"/><Relationship Id="rId21" Type="http://schemas.openxmlformats.org/officeDocument/2006/relationships/image" Target="../media/image149.jpeg"/><Relationship Id="rId7" Type="http://schemas.openxmlformats.org/officeDocument/2006/relationships/hyperlink" Target="http://cloud.netapp.com/altavaultazure" TargetMode="External"/><Relationship Id="rId12" Type="http://schemas.openxmlformats.org/officeDocument/2006/relationships/hyperlink" Target="https://azure.microsoft.com/en-us/marketplace/partners/veeam/veeam-cloud-connect-enterprise/" TargetMode="External"/><Relationship Id="rId17" Type="http://schemas.openxmlformats.org/officeDocument/2006/relationships/image" Target="../media/image145.png"/><Relationship Id="rId2" Type="http://schemas.openxmlformats.org/officeDocument/2006/relationships/notesSlide" Target="../notesSlides/notesSlide15.xml"/><Relationship Id="rId16" Type="http://schemas.openxmlformats.org/officeDocument/2006/relationships/hyperlink" Target="http://datacastlered.com/wp-content/uploads/2015/01/Datacastle-RED-on-Microsoft-Azure-datasheet.pdf" TargetMode="External"/><Relationship Id="rId20" Type="http://schemas.openxmlformats.org/officeDocument/2006/relationships/image" Target="../media/image148.png"/><Relationship Id="rId1" Type="http://schemas.openxmlformats.org/officeDocument/2006/relationships/slideLayout" Target="../slideLayouts/slideLayout4.xml"/><Relationship Id="rId6" Type="http://schemas.openxmlformats.org/officeDocument/2006/relationships/hyperlink" Target="http://www8.hp.com/us/en/software-solutions/vm-server-backup/" TargetMode="External"/><Relationship Id="rId11" Type="http://schemas.openxmlformats.org/officeDocument/2006/relationships/hyperlink" Target="http://canada.emc.com/collateral/data-sheet/h14521-cloudboost-ds.pdf" TargetMode="External"/><Relationship Id="rId24" Type="http://schemas.openxmlformats.org/officeDocument/2006/relationships/image" Target="../media/image152.png"/><Relationship Id="rId5" Type="http://schemas.openxmlformats.org/officeDocument/2006/relationships/hyperlink" Target="http://www8.hp.com/us/en/software-solutions/data-protector-backup-recovery-software/" TargetMode="External"/><Relationship Id="rId15" Type="http://schemas.openxmlformats.org/officeDocument/2006/relationships/hyperlink" Target="https://azure.microsoft.com/en-us/marketplace/partners/dell-software/rapid-recovery-replication-target-vm-for-azure/" TargetMode="External"/><Relationship Id="rId23" Type="http://schemas.openxmlformats.org/officeDocument/2006/relationships/image" Target="../media/image151.jpeg"/><Relationship Id="rId10" Type="http://schemas.openxmlformats.org/officeDocument/2006/relationships/hyperlink" Target="https://store.emc.com/us/Product-Family/AVAMAR-PRODUCTS/EMC-Avamar-Virtual-Edition/p/EMC-Avamar-Virtual-Edition" TargetMode="External"/><Relationship Id="rId19" Type="http://schemas.openxmlformats.org/officeDocument/2006/relationships/image" Target="../media/image147.png"/><Relationship Id="rId4" Type="http://schemas.openxmlformats.org/officeDocument/2006/relationships/hyperlink" Target="https://vxbeta.veritas.com/welcome/key/X8J2DGDB1PQFTCRM" TargetMode="External"/><Relationship Id="rId9" Type="http://schemas.openxmlformats.org/officeDocument/2006/relationships/hyperlink" Target="https://www.emc.com/collateral/data-sheet/h14758-ds-isilon-cloudpools.pdf" TargetMode="External"/><Relationship Id="rId14" Type="http://schemas.openxmlformats.org/officeDocument/2006/relationships/hyperlink" Target="https://azure.microsoft.com/en-us/marketplace/partners/veeam/veeam-direct-restore-to-microsoft-azure/" TargetMode="External"/><Relationship Id="rId22" Type="http://schemas.openxmlformats.org/officeDocument/2006/relationships/image" Target="../media/image15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aka.ms/AzureStorageDocs" TargetMode="External"/><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hyperlink" Target="mailto:AzureStorageTeam@microsoft.com" TargetMode="External"/><Relationship Id="rId5" Type="http://schemas.openxmlformats.org/officeDocument/2006/relationships/hyperlink" Target="https://aka.ms/azurestoragemsdnforum" TargetMode="External"/><Relationship Id="rId4" Type="http://schemas.openxmlformats.org/officeDocument/2006/relationships/hyperlink" Target="https://aka.ms/azurestoragestackoverflow"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6.xml"/></Relationships>
</file>

<file path=ppt/slides/_rels/slide3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8.xml"/><Relationship Id="rId1" Type="http://schemas.openxmlformats.org/officeDocument/2006/relationships/slideLayout" Target="../slideLayouts/slideLayout188.xml"/></Relationships>
</file>

<file path=ppt/slides/_rels/slide34.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9.xml"/><Relationship Id="rId1" Type="http://schemas.openxmlformats.org/officeDocument/2006/relationships/slideLayout" Target="../slideLayouts/slideLayout166.xml"/><Relationship Id="rId6" Type="http://schemas.openxmlformats.org/officeDocument/2006/relationships/image" Target="../media/image157.emf"/><Relationship Id="rId5" Type="http://schemas.openxmlformats.org/officeDocument/2006/relationships/image" Target="../media/image156.emf"/><Relationship Id="rId4" Type="http://schemas.openxmlformats.org/officeDocument/2006/relationships/image" Target="../media/image155.png"/></Relationships>
</file>

<file path=ppt/slides/_rels/slide35.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20.xml"/><Relationship Id="rId1" Type="http://schemas.openxmlformats.org/officeDocument/2006/relationships/slideLayout" Target="../slideLayouts/slideLayout18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6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8" Type="http://schemas.openxmlformats.org/officeDocument/2006/relationships/hyperlink" Target="https://portal.sposites.com/sites/IPCollateral/Documents/Forms/Assess%20and%20Plan%20Document%20Set/docsethomepage.aspx?ID=8105&amp;FolderCTID=0x0120D52000B46DB15A997E194492AEAE6CFAC4565C01003D4780F687389748BDAAB0696D3BEC69&amp;List=0df57f6c-6253-413d-84b7-ae5c03e51dc7&amp;RootFolder=/sites/IPCollateral/Documents/Fast%20Start%20-%20Azure%20for%20Modern%20Web%20and%20Mobile%20Application%20Development&amp;RecSrc=/sites/IPCollateral/Documents/Fast%20Start%20-%20Azure%20for%20Modern%20Web%20and%20Mobile%20Application%20Development" TargetMode="External"/><Relationship Id="rId13" Type="http://schemas.openxmlformats.org/officeDocument/2006/relationships/hyperlink" Target="https://portal.sposites.com/sites/IPCollateral/Documents/Forms/Prevent%20and%20Optimize%20Document%20Set/docsethomepage.aspx?ID=7980&amp;FolderCTID=0x0120D52000B46DB15A997E194492AEAE6CFAC4565C03002038B00824BCE04E9BD50119911DF797&amp;List=0df57f6c-6253-413d-84b7-ae5c03e51dc7&amp;RootFolder=/sites/IPCollateral/Documents/Fast%20Start%20-%20Azure%20for%20IaaS&amp;RecSrc=/sites/IPCollateral/Documents/Fast%20Start%20-%20Azure%20for%20IaaS" TargetMode="External"/><Relationship Id="rId18" Type="http://schemas.openxmlformats.org/officeDocument/2006/relationships/hyperlink" Target="https://portal.sposites.com/sites/IPCollateral/Documents/Forms/Prevent%20and%20Optimize%20Document%20Set/docsethomepage.aspx?ID=8414&amp;FolderCTID=0x0120D52000B46DB15A997E194492AEAE6CFAC4565C03002038B00824BCE04E9BD50119911DF797&amp;List=0df57f6c-6253-413d-84b7-ae5c03e51dc7&amp;RootFolder=/sites/IPCollateral/Documents/Fast%20Start%20-%20Azure%20for%20Internet%20of%20Thing&amp;RecSrc=/sites/IPCollateral/Documents/Fast%20Start%20-%20Azure%20for%20Internet%20of%20Thing" TargetMode="External"/><Relationship Id="rId3" Type="http://schemas.openxmlformats.org/officeDocument/2006/relationships/hyperlink" Target="https://portal.sposites.com/sites/IPCollateral/Documents/Forms/Educate%20Document%20Set/docsethomepage.aspx?ID=8282&amp;FolderCTID=0x0120D52000B46DB15A997E194492AEAE6CFAC4565C02004ADA83DFAD01EA4E923F1566F5D37F80&amp;List=0df57f6c-6253-413d-84b7-ae5c03e51dc7&amp;RootFolder=/sites/IPCollateral/Documents/Fast%20Start%20-%20Azure%20for%20Dev%20Ops&amp;RecSrc=/sites/IPCollateral/Documents/Fast%20Start%20-%20Azure%20for%20Dev%20Ops" TargetMode="External"/><Relationship Id="rId7" Type="http://schemas.openxmlformats.org/officeDocument/2006/relationships/hyperlink" Target="https://microsoft.sharepoint.com/teams/servicesportfolio/SitePages/Offer.aspx?Title=Hybrid%20Cloud%20Management&amp;OID=1007" TargetMode="External"/><Relationship Id="rId12" Type="http://schemas.openxmlformats.org/officeDocument/2006/relationships/hyperlink" Target="https://portal.sposites.com/sites/IPCollateral/_layouts/15/OSSSearchResults.aspx?k=docid:NNJFDHZT2Q5V-2-7559%20OR%20dlcdocid:NNJFDHZT2Q5V-2-7559&amp;s=All%20Sites" TargetMode="External"/><Relationship Id="rId17" Type="http://schemas.openxmlformats.org/officeDocument/2006/relationships/hyperlink" Target="https://portal.sposites.com/sites/IPCollateral/Documents/Forms/Prevent%20and%20Optimize%20Document%20Set/docsethomepage.aspx?ID=8072&amp;FolderCTID=0x0120D52000B46DB15A997E194492AEAE6CFAC4565C03002038B00824BCE04E9BD50119911DF797&amp;List=0df57f6c-6253-413d-84b7-ae5c03e51dc7&amp;RootFolder=/sites/IPCollateral/Documents/Fast%20Start%20-%20Azure%20for%20Linux%20Fundamentals&amp;RecSrc=/sites/IPCollateral/Documents/Fast%20Start%20-%20Azure%20for%20Linux%20Fundamentals" TargetMode="External"/><Relationship Id="rId2" Type="http://schemas.openxmlformats.org/officeDocument/2006/relationships/notesSlide" Target="../notesSlides/notesSlide21.xml"/><Relationship Id="rId16" Type="http://schemas.openxmlformats.org/officeDocument/2006/relationships/hyperlink" Target="https://microsoft.sharepoint.com/teams/servicesportfolio/SitePages/Offer.aspx?Title=Enterprise%20Modernization%20v3&amp;OID=998" TargetMode="External"/><Relationship Id="rId1" Type="http://schemas.openxmlformats.org/officeDocument/2006/relationships/slideLayout" Target="../slideLayouts/slideLayout155.xml"/><Relationship Id="rId6" Type="http://schemas.openxmlformats.org/officeDocument/2006/relationships/hyperlink" Target="https://portal.sposites.com/sites/IPCollateral/Documents/Forms/Stabilize%20Document%20Set/docsethomepage.aspx?ID=8078&amp;FolderCTID=0x0120D52000B46DB15A997E194492AEAE6CFAC4565C04001D3D7E5C9CDE9A4D9401B2B61D2EC742&amp;List=0df57f6c-6253-413d-84b7-ae5c03e51dc7&amp;RootFolder=/sites/IPCollateral/Documents/Fast%20Start%20-%20Azure%20for%20Operations%20Management%20Suite%20Azure%20Backup&amp;RecSrc=/sites/IPCollateral/Documents/Fast%20Start%20-%20Azure%20for%20Operations%20Management%20Suite%20Azure%20Backup" TargetMode="External"/><Relationship Id="rId11" Type="http://schemas.openxmlformats.org/officeDocument/2006/relationships/hyperlink" Target="https://microsoft.sharepoint.com/teams/ServicesPortfolio/SitePages/Offer.aspx?Title=Advanced%20Analytics%20Jump%20Start&amp;OID=887" TargetMode="External"/><Relationship Id="rId5" Type="http://schemas.openxmlformats.org/officeDocument/2006/relationships/hyperlink" Target="http://aka.ms/goesp" TargetMode="External"/><Relationship Id="rId15" Type="http://schemas.openxmlformats.org/officeDocument/2006/relationships/hyperlink" Target="https://portal.sposites.com/sites/IPCollateral/Documents/Forms/Educate%20Document%20Set/docsethomepage.aspx?ID=5711&amp;FolderCTID=0x0120D52000B46DB15A997E194492AEAE6CFAC4565C02004ADA83DFAD01EA4E923F1566F5D37F80&amp;List=0df57f6c-6253-413d-84b7-ae5c03e51dc7&amp;RootFolder=/sites/IPCollateral/Documents/Workshop%20-%20Azure%20File%20Sharing%20and%20Archiving%20with%20StorSimple%20(Fast%20Start)&amp;RecSrc=/sites/IPCollateral/Documents/Workshop%20-%20Azure%20File%20Sharing%20and%20Archiving%20with%20StorSimple%20(Fast%20Start)" TargetMode="External"/><Relationship Id="rId10" Type="http://schemas.openxmlformats.org/officeDocument/2006/relationships/hyperlink" Target="https://portal.sposites.com/sites/IPCollateral/Documents/Forms/Prevent%20and%20Optimize%20Document%20Set/docsethomepage.aspx?ID=8360&amp;FolderCTID=0x0120D52000B46DB15A997E194492AEAE6CFAC4565C03002038B00824BCE04E9BD50119911DF797&amp;List=0df57f6c-6253-413d-84b7-ae5c03e51dc7&amp;RootFolder=/sites/IPCollateral/Documents/Fast%20Start%20-%20Business%20Analytics%20with%20Power%20BI&amp;RecSrc=/sites/IPCollateral/Documents/Fast%20Start%20-%20Business%20Analytics%20with%20Power%20BI" TargetMode="External"/><Relationship Id="rId19" Type="http://schemas.openxmlformats.org/officeDocument/2006/relationships/hyperlink" Target="https://microsoft.sharepoint.com/teams/ServicesPortfolio/SitePages/Offer.aspx?Title=Internet%20of%20Things%20Essentials&amp;OID=792" TargetMode="External"/><Relationship Id="rId4" Type="http://schemas.openxmlformats.org/officeDocument/2006/relationships/hyperlink" Target="https://microsoft.sharepoint.com/teams/CampusIPLibraries/MCS/Managed%20IP/Hybrid%20Cloud%20Jumpstart%20-%20Datasheet.pdf" TargetMode="External"/><Relationship Id="rId9" Type="http://schemas.openxmlformats.org/officeDocument/2006/relationships/hyperlink" Target="https://microsoft.sharepoint.com/teams/servicesportfolio/SitePages/Offer.aspx?Title=App%20Modernization%20Essentials&amp;OID=785" TargetMode="External"/><Relationship Id="rId14" Type="http://schemas.openxmlformats.org/officeDocument/2006/relationships/hyperlink" Target="https://portal.sposites.com/sites/IPCollateral/Documents/Forms/Prevent%20and%20Optimize%20Document%20Set/docsethomepage.aspx?ID=6306&amp;FolderCTID=0x0120D52000B46DB15A997E194492AEAE6CFAC4565C03002038B00824BCE04E9BD50119911DF797&amp;List=0df57f6c-6253-413d-84b7-ae5c03e51dc7&amp;RootFolder=/sites/IPCollateral/Documents/Fast%20Start%20-%20Azure%20for%20SQL%20on%20IaaS&amp;RecSrc=/sites/IPCollateral/Documents/Fast%20Start%20-%20Azure%20for%20SQL%20on%20IaaS" TargetMode="Externa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6.xml"/><Relationship Id="rId1" Type="http://schemas.openxmlformats.org/officeDocument/2006/relationships/tags" Target="../tags/tag63.xml"/><Relationship Id="rId6" Type="http://schemas.openxmlformats.org/officeDocument/2006/relationships/image" Target="../media/image160.png"/><Relationship Id="rId5" Type="http://schemas.openxmlformats.org/officeDocument/2006/relationships/image" Target="../media/image159.png"/><Relationship Id="rId4" Type="http://schemas.openxmlformats.org/officeDocument/2006/relationships/image" Target="../media/image158.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161.png"/><Relationship Id="rId7" Type="http://schemas.openxmlformats.org/officeDocument/2006/relationships/image" Target="../media/image165.gif"/><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164.jpeg"/><Relationship Id="rId5" Type="http://schemas.openxmlformats.org/officeDocument/2006/relationships/image" Target="../media/image163.jpeg"/><Relationship Id="rId4" Type="http://schemas.openxmlformats.org/officeDocument/2006/relationships/image" Target="../media/image162.jpeg"/></Relationships>
</file>

<file path=ppt/slides/_rels/slide44.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26.xml"/><Relationship Id="rId1" Type="http://schemas.openxmlformats.org/officeDocument/2006/relationships/slideLayout" Target="../slideLayouts/slideLayout4.xml"/><Relationship Id="rId5" Type="http://schemas.openxmlformats.org/officeDocument/2006/relationships/image" Target="../media/image169.png"/><Relationship Id="rId4" Type="http://schemas.openxmlformats.org/officeDocument/2006/relationships/image" Target="../media/image168.png"/></Relationships>
</file>

<file path=ppt/slides/_rels/slide46.xml.rels><?xml version="1.0" encoding="UTF-8" standalone="yes"?>
<Relationships xmlns="http://schemas.openxmlformats.org/package/2006/relationships"><Relationship Id="rId3" Type="http://schemas.openxmlformats.org/officeDocument/2006/relationships/image" Target="../media/image170.png"/><Relationship Id="rId7" Type="http://schemas.openxmlformats.org/officeDocument/2006/relationships/image" Target="../media/image172.png"/><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image" Target="../media/image171.png"/><Relationship Id="rId5" Type="http://schemas.openxmlformats.org/officeDocument/2006/relationships/image" Target="../media/image169.png"/><Relationship Id="rId4" Type="http://schemas.openxmlformats.org/officeDocument/2006/relationships/image" Target="../media/image167.png"/></Relationships>
</file>

<file path=ppt/slides/_rels/slide47.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image" Target="../media/image173.png"/><Relationship Id="rId1" Type="http://schemas.openxmlformats.org/officeDocument/2006/relationships/slideLayout" Target="../slideLayouts/slideLayout20.xml"/><Relationship Id="rId4" Type="http://schemas.openxmlformats.org/officeDocument/2006/relationships/image" Target="../media/image175.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8" Type="http://schemas.openxmlformats.org/officeDocument/2006/relationships/image" Target="../media/image178.png"/><Relationship Id="rId13" Type="http://schemas.openxmlformats.org/officeDocument/2006/relationships/image" Target="../media/image183.svg"/><Relationship Id="rId18" Type="http://schemas.openxmlformats.org/officeDocument/2006/relationships/image" Target="../media/image188.png"/><Relationship Id="rId26" Type="http://schemas.openxmlformats.org/officeDocument/2006/relationships/hyperlink" Target="http://aka.ms/AppCatalog" TargetMode="External"/><Relationship Id="rId3" Type="http://schemas.openxmlformats.org/officeDocument/2006/relationships/hyperlink" Target="http://aka.ms/ISVPlaybook" TargetMode="External"/><Relationship Id="rId21" Type="http://schemas.openxmlformats.org/officeDocument/2006/relationships/image" Target="../media/image191.svg"/><Relationship Id="rId7" Type="http://schemas.openxmlformats.org/officeDocument/2006/relationships/image" Target="../media/image177.svg"/><Relationship Id="rId12" Type="http://schemas.openxmlformats.org/officeDocument/2006/relationships/image" Target="../media/image182.png"/><Relationship Id="rId17" Type="http://schemas.openxmlformats.org/officeDocument/2006/relationships/image" Target="../media/image187.svg"/><Relationship Id="rId25" Type="http://schemas.openxmlformats.org/officeDocument/2006/relationships/hyperlink" Target="http://aka.ms/isv-cosell-dashboard" TargetMode="External"/><Relationship Id="rId2" Type="http://schemas.openxmlformats.org/officeDocument/2006/relationships/notesSlide" Target="../notesSlides/notesSlide28.xml"/><Relationship Id="rId16" Type="http://schemas.openxmlformats.org/officeDocument/2006/relationships/image" Target="../media/image186.png"/><Relationship Id="rId20" Type="http://schemas.openxmlformats.org/officeDocument/2006/relationships/image" Target="../media/image190.png"/><Relationship Id="rId1" Type="http://schemas.openxmlformats.org/officeDocument/2006/relationships/slideLayout" Target="../slideLayouts/slideLayout20.xml"/><Relationship Id="rId6" Type="http://schemas.openxmlformats.org/officeDocument/2006/relationships/image" Target="../media/image176.png"/><Relationship Id="rId11" Type="http://schemas.openxmlformats.org/officeDocument/2006/relationships/image" Target="../media/image181.svg"/><Relationship Id="rId24" Type="http://schemas.openxmlformats.org/officeDocument/2006/relationships/hyperlink" Target="https://microsoft.sharepoint.com/teams/FY17_ISV_WW_Field_Sharepoint/_layouts/15/WopiFrame.aspx?sourcedoc=%7bFA54A010-9EEC-4E6B-9C9D-C191CAC333D7%7d&amp;file=FY17%20ISV%20Co-Sell%20winwire%20template.docx&amp;action=default" TargetMode="External"/><Relationship Id="rId5" Type="http://schemas.openxmlformats.org/officeDocument/2006/relationships/hyperlink" Target="http://aka.ms/YammerISV" TargetMode="External"/><Relationship Id="rId15" Type="http://schemas.openxmlformats.org/officeDocument/2006/relationships/image" Target="../media/image185.svg"/><Relationship Id="rId23" Type="http://schemas.openxmlformats.org/officeDocument/2006/relationships/image" Target="../media/image193.svg"/><Relationship Id="rId10" Type="http://schemas.openxmlformats.org/officeDocument/2006/relationships/image" Target="../media/image180.png"/><Relationship Id="rId19" Type="http://schemas.openxmlformats.org/officeDocument/2006/relationships/image" Target="../media/image189.svg"/><Relationship Id="rId4" Type="http://schemas.openxmlformats.org/officeDocument/2006/relationships/hyperlink" Target="mailto:cosell@microsoft.com" TargetMode="External"/><Relationship Id="rId9" Type="http://schemas.openxmlformats.org/officeDocument/2006/relationships/image" Target="../media/image179.svg"/><Relationship Id="rId14" Type="http://schemas.openxmlformats.org/officeDocument/2006/relationships/image" Target="../media/image184.png"/><Relationship Id="rId22" Type="http://schemas.openxmlformats.org/officeDocument/2006/relationships/image" Target="../media/image192.png"/><Relationship Id="rId27" Type="http://schemas.openxmlformats.org/officeDocument/2006/relationships/hyperlink" Target="https://microsoft.sharepoint.com/teams/FY17_ISV_WW_Field_Sharepoint/_layouts/OneNote.aspx?id=/teams/FY17_ISV_WW_Field_Sharepoint/Documents/FY17%20ISV%20Co-Sell%20Playbook&amp;wd=target(Co-Selling.one|6888A163-032B-4E07-AA52-D5A97A51299D/Opportunity%20Sharing|DCA070D4-2DC5-4F94-B8C4-4FFE267580AE/)" TargetMode="Externa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7.xml"/></Relationships>
</file>

<file path=ppt/slides/_rels/slide53.xml.rels><?xml version="1.0" encoding="UTF-8" standalone="yes"?>
<Relationships xmlns="http://schemas.openxmlformats.org/package/2006/relationships"><Relationship Id="rId3" Type="http://schemas.openxmlformats.org/officeDocument/2006/relationships/image" Target="cid:image002.png@01D26BEF.BEFCA5B0" TargetMode="External"/><Relationship Id="rId2" Type="http://schemas.openxmlformats.org/officeDocument/2006/relationships/image" Target="../media/image194.png"/><Relationship Id="rId1" Type="http://schemas.openxmlformats.org/officeDocument/2006/relationships/slideLayout" Target="../slideLayouts/slideLayout2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8" Type="http://schemas.openxmlformats.org/officeDocument/2006/relationships/hyperlink" Target="https://www.linkedin.com/in/briancharrison" TargetMode="External"/><Relationship Id="rId3" Type="http://schemas.openxmlformats.org/officeDocument/2006/relationships/image" Target="../media/image195.png"/><Relationship Id="rId7" Type="http://schemas.openxmlformats.org/officeDocument/2006/relationships/hyperlink" Target="https://www.opsgility.com/" TargetMode="External"/><Relationship Id="rId2" Type="http://schemas.openxmlformats.org/officeDocument/2006/relationships/hyperlink" Target="http://www.meetup.com/DCAzureGov/" TargetMode="External"/><Relationship Id="rId1" Type="http://schemas.openxmlformats.org/officeDocument/2006/relationships/slideLayout" Target="../slideLayouts/slideLayout197.xml"/><Relationship Id="rId6" Type="http://schemas.openxmlformats.org/officeDocument/2006/relationships/hyperlink" Target="https://www.opsgility.com/Instructor/deltadan" TargetMode="External"/><Relationship Id="rId11" Type="http://schemas.openxmlformats.org/officeDocument/2006/relationships/hyperlink" Target="http://www.appliedis.com/" TargetMode="External"/><Relationship Id="rId5" Type="http://schemas.openxmlformats.org/officeDocument/2006/relationships/hyperlink" Target="http://www.accelerasolutions.com/" TargetMode="External"/><Relationship Id="rId10" Type="http://schemas.openxmlformats.org/officeDocument/2006/relationships/hyperlink" Target="https://www.linkedin.com/in/vishwas-lele-240206" TargetMode="External"/><Relationship Id="rId4" Type="http://schemas.openxmlformats.org/officeDocument/2006/relationships/hyperlink" Target="https://www.linkedin.com/in/simsik" TargetMode="External"/><Relationship Id="rId9" Type="http://schemas.openxmlformats.org/officeDocument/2006/relationships/hyperlink" Target="https://azure.microsoft.com/en-us/overview/clouds/government/" TargetMode="External"/></Relationships>
</file>

<file path=ppt/slides/_rels/slide57.xml.rels><?xml version="1.0" encoding="UTF-8" standalone="yes"?>
<Relationships xmlns="http://schemas.openxmlformats.org/package/2006/relationships"><Relationship Id="rId8" Type="http://schemas.openxmlformats.org/officeDocument/2006/relationships/image" Target="../media/image196.png"/><Relationship Id="rId3" Type="http://schemas.openxmlformats.org/officeDocument/2006/relationships/video" Target="NULL" TargetMode="External"/><Relationship Id="rId7" Type="http://schemas.openxmlformats.org/officeDocument/2006/relationships/slideLayout" Target="../slideLayouts/slideLayout231.xml"/><Relationship Id="rId2" Type="http://schemas.openxmlformats.org/officeDocument/2006/relationships/tags" Target="../tags/tag64.xml"/><Relationship Id="rId1" Type="http://schemas.openxmlformats.org/officeDocument/2006/relationships/customXml" Target="../../customXml/item5.xml"/><Relationship Id="rId6" Type="http://schemas.microsoft.com/office/2007/relationships/media" Target="../media/media1.mp4"/><Relationship Id="rId5" Type="http://schemas.openxmlformats.org/officeDocument/2006/relationships/tags" Target="../tags/tag65.xml"/><Relationship Id="rId4" Type="http://schemas.openxmlformats.org/officeDocument/2006/relationships/customXml" Target="../../customXml/item4.xml"/></Relationships>
</file>

<file path=ppt/slides/_rels/slide58.xml.rels><?xml version="1.0" encoding="UTF-8" standalone="yes"?>
<Relationships xmlns="http://schemas.openxmlformats.org/package/2006/relationships"><Relationship Id="rId8" Type="http://schemas.openxmlformats.org/officeDocument/2006/relationships/image" Target="../media/image197.jpeg"/><Relationship Id="rId3" Type="http://schemas.openxmlformats.org/officeDocument/2006/relationships/video" Target="NULL" TargetMode="External"/><Relationship Id="rId7" Type="http://schemas.openxmlformats.org/officeDocument/2006/relationships/slideLayout" Target="../slideLayouts/slideLayout240.xml"/><Relationship Id="rId2" Type="http://schemas.openxmlformats.org/officeDocument/2006/relationships/tags" Target="../tags/tag66.xml"/><Relationship Id="rId1" Type="http://schemas.openxmlformats.org/officeDocument/2006/relationships/customXml" Target="../../customXml/item7.xml"/><Relationship Id="rId6" Type="http://schemas.microsoft.com/office/2007/relationships/media" Target="../media/media1.mp4"/><Relationship Id="rId5" Type="http://schemas.openxmlformats.org/officeDocument/2006/relationships/tags" Target="../tags/tag67.xml"/><Relationship Id="rId4" Type="http://schemas.openxmlformats.org/officeDocument/2006/relationships/customXml" Target="../../customXml/item6.xml"/><Relationship Id="rId9" Type="http://schemas.openxmlformats.org/officeDocument/2006/relationships/image" Target="../media/image196.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0.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image" Target="../media/image200.png"/><Relationship Id="rId3" Type="http://schemas.openxmlformats.org/officeDocument/2006/relationships/video" Target="NULL" TargetMode="External"/><Relationship Id="rId7" Type="http://schemas.openxmlformats.org/officeDocument/2006/relationships/customXml" Target="../../customXml/item9.xml"/><Relationship Id="rId12" Type="http://schemas.openxmlformats.org/officeDocument/2006/relationships/image" Target="../media/image196.png"/><Relationship Id="rId2" Type="http://schemas.openxmlformats.org/officeDocument/2006/relationships/tags" Target="../tags/tag68.xml"/><Relationship Id="rId1" Type="http://schemas.openxmlformats.org/officeDocument/2006/relationships/customXml" Target="../../customXml/item10.xml"/><Relationship Id="rId6" Type="http://schemas.microsoft.com/office/2007/relationships/media" Target="../media/media1.mp4"/><Relationship Id="rId11" Type="http://schemas.openxmlformats.org/officeDocument/2006/relationships/image" Target="../media/image199.jpeg"/><Relationship Id="rId5" Type="http://schemas.openxmlformats.org/officeDocument/2006/relationships/tags" Target="../tags/tag69.xml"/><Relationship Id="rId10" Type="http://schemas.openxmlformats.org/officeDocument/2006/relationships/image" Target="../media/image198.png"/><Relationship Id="rId4" Type="http://schemas.openxmlformats.org/officeDocument/2006/relationships/customXml" Target="../../customXml/item8.xml"/><Relationship Id="rId9" Type="http://schemas.openxmlformats.org/officeDocument/2006/relationships/slideLayout" Target="../slideLayouts/slideLayout237.xml"/></Relationships>
</file>

<file path=ppt/slides/_rels/slide61.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image" Target="../media/image201.png"/><Relationship Id="rId1" Type="http://schemas.openxmlformats.org/officeDocument/2006/relationships/slideLayout" Target="../slideLayouts/slideLayout23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65.xml.rels><?xml version="1.0" encoding="UTF-8" standalone="yes"?>
<Relationships xmlns="http://schemas.openxmlformats.org/package/2006/relationships"><Relationship Id="rId8" Type="http://schemas.openxmlformats.org/officeDocument/2006/relationships/image" Target="../media/image196.png"/><Relationship Id="rId3" Type="http://schemas.openxmlformats.org/officeDocument/2006/relationships/video" Target="NULL" TargetMode="External"/><Relationship Id="rId7" Type="http://schemas.openxmlformats.org/officeDocument/2006/relationships/slideLayout" Target="../slideLayouts/slideLayout235.xml"/><Relationship Id="rId2" Type="http://schemas.openxmlformats.org/officeDocument/2006/relationships/tags" Target="../tags/tag71.xml"/><Relationship Id="rId1" Type="http://schemas.openxmlformats.org/officeDocument/2006/relationships/customXml" Target="../../customXml/item12.xml"/><Relationship Id="rId6" Type="http://schemas.microsoft.com/office/2007/relationships/media" Target="../media/media1.mp4"/><Relationship Id="rId5" Type="http://schemas.openxmlformats.org/officeDocument/2006/relationships/tags" Target="../tags/tag72.xml"/><Relationship Id="rId4" Type="http://schemas.openxmlformats.org/officeDocument/2006/relationships/customXml" Target="../../customXml/item1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8.xml"/></Relationships>
</file>

<file path=ppt/slides/_rels/slide72.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notesSlide" Target="../notesSlides/notesSlide31.xml"/><Relationship Id="rId1" Type="http://schemas.openxmlformats.org/officeDocument/2006/relationships/slideLayout" Target="../slideLayouts/slideLayout29.xml"/><Relationship Id="rId4" Type="http://schemas.openxmlformats.org/officeDocument/2006/relationships/image" Target="../media/image13.png"/></Relationships>
</file>

<file path=ppt/slides/_rels/slide73.xml.rels><?xml version="1.0" encoding="UTF-8" standalone="yes"?>
<Relationships xmlns="http://schemas.openxmlformats.org/package/2006/relationships"><Relationship Id="rId8" Type="http://schemas.openxmlformats.org/officeDocument/2006/relationships/image" Target="../media/image209.png"/><Relationship Id="rId3" Type="http://schemas.openxmlformats.org/officeDocument/2006/relationships/image" Target="../media/image204.jpeg"/><Relationship Id="rId7" Type="http://schemas.openxmlformats.org/officeDocument/2006/relationships/image" Target="../media/image208.png"/><Relationship Id="rId2" Type="http://schemas.openxmlformats.org/officeDocument/2006/relationships/notesSlide" Target="../notesSlides/notesSlide32.xml"/><Relationship Id="rId1" Type="http://schemas.openxmlformats.org/officeDocument/2006/relationships/slideLayout" Target="../slideLayouts/slideLayout30.xml"/><Relationship Id="rId6" Type="http://schemas.openxmlformats.org/officeDocument/2006/relationships/image" Target="../media/image207.png"/><Relationship Id="rId11" Type="http://schemas.openxmlformats.org/officeDocument/2006/relationships/image" Target="../media/image212.png"/><Relationship Id="rId5" Type="http://schemas.openxmlformats.org/officeDocument/2006/relationships/image" Target="../media/image206.png"/><Relationship Id="rId10" Type="http://schemas.openxmlformats.org/officeDocument/2006/relationships/image" Target="../media/image211.png"/><Relationship Id="rId4" Type="http://schemas.openxmlformats.org/officeDocument/2006/relationships/image" Target="../media/image205.png"/><Relationship Id="rId9" Type="http://schemas.openxmlformats.org/officeDocument/2006/relationships/image" Target="../media/image210.png"/></Relationships>
</file>

<file path=ppt/slides/_rels/slide74.xml.rels><?xml version="1.0" encoding="UTF-8" standalone="yes"?>
<Relationships xmlns="http://schemas.openxmlformats.org/package/2006/relationships"><Relationship Id="rId8" Type="http://schemas.openxmlformats.org/officeDocument/2006/relationships/image" Target="../media/image218.png"/><Relationship Id="rId13" Type="http://schemas.openxmlformats.org/officeDocument/2006/relationships/image" Target="../media/image221.png"/><Relationship Id="rId3" Type="http://schemas.openxmlformats.org/officeDocument/2006/relationships/image" Target="../media/image213.png"/><Relationship Id="rId7" Type="http://schemas.openxmlformats.org/officeDocument/2006/relationships/image" Target="../media/image217.png"/><Relationship Id="rId12" Type="http://schemas.openxmlformats.org/officeDocument/2006/relationships/image" Target="../media/image220.jpeg"/><Relationship Id="rId2" Type="http://schemas.openxmlformats.org/officeDocument/2006/relationships/notesSlide" Target="../notesSlides/notesSlide33.xml"/><Relationship Id="rId1" Type="http://schemas.openxmlformats.org/officeDocument/2006/relationships/slideLayout" Target="../slideLayouts/slideLayout30.xml"/><Relationship Id="rId6" Type="http://schemas.openxmlformats.org/officeDocument/2006/relationships/image" Target="../media/image216.png"/><Relationship Id="rId11" Type="http://schemas.openxmlformats.org/officeDocument/2006/relationships/image" Target="../media/image210.png"/><Relationship Id="rId5" Type="http://schemas.openxmlformats.org/officeDocument/2006/relationships/image" Target="../media/image215.png"/><Relationship Id="rId15" Type="http://schemas.openxmlformats.org/officeDocument/2006/relationships/image" Target="../media/image212.png"/><Relationship Id="rId10" Type="http://schemas.openxmlformats.org/officeDocument/2006/relationships/image" Target="../media/image219.png"/><Relationship Id="rId4" Type="http://schemas.openxmlformats.org/officeDocument/2006/relationships/image" Target="../media/image214.png"/><Relationship Id="rId9" Type="http://schemas.openxmlformats.org/officeDocument/2006/relationships/image" Target="../media/image208.png"/><Relationship Id="rId14" Type="http://schemas.openxmlformats.org/officeDocument/2006/relationships/image" Target="../media/image222.png"/></Relationships>
</file>

<file path=ppt/slides/_rels/slide75.xml.rels><?xml version="1.0" encoding="UTF-8" standalone="yes"?>
<Relationships xmlns="http://schemas.openxmlformats.org/package/2006/relationships"><Relationship Id="rId8" Type="http://schemas.openxmlformats.org/officeDocument/2006/relationships/image" Target="../media/image227.png"/><Relationship Id="rId3" Type="http://schemas.openxmlformats.org/officeDocument/2006/relationships/notesSlide" Target="../notesSlides/notesSlide34.xml"/><Relationship Id="rId7" Type="http://schemas.openxmlformats.org/officeDocument/2006/relationships/image" Target="../media/image226.png"/><Relationship Id="rId2" Type="http://schemas.openxmlformats.org/officeDocument/2006/relationships/slideLayout" Target="../slideLayouts/slideLayout31.xml"/><Relationship Id="rId1" Type="http://schemas.openxmlformats.org/officeDocument/2006/relationships/tags" Target="../tags/tag73.xml"/><Relationship Id="rId6" Type="http://schemas.openxmlformats.org/officeDocument/2006/relationships/image" Target="../media/image225.jpeg"/><Relationship Id="rId5" Type="http://schemas.openxmlformats.org/officeDocument/2006/relationships/image" Target="../media/image224.jpeg"/><Relationship Id="rId4" Type="http://schemas.openxmlformats.org/officeDocument/2006/relationships/image" Target="../media/image223.jpeg"/><Relationship Id="rId9" Type="http://schemas.openxmlformats.org/officeDocument/2006/relationships/image" Target="../media/image228.png"/></Relationships>
</file>

<file path=ppt/slides/_rels/slide76.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35.xml"/><Relationship Id="rId1" Type="http://schemas.openxmlformats.org/officeDocument/2006/relationships/slideLayout" Target="../slideLayouts/slideLayout29.xml"/><Relationship Id="rId5" Type="http://schemas.openxmlformats.org/officeDocument/2006/relationships/image" Target="../media/image231.png"/><Relationship Id="rId4" Type="http://schemas.openxmlformats.org/officeDocument/2006/relationships/image" Target="../media/image230.png"/></Relationships>
</file>

<file path=ppt/slides/_rels/slide77.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36.xml"/><Relationship Id="rId1" Type="http://schemas.openxmlformats.org/officeDocument/2006/relationships/slideLayout" Target="../slideLayouts/slideLayout31.xml"/><Relationship Id="rId6" Type="http://schemas.openxmlformats.org/officeDocument/2006/relationships/image" Target="../media/image235.png"/><Relationship Id="rId5" Type="http://schemas.openxmlformats.org/officeDocument/2006/relationships/image" Target="../media/image234.png"/><Relationship Id="rId4" Type="http://schemas.openxmlformats.org/officeDocument/2006/relationships/image" Target="../media/image233.png"/></Relationships>
</file>

<file path=ppt/slides/_rels/slide78.xml.rels><?xml version="1.0" encoding="UTF-8" standalone="yes"?>
<Relationships xmlns="http://schemas.openxmlformats.org/package/2006/relationships"><Relationship Id="rId3" Type="http://schemas.openxmlformats.org/officeDocument/2006/relationships/image" Target="../media/image236.jpeg"/><Relationship Id="rId2" Type="http://schemas.openxmlformats.org/officeDocument/2006/relationships/notesSlide" Target="../notesSlides/notesSlide37.xml"/><Relationship Id="rId1" Type="http://schemas.openxmlformats.org/officeDocument/2006/relationships/slideLayout" Target="../slideLayouts/slideLayout29.xml"/><Relationship Id="rId6" Type="http://schemas.openxmlformats.org/officeDocument/2006/relationships/image" Target="../media/image234.png"/><Relationship Id="rId5" Type="http://schemas.openxmlformats.org/officeDocument/2006/relationships/image" Target="../media/image238.png"/><Relationship Id="rId4" Type="http://schemas.openxmlformats.org/officeDocument/2006/relationships/image" Target="../media/image237.gif"/></Relationships>
</file>

<file path=ppt/slides/_rels/slide79.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notesSlide" Target="../notesSlides/notesSlide38.xml"/><Relationship Id="rId1" Type="http://schemas.openxmlformats.org/officeDocument/2006/relationships/slideLayout" Target="../slideLayouts/slideLayout29.xml"/><Relationship Id="rId4" Type="http://schemas.openxmlformats.org/officeDocument/2006/relationships/image" Target="../media/image240.png"/></Relationships>
</file>

<file path=ppt/slides/_rels/slide8.xml.rels><?xml version="1.0" encoding="UTF-8" standalone="yes"?>
<Relationships xmlns="http://schemas.openxmlformats.org/package/2006/relationships"><Relationship Id="rId2" Type="http://schemas.openxmlformats.org/officeDocument/2006/relationships/hyperlink" Target="mailto:rhysz@Microsoft.com" TargetMode="External"/><Relationship Id="rId1" Type="http://schemas.openxmlformats.org/officeDocument/2006/relationships/slideLayout" Target="../slideLayouts/slideLayout39.xml"/></Relationships>
</file>

<file path=ppt/slides/_rels/slide80.xml.rels><?xml version="1.0" encoding="UTF-8" standalone="yes"?>
<Relationships xmlns="http://schemas.openxmlformats.org/package/2006/relationships"><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39.xml"/><Relationship Id="rId1" Type="http://schemas.openxmlformats.org/officeDocument/2006/relationships/slideLayout" Target="../slideLayouts/slideLayout30.xml"/><Relationship Id="rId6" Type="http://schemas.openxmlformats.org/officeDocument/2006/relationships/image" Target="../media/image244.png"/><Relationship Id="rId5" Type="http://schemas.openxmlformats.org/officeDocument/2006/relationships/image" Target="../media/image243.png"/><Relationship Id="rId4" Type="http://schemas.openxmlformats.org/officeDocument/2006/relationships/image" Target="../media/image242.pn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51.xml"/></Relationships>
</file>

<file path=ppt/slides/_rels/slide83.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42.xml"/><Relationship Id="rId1" Type="http://schemas.openxmlformats.org/officeDocument/2006/relationships/slideLayout" Target="../slideLayouts/slideLayout254.xml"/><Relationship Id="rId4" Type="http://schemas.openxmlformats.org/officeDocument/2006/relationships/image" Target="../media/image247.png"/></Relationships>
</file>

<file path=ppt/slides/_rels/slide84.xml.rels><?xml version="1.0" encoding="UTF-8" standalone="yes"?>
<Relationships xmlns="http://schemas.openxmlformats.org/package/2006/relationships"><Relationship Id="rId3" Type="http://schemas.openxmlformats.org/officeDocument/2006/relationships/image" Target="../media/image248.png"/><Relationship Id="rId7" Type="http://schemas.openxmlformats.org/officeDocument/2006/relationships/image" Target="../media/image252.png"/><Relationship Id="rId2" Type="http://schemas.openxmlformats.org/officeDocument/2006/relationships/notesSlide" Target="../notesSlides/notesSlide43.xml"/><Relationship Id="rId1" Type="http://schemas.openxmlformats.org/officeDocument/2006/relationships/slideLayout" Target="../slideLayouts/slideLayout258.xml"/><Relationship Id="rId6" Type="http://schemas.openxmlformats.org/officeDocument/2006/relationships/image" Target="../media/image251.png"/><Relationship Id="rId5" Type="http://schemas.openxmlformats.org/officeDocument/2006/relationships/image" Target="../media/image250.png"/><Relationship Id="rId4" Type="http://schemas.openxmlformats.org/officeDocument/2006/relationships/image" Target="../media/image249.jpeg"/></Relationships>
</file>

<file path=ppt/slides/_rels/slide85.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44.xml"/><Relationship Id="rId1" Type="http://schemas.openxmlformats.org/officeDocument/2006/relationships/slideLayout" Target="../slideLayouts/slideLayout302.xml"/><Relationship Id="rId6" Type="http://schemas.openxmlformats.org/officeDocument/2006/relationships/image" Target="../media/image256.png"/><Relationship Id="rId5" Type="http://schemas.openxmlformats.org/officeDocument/2006/relationships/image" Target="../media/image255.png"/><Relationship Id="rId4" Type="http://schemas.openxmlformats.org/officeDocument/2006/relationships/image" Target="../media/image254.png"/></Relationships>
</file>

<file path=ppt/slides/_rels/slide86.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45.xml"/><Relationship Id="rId1" Type="http://schemas.openxmlformats.org/officeDocument/2006/relationships/slideLayout" Target="../slideLayouts/slideLayout318.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18.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18.xml"/></Relationships>
</file>

<file path=ppt/slides/_rels/slide89.xml.rels><?xml version="1.0" encoding="UTF-8" standalone="yes"?>
<Relationships xmlns="http://schemas.openxmlformats.org/package/2006/relationships"><Relationship Id="rId3" Type="http://schemas.openxmlformats.org/officeDocument/2006/relationships/hyperlink" Target="https://www.youtube.com/watch?v=GcL9UtXU5zE" TargetMode="External"/><Relationship Id="rId2" Type="http://schemas.openxmlformats.org/officeDocument/2006/relationships/notesSlide" Target="../notesSlides/notesSlide48.xml"/><Relationship Id="rId1" Type="http://schemas.openxmlformats.org/officeDocument/2006/relationships/slideLayout" Target="../slideLayouts/slideLayout254.xml"/><Relationship Id="rId6" Type="http://schemas.openxmlformats.org/officeDocument/2006/relationships/hyperlink" Target="mailto:broselli@redhat.com" TargetMode="External"/><Relationship Id="rId5" Type="http://schemas.openxmlformats.org/officeDocument/2006/relationships/hyperlink" Target="https://www.redhat.com/en/microsoft" TargetMode="External"/><Relationship Id="rId4" Type="http://schemas.openxmlformats.org/officeDocument/2006/relationships/hyperlink" Target="https://dgshow.org/2017/01/133-walking-on-a-cloud/"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42.xml"/><Relationship Id="rId4" Type="http://schemas.openxmlformats.org/officeDocument/2006/relationships/image" Target="../media/image95.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51.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8" Type="http://schemas.openxmlformats.org/officeDocument/2006/relationships/image" Target="../media/image263.jpeg"/><Relationship Id="rId3" Type="http://schemas.openxmlformats.org/officeDocument/2006/relationships/image" Target="../media/image258.jpeg"/><Relationship Id="rId7" Type="http://schemas.openxmlformats.org/officeDocument/2006/relationships/image" Target="../media/image262.png"/><Relationship Id="rId2" Type="http://schemas.openxmlformats.org/officeDocument/2006/relationships/notesSlide" Target="../notesSlides/notesSlide51.xml"/><Relationship Id="rId1" Type="http://schemas.openxmlformats.org/officeDocument/2006/relationships/slideLayout" Target="../slideLayouts/slideLayout34.xml"/><Relationship Id="rId6" Type="http://schemas.openxmlformats.org/officeDocument/2006/relationships/image" Target="../media/image261.png"/><Relationship Id="rId5" Type="http://schemas.openxmlformats.org/officeDocument/2006/relationships/image" Target="../media/image260.jpeg"/><Relationship Id="rId4" Type="http://schemas.openxmlformats.org/officeDocument/2006/relationships/image" Target="../media/image259.jpeg"/><Relationship Id="rId9" Type="http://schemas.openxmlformats.org/officeDocument/2006/relationships/image" Target="../media/image264.png"/></Relationships>
</file>

<file path=ppt/slides/_rels/slide94.xml.rels><?xml version="1.0" encoding="UTF-8" standalone="yes"?>
<Relationships xmlns="http://schemas.openxmlformats.org/package/2006/relationships"><Relationship Id="rId3" Type="http://schemas.openxmlformats.org/officeDocument/2006/relationships/image" Target="../media/image265.png"/><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3" Type="http://schemas.openxmlformats.org/officeDocument/2006/relationships/image" Target="../media/image267.png"/><Relationship Id="rId2" Type="http://schemas.openxmlformats.org/officeDocument/2006/relationships/image" Target="../media/image266.png"/><Relationship Id="rId1" Type="http://schemas.openxmlformats.org/officeDocument/2006/relationships/slideLayout" Target="../slideLayouts/slideLayout7.xml"/><Relationship Id="rId4" Type="http://schemas.openxmlformats.org/officeDocument/2006/relationships/image" Target="../media/image268.png"/></Relationships>
</file>

<file path=ppt/slides/_rels/slide96.xml.rels><?xml version="1.0" encoding="UTF-8" standalone="yes"?>
<Relationships xmlns="http://schemas.openxmlformats.org/package/2006/relationships"><Relationship Id="rId3" Type="http://schemas.openxmlformats.org/officeDocument/2006/relationships/image" Target="../media/image269.jpeg"/><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3" Type="http://schemas.openxmlformats.org/officeDocument/2006/relationships/image" Target="../media/image271.png"/><Relationship Id="rId2" Type="http://schemas.openxmlformats.org/officeDocument/2006/relationships/image" Target="../media/image270.png"/><Relationship Id="rId1" Type="http://schemas.openxmlformats.org/officeDocument/2006/relationships/slideLayout" Target="../slideLayouts/slideLayout7.xml"/><Relationship Id="rId4" Type="http://schemas.openxmlformats.org/officeDocument/2006/relationships/image" Target="../media/image272.png"/></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5.xml"/></Relationships>
</file>

<file path=ppt/slides/_rels/slide99.xml.rels><?xml version="1.0" encoding="UTF-8" standalone="yes"?>
<Relationships xmlns="http://schemas.openxmlformats.org/package/2006/relationships"><Relationship Id="rId3" Type="http://schemas.openxmlformats.org/officeDocument/2006/relationships/image" Target="../media/image273.png"/><Relationship Id="rId2" Type="http://schemas.openxmlformats.org/officeDocument/2006/relationships/notesSlide" Target="../notesSlides/notesSlide55.xml"/><Relationship Id="rId1" Type="http://schemas.openxmlformats.org/officeDocument/2006/relationships/slideLayout" Target="../slideLayouts/slideLayout3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4106860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Key Plays</a:t>
            </a:r>
          </a:p>
        </p:txBody>
      </p:sp>
      <p:sp>
        <p:nvSpPr>
          <p:cNvPr id="5" name="Text Placeholder 4"/>
          <p:cNvSpPr>
            <a:spLocks noGrp="1"/>
          </p:cNvSpPr>
          <p:nvPr>
            <p:ph type="body" sz="quarter" idx="14"/>
          </p:nvPr>
        </p:nvSpPr>
        <p:spPr>
          <a:xfrm>
            <a:off x="273049" y="3828783"/>
            <a:ext cx="7316787" cy="1381229"/>
          </a:xfrm>
        </p:spPr>
        <p:txBody>
          <a:bodyPr/>
          <a:lstStyle/>
          <a:p>
            <a:r>
              <a:rPr lang="en-US" dirty="0"/>
              <a:t>Misty Jordan</a:t>
            </a:r>
          </a:p>
          <a:p>
            <a:r>
              <a:rPr lang="en-US" dirty="0"/>
              <a:t>Azure Sales Manager, Microsoft Federal</a:t>
            </a:r>
          </a:p>
        </p:txBody>
      </p:sp>
    </p:spTree>
    <p:extLst>
      <p:ext uri="{BB962C8B-B14F-4D97-AF65-F5344CB8AC3E}">
        <p14:creationId xmlns:p14="http://schemas.microsoft.com/office/powerpoint/2010/main" val="2342507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236193" y="-7439"/>
            <a:ext cx="12671787" cy="7001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Title 33"/>
          <p:cNvSpPr>
            <a:spLocks noGrp="1"/>
          </p:cNvSpPr>
          <p:nvPr>
            <p:ph type="title"/>
          </p:nvPr>
        </p:nvSpPr>
        <p:spPr/>
        <p:txBody>
          <a:bodyPr/>
          <a:lstStyle/>
          <a:p>
            <a:r>
              <a:rPr lang="en-US" dirty="0">
                <a:solidFill>
                  <a:schemeClr val="bg1"/>
                </a:solidFill>
              </a:rPr>
              <a:t>AvePoint’s Story</a:t>
            </a:r>
            <a:endParaRPr lang="en-US" sz="3199" dirty="0">
              <a:solidFill>
                <a:schemeClr val="bg1"/>
              </a:solidFill>
            </a:endParaRPr>
          </a:p>
        </p:txBody>
      </p:sp>
      <p:sp>
        <p:nvSpPr>
          <p:cNvPr id="38" name="Text Placeholder 9"/>
          <p:cNvSpPr txBox="1">
            <a:spLocks/>
          </p:cNvSpPr>
          <p:nvPr/>
        </p:nvSpPr>
        <p:spPr>
          <a:xfrm>
            <a:off x="4206843" y="1211586"/>
            <a:ext cx="3839935" cy="749534"/>
          </a:xfrm>
          <a:prstGeom prst="rect">
            <a:avLst/>
          </a:prstGeom>
          <a:noFill/>
        </p:spPr>
        <p:txBody>
          <a:bodyPr vert="horz" wrap="square" lIns="146283" tIns="91427" rIns="146283" bIns="91427"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1250">
                      <a:schemeClr val="tx1"/>
                    </a:gs>
                    <a:gs pos="100000">
                      <a:schemeClr val="tx1"/>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51304" rtl="0" eaLnBrk="1" fontAlgn="auto" latinLnBrk="0" hangingPunct="1">
              <a:lnSpc>
                <a:spcPct val="90000"/>
              </a:lnSpc>
              <a:spcBef>
                <a:spcPct val="20000"/>
              </a:spcBef>
              <a:spcAft>
                <a:spcPts val="0"/>
              </a:spcAft>
              <a:buClr>
                <a:srgbClr val="595959"/>
              </a:buClr>
              <a:buSzPct val="90000"/>
              <a:buFont typeface="Wingdings" panose="05000000000000000000" pitchFamily="2" charset="2"/>
              <a:buNone/>
              <a:tabLst/>
              <a:defRPr/>
            </a:pPr>
            <a:r>
              <a:rPr kumimoji="0" lang="en-US" sz="3999" b="0" i="0" u="none" strike="noStrike" kern="1200" cap="none" spc="0" normalizeH="0" baseline="0" noProof="0" dirty="0">
                <a:ln>
                  <a:noFill/>
                </a:ln>
                <a:solidFill>
                  <a:srgbClr val="FFFFFF"/>
                </a:solidFill>
                <a:effectLst/>
                <a:uLnTx/>
                <a:uFillTx/>
                <a:latin typeface="Segoe UI"/>
                <a:ea typeface="+mn-ea"/>
                <a:cs typeface="+mn-cs"/>
              </a:rPr>
              <a:t>Our Business</a:t>
            </a:r>
          </a:p>
        </p:txBody>
      </p:sp>
      <p:sp>
        <p:nvSpPr>
          <p:cNvPr id="39" name="Text Placeholder 9"/>
          <p:cNvSpPr txBox="1">
            <a:spLocks/>
          </p:cNvSpPr>
          <p:nvPr/>
        </p:nvSpPr>
        <p:spPr>
          <a:xfrm>
            <a:off x="8092491" y="1211587"/>
            <a:ext cx="3839935" cy="1716227"/>
          </a:xfrm>
          <a:prstGeom prst="rect">
            <a:avLst/>
          </a:prstGeom>
          <a:noFill/>
        </p:spPr>
        <p:txBody>
          <a:bodyPr vert="horz" wrap="square" lIns="146283" tIns="91427" rIns="146283" bIns="91427"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1250">
                      <a:schemeClr val="tx1"/>
                    </a:gs>
                    <a:gs pos="100000">
                      <a:schemeClr val="tx1"/>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51304" rtl="0" eaLnBrk="1" fontAlgn="auto" latinLnBrk="0" hangingPunct="1">
              <a:lnSpc>
                <a:spcPct val="90000"/>
              </a:lnSpc>
              <a:spcBef>
                <a:spcPct val="20000"/>
              </a:spcBef>
              <a:spcAft>
                <a:spcPts val="0"/>
              </a:spcAft>
              <a:buClr>
                <a:srgbClr val="595959"/>
              </a:buClr>
              <a:buSzPct val="90000"/>
              <a:buFont typeface="Wingdings" panose="05000000000000000000" pitchFamily="2" charset="2"/>
              <a:buNone/>
              <a:tabLst/>
              <a:defRPr/>
            </a:pPr>
            <a:r>
              <a:rPr kumimoji="0" lang="en-US" sz="3999" b="0" i="0" u="none" strike="noStrike" kern="1200" cap="none" spc="0" normalizeH="0" baseline="0" noProof="0" dirty="0">
                <a:ln>
                  <a:noFill/>
                </a:ln>
                <a:solidFill>
                  <a:srgbClr val="FFFFFF"/>
                </a:solidFill>
                <a:effectLst/>
                <a:uLnTx/>
                <a:uFillTx/>
                <a:latin typeface="Segoe UI"/>
                <a:ea typeface="+mn-ea"/>
                <a:cs typeface="+mn-cs"/>
              </a:rPr>
              <a:t>Our Growth</a:t>
            </a:r>
          </a:p>
          <a:p>
            <a:pPr marL="0" marR="0" lvl="0" indent="0" algn="l" defTabSz="951304" rtl="0" eaLnBrk="1" fontAlgn="auto" latinLnBrk="0" hangingPunct="1">
              <a:lnSpc>
                <a:spcPct val="90000"/>
              </a:lnSpc>
              <a:spcBef>
                <a:spcPct val="20000"/>
              </a:spcBef>
              <a:spcAft>
                <a:spcPts val="0"/>
              </a:spcAft>
              <a:buClr>
                <a:srgbClr val="595959"/>
              </a:buClr>
              <a:buSzPct val="90000"/>
              <a:buFont typeface="Wingdings" panose="05000000000000000000" pitchFamily="2" charset="2"/>
              <a:buNone/>
              <a:tabLst/>
              <a:defRPr/>
            </a:pPr>
            <a:endParaRPr kumimoji="0" lang="en-US" sz="3199"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51304" rtl="0" eaLnBrk="1" fontAlgn="auto" latinLnBrk="0" hangingPunct="1">
              <a:lnSpc>
                <a:spcPct val="90000"/>
              </a:lnSpc>
              <a:spcBef>
                <a:spcPct val="20000"/>
              </a:spcBef>
              <a:spcAft>
                <a:spcPts val="0"/>
              </a:spcAft>
              <a:buClr>
                <a:srgbClr val="595959"/>
              </a:buClr>
              <a:buSzPct val="90000"/>
              <a:buFont typeface="Wingdings" panose="05000000000000000000" pitchFamily="2" charset="2"/>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Text Placeholder 9"/>
          <p:cNvSpPr>
            <a:spLocks noGrp="1"/>
          </p:cNvSpPr>
          <p:nvPr>
            <p:ph type="body" sz="quarter" idx="11"/>
          </p:nvPr>
        </p:nvSpPr>
        <p:spPr>
          <a:xfrm>
            <a:off x="433155" y="1295638"/>
            <a:ext cx="3005231" cy="565027"/>
          </a:xfrm>
          <a:noFill/>
        </p:spPr>
        <p:txBody>
          <a:bodyPr/>
          <a:lstStyle/>
          <a:p>
            <a:r>
              <a:rPr lang="en-US" dirty="0">
                <a:solidFill>
                  <a:schemeClr val="bg1"/>
                </a:solidFill>
              </a:rPr>
              <a:t>Our History</a:t>
            </a:r>
          </a:p>
        </p:txBody>
      </p:sp>
      <p:grpSp>
        <p:nvGrpSpPr>
          <p:cNvPr id="48" name="Group 47"/>
          <p:cNvGrpSpPr/>
          <p:nvPr/>
        </p:nvGrpSpPr>
        <p:grpSpPr>
          <a:xfrm>
            <a:off x="5947274" y="2003540"/>
            <a:ext cx="1566181" cy="1479670"/>
            <a:chOff x="5947234" y="2003327"/>
            <a:chExt cx="1566403" cy="1479879"/>
          </a:xfrm>
        </p:grpSpPr>
        <p:sp>
          <p:nvSpPr>
            <p:cNvPr id="14" name="Rectangle 13"/>
            <p:cNvSpPr/>
            <p:nvPr/>
          </p:nvSpPr>
          <p:spPr bwMode="auto">
            <a:xfrm>
              <a:off x="5947234" y="2003327"/>
              <a:ext cx="1566403" cy="1479879"/>
            </a:xfrm>
            <a:prstGeom prst="rect">
              <a:avLst/>
            </a:prstGeom>
            <a:solidFill>
              <a:srgbClr val="BD1F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7" name="Group 106"/>
            <p:cNvGrpSpPr/>
            <p:nvPr/>
          </p:nvGrpSpPr>
          <p:grpSpPr>
            <a:xfrm>
              <a:off x="6344393" y="2165096"/>
              <a:ext cx="745159" cy="763840"/>
              <a:chOff x="6270901" y="2521850"/>
              <a:chExt cx="889000" cy="889000"/>
            </a:xfrm>
            <a:solidFill>
              <a:schemeClr val="bg1"/>
            </a:solidFill>
          </p:grpSpPr>
          <p:sp>
            <p:nvSpPr>
              <p:cNvPr id="108" name="Freeform 5"/>
              <p:cNvSpPr>
                <a:spLocks/>
              </p:cNvSpPr>
              <p:nvPr/>
            </p:nvSpPr>
            <p:spPr bwMode="auto">
              <a:xfrm>
                <a:off x="6293126" y="3026675"/>
                <a:ext cx="354013" cy="349250"/>
              </a:xfrm>
              <a:custGeom>
                <a:avLst/>
                <a:gdLst>
                  <a:gd name="T0" fmla="*/ 81 w 93"/>
                  <a:gd name="T1" fmla="*/ 0 h 92"/>
                  <a:gd name="T2" fmla="*/ 93 w 93"/>
                  <a:gd name="T3" fmla="*/ 12 h 92"/>
                  <a:gd name="T4" fmla="*/ 45 w 93"/>
                  <a:gd name="T5" fmla="*/ 61 h 92"/>
                  <a:gd name="T6" fmla="*/ 34 w 93"/>
                  <a:gd name="T7" fmla="*/ 78 h 92"/>
                  <a:gd name="T8" fmla="*/ 16 w 93"/>
                  <a:gd name="T9" fmla="*/ 92 h 92"/>
                  <a:gd name="T10" fmla="*/ 0 w 93"/>
                  <a:gd name="T11" fmla="*/ 76 h 92"/>
                  <a:gd name="T12" fmla="*/ 19 w 93"/>
                  <a:gd name="T13" fmla="*/ 55 h 92"/>
                  <a:gd name="T14" fmla="*/ 37 w 93"/>
                  <a:gd name="T15" fmla="*/ 44 h 92"/>
                  <a:gd name="T16" fmla="*/ 81 w 93"/>
                  <a:gd name="T1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2">
                    <a:moveTo>
                      <a:pt x="81" y="0"/>
                    </a:moveTo>
                    <a:cubicBezTo>
                      <a:pt x="93" y="12"/>
                      <a:pt x="93" y="12"/>
                      <a:pt x="93" y="12"/>
                    </a:cubicBezTo>
                    <a:cubicBezTo>
                      <a:pt x="93" y="12"/>
                      <a:pt x="48" y="56"/>
                      <a:pt x="45" y="61"/>
                    </a:cubicBezTo>
                    <a:cubicBezTo>
                      <a:pt x="42" y="67"/>
                      <a:pt x="37" y="75"/>
                      <a:pt x="34" y="78"/>
                    </a:cubicBezTo>
                    <a:cubicBezTo>
                      <a:pt x="31" y="81"/>
                      <a:pt x="16" y="92"/>
                      <a:pt x="16" y="92"/>
                    </a:cubicBezTo>
                    <a:cubicBezTo>
                      <a:pt x="0" y="76"/>
                      <a:pt x="0" y="76"/>
                      <a:pt x="0" y="76"/>
                    </a:cubicBezTo>
                    <a:cubicBezTo>
                      <a:pt x="0" y="76"/>
                      <a:pt x="15" y="58"/>
                      <a:pt x="19" y="55"/>
                    </a:cubicBezTo>
                    <a:cubicBezTo>
                      <a:pt x="24" y="53"/>
                      <a:pt x="33" y="48"/>
                      <a:pt x="37" y="44"/>
                    </a:cubicBezTo>
                    <a:cubicBezTo>
                      <a:pt x="42" y="39"/>
                      <a:pt x="81" y="0"/>
                      <a:pt x="81" y="0"/>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09" name="Freeform 6"/>
              <p:cNvSpPr>
                <a:spLocks noEditPoints="1"/>
              </p:cNvSpPr>
              <p:nvPr/>
            </p:nvSpPr>
            <p:spPr bwMode="auto">
              <a:xfrm>
                <a:off x="6731276" y="2540900"/>
                <a:ext cx="422275" cy="398463"/>
              </a:xfrm>
              <a:custGeom>
                <a:avLst/>
                <a:gdLst>
                  <a:gd name="T0" fmla="*/ 90 w 111"/>
                  <a:gd name="T1" fmla="*/ 6 h 105"/>
                  <a:gd name="T2" fmla="*/ 61 w 111"/>
                  <a:gd name="T3" fmla="*/ 9 h 105"/>
                  <a:gd name="T4" fmla="*/ 7 w 111"/>
                  <a:gd name="T5" fmla="*/ 62 h 105"/>
                  <a:gd name="T6" fmla="*/ 7 w 111"/>
                  <a:gd name="T7" fmla="*/ 77 h 105"/>
                  <a:gd name="T8" fmla="*/ 31 w 111"/>
                  <a:gd name="T9" fmla="*/ 101 h 105"/>
                  <a:gd name="T10" fmla="*/ 45 w 111"/>
                  <a:gd name="T11" fmla="*/ 101 h 105"/>
                  <a:gd name="T12" fmla="*/ 99 w 111"/>
                  <a:gd name="T13" fmla="*/ 46 h 105"/>
                  <a:gd name="T14" fmla="*/ 90 w 111"/>
                  <a:gd name="T15" fmla="*/ 6 h 105"/>
                  <a:gd name="T16" fmla="*/ 24 w 111"/>
                  <a:gd name="T17" fmla="*/ 73 h 105"/>
                  <a:gd name="T18" fmla="*/ 18 w 111"/>
                  <a:gd name="T19" fmla="*/ 73 h 105"/>
                  <a:gd name="T20" fmla="*/ 18 w 111"/>
                  <a:gd name="T21" fmla="*/ 66 h 105"/>
                  <a:gd name="T22" fmla="*/ 66 w 111"/>
                  <a:gd name="T23" fmla="*/ 19 h 105"/>
                  <a:gd name="T24" fmla="*/ 72 w 111"/>
                  <a:gd name="T25" fmla="*/ 19 h 105"/>
                  <a:gd name="T26" fmla="*/ 72 w 111"/>
                  <a:gd name="T27" fmla="*/ 25 h 105"/>
                  <a:gd name="T28" fmla="*/ 24 w 111"/>
                  <a:gd name="T29" fmla="*/ 73 h 105"/>
                  <a:gd name="T30" fmla="*/ 89 w 111"/>
                  <a:gd name="T31" fmla="*/ 42 h 105"/>
                  <a:gd name="T32" fmla="*/ 41 w 111"/>
                  <a:gd name="T33" fmla="*/ 90 h 105"/>
                  <a:gd name="T34" fmla="*/ 35 w 111"/>
                  <a:gd name="T35" fmla="*/ 90 h 105"/>
                  <a:gd name="T36" fmla="*/ 35 w 111"/>
                  <a:gd name="T37" fmla="*/ 83 h 105"/>
                  <a:gd name="T38" fmla="*/ 83 w 111"/>
                  <a:gd name="T39" fmla="*/ 36 h 105"/>
                  <a:gd name="T40" fmla="*/ 89 w 111"/>
                  <a:gd name="T41" fmla="*/ 36 h 105"/>
                  <a:gd name="T42" fmla="*/ 89 w 111"/>
                  <a:gd name="T43" fmla="*/ 4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105">
                    <a:moveTo>
                      <a:pt x="90" y="6"/>
                    </a:moveTo>
                    <a:cubicBezTo>
                      <a:pt x="78" y="0"/>
                      <a:pt x="64" y="6"/>
                      <a:pt x="61" y="9"/>
                    </a:cubicBezTo>
                    <a:cubicBezTo>
                      <a:pt x="57" y="12"/>
                      <a:pt x="7" y="62"/>
                      <a:pt x="7" y="62"/>
                    </a:cubicBezTo>
                    <a:cubicBezTo>
                      <a:pt x="0" y="70"/>
                      <a:pt x="7" y="77"/>
                      <a:pt x="7" y="77"/>
                    </a:cubicBezTo>
                    <a:cubicBezTo>
                      <a:pt x="7" y="77"/>
                      <a:pt x="26" y="96"/>
                      <a:pt x="31" y="101"/>
                    </a:cubicBezTo>
                    <a:cubicBezTo>
                      <a:pt x="36" y="105"/>
                      <a:pt x="45" y="101"/>
                      <a:pt x="45" y="101"/>
                    </a:cubicBezTo>
                    <a:cubicBezTo>
                      <a:pt x="45" y="101"/>
                      <a:pt x="87" y="61"/>
                      <a:pt x="99" y="46"/>
                    </a:cubicBezTo>
                    <a:cubicBezTo>
                      <a:pt x="111" y="32"/>
                      <a:pt x="103" y="13"/>
                      <a:pt x="90" y="6"/>
                    </a:cubicBezTo>
                    <a:close/>
                    <a:moveTo>
                      <a:pt x="24" y="73"/>
                    </a:moveTo>
                    <a:cubicBezTo>
                      <a:pt x="23" y="74"/>
                      <a:pt x="20" y="74"/>
                      <a:pt x="18" y="73"/>
                    </a:cubicBezTo>
                    <a:cubicBezTo>
                      <a:pt x="16" y="71"/>
                      <a:pt x="16" y="68"/>
                      <a:pt x="18" y="66"/>
                    </a:cubicBezTo>
                    <a:cubicBezTo>
                      <a:pt x="66" y="19"/>
                      <a:pt x="66" y="19"/>
                      <a:pt x="66" y="19"/>
                    </a:cubicBezTo>
                    <a:cubicBezTo>
                      <a:pt x="67" y="17"/>
                      <a:pt x="70" y="17"/>
                      <a:pt x="72" y="19"/>
                    </a:cubicBezTo>
                    <a:cubicBezTo>
                      <a:pt x="74" y="21"/>
                      <a:pt x="74" y="24"/>
                      <a:pt x="72" y="25"/>
                    </a:cubicBezTo>
                    <a:lnTo>
                      <a:pt x="24" y="73"/>
                    </a:lnTo>
                    <a:close/>
                    <a:moveTo>
                      <a:pt x="89" y="42"/>
                    </a:moveTo>
                    <a:cubicBezTo>
                      <a:pt x="41" y="90"/>
                      <a:pt x="41" y="90"/>
                      <a:pt x="41" y="90"/>
                    </a:cubicBezTo>
                    <a:cubicBezTo>
                      <a:pt x="40" y="91"/>
                      <a:pt x="37" y="91"/>
                      <a:pt x="35" y="90"/>
                    </a:cubicBezTo>
                    <a:cubicBezTo>
                      <a:pt x="33" y="88"/>
                      <a:pt x="33" y="85"/>
                      <a:pt x="35" y="83"/>
                    </a:cubicBezTo>
                    <a:cubicBezTo>
                      <a:pt x="83" y="36"/>
                      <a:pt x="83" y="36"/>
                      <a:pt x="83" y="36"/>
                    </a:cubicBezTo>
                    <a:cubicBezTo>
                      <a:pt x="84" y="34"/>
                      <a:pt x="87" y="34"/>
                      <a:pt x="89" y="36"/>
                    </a:cubicBezTo>
                    <a:cubicBezTo>
                      <a:pt x="91" y="38"/>
                      <a:pt x="91" y="41"/>
                      <a:pt x="89" y="42"/>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10" name="Freeform 7"/>
              <p:cNvSpPr>
                <a:spLocks noEditPoints="1"/>
              </p:cNvSpPr>
              <p:nvPr/>
            </p:nvSpPr>
            <p:spPr bwMode="auto">
              <a:xfrm>
                <a:off x="6510614" y="2761562"/>
                <a:ext cx="409575" cy="412750"/>
              </a:xfrm>
              <a:custGeom>
                <a:avLst/>
                <a:gdLst>
                  <a:gd name="T0" fmla="*/ 31 w 108"/>
                  <a:gd name="T1" fmla="*/ 0 h 109"/>
                  <a:gd name="T2" fmla="*/ 0 w 108"/>
                  <a:gd name="T3" fmla="*/ 31 h 109"/>
                  <a:gd name="T4" fmla="*/ 77 w 108"/>
                  <a:gd name="T5" fmla="*/ 109 h 109"/>
                  <a:gd name="T6" fmla="*/ 108 w 108"/>
                  <a:gd name="T7" fmla="*/ 77 h 109"/>
                  <a:gd name="T8" fmla="*/ 31 w 108"/>
                  <a:gd name="T9" fmla="*/ 0 h 109"/>
                  <a:gd name="T10" fmla="*/ 84 w 108"/>
                  <a:gd name="T11" fmla="*/ 77 h 109"/>
                  <a:gd name="T12" fmla="*/ 77 w 108"/>
                  <a:gd name="T13" fmla="*/ 84 h 109"/>
                  <a:gd name="T14" fmla="*/ 72 w 108"/>
                  <a:gd name="T15" fmla="*/ 84 h 109"/>
                  <a:gd name="T16" fmla="*/ 24 w 108"/>
                  <a:gd name="T17" fmla="*/ 36 h 109"/>
                  <a:gd name="T18" fmla="*/ 24 w 108"/>
                  <a:gd name="T19" fmla="*/ 31 h 109"/>
                  <a:gd name="T20" fmla="*/ 31 w 108"/>
                  <a:gd name="T21" fmla="*/ 24 h 109"/>
                  <a:gd name="T22" fmla="*/ 36 w 108"/>
                  <a:gd name="T23" fmla="*/ 25 h 109"/>
                  <a:gd name="T24" fmla="*/ 84 w 108"/>
                  <a:gd name="T25" fmla="*/ 73 h 109"/>
                  <a:gd name="T26" fmla="*/ 84 w 108"/>
                  <a:gd name="T27" fmla="*/ 7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09">
                    <a:moveTo>
                      <a:pt x="31" y="0"/>
                    </a:moveTo>
                    <a:cubicBezTo>
                      <a:pt x="31" y="0"/>
                      <a:pt x="25" y="23"/>
                      <a:pt x="0" y="31"/>
                    </a:cubicBezTo>
                    <a:cubicBezTo>
                      <a:pt x="77" y="109"/>
                      <a:pt x="77" y="109"/>
                      <a:pt x="77" y="109"/>
                    </a:cubicBezTo>
                    <a:cubicBezTo>
                      <a:pt x="77" y="109"/>
                      <a:pt x="79" y="88"/>
                      <a:pt x="108" y="77"/>
                    </a:cubicBezTo>
                    <a:cubicBezTo>
                      <a:pt x="90" y="59"/>
                      <a:pt x="31" y="0"/>
                      <a:pt x="31" y="0"/>
                    </a:cubicBezTo>
                    <a:close/>
                    <a:moveTo>
                      <a:pt x="84" y="77"/>
                    </a:moveTo>
                    <a:cubicBezTo>
                      <a:pt x="77" y="84"/>
                      <a:pt x="77" y="84"/>
                      <a:pt x="77" y="84"/>
                    </a:cubicBezTo>
                    <a:cubicBezTo>
                      <a:pt x="76" y="86"/>
                      <a:pt x="73" y="85"/>
                      <a:pt x="72" y="84"/>
                    </a:cubicBezTo>
                    <a:cubicBezTo>
                      <a:pt x="24" y="36"/>
                      <a:pt x="24" y="36"/>
                      <a:pt x="24" y="36"/>
                    </a:cubicBezTo>
                    <a:cubicBezTo>
                      <a:pt x="23" y="35"/>
                      <a:pt x="23" y="33"/>
                      <a:pt x="24" y="31"/>
                    </a:cubicBezTo>
                    <a:cubicBezTo>
                      <a:pt x="31" y="24"/>
                      <a:pt x="31" y="24"/>
                      <a:pt x="31" y="24"/>
                    </a:cubicBezTo>
                    <a:cubicBezTo>
                      <a:pt x="32" y="23"/>
                      <a:pt x="35" y="23"/>
                      <a:pt x="36" y="25"/>
                    </a:cubicBezTo>
                    <a:cubicBezTo>
                      <a:pt x="84" y="73"/>
                      <a:pt x="84" y="73"/>
                      <a:pt x="84" y="73"/>
                    </a:cubicBezTo>
                    <a:cubicBezTo>
                      <a:pt x="85" y="74"/>
                      <a:pt x="85" y="76"/>
                      <a:pt x="84" y="77"/>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11" name="Freeform 8"/>
              <p:cNvSpPr>
                <a:spLocks/>
              </p:cNvSpPr>
              <p:nvPr/>
            </p:nvSpPr>
            <p:spPr bwMode="auto">
              <a:xfrm>
                <a:off x="6813826" y="3056837"/>
                <a:ext cx="346075" cy="354013"/>
              </a:xfrm>
              <a:custGeom>
                <a:avLst/>
                <a:gdLst>
                  <a:gd name="T0" fmla="*/ 54 w 91"/>
                  <a:gd name="T1" fmla="*/ 80 h 93"/>
                  <a:gd name="T2" fmla="*/ 33 w 91"/>
                  <a:gd name="T3" fmla="*/ 56 h 93"/>
                  <a:gd name="T4" fmla="*/ 37 w 91"/>
                  <a:gd name="T5" fmla="*/ 39 h 93"/>
                  <a:gd name="T6" fmla="*/ 54 w 91"/>
                  <a:gd name="T7" fmla="*/ 35 h 93"/>
                  <a:gd name="T8" fmla="*/ 78 w 91"/>
                  <a:gd name="T9" fmla="*/ 59 h 93"/>
                  <a:gd name="T10" fmla="*/ 78 w 91"/>
                  <a:gd name="T11" fmla="*/ 26 h 93"/>
                  <a:gd name="T12" fmla="*/ 22 w 91"/>
                  <a:gd name="T13" fmla="*/ 13 h 93"/>
                  <a:gd name="T14" fmla="*/ 12 w 91"/>
                  <a:gd name="T15" fmla="*/ 69 h 93"/>
                  <a:gd name="T16" fmla="*/ 54 w 91"/>
                  <a:gd name="T17" fmla="*/ 8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93">
                    <a:moveTo>
                      <a:pt x="54" y="80"/>
                    </a:moveTo>
                    <a:cubicBezTo>
                      <a:pt x="33" y="56"/>
                      <a:pt x="33" y="56"/>
                      <a:pt x="33" y="56"/>
                    </a:cubicBezTo>
                    <a:cubicBezTo>
                      <a:pt x="37" y="39"/>
                      <a:pt x="37" y="39"/>
                      <a:pt x="37" y="39"/>
                    </a:cubicBezTo>
                    <a:cubicBezTo>
                      <a:pt x="54" y="35"/>
                      <a:pt x="54" y="35"/>
                      <a:pt x="54" y="35"/>
                    </a:cubicBezTo>
                    <a:cubicBezTo>
                      <a:pt x="78" y="59"/>
                      <a:pt x="78" y="59"/>
                      <a:pt x="78" y="59"/>
                    </a:cubicBezTo>
                    <a:cubicBezTo>
                      <a:pt x="78" y="59"/>
                      <a:pt x="91" y="44"/>
                      <a:pt x="78" y="26"/>
                    </a:cubicBezTo>
                    <a:cubicBezTo>
                      <a:pt x="65" y="9"/>
                      <a:pt x="41" y="0"/>
                      <a:pt x="22" y="13"/>
                    </a:cubicBezTo>
                    <a:cubicBezTo>
                      <a:pt x="0" y="29"/>
                      <a:pt x="0" y="55"/>
                      <a:pt x="12" y="69"/>
                    </a:cubicBezTo>
                    <a:cubicBezTo>
                      <a:pt x="25" y="84"/>
                      <a:pt x="43" y="93"/>
                      <a:pt x="54" y="80"/>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12" name="Freeform 9"/>
              <p:cNvSpPr>
                <a:spLocks/>
              </p:cNvSpPr>
              <p:nvPr/>
            </p:nvSpPr>
            <p:spPr bwMode="auto">
              <a:xfrm>
                <a:off x="6270901" y="2521850"/>
                <a:ext cx="352425" cy="349250"/>
              </a:xfrm>
              <a:custGeom>
                <a:avLst/>
                <a:gdLst>
                  <a:gd name="T0" fmla="*/ 14 w 93"/>
                  <a:gd name="T1" fmla="*/ 36 h 92"/>
                  <a:gd name="T2" fmla="*/ 37 w 93"/>
                  <a:gd name="T3" fmla="*/ 58 h 92"/>
                  <a:gd name="T4" fmla="*/ 54 w 93"/>
                  <a:gd name="T5" fmla="*/ 54 h 92"/>
                  <a:gd name="T6" fmla="*/ 59 w 93"/>
                  <a:gd name="T7" fmla="*/ 37 h 92"/>
                  <a:gd name="T8" fmla="*/ 35 w 93"/>
                  <a:gd name="T9" fmla="*/ 13 h 92"/>
                  <a:gd name="T10" fmla="*/ 68 w 93"/>
                  <a:gd name="T11" fmla="*/ 13 h 92"/>
                  <a:gd name="T12" fmla="*/ 79 w 93"/>
                  <a:gd name="T13" fmla="*/ 70 h 92"/>
                  <a:gd name="T14" fmla="*/ 23 w 93"/>
                  <a:gd name="T15" fmla="*/ 78 h 92"/>
                  <a:gd name="T16" fmla="*/ 14 w 93"/>
                  <a:gd name="T17" fmla="*/ 3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2">
                    <a:moveTo>
                      <a:pt x="14" y="36"/>
                    </a:moveTo>
                    <a:cubicBezTo>
                      <a:pt x="37" y="58"/>
                      <a:pt x="37" y="58"/>
                      <a:pt x="37" y="58"/>
                    </a:cubicBezTo>
                    <a:cubicBezTo>
                      <a:pt x="54" y="54"/>
                      <a:pt x="54" y="54"/>
                      <a:pt x="54" y="54"/>
                    </a:cubicBezTo>
                    <a:cubicBezTo>
                      <a:pt x="59" y="37"/>
                      <a:pt x="59" y="37"/>
                      <a:pt x="59" y="37"/>
                    </a:cubicBezTo>
                    <a:cubicBezTo>
                      <a:pt x="35" y="13"/>
                      <a:pt x="35" y="13"/>
                      <a:pt x="35" y="13"/>
                    </a:cubicBezTo>
                    <a:cubicBezTo>
                      <a:pt x="35" y="13"/>
                      <a:pt x="50" y="0"/>
                      <a:pt x="68" y="13"/>
                    </a:cubicBezTo>
                    <a:cubicBezTo>
                      <a:pt x="85" y="27"/>
                      <a:pt x="93" y="51"/>
                      <a:pt x="79" y="70"/>
                    </a:cubicBezTo>
                    <a:cubicBezTo>
                      <a:pt x="63" y="92"/>
                      <a:pt x="37" y="90"/>
                      <a:pt x="23" y="78"/>
                    </a:cubicBezTo>
                    <a:cubicBezTo>
                      <a:pt x="9" y="65"/>
                      <a:pt x="0" y="47"/>
                      <a:pt x="14" y="36"/>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70" name="Rectangle 69"/>
            <p:cNvSpPr/>
            <p:nvPr/>
          </p:nvSpPr>
          <p:spPr>
            <a:xfrm>
              <a:off x="6075115" y="3006562"/>
              <a:ext cx="1310640" cy="451470"/>
            </a:xfrm>
            <a:prstGeom prst="rect">
              <a:avLst/>
            </a:prstGeom>
          </p:spPr>
          <p:txBody>
            <a:bodyPr wrap="square">
              <a:spAutoFit/>
            </a:bodyPr>
            <a:lstStyle/>
            <a:p>
              <a:pPr marL="0" marR="0" lvl="0" indent="0" algn="ctr" defTabSz="932597" rtl="0" eaLnBrk="1" fontAlgn="auto" latinLnBrk="0" hangingPunct="1">
                <a:lnSpc>
                  <a:spcPts val="1399"/>
                </a:lnSpc>
                <a:spcBef>
                  <a:spcPts val="0"/>
                </a:spcBef>
                <a:spcAft>
                  <a:spcPts val="0"/>
                </a:spcAft>
                <a:buClrTx/>
                <a:buSzTx/>
                <a:buFontTx/>
                <a:buNone/>
                <a:tabLst/>
                <a:defRPr/>
              </a:pPr>
              <a:r>
                <a:rPr kumimoji="0" lang="en-US" sz="1399" b="0" i="0" u="none" strike="noStrike" kern="0" cap="none" spc="0" normalizeH="0" baseline="0" noProof="0" dirty="0">
                  <a:ln>
                    <a:noFill/>
                  </a:ln>
                  <a:solidFill>
                    <a:srgbClr val="FFFFFF"/>
                  </a:solidFill>
                  <a:effectLst/>
                  <a:uLnTx/>
                  <a:uFillTx/>
                  <a:latin typeface="Segoe UI"/>
                  <a:ea typeface="+mn-ea"/>
                  <a:cs typeface="+mn-cs"/>
                </a:rPr>
                <a:t>Governance &amp; Compliance </a:t>
              </a:r>
            </a:p>
          </p:txBody>
        </p:sp>
      </p:grpSp>
      <p:grpSp>
        <p:nvGrpSpPr>
          <p:cNvPr id="53" name="Group 52"/>
          <p:cNvGrpSpPr/>
          <p:nvPr/>
        </p:nvGrpSpPr>
        <p:grpSpPr>
          <a:xfrm>
            <a:off x="8283631" y="2003538"/>
            <a:ext cx="1566181" cy="2252943"/>
            <a:chOff x="8283923" y="2003327"/>
            <a:chExt cx="1566403" cy="2253262"/>
          </a:xfrm>
        </p:grpSpPr>
        <p:sp>
          <p:nvSpPr>
            <p:cNvPr id="28" name="Rectangle 27"/>
            <p:cNvSpPr/>
            <p:nvPr/>
          </p:nvSpPr>
          <p:spPr bwMode="auto">
            <a:xfrm>
              <a:off x="8283923" y="2003327"/>
              <a:ext cx="1566403" cy="225326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p:cNvSpPr/>
            <p:nvPr/>
          </p:nvSpPr>
          <p:spPr>
            <a:xfrm>
              <a:off x="8411804" y="3659842"/>
              <a:ext cx="1310640" cy="533450"/>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FFFFFF"/>
                  </a:solidFill>
                  <a:effectLst/>
                  <a:uLnTx/>
                  <a:uFillTx/>
                  <a:latin typeface="Segoe UI"/>
                  <a:ea typeface="+mn-ea"/>
                  <a:cs typeface="+mn-cs"/>
                </a:rPr>
                <a:t>8 Years,100% Growth</a:t>
              </a:r>
            </a:p>
          </p:txBody>
        </p:sp>
        <p:grpSp>
          <p:nvGrpSpPr>
            <p:cNvPr id="4200" name="Group 4199"/>
            <p:cNvGrpSpPr/>
            <p:nvPr/>
          </p:nvGrpSpPr>
          <p:grpSpPr>
            <a:xfrm>
              <a:off x="8656637" y="2488621"/>
              <a:ext cx="934836" cy="834179"/>
              <a:chOff x="-2846388" y="6586538"/>
              <a:chExt cx="1437481" cy="1282701"/>
            </a:xfrm>
            <a:solidFill>
              <a:schemeClr val="bg1"/>
            </a:solidFill>
          </p:grpSpPr>
          <p:sp>
            <p:nvSpPr>
              <p:cNvPr id="113" name="Freeform 102"/>
              <p:cNvSpPr>
                <a:spLocks/>
              </p:cNvSpPr>
              <p:nvPr/>
            </p:nvSpPr>
            <p:spPr bwMode="auto">
              <a:xfrm>
                <a:off x="-2846388" y="6586538"/>
                <a:ext cx="88900" cy="1282700"/>
              </a:xfrm>
              <a:custGeom>
                <a:avLst/>
                <a:gdLst>
                  <a:gd name="T0" fmla="*/ 22 w 24"/>
                  <a:gd name="T1" fmla="*/ 331 h 342"/>
                  <a:gd name="T2" fmla="*/ 11 w 24"/>
                  <a:gd name="T3" fmla="*/ 342 h 342"/>
                  <a:gd name="T4" fmla="*/ 11 w 24"/>
                  <a:gd name="T5" fmla="*/ 342 h 342"/>
                  <a:gd name="T6" fmla="*/ 0 w 24"/>
                  <a:gd name="T7" fmla="*/ 331 h 342"/>
                  <a:gd name="T8" fmla="*/ 1 w 24"/>
                  <a:gd name="T9" fmla="*/ 11 h 342"/>
                  <a:gd name="T10" fmla="*/ 13 w 24"/>
                  <a:gd name="T11" fmla="*/ 0 h 342"/>
                  <a:gd name="T12" fmla="*/ 13 w 24"/>
                  <a:gd name="T13" fmla="*/ 0 h 342"/>
                  <a:gd name="T14" fmla="*/ 24 w 24"/>
                  <a:gd name="T15" fmla="*/ 11 h 342"/>
                  <a:gd name="T16" fmla="*/ 22 w 24"/>
                  <a:gd name="T17" fmla="*/ 33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2">
                    <a:moveTo>
                      <a:pt x="22" y="331"/>
                    </a:moveTo>
                    <a:cubicBezTo>
                      <a:pt x="22" y="337"/>
                      <a:pt x="17" y="342"/>
                      <a:pt x="11" y="342"/>
                    </a:cubicBezTo>
                    <a:cubicBezTo>
                      <a:pt x="11" y="342"/>
                      <a:pt x="11" y="342"/>
                      <a:pt x="11" y="342"/>
                    </a:cubicBezTo>
                    <a:cubicBezTo>
                      <a:pt x="5" y="342"/>
                      <a:pt x="0" y="337"/>
                      <a:pt x="0" y="331"/>
                    </a:cubicBezTo>
                    <a:cubicBezTo>
                      <a:pt x="1" y="11"/>
                      <a:pt x="1" y="11"/>
                      <a:pt x="1" y="11"/>
                    </a:cubicBezTo>
                    <a:cubicBezTo>
                      <a:pt x="1" y="5"/>
                      <a:pt x="6" y="0"/>
                      <a:pt x="13" y="0"/>
                    </a:cubicBezTo>
                    <a:cubicBezTo>
                      <a:pt x="13" y="0"/>
                      <a:pt x="13" y="0"/>
                      <a:pt x="13" y="0"/>
                    </a:cubicBezTo>
                    <a:cubicBezTo>
                      <a:pt x="19" y="0"/>
                      <a:pt x="24" y="5"/>
                      <a:pt x="24" y="11"/>
                    </a:cubicBezTo>
                    <a:lnTo>
                      <a:pt x="22"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27" name="Freeform 103"/>
              <p:cNvSpPr>
                <a:spLocks/>
              </p:cNvSpPr>
              <p:nvPr/>
            </p:nvSpPr>
            <p:spPr bwMode="auto">
              <a:xfrm>
                <a:off x="-2843213" y="7778751"/>
                <a:ext cx="1434306" cy="90488"/>
              </a:xfrm>
              <a:custGeom>
                <a:avLst/>
                <a:gdLst>
                  <a:gd name="T0" fmla="*/ 481 w 481"/>
                  <a:gd name="T1" fmla="*/ 13 h 25"/>
                  <a:gd name="T2" fmla="*/ 469 w 481"/>
                  <a:gd name="T3" fmla="*/ 25 h 25"/>
                  <a:gd name="T4" fmla="*/ 12 w 481"/>
                  <a:gd name="T5" fmla="*/ 24 h 25"/>
                  <a:gd name="T6" fmla="*/ 0 w 481"/>
                  <a:gd name="T7" fmla="*/ 12 h 25"/>
                  <a:gd name="T8" fmla="*/ 0 w 481"/>
                  <a:gd name="T9" fmla="*/ 12 h 25"/>
                  <a:gd name="T10" fmla="*/ 12 w 481"/>
                  <a:gd name="T11" fmla="*/ 0 h 25"/>
                  <a:gd name="T12" fmla="*/ 470 w 481"/>
                  <a:gd name="T13" fmla="*/ 2 h 25"/>
                  <a:gd name="T14" fmla="*/ 481 w 481"/>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1" h="25">
                    <a:moveTo>
                      <a:pt x="481" y="13"/>
                    </a:moveTo>
                    <a:cubicBezTo>
                      <a:pt x="481" y="20"/>
                      <a:pt x="476" y="25"/>
                      <a:pt x="469" y="25"/>
                    </a:cubicBezTo>
                    <a:cubicBezTo>
                      <a:pt x="12" y="24"/>
                      <a:pt x="12" y="24"/>
                      <a:pt x="12" y="24"/>
                    </a:cubicBezTo>
                    <a:cubicBezTo>
                      <a:pt x="5" y="24"/>
                      <a:pt x="0" y="18"/>
                      <a:pt x="0" y="12"/>
                    </a:cubicBezTo>
                    <a:cubicBezTo>
                      <a:pt x="0" y="12"/>
                      <a:pt x="0" y="12"/>
                      <a:pt x="0" y="12"/>
                    </a:cubicBezTo>
                    <a:cubicBezTo>
                      <a:pt x="0" y="5"/>
                      <a:pt x="6" y="0"/>
                      <a:pt x="12" y="0"/>
                    </a:cubicBezTo>
                    <a:cubicBezTo>
                      <a:pt x="470" y="2"/>
                      <a:pt x="470" y="2"/>
                      <a:pt x="470" y="2"/>
                    </a:cubicBezTo>
                    <a:cubicBezTo>
                      <a:pt x="476" y="2"/>
                      <a:pt x="481" y="7"/>
                      <a:pt x="48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160" name="Freeform 104"/>
              <p:cNvSpPr>
                <a:spLocks/>
              </p:cNvSpPr>
              <p:nvPr/>
            </p:nvSpPr>
            <p:spPr bwMode="auto">
              <a:xfrm>
                <a:off x="-2678113" y="7456488"/>
                <a:ext cx="244475" cy="273050"/>
              </a:xfrm>
              <a:custGeom>
                <a:avLst/>
                <a:gdLst>
                  <a:gd name="T0" fmla="*/ 65 w 65"/>
                  <a:gd name="T1" fmla="*/ 58 h 73"/>
                  <a:gd name="T2" fmla="*/ 50 w 65"/>
                  <a:gd name="T3" fmla="*/ 73 h 73"/>
                  <a:gd name="T4" fmla="*/ 15 w 65"/>
                  <a:gd name="T5" fmla="*/ 72 h 73"/>
                  <a:gd name="T6" fmla="*/ 1 w 65"/>
                  <a:gd name="T7" fmla="*/ 58 h 73"/>
                  <a:gd name="T8" fmla="*/ 1 w 65"/>
                  <a:gd name="T9" fmla="*/ 15 h 73"/>
                  <a:gd name="T10" fmla="*/ 16 w 65"/>
                  <a:gd name="T11" fmla="*/ 0 h 73"/>
                  <a:gd name="T12" fmla="*/ 51 w 65"/>
                  <a:gd name="T13" fmla="*/ 0 h 73"/>
                  <a:gd name="T14" fmla="*/ 65 w 65"/>
                  <a:gd name="T15" fmla="*/ 15 h 73"/>
                  <a:gd name="T16" fmla="*/ 65 w 65"/>
                  <a:gd name="T17" fmla="*/ 5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73">
                    <a:moveTo>
                      <a:pt x="65" y="58"/>
                    </a:moveTo>
                    <a:cubicBezTo>
                      <a:pt x="65" y="66"/>
                      <a:pt x="58" y="73"/>
                      <a:pt x="50" y="73"/>
                    </a:cubicBezTo>
                    <a:cubicBezTo>
                      <a:pt x="15" y="72"/>
                      <a:pt x="15" y="72"/>
                      <a:pt x="15" y="72"/>
                    </a:cubicBezTo>
                    <a:cubicBezTo>
                      <a:pt x="7" y="72"/>
                      <a:pt x="0" y="66"/>
                      <a:pt x="1" y="58"/>
                    </a:cubicBezTo>
                    <a:cubicBezTo>
                      <a:pt x="1" y="15"/>
                      <a:pt x="1" y="15"/>
                      <a:pt x="1" y="15"/>
                    </a:cubicBezTo>
                    <a:cubicBezTo>
                      <a:pt x="1" y="7"/>
                      <a:pt x="7" y="0"/>
                      <a:pt x="16" y="0"/>
                    </a:cubicBezTo>
                    <a:cubicBezTo>
                      <a:pt x="51" y="0"/>
                      <a:pt x="51" y="0"/>
                      <a:pt x="51" y="0"/>
                    </a:cubicBezTo>
                    <a:cubicBezTo>
                      <a:pt x="59" y="1"/>
                      <a:pt x="65" y="7"/>
                      <a:pt x="65" y="15"/>
                    </a:cubicBezTo>
                    <a:lnTo>
                      <a:pt x="65"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161" name="Freeform 105"/>
              <p:cNvSpPr>
                <a:spLocks/>
              </p:cNvSpPr>
              <p:nvPr/>
            </p:nvSpPr>
            <p:spPr bwMode="auto">
              <a:xfrm>
                <a:off x="-2381250" y="7186613"/>
                <a:ext cx="258763" cy="542925"/>
              </a:xfrm>
              <a:custGeom>
                <a:avLst/>
                <a:gdLst>
                  <a:gd name="T0" fmla="*/ 68 w 69"/>
                  <a:gd name="T1" fmla="*/ 130 h 145"/>
                  <a:gd name="T2" fmla="*/ 54 w 69"/>
                  <a:gd name="T3" fmla="*/ 145 h 145"/>
                  <a:gd name="T4" fmla="*/ 15 w 69"/>
                  <a:gd name="T5" fmla="*/ 145 h 145"/>
                  <a:gd name="T6" fmla="*/ 0 w 69"/>
                  <a:gd name="T7" fmla="*/ 130 h 145"/>
                  <a:gd name="T8" fmla="*/ 0 w 69"/>
                  <a:gd name="T9" fmla="*/ 15 h 145"/>
                  <a:gd name="T10" fmla="*/ 15 w 69"/>
                  <a:gd name="T11" fmla="*/ 0 h 145"/>
                  <a:gd name="T12" fmla="*/ 54 w 69"/>
                  <a:gd name="T13" fmla="*/ 0 h 145"/>
                  <a:gd name="T14" fmla="*/ 69 w 69"/>
                  <a:gd name="T15" fmla="*/ 15 h 145"/>
                  <a:gd name="T16" fmla="*/ 68 w 69"/>
                  <a:gd name="T17" fmla="*/ 13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45">
                    <a:moveTo>
                      <a:pt x="68" y="130"/>
                    </a:moveTo>
                    <a:cubicBezTo>
                      <a:pt x="68" y="138"/>
                      <a:pt x="62" y="145"/>
                      <a:pt x="54" y="145"/>
                    </a:cubicBezTo>
                    <a:cubicBezTo>
                      <a:pt x="15" y="145"/>
                      <a:pt x="15" y="145"/>
                      <a:pt x="15" y="145"/>
                    </a:cubicBezTo>
                    <a:cubicBezTo>
                      <a:pt x="6" y="145"/>
                      <a:pt x="0" y="138"/>
                      <a:pt x="0" y="130"/>
                    </a:cubicBezTo>
                    <a:cubicBezTo>
                      <a:pt x="0" y="15"/>
                      <a:pt x="0" y="15"/>
                      <a:pt x="0" y="15"/>
                    </a:cubicBezTo>
                    <a:cubicBezTo>
                      <a:pt x="0" y="7"/>
                      <a:pt x="7" y="0"/>
                      <a:pt x="15" y="0"/>
                    </a:cubicBezTo>
                    <a:cubicBezTo>
                      <a:pt x="54" y="0"/>
                      <a:pt x="54" y="0"/>
                      <a:pt x="54" y="0"/>
                    </a:cubicBezTo>
                    <a:cubicBezTo>
                      <a:pt x="62" y="0"/>
                      <a:pt x="69" y="7"/>
                      <a:pt x="69" y="15"/>
                    </a:cubicBezTo>
                    <a:lnTo>
                      <a:pt x="68"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162" name="Freeform 106"/>
              <p:cNvSpPr>
                <a:spLocks/>
              </p:cNvSpPr>
              <p:nvPr/>
            </p:nvSpPr>
            <p:spPr bwMode="auto">
              <a:xfrm>
                <a:off x="-2085975" y="7310438"/>
                <a:ext cx="255588" cy="419100"/>
              </a:xfrm>
              <a:custGeom>
                <a:avLst/>
                <a:gdLst>
                  <a:gd name="T0" fmla="*/ 67 w 68"/>
                  <a:gd name="T1" fmla="*/ 97 h 112"/>
                  <a:gd name="T2" fmla="*/ 52 w 68"/>
                  <a:gd name="T3" fmla="*/ 112 h 112"/>
                  <a:gd name="T4" fmla="*/ 15 w 68"/>
                  <a:gd name="T5" fmla="*/ 112 h 112"/>
                  <a:gd name="T6" fmla="*/ 0 w 68"/>
                  <a:gd name="T7" fmla="*/ 97 h 112"/>
                  <a:gd name="T8" fmla="*/ 1 w 68"/>
                  <a:gd name="T9" fmla="*/ 15 h 112"/>
                  <a:gd name="T10" fmla="*/ 16 w 68"/>
                  <a:gd name="T11" fmla="*/ 0 h 112"/>
                  <a:gd name="T12" fmla="*/ 53 w 68"/>
                  <a:gd name="T13" fmla="*/ 1 h 112"/>
                  <a:gd name="T14" fmla="*/ 68 w 68"/>
                  <a:gd name="T15" fmla="*/ 16 h 112"/>
                  <a:gd name="T16" fmla="*/ 67 w 68"/>
                  <a:gd name="T17" fmla="*/ 9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12">
                    <a:moveTo>
                      <a:pt x="67" y="97"/>
                    </a:moveTo>
                    <a:cubicBezTo>
                      <a:pt x="67" y="106"/>
                      <a:pt x="61" y="112"/>
                      <a:pt x="52" y="112"/>
                    </a:cubicBezTo>
                    <a:cubicBezTo>
                      <a:pt x="15" y="112"/>
                      <a:pt x="15" y="112"/>
                      <a:pt x="15" y="112"/>
                    </a:cubicBezTo>
                    <a:cubicBezTo>
                      <a:pt x="7" y="112"/>
                      <a:pt x="0" y="105"/>
                      <a:pt x="0" y="97"/>
                    </a:cubicBezTo>
                    <a:cubicBezTo>
                      <a:pt x="1" y="15"/>
                      <a:pt x="1" y="15"/>
                      <a:pt x="1" y="15"/>
                    </a:cubicBezTo>
                    <a:cubicBezTo>
                      <a:pt x="1" y="7"/>
                      <a:pt x="7" y="0"/>
                      <a:pt x="16" y="0"/>
                    </a:cubicBezTo>
                    <a:cubicBezTo>
                      <a:pt x="53" y="1"/>
                      <a:pt x="53" y="1"/>
                      <a:pt x="53" y="1"/>
                    </a:cubicBezTo>
                    <a:cubicBezTo>
                      <a:pt x="61" y="1"/>
                      <a:pt x="68" y="7"/>
                      <a:pt x="68" y="16"/>
                    </a:cubicBezTo>
                    <a:lnTo>
                      <a:pt x="67"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163" name="Freeform 107"/>
              <p:cNvSpPr>
                <a:spLocks/>
              </p:cNvSpPr>
              <p:nvPr/>
            </p:nvSpPr>
            <p:spPr bwMode="auto">
              <a:xfrm>
                <a:off x="-1774825" y="7054850"/>
                <a:ext cx="258763" cy="679450"/>
              </a:xfrm>
              <a:custGeom>
                <a:avLst/>
                <a:gdLst>
                  <a:gd name="T0" fmla="*/ 68 w 69"/>
                  <a:gd name="T1" fmla="*/ 166 h 181"/>
                  <a:gd name="T2" fmla="*/ 53 w 69"/>
                  <a:gd name="T3" fmla="*/ 180 h 181"/>
                  <a:gd name="T4" fmla="*/ 15 w 69"/>
                  <a:gd name="T5" fmla="*/ 180 h 181"/>
                  <a:gd name="T6" fmla="*/ 0 w 69"/>
                  <a:gd name="T7" fmla="*/ 165 h 181"/>
                  <a:gd name="T8" fmla="*/ 0 w 69"/>
                  <a:gd name="T9" fmla="*/ 14 h 181"/>
                  <a:gd name="T10" fmla="*/ 15 w 69"/>
                  <a:gd name="T11" fmla="*/ 0 h 181"/>
                  <a:gd name="T12" fmla="*/ 54 w 69"/>
                  <a:gd name="T13" fmla="*/ 0 h 181"/>
                  <a:gd name="T14" fmla="*/ 69 w 69"/>
                  <a:gd name="T15" fmla="*/ 15 h 181"/>
                  <a:gd name="T16" fmla="*/ 68 w 69"/>
                  <a:gd name="T17" fmla="*/ 16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81">
                    <a:moveTo>
                      <a:pt x="68" y="166"/>
                    </a:moveTo>
                    <a:cubicBezTo>
                      <a:pt x="68" y="174"/>
                      <a:pt x="62" y="181"/>
                      <a:pt x="53" y="180"/>
                    </a:cubicBezTo>
                    <a:cubicBezTo>
                      <a:pt x="15" y="180"/>
                      <a:pt x="15" y="180"/>
                      <a:pt x="15" y="180"/>
                    </a:cubicBezTo>
                    <a:cubicBezTo>
                      <a:pt x="6" y="180"/>
                      <a:pt x="0" y="174"/>
                      <a:pt x="0" y="165"/>
                    </a:cubicBezTo>
                    <a:cubicBezTo>
                      <a:pt x="0" y="14"/>
                      <a:pt x="0" y="14"/>
                      <a:pt x="0" y="14"/>
                    </a:cubicBezTo>
                    <a:cubicBezTo>
                      <a:pt x="0" y="6"/>
                      <a:pt x="7" y="0"/>
                      <a:pt x="15" y="0"/>
                    </a:cubicBezTo>
                    <a:cubicBezTo>
                      <a:pt x="54" y="0"/>
                      <a:pt x="54" y="0"/>
                      <a:pt x="54" y="0"/>
                    </a:cubicBezTo>
                    <a:cubicBezTo>
                      <a:pt x="62" y="0"/>
                      <a:pt x="69" y="6"/>
                      <a:pt x="69" y="15"/>
                    </a:cubicBezTo>
                    <a:lnTo>
                      <a:pt x="6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4199" name="Group 4198"/>
              <p:cNvGrpSpPr/>
              <p:nvPr/>
            </p:nvGrpSpPr>
            <p:grpSpPr>
              <a:xfrm>
                <a:off x="-2720170" y="6621462"/>
                <a:ext cx="1166007" cy="596297"/>
                <a:chOff x="-2895600" y="6551613"/>
                <a:chExt cx="1462088" cy="747713"/>
              </a:xfrm>
              <a:grpFill/>
            </p:grpSpPr>
            <p:sp>
              <p:nvSpPr>
                <p:cNvPr id="4164" name="Freeform 108"/>
                <p:cNvSpPr>
                  <a:spLocks/>
                </p:cNvSpPr>
                <p:nvPr/>
              </p:nvSpPr>
              <p:spPr bwMode="auto">
                <a:xfrm>
                  <a:off x="-2025650" y="6604000"/>
                  <a:ext cx="536575" cy="596900"/>
                </a:xfrm>
                <a:custGeom>
                  <a:avLst/>
                  <a:gdLst>
                    <a:gd name="T0" fmla="*/ 140 w 143"/>
                    <a:gd name="T1" fmla="*/ 18 h 159"/>
                    <a:gd name="T2" fmla="*/ 141 w 143"/>
                    <a:gd name="T3" fmla="*/ 27 h 159"/>
                    <a:gd name="T4" fmla="*/ 31 w 143"/>
                    <a:gd name="T5" fmla="*/ 156 h 159"/>
                    <a:gd name="T6" fmla="*/ 22 w 143"/>
                    <a:gd name="T7" fmla="*/ 157 h 159"/>
                    <a:gd name="T8" fmla="*/ 3 w 143"/>
                    <a:gd name="T9" fmla="*/ 141 h 159"/>
                    <a:gd name="T10" fmla="*/ 3 w 143"/>
                    <a:gd name="T11" fmla="*/ 132 h 159"/>
                    <a:gd name="T12" fmla="*/ 112 w 143"/>
                    <a:gd name="T13" fmla="*/ 3 h 159"/>
                    <a:gd name="T14" fmla="*/ 121 w 143"/>
                    <a:gd name="T15" fmla="*/ 2 h 159"/>
                    <a:gd name="T16" fmla="*/ 140 w 143"/>
                    <a:gd name="T17" fmla="*/ 18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59">
                      <a:moveTo>
                        <a:pt x="140" y="18"/>
                      </a:moveTo>
                      <a:cubicBezTo>
                        <a:pt x="143" y="21"/>
                        <a:pt x="143" y="25"/>
                        <a:pt x="141" y="27"/>
                      </a:cubicBezTo>
                      <a:cubicBezTo>
                        <a:pt x="31" y="156"/>
                        <a:pt x="31" y="156"/>
                        <a:pt x="31" y="156"/>
                      </a:cubicBezTo>
                      <a:cubicBezTo>
                        <a:pt x="29" y="159"/>
                        <a:pt x="25" y="159"/>
                        <a:pt x="22" y="157"/>
                      </a:cubicBezTo>
                      <a:cubicBezTo>
                        <a:pt x="3" y="141"/>
                        <a:pt x="3" y="141"/>
                        <a:pt x="3" y="141"/>
                      </a:cubicBezTo>
                      <a:cubicBezTo>
                        <a:pt x="1" y="139"/>
                        <a:pt x="0" y="135"/>
                        <a:pt x="3" y="132"/>
                      </a:cubicBezTo>
                      <a:cubicBezTo>
                        <a:pt x="112" y="3"/>
                        <a:pt x="112" y="3"/>
                        <a:pt x="112" y="3"/>
                      </a:cubicBezTo>
                      <a:cubicBezTo>
                        <a:pt x="115" y="0"/>
                        <a:pt x="119" y="0"/>
                        <a:pt x="121" y="2"/>
                      </a:cubicBezTo>
                      <a:lnTo>
                        <a:pt x="14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165" name="Freeform 109"/>
                <p:cNvSpPr>
                  <a:spLocks/>
                </p:cNvSpPr>
                <p:nvPr/>
              </p:nvSpPr>
              <p:spPr bwMode="auto">
                <a:xfrm>
                  <a:off x="-2895600" y="6694488"/>
                  <a:ext cx="649288" cy="604838"/>
                </a:xfrm>
                <a:custGeom>
                  <a:avLst/>
                  <a:gdLst>
                    <a:gd name="T0" fmla="*/ 171 w 173"/>
                    <a:gd name="T1" fmla="*/ 22 h 161"/>
                    <a:gd name="T2" fmla="*/ 170 w 173"/>
                    <a:gd name="T3" fmla="*/ 31 h 161"/>
                    <a:gd name="T4" fmla="*/ 128 w 173"/>
                    <a:gd name="T5" fmla="*/ 69 h 161"/>
                    <a:gd name="T6" fmla="*/ 28 w 173"/>
                    <a:gd name="T7" fmla="*/ 158 h 161"/>
                    <a:gd name="T8" fmla="*/ 19 w 173"/>
                    <a:gd name="T9" fmla="*/ 158 h 161"/>
                    <a:gd name="T10" fmla="*/ 3 w 173"/>
                    <a:gd name="T11" fmla="*/ 139 h 161"/>
                    <a:gd name="T12" fmla="*/ 3 w 173"/>
                    <a:gd name="T13" fmla="*/ 130 h 161"/>
                    <a:gd name="T14" fmla="*/ 145 w 173"/>
                    <a:gd name="T15" fmla="*/ 3 h 161"/>
                    <a:gd name="T16" fmla="*/ 154 w 173"/>
                    <a:gd name="T17" fmla="*/ 3 h 161"/>
                    <a:gd name="T18" fmla="*/ 171 w 173"/>
                    <a:gd name="T19" fmla="*/ 2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3" h="161">
                      <a:moveTo>
                        <a:pt x="171" y="22"/>
                      </a:moveTo>
                      <a:cubicBezTo>
                        <a:pt x="173" y="24"/>
                        <a:pt x="173" y="28"/>
                        <a:pt x="170" y="31"/>
                      </a:cubicBezTo>
                      <a:cubicBezTo>
                        <a:pt x="128" y="69"/>
                        <a:pt x="128" y="69"/>
                        <a:pt x="128" y="69"/>
                      </a:cubicBezTo>
                      <a:cubicBezTo>
                        <a:pt x="28" y="158"/>
                        <a:pt x="28" y="158"/>
                        <a:pt x="28" y="158"/>
                      </a:cubicBezTo>
                      <a:cubicBezTo>
                        <a:pt x="26" y="161"/>
                        <a:pt x="22" y="160"/>
                        <a:pt x="19" y="158"/>
                      </a:cubicBezTo>
                      <a:cubicBezTo>
                        <a:pt x="3" y="139"/>
                        <a:pt x="3" y="139"/>
                        <a:pt x="3" y="139"/>
                      </a:cubicBezTo>
                      <a:cubicBezTo>
                        <a:pt x="0" y="137"/>
                        <a:pt x="0" y="133"/>
                        <a:pt x="3" y="130"/>
                      </a:cubicBezTo>
                      <a:cubicBezTo>
                        <a:pt x="145" y="3"/>
                        <a:pt x="145" y="3"/>
                        <a:pt x="145" y="3"/>
                      </a:cubicBezTo>
                      <a:cubicBezTo>
                        <a:pt x="148" y="0"/>
                        <a:pt x="152" y="1"/>
                        <a:pt x="154" y="3"/>
                      </a:cubicBezTo>
                      <a:lnTo>
                        <a:pt x="171"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166" name="Freeform 110"/>
                <p:cNvSpPr>
                  <a:spLocks/>
                </p:cNvSpPr>
                <p:nvPr/>
              </p:nvSpPr>
              <p:spPr bwMode="auto">
                <a:xfrm>
                  <a:off x="-2430463" y="6699250"/>
                  <a:ext cx="573088" cy="523875"/>
                </a:xfrm>
                <a:custGeom>
                  <a:avLst/>
                  <a:gdLst>
                    <a:gd name="T0" fmla="*/ 134 w 153"/>
                    <a:gd name="T1" fmla="*/ 137 h 140"/>
                    <a:gd name="T2" fmla="*/ 125 w 153"/>
                    <a:gd name="T3" fmla="*/ 137 h 140"/>
                    <a:gd name="T4" fmla="*/ 3 w 153"/>
                    <a:gd name="T5" fmla="*/ 28 h 140"/>
                    <a:gd name="T6" fmla="*/ 2 w 153"/>
                    <a:gd name="T7" fmla="*/ 19 h 140"/>
                    <a:gd name="T8" fmla="*/ 21 w 153"/>
                    <a:gd name="T9" fmla="*/ 3 h 140"/>
                    <a:gd name="T10" fmla="*/ 31 w 153"/>
                    <a:gd name="T11" fmla="*/ 2 h 140"/>
                    <a:gd name="T12" fmla="*/ 150 w 153"/>
                    <a:gd name="T13" fmla="*/ 109 h 140"/>
                    <a:gd name="T14" fmla="*/ 150 w 153"/>
                    <a:gd name="T15" fmla="*/ 119 h 140"/>
                    <a:gd name="T16" fmla="*/ 134 w 153"/>
                    <a:gd name="T17" fmla="*/ 13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140">
                      <a:moveTo>
                        <a:pt x="134" y="137"/>
                      </a:moveTo>
                      <a:cubicBezTo>
                        <a:pt x="132" y="139"/>
                        <a:pt x="128" y="140"/>
                        <a:pt x="125" y="137"/>
                      </a:cubicBezTo>
                      <a:cubicBezTo>
                        <a:pt x="3" y="28"/>
                        <a:pt x="3" y="28"/>
                        <a:pt x="3" y="28"/>
                      </a:cubicBezTo>
                      <a:cubicBezTo>
                        <a:pt x="0" y="25"/>
                        <a:pt x="0" y="21"/>
                        <a:pt x="2" y="19"/>
                      </a:cubicBezTo>
                      <a:cubicBezTo>
                        <a:pt x="21" y="3"/>
                        <a:pt x="21" y="3"/>
                        <a:pt x="21" y="3"/>
                      </a:cubicBezTo>
                      <a:cubicBezTo>
                        <a:pt x="24" y="0"/>
                        <a:pt x="28" y="0"/>
                        <a:pt x="31" y="2"/>
                      </a:cubicBezTo>
                      <a:cubicBezTo>
                        <a:pt x="150" y="109"/>
                        <a:pt x="150" y="109"/>
                        <a:pt x="150" y="109"/>
                      </a:cubicBezTo>
                      <a:cubicBezTo>
                        <a:pt x="153" y="112"/>
                        <a:pt x="153" y="116"/>
                        <a:pt x="150" y="119"/>
                      </a:cubicBezTo>
                      <a:lnTo>
                        <a:pt x="134"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167" name="Freeform 111"/>
                <p:cNvSpPr>
                  <a:spLocks/>
                </p:cNvSpPr>
                <p:nvPr/>
              </p:nvSpPr>
              <p:spPr bwMode="auto">
                <a:xfrm>
                  <a:off x="-1755775" y="6551613"/>
                  <a:ext cx="322263" cy="307975"/>
                </a:xfrm>
                <a:custGeom>
                  <a:avLst/>
                  <a:gdLst>
                    <a:gd name="T0" fmla="*/ 64 w 86"/>
                    <a:gd name="T1" fmla="*/ 1 h 82"/>
                    <a:gd name="T2" fmla="*/ 83 w 86"/>
                    <a:gd name="T3" fmla="*/ 18 h 82"/>
                    <a:gd name="T4" fmla="*/ 85 w 86"/>
                    <a:gd name="T5" fmla="*/ 72 h 82"/>
                    <a:gd name="T6" fmla="*/ 78 w 86"/>
                    <a:gd name="T7" fmla="*/ 76 h 82"/>
                    <a:gd name="T8" fmla="*/ 7 w 86"/>
                    <a:gd name="T9" fmla="*/ 12 h 82"/>
                    <a:gd name="T10" fmla="*/ 10 w 86"/>
                    <a:gd name="T11" fmla="*/ 4 h 82"/>
                    <a:gd name="T12" fmla="*/ 64 w 86"/>
                    <a:gd name="T13" fmla="*/ 1 h 82"/>
                  </a:gdLst>
                  <a:ahLst/>
                  <a:cxnLst>
                    <a:cxn ang="0">
                      <a:pos x="T0" y="T1"/>
                    </a:cxn>
                    <a:cxn ang="0">
                      <a:pos x="T2" y="T3"/>
                    </a:cxn>
                    <a:cxn ang="0">
                      <a:pos x="T4" y="T5"/>
                    </a:cxn>
                    <a:cxn ang="0">
                      <a:pos x="T6" y="T7"/>
                    </a:cxn>
                    <a:cxn ang="0">
                      <a:pos x="T8" y="T9"/>
                    </a:cxn>
                    <a:cxn ang="0">
                      <a:pos x="T10" y="T11"/>
                    </a:cxn>
                    <a:cxn ang="0">
                      <a:pos x="T12" y="T13"/>
                    </a:cxn>
                  </a:cxnLst>
                  <a:rect l="0" t="0" r="r" b="b"/>
                  <a:pathLst>
                    <a:path w="86" h="82">
                      <a:moveTo>
                        <a:pt x="64" y="1"/>
                      </a:moveTo>
                      <a:cubicBezTo>
                        <a:pt x="82" y="0"/>
                        <a:pt x="82" y="0"/>
                        <a:pt x="83" y="18"/>
                      </a:cubicBezTo>
                      <a:cubicBezTo>
                        <a:pt x="85" y="72"/>
                        <a:pt x="85" y="72"/>
                        <a:pt x="85" y="72"/>
                      </a:cubicBezTo>
                      <a:cubicBezTo>
                        <a:pt x="86" y="82"/>
                        <a:pt x="84" y="82"/>
                        <a:pt x="78" y="76"/>
                      </a:cubicBezTo>
                      <a:cubicBezTo>
                        <a:pt x="7" y="12"/>
                        <a:pt x="7" y="12"/>
                        <a:pt x="7" y="12"/>
                      </a:cubicBezTo>
                      <a:cubicBezTo>
                        <a:pt x="1" y="7"/>
                        <a:pt x="0" y="4"/>
                        <a:pt x="10" y="4"/>
                      </a:cubicBezTo>
                      <a:lnTo>
                        <a:pt x="6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grpSp>
      <p:grpSp>
        <p:nvGrpSpPr>
          <p:cNvPr id="54" name="Group 53"/>
          <p:cNvGrpSpPr/>
          <p:nvPr/>
        </p:nvGrpSpPr>
        <p:grpSpPr>
          <a:xfrm>
            <a:off x="326278" y="4335343"/>
            <a:ext cx="3336896" cy="2252943"/>
            <a:chOff x="325442" y="4335462"/>
            <a:chExt cx="3337370" cy="2253262"/>
          </a:xfrm>
        </p:grpSpPr>
        <p:sp>
          <p:nvSpPr>
            <p:cNvPr id="44" name="Rectangle 43"/>
            <p:cNvSpPr/>
            <p:nvPr/>
          </p:nvSpPr>
          <p:spPr bwMode="auto">
            <a:xfrm>
              <a:off x="448356" y="4335462"/>
              <a:ext cx="3214456" cy="2253262"/>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TextBox 45"/>
            <p:cNvSpPr txBox="1"/>
            <p:nvPr/>
          </p:nvSpPr>
          <p:spPr>
            <a:xfrm>
              <a:off x="339264" y="4425581"/>
              <a:ext cx="1219200" cy="691040"/>
            </a:xfrm>
            <a:prstGeom prst="rect">
              <a:avLst/>
            </a:prstGeom>
            <a:noFill/>
          </p:spPr>
          <p:txBody>
            <a:bodyPr wrap="square" lIns="182854" tIns="146283" rIns="182854" bIns="146283" rtlCol="0">
              <a:spAutoFit/>
            </a:bodyPr>
            <a:lstStyle/>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Segoe UI"/>
                  <a:ea typeface="+mn-ea"/>
                  <a:cs typeface="+mn-cs"/>
                </a:rPr>
                <a:t>2017</a:t>
              </a:r>
            </a:p>
          </p:txBody>
        </p:sp>
        <p:sp>
          <p:nvSpPr>
            <p:cNvPr id="67" name="Rectangle 66"/>
            <p:cNvSpPr/>
            <p:nvPr/>
          </p:nvSpPr>
          <p:spPr>
            <a:xfrm>
              <a:off x="325442" y="6068952"/>
              <a:ext cx="1441433" cy="408133"/>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
                  <a:srgbClr val="FFFFFF"/>
                </a:buClr>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800</a:t>
              </a:r>
            </a:p>
            <a:p>
              <a:pPr marL="0" marR="0" lvl="0" indent="0" algn="ctr" defTabSz="932597" rtl="0" eaLnBrk="1" fontAlgn="auto" latinLnBrk="0" hangingPunct="1">
                <a:lnSpc>
                  <a:spcPct val="100000"/>
                </a:lnSpc>
                <a:spcBef>
                  <a:spcPts val="0"/>
                </a:spcBef>
                <a:spcAft>
                  <a:spcPts val="0"/>
                </a:spcAft>
                <a:buClr>
                  <a:srgbClr val="FFFFFF"/>
                </a:buClr>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Employees</a:t>
              </a:r>
            </a:p>
          </p:txBody>
        </p:sp>
        <p:sp>
          <p:nvSpPr>
            <p:cNvPr id="68" name="Rectangle 67"/>
            <p:cNvSpPr/>
            <p:nvPr/>
          </p:nvSpPr>
          <p:spPr>
            <a:xfrm>
              <a:off x="1574306" y="6068952"/>
              <a:ext cx="951983" cy="408133"/>
            </a:xfrm>
            <a:prstGeom prst="rect">
              <a:avLst/>
            </a:prstGeom>
          </p:spPr>
          <p:txBody>
            <a:bodyPr wrap="none">
              <a:spAutoFit/>
            </a:bodyPr>
            <a:lstStyle/>
            <a:p>
              <a:pPr marL="0" marR="0" lvl="0" indent="0" algn="ctr" defTabSz="932597" rtl="0" eaLnBrk="1" fontAlgn="auto" latinLnBrk="0" hangingPunct="1">
                <a:lnSpc>
                  <a:spcPct val="100000"/>
                </a:lnSpc>
                <a:spcBef>
                  <a:spcPts val="0"/>
                </a:spcBef>
                <a:spcAft>
                  <a:spcPts val="0"/>
                </a:spcAft>
                <a:buClr>
                  <a:srgbClr val="FFFFFF"/>
                </a:buClr>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5 Countries </a:t>
              </a:r>
            </a:p>
            <a:p>
              <a:pPr marL="0" marR="0" lvl="0" indent="0" algn="ctr" defTabSz="932597" rtl="0" eaLnBrk="1" fontAlgn="auto" latinLnBrk="0" hangingPunct="1">
                <a:lnSpc>
                  <a:spcPct val="100000"/>
                </a:lnSpc>
                <a:spcBef>
                  <a:spcPts val="0"/>
                </a:spcBef>
                <a:spcAft>
                  <a:spcPts val="0"/>
                </a:spcAft>
                <a:buClr>
                  <a:srgbClr val="FFFFFF"/>
                </a:buClr>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 Continents</a:t>
              </a:r>
            </a:p>
          </p:txBody>
        </p:sp>
        <p:sp>
          <p:nvSpPr>
            <p:cNvPr id="69" name="Rectangle 68"/>
            <p:cNvSpPr/>
            <p:nvPr/>
          </p:nvSpPr>
          <p:spPr>
            <a:xfrm>
              <a:off x="2628943" y="6088062"/>
              <a:ext cx="803184" cy="408133"/>
            </a:xfrm>
            <a:prstGeom prst="rect">
              <a:avLst/>
            </a:prstGeom>
          </p:spPr>
          <p:txBody>
            <a:bodyPr wrap="none">
              <a:spAutoFit/>
            </a:bodyPr>
            <a:lstStyle/>
            <a:p>
              <a:pPr marL="0" marR="0" lvl="0" indent="0" algn="ctr" defTabSz="932597" rtl="0" eaLnBrk="1" fontAlgn="auto" latinLnBrk="0" hangingPunct="1">
                <a:lnSpc>
                  <a:spcPct val="100000"/>
                </a:lnSpc>
                <a:spcBef>
                  <a:spcPts val="0"/>
                </a:spcBef>
                <a:spcAft>
                  <a:spcPts val="0"/>
                </a:spcAft>
                <a:buClr>
                  <a:srgbClr val="FFFFFF"/>
                </a:buClr>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5,000 </a:t>
              </a:r>
            </a:p>
            <a:p>
              <a:pPr marL="0" marR="0" lvl="0" indent="0" algn="ctr" defTabSz="932597" rtl="0" eaLnBrk="1" fontAlgn="auto" latinLnBrk="0" hangingPunct="1">
                <a:lnSpc>
                  <a:spcPct val="100000"/>
                </a:lnSpc>
                <a:spcBef>
                  <a:spcPts val="0"/>
                </a:spcBef>
                <a:spcAft>
                  <a:spcPts val="0"/>
                </a:spcAft>
                <a:buClr>
                  <a:srgbClr val="FFFFFF"/>
                </a:buClr>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Customers</a:t>
              </a:r>
            </a:p>
          </p:txBody>
        </p:sp>
        <p:pic>
          <p:nvPicPr>
            <p:cNvPr id="4131" name="Picture 35" descr="D:\2013\9月\2013.09.27\3个人.emf"/>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20071" y="5326062"/>
              <a:ext cx="697566" cy="537818"/>
            </a:xfrm>
            <a:prstGeom prst="rect">
              <a:avLst/>
            </a:prstGeom>
            <a:noFill/>
            <a:extLst>
              <a:ext uri="{909E8E84-426E-40DD-AFC4-6F175D3DCCD1}">
                <a14:hiddenFill xmlns:a14="http://schemas.microsoft.com/office/drawing/2010/main">
                  <a:solidFill>
                    <a:srgbClr val="FFFFFF"/>
                  </a:solidFill>
                </a14:hiddenFill>
              </a:ext>
            </a:extLst>
          </p:spPr>
        </p:pic>
        <p:sp>
          <p:nvSpPr>
            <p:cNvPr id="124" name="Freeform 5"/>
            <p:cNvSpPr>
              <a:spLocks noEditPoints="1"/>
            </p:cNvSpPr>
            <p:nvPr/>
          </p:nvSpPr>
          <p:spPr bwMode="auto">
            <a:xfrm>
              <a:off x="2699087" y="5288385"/>
              <a:ext cx="699750" cy="571077"/>
            </a:xfrm>
            <a:custGeom>
              <a:avLst/>
              <a:gdLst>
                <a:gd name="T0" fmla="*/ 101 w 202"/>
                <a:gd name="T1" fmla="*/ 38 h 164"/>
                <a:gd name="T2" fmla="*/ 125 w 202"/>
                <a:gd name="T3" fmla="*/ 70 h 164"/>
                <a:gd name="T4" fmla="*/ 129 w 202"/>
                <a:gd name="T5" fmla="*/ 77 h 164"/>
                <a:gd name="T6" fmla="*/ 123 w 202"/>
                <a:gd name="T7" fmla="*/ 85 h 164"/>
                <a:gd name="T8" fmla="*/ 117 w 202"/>
                <a:gd name="T9" fmla="*/ 98 h 164"/>
                <a:gd name="T10" fmla="*/ 117 w 202"/>
                <a:gd name="T11" fmla="*/ 114 h 164"/>
                <a:gd name="T12" fmla="*/ 143 w 202"/>
                <a:gd name="T13" fmla="*/ 122 h 164"/>
                <a:gd name="T14" fmla="*/ 164 w 202"/>
                <a:gd name="T15" fmla="*/ 139 h 164"/>
                <a:gd name="T16" fmla="*/ 164 w 202"/>
                <a:gd name="T17" fmla="*/ 164 h 164"/>
                <a:gd name="T18" fmla="*/ 38 w 202"/>
                <a:gd name="T19" fmla="*/ 164 h 164"/>
                <a:gd name="T20" fmla="*/ 38 w 202"/>
                <a:gd name="T21" fmla="*/ 139 h 164"/>
                <a:gd name="T22" fmla="*/ 59 w 202"/>
                <a:gd name="T23" fmla="*/ 122 h 164"/>
                <a:gd name="T24" fmla="*/ 85 w 202"/>
                <a:gd name="T25" fmla="*/ 114 h 164"/>
                <a:gd name="T26" fmla="*/ 85 w 202"/>
                <a:gd name="T27" fmla="*/ 98 h 164"/>
                <a:gd name="T28" fmla="*/ 79 w 202"/>
                <a:gd name="T29" fmla="*/ 85 h 164"/>
                <a:gd name="T30" fmla="*/ 73 w 202"/>
                <a:gd name="T31" fmla="*/ 77 h 164"/>
                <a:gd name="T32" fmla="*/ 77 w 202"/>
                <a:gd name="T33" fmla="*/ 70 h 164"/>
                <a:gd name="T34" fmla="*/ 101 w 202"/>
                <a:gd name="T35" fmla="*/ 38 h 164"/>
                <a:gd name="T36" fmla="*/ 52 w 202"/>
                <a:gd name="T37" fmla="*/ 117 h 164"/>
                <a:gd name="T38" fmla="*/ 39 w 202"/>
                <a:gd name="T39" fmla="*/ 126 h 164"/>
                <a:gd name="T40" fmla="*/ 0 w 202"/>
                <a:gd name="T41" fmla="*/ 126 h 164"/>
                <a:gd name="T42" fmla="*/ 0 w 202"/>
                <a:gd name="T43" fmla="*/ 101 h 164"/>
                <a:gd name="T44" fmla="*/ 21 w 202"/>
                <a:gd name="T45" fmla="*/ 84 h 164"/>
                <a:gd name="T46" fmla="*/ 47 w 202"/>
                <a:gd name="T47" fmla="*/ 76 h 164"/>
                <a:gd name="T48" fmla="*/ 47 w 202"/>
                <a:gd name="T49" fmla="*/ 60 h 164"/>
                <a:gd name="T50" fmla="*/ 41 w 202"/>
                <a:gd name="T51" fmla="*/ 47 h 164"/>
                <a:gd name="T52" fmla="*/ 35 w 202"/>
                <a:gd name="T53" fmla="*/ 39 h 164"/>
                <a:gd name="T54" fmla="*/ 39 w 202"/>
                <a:gd name="T55" fmla="*/ 32 h 164"/>
                <a:gd name="T56" fmla="*/ 63 w 202"/>
                <a:gd name="T57" fmla="*/ 0 h 164"/>
                <a:gd name="T58" fmla="*/ 87 w 202"/>
                <a:gd name="T59" fmla="*/ 33 h 164"/>
                <a:gd name="T60" fmla="*/ 69 w 202"/>
                <a:gd name="T61" fmla="*/ 62 h 164"/>
                <a:gd name="T62" fmla="*/ 65 w 202"/>
                <a:gd name="T63" fmla="*/ 69 h 164"/>
                <a:gd name="T64" fmla="*/ 69 w 202"/>
                <a:gd name="T65" fmla="*/ 79 h 164"/>
                <a:gd name="T66" fmla="*/ 76 w 202"/>
                <a:gd name="T67" fmla="*/ 91 h 164"/>
                <a:gd name="T68" fmla="*/ 76 w 202"/>
                <a:gd name="T69" fmla="*/ 109 h 164"/>
                <a:gd name="T70" fmla="*/ 52 w 202"/>
                <a:gd name="T71" fmla="*/ 117 h 164"/>
                <a:gd name="T72" fmla="*/ 150 w 202"/>
                <a:gd name="T73" fmla="*/ 117 h 164"/>
                <a:gd name="T74" fmla="*/ 126 w 202"/>
                <a:gd name="T75" fmla="*/ 109 h 164"/>
                <a:gd name="T76" fmla="*/ 126 w 202"/>
                <a:gd name="T77" fmla="*/ 91 h 164"/>
                <a:gd name="T78" fmla="*/ 133 w 202"/>
                <a:gd name="T79" fmla="*/ 79 h 164"/>
                <a:gd name="T80" fmla="*/ 137 w 202"/>
                <a:gd name="T81" fmla="*/ 69 h 164"/>
                <a:gd name="T82" fmla="*/ 133 w 202"/>
                <a:gd name="T83" fmla="*/ 62 h 164"/>
                <a:gd name="T84" fmla="*/ 115 w 202"/>
                <a:gd name="T85" fmla="*/ 33 h 164"/>
                <a:gd name="T86" fmla="*/ 139 w 202"/>
                <a:gd name="T87" fmla="*/ 0 h 164"/>
                <a:gd name="T88" fmla="*/ 163 w 202"/>
                <a:gd name="T89" fmla="*/ 32 h 164"/>
                <a:gd name="T90" fmla="*/ 167 w 202"/>
                <a:gd name="T91" fmla="*/ 39 h 164"/>
                <a:gd name="T92" fmla="*/ 161 w 202"/>
                <a:gd name="T93" fmla="*/ 47 h 164"/>
                <a:gd name="T94" fmla="*/ 155 w 202"/>
                <a:gd name="T95" fmla="*/ 60 h 164"/>
                <a:gd name="T96" fmla="*/ 155 w 202"/>
                <a:gd name="T97" fmla="*/ 76 h 164"/>
                <a:gd name="T98" fmla="*/ 181 w 202"/>
                <a:gd name="T99" fmla="*/ 84 h 164"/>
                <a:gd name="T100" fmla="*/ 202 w 202"/>
                <a:gd name="T101" fmla="*/ 101 h 164"/>
                <a:gd name="T102" fmla="*/ 202 w 202"/>
                <a:gd name="T103" fmla="*/ 126 h 164"/>
                <a:gd name="T104" fmla="*/ 163 w 202"/>
                <a:gd name="T105" fmla="*/ 126 h 164"/>
                <a:gd name="T106" fmla="*/ 150 w 202"/>
                <a:gd name="T107" fmla="*/ 117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2" h="164">
                  <a:moveTo>
                    <a:pt x="101" y="38"/>
                  </a:moveTo>
                  <a:cubicBezTo>
                    <a:pt x="119" y="38"/>
                    <a:pt x="127" y="48"/>
                    <a:pt x="125" y="70"/>
                  </a:cubicBezTo>
                  <a:cubicBezTo>
                    <a:pt x="127" y="72"/>
                    <a:pt x="129" y="74"/>
                    <a:pt x="129" y="77"/>
                  </a:cubicBezTo>
                  <a:cubicBezTo>
                    <a:pt x="129" y="81"/>
                    <a:pt x="126" y="84"/>
                    <a:pt x="123" y="85"/>
                  </a:cubicBezTo>
                  <a:cubicBezTo>
                    <a:pt x="122" y="90"/>
                    <a:pt x="120" y="94"/>
                    <a:pt x="117" y="98"/>
                  </a:cubicBezTo>
                  <a:cubicBezTo>
                    <a:pt x="117" y="114"/>
                    <a:pt x="117" y="114"/>
                    <a:pt x="117" y="114"/>
                  </a:cubicBezTo>
                  <a:cubicBezTo>
                    <a:pt x="126" y="116"/>
                    <a:pt x="133" y="117"/>
                    <a:pt x="143" y="122"/>
                  </a:cubicBezTo>
                  <a:cubicBezTo>
                    <a:pt x="154" y="127"/>
                    <a:pt x="157" y="132"/>
                    <a:pt x="164" y="139"/>
                  </a:cubicBezTo>
                  <a:cubicBezTo>
                    <a:pt x="164" y="164"/>
                    <a:pt x="164" y="164"/>
                    <a:pt x="164" y="164"/>
                  </a:cubicBezTo>
                  <a:cubicBezTo>
                    <a:pt x="38" y="164"/>
                    <a:pt x="38" y="164"/>
                    <a:pt x="38" y="164"/>
                  </a:cubicBezTo>
                  <a:cubicBezTo>
                    <a:pt x="38" y="139"/>
                    <a:pt x="38" y="139"/>
                    <a:pt x="38" y="139"/>
                  </a:cubicBezTo>
                  <a:cubicBezTo>
                    <a:pt x="45" y="132"/>
                    <a:pt x="48" y="127"/>
                    <a:pt x="59" y="122"/>
                  </a:cubicBezTo>
                  <a:cubicBezTo>
                    <a:pt x="69" y="117"/>
                    <a:pt x="76" y="116"/>
                    <a:pt x="85" y="114"/>
                  </a:cubicBezTo>
                  <a:cubicBezTo>
                    <a:pt x="85" y="98"/>
                    <a:pt x="85" y="98"/>
                    <a:pt x="85" y="98"/>
                  </a:cubicBezTo>
                  <a:cubicBezTo>
                    <a:pt x="82" y="94"/>
                    <a:pt x="80" y="90"/>
                    <a:pt x="79" y="85"/>
                  </a:cubicBezTo>
                  <a:cubicBezTo>
                    <a:pt x="76" y="84"/>
                    <a:pt x="73" y="81"/>
                    <a:pt x="73" y="77"/>
                  </a:cubicBezTo>
                  <a:cubicBezTo>
                    <a:pt x="73" y="74"/>
                    <a:pt x="75" y="72"/>
                    <a:pt x="77" y="70"/>
                  </a:cubicBezTo>
                  <a:cubicBezTo>
                    <a:pt x="75" y="48"/>
                    <a:pt x="83" y="38"/>
                    <a:pt x="101" y="38"/>
                  </a:cubicBezTo>
                  <a:close/>
                  <a:moveTo>
                    <a:pt x="52" y="117"/>
                  </a:moveTo>
                  <a:cubicBezTo>
                    <a:pt x="44" y="122"/>
                    <a:pt x="45" y="121"/>
                    <a:pt x="39" y="126"/>
                  </a:cubicBezTo>
                  <a:cubicBezTo>
                    <a:pt x="0" y="126"/>
                    <a:pt x="0" y="126"/>
                    <a:pt x="0" y="126"/>
                  </a:cubicBezTo>
                  <a:cubicBezTo>
                    <a:pt x="0" y="101"/>
                    <a:pt x="0" y="101"/>
                    <a:pt x="0" y="101"/>
                  </a:cubicBezTo>
                  <a:cubicBezTo>
                    <a:pt x="7" y="94"/>
                    <a:pt x="10" y="89"/>
                    <a:pt x="21" y="84"/>
                  </a:cubicBezTo>
                  <a:cubicBezTo>
                    <a:pt x="31" y="79"/>
                    <a:pt x="38" y="78"/>
                    <a:pt x="47" y="76"/>
                  </a:cubicBezTo>
                  <a:cubicBezTo>
                    <a:pt x="47" y="60"/>
                    <a:pt x="47" y="60"/>
                    <a:pt x="47" y="60"/>
                  </a:cubicBezTo>
                  <a:cubicBezTo>
                    <a:pt x="44" y="56"/>
                    <a:pt x="42" y="52"/>
                    <a:pt x="41" y="47"/>
                  </a:cubicBezTo>
                  <a:cubicBezTo>
                    <a:pt x="38" y="46"/>
                    <a:pt x="35" y="43"/>
                    <a:pt x="35" y="39"/>
                  </a:cubicBezTo>
                  <a:cubicBezTo>
                    <a:pt x="35" y="36"/>
                    <a:pt x="37" y="34"/>
                    <a:pt x="39" y="32"/>
                  </a:cubicBezTo>
                  <a:cubicBezTo>
                    <a:pt x="37" y="10"/>
                    <a:pt x="45" y="0"/>
                    <a:pt x="63" y="0"/>
                  </a:cubicBezTo>
                  <a:cubicBezTo>
                    <a:pt x="80" y="0"/>
                    <a:pt x="88" y="14"/>
                    <a:pt x="87" y="33"/>
                  </a:cubicBezTo>
                  <a:cubicBezTo>
                    <a:pt x="76" y="38"/>
                    <a:pt x="69" y="44"/>
                    <a:pt x="69" y="62"/>
                  </a:cubicBezTo>
                  <a:cubicBezTo>
                    <a:pt x="67" y="64"/>
                    <a:pt x="65" y="66"/>
                    <a:pt x="65" y="69"/>
                  </a:cubicBezTo>
                  <a:cubicBezTo>
                    <a:pt x="65" y="73"/>
                    <a:pt x="66" y="78"/>
                    <a:pt x="69" y="79"/>
                  </a:cubicBezTo>
                  <a:cubicBezTo>
                    <a:pt x="71" y="83"/>
                    <a:pt x="73" y="88"/>
                    <a:pt x="76" y="91"/>
                  </a:cubicBezTo>
                  <a:cubicBezTo>
                    <a:pt x="76" y="109"/>
                    <a:pt x="76" y="109"/>
                    <a:pt x="76" y="109"/>
                  </a:cubicBezTo>
                  <a:cubicBezTo>
                    <a:pt x="67" y="111"/>
                    <a:pt x="63" y="112"/>
                    <a:pt x="52" y="117"/>
                  </a:cubicBezTo>
                  <a:close/>
                  <a:moveTo>
                    <a:pt x="150" y="117"/>
                  </a:moveTo>
                  <a:cubicBezTo>
                    <a:pt x="139" y="112"/>
                    <a:pt x="135" y="111"/>
                    <a:pt x="126" y="109"/>
                  </a:cubicBezTo>
                  <a:cubicBezTo>
                    <a:pt x="126" y="91"/>
                    <a:pt x="126" y="91"/>
                    <a:pt x="126" y="91"/>
                  </a:cubicBezTo>
                  <a:cubicBezTo>
                    <a:pt x="129" y="88"/>
                    <a:pt x="131" y="83"/>
                    <a:pt x="133" y="79"/>
                  </a:cubicBezTo>
                  <a:cubicBezTo>
                    <a:pt x="136" y="78"/>
                    <a:pt x="137" y="73"/>
                    <a:pt x="137" y="69"/>
                  </a:cubicBezTo>
                  <a:cubicBezTo>
                    <a:pt x="137" y="66"/>
                    <a:pt x="135" y="64"/>
                    <a:pt x="133" y="62"/>
                  </a:cubicBezTo>
                  <a:cubicBezTo>
                    <a:pt x="133" y="44"/>
                    <a:pt x="126" y="38"/>
                    <a:pt x="115" y="33"/>
                  </a:cubicBezTo>
                  <a:cubicBezTo>
                    <a:pt x="114" y="14"/>
                    <a:pt x="122" y="0"/>
                    <a:pt x="139" y="0"/>
                  </a:cubicBezTo>
                  <a:cubicBezTo>
                    <a:pt x="157" y="0"/>
                    <a:pt x="165" y="10"/>
                    <a:pt x="163" y="32"/>
                  </a:cubicBezTo>
                  <a:cubicBezTo>
                    <a:pt x="165" y="34"/>
                    <a:pt x="167" y="36"/>
                    <a:pt x="167" y="39"/>
                  </a:cubicBezTo>
                  <a:cubicBezTo>
                    <a:pt x="167" y="43"/>
                    <a:pt x="164" y="46"/>
                    <a:pt x="161" y="47"/>
                  </a:cubicBezTo>
                  <a:cubicBezTo>
                    <a:pt x="160" y="52"/>
                    <a:pt x="158" y="56"/>
                    <a:pt x="155" y="60"/>
                  </a:cubicBezTo>
                  <a:cubicBezTo>
                    <a:pt x="155" y="76"/>
                    <a:pt x="155" y="76"/>
                    <a:pt x="155" y="76"/>
                  </a:cubicBezTo>
                  <a:cubicBezTo>
                    <a:pt x="164" y="78"/>
                    <a:pt x="171" y="79"/>
                    <a:pt x="181" y="84"/>
                  </a:cubicBezTo>
                  <a:cubicBezTo>
                    <a:pt x="192" y="89"/>
                    <a:pt x="195" y="94"/>
                    <a:pt x="202" y="101"/>
                  </a:cubicBezTo>
                  <a:cubicBezTo>
                    <a:pt x="202" y="126"/>
                    <a:pt x="202" y="126"/>
                    <a:pt x="202" y="126"/>
                  </a:cubicBezTo>
                  <a:cubicBezTo>
                    <a:pt x="163" y="126"/>
                    <a:pt x="163" y="126"/>
                    <a:pt x="163" y="126"/>
                  </a:cubicBezTo>
                  <a:cubicBezTo>
                    <a:pt x="157" y="121"/>
                    <a:pt x="158" y="122"/>
                    <a:pt x="150" y="11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4201" name="Group 146"/>
            <p:cNvGrpSpPr>
              <a:grpSpLocks noChangeAspect="1"/>
            </p:cNvGrpSpPr>
            <p:nvPr/>
          </p:nvGrpSpPr>
          <p:grpSpPr bwMode="auto">
            <a:xfrm>
              <a:off x="1773238" y="5249862"/>
              <a:ext cx="457200" cy="722313"/>
              <a:chOff x="1117" y="3350"/>
              <a:chExt cx="288" cy="455"/>
            </a:xfrm>
          </p:grpSpPr>
          <p:sp>
            <p:nvSpPr>
              <p:cNvPr id="4202" name="AutoShape 145"/>
              <p:cNvSpPr>
                <a:spLocks noChangeAspect="1" noChangeArrowheads="1" noTextEdit="1"/>
              </p:cNvSpPr>
              <p:nvPr/>
            </p:nvSpPr>
            <p:spPr bwMode="auto">
              <a:xfrm>
                <a:off x="1117" y="3350"/>
                <a:ext cx="288" cy="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203" name="Freeform 147"/>
              <p:cNvSpPr>
                <a:spLocks/>
              </p:cNvSpPr>
              <p:nvPr/>
            </p:nvSpPr>
            <p:spPr bwMode="auto">
              <a:xfrm>
                <a:off x="1121" y="3350"/>
                <a:ext cx="280" cy="455"/>
              </a:xfrm>
              <a:custGeom>
                <a:avLst/>
                <a:gdLst>
                  <a:gd name="T0" fmla="*/ 35 w 70"/>
                  <a:gd name="T1" fmla="*/ 0 h 114"/>
                  <a:gd name="T2" fmla="*/ 0 w 70"/>
                  <a:gd name="T3" fmla="*/ 35 h 114"/>
                  <a:gd name="T4" fmla="*/ 12 w 70"/>
                  <a:gd name="T5" fmla="*/ 61 h 114"/>
                  <a:gd name="T6" fmla="*/ 12 w 70"/>
                  <a:gd name="T7" fmla="*/ 61 h 114"/>
                  <a:gd name="T8" fmla="*/ 13 w 70"/>
                  <a:gd name="T9" fmla="*/ 62 h 114"/>
                  <a:gd name="T10" fmla="*/ 35 w 70"/>
                  <a:gd name="T11" fmla="*/ 114 h 114"/>
                  <a:gd name="T12" fmla="*/ 57 w 70"/>
                  <a:gd name="T13" fmla="*/ 62 h 114"/>
                  <a:gd name="T14" fmla="*/ 58 w 70"/>
                  <a:gd name="T15" fmla="*/ 61 h 114"/>
                  <a:gd name="T16" fmla="*/ 58 w 70"/>
                  <a:gd name="T17" fmla="*/ 61 h 114"/>
                  <a:gd name="T18" fmla="*/ 70 w 70"/>
                  <a:gd name="T19" fmla="*/ 35 h 114"/>
                  <a:gd name="T20" fmla="*/ 35 w 70"/>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114">
                    <a:moveTo>
                      <a:pt x="35" y="0"/>
                    </a:moveTo>
                    <a:cubicBezTo>
                      <a:pt x="16" y="0"/>
                      <a:pt x="0" y="16"/>
                      <a:pt x="0" y="35"/>
                    </a:cubicBezTo>
                    <a:cubicBezTo>
                      <a:pt x="0" y="45"/>
                      <a:pt x="5" y="55"/>
                      <a:pt x="12" y="61"/>
                    </a:cubicBezTo>
                    <a:cubicBezTo>
                      <a:pt x="12" y="61"/>
                      <a:pt x="12" y="61"/>
                      <a:pt x="12" y="61"/>
                    </a:cubicBezTo>
                    <a:cubicBezTo>
                      <a:pt x="12" y="61"/>
                      <a:pt x="13" y="62"/>
                      <a:pt x="13" y="62"/>
                    </a:cubicBezTo>
                    <a:cubicBezTo>
                      <a:pt x="17" y="66"/>
                      <a:pt x="34" y="101"/>
                      <a:pt x="35" y="114"/>
                    </a:cubicBezTo>
                    <a:cubicBezTo>
                      <a:pt x="36" y="101"/>
                      <a:pt x="53" y="66"/>
                      <a:pt x="57" y="62"/>
                    </a:cubicBezTo>
                    <a:cubicBezTo>
                      <a:pt x="57" y="62"/>
                      <a:pt x="58" y="61"/>
                      <a:pt x="58" y="61"/>
                    </a:cubicBezTo>
                    <a:cubicBezTo>
                      <a:pt x="58" y="61"/>
                      <a:pt x="58" y="61"/>
                      <a:pt x="58" y="61"/>
                    </a:cubicBezTo>
                    <a:cubicBezTo>
                      <a:pt x="65" y="55"/>
                      <a:pt x="70" y="45"/>
                      <a:pt x="70" y="35"/>
                    </a:cubicBezTo>
                    <a:cubicBezTo>
                      <a:pt x="70" y="16"/>
                      <a:pt x="54" y="0"/>
                      <a:pt x="3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204" name="Oval 148"/>
              <p:cNvSpPr>
                <a:spLocks noChangeArrowheads="1"/>
              </p:cNvSpPr>
              <p:nvPr/>
            </p:nvSpPr>
            <p:spPr bwMode="auto">
              <a:xfrm>
                <a:off x="1149" y="3378"/>
                <a:ext cx="224" cy="227"/>
              </a:xfrm>
              <a:prstGeom prst="ellipse">
                <a:avLst/>
              </a:pr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205" name="Freeform 149"/>
              <p:cNvSpPr>
                <a:spLocks noEditPoints="1"/>
              </p:cNvSpPr>
              <p:nvPr/>
            </p:nvSpPr>
            <p:spPr bwMode="auto">
              <a:xfrm>
                <a:off x="1193" y="3454"/>
                <a:ext cx="104" cy="116"/>
              </a:xfrm>
              <a:custGeom>
                <a:avLst/>
                <a:gdLst>
                  <a:gd name="T0" fmla="*/ 23 w 26"/>
                  <a:gd name="T1" fmla="*/ 3 h 29"/>
                  <a:gd name="T2" fmla="*/ 24 w 26"/>
                  <a:gd name="T3" fmla="*/ 4 h 29"/>
                  <a:gd name="T4" fmla="*/ 24 w 26"/>
                  <a:gd name="T5" fmla="*/ 26 h 29"/>
                  <a:gd name="T6" fmla="*/ 2 w 26"/>
                  <a:gd name="T7" fmla="*/ 26 h 29"/>
                  <a:gd name="T8" fmla="*/ 2 w 26"/>
                  <a:gd name="T9" fmla="*/ 4 h 29"/>
                  <a:gd name="T10" fmla="*/ 3 w 26"/>
                  <a:gd name="T11" fmla="*/ 3 h 29"/>
                  <a:gd name="T12" fmla="*/ 23 w 26"/>
                  <a:gd name="T13" fmla="*/ 3 h 29"/>
                  <a:gd name="T14" fmla="*/ 23 w 26"/>
                  <a:gd name="T15" fmla="*/ 0 h 29"/>
                  <a:gd name="T16" fmla="*/ 3 w 26"/>
                  <a:gd name="T17" fmla="*/ 0 h 29"/>
                  <a:gd name="T18" fmla="*/ 0 w 26"/>
                  <a:gd name="T19" fmla="*/ 4 h 29"/>
                  <a:gd name="T20" fmla="*/ 0 w 26"/>
                  <a:gd name="T21" fmla="*/ 29 h 29"/>
                  <a:gd name="T22" fmla="*/ 26 w 26"/>
                  <a:gd name="T23" fmla="*/ 29 h 29"/>
                  <a:gd name="T24" fmla="*/ 26 w 26"/>
                  <a:gd name="T25" fmla="*/ 4 h 29"/>
                  <a:gd name="T26" fmla="*/ 23 w 26"/>
                  <a:gd name="T2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29">
                    <a:moveTo>
                      <a:pt x="23" y="3"/>
                    </a:moveTo>
                    <a:cubicBezTo>
                      <a:pt x="23" y="3"/>
                      <a:pt x="24" y="4"/>
                      <a:pt x="24" y="4"/>
                    </a:cubicBezTo>
                    <a:cubicBezTo>
                      <a:pt x="24" y="26"/>
                      <a:pt x="24" y="26"/>
                      <a:pt x="24" y="26"/>
                    </a:cubicBezTo>
                    <a:cubicBezTo>
                      <a:pt x="2" y="26"/>
                      <a:pt x="2" y="26"/>
                      <a:pt x="2" y="26"/>
                    </a:cubicBezTo>
                    <a:cubicBezTo>
                      <a:pt x="2" y="4"/>
                      <a:pt x="2" y="4"/>
                      <a:pt x="2" y="4"/>
                    </a:cubicBezTo>
                    <a:cubicBezTo>
                      <a:pt x="2" y="4"/>
                      <a:pt x="3" y="3"/>
                      <a:pt x="3" y="3"/>
                    </a:cubicBezTo>
                    <a:cubicBezTo>
                      <a:pt x="23" y="3"/>
                      <a:pt x="23" y="3"/>
                      <a:pt x="23" y="3"/>
                    </a:cubicBezTo>
                    <a:moveTo>
                      <a:pt x="23" y="0"/>
                    </a:moveTo>
                    <a:cubicBezTo>
                      <a:pt x="3" y="0"/>
                      <a:pt x="3" y="0"/>
                      <a:pt x="3" y="0"/>
                    </a:cubicBezTo>
                    <a:cubicBezTo>
                      <a:pt x="1" y="0"/>
                      <a:pt x="0" y="2"/>
                      <a:pt x="0" y="4"/>
                    </a:cubicBezTo>
                    <a:cubicBezTo>
                      <a:pt x="0" y="29"/>
                      <a:pt x="0" y="29"/>
                      <a:pt x="0" y="29"/>
                    </a:cubicBezTo>
                    <a:cubicBezTo>
                      <a:pt x="26" y="29"/>
                      <a:pt x="26" y="29"/>
                      <a:pt x="26" y="29"/>
                    </a:cubicBezTo>
                    <a:cubicBezTo>
                      <a:pt x="26" y="4"/>
                      <a:pt x="26" y="4"/>
                      <a:pt x="26" y="4"/>
                    </a:cubicBezTo>
                    <a:cubicBezTo>
                      <a:pt x="26" y="2"/>
                      <a:pt x="25" y="0"/>
                      <a:pt x="2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206" name="Rectangle 150"/>
              <p:cNvSpPr>
                <a:spLocks noChangeArrowheads="1"/>
              </p:cNvSpPr>
              <p:nvPr/>
            </p:nvSpPr>
            <p:spPr bwMode="auto">
              <a:xfrm>
                <a:off x="1237" y="3530"/>
                <a:ext cx="16" cy="3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207" name="Rectangle 151"/>
              <p:cNvSpPr>
                <a:spLocks noChangeArrowheads="1"/>
              </p:cNvSpPr>
              <p:nvPr/>
            </p:nvSpPr>
            <p:spPr bwMode="auto">
              <a:xfrm>
                <a:off x="1237" y="3502"/>
                <a:ext cx="16" cy="1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208" name="Rectangle 152"/>
              <p:cNvSpPr>
                <a:spLocks noChangeArrowheads="1"/>
              </p:cNvSpPr>
              <p:nvPr/>
            </p:nvSpPr>
            <p:spPr bwMode="auto">
              <a:xfrm>
                <a:off x="1261" y="3502"/>
                <a:ext cx="20" cy="1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209" name="Rectangle 153"/>
              <p:cNvSpPr>
                <a:spLocks noChangeArrowheads="1"/>
              </p:cNvSpPr>
              <p:nvPr/>
            </p:nvSpPr>
            <p:spPr bwMode="auto">
              <a:xfrm>
                <a:off x="1209" y="3502"/>
                <a:ext cx="20" cy="1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210" name="Rectangle 154"/>
              <p:cNvSpPr>
                <a:spLocks noChangeArrowheads="1"/>
              </p:cNvSpPr>
              <p:nvPr/>
            </p:nvSpPr>
            <p:spPr bwMode="auto">
              <a:xfrm>
                <a:off x="1237" y="3478"/>
                <a:ext cx="16" cy="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211" name="Rectangle 155"/>
              <p:cNvSpPr>
                <a:spLocks noChangeArrowheads="1"/>
              </p:cNvSpPr>
              <p:nvPr/>
            </p:nvSpPr>
            <p:spPr bwMode="auto">
              <a:xfrm>
                <a:off x="1261" y="3478"/>
                <a:ext cx="20" cy="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212" name="Rectangle 156"/>
              <p:cNvSpPr>
                <a:spLocks noChangeArrowheads="1"/>
              </p:cNvSpPr>
              <p:nvPr/>
            </p:nvSpPr>
            <p:spPr bwMode="auto">
              <a:xfrm>
                <a:off x="1209" y="3478"/>
                <a:ext cx="20" cy="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213" name="Rectangle 157"/>
              <p:cNvSpPr>
                <a:spLocks noChangeArrowheads="1"/>
              </p:cNvSpPr>
              <p:nvPr/>
            </p:nvSpPr>
            <p:spPr bwMode="auto">
              <a:xfrm>
                <a:off x="1261" y="3530"/>
                <a:ext cx="20" cy="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214" name="Rectangle 158"/>
              <p:cNvSpPr>
                <a:spLocks noChangeArrowheads="1"/>
              </p:cNvSpPr>
              <p:nvPr/>
            </p:nvSpPr>
            <p:spPr bwMode="auto">
              <a:xfrm>
                <a:off x="1209" y="3530"/>
                <a:ext cx="20" cy="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215" name="Freeform 159"/>
              <p:cNvSpPr>
                <a:spLocks/>
              </p:cNvSpPr>
              <p:nvPr/>
            </p:nvSpPr>
            <p:spPr bwMode="auto">
              <a:xfrm>
                <a:off x="1237" y="3410"/>
                <a:ext cx="84" cy="160"/>
              </a:xfrm>
              <a:custGeom>
                <a:avLst/>
                <a:gdLst>
                  <a:gd name="T0" fmla="*/ 17 w 21"/>
                  <a:gd name="T1" fmla="*/ 0 h 40"/>
                  <a:gd name="T2" fmla="*/ 4 w 21"/>
                  <a:gd name="T3" fmla="*/ 0 h 40"/>
                  <a:gd name="T4" fmla="*/ 0 w 21"/>
                  <a:gd name="T5" fmla="*/ 4 h 40"/>
                  <a:gd name="T6" fmla="*/ 0 w 21"/>
                  <a:gd name="T7" fmla="*/ 11 h 40"/>
                  <a:gd name="T8" fmla="*/ 2 w 21"/>
                  <a:gd name="T9" fmla="*/ 11 h 40"/>
                  <a:gd name="T10" fmla="*/ 2 w 21"/>
                  <a:gd name="T11" fmla="*/ 4 h 40"/>
                  <a:gd name="T12" fmla="*/ 4 w 21"/>
                  <a:gd name="T13" fmla="*/ 3 h 40"/>
                  <a:gd name="T14" fmla="*/ 17 w 21"/>
                  <a:gd name="T15" fmla="*/ 3 h 40"/>
                  <a:gd name="T16" fmla="*/ 19 w 21"/>
                  <a:gd name="T17" fmla="*/ 4 h 40"/>
                  <a:gd name="T18" fmla="*/ 19 w 21"/>
                  <a:gd name="T19" fmla="*/ 40 h 40"/>
                  <a:gd name="T20" fmla="*/ 21 w 21"/>
                  <a:gd name="T21" fmla="*/ 40 h 40"/>
                  <a:gd name="T22" fmla="*/ 21 w 21"/>
                  <a:gd name="T23" fmla="*/ 4 h 40"/>
                  <a:gd name="T24" fmla="*/ 17 w 21"/>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40">
                    <a:moveTo>
                      <a:pt x="17" y="0"/>
                    </a:moveTo>
                    <a:cubicBezTo>
                      <a:pt x="4" y="0"/>
                      <a:pt x="4" y="0"/>
                      <a:pt x="4" y="0"/>
                    </a:cubicBezTo>
                    <a:cubicBezTo>
                      <a:pt x="2" y="0"/>
                      <a:pt x="0" y="2"/>
                      <a:pt x="0" y="4"/>
                    </a:cubicBezTo>
                    <a:cubicBezTo>
                      <a:pt x="0" y="11"/>
                      <a:pt x="0" y="11"/>
                      <a:pt x="0" y="11"/>
                    </a:cubicBezTo>
                    <a:cubicBezTo>
                      <a:pt x="2" y="11"/>
                      <a:pt x="2" y="11"/>
                      <a:pt x="2" y="11"/>
                    </a:cubicBezTo>
                    <a:cubicBezTo>
                      <a:pt x="2" y="4"/>
                      <a:pt x="2" y="4"/>
                      <a:pt x="2" y="4"/>
                    </a:cubicBezTo>
                    <a:cubicBezTo>
                      <a:pt x="2" y="3"/>
                      <a:pt x="3" y="3"/>
                      <a:pt x="4" y="3"/>
                    </a:cubicBezTo>
                    <a:cubicBezTo>
                      <a:pt x="17" y="3"/>
                      <a:pt x="17" y="3"/>
                      <a:pt x="17" y="3"/>
                    </a:cubicBezTo>
                    <a:cubicBezTo>
                      <a:pt x="18" y="3"/>
                      <a:pt x="19" y="3"/>
                      <a:pt x="19" y="4"/>
                    </a:cubicBezTo>
                    <a:cubicBezTo>
                      <a:pt x="19" y="40"/>
                      <a:pt x="19" y="40"/>
                      <a:pt x="19" y="40"/>
                    </a:cubicBezTo>
                    <a:cubicBezTo>
                      <a:pt x="21" y="40"/>
                      <a:pt x="21" y="40"/>
                      <a:pt x="21" y="40"/>
                    </a:cubicBezTo>
                    <a:cubicBezTo>
                      <a:pt x="21" y="4"/>
                      <a:pt x="21" y="4"/>
                      <a:pt x="21" y="4"/>
                    </a:cubicBezTo>
                    <a:cubicBezTo>
                      <a:pt x="21" y="2"/>
                      <a:pt x="19" y="0"/>
                      <a:pt x="1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216" name="Rectangle 160"/>
              <p:cNvSpPr>
                <a:spLocks noChangeArrowheads="1"/>
              </p:cNvSpPr>
              <p:nvPr/>
            </p:nvSpPr>
            <p:spPr bwMode="auto">
              <a:xfrm>
                <a:off x="1285" y="3430"/>
                <a:ext cx="16" cy="1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217" name="Rectangle 161"/>
              <p:cNvSpPr>
                <a:spLocks noChangeArrowheads="1"/>
              </p:cNvSpPr>
              <p:nvPr/>
            </p:nvSpPr>
            <p:spPr bwMode="auto">
              <a:xfrm>
                <a:off x="1257" y="3430"/>
                <a:ext cx="16" cy="1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4218" name="Oval 4217"/>
            <p:cNvSpPr/>
            <p:nvPr/>
          </p:nvSpPr>
          <p:spPr bwMode="auto">
            <a:xfrm>
              <a:off x="2052638" y="5457057"/>
              <a:ext cx="377824" cy="376237"/>
            </a:xfrm>
            <a:prstGeom prst="ellips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1" name="Group 146"/>
            <p:cNvGrpSpPr>
              <a:grpSpLocks noChangeAspect="1"/>
            </p:cNvGrpSpPr>
            <p:nvPr/>
          </p:nvGrpSpPr>
          <p:grpSpPr bwMode="auto">
            <a:xfrm>
              <a:off x="2079043" y="5502481"/>
              <a:ext cx="292100" cy="461478"/>
              <a:chOff x="1117" y="3350"/>
              <a:chExt cx="288" cy="455"/>
            </a:xfrm>
          </p:grpSpPr>
          <p:sp>
            <p:nvSpPr>
              <p:cNvPr id="252" name="AutoShape 145"/>
              <p:cNvSpPr>
                <a:spLocks noChangeAspect="1" noChangeArrowheads="1" noTextEdit="1"/>
              </p:cNvSpPr>
              <p:nvPr/>
            </p:nvSpPr>
            <p:spPr bwMode="auto">
              <a:xfrm>
                <a:off x="1117" y="3350"/>
                <a:ext cx="288" cy="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3" name="Freeform 147"/>
              <p:cNvSpPr>
                <a:spLocks/>
              </p:cNvSpPr>
              <p:nvPr/>
            </p:nvSpPr>
            <p:spPr bwMode="auto">
              <a:xfrm>
                <a:off x="1121" y="3350"/>
                <a:ext cx="280" cy="455"/>
              </a:xfrm>
              <a:custGeom>
                <a:avLst/>
                <a:gdLst>
                  <a:gd name="T0" fmla="*/ 35 w 70"/>
                  <a:gd name="T1" fmla="*/ 0 h 114"/>
                  <a:gd name="T2" fmla="*/ 0 w 70"/>
                  <a:gd name="T3" fmla="*/ 35 h 114"/>
                  <a:gd name="T4" fmla="*/ 12 w 70"/>
                  <a:gd name="T5" fmla="*/ 61 h 114"/>
                  <a:gd name="T6" fmla="*/ 12 w 70"/>
                  <a:gd name="T7" fmla="*/ 61 h 114"/>
                  <a:gd name="T8" fmla="*/ 13 w 70"/>
                  <a:gd name="T9" fmla="*/ 62 h 114"/>
                  <a:gd name="T10" fmla="*/ 35 w 70"/>
                  <a:gd name="T11" fmla="*/ 114 h 114"/>
                  <a:gd name="T12" fmla="*/ 57 w 70"/>
                  <a:gd name="T13" fmla="*/ 62 h 114"/>
                  <a:gd name="T14" fmla="*/ 58 w 70"/>
                  <a:gd name="T15" fmla="*/ 61 h 114"/>
                  <a:gd name="T16" fmla="*/ 58 w 70"/>
                  <a:gd name="T17" fmla="*/ 61 h 114"/>
                  <a:gd name="T18" fmla="*/ 70 w 70"/>
                  <a:gd name="T19" fmla="*/ 35 h 114"/>
                  <a:gd name="T20" fmla="*/ 35 w 70"/>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114">
                    <a:moveTo>
                      <a:pt x="35" y="0"/>
                    </a:moveTo>
                    <a:cubicBezTo>
                      <a:pt x="16" y="0"/>
                      <a:pt x="0" y="16"/>
                      <a:pt x="0" y="35"/>
                    </a:cubicBezTo>
                    <a:cubicBezTo>
                      <a:pt x="0" y="45"/>
                      <a:pt x="5" y="55"/>
                      <a:pt x="12" y="61"/>
                    </a:cubicBezTo>
                    <a:cubicBezTo>
                      <a:pt x="12" y="61"/>
                      <a:pt x="12" y="61"/>
                      <a:pt x="12" y="61"/>
                    </a:cubicBezTo>
                    <a:cubicBezTo>
                      <a:pt x="12" y="61"/>
                      <a:pt x="13" y="62"/>
                      <a:pt x="13" y="62"/>
                    </a:cubicBezTo>
                    <a:cubicBezTo>
                      <a:pt x="17" y="66"/>
                      <a:pt x="34" y="101"/>
                      <a:pt x="35" y="114"/>
                    </a:cubicBezTo>
                    <a:cubicBezTo>
                      <a:pt x="36" y="101"/>
                      <a:pt x="53" y="66"/>
                      <a:pt x="57" y="62"/>
                    </a:cubicBezTo>
                    <a:cubicBezTo>
                      <a:pt x="57" y="62"/>
                      <a:pt x="58" y="61"/>
                      <a:pt x="58" y="61"/>
                    </a:cubicBezTo>
                    <a:cubicBezTo>
                      <a:pt x="58" y="61"/>
                      <a:pt x="58" y="61"/>
                      <a:pt x="58" y="61"/>
                    </a:cubicBezTo>
                    <a:cubicBezTo>
                      <a:pt x="65" y="55"/>
                      <a:pt x="70" y="45"/>
                      <a:pt x="70" y="35"/>
                    </a:cubicBezTo>
                    <a:cubicBezTo>
                      <a:pt x="70" y="16"/>
                      <a:pt x="54" y="0"/>
                      <a:pt x="3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4" name="Oval 148"/>
              <p:cNvSpPr>
                <a:spLocks noChangeArrowheads="1"/>
              </p:cNvSpPr>
              <p:nvPr/>
            </p:nvSpPr>
            <p:spPr bwMode="auto">
              <a:xfrm>
                <a:off x="1149" y="3378"/>
                <a:ext cx="224" cy="227"/>
              </a:xfrm>
              <a:prstGeom prst="ellipse">
                <a:avLst/>
              </a:pr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5" name="Freeform 149"/>
              <p:cNvSpPr>
                <a:spLocks noEditPoints="1"/>
              </p:cNvSpPr>
              <p:nvPr/>
            </p:nvSpPr>
            <p:spPr bwMode="auto">
              <a:xfrm>
                <a:off x="1193" y="3454"/>
                <a:ext cx="104" cy="116"/>
              </a:xfrm>
              <a:custGeom>
                <a:avLst/>
                <a:gdLst>
                  <a:gd name="T0" fmla="*/ 23 w 26"/>
                  <a:gd name="T1" fmla="*/ 3 h 29"/>
                  <a:gd name="T2" fmla="*/ 24 w 26"/>
                  <a:gd name="T3" fmla="*/ 4 h 29"/>
                  <a:gd name="T4" fmla="*/ 24 w 26"/>
                  <a:gd name="T5" fmla="*/ 26 h 29"/>
                  <a:gd name="T6" fmla="*/ 2 w 26"/>
                  <a:gd name="T7" fmla="*/ 26 h 29"/>
                  <a:gd name="T8" fmla="*/ 2 w 26"/>
                  <a:gd name="T9" fmla="*/ 4 h 29"/>
                  <a:gd name="T10" fmla="*/ 3 w 26"/>
                  <a:gd name="T11" fmla="*/ 3 h 29"/>
                  <a:gd name="T12" fmla="*/ 23 w 26"/>
                  <a:gd name="T13" fmla="*/ 3 h 29"/>
                  <a:gd name="T14" fmla="*/ 23 w 26"/>
                  <a:gd name="T15" fmla="*/ 0 h 29"/>
                  <a:gd name="T16" fmla="*/ 3 w 26"/>
                  <a:gd name="T17" fmla="*/ 0 h 29"/>
                  <a:gd name="T18" fmla="*/ 0 w 26"/>
                  <a:gd name="T19" fmla="*/ 4 h 29"/>
                  <a:gd name="T20" fmla="*/ 0 w 26"/>
                  <a:gd name="T21" fmla="*/ 29 h 29"/>
                  <a:gd name="T22" fmla="*/ 26 w 26"/>
                  <a:gd name="T23" fmla="*/ 29 h 29"/>
                  <a:gd name="T24" fmla="*/ 26 w 26"/>
                  <a:gd name="T25" fmla="*/ 4 h 29"/>
                  <a:gd name="T26" fmla="*/ 23 w 26"/>
                  <a:gd name="T2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29">
                    <a:moveTo>
                      <a:pt x="23" y="3"/>
                    </a:moveTo>
                    <a:cubicBezTo>
                      <a:pt x="23" y="3"/>
                      <a:pt x="24" y="4"/>
                      <a:pt x="24" y="4"/>
                    </a:cubicBezTo>
                    <a:cubicBezTo>
                      <a:pt x="24" y="26"/>
                      <a:pt x="24" y="26"/>
                      <a:pt x="24" y="26"/>
                    </a:cubicBezTo>
                    <a:cubicBezTo>
                      <a:pt x="2" y="26"/>
                      <a:pt x="2" y="26"/>
                      <a:pt x="2" y="26"/>
                    </a:cubicBezTo>
                    <a:cubicBezTo>
                      <a:pt x="2" y="4"/>
                      <a:pt x="2" y="4"/>
                      <a:pt x="2" y="4"/>
                    </a:cubicBezTo>
                    <a:cubicBezTo>
                      <a:pt x="2" y="4"/>
                      <a:pt x="3" y="3"/>
                      <a:pt x="3" y="3"/>
                    </a:cubicBezTo>
                    <a:cubicBezTo>
                      <a:pt x="23" y="3"/>
                      <a:pt x="23" y="3"/>
                      <a:pt x="23" y="3"/>
                    </a:cubicBezTo>
                    <a:moveTo>
                      <a:pt x="23" y="0"/>
                    </a:moveTo>
                    <a:cubicBezTo>
                      <a:pt x="3" y="0"/>
                      <a:pt x="3" y="0"/>
                      <a:pt x="3" y="0"/>
                    </a:cubicBezTo>
                    <a:cubicBezTo>
                      <a:pt x="1" y="0"/>
                      <a:pt x="0" y="2"/>
                      <a:pt x="0" y="4"/>
                    </a:cubicBezTo>
                    <a:cubicBezTo>
                      <a:pt x="0" y="29"/>
                      <a:pt x="0" y="29"/>
                      <a:pt x="0" y="29"/>
                    </a:cubicBezTo>
                    <a:cubicBezTo>
                      <a:pt x="26" y="29"/>
                      <a:pt x="26" y="29"/>
                      <a:pt x="26" y="29"/>
                    </a:cubicBezTo>
                    <a:cubicBezTo>
                      <a:pt x="26" y="4"/>
                      <a:pt x="26" y="4"/>
                      <a:pt x="26" y="4"/>
                    </a:cubicBezTo>
                    <a:cubicBezTo>
                      <a:pt x="26" y="2"/>
                      <a:pt x="25" y="0"/>
                      <a:pt x="2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6" name="Rectangle 150"/>
              <p:cNvSpPr>
                <a:spLocks noChangeArrowheads="1"/>
              </p:cNvSpPr>
              <p:nvPr/>
            </p:nvSpPr>
            <p:spPr bwMode="auto">
              <a:xfrm>
                <a:off x="1237" y="3530"/>
                <a:ext cx="16" cy="3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7" name="Rectangle 151"/>
              <p:cNvSpPr>
                <a:spLocks noChangeArrowheads="1"/>
              </p:cNvSpPr>
              <p:nvPr/>
            </p:nvSpPr>
            <p:spPr bwMode="auto">
              <a:xfrm>
                <a:off x="1237" y="3502"/>
                <a:ext cx="16" cy="1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8" name="Rectangle 152"/>
              <p:cNvSpPr>
                <a:spLocks noChangeArrowheads="1"/>
              </p:cNvSpPr>
              <p:nvPr/>
            </p:nvSpPr>
            <p:spPr bwMode="auto">
              <a:xfrm>
                <a:off x="1261" y="3502"/>
                <a:ext cx="20" cy="1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9" name="Rectangle 153"/>
              <p:cNvSpPr>
                <a:spLocks noChangeArrowheads="1"/>
              </p:cNvSpPr>
              <p:nvPr/>
            </p:nvSpPr>
            <p:spPr bwMode="auto">
              <a:xfrm>
                <a:off x="1209" y="3502"/>
                <a:ext cx="20" cy="1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0" name="Rectangle 154"/>
              <p:cNvSpPr>
                <a:spLocks noChangeArrowheads="1"/>
              </p:cNvSpPr>
              <p:nvPr/>
            </p:nvSpPr>
            <p:spPr bwMode="auto">
              <a:xfrm>
                <a:off x="1237" y="3478"/>
                <a:ext cx="16" cy="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1" name="Rectangle 155"/>
              <p:cNvSpPr>
                <a:spLocks noChangeArrowheads="1"/>
              </p:cNvSpPr>
              <p:nvPr/>
            </p:nvSpPr>
            <p:spPr bwMode="auto">
              <a:xfrm>
                <a:off x="1261" y="3478"/>
                <a:ext cx="20" cy="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2" name="Rectangle 156"/>
              <p:cNvSpPr>
                <a:spLocks noChangeArrowheads="1"/>
              </p:cNvSpPr>
              <p:nvPr/>
            </p:nvSpPr>
            <p:spPr bwMode="auto">
              <a:xfrm>
                <a:off x="1209" y="3478"/>
                <a:ext cx="20" cy="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3" name="Rectangle 157"/>
              <p:cNvSpPr>
                <a:spLocks noChangeArrowheads="1"/>
              </p:cNvSpPr>
              <p:nvPr/>
            </p:nvSpPr>
            <p:spPr bwMode="auto">
              <a:xfrm>
                <a:off x="1261" y="3530"/>
                <a:ext cx="20" cy="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4" name="Rectangle 158"/>
              <p:cNvSpPr>
                <a:spLocks noChangeArrowheads="1"/>
              </p:cNvSpPr>
              <p:nvPr/>
            </p:nvSpPr>
            <p:spPr bwMode="auto">
              <a:xfrm>
                <a:off x="1209" y="3530"/>
                <a:ext cx="20" cy="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5" name="Freeform 159"/>
              <p:cNvSpPr>
                <a:spLocks/>
              </p:cNvSpPr>
              <p:nvPr/>
            </p:nvSpPr>
            <p:spPr bwMode="auto">
              <a:xfrm>
                <a:off x="1237" y="3410"/>
                <a:ext cx="84" cy="160"/>
              </a:xfrm>
              <a:custGeom>
                <a:avLst/>
                <a:gdLst>
                  <a:gd name="T0" fmla="*/ 17 w 21"/>
                  <a:gd name="T1" fmla="*/ 0 h 40"/>
                  <a:gd name="T2" fmla="*/ 4 w 21"/>
                  <a:gd name="T3" fmla="*/ 0 h 40"/>
                  <a:gd name="T4" fmla="*/ 0 w 21"/>
                  <a:gd name="T5" fmla="*/ 4 h 40"/>
                  <a:gd name="T6" fmla="*/ 0 w 21"/>
                  <a:gd name="T7" fmla="*/ 11 h 40"/>
                  <a:gd name="T8" fmla="*/ 2 w 21"/>
                  <a:gd name="T9" fmla="*/ 11 h 40"/>
                  <a:gd name="T10" fmla="*/ 2 w 21"/>
                  <a:gd name="T11" fmla="*/ 4 h 40"/>
                  <a:gd name="T12" fmla="*/ 4 w 21"/>
                  <a:gd name="T13" fmla="*/ 3 h 40"/>
                  <a:gd name="T14" fmla="*/ 17 w 21"/>
                  <a:gd name="T15" fmla="*/ 3 h 40"/>
                  <a:gd name="T16" fmla="*/ 19 w 21"/>
                  <a:gd name="T17" fmla="*/ 4 h 40"/>
                  <a:gd name="T18" fmla="*/ 19 w 21"/>
                  <a:gd name="T19" fmla="*/ 40 h 40"/>
                  <a:gd name="T20" fmla="*/ 21 w 21"/>
                  <a:gd name="T21" fmla="*/ 40 h 40"/>
                  <a:gd name="T22" fmla="*/ 21 w 21"/>
                  <a:gd name="T23" fmla="*/ 4 h 40"/>
                  <a:gd name="T24" fmla="*/ 17 w 21"/>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40">
                    <a:moveTo>
                      <a:pt x="17" y="0"/>
                    </a:moveTo>
                    <a:cubicBezTo>
                      <a:pt x="4" y="0"/>
                      <a:pt x="4" y="0"/>
                      <a:pt x="4" y="0"/>
                    </a:cubicBezTo>
                    <a:cubicBezTo>
                      <a:pt x="2" y="0"/>
                      <a:pt x="0" y="2"/>
                      <a:pt x="0" y="4"/>
                    </a:cubicBezTo>
                    <a:cubicBezTo>
                      <a:pt x="0" y="11"/>
                      <a:pt x="0" y="11"/>
                      <a:pt x="0" y="11"/>
                    </a:cubicBezTo>
                    <a:cubicBezTo>
                      <a:pt x="2" y="11"/>
                      <a:pt x="2" y="11"/>
                      <a:pt x="2" y="11"/>
                    </a:cubicBezTo>
                    <a:cubicBezTo>
                      <a:pt x="2" y="4"/>
                      <a:pt x="2" y="4"/>
                      <a:pt x="2" y="4"/>
                    </a:cubicBezTo>
                    <a:cubicBezTo>
                      <a:pt x="2" y="3"/>
                      <a:pt x="3" y="3"/>
                      <a:pt x="4" y="3"/>
                    </a:cubicBezTo>
                    <a:cubicBezTo>
                      <a:pt x="17" y="3"/>
                      <a:pt x="17" y="3"/>
                      <a:pt x="17" y="3"/>
                    </a:cubicBezTo>
                    <a:cubicBezTo>
                      <a:pt x="18" y="3"/>
                      <a:pt x="19" y="3"/>
                      <a:pt x="19" y="4"/>
                    </a:cubicBezTo>
                    <a:cubicBezTo>
                      <a:pt x="19" y="40"/>
                      <a:pt x="19" y="40"/>
                      <a:pt x="19" y="40"/>
                    </a:cubicBezTo>
                    <a:cubicBezTo>
                      <a:pt x="21" y="40"/>
                      <a:pt x="21" y="40"/>
                      <a:pt x="21" y="40"/>
                    </a:cubicBezTo>
                    <a:cubicBezTo>
                      <a:pt x="21" y="4"/>
                      <a:pt x="21" y="4"/>
                      <a:pt x="21" y="4"/>
                    </a:cubicBezTo>
                    <a:cubicBezTo>
                      <a:pt x="21" y="2"/>
                      <a:pt x="19" y="0"/>
                      <a:pt x="1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6" name="Rectangle 160"/>
              <p:cNvSpPr>
                <a:spLocks noChangeArrowheads="1"/>
              </p:cNvSpPr>
              <p:nvPr/>
            </p:nvSpPr>
            <p:spPr bwMode="auto">
              <a:xfrm>
                <a:off x="1285" y="3430"/>
                <a:ext cx="16" cy="1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7" name="Rectangle 161"/>
              <p:cNvSpPr>
                <a:spLocks noChangeArrowheads="1"/>
              </p:cNvSpPr>
              <p:nvPr/>
            </p:nvSpPr>
            <p:spPr bwMode="auto">
              <a:xfrm>
                <a:off x="1257" y="3430"/>
                <a:ext cx="16" cy="1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grpSp>
        <p:nvGrpSpPr>
          <p:cNvPr id="52" name="Group 51"/>
          <p:cNvGrpSpPr/>
          <p:nvPr/>
        </p:nvGrpSpPr>
        <p:grpSpPr>
          <a:xfrm>
            <a:off x="9931450" y="2003540"/>
            <a:ext cx="1566181" cy="2409257"/>
            <a:chOff x="9931976" y="2003327"/>
            <a:chExt cx="1566403" cy="2409598"/>
          </a:xfrm>
        </p:grpSpPr>
        <p:sp>
          <p:nvSpPr>
            <p:cNvPr id="29" name="Rectangle 28"/>
            <p:cNvSpPr/>
            <p:nvPr/>
          </p:nvSpPr>
          <p:spPr bwMode="auto">
            <a:xfrm>
              <a:off x="9931976" y="2003327"/>
              <a:ext cx="1566403" cy="225326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Rectangle 118"/>
            <p:cNvSpPr/>
            <p:nvPr/>
          </p:nvSpPr>
          <p:spPr>
            <a:xfrm>
              <a:off x="10059857" y="3659842"/>
              <a:ext cx="1310640" cy="753083"/>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FFFFFF"/>
                  </a:solidFill>
                  <a:effectLst/>
                  <a:uLnTx/>
                  <a:uFillTx/>
                  <a:latin typeface="Segoe UI"/>
                  <a:ea typeface="+mn-ea"/>
                  <a:cs typeface="+mn-cs"/>
                </a:rPr>
                <a:t>30% Growth YoY</a:t>
              </a:r>
            </a:p>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269" name="Group 122"/>
            <p:cNvGrpSpPr>
              <a:grpSpLocks noChangeAspect="1"/>
            </p:cNvGrpSpPr>
            <p:nvPr/>
          </p:nvGrpSpPr>
          <p:grpSpPr bwMode="auto">
            <a:xfrm>
              <a:off x="10307036" y="2529190"/>
              <a:ext cx="788001" cy="788001"/>
              <a:chOff x="6302" y="2810"/>
              <a:chExt cx="177" cy="177"/>
            </a:xfrm>
          </p:grpSpPr>
          <p:sp>
            <p:nvSpPr>
              <p:cNvPr id="270" name="AutoShape 121"/>
              <p:cNvSpPr>
                <a:spLocks noChangeAspect="1" noChangeArrowheads="1" noTextEdit="1"/>
              </p:cNvSpPr>
              <p:nvPr/>
            </p:nvSpPr>
            <p:spPr bwMode="auto">
              <a:xfrm>
                <a:off x="6302" y="2810"/>
                <a:ext cx="177" cy="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71" name="Freeform 123"/>
              <p:cNvSpPr>
                <a:spLocks/>
              </p:cNvSpPr>
              <p:nvPr/>
            </p:nvSpPr>
            <p:spPr bwMode="auto">
              <a:xfrm>
                <a:off x="6300" y="2975"/>
                <a:ext cx="181" cy="12"/>
              </a:xfrm>
              <a:custGeom>
                <a:avLst/>
                <a:gdLst>
                  <a:gd name="T0" fmla="*/ 74 w 77"/>
                  <a:gd name="T1" fmla="*/ 0 h 5"/>
                  <a:gd name="T2" fmla="*/ 2 w 77"/>
                  <a:gd name="T3" fmla="*/ 0 h 5"/>
                  <a:gd name="T4" fmla="*/ 0 w 77"/>
                  <a:gd name="T5" fmla="*/ 2 h 5"/>
                  <a:gd name="T6" fmla="*/ 2 w 77"/>
                  <a:gd name="T7" fmla="*/ 5 h 5"/>
                  <a:gd name="T8" fmla="*/ 74 w 77"/>
                  <a:gd name="T9" fmla="*/ 5 h 5"/>
                  <a:gd name="T10" fmla="*/ 77 w 77"/>
                  <a:gd name="T11" fmla="*/ 2 h 5"/>
                  <a:gd name="T12" fmla="*/ 74 w 77"/>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77" h="5">
                    <a:moveTo>
                      <a:pt x="74" y="0"/>
                    </a:moveTo>
                    <a:cubicBezTo>
                      <a:pt x="2" y="0"/>
                      <a:pt x="2" y="0"/>
                      <a:pt x="2" y="0"/>
                    </a:cubicBezTo>
                    <a:cubicBezTo>
                      <a:pt x="1" y="0"/>
                      <a:pt x="0" y="1"/>
                      <a:pt x="0" y="2"/>
                    </a:cubicBezTo>
                    <a:cubicBezTo>
                      <a:pt x="0" y="4"/>
                      <a:pt x="1" y="5"/>
                      <a:pt x="2" y="5"/>
                    </a:cubicBezTo>
                    <a:cubicBezTo>
                      <a:pt x="74" y="5"/>
                      <a:pt x="74" y="5"/>
                      <a:pt x="74" y="5"/>
                    </a:cubicBezTo>
                    <a:cubicBezTo>
                      <a:pt x="75" y="5"/>
                      <a:pt x="77" y="4"/>
                      <a:pt x="77" y="2"/>
                    </a:cubicBezTo>
                    <a:cubicBezTo>
                      <a:pt x="77" y="1"/>
                      <a:pt x="75" y="0"/>
                      <a:pt x="7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72" name="Freeform 124"/>
              <p:cNvSpPr>
                <a:spLocks/>
              </p:cNvSpPr>
              <p:nvPr/>
            </p:nvSpPr>
            <p:spPr bwMode="auto">
              <a:xfrm>
                <a:off x="6314" y="2850"/>
                <a:ext cx="54" cy="113"/>
              </a:xfrm>
              <a:custGeom>
                <a:avLst/>
                <a:gdLst>
                  <a:gd name="T0" fmla="*/ 12 w 54"/>
                  <a:gd name="T1" fmla="*/ 113 h 113"/>
                  <a:gd name="T2" fmla="*/ 42 w 54"/>
                  <a:gd name="T3" fmla="*/ 113 h 113"/>
                  <a:gd name="T4" fmla="*/ 42 w 54"/>
                  <a:gd name="T5" fmla="*/ 31 h 113"/>
                  <a:gd name="T6" fmla="*/ 54 w 54"/>
                  <a:gd name="T7" fmla="*/ 31 h 113"/>
                  <a:gd name="T8" fmla="*/ 28 w 54"/>
                  <a:gd name="T9" fmla="*/ 0 h 113"/>
                  <a:gd name="T10" fmla="*/ 0 w 54"/>
                  <a:gd name="T11" fmla="*/ 31 h 113"/>
                  <a:gd name="T12" fmla="*/ 12 w 54"/>
                  <a:gd name="T13" fmla="*/ 31 h 113"/>
                  <a:gd name="T14" fmla="*/ 12 w 54"/>
                  <a:gd name="T15" fmla="*/ 113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13">
                    <a:moveTo>
                      <a:pt x="12" y="113"/>
                    </a:moveTo>
                    <a:lnTo>
                      <a:pt x="42" y="113"/>
                    </a:lnTo>
                    <a:lnTo>
                      <a:pt x="42" y="31"/>
                    </a:lnTo>
                    <a:lnTo>
                      <a:pt x="54" y="31"/>
                    </a:lnTo>
                    <a:lnTo>
                      <a:pt x="28" y="0"/>
                    </a:lnTo>
                    <a:lnTo>
                      <a:pt x="0" y="31"/>
                    </a:lnTo>
                    <a:lnTo>
                      <a:pt x="12" y="31"/>
                    </a:lnTo>
                    <a:lnTo>
                      <a:pt x="12"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73" name="Freeform 125"/>
              <p:cNvSpPr>
                <a:spLocks/>
              </p:cNvSpPr>
              <p:nvPr/>
            </p:nvSpPr>
            <p:spPr bwMode="auto">
              <a:xfrm>
                <a:off x="6363" y="2808"/>
                <a:ext cx="55" cy="155"/>
              </a:xfrm>
              <a:custGeom>
                <a:avLst/>
                <a:gdLst>
                  <a:gd name="T0" fmla="*/ 12 w 55"/>
                  <a:gd name="T1" fmla="*/ 155 h 155"/>
                  <a:gd name="T2" fmla="*/ 43 w 55"/>
                  <a:gd name="T3" fmla="*/ 155 h 155"/>
                  <a:gd name="T4" fmla="*/ 43 w 55"/>
                  <a:gd name="T5" fmla="*/ 30 h 155"/>
                  <a:gd name="T6" fmla="*/ 55 w 55"/>
                  <a:gd name="T7" fmla="*/ 30 h 155"/>
                  <a:gd name="T8" fmla="*/ 26 w 55"/>
                  <a:gd name="T9" fmla="*/ 0 h 155"/>
                  <a:gd name="T10" fmla="*/ 0 w 55"/>
                  <a:gd name="T11" fmla="*/ 30 h 155"/>
                  <a:gd name="T12" fmla="*/ 12 w 55"/>
                  <a:gd name="T13" fmla="*/ 30 h 155"/>
                  <a:gd name="T14" fmla="*/ 12 w 55"/>
                  <a:gd name="T15" fmla="*/ 155 h 1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55">
                    <a:moveTo>
                      <a:pt x="12" y="155"/>
                    </a:moveTo>
                    <a:lnTo>
                      <a:pt x="43" y="155"/>
                    </a:lnTo>
                    <a:lnTo>
                      <a:pt x="43" y="30"/>
                    </a:lnTo>
                    <a:lnTo>
                      <a:pt x="55" y="30"/>
                    </a:lnTo>
                    <a:lnTo>
                      <a:pt x="26" y="0"/>
                    </a:lnTo>
                    <a:lnTo>
                      <a:pt x="0" y="30"/>
                    </a:lnTo>
                    <a:lnTo>
                      <a:pt x="12" y="30"/>
                    </a:lnTo>
                    <a:lnTo>
                      <a:pt x="12" y="1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74" name="Freeform 126"/>
              <p:cNvSpPr>
                <a:spLocks/>
              </p:cNvSpPr>
              <p:nvPr/>
            </p:nvSpPr>
            <p:spPr bwMode="auto">
              <a:xfrm>
                <a:off x="6410" y="2890"/>
                <a:ext cx="55" cy="73"/>
              </a:xfrm>
              <a:custGeom>
                <a:avLst/>
                <a:gdLst>
                  <a:gd name="T0" fmla="*/ 12 w 55"/>
                  <a:gd name="T1" fmla="*/ 31 h 73"/>
                  <a:gd name="T2" fmla="*/ 12 w 55"/>
                  <a:gd name="T3" fmla="*/ 73 h 73"/>
                  <a:gd name="T4" fmla="*/ 45 w 55"/>
                  <a:gd name="T5" fmla="*/ 73 h 73"/>
                  <a:gd name="T6" fmla="*/ 45 w 55"/>
                  <a:gd name="T7" fmla="*/ 31 h 73"/>
                  <a:gd name="T8" fmla="*/ 55 w 55"/>
                  <a:gd name="T9" fmla="*/ 31 h 73"/>
                  <a:gd name="T10" fmla="*/ 29 w 55"/>
                  <a:gd name="T11" fmla="*/ 0 h 73"/>
                  <a:gd name="T12" fmla="*/ 0 w 55"/>
                  <a:gd name="T13" fmla="*/ 31 h 73"/>
                  <a:gd name="T14" fmla="*/ 12 w 55"/>
                  <a:gd name="T15" fmla="*/ 31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73">
                    <a:moveTo>
                      <a:pt x="12" y="31"/>
                    </a:moveTo>
                    <a:lnTo>
                      <a:pt x="12" y="73"/>
                    </a:lnTo>
                    <a:lnTo>
                      <a:pt x="45" y="73"/>
                    </a:lnTo>
                    <a:lnTo>
                      <a:pt x="45" y="31"/>
                    </a:lnTo>
                    <a:lnTo>
                      <a:pt x="55" y="31"/>
                    </a:lnTo>
                    <a:lnTo>
                      <a:pt x="29" y="0"/>
                    </a:lnTo>
                    <a:lnTo>
                      <a:pt x="0" y="31"/>
                    </a:lnTo>
                    <a:lnTo>
                      <a:pt x="12"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grpSp>
        <p:nvGrpSpPr>
          <p:cNvPr id="43" name="Group 42"/>
          <p:cNvGrpSpPr/>
          <p:nvPr/>
        </p:nvGrpSpPr>
        <p:grpSpPr>
          <a:xfrm>
            <a:off x="4299453" y="5108617"/>
            <a:ext cx="3214001" cy="1479669"/>
            <a:chOff x="4299181" y="5108845"/>
            <a:chExt cx="3214456" cy="1479879"/>
          </a:xfrm>
        </p:grpSpPr>
        <p:sp>
          <p:nvSpPr>
            <p:cNvPr id="17" name="Rectangle 16"/>
            <p:cNvSpPr/>
            <p:nvPr/>
          </p:nvSpPr>
          <p:spPr bwMode="auto">
            <a:xfrm>
              <a:off x="4299181" y="5108845"/>
              <a:ext cx="3214456" cy="1479879"/>
            </a:xfrm>
            <a:prstGeom prst="rect">
              <a:avLst/>
            </a:prstGeom>
            <a:solidFill>
              <a:srgbClr val="BD1F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p:cNvSpPr/>
            <p:nvPr/>
          </p:nvSpPr>
          <p:spPr>
            <a:xfrm>
              <a:off x="4541837" y="6237485"/>
              <a:ext cx="2958058" cy="313817"/>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FFFFFF"/>
                  </a:solidFill>
                  <a:effectLst/>
                  <a:uLnTx/>
                  <a:uFillTx/>
                  <a:latin typeface="Segoe UI"/>
                  <a:ea typeface="+mn-ea"/>
                  <a:cs typeface="+mn-cs"/>
                </a:rPr>
                <a:t>           Hybrid Cloud Model</a:t>
              </a:r>
            </a:p>
          </p:txBody>
        </p:sp>
        <p:grpSp>
          <p:nvGrpSpPr>
            <p:cNvPr id="275" name="Group 16"/>
            <p:cNvGrpSpPr>
              <a:grpSpLocks noChangeAspect="1"/>
            </p:cNvGrpSpPr>
            <p:nvPr/>
          </p:nvGrpSpPr>
          <p:grpSpPr bwMode="auto">
            <a:xfrm>
              <a:off x="5527063" y="5374071"/>
              <a:ext cx="995974" cy="790191"/>
              <a:chOff x="3894" y="912"/>
              <a:chExt cx="363" cy="288"/>
            </a:xfrm>
          </p:grpSpPr>
          <p:sp>
            <p:nvSpPr>
              <p:cNvPr id="276" name="AutoShape 15"/>
              <p:cNvSpPr>
                <a:spLocks noChangeAspect="1" noChangeArrowheads="1" noTextEdit="1"/>
              </p:cNvSpPr>
              <p:nvPr/>
            </p:nvSpPr>
            <p:spPr bwMode="auto">
              <a:xfrm>
                <a:off x="3896" y="912"/>
                <a:ext cx="354" cy="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77" name="Rectangle 17"/>
              <p:cNvSpPr>
                <a:spLocks noChangeArrowheads="1"/>
              </p:cNvSpPr>
              <p:nvPr/>
            </p:nvSpPr>
            <p:spPr bwMode="auto">
              <a:xfrm>
                <a:off x="3948" y="1054"/>
                <a:ext cx="21"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78" name="Rectangle 18"/>
              <p:cNvSpPr>
                <a:spLocks noChangeArrowheads="1"/>
              </p:cNvSpPr>
              <p:nvPr/>
            </p:nvSpPr>
            <p:spPr bwMode="auto">
              <a:xfrm>
                <a:off x="3948" y="1084"/>
                <a:ext cx="21" cy="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79" name="Rectangle 19"/>
              <p:cNvSpPr>
                <a:spLocks noChangeArrowheads="1"/>
              </p:cNvSpPr>
              <p:nvPr/>
            </p:nvSpPr>
            <p:spPr bwMode="auto">
              <a:xfrm>
                <a:off x="3948" y="1117"/>
                <a:ext cx="21"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80" name="Freeform 20"/>
              <p:cNvSpPr>
                <a:spLocks/>
              </p:cNvSpPr>
              <p:nvPr/>
            </p:nvSpPr>
            <p:spPr bwMode="auto">
              <a:xfrm>
                <a:off x="3948" y="999"/>
                <a:ext cx="172" cy="33"/>
              </a:xfrm>
              <a:custGeom>
                <a:avLst/>
                <a:gdLst>
                  <a:gd name="T0" fmla="*/ 68 w 73"/>
                  <a:gd name="T1" fmla="*/ 0 h 14"/>
                  <a:gd name="T2" fmla="*/ 4 w 73"/>
                  <a:gd name="T3" fmla="*/ 0 h 14"/>
                  <a:gd name="T4" fmla="*/ 0 w 73"/>
                  <a:gd name="T5" fmla="*/ 4 h 14"/>
                  <a:gd name="T6" fmla="*/ 0 w 73"/>
                  <a:gd name="T7" fmla="*/ 9 h 14"/>
                  <a:gd name="T8" fmla="*/ 4 w 73"/>
                  <a:gd name="T9" fmla="*/ 14 h 14"/>
                  <a:gd name="T10" fmla="*/ 68 w 73"/>
                  <a:gd name="T11" fmla="*/ 14 h 14"/>
                  <a:gd name="T12" fmla="*/ 73 w 73"/>
                  <a:gd name="T13" fmla="*/ 9 h 14"/>
                  <a:gd name="T14" fmla="*/ 73 w 73"/>
                  <a:gd name="T15" fmla="*/ 4 h 14"/>
                  <a:gd name="T16" fmla="*/ 68 w 7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68" y="0"/>
                    </a:moveTo>
                    <a:cubicBezTo>
                      <a:pt x="4" y="0"/>
                      <a:pt x="4" y="0"/>
                      <a:pt x="4" y="0"/>
                    </a:cubicBezTo>
                    <a:cubicBezTo>
                      <a:pt x="2" y="0"/>
                      <a:pt x="0" y="2"/>
                      <a:pt x="0" y="4"/>
                    </a:cubicBezTo>
                    <a:cubicBezTo>
                      <a:pt x="0" y="9"/>
                      <a:pt x="0" y="9"/>
                      <a:pt x="0" y="9"/>
                    </a:cubicBezTo>
                    <a:cubicBezTo>
                      <a:pt x="0" y="12"/>
                      <a:pt x="2" y="14"/>
                      <a:pt x="4" y="14"/>
                    </a:cubicBezTo>
                    <a:cubicBezTo>
                      <a:pt x="68" y="14"/>
                      <a:pt x="68" y="14"/>
                      <a:pt x="68" y="14"/>
                    </a:cubicBezTo>
                    <a:cubicBezTo>
                      <a:pt x="71" y="14"/>
                      <a:pt x="73" y="12"/>
                      <a:pt x="73" y="9"/>
                    </a:cubicBezTo>
                    <a:cubicBezTo>
                      <a:pt x="73" y="4"/>
                      <a:pt x="73" y="4"/>
                      <a:pt x="73" y="4"/>
                    </a:cubicBezTo>
                    <a:cubicBezTo>
                      <a:pt x="73" y="2"/>
                      <a:pt x="71" y="0"/>
                      <a:pt x="6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81" name="Freeform 21"/>
              <p:cNvSpPr>
                <a:spLocks noEditPoints="1"/>
              </p:cNvSpPr>
              <p:nvPr/>
            </p:nvSpPr>
            <p:spPr bwMode="auto">
              <a:xfrm>
                <a:off x="4082" y="1073"/>
                <a:ext cx="69" cy="68"/>
              </a:xfrm>
              <a:custGeom>
                <a:avLst/>
                <a:gdLst>
                  <a:gd name="T0" fmla="*/ 19 w 29"/>
                  <a:gd name="T1" fmla="*/ 28 h 29"/>
                  <a:gd name="T2" fmla="*/ 22 w 29"/>
                  <a:gd name="T3" fmla="*/ 27 h 29"/>
                  <a:gd name="T4" fmla="*/ 21 w 29"/>
                  <a:gd name="T5" fmla="*/ 25 h 29"/>
                  <a:gd name="T6" fmla="*/ 23 w 29"/>
                  <a:gd name="T7" fmla="*/ 23 h 29"/>
                  <a:gd name="T8" fmla="*/ 25 w 29"/>
                  <a:gd name="T9" fmla="*/ 24 h 29"/>
                  <a:gd name="T10" fmla="*/ 27 w 29"/>
                  <a:gd name="T11" fmla="*/ 22 h 29"/>
                  <a:gd name="T12" fmla="*/ 25 w 29"/>
                  <a:gd name="T13" fmla="*/ 20 h 29"/>
                  <a:gd name="T14" fmla="*/ 26 w 29"/>
                  <a:gd name="T15" fmla="*/ 18 h 29"/>
                  <a:gd name="T16" fmla="*/ 29 w 29"/>
                  <a:gd name="T17" fmla="*/ 18 h 29"/>
                  <a:gd name="T18" fmla="*/ 29 w 29"/>
                  <a:gd name="T19" fmla="*/ 15 h 29"/>
                  <a:gd name="T20" fmla="*/ 27 w 29"/>
                  <a:gd name="T21" fmla="*/ 14 h 29"/>
                  <a:gd name="T22" fmla="*/ 27 w 29"/>
                  <a:gd name="T23" fmla="*/ 13 h 29"/>
                  <a:gd name="T24" fmla="*/ 27 w 29"/>
                  <a:gd name="T25" fmla="*/ 12 h 29"/>
                  <a:gd name="T26" fmla="*/ 28 w 29"/>
                  <a:gd name="T27" fmla="*/ 11 h 29"/>
                  <a:gd name="T28" fmla="*/ 27 w 29"/>
                  <a:gd name="T29" fmla="*/ 8 h 29"/>
                  <a:gd name="T30" fmla="*/ 25 w 29"/>
                  <a:gd name="T31" fmla="*/ 8 h 29"/>
                  <a:gd name="T32" fmla="*/ 24 w 29"/>
                  <a:gd name="T33" fmla="*/ 6 h 29"/>
                  <a:gd name="T34" fmla="*/ 25 w 29"/>
                  <a:gd name="T35" fmla="*/ 4 h 29"/>
                  <a:gd name="T36" fmla="*/ 22 w 29"/>
                  <a:gd name="T37" fmla="*/ 2 h 29"/>
                  <a:gd name="T38" fmla="*/ 20 w 29"/>
                  <a:gd name="T39" fmla="*/ 4 h 29"/>
                  <a:gd name="T40" fmla="*/ 18 w 29"/>
                  <a:gd name="T41" fmla="*/ 3 h 29"/>
                  <a:gd name="T42" fmla="*/ 18 w 29"/>
                  <a:gd name="T43" fmla="*/ 1 h 29"/>
                  <a:gd name="T44" fmla="*/ 15 w 29"/>
                  <a:gd name="T45" fmla="*/ 0 h 29"/>
                  <a:gd name="T46" fmla="*/ 14 w 29"/>
                  <a:gd name="T47" fmla="*/ 2 h 29"/>
                  <a:gd name="T48" fmla="*/ 13 w 29"/>
                  <a:gd name="T49" fmla="*/ 3 h 29"/>
                  <a:gd name="T50" fmla="*/ 12 w 29"/>
                  <a:gd name="T51" fmla="*/ 3 h 29"/>
                  <a:gd name="T52" fmla="*/ 11 w 29"/>
                  <a:gd name="T53" fmla="*/ 1 h 29"/>
                  <a:gd name="T54" fmla="*/ 8 w 29"/>
                  <a:gd name="T55" fmla="*/ 2 h 29"/>
                  <a:gd name="T56" fmla="*/ 8 w 29"/>
                  <a:gd name="T57" fmla="*/ 4 h 29"/>
                  <a:gd name="T58" fmla="*/ 7 w 29"/>
                  <a:gd name="T59" fmla="*/ 6 h 29"/>
                  <a:gd name="T60" fmla="*/ 4 w 29"/>
                  <a:gd name="T61" fmla="*/ 5 h 29"/>
                  <a:gd name="T62" fmla="*/ 3 w 29"/>
                  <a:gd name="T63" fmla="*/ 7 h 29"/>
                  <a:gd name="T64" fmla="*/ 4 w 29"/>
                  <a:gd name="T65" fmla="*/ 9 h 29"/>
                  <a:gd name="T66" fmla="*/ 3 w 29"/>
                  <a:gd name="T67" fmla="*/ 11 h 29"/>
                  <a:gd name="T68" fmla="*/ 1 w 29"/>
                  <a:gd name="T69" fmla="*/ 11 h 29"/>
                  <a:gd name="T70" fmla="*/ 0 w 29"/>
                  <a:gd name="T71" fmla="*/ 14 h 29"/>
                  <a:gd name="T72" fmla="*/ 3 w 29"/>
                  <a:gd name="T73" fmla="*/ 15 h 29"/>
                  <a:gd name="T74" fmla="*/ 3 w 29"/>
                  <a:gd name="T75" fmla="*/ 16 h 29"/>
                  <a:gd name="T76" fmla="*/ 3 w 29"/>
                  <a:gd name="T77" fmla="*/ 17 h 29"/>
                  <a:gd name="T78" fmla="*/ 1 w 29"/>
                  <a:gd name="T79" fmla="*/ 18 h 29"/>
                  <a:gd name="T80" fmla="*/ 2 w 29"/>
                  <a:gd name="T81" fmla="*/ 21 h 29"/>
                  <a:gd name="T82" fmla="*/ 5 w 29"/>
                  <a:gd name="T83" fmla="*/ 21 h 29"/>
                  <a:gd name="T84" fmla="*/ 6 w 29"/>
                  <a:gd name="T85" fmla="*/ 23 h 29"/>
                  <a:gd name="T86" fmla="*/ 5 w 29"/>
                  <a:gd name="T87" fmla="*/ 25 h 29"/>
                  <a:gd name="T88" fmla="*/ 7 w 29"/>
                  <a:gd name="T89" fmla="*/ 27 h 29"/>
                  <a:gd name="T90" fmla="*/ 9 w 29"/>
                  <a:gd name="T91" fmla="*/ 25 h 29"/>
                  <a:gd name="T92" fmla="*/ 11 w 29"/>
                  <a:gd name="T93" fmla="*/ 26 h 29"/>
                  <a:gd name="T94" fmla="*/ 11 w 29"/>
                  <a:gd name="T95" fmla="*/ 28 h 29"/>
                  <a:gd name="T96" fmla="*/ 14 w 29"/>
                  <a:gd name="T97" fmla="*/ 29 h 29"/>
                  <a:gd name="T98" fmla="*/ 15 w 29"/>
                  <a:gd name="T99" fmla="*/ 27 h 29"/>
                  <a:gd name="T100" fmla="*/ 16 w 29"/>
                  <a:gd name="T101" fmla="*/ 26 h 29"/>
                  <a:gd name="T102" fmla="*/ 17 w 29"/>
                  <a:gd name="T103" fmla="*/ 26 h 29"/>
                  <a:gd name="T104" fmla="*/ 19 w 29"/>
                  <a:gd name="T105" fmla="*/ 28 h 29"/>
                  <a:gd name="T106" fmla="*/ 16 w 29"/>
                  <a:gd name="T107" fmla="*/ 22 h 29"/>
                  <a:gd name="T108" fmla="*/ 7 w 29"/>
                  <a:gd name="T109" fmla="*/ 15 h 29"/>
                  <a:gd name="T110" fmla="*/ 14 w 29"/>
                  <a:gd name="T111" fmla="*/ 7 h 29"/>
                  <a:gd name="T112" fmla="*/ 22 w 29"/>
                  <a:gd name="T113" fmla="*/ 14 h 29"/>
                  <a:gd name="T114" fmla="*/ 16 w 29"/>
                  <a:gd name="T115"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 h="29">
                    <a:moveTo>
                      <a:pt x="19" y="28"/>
                    </a:moveTo>
                    <a:cubicBezTo>
                      <a:pt x="20" y="28"/>
                      <a:pt x="21" y="28"/>
                      <a:pt x="22" y="27"/>
                    </a:cubicBezTo>
                    <a:cubicBezTo>
                      <a:pt x="21" y="25"/>
                      <a:pt x="21" y="25"/>
                      <a:pt x="21" y="25"/>
                    </a:cubicBezTo>
                    <a:cubicBezTo>
                      <a:pt x="22" y="24"/>
                      <a:pt x="22" y="24"/>
                      <a:pt x="23" y="23"/>
                    </a:cubicBezTo>
                    <a:cubicBezTo>
                      <a:pt x="25" y="24"/>
                      <a:pt x="25" y="24"/>
                      <a:pt x="25" y="24"/>
                    </a:cubicBezTo>
                    <a:cubicBezTo>
                      <a:pt x="26" y="24"/>
                      <a:pt x="26" y="23"/>
                      <a:pt x="27" y="22"/>
                    </a:cubicBezTo>
                    <a:cubicBezTo>
                      <a:pt x="25" y="20"/>
                      <a:pt x="25" y="20"/>
                      <a:pt x="25" y="20"/>
                    </a:cubicBezTo>
                    <a:cubicBezTo>
                      <a:pt x="26" y="20"/>
                      <a:pt x="26" y="19"/>
                      <a:pt x="26" y="18"/>
                    </a:cubicBezTo>
                    <a:cubicBezTo>
                      <a:pt x="29" y="18"/>
                      <a:pt x="29" y="18"/>
                      <a:pt x="29" y="18"/>
                    </a:cubicBezTo>
                    <a:cubicBezTo>
                      <a:pt x="29" y="17"/>
                      <a:pt x="29" y="16"/>
                      <a:pt x="29" y="15"/>
                    </a:cubicBezTo>
                    <a:cubicBezTo>
                      <a:pt x="27" y="14"/>
                      <a:pt x="27" y="14"/>
                      <a:pt x="27" y="14"/>
                    </a:cubicBezTo>
                    <a:cubicBezTo>
                      <a:pt x="27" y="14"/>
                      <a:pt x="27" y="13"/>
                      <a:pt x="27" y="13"/>
                    </a:cubicBezTo>
                    <a:cubicBezTo>
                      <a:pt x="27" y="13"/>
                      <a:pt x="27" y="12"/>
                      <a:pt x="27" y="12"/>
                    </a:cubicBezTo>
                    <a:cubicBezTo>
                      <a:pt x="28" y="11"/>
                      <a:pt x="28" y="11"/>
                      <a:pt x="28" y="11"/>
                    </a:cubicBezTo>
                    <a:cubicBezTo>
                      <a:pt x="28" y="10"/>
                      <a:pt x="28" y="9"/>
                      <a:pt x="27" y="8"/>
                    </a:cubicBezTo>
                    <a:cubicBezTo>
                      <a:pt x="25" y="8"/>
                      <a:pt x="25" y="8"/>
                      <a:pt x="25" y="8"/>
                    </a:cubicBezTo>
                    <a:cubicBezTo>
                      <a:pt x="25" y="7"/>
                      <a:pt x="24" y="7"/>
                      <a:pt x="24" y="6"/>
                    </a:cubicBezTo>
                    <a:cubicBezTo>
                      <a:pt x="25" y="4"/>
                      <a:pt x="25" y="4"/>
                      <a:pt x="25" y="4"/>
                    </a:cubicBezTo>
                    <a:cubicBezTo>
                      <a:pt x="24" y="3"/>
                      <a:pt x="23" y="3"/>
                      <a:pt x="22" y="2"/>
                    </a:cubicBezTo>
                    <a:cubicBezTo>
                      <a:pt x="20" y="4"/>
                      <a:pt x="20" y="4"/>
                      <a:pt x="20" y="4"/>
                    </a:cubicBezTo>
                    <a:cubicBezTo>
                      <a:pt x="20" y="3"/>
                      <a:pt x="19" y="3"/>
                      <a:pt x="18" y="3"/>
                    </a:cubicBezTo>
                    <a:cubicBezTo>
                      <a:pt x="18" y="1"/>
                      <a:pt x="18" y="1"/>
                      <a:pt x="18" y="1"/>
                    </a:cubicBezTo>
                    <a:cubicBezTo>
                      <a:pt x="17" y="0"/>
                      <a:pt x="16" y="0"/>
                      <a:pt x="15" y="0"/>
                    </a:cubicBezTo>
                    <a:cubicBezTo>
                      <a:pt x="14" y="2"/>
                      <a:pt x="14" y="2"/>
                      <a:pt x="14" y="2"/>
                    </a:cubicBezTo>
                    <a:cubicBezTo>
                      <a:pt x="14" y="2"/>
                      <a:pt x="14" y="2"/>
                      <a:pt x="13" y="3"/>
                    </a:cubicBezTo>
                    <a:cubicBezTo>
                      <a:pt x="13" y="3"/>
                      <a:pt x="13" y="3"/>
                      <a:pt x="12" y="3"/>
                    </a:cubicBezTo>
                    <a:cubicBezTo>
                      <a:pt x="11" y="1"/>
                      <a:pt x="11" y="1"/>
                      <a:pt x="11" y="1"/>
                    </a:cubicBezTo>
                    <a:cubicBezTo>
                      <a:pt x="10" y="1"/>
                      <a:pt x="9" y="1"/>
                      <a:pt x="8" y="2"/>
                    </a:cubicBezTo>
                    <a:cubicBezTo>
                      <a:pt x="8" y="4"/>
                      <a:pt x="8" y="4"/>
                      <a:pt x="8" y="4"/>
                    </a:cubicBezTo>
                    <a:cubicBezTo>
                      <a:pt x="8" y="5"/>
                      <a:pt x="7" y="5"/>
                      <a:pt x="7" y="6"/>
                    </a:cubicBezTo>
                    <a:cubicBezTo>
                      <a:pt x="4" y="5"/>
                      <a:pt x="4" y="5"/>
                      <a:pt x="4" y="5"/>
                    </a:cubicBezTo>
                    <a:cubicBezTo>
                      <a:pt x="4" y="5"/>
                      <a:pt x="3" y="6"/>
                      <a:pt x="3" y="7"/>
                    </a:cubicBezTo>
                    <a:cubicBezTo>
                      <a:pt x="4" y="9"/>
                      <a:pt x="4" y="9"/>
                      <a:pt x="4" y="9"/>
                    </a:cubicBezTo>
                    <a:cubicBezTo>
                      <a:pt x="4" y="10"/>
                      <a:pt x="3" y="10"/>
                      <a:pt x="3" y="11"/>
                    </a:cubicBezTo>
                    <a:cubicBezTo>
                      <a:pt x="1" y="11"/>
                      <a:pt x="1" y="11"/>
                      <a:pt x="1" y="11"/>
                    </a:cubicBezTo>
                    <a:cubicBezTo>
                      <a:pt x="1" y="12"/>
                      <a:pt x="0" y="13"/>
                      <a:pt x="0" y="14"/>
                    </a:cubicBezTo>
                    <a:cubicBezTo>
                      <a:pt x="3" y="15"/>
                      <a:pt x="3" y="15"/>
                      <a:pt x="3" y="15"/>
                    </a:cubicBezTo>
                    <a:cubicBezTo>
                      <a:pt x="3" y="15"/>
                      <a:pt x="3" y="16"/>
                      <a:pt x="3" y="16"/>
                    </a:cubicBezTo>
                    <a:cubicBezTo>
                      <a:pt x="3" y="16"/>
                      <a:pt x="3" y="17"/>
                      <a:pt x="3" y="17"/>
                    </a:cubicBezTo>
                    <a:cubicBezTo>
                      <a:pt x="1" y="18"/>
                      <a:pt x="1" y="18"/>
                      <a:pt x="1" y="18"/>
                    </a:cubicBezTo>
                    <a:cubicBezTo>
                      <a:pt x="1" y="19"/>
                      <a:pt x="2" y="20"/>
                      <a:pt x="2" y="21"/>
                    </a:cubicBezTo>
                    <a:cubicBezTo>
                      <a:pt x="5" y="21"/>
                      <a:pt x="5" y="21"/>
                      <a:pt x="5" y="21"/>
                    </a:cubicBezTo>
                    <a:cubicBezTo>
                      <a:pt x="5" y="22"/>
                      <a:pt x="5" y="22"/>
                      <a:pt x="6" y="23"/>
                    </a:cubicBezTo>
                    <a:cubicBezTo>
                      <a:pt x="5" y="25"/>
                      <a:pt x="5" y="25"/>
                      <a:pt x="5" y="25"/>
                    </a:cubicBezTo>
                    <a:cubicBezTo>
                      <a:pt x="6" y="26"/>
                      <a:pt x="6" y="26"/>
                      <a:pt x="7" y="27"/>
                    </a:cubicBezTo>
                    <a:cubicBezTo>
                      <a:pt x="9" y="25"/>
                      <a:pt x="9" y="25"/>
                      <a:pt x="9" y="25"/>
                    </a:cubicBezTo>
                    <a:cubicBezTo>
                      <a:pt x="10" y="26"/>
                      <a:pt x="10" y="26"/>
                      <a:pt x="11" y="26"/>
                    </a:cubicBezTo>
                    <a:cubicBezTo>
                      <a:pt x="11" y="28"/>
                      <a:pt x="11" y="28"/>
                      <a:pt x="11" y="28"/>
                    </a:cubicBezTo>
                    <a:cubicBezTo>
                      <a:pt x="12" y="29"/>
                      <a:pt x="13" y="29"/>
                      <a:pt x="14" y="29"/>
                    </a:cubicBezTo>
                    <a:cubicBezTo>
                      <a:pt x="15" y="27"/>
                      <a:pt x="15" y="27"/>
                      <a:pt x="15" y="27"/>
                    </a:cubicBezTo>
                    <a:cubicBezTo>
                      <a:pt x="16" y="27"/>
                      <a:pt x="16" y="27"/>
                      <a:pt x="16" y="26"/>
                    </a:cubicBezTo>
                    <a:cubicBezTo>
                      <a:pt x="17" y="26"/>
                      <a:pt x="17" y="26"/>
                      <a:pt x="17" y="26"/>
                    </a:cubicBezTo>
                    <a:lnTo>
                      <a:pt x="19" y="28"/>
                    </a:lnTo>
                    <a:close/>
                    <a:moveTo>
                      <a:pt x="16" y="22"/>
                    </a:moveTo>
                    <a:cubicBezTo>
                      <a:pt x="12" y="23"/>
                      <a:pt x="8" y="20"/>
                      <a:pt x="7" y="15"/>
                    </a:cubicBezTo>
                    <a:cubicBezTo>
                      <a:pt x="7" y="11"/>
                      <a:pt x="10" y="7"/>
                      <a:pt x="14" y="7"/>
                    </a:cubicBezTo>
                    <a:cubicBezTo>
                      <a:pt x="18" y="6"/>
                      <a:pt x="22" y="9"/>
                      <a:pt x="22" y="14"/>
                    </a:cubicBezTo>
                    <a:cubicBezTo>
                      <a:pt x="23" y="18"/>
                      <a:pt x="20" y="22"/>
                      <a:pt x="16" y="2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82" name="Freeform 22"/>
              <p:cNvSpPr>
                <a:spLocks noEditPoints="1"/>
              </p:cNvSpPr>
              <p:nvPr/>
            </p:nvSpPr>
            <p:spPr bwMode="auto">
              <a:xfrm>
                <a:off x="3894" y="912"/>
                <a:ext cx="280" cy="281"/>
              </a:xfrm>
              <a:custGeom>
                <a:avLst/>
                <a:gdLst>
                  <a:gd name="T0" fmla="*/ 93 w 119"/>
                  <a:gd name="T1" fmla="*/ 118 h 119"/>
                  <a:gd name="T2" fmla="*/ 93 w 119"/>
                  <a:gd name="T3" fmla="*/ 118 h 119"/>
                  <a:gd name="T4" fmla="*/ 92 w 119"/>
                  <a:gd name="T5" fmla="*/ 115 h 119"/>
                  <a:gd name="T6" fmla="*/ 91 w 119"/>
                  <a:gd name="T7" fmla="*/ 112 h 119"/>
                  <a:gd name="T8" fmla="*/ 90 w 119"/>
                  <a:gd name="T9" fmla="*/ 110 h 119"/>
                  <a:gd name="T10" fmla="*/ 14 w 119"/>
                  <a:gd name="T11" fmla="*/ 110 h 119"/>
                  <a:gd name="T12" fmla="*/ 9 w 119"/>
                  <a:gd name="T13" fmla="*/ 106 h 119"/>
                  <a:gd name="T14" fmla="*/ 9 w 119"/>
                  <a:gd name="T15" fmla="*/ 23 h 119"/>
                  <a:gd name="T16" fmla="*/ 110 w 119"/>
                  <a:gd name="T17" fmla="*/ 23 h 119"/>
                  <a:gd name="T18" fmla="*/ 110 w 119"/>
                  <a:gd name="T19" fmla="*/ 58 h 119"/>
                  <a:gd name="T20" fmla="*/ 113 w 119"/>
                  <a:gd name="T21" fmla="*/ 55 h 119"/>
                  <a:gd name="T22" fmla="*/ 115 w 119"/>
                  <a:gd name="T23" fmla="*/ 53 h 119"/>
                  <a:gd name="T24" fmla="*/ 117 w 119"/>
                  <a:gd name="T25" fmla="*/ 55 h 119"/>
                  <a:gd name="T26" fmla="*/ 117 w 119"/>
                  <a:gd name="T27" fmla="*/ 52 h 119"/>
                  <a:gd name="T28" fmla="*/ 119 w 119"/>
                  <a:gd name="T29" fmla="*/ 52 h 119"/>
                  <a:gd name="T30" fmla="*/ 119 w 119"/>
                  <a:gd name="T31" fmla="*/ 14 h 119"/>
                  <a:gd name="T32" fmla="*/ 105 w 119"/>
                  <a:gd name="T33" fmla="*/ 0 h 119"/>
                  <a:gd name="T34" fmla="*/ 14 w 119"/>
                  <a:gd name="T35" fmla="*/ 0 h 119"/>
                  <a:gd name="T36" fmla="*/ 0 w 119"/>
                  <a:gd name="T37" fmla="*/ 14 h 119"/>
                  <a:gd name="T38" fmla="*/ 0 w 119"/>
                  <a:gd name="T39" fmla="*/ 106 h 119"/>
                  <a:gd name="T40" fmla="*/ 14 w 119"/>
                  <a:gd name="T41" fmla="*/ 119 h 119"/>
                  <a:gd name="T42" fmla="*/ 95 w 119"/>
                  <a:gd name="T43" fmla="*/ 119 h 119"/>
                  <a:gd name="T44" fmla="*/ 93 w 119"/>
                  <a:gd name="T45" fmla="*/ 118 h 119"/>
                  <a:gd name="T46" fmla="*/ 97 w 119"/>
                  <a:gd name="T47" fmla="*/ 10 h 119"/>
                  <a:gd name="T48" fmla="*/ 100 w 119"/>
                  <a:gd name="T49" fmla="*/ 7 h 119"/>
                  <a:gd name="T50" fmla="*/ 103 w 119"/>
                  <a:gd name="T51" fmla="*/ 7 h 119"/>
                  <a:gd name="T52" fmla="*/ 106 w 119"/>
                  <a:gd name="T53" fmla="*/ 10 h 119"/>
                  <a:gd name="T54" fmla="*/ 106 w 119"/>
                  <a:gd name="T55" fmla="*/ 14 h 119"/>
                  <a:gd name="T56" fmla="*/ 103 w 119"/>
                  <a:gd name="T57" fmla="*/ 17 h 119"/>
                  <a:gd name="T58" fmla="*/ 100 w 119"/>
                  <a:gd name="T59" fmla="*/ 17 h 119"/>
                  <a:gd name="T60" fmla="*/ 97 w 119"/>
                  <a:gd name="T61" fmla="*/ 14 h 119"/>
                  <a:gd name="T62" fmla="*/ 97 w 119"/>
                  <a:gd name="T63" fmla="*/ 10 h 119"/>
                  <a:gd name="T64" fmla="*/ 81 w 119"/>
                  <a:gd name="T65" fmla="*/ 10 h 119"/>
                  <a:gd name="T66" fmla="*/ 84 w 119"/>
                  <a:gd name="T67" fmla="*/ 7 h 119"/>
                  <a:gd name="T68" fmla="*/ 87 w 119"/>
                  <a:gd name="T69" fmla="*/ 7 h 119"/>
                  <a:gd name="T70" fmla="*/ 90 w 119"/>
                  <a:gd name="T71" fmla="*/ 10 h 119"/>
                  <a:gd name="T72" fmla="*/ 90 w 119"/>
                  <a:gd name="T73" fmla="*/ 14 h 119"/>
                  <a:gd name="T74" fmla="*/ 87 w 119"/>
                  <a:gd name="T75" fmla="*/ 17 h 119"/>
                  <a:gd name="T76" fmla="*/ 84 w 119"/>
                  <a:gd name="T77" fmla="*/ 17 h 119"/>
                  <a:gd name="T78" fmla="*/ 81 w 119"/>
                  <a:gd name="T79" fmla="*/ 14 h 119"/>
                  <a:gd name="T80" fmla="*/ 81 w 119"/>
                  <a:gd name="T81" fmla="*/ 10 h 119"/>
                  <a:gd name="T82" fmla="*/ 66 w 119"/>
                  <a:gd name="T83" fmla="*/ 10 h 119"/>
                  <a:gd name="T84" fmla="*/ 69 w 119"/>
                  <a:gd name="T85" fmla="*/ 7 h 119"/>
                  <a:gd name="T86" fmla="*/ 72 w 119"/>
                  <a:gd name="T87" fmla="*/ 7 h 119"/>
                  <a:gd name="T88" fmla="*/ 75 w 119"/>
                  <a:gd name="T89" fmla="*/ 10 h 119"/>
                  <a:gd name="T90" fmla="*/ 75 w 119"/>
                  <a:gd name="T91" fmla="*/ 14 h 119"/>
                  <a:gd name="T92" fmla="*/ 72 w 119"/>
                  <a:gd name="T93" fmla="*/ 17 h 119"/>
                  <a:gd name="T94" fmla="*/ 69 w 119"/>
                  <a:gd name="T95" fmla="*/ 17 h 119"/>
                  <a:gd name="T96" fmla="*/ 66 w 119"/>
                  <a:gd name="T97" fmla="*/ 14 h 119"/>
                  <a:gd name="T98" fmla="*/ 66 w 119"/>
                  <a:gd name="T99" fmla="*/ 1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9" h="119">
                    <a:moveTo>
                      <a:pt x="93" y="118"/>
                    </a:moveTo>
                    <a:cubicBezTo>
                      <a:pt x="93" y="118"/>
                      <a:pt x="93" y="118"/>
                      <a:pt x="93" y="118"/>
                    </a:cubicBezTo>
                    <a:cubicBezTo>
                      <a:pt x="92" y="115"/>
                      <a:pt x="92" y="115"/>
                      <a:pt x="92" y="115"/>
                    </a:cubicBezTo>
                    <a:cubicBezTo>
                      <a:pt x="91" y="114"/>
                      <a:pt x="91" y="113"/>
                      <a:pt x="91" y="112"/>
                    </a:cubicBezTo>
                    <a:cubicBezTo>
                      <a:pt x="90" y="110"/>
                      <a:pt x="90" y="110"/>
                      <a:pt x="90" y="110"/>
                    </a:cubicBezTo>
                    <a:cubicBezTo>
                      <a:pt x="14" y="110"/>
                      <a:pt x="14" y="110"/>
                      <a:pt x="14" y="110"/>
                    </a:cubicBezTo>
                    <a:cubicBezTo>
                      <a:pt x="11" y="110"/>
                      <a:pt x="9" y="108"/>
                      <a:pt x="9" y="106"/>
                    </a:cubicBezTo>
                    <a:cubicBezTo>
                      <a:pt x="9" y="23"/>
                      <a:pt x="9" y="23"/>
                      <a:pt x="9" y="23"/>
                    </a:cubicBezTo>
                    <a:cubicBezTo>
                      <a:pt x="110" y="23"/>
                      <a:pt x="110" y="23"/>
                      <a:pt x="110" y="23"/>
                    </a:cubicBezTo>
                    <a:cubicBezTo>
                      <a:pt x="110" y="58"/>
                      <a:pt x="110" y="58"/>
                      <a:pt x="110" y="58"/>
                    </a:cubicBezTo>
                    <a:cubicBezTo>
                      <a:pt x="111" y="57"/>
                      <a:pt x="112" y="56"/>
                      <a:pt x="113" y="55"/>
                    </a:cubicBezTo>
                    <a:cubicBezTo>
                      <a:pt x="115" y="53"/>
                      <a:pt x="115" y="53"/>
                      <a:pt x="115" y="53"/>
                    </a:cubicBezTo>
                    <a:cubicBezTo>
                      <a:pt x="117" y="55"/>
                      <a:pt x="117" y="55"/>
                      <a:pt x="117" y="55"/>
                    </a:cubicBezTo>
                    <a:cubicBezTo>
                      <a:pt x="117" y="52"/>
                      <a:pt x="117" y="52"/>
                      <a:pt x="117" y="52"/>
                    </a:cubicBezTo>
                    <a:cubicBezTo>
                      <a:pt x="119" y="52"/>
                      <a:pt x="119" y="52"/>
                      <a:pt x="119" y="52"/>
                    </a:cubicBezTo>
                    <a:cubicBezTo>
                      <a:pt x="119" y="14"/>
                      <a:pt x="119" y="14"/>
                      <a:pt x="119" y="14"/>
                    </a:cubicBezTo>
                    <a:cubicBezTo>
                      <a:pt x="119" y="6"/>
                      <a:pt x="113" y="0"/>
                      <a:pt x="105" y="0"/>
                    </a:cubicBezTo>
                    <a:cubicBezTo>
                      <a:pt x="14" y="0"/>
                      <a:pt x="14" y="0"/>
                      <a:pt x="14" y="0"/>
                    </a:cubicBezTo>
                    <a:cubicBezTo>
                      <a:pt x="6" y="0"/>
                      <a:pt x="0" y="6"/>
                      <a:pt x="0" y="14"/>
                    </a:cubicBezTo>
                    <a:cubicBezTo>
                      <a:pt x="0" y="106"/>
                      <a:pt x="0" y="106"/>
                      <a:pt x="0" y="106"/>
                    </a:cubicBezTo>
                    <a:cubicBezTo>
                      <a:pt x="0" y="113"/>
                      <a:pt x="6" y="119"/>
                      <a:pt x="14" y="119"/>
                    </a:cubicBezTo>
                    <a:cubicBezTo>
                      <a:pt x="95" y="119"/>
                      <a:pt x="95" y="119"/>
                      <a:pt x="95" y="119"/>
                    </a:cubicBezTo>
                    <a:lnTo>
                      <a:pt x="93" y="118"/>
                    </a:lnTo>
                    <a:close/>
                    <a:moveTo>
                      <a:pt x="97" y="10"/>
                    </a:moveTo>
                    <a:cubicBezTo>
                      <a:pt x="97" y="9"/>
                      <a:pt x="98" y="7"/>
                      <a:pt x="100" y="7"/>
                    </a:cubicBezTo>
                    <a:cubicBezTo>
                      <a:pt x="103" y="7"/>
                      <a:pt x="103" y="7"/>
                      <a:pt x="103" y="7"/>
                    </a:cubicBezTo>
                    <a:cubicBezTo>
                      <a:pt x="104" y="7"/>
                      <a:pt x="106" y="9"/>
                      <a:pt x="106" y="10"/>
                    </a:cubicBezTo>
                    <a:cubicBezTo>
                      <a:pt x="106" y="14"/>
                      <a:pt x="106" y="14"/>
                      <a:pt x="106" y="14"/>
                    </a:cubicBezTo>
                    <a:cubicBezTo>
                      <a:pt x="106" y="15"/>
                      <a:pt x="104" y="17"/>
                      <a:pt x="103" y="17"/>
                    </a:cubicBezTo>
                    <a:cubicBezTo>
                      <a:pt x="100" y="17"/>
                      <a:pt x="100" y="17"/>
                      <a:pt x="100" y="17"/>
                    </a:cubicBezTo>
                    <a:cubicBezTo>
                      <a:pt x="98" y="17"/>
                      <a:pt x="97" y="15"/>
                      <a:pt x="97" y="14"/>
                    </a:cubicBezTo>
                    <a:lnTo>
                      <a:pt x="97" y="10"/>
                    </a:lnTo>
                    <a:close/>
                    <a:moveTo>
                      <a:pt x="81" y="10"/>
                    </a:moveTo>
                    <a:cubicBezTo>
                      <a:pt x="81" y="9"/>
                      <a:pt x="83" y="7"/>
                      <a:pt x="84" y="7"/>
                    </a:cubicBezTo>
                    <a:cubicBezTo>
                      <a:pt x="87" y="7"/>
                      <a:pt x="87" y="7"/>
                      <a:pt x="87" y="7"/>
                    </a:cubicBezTo>
                    <a:cubicBezTo>
                      <a:pt x="89" y="7"/>
                      <a:pt x="90" y="9"/>
                      <a:pt x="90" y="10"/>
                    </a:cubicBezTo>
                    <a:cubicBezTo>
                      <a:pt x="90" y="14"/>
                      <a:pt x="90" y="14"/>
                      <a:pt x="90" y="14"/>
                    </a:cubicBezTo>
                    <a:cubicBezTo>
                      <a:pt x="90" y="15"/>
                      <a:pt x="89" y="17"/>
                      <a:pt x="87" y="17"/>
                    </a:cubicBezTo>
                    <a:cubicBezTo>
                      <a:pt x="84" y="17"/>
                      <a:pt x="84" y="17"/>
                      <a:pt x="84" y="17"/>
                    </a:cubicBezTo>
                    <a:cubicBezTo>
                      <a:pt x="83" y="17"/>
                      <a:pt x="81" y="15"/>
                      <a:pt x="81" y="14"/>
                    </a:cubicBezTo>
                    <a:lnTo>
                      <a:pt x="81" y="10"/>
                    </a:lnTo>
                    <a:close/>
                    <a:moveTo>
                      <a:pt x="66" y="10"/>
                    </a:moveTo>
                    <a:cubicBezTo>
                      <a:pt x="66" y="9"/>
                      <a:pt x="67" y="7"/>
                      <a:pt x="69" y="7"/>
                    </a:cubicBezTo>
                    <a:cubicBezTo>
                      <a:pt x="72" y="7"/>
                      <a:pt x="72" y="7"/>
                      <a:pt x="72" y="7"/>
                    </a:cubicBezTo>
                    <a:cubicBezTo>
                      <a:pt x="74" y="7"/>
                      <a:pt x="75" y="9"/>
                      <a:pt x="75" y="10"/>
                    </a:cubicBezTo>
                    <a:cubicBezTo>
                      <a:pt x="75" y="14"/>
                      <a:pt x="75" y="14"/>
                      <a:pt x="75" y="14"/>
                    </a:cubicBezTo>
                    <a:cubicBezTo>
                      <a:pt x="75" y="15"/>
                      <a:pt x="74" y="17"/>
                      <a:pt x="72" y="17"/>
                    </a:cubicBezTo>
                    <a:cubicBezTo>
                      <a:pt x="69" y="17"/>
                      <a:pt x="69" y="17"/>
                      <a:pt x="69" y="17"/>
                    </a:cubicBezTo>
                    <a:cubicBezTo>
                      <a:pt x="67" y="17"/>
                      <a:pt x="66" y="15"/>
                      <a:pt x="66" y="14"/>
                    </a:cubicBezTo>
                    <a:lnTo>
                      <a:pt x="66"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83" name="Freeform 23"/>
              <p:cNvSpPr>
                <a:spLocks/>
              </p:cNvSpPr>
              <p:nvPr/>
            </p:nvSpPr>
            <p:spPr bwMode="auto">
              <a:xfrm>
                <a:off x="3990" y="1117"/>
                <a:ext cx="95" cy="21"/>
              </a:xfrm>
              <a:custGeom>
                <a:avLst/>
                <a:gdLst>
                  <a:gd name="T0" fmla="*/ 39 w 40"/>
                  <a:gd name="T1" fmla="*/ 8 h 9"/>
                  <a:gd name="T2" fmla="*/ 37 w 40"/>
                  <a:gd name="T3" fmla="*/ 6 h 9"/>
                  <a:gd name="T4" fmla="*/ 37 w 40"/>
                  <a:gd name="T5" fmla="*/ 6 h 9"/>
                  <a:gd name="T6" fmla="*/ 37 w 40"/>
                  <a:gd name="T7" fmla="*/ 6 h 9"/>
                  <a:gd name="T8" fmla="*/ 36 w 40"/>
                  <a:gd name="T9" fmla="*/ 6 h 9"/>
                  <a:gd name="T10" fmla="*/ 37 w 40"/>
                  <a:gd name="T11" fmla="*/ 6 h 9"/>
                  <a:gd name="T12" fmla="*/ 35 w 40"/>
                  <a:gd name="T13" fmla="*/ 4 h 9"/>
                  <a:gd name="T14" fmla="*/ 34 w 40"/>
                  <a:gd name="T15" fmla="*/ 0 h 9"/>
                  <a:gd name="T16" fmla="*/ 0 w 40"/>
                  <a:gd name="T17" fmla="*/ 0 h 9"/>
                  <a:gd name="T18" fmla="*/ 0 w 40"/>
                  <a:gd name="T19" fmla="*/ 9 h 9"/>
                  <a:gd name="T20" fmla="*/ 40 w 40"/>
                  <a:gd name="T21" fmla="*/ 9 h 9"/>
                  <a:gd name="T22" fmla="*/ 39 w 40"/>
                  <a:gd name="T23"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9">
                    <a:moveTo>
                      <a:pt x="39" y="8"/>
                    </a:moveTo>
                    <a:cubicBezTo>
                      <a:pt x="37" y="6"/>
                      <a:pt x="37" y="6"/>
                      <a:pt x="37" y="6"/>
                    </a:cubicBezTo>
                    <a:cubicBezTo>
                      <a:pt x="37" y="6"/>
                      <a:pt x="37" y="6"/>
                      <a:pt x="37" y="6"/>
                    </a:cubicBezTo>
                    <a:cubicBezTo>
                      <a:pt x="37" y="6"/>
                      <a:pt x="37" y="6"/>
                      <a:pt x="37" y="6"/>
                    </a:cubicBezTo>
                    <a:cubicBezTo>
                      <a:pt x="36" y="6"/>
                      <a:pt x="36" y="6"/>
                      <a:pt x="36" y="6"/>
                    </a:cubicBezTo>
                    <a:cubicBezTo>
                      <a:pt x="37" y="6"/>
                      <a:pt x="37" y="6"/>
                      <a:pt x="37" y="6"/>
                    </a:cubicBezTo>
                    <a:cubicBezTo>
                      <a:pt x="35" y="4"/>
                      <a:pt x="35" y="4"/>
                      <a:pt x="35" y="4"/>
                    </a:cubicBezTo>
                    <a:cubicBezTo>
                      <a:pt x="35" y="3"/>
                      <a:pt x="34" y="1"/>
                      <a:pt x="34" y="0"/>
                    </a:cubicBezTo>
                    <a:cubicBezTo>
                      <a:pt x="0" y="0"/>
                      <a:pt x="0" y="0"/>
                      <a:pt x="0" y="0"/>
                    </a:cubicBezTo>
                    <a:cubicBezTo>
                      <a:pt x="0" y="9"/>
                      <a:pt x="0" y="9"/>
                      <a:pt x="0" y="9"/>
                    </a:cubicBezTo>
                    <a:cubicBezTo>
                      <a:pt x="40" y="9"/>
                      <a:pt x="40" y="9"/>
                      <a:pt x="40" y="9"/>
                    </a:cubicBezTo>
                    <a:cubicBezTo>
                      <a:pt x="39" y="9"/>
                      <a:pt x="39" y="9"/>
                      <a:pt x="39"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84" name="Freeform 24"/>
              <p:cNvSpPr>
                <a:spLocks/>
              </p:cNvSpPr>
              <p:nvPr/>
            </p:nvSpPr>
            <p:spPr bwMode="auto">
              <a:xfrm>
                <a:off x="3990" y="1054"/>
                <a:ext cx="130" cy="21"/>
              </a:xfrm>
              <a:custGeom>
                <a:avLst/>
                <a:gdLst>
                  <a:gd name="T0" fmla="*/ 40 w 55"/>
                  <a:gd name="T1" fmla="*/ 7 h 9"/>
                  <a:gd name="T2" fmla="*/ 40 w 55"/>
                  <a:gd name="T3" fmla="*/ 7 h 9"/>
                  <a:gd name="T4" fmla="*/ 40 w 55"/>
                  <a:gd name="T5" fmla="*/ 7 h 9"/>
                  <a:gd name="T6" fmla="*/ 40 w 55"/>
                  <a:gd name="T7" fmla="*/ 7 h 9"/>
                  <a:gd name="T8" fmla="*/ 40 w 55"/>
                  <a:gd name="T9" fmla="*/ 7 h 9"/>
                  <a:gd name="T10" fmla="*/ 42 w 55"/>
                  <a:gd name="T11" fmla="*/ 6 h 9"/>
                  <a:gd name="T12" fmla="*/ 46 w 55"/>
                  <a:gd name="T13" fmla="*/ 4 h 9"/>
                  <a:gd name="T14" fmla="*/ 49 w 55"/>
                  <a:gd name="T15" fmla="*/ 3 h 9"/>
                  <a:gd name="T16" fmla="*/ 49 w 55"/>
                  <a:gd name="T17" fmla="*/ 3 h 9"/>
                  <a:gd name="T18" fmla="*/ 49 w 55"/>
                  <a:gd name="T19" fmla="*/ 3 h 9"/>
                  <a:gd name="T20" fmla="*/ 49 w 55"/>
                  <a:gd name="T21" fmla="*/ 3 h 9"/>
                  <a:gd name="T22" fmla="*/ 49 w 55"/>
                  <a:gd name="T23" fmla="*/ 3 h 9"/>
                  <a:gd name="T24" fmla="*/ 52 w 55"/>
                  <a:gd name="T25" fmla="*/ 3 h 9"/>
                  <a:gd name="T26" fmla="*/ 55 w 55"/>
                  <a:gd name="T27" fmla="*/ 4 h 9"/>
                  <a:gd name="T28" fmla="*/ 55 w 55"/>
                  <a:gd name="T29" fmla="*/ 0 h 9"/>
                  <a:gd name="T30" fmla="*/ 0 w 55"/>
                  <a:gd name="T31" fmla="*/ 0 h 9"/>
                  <a:gd name="T32" fmla="*/ 0 w 55"/>
                  <a:gd name="T33" fmla="*/ 9 h 9"/>
                  <a:gd name="T34" fmla="*/ 38 w 55"/>
                  <a:gd name="T35" fmla="*/ 9 h 9"/>
                  <a:gd name="T36" fmla="*/ 40 w 55"/>
                  <a:gd name="T37"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 h="9">
                    <a:moveTo>
                      <a:pt x="40" y="7"/>
                    </a:moveTo>
                    <a:cubicBezTo>
                      <a:pt x="40" y="7"/>
                      <a:pt x="40" y="7"/>
                      <a:pt x="40" y="7"/>
                    </a:cubicBezTo>
                    <a:cubicBezTo>
                      <a:pt x="40" y="7"/>
                      <a:pt x="40" y="7"/>
                      <a:pt x="40" y="7"/>
                    </a:cubicBezTo>
                    <a:cubicBezTo>
                      <a:pt x="40" y="7"/>
                      <a:pt x="40" y="7"/>
                      <a:pt x="40" y="7"/>
                    </a:cubicBezTo>
                    <a:cubicBezTo>
                      <a:pt x="40" y="7"/>
                      <a:pt x="40" y="7"/>
                      <a:pt x="40" y="7"/>
                    </a:cubicBezTo>
                    <a:cubicBezTo>
                      <a:pt x="42" y="6"/>
                      <a:pt x="42" y="6"/>
                      <a:pt x="42" y="6"/>
                    </a:cubicBezTo>
                    <a:cubicBezTo>
                      <a:pt x="44" y="5"/>
                      <a:pt x="45" y="5"/>
                      <a:pt x="46" y="4"/>
                    </a:cubicBezTo>
                    <a:cubicBezTo>
                      <a:pt x="49" y="3"/>
                      <a:pt x="49" y="3"/>
                      <a:pt x="49" y="3"/>
                    </a:cubicBezTo>
                    <a:cubicBezTo>
                      <a:pt x="49" y="3"/>
                      <a:pt x="49" y="3"/>
                      <a:pt x="49" y="3"/>
                    </a:cubicBezTo>
                    <a:cubicBezTo>
                      <a:pt x="49" y="3"/>
                      <a:pt x="49" y="3"/>
                      <a:pt x="49" y="3"/>
                    </a:cubicBezTo>
                    <a:cubicBezTo>
                      <a:pt x="49" y="3"/>
                      <a:pt x="49" y="3"/>
                      <a:pt x="49" y="3"/>
                    </a:cubicBezTo>
                    <a:cubicBezTo>
                      <a:pt x="49" y="3"/>
                      <a:pt x="49" y="3"/>
                      <a:pt x="49" y="3"/>
                    </a:cubicBezTo>
                    <a:cubicBezTo>
                      <a:pt x="52" y="3"/>
                      <a:pt x="52" y="3"/>
                      <a:pt x="52" y="3"/>
                    </a:cubicBezTo>
                    <a:cubicBezTo>
                      <a:pt x="53" y="3"/>
                      <a:pt x="54" y="4"/>
                      <a:pt x="55" y="4"/>
                    </a:cubicBezTo>
                    <a:cubicBezTo>
                      <a:pt x="55" y="0"/>
                      <a:pt x="55" y="0"/>
                      <a:pt x="55" y="0"/>
                    </a:cubicBezTo>
                    <a:cubicBezTo>
                      <a:pt x="0" y="0"/>
                      <a:pt x="0" y="0"/>
                      <a:pt x="0" y="0"/>
                    </a:cubicBezTo>
                    <a:cubicBezTo>
                      <a:pt x="0" y="9"/>
                      <a:pt x="0" y="9"/>
                      <a:pt x="0" y="9"/>
                    </a:cubicBezTo>
                    <a:cubicBezTo>
                      <a:pt x="38" y="9"/>
                      <a:pt x="38" y="9"/>
                      <a:pt x="38" y="9"/>
                    </a:cubicBezTo>
                    <a:lnTo>
                      <a:pt x="4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85" name="Freeform 25"/>
              <p:cNvSpPr>
                <a:spLocks/>
              </p:cNvSpPr>
              <p:nvPr/>
            </p:nvSpPr>
            <p:spPr bwMode="auto">
              <a:xfrm>
                <a:off x="3990" y="1084"/>
                <a:ext cx="83" cy="24"/>
              </a:xfrm>
              <a:custGeom>
                <a:avLst/>
                <a:gdLst>
                  <a:gd name="T0" fmla="*/ 32 w 35"/>
                  <a:gd name="T1" fmla="*/ 9 h 10"/>
                  <a:gd name="T2" fmla="*/ 33 w 35"/>
                  <a:gd name="T3" fmla="*/ 5 h 10"/>
                  <a:gd name="T4" fmla="*/ 34 w 35"/>
                  <a:gd name="T5" fmla="*/ 2 h 10"/>
                  <a:gd name="T6" fmla="*/ 34 w 35"/>
                  <a:gd name="T7" fmla="*/ 2 h 10"/>
                  <a:gd name="T8" fmla="*/ 34 w 35"/>
                  <a:gd name="T9" fmla="*/ 2 h 10"/>
                  <a:gd name="T10" fmla="*/ 34 w 35"/>
                  <a:gd name="T11" fmla="*/ 2 h 10"/>
                  <a:gd name="T12" fmla="*/ 34 w 35"/>
                  <a:gd name="T13" fmla="*/ 2 h 10"/>
                  <a:gd name="T14" fmla="*/ 35 w 35"/>
                  <a:gd name="T15" fmla="*/ 0 h 10"/>
                  <a:gd name="T16" fmla="*/ 0 w 35"/>
                  <a:gd name="T17" fmla="*/ 0 h 10"/>
                  <a:gd name="T18" fmla="*/ 0 w 35"/>
                  <a:gd name="T19" fmla="*/ 10 h 10"/>
                  <a:gd name="T20" fmla="*/ 32 w 35"/>
                  <a:gd name="T21" fmla="*/ 10 h 10"/>
                  <a:gd name="T22" fmla="*/ 32 w 35"/>
                  <a:gd name="T23"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10">
                    <a:moveTo>
                      <a:pt x="32" y="9"/>
                    </a:moveTo>
                    <a:cubicBezTo>
                      <a:pt x="33" y="7"/>
                      <a:pt x="33" y="6"/>
                      <a:pt x="33" y="5"/>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5" y="0"/>
                      <a:pt x="35" y="0"/>
                      <a:pt x="35" y="0"/>
                    </a:cubicBezTo>
                    <a:cubicBezTo>
                      <a:pt x="0" y="0"/>
                      <a:pt x="0" y="0"/>
                      <a:pt x="0" y="0"/>
                    </a:cubicBezTo>
                    <a:cubicBezTo>
                      <a:pt x="0" y="10"/>
                      <a:pt x="0" y="10"/>
                      <a:pt x="0" y="10"/>
                    </a:cubicBezTo>
                    <a:cubicBezTo>
                      <a:pt x="32" y="10"/>
                      <a:pt x="32" y="10"/>
                      <a:pt x="32" y="10"/>
                    </a:cubicBezTo>
                    <a:lnTo>
                      <a:pt x="3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86" name="Freeform 26"/>
              <p:cNvSpPr>
                <a:spLocks noEditPoints="1"/>
              </p:cNvSpPr>
              <p:nvPr/>
            </p:nvSpPr>
            <p:spPr bwMode="auto">
              <a:xfrm>
                <a:off x="4151" y="1040"/>
                <a:ext cx="106" cy="106"/>
              </a:xfrm>
              <a:custGeom>
                <a:avLst/>
                <a:gdLst>
                  <a:gd name="T0" fmla="*/ 41 w 45"/>
                  <a:gd name="T1" fmla="*/ 23 h 45"/>
                  <a:gd name="T2" fmla="*/ 41 w 45"/>
                  <a:gd name="T3" fmla="*/ 22 h 45"/>
                  <a:gd name="T4" fmla="*/ 45 w 45"/>
                  <a:gd name="T5" fmla="*/ 20 h 45"/>
                  <a:gd name="T6" fmla="*/ 43 w 45"/>
                  <a:gd name="T7" fmla="*/ 15 h 45"/>
                  <a:gd name="T8" fmla="*/ 40 w 45"/>
                  <a:gd name="T9" fmla="*/ 15 h 45"/>
                  <a:gd name="T10" fmla="*/ 38 w 45"/>
                  <a:gd name="T11" fmla="*/ 12 h 45"/>
                  <a:gd name="T12" fmla="*/ 40 w 45"/>
                  <a:gd name="T13" fmla="*/ 9 h 45"/>
                  <a:gd name="T14" fmla="*/ 37 w 45"/>
                  <a:gd name="T15" fmla="*/ 6 h 45"/>
                  <a:gd name="T16" fmla="*/ 34 w 45"/>
                  <a:gd name="T17" fmla="*/ 7 h 45"/>
                  <a:gd name="T18" fmla="*/ 31 w 45"/>
                  <a:gd name="T19" fmla="*/ 6 h 45"/>
                  <a:gd name="T20" fmla="*/ 31 w 45"/>
                  <a:gd name="T21" fmla="*/ 2 h 45"/>
                  <a:gd name="T22" fmla="*/ 26 w 45"/>
                  <a:gd name="T23" fmla="*/ 1 h 45"/>
                  <a:gd name="T24" fmla="*/ 25 w 45"/>
                  <a:gd name="T25" fmla="*/ 4 h 45"/>
                  <a:gd name="T26" fmla="*/ 23 w 45"/>
                  <a:gd name="T27" fmla="*/ 4 h 45"/>
                  <a:gd name="T28" fmla="*/ 21 w 45"/>
                  <a:gd name="T29" fmla="*/ 4 h 45"/>
                  <a:gd name="T30" fmla="*/ 20 w 45"/>
                  <a:gd name="T31" fmla="*/ 0 h 45"/>
                  <a:gd name="T32" fmla="*/ 15 w 45"/>
                  <a:gd name="T33" fmla="*/ 1 h 45"/>
                  <a:gd name="T34" fmla="*/ 15 w 45"/>
                  <a:gd name="T35" fmla="*/ 5 h 45"/>
                  <a:gd name="T36" fmla="*/ 12 w 45"/>
                  <a:gd name="T37" fmla="*/ 7 h 45"/>
                  <a:gd name="T38" fmla="*/ 9 w 45"/>
                  <a:gd name="T39" fmla="*/ 5 h 45"/>
                  <a:gd name="T40" fmla="*/ 5 w 45"/>
                  <a:gd name="T41" fmla="*/ 8 h 45"/>
                  <a:gd name="T42" fmla="*/ 7 w 45"/>
                  <a:gd name="T43" fmla="*/ 11 h 45"/>
                  <a:gd name="T44" fmla="*/ 5 w 45"/>
                  <a:gd name="T45" fmla="*/ 14 h 45"/>
                  <a:gd name="T46" fmla="*/ 2 w 45"/>
                  <a:gd name="T47" fmla="*/ 14 h 45"/>
                  <a:gd name="T48" fmla="*/ 0 w 45"/>
                  <a:gd name="T49" fmla="*/ 18 h 45"/>
                  <a:gd name="T50" fmla="*/ 4 w 45"/>
                  <a:gd name="T51" fmla="*/ 20 h 45"/>
                  <a:gd name="T52" fmla="*/ 3 w 45"/>
                  <a:gd name="T53" fmla="*/ 22 h 45"/>
                  <a:gd name="T54" fmla="*/ 3 w 45"/>
                  <a:gd name="T55" fmla="*/ 24 h 45"/>
                  <a:gd name="T56" fmla="*/ 0 w 45"/>
                  <a:gd name="T57" fmla="*/ 25 h 45"/>
                  <a:gd name="T58" fmla="*/ 1 w 45"/>
                  <a:gd name="T59" fmla="*/ 30 h 45"/>
                  <a:gd name="T60" fmla="*/ 5 w 45"/>
                  <a:gd name="T61" fmla="*/ 30 h 45"/>
                  <a:gd name="T62" fmla="*/ 6 w 45"/>
                  <a:gd name="T63" fmla="*/ 33 h 45"/>
                  <a:gd name="T64" fmla="*/ 4 w 45"/>
                  <a:gd name="T65" fmla="*/ 36 h 45"/>
                  <a:gd name="T66" fmla="*/ 8 w 45"/>
                  <a:gd name="T67" fmla="*/ 40 h 45"/>
                  <a:gd name="T68" fmla="*/ 11 w 45"/>
                  <a:gd name="T69" fmla="*/ 38 h 45"/>
                  <a:gd name="T70" fmla="*/ 14 w 45"/>
                  <a:gd name="T71" fmla="*/ 39 h 45"/>
                  <a:gd name="T72" fmla="*/ 14 w 45"/>
                  <a:gd name="T73" fmla="*/ 43 h 45"/>
                  <a:gd name="T74" fmla="*/ 18 w 45"/>
                  <a:gd name="T75" fmla="*/ 45 h 45"/>
                  <a:gd name="T76" fmla="*/ 20 w 45"/>
                  <a:gd name="T77" fmla="*/ 41 h 45"/>
                  <a:gd name="T78" fmla="*/ 22 w 45"/>
                  <a:gd name="T79" fmla="*/ 42 h 45"/>
                  <a:gd name="T80" fmla="*/ 23 w 45"/>
                  <a:gd name="T81" fmla="*/ 41 h 45"/>
                  <a:gd name="T82" fmla="*/ 25 w 45"/>
                  <a:gd name="T83" fmla="*/ 45 h 45"/>
                  <a:gd name="T84" fmla="*/ 30 w 45"/>
                  <a:gd name="T85" fmla="*/ 44 h 45"/>
                  <a:gd name="T86" fmla="*/ 30 w 45"/>
                  <a:gd name="T87" fmla="*/ 40 h 45"/>
                  <a:gd name="T88" fmla="*/ 33 w 45"/>
                  <a:gd name="T89" fmla="*/ 38 h 45"/>
                  <a:gd name="T90" fmla="*/ 36 w 45"/>
                  <a:gd name="T91" fmla="*/ 40 h 45"/>
                  <a:gd name="T92" fmla="*/ 39 w 45"/>
                  <a:gd name="T93" fmla="*/ 37 h 45"/>
                  <a:gd name="T94" fmla="*/ 37 w 45"/>
                  <a:gd name="T95" fmla="*/ 34 h 45"/>
                  <a:gd name="T96" fmla="*/ 39 w 45"/>
                  <a:gd name="T97" fmla="*/ 31 h 45"/>
                  <a:gd name="T98" fmla="*/ 43 w 45"/>
                  <a:gd name="T99" fmla="*/ 31 h 45"/>
                  <a:gd name="T100" fmla="*/ 44 w 45"/>
                  <a:gd name="T101" fmla="*/ 27 h 45"/>
                  <a:gd name="T102" fmla="*/ 41 w 45"/>
                  <a:gd name="T103" fmla="*/ 25 h 45"/>
                  <a:gd name="T104" fmla="*/ 41 w 45"/>
                  <a:gd name="T105" fmla="*/ 23 h 45"/>
                  <a:gd name="T106" fmla="*/ 34 w 45"/>
                  <a:gd name="T107" fmla="*/ 23 h 45"/>
                  <a:gd name="T108" fmla="*/ 22 w 45"/>
                  <a:gd name="T109" fmla="*/ 35 h 45"/>
                  <a:gd name="T110" fmla="*/ 10 w 45"/>
                  <a:gd name="T111" fmla="*/ 22 h 45"/>
                  <a:gd name="T112" fmla="*/ 23 w 45"/>
                  <a:gd name="T113" fmla="*/ 11 h 45"/>
                  <a:gd name="T114" fmla="*/ 34 w 45"/>
                  <a:gd name="T115"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 h="45">
                    <a:moveTo>
                      <a:pt x="41" y="23"/>
                    </a:moveTo>
                    <a:cubicBezTo>
                      <a:pt x="41" y="23"/>
                      <a:pt x="41" y="22"/>
                      <a:pt x="41" y="22"/>
                    </a:cubicBezTo>
                    <a:cubicBezTo>
                      <a:pt x="45" y="20"/>
                      <a:pt x="45" y="20"/>
                      <a:pt x="45" y="20"/>
                    </a:cubicBezTo>
                    <a:cubicBezTo>
                      <a:pt x="44" y="18"/>
                      <a:pt x="44" y="17"/>
                      <a:pt x="43" y="15"/>
                    </a:cubicBezTo>
                    <a:cubicBezTo>
                      <a:pt x="40" y="15"/>
                      <a:pt x="40" y="15"/>
                      <a:pt x="40" y="15"/>
                    </a:cubicBezTo>
                    <a:cubicBezTo>
                      <a:pt x="39" y="14"/>
                      <a:pt x="39" y="13"/>
                      <a:pt x="38" y="12"/>
                    </a:cubicBezTo>
                    <a:cubicBezTo>
                      <a:pt x="40" y="9"/>
                      <a:pt x="40" y="9"/>
                      <a:pt x="40" y="9"/>
                    </a:cubicBezTo>
                    <a:cubicBezTo>
                      <a:pt x="39" y="8"/>
                      <a:pt x="38" y="7"/>
                      <a:pt x="37" y="6"/>
                    </a:cubicBezTo>
                    <a:cubicBezTo>
                      <a:pt x="34" y="7"/>
                      <a:pt x="34" y="7"/>
                      <a:pt x="34" y="7"/>
                    </a:cubicBezTo>
                    <a:cubicBezTo>
                      <a:pt x="33" y="7"/>
                      <a:pt x="32" y="6"/>
                      <a:pt x="31" y="6"/>
                    </a:cubicBezTo>
                    <a:cubicBezTo>
                      <a:pt x="31" y="2"/>
                      <a:pt x="31" y="2"/>
                      <a:pt x="31" y="2"/>
                    </a:cubicBezTo>
                    <a:cubicBezTo>
                      <a:pt x="30" y="1"/>
                      <a:pt x="28" y="1"/>
                      <a:pt x="26" y="1"/>
                    </a:cubicBezTo>
                    <a:cubicBezTo>
                      <a:pt x="25" y="4"/>
                      <a:pt x="25" y="4"/>
                      <a:pt x="25" y="4"/>
                    </a:cubicBezTo>
                    <a:cubicBezTo>
                      <a:pt x="24" y="4"/>
                      <a:pt x="23" y="4"/>
                      <a:pt x="23" y="4"/>
                    </a:cubicBezTo>
                    <a:cubicBezTo>
                      <a:pt x="22" y="4"/>
                      <a:pt x="22" y="4"/>
                      <a:pt x="21" y="4"/>
                    </a:cubicBezTo>
                    <a:cubicBezTo>
                      <a:pt x="20" y="0"/>
                      <a:pt x="20" y="0"/>
                      <a:pt x="20" y="0"/>
                    </a:cubicBezTo>
                    <a:cubicBezTo>
                      <a:pt x="18" y="1"/>
                      <a:pt x="16" y="1"/>
                      <a:pt x="15" y="1"/>
                    </a:cubicBezTo>
                    <a:cubicBezTo>
                      <a:pt x="15" y="5"/>
                      <a:pt x="15" y="5"/>
                      <a:pt x="15" y="5"/>
                    </a:cubicBezTo>
                    <a:cubicBezTo>
                      <a:pt x="14" y="6"/>
                      <a:pt x="13" y="6"/>
                      <a:pt x="12" y="7"/>
                    </a:cubicBezTo>
                    <a:cubicBezTo>
                      <a:pt x="9" y="5"/>
                      <a:pt x="9" y="5"/>
                      <a:pt x="9" y="5"/>
                    </a:cubicBezTo>
                    <a:cubicBezTo>
                      <a:pt x="8" y="6"/>
                      <a:pt x="6" y="7"/>
                      <a:pt x="5" y="8"/>
                    </a:cubicBezTo>
                    <a:cubicBezTo>
                      <a:pt x="7" y="11"/>
                      <a:pt x="7" y="11"/>
                      <a:pt x="7" y="11"/>
                    </a:cubicBezTo>
                    <a:cubicBezTo>
                      <a:pt x="6" y="12"/>
                      <a:pt x="6" y="13"/>
                      <a:pt x="5" y="14"/>
                    </a:cubicBezTo>
                    <a:cubicBezTo>
                      <a:pt x="2" y="14"/>
                      <a:pt x="2" y="14"/>
                      <a:pt x="2" y="14"/>
                    </a:cubicBezTo>
                    <a:cubicBezTo>
                      <a:pt x="1" y="15"/>
                      <a:pt x="1" y="17"/>
                      <a:pt x="0" y="18"/>
                    </a:cubicBezTo>
                    <a:cubicBezTo>
                      <a:pt x="4" y="20"/>
                      <a:pt x="4" y="20"/>
                      <a:pt x="4" y="20"/>
                    </a:cubicBezTo>
                    <a:cubicBezTo>
                      <a:pt x="3" y="21"/>
                      <a:pt x="3" y="21"/>
                      <a:pt x="3" y="22"/>
                    </a:cubicBezTo>
                    <a:cubicBezTo>
                      <a:pt x="3" y="23"/>
                      <a:pt x="3" y="23"/>
                      <a:pt x="3" y="24"/>
                    </a:cubicBezTo>
                    <a:cubicBezTo>
                      <a:pt x="0" y="25"/>
                      <a:pt x="0" y="25"/>
                      <a:pt x="0" y="25"/>
                    </a:cubicBezTo>
                    <a:cubicBezTo>
                      <a:pt x="0" y="27"/>
                      <a:pt x="1" y="29"/>
                      <a:pt x="1" y="30"/>
                    </a:cubicBezTo>
                    <a:cubicBezTo>
                      <a:pt x="5" y="30"/>
                      <a:pt x="5" y="30"/>
                      <a:pt x="5" y="30"/>
                    </a:cubicBezTo>
                    <a:cubicBezTo>
                      <a:pt x="5" y="31"/>
                      <a:pt x="6" y="32"/>
                      <a:pt x="6" y="33"/>
                    </a:cubicBezTo>
                    <a:cubicBezTo>
                      <a:pt x="4" y="36"/>
                      <a:pt x="4" y="36"/>
                      <a:pt x="4" y="36"/>
                    </a:cubicBezTo>
                    <a:cubicBezTo>
                      <a:pt x="5" y="37"/>
                      <a:pt x="7" y="39"/>
                      <a:pt x="8" y="40"/>
                    </a:cubicBezTo>
                    <a:cubicBezTo>
                      <a:pt x="11" y="38"/>
                      <a:pt x="11" y="38"/>
                      <a:pt x="11" y="38"/>
                    </a:cubicBezTo>
                    <a:cubicBezTo>
                      <a:pt x="12" y="38"/>
                      <a:pt x="13" y="39"/>
                      <a:pt x="14" y="39"/>
                    </a:cubicBezTo>
                    <a:cubicBezTo>
                      <a:pt x="14" y="43"/>
                      <a:pt x="14" y="43"/>
                      <a:pt x="14" y="43"/>
                    </a:cubicBezTo>
                    <a:cubicBezTo>
                      <a:pt x="15" y="44"/>
                      <a:pt x="17" y="44"/>
                      <a:pt x="18" y="45"/>
                    </a:cubicBezTo>
                    <a:cubicBezTo>
                      <a:pt x="20" y="41"/>
                      <a:pt x="20" y="41"/>
                      <a:pt x="20" y="41"/>
                    </a:cubicBezTo>
                    <a:cubicBezTo>
                      <a:pt x="21" y="41"/>
                      <a:pt x="21" y="42"/>
                      <a:pt x="22" y="42"/>
                    </a:cubicBezTo>
                    <a:cubicBezTo>
                      <a:pt x="22" y="42"/>
                      <a:pt x="23" y="42"/>
                      <a:pt x="23" y="41"/>
                    </a:cubicBezTo>
                    <a:cubicBezTo>
                      <a:pt x="25" y="45"/>
                      <a:pt x="25" y="45"/>
                      <a:pt x="25" y="45"/>
                    </a:cubicBezTo>
                    <a:cubicBezTo>
                      <a:pt x="27" y="45"/>
                      <a:pt x="28" y="44"/>
                      <a:pt x="30" y="44"/>
                    </a:cubicBezTo>
                    <a:cubicBezTo>
                      <a:pt x="30" y="40"/>
                      <a:pt x="30" y="40"/>
                      <a:pt x="30" y="40"/>
                    </a:cubicBezTo>
                    <a:cubicBezTo>
                      <a:pt x="31" y="40"/>
                      <a:pt x="32" y="39"/>
                      <a:pt x="33" y="38"/>
                    </a:cubicBezTo>
                    <a:cubicBezTo>
                      <a:pt x="36" y="40"/>
                      <a:pt x="36" y="40"/>
                      <a:pt x="36" y="40"/>
                    </a:cubicBezTo>
                    <a:cubicBezTo>
                      <a:pt x="37" y="39"/>
                      <a:pt x="38" y="38"/>
                      <a:pt x="39" y="37"/>
                    </a:cubicBezTo>
                    <a:cubicBezTo>
                      <a:pt x="37" y="34"/>
                      <a:pt x="37" y="34"/>
                      <a:pt x="37" y="34"/>
                    </a:cubicBezTo>
                    <a:cubicBezTo>
                      <a:pt x="38" y="33"/>
                      <a:pt x="39" y="32"/>
                      <a:pt x="39" y="31"/>
                    </a:cubicBezTo>
                    <a:cubicBezTo>
                      <a:pt x="43" y="31"/>
                      <a:pt x="43" y="31"/>
                      <a:pt x="43" y="31"/>
                    </a:cubicBezTo>
                    <a:cubicBezTo>
                      <a:pt x="44" y="30"/>
                      <a:pt x="44" y="28"/>
                      <a:pt x="44" y="27"/>
                    </a:cubicBezTo>
                    <a:cubicBezTo>
                      <a:pt x="41" y="25"/>
                      <a:pt x="41" y="25"/>
                      <a:pt x="41" y="25"/>
                    </a:cubicBezTo>
                    <a:cubicBezTo>
                      <a:pt x="41" y="24"/>
                      <a:pt x="41" y="24"/>
                      <a:pt x="41" y="23"/>
                    </a:cubicBezTo>
                    <a:moveTo>
                      <a:pt x="34" y="23"/>
                    </a:moveTo>
                    <a:cubicBezTo>
                      <a:pt x="34" y="30"/>
                      <a:pt x="29" y="35"/>
                      <a:pt x="22" y="35"/>
                    </a:cubicBezTo>
                    <a:cubicBezTo>
                      <a:pt x="15" y="34"/>
                      <a:pt x="10" y="29"/>
                      <a:pt x="10" y="22"/>
                    </a:cubicBezTo>
                    <a:cubicBezTo>
                      <a:pt x="11" y="16"/>
                      <a:pt x="16" y="10"/>
                      <a:pt x="23" y="11"/>
                    </a:cubicBezTo>
                    <a:cubicBezTo>
                      <a:pt x="29" y="11"/>
                      <a:pt x="34" y="16"/>
                      <a:pt x="3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87" name="Freeform 27"/>
              <p:cNvSpPr>
                <a:spLocks noEditPoints="1"/>
              </p:cNvSpPr>
              <p:nvPr/>
            </p:nvSpPr>
            <p:spPr bwMode="auto">
              <a:xfrm>
                <a:off x="4120" y="1132"/>
                <a:ext cx="66" cy="68"/>
              </a:xfrm>
              <a:custGeom>
                <a:avLst/>
                <a:gdLst>
                  <a:gd name="T0" fmla="*/ 26 w 28"/>
                  <a:gd name="T1" fmla="*/ 13 h 29"/>
                  <a:gd name="T2" fmla="*/ 26 w 28"/>
                  <a:gd name="T3" fmla="*/ 12 h 29"/>
                  <a:gd name="T4" fmla="*/ 28 w 28"/>
                  <a:gd name="T5" fmla="*/ 11 h 29"/>
                  <a:gd name="T6" fmla="*/ 27 w 28"/>
                  <a:gd name="T7" fmla="*/ 8 h 29"/>
                  <a:gd name="T8" fmla="*/ 24 w 28"/>
                  <a:gd name="T9" fmla="*/ 8 h 29"/>
                  <a:gd name="T10" fmla="*/ 23 w 28"/>
                  <a:gd name="T11" fmla="*/ 7 h 29"/>
                  <a:gd name="T12" fmla="*/ 24 w 28"/>
                  <a:gd name="T13" fmla="*/ 4 h 29"/>
                  <a:gd name="T14" fmla="*/ 22 w 28"/>
                  <a:gd name="T15" fmla="*/ 3 h 29"/>
                  <a:gd name="T16" fmla="*/ 20 w 28"/>
                  <a:gd name="T17" fmla="*/ 4 h 29"/>
                  <a:gd name="T18" fmla="*/ 18 w 28"/>
                  <a:gd name="T19" fmla="*/ 3 h 29"/>
                  <a:gd name="T20" fmla="*/ 18 w 28"/>
                  <a:gd name="T21" fmla="*/ 1 h 29"/>
                  <a:gd name="T22" fmla="*/ 15 w 28"/>
                  <a:gd name="T23" fmla="*/ 0 h 29"/>
                  <a:gd name="T24" fmla="*/ 14 w 28"/>
                  <a:gd name="T25" fmla="*/ 3 h 29"/>
                  <a:gd name="T26" fmla="*/ 13 w 28"/>
                  <a:gd name="T27" fmla="*/ 3 h 29"/>
                  <a:gd name="T28" fmla="*/ 12 w 28"/>
                  <a:gd name="T29" fmla="*/ 3 h 29"/>
                  <a:gd name="T30" fmla="*/ 10 w 28"/>
                  <a:gd name="T31" fmla="*/ 1 h 29"/>
                  <a:gd name="T32" fmla="*/ 7 w 28"/>
                  <a:gd name="T33" fmla="*/ 2 h 29"/>
                  <a:gd name="T34" fmla="*/ 8 w 28"/>
                  <a:gd name="T35" fmla="*/ 4 h 29"/>
                  <a:gd name="T36" fmla="*/ 6 w 28"/>
                  <a:gd name="T37" fmla="*/ 6 h 29"/>
                  <a:gd name="T38" fmla="*/ 4 w 28"/>
                  <a:gd name="T39" fmla="*/ 5 h 29"/>
                  <a:gd name="T40" fmla="*/ 2 w 28"/>
                  <a:gd name="T41" fmla="*/ 7 h 29"/>
                  <a:gd name="T42" fmla="*/ 4 w 28"/>
                  <a:gd name="T43" fmla="*/ 9 h 29"/>
                  <a:gd name="T44" fmla="*/ 3 w 28"/>
                  <a:gd name="T45" fmla="*/ 11 h 29"/>
                  <a:gd name="T46" fmla="*/ 0 w 28"/>
                  <a:gd name="T47" fmla="*/ 11 h 29"/>
                  <a:gd name="T48" fmla="*/ 0 w 28"/>
                  <a:gd name="T49" fmla="*/ 14 h 29"/>
                  <a:gd name="T50" fmla="*/ 2 w 28"/>
                  <a:gd name="T51" fmla="*/ 15 h 29"/>
                  <a:gd name="T52" fmla="*/ 2 w 28"/>
                  <a:gd name="T53" fmla="*/ 16 h 29"/>
                  <a:gd name="T54" fmla="*/ 2 w 28"/>
                  <a:gd name="T55" fmla="*/ 17 h 29"/>
                  <a:gd name="T56" fmla="*/ 1 w 28"/>
                  <a:gd name="T57" fmla="*/ 19 h 29"/>
                  <a:gd name="T58" fmla="*/ 2 w 28"/>
                  <a:gd name="T59" fmla="*/ 21 h 29"/>
                  <a:gd name="T60" fmla="*/ 4 w 28"/>
                  <a:gd name="T61" fmla="*/ 21 h 29"/>
                  <a:gd name="T62" fmla="*/ 5 w 28"/>
                  <a:gd name="T63" fmla="*/ 23 h 29"/>
                  <a:gd name="T64" fmla="*/ 4 w 28"/>
                  <a:gd name="T65" fmla="*/ 25 h 29"/>
                  <a:gd name="T66" fmla="*/ 7 w 28"/>
                  <a:gd name="T67" fmla="*/ 27 h 29"/>
                  <a:gd name="T68" fmla="*/ 9 w 28"/>
                  <a:gd name="T69" fmla="*/ 25 h 29"/>
                  <a:gd name="T70" fmla="*/ 11 w 28"/>
                  <a:gd name="T71" fmla="*/ 26 h 29"/>
                  <a:gd name="T72" fmla="*/ 11 w 28"/>
                  <a:gd name="T73" fmla="*/ 28 h 29"/>
                  <a:gd name="T74" fmla="*/ 14 w 28"/>
                  <a:gd name="T75" fmla="*/ 29 h 29"/>
                  <a:gd name="T76" fmla="*/ 15 w 28"/>
                  <a:gd name="T77" fmla="*/ 27 h 29"/>
                  <a:gd name="T78" fmla="*/ 16 w 28"/>
                  <a:gd name="T79" fmla="*/ 27 h 29"/>
                  <a:gd name="T80" fmla="*/ 17 w 28"/>
                  <a:gd name="T81" fmla="*/ 26 h 29"/>
                  <a:gd name="T82" fmla="*/ 18 w 28"/>
                  <a:gd name="T83" fmla="*/ 28 h 29"/>
                  <a:gd name="T84" fmla="*/ 21 w 28"/>
                  <a:gd name="T85" fmla="*/ 27 h 29"/>
                  <a:gd name="T86" fmla="*/ 21 w 28"/>
                  <a:gd name="T87" fmla="*/ 25 h 29"/>
                  <a:gd name="T88" fmla="*/ 22 w 28"/>
                  <a:gd name="T89" fmla="*/ 24 h 29"/>
                  <a:gd name="T90" fmla="*/ 24 w 28"/>
                  <a:gd name="T91" fmla="*/ 25 h 29"/>
                  <a:gd name="T92" fmla="*/ 26 w 28"/>
                  <a:gd name="T93" fmla="*/ 22 h 29"/>
                  <a:gd name="T94" fmla="*/ 25 w 28"/>
                  <a:gd name="T95" fmla="*/ 20 h 29"/>
                  <a:gd name="T96" fmla="*/ 26 w 28"/>
                  <a:gd name="T97" fmla="*/ 18 h 29"/>
                  <a:gd name="T98" fmla="*/ 28 w 28"/>
                  <a:gd name="T99" fmla="*/ 18 h 29"/>
                  <a:gd name="T100" fmla="*/ 28 w 28"/>
                  <a:gd name="T101" fmla="*/ 15 h 29"/>
                  <a:gd name="T102" fmla="*/ 26 w 28"/>
                  <a:gd name="T103" fmla="*/ 14 h 29"/>
                  <a:gd name="T104" fmla="*/ 26 w 28"/>
                  <a:gd name="T105" fmla="*/ 13 h 29"/>
                  <a:gd name="T106" fmla="*/ 15 w 28"/>
                  <a:gd name="T107" fmla="*/ 22 h 29"/>
                  <a:gd name="T108" fmla="*/ 7 w 28"/>
                  <a:gd name="T109" fmla="*/ 16 h 29"/>
                  <a:gd name="T110" fmla="*/ 13 w 28"/>
                  <a:gd name="T111" fmla="*/ 7 h 29"/>
                  <a:gd name="T112" fmla="*/ 22 w 28"/>
                  <a:gd name="T113" fmla="*/ 14 h 29"/>
                  <a:gd name="T114" fmla="*/ 15 w 28"/>
                  <a:gd name="T115"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 h="29">
                    <a:moveTo>
                      <a:pt x="26" y="13"/>
                    </a:moveTo>
                    <a:cubicBezTo>
                      <a:pt x="26" y="13"/>
                      <a:pt x="26" y="12"/>
                      <a:pt x="26" y="12"/>
                    </a:cubicBezTo>
                    <a:cubicBezTo>
                      <a:pt x="28" y="11"/>
                      <a:pt x="28" y="11"/>
                      <a:pt x="28" y="11"/>
                    </a:cubicBezTo>
                    <a:cubicBezTo>
                      <a:pt x="28" y="10"/>
                      <a:pt x="27" y="9"/>
                      <a:pt x="27" y="8"/>
                    </a:cubicBezTo>
                    <a:cubicBezTo>
                      <a:pt x="24" y="8"/>
                      <a:pt x="24" y="8"/>
                      <a:pt x="24" y="8"/>
                    </a:cubicBezTo>
                    <a:cubicBezTo>
                      <a:pt x="24" y="8"/>
                      <a:pt x="24" y="7"/>
                      <a:pt x="23" y="7"/>
                    </a:cubicBezTo>
                    <a:cubicBezTo>
                      <a:pt x="24" y="4"/>
                      <a:pt x="24" y="4"/>
                      <a:pt x="24" y="4"/>
                    </a:cubicBezTo>
                    <a:cubicBezTo>
                      <a:pt x="23" y="4"/>
                      <a:pt x="23" y="3"/>
                      <a:pt x="22" y="3"/>
                    </a:cubicBezTo>
                    <a:cubicBezTo>
                      <a:pt x="20" y="4"/>
                      <a:pt x="20" y="4"/>
                      <a:pt x="20" y="4"/>
                    </a:cubicBezTo>
                    <a:cubicBezTo>
                      <a:pt x="19" y="4"/>
                      <a:pt x="19" y="3"/>
                      <a:pt x="18" y="3"/>
                    </a:cubicBezTo>
                    <a:cubicBezTo>
                      <a:pt x="18" y="1"/>
                      <a:pt x="18" y="1"/>
                      <a:pt x="18" y="1"/>
                    </a:cubicBezTo>
                    <a:cubicBezTo>
                      <a:pt x="17" y="1"/>
                      <a:pt x="16" y="0"/>
                      <a:pt x="15" y="0"/>
                    </a:cubicBezTo>
                    <a:cubicBezTo>
                      <a:pt x="14" y="3"/>
                      <a:pt x="14" y="3"/>
                      <a:pt x="14" y="3"/>
                    </a:cubicBezTo>
                    <a:cubicBezTo>
                      <a:pt x="13" y="3"/>
                      <a:pt x="13" y="3"/>
                      <a:pt x="13" y="3"/>
                    </a:cubicBezTo>
                    <a:cubicBezTo>
                      <a:pt x="12" y="3"/>
                      <a:pt x="12" y="3"/>
                      <a:pt x="12" y="3"/>
                    </a:cubicBezTo>
                    <a:cubicBezTo>
                      <a:pt x="10" y="1"/>
                      <a:pt x="10" y="1"/>
                      <a:pt x="10" y="1"/>
                    </a:cubicBezTo>
                    <a:cubicBezTo>
                      <a:pt x="9" y="1"/>
                      <a:pt x="8" y="2"/>
                      <a:pt x="7" y="2"/>
                    </a:cubicBezTo>
                    <a:cubicBezTo>
                      <a:pt x="8" y="4"/>
                      <a:pt x="8" y="4"/>
                      <a:pt x="8" y="4"/>
                    </a:cubicBezTo>
                    <a:cubicBezTo>
                      <a:pt x="7" y="5"/>
                      <a:pt x="7" y="5"/>
                      <a:pt x="6" y="6"/>
                    </a:cubicBezTo>
                    <a:cubicBezTo>
                      <a:pt x="4" y="5"/>
                      <a:pt x="4" y="5"/>
                      <a:pt x="4" y="5"/>
                    </a:cubicBezTo>
                    <a:cubicBezTo>
                      <a:pt x="3" y="5"/>
                      <a:pt x="3" y="6"/>
                      <a:pt x="2" y="7"/>
                    </a:cubicBezTo>
                    <a:cubicBezTo>
                      <a:pt x="4" y="9"/>
                      <a:pt x="4" y="9"/>
                      <a:pt x="4" y="9"/>
                    </a:cubicBezTo>
                    <a:cubicBezTo>
                      <a:pt x="3" y="10"/>
                      <a:pt x="3" y="10"/>
                      <a:pt x="3" y="11"/>
                    </a:cubicBezTo>
                    <a:cubicBezTo>
                      <a:pt x="0" y="11"/>
                      <a:pt x="0" y="11"/>
                      <a:pt x="0" y="11"/>
                    </a:cubicBezTo>
                    <a:cubicBezTo>
                      <a:pt x="0" y="12"/>
                      <a:pt x="0" y="13"/>
                      <a:pt x="0" y="14"/>
                    </a:cubicBezTo>
                    <a:cubicBezTo>
                      <a:pt x="2" y="15"/>
                      <a:pt x="2" y="15"/>
                      <a:pt x="2" y="15"/>
                    </a:cubicBezTo>
                    <a:cubicBezTo>
                      <a:pt x="2" y="15"/>
                      <a:pt x="2" y="16"/>
                      <a:pt x="2" y="16"/>
                    </a:cubicBezTo>
                    <a:cubicBezTo>
                      <a:pt x="2" y="16"/>
                      <a:pt x="2" y="17"/>
                      <a:pt x="2" y="17"/>
                    </a:cubicBezTo>
                    <a:cubicBezTo>
                      <a:pt x="1" y="19"/>
                      <a:pt x="1" y="19"/>
                      <a:pt x="1" y="19"/>
                    </a:cubicBezTo>
                    <a:cubicBezTo>
                      <a:pt x="1" y="20"/>
                      <a:pt x="1" y="20"/>
                      <a:pt x="2" y="21"/>
                    </a:cubicBezTo>
                    <a:cubicBezTo>
                      <a:pt x="4" y="21"/>
                      <a:pt x="4" y="21"/>
                      <a:pt x="4" y="21"/>
                    </a:cubicBezTo>
                    <a:cubicBezTo>
                      <a:pt x="4" y="22"/>
                      <a:pt x="5" y="22"/>
                      <a:pt x="5" y="23"/>
                    </a:cubicBezTo>
                    <a:cubicBezTo>
                      <a:pt x="4" y="25"/>
                      <a:pt x="4" y="25"/>
                      <a:pt x="4" y="25"/>
                    </a:cubicBezTo>
                    <a:cubicBezTo>
                      <a:pt x="5" y="26"/>
                      <a:pt x="6" y="26"/>
                      <a:pt x="7" y="27"/>
                    </a:cubicBezTo>
                    <a:cubicBezTo>
                      <a:pt x="9" y="25"/>
                      <a:pt x="9" y="25"/>
                      <a:pt x="9" y="25"/>
                    </a:cubicBezTo>
                    <a:cubicBezTo>
                      <a:pt x="9" y="26"/>
                      <a:pt x="10" y="26"/>
                      <a:pt x="11" y="26"/>
                    </a:cubicBezTo>
                    <a:cubicBezTo>
                      <a:pt x="11" y="28"/>
                      <a:pt x="11" y="28"/>
                      <a:pt x="11" y="28"/>
                    </a:cubicBezTo>
                    <a:cubicBezTo>
                      <a:pt x="12" y="29"/>
                      <a:pt x="13" y="29"/>
                      <a:pt x="14" y="29"/>
                    </a:cubicBezTo>
                    <a:cubicBezTo>
                      <a:pt x="15" y="27"/>
                      <a:pt x="15" y="27"/>
                      <a:pt x="15" y="27"/>
                    </a:cubicBezTo>
                    <a:cubicBezTo>
                      <a:pt x="15" y="27"/>
                      <a:pt x="15" y="27"/>
                      <a:pt x="16" y="27"/>
                    </a:cubicBezTo>
                    <a:cubicBezTo>
                      <a:pt x="16" y="27"/>
                      <a:pt x="16" y="26"/>
                      <a:pt x="17" y="26"/>
                    </a:cubicBezTo>
                    <a:cubicBezTo>
                      <a:pt x="18" y="28"/>
                      <a:pt x="18" y="28"/>
                      <a:pt x="18" y="28"/>
                    </a:cubicBezTo>
                    <a:cubicBezTo>
                      <a:pt x="19" y="28"/>
                      <a:pt x="20" y="28"/>
                      <a:pt x="21" y="27"/>
                    </a:cubicBezTo>
                    <a:cubicBezTo>
                      <a:pt x="21" y="25"/>
                      <a:pt x="21" y="25"/>
                      <a:pt x="21" y="25"/>
                    </a:cubicBezTo>
                    <a:cubicBezTo>
                      <a:pt x="21" y="24"/>
                      <a:pt x="22" y="24"/>
                      <a:pt x="22" y="24"/>
                    </a:cubicBezTo>
                    <a:cubicBezTo>
                      <a:pt x="24" y="25"/>
                      <a:pt x="24" y="25"/>
                      <a:pt x="24" y="25"/>
                    </a:cubicBezTo>
                    <a:cubicBezTo>
                      <a:pt x="25" y="24"/>
                      <a:pt x="26" y="23"/>
                      <a:pt x="26" y="22"/>
                    </a:cubicBezTo>
                    <a:cubicBezTo>
                      <a:pt x="25" y="20"/>
                      <a:pt x="25" y="20"/>
                      <a:pt x="25" y="20"/>
                    </a:cubicBezTo>
                    <a:cubicBezTo>
                      <a:pt x="25" y="20"/>
                      <a:pt x="25" y="19"/>
                      <a:pt x="26" y="18"/>
                    </a:cubicBezTo>
                    <a:cubicBezTo>
                      <a:pt x="28" y="18"/>
                      <a:pt x="28" y="18"/>
                      <a:pt x="28" y="18"/>
                    </a:cubicBezTo>
                    <a:cubicBezTo>
                      <a:pt x="28" y="17"/>
                      <a:pt x="28" y="16"/>
                      <a:pt x="28" y="15"/>
                    </a:cubicBezTo>
                    <a:cubicBezTo>
                      <a:pt x="26" y="14"/>
                      <a:pt x="26" y="14"/>
                      <a:pt x="26" y="14"/>
                    </a:cubicBezTo>
                    <a:cubicBezTo>
                      <a:pt x="26" y="14"/>
                      <a:pt x="26" y="14"/>
                      <a:pt x="26" y="13"/>
                    </a:cubicBezTo>
                    <a:moveTo>
                      <a:pt x="15" y="22"/>
                    </a:moveTo>
                    <a:cubicBezTo>
                      <a:pt x="11" y="23"/>
                      <a:pt x="7" y="20"/>
                      <a:pt x="7" y="16"/>
                    </a:cubicBezTo>
                    <a:cubicBezTo>
                      <a:pt x="6" y="11"/>
                      <a:pt x="9" y="8"/>
                      <a:pt x="13" y="7"/>
                    </a:cubicBezTo>
                    <a:cubicBezTo>
                      <a:pt x="17" y="7"/>
                      <a:pt x="21" y="10"/>
                      <a:pt x="22" y="14"/>
                    </a:cubicBezTo>
                    <a:cubicBezTo>
                      <a:pt x="22" y="18"/>
                      <a:pt x="19" y="22"/>
                      <a:pt x="15" y="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grpSp>
        <p:nvGrpSpPr>
          <p:cNvPr id="49" name="Group 48"/>
          <p:cNvGrpSpPr/>
          <p:nvPr/>
        </p:nvGrpSpPr>
        <p:grpSpPr>
          <a:xfrm>
            <a:off x="4299454" y="2003540"/>
            <a:ext cx="1566181" cy="1493774"/>
            <a:chOff x="4299181" y="2003327"/>
            <a:chExt cx="1566403" cy="1493986"/>
          </a:xfrm>
        </p:grpSpPr>
        <p:sp>
          <p:nvSpPr>
            <p:cNvPr id="4" name="Rectangle 3"/>
            <p:cNvSpPr/>
            <p:nvPr/>
          </p:nvSpPr>
          <p:spPr bwMode="auto">
            <a:xfrm>
              <a:off x="4299181" y="2003327"/>
              <a:ext cx="1566403" cy="1479879"/>
            </a:xfrm>
            <a:prstGeom prst="rect">
              <a:avLst/>
            </a:prstGeom>
            <a:solidFill>
              <a:srgbClr val="BD1F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Rectangle 116"/>
            <p:cNvSpPr/>
            <p:nvPr/>
          </p:nvSpPr>
          <p:spPr>
            <a:xfrm>
              <a:off x="4427062" y="2963862"/>
              <a:ext cx="1310640" cy="533451"/>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FFFFFF"/>
                  </a:solidFill>
                  <a:effectLst/>
                  <a:uLnTx/>
                  <a:uFillTx/>
                  <a:latin typeface="Segoe UI"/>
                  <a:ea typeface="+mn-ea"/>
                  <a:cs typeface="+mn-cs"/>
                </a:rPr>
                <a:t>Microsoft O365</a:t>
              </a:r>
            </a:p>
          </p:txBody>
        </p:sp>
        <p:grpSp>
          <p:nvGrpSpPr>
            <p:cNvPr id="4219" name="Group 164"/>
            <p:cNvGrpSpPr>
              <a:grpSpLocks noChangeAspect="1"/>
            </p:cNvGrpSpPr>
            <p:nvPr/>
          </p:nvGrpSpPr>
          <p:grpSpPr bwMode="auto">
            <a:xfrm>
              <a:off x="4821241" y="2185782"/>
              <a:ext cx="704069" cy="701880"/>
              <a:chOff x="3037" y="1452"/>
              <a:chExt cx="322" cy="321"/>
            </a:xfrm>
            <a:solidFill>
              <a:schemeClr val="bg1"/>
            </a:solidFill>
          </p:grpSpPr>
          <p:sp>
            <p:nvSpPr>
              <p:cNvPr id="4221" name="Freeform 165"/>
              <p:cNvSpPr>
                <a:spLocks/>
              </p:cNvSpPr>
              <p:nvPr/>
            </p:nvSpPr>
            <p:spPr bwMode="auto">
              <a:xfrm>
                <a:off x="3238" y="1505"/>
                <a:ext cx="121" cy="215"/>
              </a:xfrm>
              <a:custGeom>
                <a:avLst/>
                <a:gdLst>
                  <a:gd name="T0" fmla="*/ 71 w 99"/>
                  <a:gd name="T1" fmla="*/ 59 h 177"/>
                  <a:gd name="T2" fmla="*/ 68 w 99"/>
                  <a:gd name="T3" fmla="*/ 59 h 177"/>
                  <a:gd name="T4" fmla="*/ 40 w 99"/>
                  <a:gd name="T5" fmla="*/ 29 h 177"/>
                  <a:gd name="T6" fmla="*/ 40 w 99"/>
                  <a:gd name="T7" fmla="*/ 28 h 177"/>
                  <a:gd name="T8" fmla="*/ 12 w 99"/>
                  <a:gd name="T9" fmla="*/ 0 h 177"/>
                  <a:gd name="T10" fmla="*/ 0 w 99"/>
                  <a:gd name="T11" fmla="*/ 3 h 177"/>
                  <a:gd name="T12" fmla="*/ 0 w 99"/>
                  <a:gd name="T13" fmla="*/ 53 h 177"/>
                  <a:gd name="T14" fmla="*/ 12 w 99"/>
                  <a:gd name="T15" fmla="*/ 55 h 177"/>
                  <a:gd name="T16" fmla="*/ 37 w 99"/>
                  <a:gd name="T17" fmla="*/ 40 h 177"/>
                  <a:gd name="T18" fmla="*/ 57 w 99"/>
                  <a:gd name="T19" fmla="*/ 63 h 177"/>
                  <a:gd name="T20" fmla="*/ 44 w 99"/>
                  <a:gd name="T21" fmla="*/ 87 h 177"/>
                  <a:gd name="T22" fmla="*/ 58 w 99"/>
                  <a:gd name="T23" fmla="*/ 111 h 177"/>
                  <a:gd name="T24" fmla="*/ 37 w 99"/>
                  <a:gd name="T25" fmla="*/ 139 h 177"/>
                  <a:gd name="T26" fmla="*/ 12 w 99"/>
                  <a:gd name="T27" fmla="*/ 122 h 177"/>
                  <a:gd name="T28" fmla="*/ 0 w 99"/>
                  <a:gd name="T29" fmla="*/ 125 h 177"/>
                  <a:gd name="T30" fmla="*/ 0 w 99"/>
                  <a:gd name="T31" fmla="*/ 175 h 177"/>
                  <a:gd name="T32" fmla="*/ 12 w 99"/>
                  <a:gd name="T33" fmla="*/ 177 h 177"/>
                  <a:gd name="T34" fmla="*/ 40 w 99"/>
                  <a:gd name="T35" fmla="*/ 151 h 177"/>
                  <a:gd name="T36" fmla="*/ 69 w 99"/>
                  <a:gd name="T37" fmla="*/ 114 h 177"/>
                  <a:gd name="T38" fmla="*/ 71 w 99"/>
                  <a:gd name="T39" fmla="*/ 114 h 177"/>
                  <a:gd name="T40" fmla="*/ 99 w 99"/>
                  <a:gd name="T41" fmla="*/ 87 h 177"/>
                  <a:gd name="T42" fmla="*/ 71 w 99"/>
                  <a:gd name="T43" fmla="*/ 5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9" h="177">
                    <a:moveTo>
                      <a:pt x="71" y="59"/>
                    </a:moveTo>
                    <a:cubicBezTo>
                      <a:pt x="70" y="59"/>
                      <a:pt x="69" y="59"/>
                      <a:pt x="68" y="59"/>
                    </a:cubicBezTo>
                    <a:cubicBezTo>
                      <a:pt x="62" y="46"/>
                      <a:pt x="53" y="35"/>
                      <a:pt x="40" y="29"/>
                    </a:cubicBezTo>
                    <a:cubicBezTo>
                      <a:pt x="40" y="29"/>
                      <a:pt x="40" y="28"/>
                      <a:pt x="40" y="28"/>
                    </a:cubicBezTo>
                    <a:cubicBezTo>
                      <a:pt x="40" y="13"/>
                      <a:pt x="27" y="0"/>
                      <a:pt x="12" y="0"/>
                    </a:cubicBezTo>
                    <a:cubicBezTo>
                      <a:pt x="8" y="0"/>
                      <a:pt x="4" y="1"/>
                      <a:pt x="0" y="3"/>
                    </a:cubicBezTo>
                    <a:cubicBezTo>
                      <a:pt x="0" y="53"/>
                      <a:pt x="0" y="53"/>
                      <a:pt x="0" y="53"/>
                    </a:cubicBezTo>
                    <a:cubicBezTo>
                      <a:pt x="4" y="54"/>
                      <a:pt x="8" y="55"/>
                      <a:pt x="12" y="55"/>
                    </a:cubicBezTo>
                    <a:cubicBezTo>
                      <a:pt x="23" y="55"/>
                      <a:pt x="32" y="49"/>
                      <a:pt x="37" y="40"/>
                    </a:cubicBezTo>
                    <a:cubicBezTo>
                      <a:pt x="46" y="45"/>
                      <a:pt x="53" y="53"/>
                      <a:pt x="57" y="63"/>
                    </a:cubicBezTo>
                    <a:cubicBezTo>
                      <a:pt x="49" y="68"/>
                      <a:pt x="44" y="77"/>
                      <a:pt x="44" y="87"/>
                    </a:cubicBezTo>
                    <a:cubicBezTo>
                      <a:pt x="44" y="97"/>
                      <a:pt x="49" y="106"/>
                      <a:pt x="58" y="111"/>
                    </a:cubicBezTo>
                    <a:cubicBezTo>
                      <a:pt x="54" y="123"/>
                      <a:pt x="47" y="133"/>
                      <a:pt x="37" y="139"/>
                    </a:cubicBezTo>
                    <a:cubicBezTo>
                      <a:pt x="33" y="129"/>
                      <a:pt x="24" y="122"/>
                      <a:pt x="12" y="122"/>
                    </a:cubicBezTo>
                    <a:cubicBezTo>
                      <a:pt x="8" y="122"/>
                      <a:pt x="4" y="123"/>
                      <a:pt x="0" y="125"/>
                    </a:cubicBezTo>
                    <a:cubicBezTo>
                      <a:pt x="0" y="175"/>
                      <a:pt x="0" y="175"/>
                      <a:pt x="0" y="175"/>
                    </a:cubicBezTo>
                    <a:cubicBezTo>
                      <a:pt x="4" y="176"/>
                      <a:pt x="8" y="177"/>
                      <a:pt x="12" y="177"/>
                    </a:cubicBezTo>
                    <a:cubicBezTo>
                      <a:pt x="27" y="177"/>
                      <a:pt x="39" y="166"/>
                      <a:pt x="40" y="151"/>
                    </a:cubicBezTo>
                    <a:cubicBezTo>
                      <a:pt x="54" y="143"/>
                      <a:pt x="64" y="130"/>
                      <a:pt x="69" y="114"/>
                    </a:cubicBezTo>
                    <a:cubicBezTo>
                      <a:pt x="70" y="114"/>
                      <a:pt x="70" y="114"/>
                      <a:pt x="71" y="114"/>
                    </a:cubicBezTo>
                    <a:cubicBezTo>
                      <a:pt x="86" y="114"/>
                      <a:pt x="99" y="102"/>
                      <a:pt x="99" y="87"/>
                    </a:cubicBezTo>
                    <a:cubicBezTo>
                      <a:pt x="99" y="72"/>
                      <a:pt x="86" y="59"/>
                      <a:pt x="71"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222" name="Freeform 166"/>
              <p:cNvSpPr>
                <a:spLocks noEditPoints="1"/>
              </p:cNvSpPr>
              <p:nvPr/>
            </p:nvSpPr>
            <p:spPr bwMode="auto">
              <a:xfrm>
                <a:off x="3037" y="1452"/>
                <a:ext cx="193" cy="321"/>
              </a:xfrm>
              <a:custGeom>
                <a:avLst/>
                <a:gdLst>
                  <a:gd name="T0" fmla="*/ 0 w 158"/>
                  <a:gd name="T1" fmla="*/ 28 h 264"/>
                  <a:gd name="T2" fmla="*/ 0 w 158"/>
                  <a:gd name="T3" fmla="*/ 236 h 264"/>
                  <a:gd name="T4" fmla="*/ 158 w 158"/>
                  <a:gd name="T5" fmla="*/ 264 h 264"/>
                  <a:gd name="T6" fmla="*/ 158 w 158"/>
                  <a:gd name="T7" fmla="*/ 0 h 264"/>
                  <a:gd name="T8" fmla="*/ 0 w 158"/>
                  <a:gd name="T9" fmla="*/ 28 h 264"/>
                  <a:gd name="T10" fmla="*/ 104 w 158"/>
                  <a:gd name="T11" fmla="*/ 162 h 264"/>
                  <a:gd name="T12" fmla="*/ 96 w 158"/>
                  <a:gd name="T13" fmla="*/ 171 h 264"/>
                  <a:gd name="T14" fmla="*/ 85 w 158"/>
                  <a:gd name="T15" fmla="*/ 176 h 264"/>
                  <a:gd name="T16" fmla="*/ 72 w 158"/>
                  <a:gd name="T17" fmla="*/ 177 h 264"/>
                  <a:gd name="T18" fmla="*/ 59 w 158"/>
                  <a:gd name="T19" fmla="*/ 176 h 264"/>
                  <a:gd name="T20" fmla="*/ 45 w 158"/>
                  <a:gd name="T21" fmla="*/ 172 h 264"/>
                  <a:gd name="T22" fmla="*/ 48 w 158"/>
                  <a:gd name="T23" fmla="*/ 150 h 264"/>
                  <a:gd name="T24" fmla="*/ 59 w 158"/>
                  <a:gd name="T25" fmla="*/ 158 h 264"/>
                  <a:gd name="T26" fmla="*/ 72 w 158"/>
                  <a:gd name="T27" fmla="*/ 160 h 264"/>
                  <a:gd name="T28" fmla="*/ 78 w 158"/>
                  <a:gd name="T29" fmla="*/ 159 h 264"/>
                  <a:gd name="T30" fmla="*/ 82 w 158"/>
                  <a:gd name="T31" fmla="*/ 157 h 264"/>
                  <a:gd name="T32" fmla="*/ 85 w 158"/>
                  <a:gd name="T33" fmla="*/ 154 h 264"/>
                  <a:gd name="T34" fmla="*/ 86 w 158"/>
                  <a:gd name="T35" fmla="*/ 151 h 264"/>
                  <a:gd name="T36" fmla="*/ 85 w 158"/>
                  <a:gd name="T37" fmla="*/ 146 h 264"/>
                  <a:gd name="T38" fmla="*/ 81 w 158"/>
                  <a:gd name="T39" fmla="*/ 142 h 264"/>
                  <a:gd name="T40" fmla="*/ 75 w 158"/>
                  <a:gd name="T41" fmla="*/ 138 h 264"/>
                  <a:gd name="T42" fmla="*/ 67 w 158"/>
                  <a:gd name="T43" fmla="*/ 134 h 264"/>
                  <a:gd name="T44" fmla="*/ 53 w 158"/>
                  <a:gd name="T45" fmla="*/ 123 h 264"/>
                  <a:gd name="T46" fmla="*/ 48 w 158"/>
                  <a:gd name="T47" fmla="*/ 107 h 264"/>
                  <a:gd name="T48" fmla="*/ 50 w 158"/>
                  <a:gd name="T49" fmla="*/ 94 h 264"/>
                  <a:gd name="T50" fmla="*/ 58 w 158"/>
                  <a:gd name="T51" fmla="*/ 85 h 264"/>
                  <a:gd name="T52" fmla="*/ 68 w 158"/>
                  <a:gd name="T53" fmla="*/ 80 h 264"/>
                  <a:gd name="T54" fmla="*/ 81 w 158"/>
                  <a:gd name="T55" fmla="*/ 79 h 264"/>
                  <a:gd name="T56" fmla="*/ 93 w 158"/>
                  <a:gd name="T57" fmla="*/ 80 h 264"/>
                  <a:gd name="T58" fmla="*/ 106 w 158"/>
                  <a:gd name="T59" fmla="*/ 82 h 264"/>
                  <a:gd name="T60" fmla="*/ 103 w 158"/>
                  <a:gd name="T61" fmla="*/ 102 h 264"/>
                  <a:gd name="T62" fmla="*/ 98 w 158"/>
                  <a:gd name="T63" fmla="*/ 99 h 264"/>
                  <a:gd name="T64" fmla="*/ 93 w 158"/>
                  <a:gd name="T65" fmla="*/ 97 h 264"/>
                  <a:gd name="T66" fmla="*/ 87 w 158"/>
                  <a:gd name="T67" fmla="*/ 96 h 264"/>
                  <a:gd name="T68" fmla="*/ 82 w 158"/>
                  <a:gd name="T69" fmla="*/ 95 h 264"/>
                  <a:gd name="T70" fmla="*/ 76 w 158"/>
                  <a:gd name="T71" fmla="*/ 96 h 264"/>
                  <a:gd name="T72" fmla="*/ 72 w 158"/>
                  <a:gd name="T73" fmla="*/ 98 h 264"/>
                  <a:gd name="T74" fmla="*/ 69 w 158"/>
                  <a:gd name="T75" fmla="*/ 101 h 264"/>
                  <a:gd name="T76" fmla="*/ 68 w 158"/>
                  <a:gd name="T77" fmla="*/ 105 h 264"/>
                  <a:gd name="T78" fmla="*/ 69 w 158"/>
                  <a:gd name="T79" fmla="*/ 109 h 264"/>
                  <a:gd name="T80" fmla="*/ 72 w 158"/>
                  <a:gd name="T81" fmla="*/ 113 h 264"/>
                  <a:gd name="T82" fmla="*/ 77 w 158"/>
                  <a:gd name="T83" fmla="*/ 116 h 264"/>
                  <a:gd name="T84" fmla="*/ 84 w 158"/>
                  <a:gd name="T85" fmla="*/ 120 h 264"/>
                  <a:gd name="T86" fmla="*/ 93 w 158"/>
                  <a:gd name="T87" fmla="*/ 125 h 264"/>
                  <a:gd name="T88" fmla="*/ 100 w 158"/>
                  <a:gd name="T89" fmla="*/ 131 h 264"/>
                  <a:gd name="T90" fmla="*/ 105 w 158"/>
                  <a:gd name="T91" fmla="*/ 138 h 264"/>
                  <a:gd name="T92" fmla="*/ 106 w 158"/>
                  <a:gd name="T93" fmla="*/ 149 h 264"/>
                  <a:gd name="T94" fmla="*/ 104 w 158"/>
                  <a:gd name="T95" fmla="*/ 162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8" h="264">
                    <a:moveTo>
                      <a:pt x="0" y="28"/>
                    </a:moveTo>
                    <a:cubicBezTo>
                      <a:pt x="0" y="236"/>
                      <a:pt x="0" y="236"/>
                      <a:pt x="0" y="236"/>
                    </a:cubicBezTo>
                    <a:cubicBezTo>
                      <a:pt x="158" y="264"/>
                      <a:pt x="158" y="264"/>
                      <a:pt x="158" y="264"/>
                    </a:cubicBezTo>
                    <a:cubicBezTo>
                      <a:pt x="158" y="0"/>
                      <a:pt x="158" y="0"/>
                      <a:pt x="158" y="0"/>
                    </a:cubicBezTo>
                    <a:lnTo>
                      <a:pt x="0" y="28"/>
                    </a:lnTo>
                    <a:close/>
                    <a:moveTo>
                      <a:pt x="104" y="162"/>
                    </a:moveTo>
                    <a:cubicBezTo>
                      <a:pt x="102" y="166"/>
                      <a:pt x="99" y="168"/>
                      <a:pt x="96" y="171"/>
                    </a:cubicBezTo>
                    <a:cubicBezTo>
                      <a:pt x="93" y="173"/>
                      <a:pt x="90" y="175"/>
                      <a:pt x="85" y="176"/>
                    </a:cubicBezTo>
                    <a:cubicBezTo>
                      <a:pt x="81" y="176"/>
                      <a:pt x="77" y="177"/>
                      <a:pt x="72" y="177"/>
                    </a:cubicBezTo>
                    <a:cubicBezTo>
                      <a:pt x="68" y="177"/>
                      <a:pt x="63" y="177"/>
                      <a:pt x="59" y="176"/>
                    </a:cubicBezTo>
                    <a:cubicBezTo>
                      <a:pt x="55" y="175"/>
                      <a:pt x="48" y="173"/>
                      <a:pt x="45" y="172"/>
                    </a:cubicBezTo>
                    <a:cubicBezTo>
                      <a:pt x="48" y="150"/>
                      <a:pt x="48" y="150"/>
                      <a:pt x="48" y="150"/>
                    </a:cubicBezTo>
                    <a:cubicBezTo>
                      <a:pt x="51" y="154"/>
                      <a:pt x="55" y="156"/>
                      <a:pt x="59" y="158"/>
                    </a:cubicBezTo>
                    <a:cubicBezTo>
                      <a:pt x="63" y="159"/>
                      <a:pt x="67" y="160"/>
                      <a:pt x="72" y="160"/>
                    </a:cubicBezTo>
                    <a:cubicBezTo>
                      <a:pt x="74" y="160"/>
                      <a:pt x="76" y="160"/>
                      <a:pt x="78" y="159"/>
                    </a:cubicBezTo>
                    <a:cubicBezTo>
                      <a:pt x="80" y="159"/>
                      <a:pt x="81" y="158"/>
                      <a:pt x="82" y="157"/>
                    </a:cubicBezTo>
                    <a:cubicBezTo>
                      <a:pt x="84" y="157"/>
                      <a:pt x="85" y="156"/>
                      <a:pt x="85" y="154"/>
                    </a:cubicBezTo>
                    <a:cubicBezTo>
                      <a:pt x="86" y="153"/>
                      <a:pt x="86" y="152"/>
                      <a:pt x="86" y="151"/>
                    </a:cubicBezTo>
                    <a:cubicBezTo>
                      <a:pt x="86" y="149"/>
                      <a:pt x="86" y="147"/>
                      <a:pt x="85" y="146"/>
                    </a:cubicBezTo>
                    <a:cubicBezTo>
                      <a:pt x="84" y="144"/>
                      <a:pt x="82" y="143"/>
                      <a:pt x="81" y="142"/>
                    </a:cubicBezTo>
                    <a:cubicBezTo>
                      <a:pt x="79" y="140"/>
                      <a:pt x="77" y="139"/>
                      <a:pt x="75" y="138"/>
                    </a:cubicBezTo>
                    <a:cubicBezTo>
                      <a:pt x="73" y="137"/>
                      <a:pt x="70" y="136"/>
                      <a:pt x="67" y="134"/>
                    </a:cubicBezTo>
                    <a:cubicBezTo>
                      <a:pt x="61" y="131"/>
                      <a:pt x="56" y="128"/>
                      <a:pt x="53" y="123"/>
                    </a:cubicBezTo>
                    <a:cubicBezTo>
                      <a:pt x="49" y="119"/>
                      <a:pt x="48" y="113"/>
                      <a:pt x="48" y="107"/>
                    </a:cubicBezTo>
                    <a:cubicBezTo>
                      <a:pt x="48" y="102"/>
                      <a:pt x="48" y="98"/>
                      <a:pt x="50" y="94"/>
                    </a:cubicBezTo>
                    <a:cubicBezTo>
                      <a:pt x="52" y="91"/>
                      <a:pt x="55" y="88"/>
                      <a:pt x="58" y="85"/>
                    </a:cubicBezTo>
                    <a:cubicBezTo>
                      <a:pt x="61" y="83"/>
                      <a:pt x="64" y="81"/>
                      <a:pt x="68" y="80"/>
                    </a:cubicBezTo>
                    <a:cubicBezTo>
                      <a:pt x="72" y="79"/>
                      <a:pt x="77" y="79"/>
                      <a:pt x="81" y="79"/>
                    </a:cubicBezTo>
                    <a:cubicBezTo>
                      <a:pt x="86" y="79"/>
                      <a:pt x="90" y="79"/>
                      <a:pt x="93" y="80"/>
                    </a:cubicBezTo>
                    <a:cubicBezTo>
                      <a:pt x="97" y="80"/>
                      <a:pt x="103" y="81"/>
                      <a:pt x="106" y="82"/>
                    </a:cubicBezTo>
                    <a:cubicBezTo>
                      <a:pt x="103" y="102"/>
                      <a:pt x="103" y="102"/>
                      <a:pt x="103" y="102"/>
                    </a:cubicBezTo>
                    <a:cubicBezTo>
                      <a:pt x="101" y="101"/>
                      <a:pt x="100" y="100"/>
                      <a:pt x="98" y="99"/>
                    </a:cubicBezTo>
                    <a:cubicBezTo>
                      <a:pt x="96" y="98"/>
                      <a:pt x="95" y="98"/>
                      <a:pt x="93" y="97"/>
                    </a:cubicBezTo>
                    <a:cubicBezTo>
                      <a:pt x="91" y="97"/>
                      <a:pt x="89" y="96"/>
                      <a:pt x="87" y="96"/>
                    </a:cubicBezTo>
                    <a:cubicBezTo>
                      <a:pt x="86" y="96"/>
                      <a:pt x="84" y="95"/>
                      <a:pt x="82" y="95"/>
                    </a:cubicBezTo>
                    <a:cubicBezTo>
                      <a:pt x="80" y="95"/>
                      <a:pt x="78" y="96"/>
                      <a:pt x="76" y="96"/>
                    </a:cubicBezTo>
                    <a:cubicBezTo>
                      <a:pt x="75" y="97"/>
                      <a:pt x="73" y="97"/>
                      <a:pt x="72" y="98"/>
                    </a:cubicBezTo>
                    <a:cubicBezTo>
                      <a:pt x="71" y="99"/>
                      <a:pt x="70" y="100"/>
                      <a:pt x="69" y="101"/>
                    </a:cubicBezTo>
                    <a:cubicBezTo>
                      <a:pt x="68" y="102"/>
                      <a:pt x="68" y="104"/>
                      <a:pt x="68" y="105"/>
                    </a:cubicBezTo>
                    <a:cubicBezTo>
                      <a:pt x="68" y="107"/>
                      <a:pt x="68" y="108"/>
                      <a:pt x="69" y="109"/>
                    </a:cubicBezTo>
                    <a:cubicBezTo>
                      <a:pt x="70" y="111"/>
                      <a:pt x="71" y="112"/>
                      <a:pt x="72" y="113"/>
                    </a:cubicBezTo>
                    <a:cubicBezTo>
                      <a:pt x="74" y="114"/>
                      <a:pt x="75" y="115"/>
                      <a:pt x="77" y="116"/>
                    </a:cubicBezTo>
                    <a:cubicBezTo>
                      <a:pt x="79" y="117"/>
                      <a:pt x="82" y="118"/>
                      <a:pt x="84" y="120"/>
                    </a:cubicBezTo>
                    <a:cubicBezTo>
                      <a:pt x="88" y="121"/>
                      <a:pt x="91" y="123"/>
                      <a:pt x="93" y="125"/>
                    </a:cubicBezTo>
                    <a:cubicBezTo>
                      <a:pt x="96" y="126"/>
                      <a:pt x="98" y="129"/>
                      <a:pt x="100" y="131"/>
                    </a:cubicBezTo>
                    <a:cubicBezTo>
                      <a:pt x="102" y="133"/>
                      <a:pt x="104" y="136"/>
                      <a:pt x="105" y="138"/>
                    </a:cubicBezTo>
                    <a:cubicBezTo>
                      <a:pt x="106" y="141"/>
                      <a:pt x="106" y="145"/>
                      <a:pt x="106" y="149"/>
                    </a:cubicBezTo>
                    <a:cubicBezTo>
                      <a:pt x="106" y="154"/>
                      <a:pt x="106" y="158"/>
                      <a:pt x="104"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grpSp>
        <p:nvGrpSpPr>
          <p:cNvPr id="47" name="Group 46"/>
          <p:cNvGrpSpPr/>
          <p:nvPr/>
        </p:nvGrpSpPr>
        <p:grpSpPr>
          <a:xfrm>
            <a:off x="4299454" y="3556501"/>
            <a:ext cx="1566181" cy="1479669"/>
            <a:chOff x="4299181" y="3556509"/>
            <a:chExt cx="1566403" cy="1479879"/>
          </a:xfrm>
        </p:grpSpPr>
        <p:sp>
          <p:nvSpPr>
            <p:cNvPr id="15" name="Rectangle 14"/>
            <p:cNvSpPr/>
            <p:nvPr/>
          </p:nvSpPr>
          <p:spPr bwMode="auto">
            <a:xfrm>
              <a:off x="4299181" y="3556509"/>
              <a:ext cx="1566403" cy="1479879"/>
            </a:xfrm>
            <a:prstGeom prst="rect">
              <a:avLst/>
            </a:prstGeom>
            <a:solidFill>
              <a:srgbClr val="BD1F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p:cNvSpPr/>
            <p:nvPr/>
          </p:nvSpPr>
          <p:spPr>
            <a:xfrm>
              <a:off x="4427062" y="4498042"/>
              <a:ext cx="1310640" cy="533450"/>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FFFFFF"/>
                  </a:solidFill>
                  <a:effectLst/>
                  <a:uLnTx/>
                  <a:uFillTx/>
                  <a:latin typeface="Segoe UI"/>
                  <a:ea typeface="+mn-ea"/>
                  <a:cs typeface="+mn-cs"/>
                </a:rPr>
                <a:t>Integrated Platform</a:t>
              </a:r>
            </a:p>
          </p:txBody>
        </p:sp>
        <p:grpSp>
          <p:nvGrpSpPr>
            <p:cNvPr id="233" name="Group 180"/>
            <p:cNvGrpSpPr>
              <a:grpSpLocks noChangeAspect="1"/>
            </p:cNvGrpSpPr>
            <p:nvPr/>
          </p:nvGrpSpPr>
          <p:grpSpPr bwMode="auto">
            <a:xfrm>
              <a:off x="4618037" y="3573462"/>
              <a:ext cx="1035050" cy="1023938"/>
              <a:chOff x="3246" y="2282"/>
              <a:chExt cx="652" cy="645"/>
            </a:xfrm>
          </p:grpSpPr>
          <p:sp>
            <p:nvSpPr>
              <p:cNvPr id="234" name="AutoShape 179"/>
              <p:cNvSpPr>
                <a:spLocks noChangeAspect="1" noChangeArrowheads="1" noTextEdit="1"/>
              </p:cNvSpPr>
              <p:nvPr/>
            </p:nvSpPr>
            <p:spPr bwMode="auto">
              <a:xfrm>
                <a:off x="3246" y="2282"/>
                <a:ext cx="652" cy="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36" name="Freeform 182"/>
              <p:cNvSpPr>
                <a:spLocks/>
              </p:cNvSpPr>
              <p:nvPr/>
            </p:nvSpPr>
            <p:spPr bwMode="auto">
              <a:xfrm>
                <a:off x="3494" y="2601"/>
                <a:ext cx="232" cy="231"/>
              </a:xfrm>
              <a:custGeom>
                <a:avLst/>
                <a:gdLst>
                  <a:gd name="T0" fmla="*/ 24 w 98"/>
                  <a:gd name="T1" fmla="*/ 25 h 98"/>
                  <a:gd name="T2" fmla="*/ 43 w 98"/>
                  <a:gd name="T3" fmla="*/ 27 h 98"/>
                  <a:gd name="T4" fmla="*/ 51 w 98"/>
                  <a:gd name="T5" fmla="*/ 27 h 98"/>
                  <a:gd name="T6" fmla="*/ 56 w 98"/>
                  <a:gd name="T7" fmla="*/ 24 h 98"/>
                  <a:gd name="T8" fmla="*/ 53 w 98"/>
                  <a:gd name="T9" fmla="*/ 20 h 98"/>
                  <a:gd name="T10" fmla="*/ 49 w 98"/>
                  <a:gd name="T11" fmla="*/ 7 h 98"/>
                  <a:gd name="T12" fmla="*/ 59 w 98"/>
                  <a:gd name="T13" fmla="*/ 0 h 98"/>
                  <a:gd name="T14" fmla="*/ 68 w 98"/>
                  <a:gd name="T15" fmla="*/ 9 h 98"/>
                  <a:gd name="T16" fmla="*/ 66 w 98"/>
                  <a:gd name="T17" fmla="*/ 18 h 98"/>
                  <a:gd name="T18" fmla="*/ 64 w 98"/>
                  <a:gd name="T19" fmla="*/ 24 h 98"/>
                  <a:gd name="T20" fmla="*/ 68 w 98"/>
                  <a:gd name="T21" fmla="*/ 29 h 98"/>
                  <a:gd name="T22" fmla="*/ 97 w 98"/>
                  <a:gd name="T23" fmla="*/ 22 h 98"/>
                  <a:gd name="T24" fmla="*/ 98 w 98"/>
                  <a:gd name="T25" fmla="*/ 21 h 98"/>
                  <a:gd name="T26" fmla="*/ 98 w 98"/>
                  <a:gd name="T27" fmla="*/ 98 h 98"/>
                  <a:gd name="T28" fmla="*/ 24 w 98"/>
                  <a:gd name="T29" fmla="*/ 98 h 98"/>
                  <a:gd name="T30" fmla="*/ 26 w 98"/>
                  <a:gd name="T31" fmla="*/ 87 h 98"/>
                  <a:gd name="T32" fmla="*/ 26 w 98"/>
                  <a:gd name="T33" fmla="*/ 71 h 98"/>
                  <a:gd name="T34" fmla="*/ 16 w 98"/>
                  <a:gd name="T35" fmla="*/ 67 h 98"/>
                  <a:gd name="T36" fmla="*/ 13 w 98"/>
                  <a:gd name="T37" fmla="*/ 68 h 98"/>
                  <a:gd name="T38" fmla="*/ 7 w 98"/>
                  <a:gd name="T39" fmla="*/ 70 h 98"/>
                  <a:gd name="T40" fmla="*/ 0 w 98"/>
                  <a:gd name="T41" fmla="*/ 65 h 98"/>
                  <a:gd name="T42" fmla="*/ 0 w 98"/>
                  <a:gd name="T43" fmla="*/ 56 h 98"/>
                  <a:gd name="T44" fmla="*/ 7 w 98"/>
                  <a:gd name="T45" fmla="*/ 51 h 98"/>
                  <a:gd name="T46" fmla="*/ 15 w 98"/>
                  <a:gd name="T47" fmla="*/ 54 h 98"/>
                  <a:gd name="T48" fmla="*/ 27 w 98"/>
                  <a:gd name="T49" fmla="*/ 48 h 98"/>
                  <a:gd name="T50" fmla="*/ 24 w 98"/>
                  <a:gd name="T51" fmla="*/ 26 h 98"/>
                  <a:gd name="T52" fmla="*/ 24 w 98"/>
                  <a:gd name="T53" fmla="*/ 2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98">
                    <a:moveTo>
                      <a:pt x="24" y="25"/>
                    </a:moveTo>
                    <a:cubicBezTo>
                      <a:pt x="30" y="26"/>
                      <a:pt x="37" y="27"/>
                      <a:pt x="43" y="27"/>
                    </a:cubicBezTo>
                    <a:cubicBezTo>
                      <a:pt x="46" y="28"/>
                      <a:pt x="49" y="27"/>
                      <a:pt x="51" y="27"/>
                    </a:cubicBezTo>
                    <a:cubicBezTo>
                      <a:pt x="53" y="27"/>
                      <a:pt x="55" y="26"/>
                      <a:pt x="56" y="24"/>
                    </a:cubicBezTo>
                    <a:cubicBezTo>
                      <a:pt x="56" y="22"/>
                      <a:pt x="55" y="21"/>
                      <a:pt x="53" y="20"/>
                    </a:cubicBezTo>
                    <a:cubicBezTo>
                      <a:pt x="48" y="17"/>
                      <a:pt x="48" y="13"/>
                      <a:pt x="49" y="7"/>
                    </a:cubicBezTo>
                    <a:cubicBezTo>
                      <a:pt x="50" y="2"/>
                      <a:pt x="54" y="0"/>
                      <a:pt x="59" y="0"/>
                    </a:cubicBezTo>
                    <a:cubicBezTo>
                      <a:pt x="64" y="1"/>
                      <a:pt x="68" y="4"/>
                      <a:pt x="68" y="9"/>
                    </a:cubicBezTo>
                    <a:cubicBezTo>
                      <a:pt x="68" y="12"/>
                      <a:pt x="67" y="15"/>
                      <a:pt x="66" y="18"/>
                    </a:cubicBezTo>
                    <a:cubicBezTo>
                      <a:pt x="66" y="20"/>
                      <a:pt x="65" y="22"/>
                      <a:pt x="64" y="24"/>
                    </a:cubicBezTo>
                    <a:cubicBezTo>
                      <a:pt x="64" y="27"/>
                      <a:pt x="65" y="28"/>
                      <a:pt x="68" y="29"/>
                    </a:cubicBezTo>
                    <a:cubicBezTo>
                      <a:pt x="79" y="31"/>
                      <a:pt x="88" y="28"/>
                      <a:pt x="97" y="22"/>
                    </a:cubicBezTo>
                    <a:cubicBezTo>
                      <a:pt x="97" y="22"/>
                      <a:pt x="98" y="21"/>
                      <a:pt x="98" y="21"/>
                    </a:cubicBezTo>
                    <a:cubicBezTo>
                      <a:pt x="98" y="47"/>
                      <a:pt x="98" y="72"/>
                      <a:pt x="98" y="98"/>
                    </a:cubicBezTo>
                    <a:cubicBezTo>
                      <a:pt x="73" y="98"/>
                      <a:pt x="49" y="98"/>
                      <a:pt x="24" y="98"/>
                    </a:cubicBezTo>
                    <a:cubicBezTo>
                      <a:pt x="24" y="94"/>
                      <a:pt x="25" y="90"/>
                      <a:pt x="26" y="87"/>
                    </a:cubicBezTo>
                    <a:cubicBezTo>
                      <a:pt x="27" y="82"/>
                      <a:pt x="27" y="76"/>
                      <a:pt x="26" y="71"/>
                    </a:cubicBezTo>
                    <a:cubicBezTo>
                      <a:pt x="24" y="66"/>
                      <a:pt x="20" y="65"/>
                      <a:pt x="16" y="67"/>
                    </a:cubicBezTo>
                    <a:cubicBezTo>
                      <a:pt x="15" y="67"/>
                      <a:pt x="14" y="68"/>
                      <a:pt x="13" y="68"/>
                    </a:cubicBezTo>
                    <a:cubicBezTo>
                      <a:pt x="11" y="69"/>
                      <a:pt x="9" y="69"/>
                      <a:pt x="7" y="70"/>
                    </a:cubicBezTo>
                    <a:cubicBezTo>
                      <a:pt x="4" y="70"/>
                      <a:pt x="1" y="68"/>
                      <a:pt x="0" y="65"/>
                    </a:cubicBezTo>
                    <a:cubicBezTo>
                      <a:pt x="0" y="62"/>
                      <a:pt x="0" y="59"/>
                      <a:pt x="0" y="56"/>
                    </a:cubicBezTo>
                    <a:cubicBezTo>
                      <a:pt x="1" y="53"/>
                      <a:pt x="4" y="51"/>
                      <a:pt x="7" y="51"/>
                    </a:cubicBezTo>
                    <a:cubicBezTo>
                      <a:pt x="10" y="51"/>
                      <a:pt x="13" y="52"/>
                      <a:pt x="15" y="54"/>
                    </a:cubicBezTo>
                    <a:cubicBezTo>
                      <a:pt x="20" y="57"/>
                      <a:pt x="26" y="54"/>
                      <a:pt x="27" y="48"/>
                    </a:cubicBezTo>
                    <a:cubicBezTo>
                      <a:pt x="28" y="41"/>
                      <a:pt x="26" y="34"/>
                      <a:pt x="24" y="26"/>
                    </a:cubicBezTo>
                    <a:cubicBezTo>
                      <a:pt x="24" y="26"/>
                      <a:pt x="24" y="25"/>
                      <a:pt x="24"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37" name="Freeform 183"/>
              <p:cNvSpPr>
                <a:spLocks/>
              </p:cNvSpPr>
              <p:nvPr/>
            </p:nvSpPr>
            <p:spPr bwMode="auto">
              <a:xfrm>
                <a:off x="3581" y="2391"/>
                <a:ext cx="251" cy="245"/>
              </a:xfrm>
              <a:custGeom>
                <a:avLst/>
                <a:gdLst>
                  <a:gd name="T0" fmla="*/ 2 w 106"/>
                  <a:gd name="T1" fmla="*/ 63 h 104"/>
                  <a:gd name="T2" fmla="*/ 8 w 106"/>
                  <a:gd name="T3" fmla="*/ 56 h 104"/>
                  <a:gd name="T4" fmla="*/ 16 w 106"/>
                  <a:gd name="T5" fmla="*/ 47 h 104"/>
                  <a:gd name="T6" fmla="*/ 20 w 106"/>
                  <a:gd name="T7" fmla="*/ 41 h 104"/>
                  <a:gd name="T8" fmla="*/ 16 w 106"/>
                  <a:gd name="T9" fmla="*/ 34 h 104"/>
                  <a:gd name="T10" fmla="*/ 10 w 106"/>
                  <a:gd name="T11" fmla="*/ 33 h 104"/>
                  <a:gd name="T12" fmla="*/ 2 w 106"/>
                  <a:gd name="T13" fmla="*/ 21 h 104"/>
                  <a:gd name="T14" fmla="*/ 2 w 106"/>
                  <a:gd name="T15" fmla="*/ 20 h 104"/>
                  <a:gd name="T16" fmla="*/ 11 w 106"/>
                  <a:gd name="T17" fmla="*/ 13 h 104"/>
                  <a:gd name="T18" fmla="*/ 21 w 106"/>
                  <a:gd name="T19" fmla="*/ 19 h 104"/>
                  <a:gd name="T20" fmla="*/ 23 w 106"/>
                  <a:gd name="T21" fmla="*/ 23 h 104"/>
                  <a:gd name="T22" fmla="*/ 31 w 106"/>
                  <a:gd name="T23" fmla="*/ 24 h 104"/>
                  <a:gd name="T24" fmla="*/ 40 w 106"/>
                  <a:gd name="T25" fmla="*/ 11 h 104"/>
                  <a:gd name="T26" fmla="*/ 44 w 106"/>
                  <a:gd name="T27" fmla="*/ 0 h 104"/>
                  <a:gd name="T28" fmla="*/ 106 w 106"/>
                  <a:gd name="T29" fmla="*/ 45 h 104"/>
                  <a:gd name="T30" fmla="*/ 99 w 106"/>
                  <a:gd name="T31" fmla="*/ 56 h 104"/>
                  <a:gd name="T32" fmla="*/ 66 w 106"/>
                  <a:gd name="T33" fmla="*/ 102 h 104"/>
                  <a:gd name="T34" fmla="*/ 62 w 106"/>
                  <a:gd name="T35" fmla="*/ 104 h 104"/>
                  <a:gd name="T36" fmla="*/ 44 w 106"/>
                  <a:gd name="T37" fmla="*/ 100 h 104"/>
                  <a:gd name="T38" fmla="*/ 37 w 106"/>
                  <a:gd name="T39" fmla="*/ 95 h 104"/>
                  <a:gd name="T40" fmla="*/ 38 w 106"/>
                  <a:gd name="T41" fmla="*/ 90 h 104"/>
                  <a:gd name="T42" fmla="*/ 41 w 106"/>
                  <a:gd name="T43" fmla="*/ 89 h 104"/>
                  <a:gd name="T44" fmla="*/ 49 w 106"/>
                  <a:gd name="T45" fmla="*/ 77 h 104"/>
                  <a:gd name="T46" fmla="*/ 41 w 106"/>
                  <a:gd name="T47" fmla="*/ 63 h 104"/>
                  <a:gd name="T48" fmla="*/ 27 w 106"/>
                  <a:gd name="T49" fmla="*/ 65 h 104"/>
                  <a:gd name="T50" fmla="*/ 22 w 106"/>
                  <a:gd name="T51" fmla="*/ 74 h 104"/>
                  <a:gd name="T52" fmla="*/ 22 w 106"/>
                  <a:gd name="T53" fmla="*/ 77 h 104"/>
                  <a:gd name="T54" fmla="*/ 17 w 106"/>
                  <a:gd name="T55" fmla="*/ 79 h 104"/>
                  <a:gd name="T56" fmla="*/ 12 w 106"/>
                  <a:gd name="T57" fmla="*/ 75 h 104"/>
                  <a:gd name="T58" fmla="*/ 3 w 106"/>
                  <a:gd name="T59" fmla="*/ 64 h 104"/>
                  <a:gd name="T60" fmla="*/ 2 w 106"/>
                  <a:gd name="T61" fmla="*/ 6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104">
                    <a:moveTo>
                      <a:pt x="2" y="63"/>
                    </a:moveTo>
                    <a:cubicBezTo>
                      <a:pt x="4" y="60"/>
                      <a:pt x="6" y="58"/>
                      <a:pt x="8" y="56"/>
                    </a:cubicBezTo>
                    <a:cubicBezTo>
                      <a:pt x="11" y="53"/>
                      <a:pt x="14" y="50"/>
                      <a:pt x="16" y="47"/>
                    </a:cubicBezTo>
                    <a:cubicBezTo>
                      <a:pt x="18" y="45"/>
                      <a:pt x="19" y="43"/>
                      <a:pt x="20" y="41"/>
                    </a:cubicBezTo>
                    <a:cubicBezTo>
                      <a:pt x="21" y="38"/>
                      <a:pt x="19" y="35"/>
                      <a:pt x="16" y="34"/>
                    </a:cubicBezTo>
                    <a:cubicBezTo>
                      <a:pt x="14" y="34"/>
                      <a:pt x="12" y="34"/>
                      <a:pt x="10" y="33"/>
                    </a:cubicBezTo>
                    <a:cubicBezTo>
                      <a:pt x="3" y="33"/>
                      <a:pt x="0" y="28"/>
                      <a:pt x="2" y="21"/>
                    </a:cubicBezTo>
                    <a:cubicBezTo>
                      <a:pt x="2" y="21"/>
                      <a:pt x="2" y="21"/>
                      <a:pt x="2" y="20"/>
                    </a:cubicBezTo>
                    <a:cubicBezTo>
                      <a:pt x="4" y="16"/>
                      <a:pt x="7" y="13"/>
                      <a:pt x="11" y="13"/>
                    </a:cubicBezTo>
                    <a:cubicBezTo>
                      <a:pt x="16" y="12"/>
                      <a:pt x="19" y="15"/>
                      <a:pt x="21" y="19"/>
                    </a:cubicBezTo>
                    <a:cubicBezTo>
                      <a:pt x="22" y="20"/>
                      <a:pt x="22" y="22"/>
                      <a:pt x="23" y="23"/>
                    </a:cubicBezTo>
                    <a:cubicBezTo>
                      <a:pt x="25" y="26"/>
                      <a:pt x="28" y="27"/>
                      <a:pt x="31" y="24"/>
                    </a:cubicBezTo>
                    <a:cubicBezTo>
                      <a:pt x="35" y="21"/>
                      <a:pt x="38" y="16"/>
                      <a:pt x="40" y="11"/>
                    </a:cubicBezTo>
                    <a:cubicBezTo>
                      <a:pt x="42" y="7"/>
                      <a:pt x="43" y="4"/>
                      <a:pt x="44" y="0"/>
                    </a:cubicBezTo>
                    <a:cubicBezTo>
                      <a:pt x="65" y="15"/>
                      <a:pt x="86" y="30"/>
                      <a:pt x="106" y="45"/>
                    </a:cubicBezTo>
                    <a:cubicBezTo>
                      <a:pt x="104" y="48"/>
                      <a:pt x="101" y="52"/>
                      <a:pt x="99" y="56"/>
                    </a:cubicBezTo>
                    <a:cubicBezTo>
                      <a:pt x="88" y="71"/>
                      <a:pt x="77" y="87"/>
                      <a:pt x="66" y="102"/>
                    </a:cubicBezTo>
                    <a:cubicBezTo>
                      <a:pt x="65" y="104"/>
                      <a:pt x="64" y="104"/>
                      <a:pt x="62" y="104"/>
                    </a:cubicBezTo>
                    <a:cubicBezTo>
                      <a:pt x="56" y="103"/>
                      <a:pt x="49" y="103"/>
                      <a:pt x="44" y="100"/>
                    </a:cubicBezTo>
                    <a:cubicBezTo>
                      <a:pt x="41" y="98"/>
                      <a:pt x="39" y="96"/>
                      <a:pt x="37" y="95"/>
                    </a:cubicBezTo>
                    <a:cubicBezTo>
                      <a:pt x="35" y="93"/>
                      <a:pt x="36" y="91"/>
                      <a:pt x="38" y="90"/>
                    </a:cubicBezTo>
                    <a:cubicBezTo>
                      <a:pt x="39" y="89"/>
                      <a:pt x="40" y="89"/>
                      <a:pt x="41" y="89"/>
                    </a:cubicBezTo>
                    <a:cubicBezTo>
                      <a:pt x="46" y="87"/>
                      <a:pt x="49" y="82"/>
                      <a:pt x="49" y="77"/>
                    </a:cubicBezTo>
                    <a:cubicBezTo>
                      <a:pt x="49" y="71"/>
                      <a:pt x="46" y="65"/>
                      <a:pt x="41" y="63"/>
                    </a:cubicBezTo>
                    <a:cubicBezTo>
                      <a:pt x="36" y="61"/>
                      <a:pt x="31" y="61"/>
                      <a:pt x="27" y="65"/>
                    </a:cubicBezTo>
                    <a:cubicBezTo>
                      <a:pt x="24" y="67"/>
                      <a:pt x="23" y="70"/>
                      <a:pt x="22" y="74"/>
                    </a:cubicBezTo>
                    <a:cubicBezTo>
                      <a:pt x="22" y="75"/>
                      <a:pt x="22" y="76"/>
                      <a:pt x="22" y="77"/>
                    </a:cubicBezTo>
                    <a:cubicBezTo>
                      <a:pt x="21" y="80"/>
                      <a:pt x="20" y="81"/>
                      <a:pt x="17" y="79"/>
                    </a:cubicBezTo>
                    <a:cubicBezTo>
                      <a:pt x="16" y="78"/>
                      <a:pt x="14" y="76"/>
                      <a:pt x="12" y="75"/>
                    </a:cubicBezTo>
                    <a:cubicBezTo>
                      <a:pt x="9" y="71"/>
                      <a:pt x="6" y="67"/>
                      <a:pt x="3" y="64"/>
                    </a:cubicBezTo>
                    <a:cubicBezTo>
                      <a:pt x="2" y="63"/>
                      <a:pt x="2" y="63"/>
                      <a:pt x="2" y="6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38" name="Freeform 184"/>
              <p:cNvSpPr>
                <a:spLocks/>
              </p:cNvSpPr>
              <p:nvPr/>
            </p:nvSpPr>
            <p:spPr bwMode="auto">
              <a:xfrm>
                <a:off x="3364" y="2599"/>
                <a:ext cx="184" cy="233"/>
              </a:xfrm>
              <a:custGeom>
                <a:avLst/>
                <a:gdLst>
                  <a:gd name="T0" fmla="*/ 74 w 78"/>
                  <a:gd name="T1" fmla="*/ 99 h 99"/>
                  <a:gd name="T2" fmla="*/ 0 w 78"/>
                  <a:gd name="T3" fmla="*/ 99 h 99"/>
                  <a:gd name="T4" fmla="*/ 0 w 78"/>
                  <a:gd name="T5" fmla="*/ 24 h 99"/>
                  <a:gd name="T6" fmla="*/ 11 w 78"/>
                  <a:gd name="T7" fmla="*/ 27 h 99"/>
                  <a:gd name="T8" fmla="*/ 23 w 78"/>
                  <a:gd name="T9" fmla="*/ 28 h 99"/>
                  <a:gd name="T10" fmla="*/ 30 w 78"/>
                  <a:gd name="T11" fmla="*/ 16 h 99"/>
                  <a:gd name="T12" fmla="*/ 29 w 78"/>
                  <a:gd name="T13" fmla="*/ 6 h 99"/>
                  <a:gd name="T14" fmla="*/ 34 w 78"/>
                  <a:gd name="T15" fmla="*/ 1 h 99"/>
                  <a:gd name="T16" fmla="*/ 37 w 78"/>
                  <a:gd name="T17" fmla="*/ 0 h 99"/>
                  <a:gd name="T18" fmla="*/ 46 w 78"/>
                  <a:gd name="T19" fmla="*/ 9 h 99"/>
                  <a:gd name="T20" fmla="*/ 44 w 78"/>
                  <a:gd name="T21" fmla="*/ 17 h 99"/>
                  <a:gd name="T22" fmla="*/ 50 w 78"/>
                  <a:gd name="T23" fmla="*/ 28 h 99"/>
                  <a:gd name="T24" fmla="*/ 66 w 78"/>
                  <a:gd name="T25" fmla="*/ 27 h 99"/>
                  <a:gd name="T26" fmla="*/ 74 w 78"/>
                  <a:gd name="T27" fmla="*/ 25 h 99"/>
                  <a:gd name="T28" fmla="*/ 77 w 78"/>
                  <a:gd name="T29" fmla="*/ 35 h 99"/>
                  <a:gd name="T30" fmla="*/ 78 w 78"/>
                  <a:gd name="T31" fmla="*/ 47 h 99"/>
                  <a:gd name="T32" fmla="*/ 72 w 78"/>
                  <a:gd name="T33" fmla="*/ 51 h 99"/>
                  <a:gd name="T34" fmla="*/ 68 w 78"/>
                  <a:gd name="T35" fmla="*/ 48 h 99"/>
                  <a:gd name="T36" fmla="*/ 55 w 78"/>
                  <a:gd name="T37" fmla="*/ 50 h 99"/>
                  <a:gd name="T38" fmla="*/ 50 w 78"/>
                  <a:gd name="T39" fmla="*/ 65 h 99"/>
                  <a:gd name="T40" fmla="*/ 61 w 78"/>
                  <a:gd name="T41" fmla="*/ 75 h 99"/>
                  <a:gd name="T42" fmla="*/ 71 w 78"/>
                  <a:gd name="T43" fmla="*/ 73 h 99"/>
                  <a:gd name="T44" fmla="*/ 76 w 78"/>
                  <a:gd name="T45" fmla="*/ 71 h 99"/>
                  <a:gd name="T46" fmla="*/ 77 w 78"/>
                  <a:gd name="T47" fmla="*/ 76 h 99"/>
                  <a:gd name="T48" fmla="*/ 75 w 78"/>
                  <a:gd name="T49" fmla="*/ 92 h 99"/>
                  <a:gd name="T50" fmla="*/ 74 w 78"/>
                  <a:gd name="T5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99">
                    <a:moveTo>
                      <a:pt x="74" y="99"/>
                    </a:moveTo>
                    <a:cubicBezTo>
                      <a:pt x="50" y="99"/>
                      <a:pt x="25" y="99"/>
                      <a:pt x="0" y="99"/>
                    </a:cubicBezTo>
                    <a:cubicBezTo>
                      <a:pt x="0" y="74"/>
                      <a:pt x="0" y="49"/>
                      <a:pt x="0" y="24"/>
                    </a:cubicBezTo>
                    <a:cubicBezTo>
                      <a:pt x="4" y="25"/>
                      <a:pt x="7" y="27"/>
                      <a:pt x="11" y="27"/>
                    </a:cubicBezTo>
                    <a:cubicBezTo>
                      <a:pt x="15" y="28"/>
                      <a:pt x="19" y="28"/>
                      <a:pt x="23" y="28"/>
                    </a:cubicBezTo>
                    <a:cubicBezTo>
                      <a:pt x="29" y="28"/>
                      <a:pt x="33" y="22"/>
                      <a:pt x="30" y="16"/>
                    </a:cubicBezTo>
                    <a:cubicBezTo>
                      <a:pt x="29" y="13"/>
                      <a:pt x="28" y="9"/>
                      <a:pt x="29" y="6"/>
                    </a:cubicBezTo>
                    <a:cubicBezTo>
                      <a:pt x="29" y="3"/>
                      <a:pt x="31" y="1"/>
                      <a:pt x="34" y="1"/>
                    </a:cubicBezTo>
                    <a:cubicBezTo>
                      <a:pt x="35" y="0"/>
                      <a:pt x="36" y="0"/>
                      <a:pt x="37" y="0"/>
                    </a:cubicBezTo>
                    <a:cubicBezTo>
                      <a:pt x="43" y="0"/>
                      <a:pt x="46" y="4"/>
                      <a:pt x="46" y="9"/>
                    </a:cubicBezTo>
                    <a:cubicBezTo>
                      <a:pt x="46" y="12"/>
                      <a:pt x="45" y="15"/>
                      <a:pt x="44" y="17"/>
                    </a:cubicBezTo>
                    <a:cubicBezTo>
                      <a:pt x="42" y="23"/>
                      <a:pt x="44" y="27"/>
                      <a:pt x="50" y="28"/>
                    </a:cubicBezTo>
                    <a:cubicBezTo>
                      <a:pt x="55" y="29"/>
                      <a:pt x="60" y="28"/>
                      <a:pt x="66" y="27"/>
                    </a:cubicBezTo>
                    <a:cubicBezTo>
                      <a:pt x="68" y="26"/>
                      <a:pt x="71" y="26"/>
                      <a:pt x="74" y="25"/>
                    </a:cubicBezTo>
                    <a:cubicBezTo>
                      <a:pt x="75" y="28"/>
                      <a:pt x="77" y="32"/>
                      <a:pt x="77" y="35"/>
                    </a:cubicBezTo>
                    <a:cubicBezTo>
                      <a:pt x="78" y="39"/>
                      <a:pt x="78" y="43"/>
                      <a:pt x="78" y="47"/>
                    </a:cubicBezTo>
                    <a:cubicBezTo>
                      <a:pt x="77" y="51"/>
                      <a:pt x="75" y="52"/>
                      <a:pt x="72" y="51"/>
                    </a:cubicBezTo>
                    <a:cubicBezTo>
                      <a:pt x="71" y="50"/>
                      <a:pt x="69" y="49"/>
                      <a:pt x="68" y="48"/>
                    </a:cubicBezTo>
                    <a:cubicBezTo>
                      <a:pt x="63" y="46"/>
                      <a:pt x="58" y="47"/>
                      <a:pt x="55" y="50"/>
                    </a:cubicBezTo>
                    <a:cubicBezTo>
                      <a:pt x="51" y="54"/>
                      <a:pt x="49" y="59"/>
                      <a:pt x="50" y="65"/>
                    </a:cubicBezTo>
                    <a:cubicBezTo>
                      <a:pt x="50" y="70"/>
                      <a:pt x="56" y="75"/>
                      <a:pt x="61" y="75"/>
                    </a:cubicBezTo>
                    <a:cubicBezTo>
                      <a:pt x="65" y="75"/>
                      <a:pt x="68" y="74"/>
                      <a:pt x="71" y="73"/>
                    </a:cubicBezTo>
                    <a:cubicBezTo>
                      <a:pt x="72" y="72"/>
                      <a:pt x="74" y="71"/>
                      <a:pt x="76" y="71"/>
                    </a:cubicBezTo>
                    <a:cubicBezTo>
                      <a:pt x="77" y="72"/>
                      <a:pt x="77" y="74"/>
                      <a:pt x="77" y="76"/>
                    </a:cubicBezTo>
                    <a:cubicBezTo>
                      <a:pt x="76" y="81"/>
                      <a:pt x="76" y="87"/>
                      <a:pt x="75" y="92"/>
                    </a:cubicBezTo>
                    <a:cubicBezTo>
                      <a:pt x="75" y="94"/>
                      <a:pt x="74" y="96"/>
                      <a:pt x="74"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39" name="Freeform 185"/>
              <p:cNvSpPr>
                <a:spLocks/>
              </p:cNvSpPr>
              <p:nvPr/>
            </p:nvSpPr>
            <p:spPr bwMode="auto">
              <a:xfrm>
                <a:off x="3364" y="2469"/>
                <a:ext cx="184" cy="191"/>
              </a:xfrm>
              <a:custGeom>
                <a:avLst/>
                <a:gdLst>
                  <a:gd name="T0" fmla="*/ 0 w 78"/>
                  <a:gd name="T1" fmla="*/ 0 h 81"/>
                  <a:gd name="T2" fmla="*/ 17 w 78"/>
                  <a:gd name="T3" fmla="*/ 0 h 81"/>
                  <a:gd name="T4" fmla="*/ 72 w 78"/>
                  <a:gd name="T5" fmla="*/ 0 h 81"/>
                  <a:gd name="T6" fmla="*/ 75 w 78"/>
                  <a:gd name="T7" fmla="*/ 3 h 81"/>
                  <a:gd name="T8" fmla="*/ 77 w 78"/>
                  <a:gd name="T9" fmla="*/ 26 h 81"/>
                  <a:gd name="T10" fmla="*/ 73 w 78"/>
                  <a:gd name="T11" fmla="*/ 28 h 81"/>
                  <a:gd name="T12" fmla="*/ 62 w 78"/>
                  <a:gd name="T13" fmla="*/ 25 h 81"/>
                  <a:gd name="T14" fmla="*/ 52 w 78"/>
                  <a:gd name="T15" fmla="*/ 30 h 81"/>
                  <a:gd name="T16" fmla="*/ 51 w 78"/>
                  <a:gd name="T17" fmla="*/ 45 h 81"/>
                  <a:gd name="T18" fmla="*/ 65 w 78"/>
                  <a:gd name="T19" fmla="*/ 51 h 81"/>
                  <a:gd name="T20" fmla="*/ 72 w 78"/>
                  <a:gd name="T21" fmla="*/ 48 h 81"/>
                  <a:gd name="T22" fmla="*/ 76 w 78"/>
                  <a:gd name="T23" fmla="*/ 50 h 81"/>
                  <a:gd name="T24" fmla="*/ 77 w 78"/>
                  <a:gd name="T25" fmla="*/ 58 h 81"/>
                  <a:gd name="T26" fmla="*/ 75 w 78"/>
                  <a:gd name="T27" fmla="*/ 75 h 81"/>
                  <a:gd name="T28" fmla="*/ 74 w 78"/>
                  <a:gd name="T29" fmla="*/ 77 h 81"/>
                  <a:gd name="T30" fmla="*/ 60 w 78"/>
                  <a:gd name="T31" fmla="*/ 80 h 81"/>
                  <a:gd name="T32" fmla="*/ 51 w 78"/>
                  <a:gd name="T33" fmla="*/ 79 h 81"/>
                  <a:gd name="T34" fmla="*/ 48 w 78"/>
                  <a:gd name="T35" fmla="*/ 73 h 81"/>
                  <a:gd name="T36" fmla="*/ 50 w 78"/>
                  <a:gd name="T37" fmla="*/ 66 h 81"/>
                  <a:gd name="T38" fmla="*/ 39 w 78"/>
                  <a:gd name="T39" fmla="*/ 51 h 81"/>
                  <a:gd name="T40" fmla="*/ 33 w 78"/>
                  <a:gd name="T41" fmla="*/ 52 h 81"/>
                  <a:gd name="T42" fmla="*/ 24 w 78"/>
                  <a:gd name="T43" fmla="*/ 66 h 81"/>
                  <a:gd name="T44" fmla="*/ 26 w 78"/>
                  <a:gd name="T45" fmla="*/ 73 h 81"/>
                  <a:gd name="T46" fmla="*/ 23 w 78"/>
                  <a:gd name="T47" fmla="*/ 78 h 81"/>
                  <a:gd name="T48" fmla="*/ 6 w 78"/>
                  <a:gd name="T49" fmla="*/ 76 h 81"/>
                  <a:gd name="T50" fmla="*/ 0 w 78"/>
                  <a:gd name="T51" fmla="*/ 69 h 81"/>
                  <a:gd name="T52" fmla="*/ 0 w 78"/>
                  <a:gd name="T53" fmla="*/ 2 h 81"/>
                  <a:gd name="T54" fmla="*/ 0 w 78"/>
                  <a:gd name="T55"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8" h="81">
                    <a:moveTo>
                      <a:pt x="0" y="0"/>
                    </a:moveTo>
                    <a:cubicBezTo>
                      <a:pt x="6" y="0"/>
                      <a:pt x="11" y="0"/>
                      <a:pt x="17" y="0"/>
                    </a:cubicBezTo>
                    <a:cubicBezTo>
                      <a:pt x="35" y="0"/>
                      <a:pt x="53" y="0"/>
                      <a:pt x="72" y="0"/>
                    </a:cubicBezTo>
                    <a:cubicBezTo>
                      <a:pt x="73" y="0"/>
                      <a:pt x="74" y="1"/>
                      <a:pt x="75" y="3"/>
                    </a:cubicBezTo>
                    <a:cubicBezTo>
                      <a:pt x="77" y="10"/>
                      <a:pt x="78" y="18"/>
                      <a:pt x="77" y="26"/>
                    </a:cubicBezTo>
                    <a:cubicBezTo>
                      <a:pt x="77" y="29"/>
                      <a:pt x="76" y="30"/>
                      <a:pt x="73" y="28"/>
                    </a:cubicBezTo>
                    <a:cubicBezTo>
                      <a:pt x="69" y="27"/>
                      <a:pt x="65" y="25"/>
                      <a:pt x="62" y="25"/>
                    </a:cubicBezTo>
                    <a:cubicBezTo>
                      <a:pt x="57" y="23"/>
                      <a:pt x="54" y="25"/>
                      <a:pt x="52" y="30"/>
                    </a:cubicBezTo>
                    <a:cubicBezTo>
                      <a:pt x="50" y="34"/>
                      <a:pt x="50" y="39"/>
                      <a:pt x="51" y="45"/>
                    </a:cubicBezTo>
                    <a:cubicBezTo>
                      <a:pt x="53" y="51"/>
                      <a:pt x="59" y="53"/>
                      <a:pt x="65" y="51"/>
                    </a:cubicBezTo>
                    <a:cubicBezTo>
                      <a:pt x="68" y="50"/>
                      <a:pt x="70" y="49"/>
                      <a:pt x="72" y="48"/>
                    </a:cubicBezTo>
                    <a:cubicBezTo>
                      <a:pt x="75" y="47"/>
                      <a:pt x="76" y="47"/>
                      <a:pt x="76" y="50"/>
                    </a:cubicBezTo>
                    <a:cubicBezTo>
                      <a:pt x="77" y="53"/>
                      <a:pt x="77" y="55"/>
                      <a:pt x="77" y="58"/>
                    </a:cubicBezTo>
                    <a:cubicBezTo>
                      <a:pt x="76" y="64"/>
                      <a:pt x="76" y="69"/>
                      <a:pt x="75" y="75"/>
                    </a:cubicBezTo>
                    <a:cubicBezTo>
                      <a:pt x="75" y="76"/>
                      <a:pt x="74" y="77"/>
                      <a:pt x="74" y="77"/>
                    </a:cubicBezTo>
                    <a:cubicBezTo>
                      <a:pt x="69" y="78"/>
                      <a:pt x="64" y="79"/>
                      <a:pt x="60" y="80"/>
                    </a:cubicBezTo>
                    <a:cubicBezTo>
                      <a:pt x="57" y="80"/>
                      <a:pt x="54" y="81"/>
                      <a:pt x="51" y="79"/>
                    </a:cubicBezTo>
                    <a:cubicBezTo>
                      <a:pt x="48" y="78"/>
                      <a:pt x="47" y="76"/>
                      <a:pt x="48" y="73"/>
                    </a:cubicBezTo>
                    <a:cubicBezTo>
                      <a:pt x="49" y="70"/>
                      <a:pt x="50" y="68"/>
                      <a:pt x="50" y="66"/>
                    </a:cubicBezTo>
                    <a:cubicBezTo>
                      <a:pt x="51" y="58"/>
                      <a:pt x="47" y="52"/>
                      <a:pt x="39" y="51"/>
                    </a:cubicBezTo>
                    <a:cubicBezTo>
                      <a:pt x="37" y="51"/>
                      <a:pt x="35" y="51"/>
                      <a:pt x="33" y="52"/>
                    </a:cubicBezTo>
                    <a:cubicBezTo>
                      <a:pt x="25" y="53"/>
                      <a:pt x="23" y="60"/>
                      <a:pt x="24" y="66"/>
                    </a:cubicBezTo>
                    <a:cubicBezTo>
                      <a:pt x="24" y="68"/>
                      <a:pt x="25" y="71"/>
                      <a:pt x="26" y="73"/>
                    </a:cubicBezTo>
                    <a:cubicBezTo>
                      <a:pt x="28" y="76"/>
                      <a:pt x="27" y="78"/>
                      <a:pt x="23" y="78"/>
                    </a:cubicBezTo>
                    <a:cubicBezTo>
                      <a:pt x="17" y="79"/>
                      <a:pt x="11" y="78"/>
                      <a:pt x="6" y="76"/>
                    </a:cubicBezTo>
                    <a:cubicBezTo>
                      <a:pt x="0" y="75"/>
                      <a:pt x="0" y="75"/>
                      <a:pt x="0" y="69"/>
                    </a:cubicBezTo>
                    <a:cubicBezTo>
                      <a:pt x="0" y="47"/>
                      <a:pt x="0" y="25"/>
                      <a:pt x="0" y="2"/>
                    </a:cubicBezTo>
                    <a:cubicBezTo>
                      <a:pt x="0" y="2"/>
                      <a:pt x="0" y="1"/>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grpSp>
        <p:nvGrpSpPr>
          <p:cNvPr id="45" name="Group 44"/>
          <p:cNvGrpSpPr/>
          <p:nvPr/>
        </p:nvGrpSpPr>
        <p:grpSpPr>
          <a:xfrm>
            <a:off x="5913481" y="3556501"/>
            <a:ext cx="1599973" cy="1479669"/>
            <a:chOff x="5913437" y="3556509"/>
            <a:chExt cx="1600200" cy="1479879"/>
          </a:xfrm>
        </p:grpSpPr>
        <p:sp>
          <p:nvSpPr>
            <p:cNvPr id="16" name="Rectangle 15"/>
            <p:cNvSpPr/>
            <p:nvPr/>
          </p:nvSpPr>
          <p:spPr bwMode="auto">
            <a:xfrm>
              <a:off x="5947234" y="3556509"/>
              <a:ext cx="1566403" cy="1479879"/>
            </a:xfrm>
            <a:prstGeom prst="rect">
              <a:avLst/>
            </a:prstGeom>
            <a:solidFill>
              <a:srgbClr val="BD1F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p:cNvSpPr/>
            <p:nvPr/>
          </p:nvSpPr>
          <p:spPr>
            <a:xfrm>
              <a:off x="5913437" y="4637285"/>
              <a:ext cx="1528185" cy="313817"/>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FFFFFF"/>
                  </a:solidFill>
                  <a:effectLst/>
                  <a:uLnTx/>
                  <a:uFillTx/>
                  <a:latin typeface="Segoe UI"/>
                  <a:ea typeface="+mn-ea"/>
                  <a:cs typeface="+mn-cs"/>
                </a:rPr>
                <a:t>Azure Experts</a:t>
              </a:r>
            </a:p>
          </p:txBody>
        </p:sp>
        <p:pic>
          <p:nvPicPr>
            <p:cNvPr id="4282" name="Picture 186" descr="D:\2014\0709\电脑和小人.emf"/>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286047" y="3822970"/>
              <a:ext cx="922790" cy="6591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3" name="Group 82"/>
          <p:cNvGrpSpPr/>
          <p:nvPr/>
        </p:nvGrpSpPr>
        <p:grpSpPr>
          <a:xfrm>
            <a:off x="351670" y="2003538"/>
            <a:ext cx="3373096" cy="2252943"/>
            <a:chOff x="350837" y="2003327"/>
            <a:chExt cx="3373574" cy="2253262"/>
          </a:xfrm>
        </p:grpSpPr>
        <p:sp>
          <p:nvSpPr>
            <p:cNvPr id="42" name="Rectangle 41"/>
            <p:cNvSpPr/>
            <p:nvPr/>
          </p:nvSpPr>
          <p:spPr bwMode="auto">
            <a:xfrm>
              <a:off x="448356" y="2003327"/>
              <a:ext cx="3214456" cy="225326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TextBox 26"/>
            <p:cNvSpPr txBox="1"/>
            <p:nvPr/>
          </p:nvSpPr>
          <p:spPr>
            <a:xfrm>
              <a:off x="350837" y="2031198"/>
              <a:ext cx="1219200" cy="691040"/>
            </a:xfrm>
            <a:prstGeom prst="rect">
              <a:avLst/>
            </a:prstGeom>
            <a:noFill/>
          </p:spPr>
          <p:txBody>
            <a:bodyPr wrap="square" lIns="182854" tIns="146283" rIns="182854" bIns="146283" rtlCol="0">
              <a:spAutoFit/>
            </a:bodyPr>
            <a:lstStyle/>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Segoe UI"/>
                  <a:ea typeface="+mn-ea"/>
                  <a:cs typeface="+mn-cs"/>
                </a:rPr>
                <a:t>2001</a:t>
              </a:r>
            </a:p>
          </p:txBody>
        </p:sp>
        <p:grpSp>
          <p:nvGrpSpPr>
            <p:cNvPr id="4117" name="Group 21"/>
            <p:cNvGrpSpPr>
              <a:grpSpLocks noChangeAspect="1"/>
            </p:cNvGrpSpPr>
            <p:nvPr/>
          </p:nvGrpSpPr>
          <p:grpSpPr bwMode="auto">
            <a:xfrm>
              <a:off x="799793" y="2621302"/>
              <a:ext cx="939740" cy="1072115"/>
              <a:chOff x="888" y="1638"/>
              <a:chExt cx="788" cy="899"/>
            </a:xfrm>
            <a:solidFill>
              <a:schemeClr val="bg1"/>
            </a:solidFill>
          </p:grpSpPr>
          <p:sp>
            <p:nvSpPr>
              <p:cNvPr id="4119" name="Freeform 22"/>
              <p:cNvSpPr>
                <a:spLocks/>
              </p:cNvSpPr>
              <p:nvPr/>
            </p:nvSpPr>
            <p:spPr bwMode="auto">
              <a:xfrm>
                <a:off x="956" y="2004"/>
                <a:ext cx="130" cy="162"/>
              </a:xfrm>
              <a:custGeom>
                <a:avLst/>
                <a:gdLst>
                  <a:gd name="T0" fmla="*/ 16 w 25"/>
                  <a:gd name="T1" fmla="*/ 31 h 31"/>
                  <a:gd name="T2" fmla="*/ 24 w 25"/>
                  <a:gd name="T3" fmla="*/ 16 h 31"/>
                  <a:gd name="T4" fmla="*/ 3 w 25"/>
                  <a:gd name="T5" fmla="*/ 7 h 31"/>
                  <a:gd name="T6" fmla="*/ 8 w 25"/>
                  <a:gd name="T7" fmla="*/ 28 h 31"/>
                  <a:gd name="T8" fmla="*/ 16 w 25"/>
                  <a:gd name="T9" fmla="*/ 31 h 31"/>
                </a:gdLst>
                <a:ahLst/>
                <a:cxnLst>
                  <a:cxn ang="0">
                    <a:pos x="T0" y="T1"/>
                  </a:cxn>
                  <a:cxn ang="0">
                    <a:pos x="T2" y="T3"/>
                  </a:cxn>
                  <a:cxn ang="0">
                    <a:pos x="T4" y="T5"/>
                  </a:cxn>
                  <a:cxn ang="0">
                    <a:pos x="T6" y="T7"/>
                  </a:cxn>
                  <a:cxn ang="0">
                    <a:pos x="T8" y="T9"/>
                  </a:cxn>
                </a:cxnLst>
                <a:rect l="0" t="0" r="r" b="b"/>
                <a:pathLst>
                  <a:path w="25" h="31">
                    <a:moveTo>
                      <a:pt x="16" y="31"/>
                    </a:moveTo>
                    <a:cubicBezTo>
                      <a:pt x="19" y="31"/>
                      <a:pt x="23" y="29"/>
                      <a:pt x="24" y="16"/>
                    </a:cubicBezTo>
                    <a:cubicBezTo>
                      <a:pt x="25" y="0"/>
                      <a:pt x="8" y="0"/>
                      <a:pt x="3" y="7"/>
                    </a:cubicBezTo>
                    <a:cubicBezTo>
                      <a:pt x="0" y="12"/>
                      <a:pt x="1" y="21"/>
                      <a:pt x="8" y="28"/>
                    </a:cubicBezTo>
                    <a:cubicBezTo>
                      <a:pt x="11" y="31"/>
                      <a:pt x="14" y="31"/>
                      <a:pt x="16"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120" name="Freeform 23"/>
              <p:cNvSpPr>
                <a:spLocks/>
              </p:cNvSpPr>
              <p:nvPr/>
            </p:nvSpPr>
            <p:spPr bwMode="auto">
              <a:xfrm>
                <a:off x="888" y="2192"/>
                <a:ext cx="433" cy="345"/>
              </a:xfrm>
              <a:custGeom>
                <a:avLst/>
                <a:gdLst>
                  <a:gd name="T0" fmla="*/ 22 w 83"/>
                  <a:gd name="T1" fmla="*/ 0 h 66"/>
                  <a:gd name="T2" fmla="*/ 33 w 83"/>
                  <a:gd name="T3" fmla="*/ 0 h 66"/>
                  <a:gd name="T4" fmla="*/ 41 w 83"/>
                  <a:gd name="T5" fmla="*/ 2 h 66"/>
                  <a:gd name="T6" fmla="*/ 47 w 83"/>
                  <a:gd name="T7" fmla="*/ 9 h 66"/>
                  <a:gd name="T8" fmla="*/ 56 w 83"/>
                  <a:gd name="T9" fmla="*/ 31 h 66"/>
                  <a:gd name="T10" fmla="*/ 79 w 83"/>
                  <a:gd name="T11" fmla="*/ 45 h 66"/>
                  <a:gd name="T12" fmla="*/ 81 w 83"/>
                  <a:gd name="T13" fmla="*/ 53 h 66"/>
                  <a:gd name="T14" fmla="*/ 75 w 83"/>
                  <a:gd name="T15" fmla="*/ 55 h 66"/>
                  <a:gd name="T16" fmla="*/ 70 w 83"/>
                  <a:gd name="T17" fmla="*/ 56 h 66"/>
                  <a:gd name="T18" fmla="*/ 66 w 83"/>
                  <a:gd name="T19" fmla="*/ 50 h 66"/>
                  <a:gd name="T20" fmla="*/ 46 w 83"/>
                  <a:gd name="T21" fmla="*/ 36 h 66"/>
                  <a:gd name="T22" fmla="*/ 47 w 83"/>
                  <a:gd name="T23" fmla="*/ 62 h 66"/>
                  <a:gd name="T24" fmla="*/ 15 w 83"/>
                  <a:gd name="T25" fmla="*/ 62 h 66"/>
                  <a:gd name="T26" fmla="*/ 14 w 83"/>
                  <a:gd name="T27" fmla="*/ 28 h 66"/>
                  <a:gd name="T28" fmla="*/ 12 w 83"/>
                  <a:gd name="T29" fmla="*/ 32 h 66"/>
                  <a:gd name="T30" fmla="*/ 12 w 83"/>
                  <a:gd name="T31" fmla="*/ 62 h 66"/>
                  <a:gd name="T32" fmla="*/ 9 w 83"/>
                  <a:gd name="T33" fmla="*/ 65 h 66"/>
                  <a:gd name="T34" fmla="*/ 3 w 83"/>
                  <a:gd name="T35" fmla="*/ 60 h 66"/>
                  <a:gd name="T36" fmla="*/ 0 w 83"/>
                  <a:gd name="T37" fmla="*/ 29 h 66"/>
                  <a:gd name="T38" fmla="*/ 12 w 83"/>
                  <a:gd name="T39" fmla="*/ 6 h 66"/>
                  <a:gd name="T40" fmla="*/ 22 w 83"/>
                  <a:gd name="T4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3" h="66">
                    <a:moveTo>
                      <a:pt x="22" y="0"/>
                    </a:moveTo>
                    <a:cubicBezTo>
                      <a:pt x="22" y="0"/>
                      <a:pt x="25" y="5"/>
                      <a:pt x="33" y="0"/>
                    </a:cubicBezTo>
                    <a:cubicBezTo>
                      <a:pt x="35" y="0"/>
                      <a:pt x="41" y="2"/>
                      <a:pt x="41" y="2"/>
                    </a:cubicBezTo>
                    <a:cubicBezTo>
                      <a:pt x="41" y="2"/>
                      <a:pt x="44" y="2"/>
                      <a:pt x="47" y="9"/>
                    </a:cubicBezTo>
                    <a:cubicBezTo>
                      <a:pt x="49" y="17"/>
                      <a:pt x="55" y="30"/>
                      <a:pt x="56" y="31"/>
                    </a:cubicBezTo>
                    <a:cubicBezTo>
                      <a:pt x="57" y="32"/>
                      <a:pt x="76" y="43"/>
                      <a:pt x="79" y="45"/>
                    </a:cubicBezTo>
                    <a:cubicBezTo>
                      <a:pt x="82" y="47"/>
                      <a:pt x="83" y="50"/>
                      <a:pt x="81" y="53"/>
                    </a:cubicBezTo>
                    <a:cubicBezTo>
                      <a:pt x="79" y="56"/>
                      <a:pt x="75" y="55"/>
                      <a:pt x="75" y="55"/>
                    </a:cubicBezTo>
                    <a:cubicBezTo>
                      <a:pt x="75" y="55"/>
                      <a:pt x="72" y="57"/>
                      <a:pt x="70" y="56"/>
                    </a:cubicBezTo>
                    <a:cubicBezTo>
                      <a:pt x="68" y="55"/>
                      <a:pt x="65" y="52"/>
                      <a:pt x="66" y="50"/>
                    </a:cubicBezTo>
                    <a:cubicBezTo>
                      <a:pt x="62" y="48"/>
                      <a:pt x="48" y="41"/>
                      <a:pt x="46" y="36"/>
                    </a:cubicBezTo>
                    <a:cubicBezTo>
                      <a:pt x="46" y="42"/>
                      <a:pt x="47" y="62"/>
                      <a:pt x="47" y="62"/>
                    </a:cubicBezTo>
                    <a:cubicBezTo>
                      <a:pt x="15" y="62"/>
                      <a:pt x="15" y="62"/>
                      <a:pt x="15" y="62"/>
                    </a:cubicBezTo>
                    <a:cubicBezTo>
                      <a:pt x="14" y="28"/>
                      <a:pt x="14" y="28"/>
                      <a:pt x="14" y="28"/>
                    </a:cubicBezTo>
                    <a:cubicBezTo>
                      <a:pt x="12" y="32"/>
                      <a:pt x="12" y="32"/>
                      <a:pt x="12" y="32"/>
                    </a:cubicBezTo>
                    <a:cubicBezTo>
                      <a:pt x="12" y="62"/>
                      <a:pt x="12" y="62"/>
                      <a:pt x="12" y="62"/>
                    </a:cubicBezTo>
                    <a:cubicBezTo>
                      <a:pt x="12" y="62"/>
                      <a:pt x="12" y="64"/>
                      <a:pt x="9" y="65"/>
                    </a:cubicBezTo>
                    <a:cubicBezTo>
                      <a:pt x="7" y="66"/>
                      <a:pt x="4" y="65"/>
                      <a:pt x="3" y="60"/>
                    </a:cubicBezTo>
                    <a:cubicBezTo>
                      <a:pt x="2" y="56"/>
                      <a:pt x="0" y="31"/>
                      <a:pt x="0" y="29"/>
                    </a:cubicBezTo>
                    <a:cubicBezTo>
                      <a:pt x="1" y="27"/>
                      <a:pt x="12" y="6"/>
                      <a:pt x="12" y="6"/>
                    </a:cubicBezTo>
                    <a:cubicBezTo>
                      <a:pt x="12" y="6"/>
                      <a:pt x="13" y="2"/>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121" name="Freeform 24"/>
              <p:cNvSpPr>
                <a:spLocks/>
              </p:cNvSpPr>
              <p:nvPr/>
            </p:nvSpPr>
            <p:spPr bwMode="auto">
              <a:xfrm>
                <a:off x="1483" y="1993"/>
                <a:ext cx="130" cy="162"/>
              </a:xfrm>
              <a:custGeom>
                <a:avLst/>
                <a:gdLst>
                  <a:gd name="T0" fmla="*/ 9 w 25"/>
                  <a:gd name="T1" fmla="*/ 31 h 31"/>
                  <a:gd name="T2" fmla="*/ 1 w 25"/>
                  <a:gd name="T3" fmla="*/ 16 h 31"/>
                  <a:gd name="T4" fmla="*/ 21 w 25"/>
                  <a:gd name="T5" fmla="*/ 7 h 31"/>
                  <a:gd name="T6" fmla="*/ 16 w 25"/>
                  <a:gd name="T7" fmla="*/ 28 h 31"/>
                  <a:gd name="T8" fmla="*/ 9 w 25"/>
                  <a:gd name="T9" fmla="*/ 31 h 31"/>
                </a:gdLst>
                <a:ahLst/>
                <a:cxnLst>
                  <a:cxn ang="0">
                    <a:pos x="T0" y="T1"/>
                  </a:cxn>
                  <a:cxn ang="0">
                    <a:pos x="T2" y="T3"/>
                  </a:cxn>
                  <a:cxn ang="0">
                    <a:pos x="T4" y="T5"/>
                  </a:cxn>
                  <a:cxn ang="0">
                    <a:pos x="T6" y="T7"/>
                  </a:cxn>
                  <a:cxn ang="0">
                    <a:pos x="T8" y="T9"/>
                  </a:cxn>
                </a:cxnLst>
                <a:rect l="0" t="0" r="r" b="b"/>
                <a:pathLst>
                  <a:path w="25" h="31">
                    <a:moveTo>
                      <a:pt x="9" y="31"/>
                    </a:moveTo>
                    <a:cubicBezTo>
                      <a:pt x="6" y="31"/>
                      <a:pt x="2" y="29"/>
                      <a:pt x="1" y="16"/>
                    </a:cubicBezTo>
                    <a:cubicBezTo>
                      <a:pt x="0" y="0"/>
                      <a:pt x="17" y="0"/>
                      <a:pt x="21" y="7"/>
                    </a:cubicBezTo>
                    <a:cubicBezTo>
                      <a:pt x="25" y="11"/>
                      <a:pt x="24" y="21"/>
                      <a:pt x="16" y="28"/>
                    </a:cubicBezTo>
                    <a:cubicBezTo>
                      <a:pt x="14" y="30"/>
                      <a:pt x="11" y="31"/>
                      <a:pt x="9"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122" name="Freeform 25"/>
              <p:cNvSpPr>
                <a:spLocks/>
              </p:cNvSpPr>
              <p:nvPr/>
            </p:nvSpPr>
            <p:spPr bwMode="auto">
              <a:xfrm>
                <a:off x="1300" y="2176"/>
                <a:ext cx="376" cy="361"/>
              </a:xfrm>
              <a:custGeom>
                <a:avLst/>
                <a:gdLst>
                  <a:gd name="T0" fmla="*/ 0 w 72"/>
                  <a:gd name="T1" fmla="*/ 44 h 69"/>
                  <a:gd name="T2" fmla="*/ 6 w 72"/>
                  <a:gd name="T3" fmla="*/ 54 h 69"/>
                  <a:gd name="T4" fmla="*/ 27 w 72"/>
                  <a:gd name="T5" fmla="*/ 42 h 69"/>
                  <a:gd name="T6" fmla="*/ 25 w 72"/>
                  <a:gd name="T7" fmla="*/ 65 h 69"/>
                  <a:gd name="T8" fmla="*/ 51 w 72"/>
                  <a:gd name="T9" fmla="*/ 65 h 69"/>
                  <a:gd name="T10" fmla="*/ 57 w 72"/>
                  <a:gd name="T11" fmla="*/ 23 h 69"/>
                  <a:gd name="T12" fmla="*/ 59 w 72"/>
                  <a:gd name="T13" fmla="*/ 38 h 69"/>
                  <a:gd name="T14" fmla="*/ 54 w 72"/>
                  <a:gd name="T15" fmla="*/ 61 h 69"/>
                  <a:gd name="T16" fmla="*/ 56 w 72"/>
                  <a:gd name="T17" fmla="*/ 67 h 69"/>
                  <a:gd name="T18" fmla="*/ 64 w 72"/>
                  <a:gd name="T19" fmla="*/ 63 h 69"/>
                  <a:gd name="T20" fmla="*/ 71 w 72"/>
                  <a:gd name="T21" fmla="*/ 35 h 69"/>
                  <a:gd name="T22" fmla="*/ 64 w 72"/>
                  <a:gd name="T23" fmla="*/ 5 h 69"/>
                  <a:gd name="T24" fmla="*/ 51 w 72"/>
                  <a:gd name="T25" fmla="*/ 0 h 69"/>
                  <a:gd name="T26" fmla="*/ 41 w 72"/>
                  <a:gd name="T27" fmla="*/ 20 h 69"/>
                  <a:gd name="T28" fmla="*/ 44 w 72"/>
                  <a:gd name="T29" fmla="*/ 4 h 69"/>
                  <a:gd name="T30" fmla="*/ 42 w 72"/>
                  <a:gd name="T31" fmla="*/ 4 h 69"/>
                  <a:gd name="T32" fmla="*/ 36 w 72"/>
                  <a:gd name="T33" fmla="*/ 18 h 69"/>
                  <a:gd name="T34" fmla="*/ 40 w 72"/>
                  <a:gd name="T35" fmla="*/ 0 h 69"/>
                  <a:gd name="T36" fmla="*/ 31 w 72"/>
                  <a:gd name="T37" fmla="*/ 5 h 69"/>
                  <a:gd name="T38" fmla="*/ 18 w 72"/>
                  <a:gd name="T39" fmla="*/ 33 h 69"/>
                  <a:gd name="T40" fmla="*/ 0 w 72"/>
                  <a:gd name="T41"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69">
                    <a:moveTo>
                      <a:pt x="0" y="44"/>
                    </a:moveTo>
                    <a:cubicBezTo>
                      <a:pt x="0" y="44"/>
                      <a:pt x="6" y="46"/>
                      <a:pt x="6" y="54"/>
                    </a:cubicBezTo>
                    <a:cubicBezTo>
                      <a:pt x="11" y="51"/>
                      <a:pt x="21" y="47"/>
                      <a:pt x="27" y="42"/>
                    </a:cubicBezTo>
                    <a:cubicBezTo>
                      <a:pt x="27" y="50"/>
                      <a:pt x="25" y="65"/>
                      <a:pt x="25" y="65"/>
                    </a:cubicBezTo>
                    <a:cubicBezTo>
                      <a:pt x="51" y="65"/>
                      <a:pt x="51" y="65"/>
                      <a:pt x="51" y="65"/>
                    </a:cubicBezTo>
                    <a:cubicBezTo>
                      <a:pt x="51" y="65"/>
                      <a:pt x="58" y="45"/>
                      <a:pt x="57" y="23"/>
                    </a:cubicBezTo>
                    <a:cubicBezTo>
                      <a:pt x="59" y="30"/>
                      <a:pt x="60" y="35"/>
                      <a:pt x="59" y="38"/>
                    </a:cubicBezTo>
                    <a:cubicBezTo>
                      <a:pt x="59" y="42"/>
                      <a:pt x="54" y="61"/>
                      <a:pt x="54" y="61"/>
                    </a:cubicBezTo>
                    <a:cubicBezTo>
                      <a:pt x="54" y="61"/>
                      <a:pt x="53" y="65"/>
                      <a:pt x="56" y="67"/>
                    </a:cubicBezTo>
                    <a:cubicBezTo>
                      <a:pt x="59" y="69"/>
                      <a:pt x="62" y="69"/>
                      <a:pt x="64" y="63"/>
                    </a:cubicBezTo>
                    <a:cubicBezTo>
                      <a:pt x="66" y="57"/>
                      <a:pt x="72" y="44"/>
                      <a:pt x="71" y="35"/>
                    </a:cubicBezTo>
                    <a:cubicBezTo>
                      <a:pt x="70" y="26"/>
                      <a:pt x="66" y="8"/>
                      <a:pt x="64" y="5"/>
                    </a:cubicBezTo>
                    <a:cubicBezTo>
                      <a:pt x="62" y="3"/>
                      <a:pt x="53" y="1"/>
                      <a:pt x="51" y="0"/>
                    </a:cubicBezTo>
                    <a:cubicBezTo>
                      <a:pt x="49" y="2"/>
                      <a:pt x="42" y="15"/>
                      <a:pt x="41" y="20"/>
                    </a:cubicBezTo>
                    <a:cubicBezTo>
                      <a:pt x="41" y="16"/>
                      <a:pt x="43" y="5"/>
                      <a:pt x="44" y="4"/>
                    </a:cubicBezTo>
                    <a:cubicBezTo>
                      <a:pt x="42" y="4"/>
                      <a:pt x="42" y="4"/>
                      <a:pt x="42" y="4"/>
                    </a:cubicBezTo>
                    <a:cubicBezTo>
                      <a:pt x="42" y="4"/>
                      <a:pt x="37" y="13"/>
                      <a:pt x="36" y="18"/>
                    </a:cubicBezTo>
                    <a:cubicBezTo>
                      <a:pt x="36" y="12"/>
                      <a:pt x="38" y="4"/>
                      <a:pt x="40" y="0"/>
                    </a:cubicBezTo>
                    <a:cubicBezTo>
                      <a:pt x="38" y="1"/>
                      <a:pt x="33" y="3"/>
                      <a:pt x="31" y="5"/>
                    </a:cubicBezTo>
                    <a:cubicBezTo>
                      <a:pt x="30" y="8"/>
                      <a:pt x="22" y="29"/>
                      <a:pt x="18" y="33"/>
                    </a:cubicBezTo>
                    <a:cubicBezTo>
                      <a:pt x="15" y="36"/>
                      <a:pt x="0" y="44"/>
                      <a:pt x="0"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123" name="Rectangle 26"/>
              <p:cNvSpPr>
                <a:spLocks noChangeArrowheads="1"/>
              </p:cNvSpPr>
              <p:nvPr/>
            </p:nvSpPr>
            <p:spPr bwMode="auto">
              <a:xfrm>
                <a:off x="1013" y="1910"/>
                <a:ext cx="543" cy="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124" name="Rectangle 27"/>
              <p:cNvSpPr>
                <a:spLocks noChangeArrowheads="1"/>
              </p:cNvSpPr>
              <p:nvPr/>
            </p:nvSpPr>
            <p:spPr bwMode="auto">
              <a:xfrm>
                <a:off x="1269" y="1659"/>
                <a:ext cx="26"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125" name="Freeform 28"/>
              <p:cNvSpPr>
                <a:spLocks/>
              </p:cNvSpPr>
              <p:nvPr/>
            </p:nvSpPr>
            <p:spPr bwMode="auto">
              <a:xfrm>
                <a:off x="1091" y="1727"/>
                <a:ext cx="376" cy="141"/>
              </a:xfrm>
              <a:custGeom>
                <a:avLst/>
                <a:gdLst>
                  <a:gd name="T0" fmla="*/ 5 w 72"/>
                  <a:gd name="T1" fmla="*/ 2 h 27"/>
                  <a:gd name="T2" fmla="*/ 67 w 72"/>
                  <a:gd name="T3" fmla="*/ 2 h 27"/>
                  <a:gd name="T4" fmla="*/ 71 w 72"/>
                  <a:gd name="T5" fmla="*/ 5 h 27"/>
                  <a:gd name="T6" fmla="*/ 0 w 72"/>
                  <a:gd name="T7" fmla="*/ 5 h 27"/>
                  <a:gd name="T8" fmla="*/ 5 w 72"/>
                  <a:gd name="T9" fmla="*/ 2 h 27"/>
                </a:gdLst>
                <a:ahLst/>
                <a:cxnLst>
                  <a:cxn ang="0">
                    <a:pos x="T0" y="T1"/>
                  </a:cxn>
                  <a:cxn ang="0">
                    <a:pos x="T2" y="T3"/>
                  </a:cxn>
                  <a:cxn ang="0">
                    <a:pos x="T4" y="T5"/>
                  </a:cxn>
                  <a:cxn ang="0">
                    <a:pos x="T6" y="T7"/>
                  </a:cxn>
                  <a:cxn ang="0">
                    <a:pos x="T8" y="T9"/>
                  </a:cxn>
                </a:cxnLst>
                <a:rect l="0" t="0" r="r" b="b"/>
                <a:pathLst>
                  <a:path w="72" h="27">
                    <a:moveTo>
                      <a:pt x="5" y="2"/>
                    </a:moveTo>
                    <a:cubicBezTo>
                      <a:pt x="5" y="2"/>
                      <a:pt x="36" y="20"/>
                      <a:pt x="67" y="2"/>
                    </a:cubicBezTo>
                    <a:cubicBezTo>
                      <a:pt x="72" y="5"/>
                      <a:pt x="71" y="5"/>
                      <a:pt x="71" y="5"/>
                    </a:cubicBezTo>
                    <a:cubicBezTo>
                      <a:pt x="71" y="5"/>
                      <a:pt x="39" y="27"/>
                      <a:pt x="0" y="5"/>
                    </a:cubicBezTo>
                    <a:cubicBezTo>
                      <a:pt x="0" y="0"/>
                      <a:pt x="5" y="2"/>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126" name="Freeform 29"/>
              <p:cNvSpPr>
                <a:spLocks/>
              </p:cNvSpPr>
              <p:nvPr/>
            </p:nvSpPr>
            <p:spPr bwMode="auto">
              <a:xfrm>
                <a:off x="998" y="1638"/>
                <a:ext cx="568" cy="355"/>
              </a:xfrm>
              <a:custGeom>
                <a:avLst/>
                <a:gdLst>
                  <a:gd name="T0" fmla="*/ 54 w 109"/>
                  <a:gd name="T1" fmla="*/ 0 h 68"/>
                  <a:gd name="T2" fmla="*/ 0 w 109"/>
                  <a:gd name="T3" fmla="*/ 55 h 68"/>
                  <a:gd name="T4" fmla="*/ 1 w 109"/>
                  <a:gd name="T5" fmla="*/ 67 h 68"/>
                  <a:gd name="T6" fmla="*/ 4 w 109"/>
                  <a:gd name="T7" fmla="*/ 67 h 68"/>
                  <a:gd name="T8" fmla="*/ 9 w 109"/>
                  <a:gd name="T9" fmla="*/ 68 h 68"/>
                  <a:gd name="T10" fmla="*/ 7 w 109"/>
                  <a:gd name="T11" fmla="*/ 55 h 68"/>
                  <a:gd name="T12" fmla="*/ 54 w 109"/>
                  <a:gd name="T13" fmla="*/ 8 h 68"/>
                  <a:gd name="T14" fmla="*/ 101 w 109"/>
                  <a:gd name="T15" fmla="*/ 55 h 68"/>
                  <a:gd name="T16" fmla="*/ 100 w 109"/>
                  <a:gd name="T17" fmla="*/ 65 h 68"/>
                  <a:gd name="T18" fmla="*/ 105 w 109"/>
                  <a:gd name="T19" fmla="*/ 64 h 68"/>
                  <a:gd name="T20" fmla="*/ 108 w 109"/>
                  <a:gd name="T21" fmla="*/ 64 h 68"/>
                  <a:gd name="T22" fmla="*/ 109 w 109"/>
                  <a:gd name="T23" fmla="*/ 55 h 68"/>
                  <a:gd name="T24" fmla="*/ 54 w 109"/>
                  <a:gd name="T2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68">
                    <a:moveTo>
                      <a:pt x="54" y="0"/>
                    </a:moveTo>
                    <a:cubicBezTo>
                      <a:pt x="24" y="0"/>
                      <a:pt x="0" y="25"/>
                      <a:pt x="0" y="55"/>
                    </a:cubicBezTo>
                    <a:cubicBezTo>
                      <a:pt x="0" y="59"/>
                      <a:pt x="0" y="63"/>
                      <a:pt x="1" y="67"/>
                    </a:cubicBezTo>
                    <a:cubicBezTo>
                      <a:pt x="2" y="67"/>
                      <a:pt x="3" y="67"/>
                      <a:pt x="4" y="67"/>
                    </a:cubicBezTo>
                    <a:cubicBezTo>
                      <a:pt x="6" y="67"/>
                      <a:pt x="7" y="67"/>
                      <a:pt x="9" y="68"/>
                    </a:cubicBezTo>
                    <a:cubicBezTo>
                      <a:pt x="7" y="63"/>
                      <a:pt x="7" y="59"/>
                      <a:pt x="7" y="55"/>
                    </a:cubicBezTo>
                    <a:cubicBezTo>
                      <a:pt x="7" y="29"/>
                      <a:pt x="28" y="8"/>
                      <a:pt x="54" y="8"/>
                    </a:cubicBezTo>
                    <a:cubicBezTo>
                      <a:pt x="80" y="8"/>
                      <a:pt x="101" y="29"/>
                      <a:pt x="101" y="55"/>
                    </a:cubicBezTo>
                    <a:cubicBezTo>
                      <a:pt x="101" y="58"/>
                      <a:pt x="101" y="62"/>
                      <a:pt x="100" y="65"/>
                    </a:cubicBezTo>
                    <a:cubicBezTo>
                      <a:pt x="102" y="64"/>
                      <a:pt x="104" y="64"/>
                      <a:pt x="105" y="64"/>
                    </a:cubicBezTo>
                    <a:cubicBezTo>
                      <a:pt x="106" y="64"/>
                      <a:pt x="107" y="64"/>
                      <a:pt x="108" y="64"/>
                    </a:cubicBezTo>
                    <a:cubicBezTo>
                      <a:pt x="109" y="61"/>
                      <a:pt x="109" y="58"/>
                      <a:pt x="109" y="55"/>
                    </a:cubicBezTo>
                    <a:cubicBezTo>
                      <a:pt x="109" y="25"/>
                      <a:pt x="84" y="0"/>
                      <a:pt x="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127" name="Freeform 30"/>
              <p:cNvSpPr>
                <a:spLocks noEditPoints="1"/>
              </p:cNvSpPr>
              <p:nvPr/>
            </p:nvSpPr>
            <p:spPr bwMode="auto">
              <a:xfrm>
                <a:off x="1102" y="1999"/>
                <a:ext cx="365" cy="209"/>
              </a:xfrm>
              <a:custGeom>
                <a:avLst/>
                <a:gdLst>
                  <a:gd name="T0" fmla="*/ 68 w 70"/>
                  <a:gd name="T1" fmla="*/ 18 h 40"/>
                  <a:gd name="T2" fmla="*/ 2 w 70"/>
                  <a:gd name="T3" fmla="*/ 17 h 40"/>
                  <a:gd name="T4" fmla="*/ 2 w 70"/>
                  <a:gd name="T5" fmla="*/ 19 h 40"/>
                  <a:gd name="T6" fmla="*/ 1 w 70"/>
                  <a:gd name="T7" fmla="*/ 22 h 40"/>
                  <a:gd name="T8" fmla="*/ 1 w 70"/>
                  <a:gd name="T9" fmla="*/ 22 h 40"/>
                  <a:gd name="T10" fmla="*/ 1 w 70"/>
                  <a:gd name="T11" fmla="*/ 23 h 40"/>
                  <a:gd name="T12" fmla="*/ 1 w 70"/>
                  <a:gd name="T13" fmla="*/ 24 h 40"/>
                  <a:gd name="T14" fmla="*/ 1 w 70"/>
                  <a:gd name="T15" fmla="*/ 24 h 40"/>
                  <a:gd name="T16" fmla="*/ 0 w 70"/>
                  <a:gd name="T17" fmla="*/ 28 h 40"/>
                  <a:gd name="T18" fmla="*/ 34 w 70"/>
                  <a:gd name="T19" fmla="*/ 40 h 40"/>
                  <a:gd name="T20" fmla="*/ 70 w 70"/>
                  <a:gd name="T21" fmla="*/ 27 h 40"/>
                  <a:gd name="T22" fmla="*/ 68 w 70"/>
                  <a:gd name="T23" fmla="*/ 18 h 40"/>
                  <a:gd name="T24" fmla="*/ 34 w 70"/>
                  <a:gd name="T25" fmla="*/ 33 h 40"/>
                  <a:gd name="T26" fmla="*/ 3 w 70"/>
                  <a:gd name="T27" fmla="*/ 22 h 40"/>
                  <a:gd name="T28" fmla="*/ 65 w 70"/>
                  <a:gd name="T29" fmla="*/ 22 h 40"/>
                  <a:gd name="T30" fmla="*/ 34 w 70"/>
                  <a:gd name="T31"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40">
                    <a:moveTo>
                      <a:pt x="68" y="18"/>
                    </a:moveTo>
                    <a:cubicBezTo>
                      <a:pt x="61" y="14"/>
                      <a:pt x="34" y="0"/>
                      <a:pt x="2" y="17"/>
                    </a:cubicBezTo>
                    <a:cubicBezTo>
                      <a:pt x="2" y="18"/>
                      <a:pt x="2" y="18"/>
                      <a:pt x="2" y="19"/>
                    </a:cubicBezTo>
                    <a:cubicBezTo>
                      <a:pt x="2" y="20"/>
                      <a:pt x="1" y="21"/>
                      <a:pt x="1" y="22"/>
                    </a:cubicBezTo>
                    <a:cubicBezTo>
                      <a:pt x="1" y="22"/>
                      <a:pt x="1" y="22"/>
                      <a:pt x="1" y="22"/>
                    </a:cubicBezTo>
                    <a:cubicBezTo>
                      <a:pt x="1" y="22"/>
                      <a:pt x="1" y="22"/>
                      <a:pt x="1" y="23"/>
                    </a:cubicBezTo>
                    <a:cubicBezTo>
                      <a:pt x="1" y="23"/>
                      <a:pt x="1" y="23"/>
                      <a:pt x="1" y="24"/>
                    </a:cubicBezTo>
                    <a:cubicBezTo>
                      <a:pt x="1" y="24"/>
                      <a:pt x="1" y="24"/>
                      <a:pt x="1" y="24"/>
                    </a:cubicBezTo>
                    <a:cubicBezTo>
                      <a:pt x="1" y="25"/>
                      <a:pt x="0" y="27"/>
                      <a:pt x="0" y="28"/>
                    </a:cubicBezTo>
                    <a:cubicBezTo>
                      <a:pt x="9" y="36"/>
                      <a:pt x="21" y="40"/>
                      <a:pt x="34" y="40"/>
                    </a:cubicBezTo>
                    <a:cubicBezTo>
                      <a:pt x="48" y="40"/>
                      <a:pt x="61" y="35"/>
                      <a:pt x="70" y="27"/>
                    </a:cubicBezTo>
                    <a:cubicBezTo>
                      <a:pt x="69" y="24"/>
                      <a:pt x="68" y="21"/>
                      <a:pt x="68" y="18"/>
                    </a:cubicBezTo>
                    <a:close/>
                    <a:moveTo>
                      <a:pt x="34" y="33"/>
                    </a:moveTo>
                    <a:cubicBezTo>
                      <a:pt x="22" y="33"/>
                      <a:pt x="12" y="29"/>
                      <a:pt x="3" y="22"/>
                    </a:cubicBezTo>
                    <a:cubicBezTo>
                      <a:pt x="4" y="22"/>
                      <a:pt x="34" y="4"/>
                      <a:pt x="65" y="22"/>
                    </a:cubicBezTo>
                    <a:cubicBezTo>
                      <a:pt x="56" y="29"/>
                      <a:pt x="46" y="33"/>
                      <a:pt x="34"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65" name="Freeform 31"/>
              <p:cNvSpPr>
                <a:spLocks/>
              </p:cNvSpPr>
              <p:nvPr/>
            </p:nvSpPr>
            <p:spPr bwMode="auto">
              <a:xfrm>
                <a:off x="1138" y="1669"/>
                <a:ext cx="136" cy="523"/>
              </a:xfrm>
              <a:custGeom>
                <a:avLst/>
                <a:gdLst>
                  <a:gd name="T0" fmla="*/ 25 w 26"/>
                  <a:gd name="T1" fmla="*/ 93 h 100"/>
                  <a:gd name="T2" fmla="*/ 5 w 26"/>
                  <a:gd name="T3" fmla="*/ 48 h 100"/>
                  <a:gd name="T4" fmla="*/ 26 w 26"/>
                  <a:gd name="T5" fmla="*/ 2 h 100"/>
                  <a:gd name="T6" fmla="*/ 19 w 26"/>
                  <a:gd name="T7" fmla="*/ 2 h 100"/>
                  <a:gd name="T8" fmla="*/ 0 w 26"/>
                  <a:gd name="T9" fmla="*/ 48 h 100"/>
                  <a:gd name="T10" fmla="*/ 21 w 26"/>
                  <a:gd name="T11" fmla="*/ 96 h 100"/>
                  <a:gd name="T12" fmla="*/ 25 w 26"/>
                  <a:gd name="T13" fmla="*/ 97 h 100"/>
                  <a:gd name="T14" fmla="*/ 25 w 26"/>
                  <a:gd name="T15" fmla="*/ 93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00">
                    <a:moveTo>
                      <a:pt x="25" y="93"/>
                    </a:moveTo>
                    <a:cubicBezTo>
                      <a:pt x="25" y="93"/>
                      <a:pt x="4" y="76"/>
                      <a:pt x="5" y="48"/>
                    </a:cubicBezTo>
                    <a:cubicBezTo>
                      <a:pt x="6" y="19"/>
                      <a:pt x="24" y="3"/>
                      <a:pt x="26" y="2"/>
                    </a:cubicBezTo>
                    <a:cubicBezTo>
                      <a:pt x="21" y="0"/>
                      <a:pt x="19" y="2"/>
                      <a:pt x="19" y="2"/>
                    </a:cubicBezTo>
                    <a:cubicBezTo>
                      <a:pt x="19" y="2"/>
                      <a:pt x="0" y="19"/>
                      <a:pt x="0" y="48"/>
                    </a:cubicBezTo>
                    <a:cubicBezTo>
                      <a:pt x="0" y="76"/>
                      <a:pt x="17" y="93"/>
                      <a:pt x="21" y="96"/>
                    </a:cubicBezTo>
                    <a:cubicBezTo>
                      <a:pt x="25" y="100"/>
                      <a:pt x="25" y="97"/>
                      <a:pt x="25" y="97"/>
                    </a:cubicBezTo>
                    <a:lnTo>
                      <a:pt x="25"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66" name="Freeform 32"/>
              <p:cNvSpPr>
                <a:spLocks/>
              </p:cNvSpPr>
              <p:nvPr/>
            </p:nvSpPr>
            <p:spPr bwMode="auto">
              <a:xfrm>
                <a:off x="1285" y="1669"/>
                <a:ext cx="135" cy="523"/>
              </a:xfrm>
              <a:custGeom>
                <a:avLst/>
                <a:gdLst>
                  <a:gd name="T0" fmla="*/ 2 w 26"/>
                  <a:gd name="T1" fmla="*/ 93 h 100"/>
                  <a:gd name="T2" fmla="*/ 21 w 26"/>
                  <a:gd name="T3" fmla="*/ 48 h 100"/>
                  <a:gd name="T4" fmla="*/ 0 w 26"/>
                  <a:gd name="T5" fmla="*/ 2 h 100"/>
                  <a:gd name="T6" fmla="*/ 8 w 26"/>
                  <a:gd name="T7" fmla="*/ 2 h 100"/>
                  <a:gd name="T8" fmla="*/ 26 w 26"/>
                  <a:gd name="T9" fmla="*/ 48 h 100"/>
                  <a:gd name="T10" fmla="*/ 5 w 26"/>
                  <a:gd name="T11" fmla="*/ 96 h 100"/>
                  <a:gd name="T12" fmla="*/ 2 w 26"/>
                  <a:gd name="T13" fmla="*/ 97 h 100"/>
                  <a:gd name="T14" fmla="*/ 2 w 26"/>
                  <a:gd name="T15" fmla="*/ 93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00">
                    <a:moveTo>
                      <a:pt x="2" y="93"/>
                    </a:moveTo>
                    <a:cubicBezTo>
                      <a:pt x="2" y="93"/>
                      <a:pt x="22" y="76"/>
                      <a:pt x="21" y="48"/>
                    </a:cubicBezTo>
                    <a:cubicBezTo>
                      <a:pt x="21" y="19"/>
                      <a:pt x="2" y="3"/>
                      <a:pt x="0" y="2"/>
                    </a:cubicBezTo>
                    <a:cubicBezTo>
                      <a:pt x="5" y="0"/>
                      <a:pt x="8" y="2"/>
                      <a:pt x="8" y="2"/>
                    </a:cubicBezTo>
                    <a:cubicBezTo>
                      <a:pt x="8" y="2"/>
                      <a:pt x="26" y="19"/>
                      <a:pt x="26" y="48"/>
                    </a:cubicBezTo>
                    <a:cubicBezTo>
                      <a:pt x="26" y="76"/>
                      <a:pt x="9" y="93"/>
                      <a:pt x="5" y="96"/>
                    </a:cubicBezTo>
                    <a:cubicBezTo>
                      <a:pt x="1" y="100"/>
                      <a:pt x="2" y="97"/>
                      <a:pt x="2" y="97"/>
                    </a:cubicBezTo>
                    <a:lnTo>
                      <a:pt x="2"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55" name="Rectangle 54"/>
            <p:cNvSpPr/>
            <p:nvPr/>
          </p:nvSpPr>
          <p:spPr>
            <a:xfrm>
              <a:off x="725775" y="3777654"/>
              <a:ext cx="2998636" cy="313817"/>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
                  <a:srgbClr val="FFFFFF"/>
                </a:buClr>
                <a:buSzTx/>
                <a:buFontTx/>
                <a:buNone/>
                <a:tabLst/>
                <a:defRPr/>
              </a:pPr>
              <a:r>
                <a:rPr kumimoji="0" lang="en-US" sz="1399" b="0" i="0" u="none" strike="noStrike" kern="0" cap="none" spc="0" normalizeH="0" baseline="0" noProof="0" dirty="0">
                  <a:ln>
                    <a:noFill/>
                  </a:ln>
                  <a:solidFill>
                    <a:srgbClr val="FFFFFF"/>
                  </a:solidFill>
                  <a:effectLst/>
                  <a:uLnTx/>
                  <a:uFillTx/>
                  <a:latin typeface="Segoe UI"/>
                  <a:ea typeface="+mn-ea"/>
                  <a:cs typeface="+mn-cs"/>
                </a:rPr>
                <a:t>2 Employees        Public Library</a:t>
              </a:r>
            </a:p>
          </p:txBody>
        </p:sp>
        <p:grpSp>
          <p:nvGrpSpPr>
            <p:cNvPr id="58" name="Group 17"/>
            <p:cNvGrpSpPr>
              <a:grpSpLocks noChangeAspect="1"/>
            </p:cNvGrpSpPr>
            <p:nvPr/>
          </p:nvGrpSpPr>
          <p:grpSpPr bwMode="auto">
            <a:xfrm>
              <a:off x="2103437" y="2582862"/>
              <a:ext cx="966751" cy="747420"/>
              <a:chOff x="1882" y="1270"/>
              <a:chExt cx="1027" cy="794"/>
            </a:xfrm>
            <a:solidFill>
              <a:schemeClr val="bg1"/>
            </a:solidFill>
          </p:grpSpPr>
          <p:sp>
            <p:nvSpPr>
              <p:cNvPr id="60" name="Freeform 18"/>
              <p:cNvSpPr>
                <a:spLocks/>
              </p:cNvSpPr>
              <p:nvPr/>
            </p:nvSpPr>
            <p:spPr bwMode="auto">
              <a:xfrm>
                <a:off x="1913" y="1270"/>
                <a:ext cx="966" cy="295"/>
              </a:xfrm>
              <a:custGeom>
                <a:avLst/>
                <a:gdLst>
                  <a:gd name="T0" fmla="*/ 34 w 733"/>
                  <a:gd name="T1" fmla="*/ 220 h 224"/>
                  <a:gd name="T2" fmla="*/ 7 w 733"/>
                  <a:gd name="T3" fmla="*/ 203 h 224"/>
                  <a:gd name="T4" fmla="*/ 21 w 733"/>
                  <a:gd name="T5" fmla="*/ 164 h 224"/>
                  <a:gd name="T6" fmla="*/ 358 w 733"/>
                  <a:gd name="T7" fmla="*/ 4 h 224"/>
                  <a:gd name="T8" fmla="*/ 384 w 733"/>
                  <a:gd name="T9" fmla="*/ 4 h 224"/>
                  <a:gd name="T10" fmla="*/ 712 w 733"/>
                  <a:gd name="T11" fmla="*/ 164 h 224"/>
                  <a:gd name="T12" fmla="*/ 726 w 733"/>
                  <a:gd name="T13" fmla="*/ 204 h 224"/>
                  <a:gd name="T14" fmla="*/ 686 w 733"/>
                  <a:gd name="T15" fmla="*/ 217 h 224"/>
                  <a:gd name="T16" fmla="*/ 371 w 733"/>
                  <a:gd name="T17" fmla="*/ 63 h 224"/>
                  <a:gd name="T18" fmla="*/ 46 w 733"/>
                  <a:gd name="T19" fmla="*/ 217 h 224"/>
                  <a:gd name="T20" fmla="*/ 34 w 733"/>
                  <a:gd name="T21" fmla="*/ 22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3" h="224">
                    <a:moveTo>
                      <a:pt x="34" y="220"/>
                    </a:moveTo>
                    <a:cubicBezTo>
                      <a:pt x="23" y="220"/>
                      <a:pt x="12" y="214"/>
                      <a:pt x="7" y="203"/>
                    </a:cubicBezTo>
                    <a:cubicBezTo>
                      <a:pt x="0" y="189"/>
                      <a:pt x="6" y="171"/>
                      <a:pt x="21" y="164"/>
                    </a:cubicBezTo>
                    <a:cubicBezTo>
                      <a:pt x="358" y="4"/>
                      <a:pt x="358" y="4"/>
                      <a:pt x="358" y="4"/>
                    </a:cubicBezTo>
                    <a:cubicBezTo>
                      <a:pt x="366" y="0"/>
                      <a:pt x="376" y="0"/>
                      <a:pt x="384" y="4"/>
                    </a:cubicBezTo>
                    <a:cubicBezTo>
                      <a:pt x="712" y="164"/>
                      <a:pt x="712" y="164"/>
                      <a:pt x="712" y="164"/>
                    </a:cubicBezTo>
                    <a:cubicBezTo>
                      <a:pt x="727" y="171"/>
                      <a:pt x="733" y="189"/>
                      <a:pt x="726" y="204"/>
                    </a:cubicBezTo>
                    <a:cubicBezTo>
                      <a:pt x="719" y="218"/>
                      <a:pt x="701" y="224"/>
                      <a:pt x="686" y="217"/>
                    </a:cubicBezTo>
                    <a:cubicBezTo>
                      <a:pt x="371" y="63"/>
                      <a:pt x="371" y="63"/>
                      <a:pt x="371" y="63"/>
                    </a:cubicBezTo>
                    <a:cubicBezTo>
                      <a:pt x="46" y="217"/>
                      <a:pt x="46" y="217"/>
                      <a:pt x="46" y="217"/>
                    </a:cubicBezTo>
                    <a:cubicBezTo>
                      <a:pt x="42" y="219"/>
                      <a:pt x="38" y="220"/>
                      <a:pt x="34" y="2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61" name="Freeform 19"/>
              <p:cNvSpPr>
                <a:spLocks/>
              </p:cNvSpPr>
              <p:nvPr/>
            </p:nvSpPr>
            <p:spPr bwMode="auto">
              <a:xfrm>
                <a:off x="1882" y="1986"/>
                <a:ext cx="1027" cy="78"/>
              </a:xfrm>
              <a:custGeom>
                <a:avLst/>
                <a:gdLst>
                  <a:gd name="T0" fmla="*/ 750 w 779"/>
                  <a:gd name="T1" fmla="*/ 59 h 59"/>
                  <a:gd name="T2" fmla="*/ 29 w 779"/>
                  <a:gd name="T3" fmla="*/ 59 h 59"/>
                  <a:gd name="T4" fmla="*/ 0 w 779"/>
                  <a:gd name="T5" fmla="*/ 30 h 59"/>
                  <a:gd name="T6" fmla="*/ 29 w 779"/>
                  <a:gd name="T7" fmla="*/ 0 h 59"/>
                  <a:gd name="T8" fmla="*/ 750 w 779"/>
                  <a:gd name="T9" fmla="*/ 0 h 59"/>
                  <a:gd name="T10" fmla="*/ 779 w 779"/>
                  <a:gd name="T11" fmla="*/ 30 h 59"/>
                  <a:gd name="T12" fmla="*/ 750 w 779"/>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779" h="59">
                    <a:moveTo>
                      <a:pt x="750" y="59"/>
                    </a:moveTo>
                    <a:cubicBezTo>
                      <a:pt x="29" y="59"/>
                      <a:pt x="29" y="59"/>
                      <a:pt x="29" y="59"/>
                    </a:cubicBezTo>
                    <a:cubicBezTo>
                      <a:pt x="13" y="59"/>
                      <a:pt x="0" y="46"/>
                      <a:pt x="0" y="30"/>
                    </a:cubicBezTo>
                    <a:cubicBezTo>
                      <a:pt x="0" y="14"/>
                      <a:pt x="13" y="0"/>
                      <a:pt x="29" y="0"/>
                    </a:cubicBezTo>
                    <a:cubicBezTo>
                      <a:pt x="750" y="0"/>
                      <a:pt x="750" y="0"/>
                      <a:pt x="750" y="0"/>
                    </a:cubicBezTo>
                    <a:cubicBezTo>
                      <a:pt x="766" y="0"/>
                      <a:pt x="779" y="14"/>
                      <a:pt x="779" y="30"/>
                    </a:cubicBezTo>
                    <a:cubicBezTo>
                      <a:pt x="779" y="46"/>
                      <a:pt x="766" y="59"/>
                      <a:pt x="750"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62" name="Freeform 20"/>
              <p:cNvSpPr>
                <a:spLocks noEditPoints="1"/>
              </p:cNvSpPr>
              <p:nvPr/>
            </p:nvSpPr>
            <p:spPr bwMode="auto">
              <a:xfrm>
                <a:off x="1969" y="1497"/>
                <a:ext cx="853" cy="462"/>
              </a:xfrm>
              <a:custGeom>
                <a:avLst/>
                <a:gdLst>
                  <a:gd name="T0" fmla="*/ 773 w 853"/>
                  <a:gd name="T1" fmla="*/ 110 h 462"/>
                  <a:gd name="T2" fmla="*/ 803 w 853"/>
                  <a:gd name="T3" fmla="*/ 76 h 462"/>
                  <a:gd name="T4" fmla="*/ 853 w 853"/>
                  <a:gd name="T5" fmla="*/ 0 h 462"/>
                  <a:gd name="T6" fmla="*/ 0 w 853"/>
                  <a:gd name="T7" fmla="*/ 76 h 462"/>
                  <a:gd name="T8" fmla="*/ 48 w 853"/>
                  <a:gd name="T9" fmla="*/ 110 h 462"/>
                  <a:gd name="T10" fmla="*/ 77 w 853"/>
                  <a:gd name="T11" fmla="*/ 135 h 462"/>
                  <a:gd name="T12" fmla="*/ 77 w 853"/>
                  <a:gd name="T13" fmla="*/ 410 h 462"/>
                  <a:gd name="T14" fmla="*/ 48 w 853"/>
                  <a:gd name="T15" fmla="*/ 435 h 462"/>
                  <a:gd name="T16" fmla="*/ 20 w 853"/>
                  <a:gd name="T17" fmla="*/ 462 h 462"/>
                  <a:gd name="T18" fmla="*/ 829 w 853"/>
                  <a:gd name="T19" fmla="*/ 435 h 462"/>
                  <a:gd name="T20" fmla="*/ 803 w 853"/>
                  <a:gd name="T21" fmla="*/ 410 h 462"/>
                  <a:gd name="T22" fmla="*/ 773 w 853"/>
                  <a:gd name="T23" fmla="*/ 385 h 462"/>
                  <a:gd name="T24" fmla="*/ 377 w 853"/>
                  <a:gd name="T25" fmla="*/ 385 h 462"/>
                  <a:gd name="T26" fmla="*/ 377 w 853"/>
                  <a:gd name="T27" fmla="*/ 110 h 462"/>
                  <a:gd name="T28" fmla="*/ 406 w 853"/>
                  <a:gd name="T29" fmla="*/ 76 h 462"/>
                  <a:gd name="T30" fmla="*/ 444 w 853"/>
                  <a:gd name="T31" fmla="*/ 110 h 462"/>
                  <a:gd name="T32" fmla="*/ 473 w 853"/>
                  <a:gd name="T33" fmla="*/ 135 h 462"/>
                  <a:gd name="T34" fmla="*/ 473 w 853"/>
                  <a:gd name="T35" fmla="*/ 410 h 462"/>
                  <a:gd name="T36" fmla="*/ 444 w 853"/>
                  <a:gd name="T37" fmla="*/ 435 h 462"/>
                  <a:gd name="T38" fmla="*/ 406 w 853"/>
                  <a:gd name="T39" fmla="*/ 410 h 462"/>
                  <a:gd name="T40" fmla="*/ 377 w 853"/>
                  <a:gd name="T41" fmla="*/ 385 h 462"/>
                  <a:gd name="T42" fmla="*/ 178 w 853"/>
                  <a:gd name="T43" fmla="*/ 385 h 462"/>
                  <a:gd name="T44" fmla="*/ 178 w 853"/>
                  <a:gd name="T45" fmla="*/ 110 h 462"/>
                  <a:gd name="T46" fmla="*/ 207 w 853"/>
                  <a:gd name="T47" fmla="*/ 76 h 462"/>
                  <a:gd name="T48" fmla="*/ 247 w 853"/>
                  <a:gd name="T49" fmla="*/ 110 h 462"/>
                  <a:gd name="T50" fmla="*/ 276 w 853"/>
                  <a:gd name="T51" fmla="*/ 135 h 462"/>
                  <a:gd name="T52" fmla="*/ 276 w 853"/>
                  <a:gd name="T53" fmla="*/ 410 h 462"/>
                  <a:gd name="T54" fmla="*/ 247 w 853"/>
                  <a:gd name="T55" fmla="*/ 435 h 462"/>
                  <a:gd name="T56" fmla="*/ 207 w 853"/>
                  <a:gd name="T57" fmla="*/ 410 h 462"/>
                  <a:gd name="T58" fmla="*/ 604 w 853"/>
                  <a:gd name="T59" fmla="*/ 435 h 462"/>
                  <a:gd name="T60" fmla="*/ 575 w 853"/>
                  <a:gd name="T61" fmla="*/ 410 h 462"/>
                  <a:gd name="T62" fmla="*/ 575 w 853"/>
                  <a:gd name="T63" fmla="*/ 135 h 462"/>
                  <a:gd name="T64" fmla="*/ 604 w 853"/>
                  <a:gd name="T65" fmla="*/ 110 h 462"/>
                  <a:gd name="T66" fmla="*/ 643 w 853"/>
                  <a:gd name="T67" fmla="*/ 76 h 462"/>
                  <a:gd name="T68" fmla="*/ 672 w 853"/>
                  <a:gd name="T69" fmla="*/ 110 h 462"/>
                  <a:gd name="T70" fmla="*/ 672 w 853"/>
                  <a:gd name="T71" fmla="*/ 385 h 462"/>
                  <a:gd name="T72" fmla="*/ 643 w 853"/>
                  <a:gd name="T73" fmla="*/ 410 h 462"/>
                  <a:gd name="T74" fmla="*/ 604 w 853"/>
                  <a:gd name="T75" fmla="*/ 435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3" h="462">
                    <a:moveTo>
                      <a:pt x="773" y="135"/>
                    </a:moveTo>
                    <a:lnTo>
                      <a:pt x="773" y="110"/>
                    </a:lnTo>
                    <a:lnTo>
                      <a:pt x="803" y="110"/>
                    </a:lnTo>
                    <a:lnTo>
                      <a:pt x="803" y="76"/>
                    </a:lnTo>
                    <a:lnTo>
                      <a:pt x="853" y="76"/>
                    </a:lnTo>
                    <a:lnTo>
                      <a:pt x="853" y="0"/>
                    </a:lnTo>
                    <a:lnTo>
                      <a:pt x="0" y="0"/>
                    </a:lnTo>
                    <a:lnTo>
                      <a:pt x="0" y="76"/>
                    </a:lnTo>
                    <a:lnTo>
                      <a:pt x="48" y="76"/>
                    </a:lnTo>
                    <a:lnTo>
                      <a:pt x="48" y="110"/>
                    </a:lnTo>
                    <a:lnTo>
                      <a:pt x="77" y="110"/>
                    </a:lnTo>
                    <a:lnTo>
                      <a:pt x="77" y="135"/>
                    </a:lnTo>
                    <a:lnTo>
                      <a:pt x="77" y="385"/>
                    </a:lnTo>
                    <a:lnTo>
                      <a:pt x="77" y="410"/>
                    </a:lnTo>
                    <a:lnTo>
                      <a:pt x="48" y="410"/>
                    </a:lnTo>
                    <a:lnTo>
                      <a:pt x="48" y="435"/>
                    </a:lnTo>
                    <a:lnTo>
                      <a:pt x="20" y="435"/>
                    </a:lnTo>
                    <a:lnTo>
                      <a:pt x="20" y="462"/>
                    </a:lnTo>
                    <a:lnTo>
                      <a:pt x="829" y="462"/>
                    </a:lnTo>
                    <a:lnTo>
                      <a:pt x="829" y="435"/>
                    </a:lnTo>
                    <a:lnTo>
                      <a:pt x="803" y="435"/>
                    </a:lnTo>
                    <a:lnTo>
                      <a:pt x="803" y="410"/>
                    </a:lnTo>
                    <a:lnTo>
                      <a:pt x="773" y="410"/>
                    </a:lnTo>
                    <a:lnTo>
                      <a:pt x="773" y="385"/>
                    </a:lnTo>
                    <a:lnTo>
                      <a:pt x="773" y="135"/>
                    </a:lnTo>
                    <a:close/>
                    <a:moveTo>
                      <a:pt x="377" y="385"/>
                    </a:moveTo>
                    <a:lnTo>
                      <a:pt x="377" y="135"/>
                    </a:lnTo>
                    <a:lnTo>
                      <a:pt x="377" y="110"/>
                    </a:lnTo>
                    <a:lnTo>
                      <a:pt x="406" y="110"/>
                    </a:lnTo>
                    <a:lnTo>
                      <a:pt x="406" y="76"/>
                    </a:lnTo>
                    <a:lnTo>
                      <a:pt x="444" y="76"/>
                    </a:lnTo>
                    <a:lnTo>
                      <a:pt x="444" y="110"/>
                    </a:lnTo>
                    <a:lnTo>
                      <a:pt x="473" y="110"/>
                    </a:lnTo>
                    <a:lnTo>
                      <a:pt x="473" y="135"/>
                    </a:lnTo>
                    <a:lnTo>
                      <a:pt x="473" y="385"/>
                    </a:lnTo>
                    <a:lnTo>
                      <a:pt x="473" y="410"/>
                    </a:lnTo>
                    <a:lnTo>
                      <a:pt x="444" y="410"/>
                    </a:lnTo>
                    <a:lnTo>
                      <a:pt x="444" y="435"/>
                    </a:lnTo>
                    <a:lnTo>
                      <a:pt x="406" y="435"/>
                    </a:lnTo>
                    <a:lnTo>
                      <a:pt x="406" y="410"/>
                    </a:lnTo>
                    <a:lnTo>
                      <a:pt x="377" y="410"/>
                    </a:lnTo>
                    <a:lnTo>
                      <a:pt x="377" y="385"/>
                    </a:lnTo>
                    <a:close/>
                    <a:moveTo>
                      <a:pt x="178" y="410"/>
                    </a:moveTo>
                    <a:lnTo>
                      <a:pt x="178" y="385"/>
                    </a:lnTo>
                    <a:lnTo>
                      <a:pt x="178" y="135"/>
                    </a:lnTo>
                    <a:lnTo>
                      <a:pt x="178" y="110"/>
                    </a:lnTo>
                    <a:lnTo>
                      <a:pt x="207" y="110"/>
                    </a:lnTo>
                    <a:lnTo>
                      <a:pt x="207" y="76"/>
                    </a:lnTo>
                    <a:lnTo>
                      <a:pt x="247" y="76"/>
                    </a:lnTo>
                    <a:lnTo>
                      <a:pt x="247" y="110"/>
                    </a:lnTo>
                    <a:lnTo>
                      <a:pt x="276" y="110"/>
                    </a:lnTo>
                    <a:lnTo>
                      <a:pt x="276" y="135"/>
                    </a:lnTo>
                    <a:lnTo>
                      <a:pt x="276" y="385"/>
                    </a:lnTo>
                    <a:lnTo>
                      <a:pt x="276" y="410"/>
                    </a:lnTo>
                    <a:lnTo>
                      <a:pt x="247" y="410"/>
                    </a:lnTo>
                    <a:lnTo>
                      <a:pt x="247" y="435"/>
                    </a:lnTo>
                    <a:lnTo>
                      <a:pt x="207" y="435"/>
                    </a:lnTo>
                    <a:lnTo>
                      <a:pt x="207" y="410"/>
                    </a:lnTo>
                    <a:lnTo>
                      <a:pt x="178" y="410"/>
                    </a:lnTo>
                    <a:close/>
                    <a:moveTo>
                      <a:pt x="604" y="435"/>
                    </a:moveTo>
                    <a:lnTo>
                      <a:pt x="604" y="410"/>
                    </a:lnTo>
                    <a:lnTo>
                      <a:pt x="575" y="410"/>
                    </a:lnTo>
                    <a:lnTo>
                      <a:pt x="575" y="385"/>
                    </a:lnTo>
                    <a:lnTo>
                      <a:pt x="575" y="135"/>
                    </a:lnTo>
                    <a:lnTo>
                      <a:pt x="575" y="110"/>
                    </a:lnTo>
                    <a:lnTo>
                      <a:pt x="604" y="110"/>
                    </a:lnTo>
                    <a:lnTo>
                      <a:pt x="604" y="76"/>
                    </a:lnTo>
                    <a:lnTo>
                      <a:pt x="643" y="76"/>
                    </a:lnTo>
                    <a:lnTo>
                      <a:pt x="643" y="110"/>
                    </a:lnTo>
                    <a:lnTo>
                      <a:pt x="672" y="110"/>
                    </a:lnTo>
                    <a:lnTo>
                      <a:pt x="672" y="135"/>
                    </a:lnTo>
                    <a:lnTo>
                      <a:pt x="672" y="385"/>
                    </a:lnTo>
                    <a:lnTo>
                      <a:pt x="672" y="410"/>
                    </a:lnTo>
                    <a:lnTo>
                      <a:pt x="643" y="410"/>
                    </a:lnTo>
                    <a:lnTo>
                      <a:pt x="643" y="435"/>
                    </a:lnTo>
                    <a:lnTo>
                      <a:pt x="604" y="4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80" name="Group 79"/>
            <p:cNvGrpSpPr/>
            <p:nvPr/>
          </p:nvGrpSpPr>
          <p:grpSpPr>
            <a:xfrm>
              <a:off x="2636837" y="2832982"/>
              <a:ext cx="643459" cy="869736"/>
              <a:chOff x="2593151" y="2622598"/>
              <a:chExt cx="816232" cy="1103264"/>
            </a:xfrm>
          </p:grpSpPr>
          <p:sp>
            <p:nvSpPr>
              <p:cNvPr id="63" name="Oval 62"/>
              <p:cNvSpPr/>
              <p:nvPr/>
            </p:nvSpPr>
            <p:spPr bwMode="auto">
              <a:xfrm>
                <a:off x="2595855" y="2869750"/>
                <a:ext cx="488325" cy="623716"/>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Oval 63"/>
              <p:cNvSpPr/>
              <p:nvPr/>
            </p:nvSpPr>
            <p:spPr bwMode="auto">
              <a:xfrm>
                <a:off x="2715867" y="2622598"/>
                <a:ext cx="450928" cy="506426"/>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7" name="Group 56"/>
              <p:cNvGrpSpPr/>
              <p:nvPr/>
            </p:nvGrpSpPr>
            <p:grpSpPr>
              <a:xfrm>
                <a:off x="2593151" y="2667043"/>
                <a:ext cx="816232" cy="1058819"/>
                <a:chOff x="1779588" y="1653402"/>
                <a:chExt cx="908050" cy="1177926"/>
              </a:xfrm>
            </p:grpSpPr>
            <p:grpSp>
              <p:nvGrpSpPr>
                <p:cNvPr id="5" name="Group 5"/>
                <p:cNvGrpSpPr>
                  <a:grpSpLocks noChangeAspect="1"/>
                </p:cNvGrpSpPr>
                <p:nvPr/>
              </p:nvGrpSpPr>
              <p:grpSpPr bwMode="auto">
                <a:xfrm>
                  <a:off x="1779588" y="1653402"/>
                  <a:ext cx="908050" cy="1177926"/>
                  <a:chOff x="569" y="1797"/>
                  <a:chExt cx="572" cy="742"/>
                </a:xfrm>
                <a:solidFill>
                  <a:schemeClr val="bg1"/>
                </a:solidFill>
              </p:grpSpPr>
              <p:sp>
                <p:nvSpPr>
                  <p:cNvPr id="11" name="Freeform 6"/>
                  <p:cNvSpPr>
                    <a:spLocks noEditPoints="1"/>
                  </p:cNvSpPr>
                  <p:nvPr/>
                </p:nvSpPr>
                <p:spPr bwMode="auto">
                  <a:xfrm>
                    <a:off x="714" y="2207"/>
                    <a:ext cx="128" cy="102"/>
                  </a:xfrm>
                  <a:custGeom>
                    <a:avLst/>
                    <a:gdLst>
                      <a:gd name="T0" fmla="*/ 50 w 186"/>
                      <a:gd name="T1" fmla="*/ 148 h 148"/>
                      <a:gd name="T2" fmla="*/ 50 w 186"/>
                      <a:gd name="T3" fmla="*/ 148 h 148"/>
                      <a:gd name="T4" fmla="*/ 2 w 186"/>
                      <a:gd name="T5" fmla="*/ 97 h 148"/>
                      <a:gd name="T6" fmla="*/ 0 w 186"/>
                      <a:gd name="T7" fmla="*/ 94 h 148"/>
                      <a:gd name="T8" fmla="*/ 41 w 186"/>
                      <a:gd name="T9" fmla="*/ 4 h 148"/>
                      <a:gd name="T10" fmla="*/ 44 w 186"/>
                      <a:gd name="T11" fmla="*/ 4 h 148"/>
                      <a:gd name="T12" fmla="*/ 77 w 186"/>
                      <a:gd name="T13" fmla="*/ 0 h 148"/>
                      <a:gd name="T14" fmla="*/ 170 w 186"/>
                      <a:gd name="T15" fmla="*/ 58 h 148"/>
                      <a:gd name="T16" fmla="*/ 177 w 186"/>
                      <a:gd name="T17" fmla="*/ 68 h 148"/>
                      <a:gd name="T18" fmla="*/ 183 w 186"/>
                      <a:gd name="T19" fmla="*/ 88 h 148"/>
                      <a:gd name="T20" fmla="*/ 157 w 186"/>
                      <a:gd name="T21" fmla="*/ 97 h 148"/>
                      <a:gd name="T22" fmla="*/ 149 w 186"/>
                      <a:gd name="T23" fmla="*/ 97 h 148"/>
                      <a:gd name="T24" fmla="*/ 148 w 186"/>
                      <a:gd name="T25" fmla="*/ 109 h 148"/>
                      <a:gd name="T26" fmla="*/ 125 w 186"/>
                      <a:gd name="T27" fmla="*/ 112 h 148"/>
                      <a:gd name="T28" fmla="*/ 123 w 186"/>
                      <a:gd name="T29" fmla="*/ 112 h 148"/>
                      <a:gd name="T30" fmla="*/ 122 w 186"/>
                      <a:gd name="T31" fmla="*/ 124 h 148"/>
                      <a:gd name="T32" fmla="*/ 108 w 186"/>
                      <a:gd name="T33" fmla="*/ 130 h 148"/>
                      <a:gd name="T34" fmla="*/ 104 w 186"/>
                      <a:gd name="T35" fmla="*/ 130 h 148"/>
                      <a:gd name="T36" fmla="*/ 104 w 186"/>
                      <a:gd name="T37" fmla="*/ 131 h 148"/>
                      <a:gd name="T38" fmla="*/ 85 w 186"/>
                      <a:gd name="T39" fmla="*/ 140 h 148"/>
                      <a:gd name="T40" fmla="*/ 66 w 186"/>
                      <a:gd name="T41" fmla="*/ 136 h 148"/>
                      <a:gd name="T42" fmla="*/ 64 w 186"/>
                      <a:gd name="T43" fmla="*/ 141 h 148"/>
                      <a:gd name="T44" fmla="*/ 50 w 186"/>
                      <a:gd name="T45" fmla="*/ 148 h 148"/>
                      <a:gd name="T46" fmla="*/ 15 w 186"/>
                      <a:gd name="T47" fmla="*/ 94 h 148"/>
                      <a:gd name="T48" fmla="*/ 50 w 186"/>
                      <a:gd name="T49" fmla="*/ 135 h 148"/>
                      <a:gd name="T50" fmla="*/ 51 w 186"/>
                      <a:gd name="T51" fmla="*/ 135 h 148"/>
                      <a:gd name="T52" fmla="*/ 45 w 186"/>
                      <a:gd name="T53" fmla="*/ 125 h 148"/>
                      <a:gd name="T54" fmla="*/ 41 w 186"/>
                      <a:gd name="T55" fmla="*/ 113 h 148"/>
                      <a:gd name="T56" fmla="*/ 42 w 186"/>
                      <a:gd name="T57" fmla="*/ 109 h 148"/>
                      <a:gd name="T58" fmla="*/ 49 w 186"/>
                      <a:gd name="T59" fmla="*/ 109 h 148"/>
                      <a:gd name="T60" fmla="*/ 51 w 186"/>
                      <a:gd name="T61" fmla="*/ 111 h 148"/>
                      <a:gd name="T62" fmla="*/ 85 w 186"/>
                      <a:gd name="T63" fmla="*/ 127 h 148"/>
                      <a:gd name="T64" fmla="*/ 90 w 186"/>
                      <a:gd name="T65" fmla="*/ 126 h 148"/>
                      <a:gd name="T66" fmla="*/ 91 w 186"/>
                      <a:gd name="T67" fmla="*/ 121 h 148"/>
                      <a:gd name="T68" fmla="*/ 103 w 186"/>
                      <a:gd name="T69" fmla="*/ 116 h 148"/>
                      <a:gd name="T70" fmla="*/ 111 w 186"/>
                      <a:gd name="T71" fmla="*/ 116 h 148"/>
                      <a:gd name="T72" fmla="*/ 109 w 186"/>
                      <a:gd name="T73" fmla="*/ 112 h 148"/>
                      <a:gd name="T74" fmla="*/ 109 w 186"/>
                      <a:gd name="T75" fmla="*/ 102 h 148"/>
                      <a:gd name="T76" fmla="*/ 118 w 186"/>
                      <a:gd name="T77" fmla="*/ 98 h 148"/>
                      <a:gd name="T78" fmla="*/ 128 w 186"/>
                      <a:gd name="T79" fmla="*/ 99 h 148"/>
                      <a:gd name="T80" fmla="*/ 137 w 186"/>
                      <a:gd name="T81" fmla="*/ 100 h 148"/>
                      <a:gd name="T82" fmla="*/ 136 w 186"/>
                      <a:gd name="T83" fmla="*/ 99 h 148"/>
                      <a:gd name="T84" fmla="*/ 137 w 186"/>
                      <a:gd name="T85" fmla="*/ 90 h 148"/>
                      <a:gd name="T86" fmla="*/ 157 w 186"/>
                      <a:gd name="T87" fmla="*/ 84 h 148"/>
                      <a:gd name="T88" fmla="*/ 171 w 186"/>
                      <a:gd name="T89" fmla="*/ 82 h 148"/>
                      <a:gd name="T90" fmla="*/ 167 w 186"/>
                      <a:gd name="T91" fmla="*/ 76 h 148"/>
                      <a:gd name="T92" fmla="*/ 159 w 186"/>
                      <a:gd name="T93" fmla="*/ 65 h 148"/>
                      <a:gd name="T94" fmla="*/ 77 w 186"/>
                      <a:gd name="T95" fmla="*/ 13 h 148"/>
                      <a:gd name="T96" fmla="*/ 50 w 186"/>
                      <a:gd name="T97" fmla="*/ 16 h 148"/>
                      <a:gd name="T98" fmla="*/ 15 w 186"/>
                      <a:gd name="T99" fmla="*/ 9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6" h="148">
                        <a:moveTo>
                          <a:pt x="50" y="148"/>
                        </a:moveTo>
                        <a:cubicBezTo>
                          <a:pt x="50" y="148"/>
                          <a:pt x="50" y="148"/>
                          <a:pt x="50" y="148"/>
                        </a:cubicBezTo>
                        <a:cubicBezTo>
                          <a:pt x="28" y="148"/>
                          <a:pt x="6" y="106"/>
                          <a:pt x="2" y="97"/>
                        </a:cubicBezTo>
                        <a:cubicBezTo>
                          <a:pt x="0" y="94"/>
                          <a:pt x="0" y="94"/>
                          <a:pt x="0" y="94"/>
                        </a:cubicBezTo>
                        <a:cubicBezTo>
                          <a:pt x="41" y="4"/>
                          <a:pt x="41" y="4"/>
                          <a:pt x="41" y="4"/>
                        </a:cubicBezTo>
                        <a:cubicBezTo>
                          <a:pt x="44" y="4"/>
                          <a:pt x="44" y="4"/>
                          <a:pt x="44" y="4"/>
                        </a:cubicBezTo>
                        <a:cubicBezTo>
                          <a:pt x="56" y="1"/>
                          <a:pt x="67" y="0"/>
                          <a:pt x="77" y="0"/>
                        </a:cubicBezTo>
                        <a:cubicBezTo>
                          <a:pt x="127" y="0"/>
                          <a:pt x="152" y="33"/>
                          <a:pt x="170" y="58"/>
                        </a:cubicBezTo>
                        <a:cubicBezTo>
                          <a:pt x="172" y="61"/>
                          <a:pt x="175" y="64"/>
                          <a:pt x="177" y="68"/>
                        </a:cubicBezTo>
                        <a:cubicBezTo>
                          <a:pt x="181" y="73"/>
                          <a:pt x="186" y="80"/>
                          <a:pt x="183" y="88"/>
                        </a:cubicBezTo>
                        <a:cubicBezTo>
                          <a:pt x="179" y="96"/>
                          <a:pt x="167" y="96"/>
                          <a:pt x="157" y="97"/>
                        </a:cubicBezTo>
                        <a:cubicBezTo>
                          <a:pt x="155" y="97"/>
                          <a:pt x="152" y="97"/>
                          <a:pt x="149" y="97"/>
                        </a:cubicBezTo>
                        <a:cubicBezTo>
                          <a:pt x="150" y="101"/>
                          <a:pt x="151" y="105"/>
                          <a:pt x="148" y="109"/>
                        </a:cubicBezTo>
                        <a:cubicBezTo>
                          <a:pt x="145" y="114"/>
                          <a:pt x="135" y="114"/>
                          <a:pt x="125" y="112"/>
                        </a:cubicBezTo>
                        <a:cubicBezTo>
                          <a:pt x="124" y="112"/>
                          <a:pt x="124" y="112"/>
                          <a:pt x="123" y="112"/>
                        </a:cubicBezTo>
                        <a:cubicBezTo>
                          <a:pt x="124" y="115"/>
                          <a:pt x="125" y="120"/>
                          <a:pt x="122" y="124"/>
                        </a:cubicBezTo>
                        <a:cubicBezTo>
                          <a:pt x="119" y="130"/>
                          <a:pt x="111" y="130"/>
                          <a:pt x="108" y="130"/>
                        </a:cubicBezTo>
                        <a:cubicBezTo>
                          <a:pt x="107" y="130"/>
                          <a:pt x="106" y="130"/>
                          <a:pt x="104" y="130"/>
                        </a:cubicBezTo>
                        <a:cubicBezTo>
                          <a:pt x="104" y="130"/>
                          <a:pt x="104" y="130"/>
                          <a:pt x="104" y="131"/>
                        </a:cubicBezTo>
                        <a:cubicBezTo>
                          <a:pt x="101" y="137"/>
                          <a:pt x="94" y="140"/>
                          <a:pt x="85" y="140"/>
                        </a:cubicBezTo>
                        <a:cubicBezTo>
                          <a:pt x="80" y="140"/>
                          <a:pt x="74" y="139"/>
                          <a:pt x="66" y="136"/>
                        </a:cubicBezTo>
                        <a:cubicBezTo>
                          <a:pt x="66" y="138"/>
                          <a:pt x="65" y="139"/>
                          <a:pt x="64" y="141"/>
                        </a:cubicBezTo>
                        <a:cubicBezTo>
                          <a:pt x="59" y="147"/>
                          <a:pt x="53" y="148"/>
                          <a:pt x="50" y="148"/>
                        </a:cubicBezTo>
                        <a:moveTo>
                          <a:pt x="15" y="94"/>
                        </a:moveTo>
                        <a:cubicBezTo>
                          <a:pt x="24" y="111"/>
                          <a:pt x="40" y="135"/>
                          <a:pt x="50" y="135"/>
                        </a:cubicBezTo>
                        <a:cubicBezTo>
                          <a:pt x="50" y="135"/>
                          <a:pt x="50" y="135"/>
                          <a:pt x="51" y="135"/>
                        </a:cubicBezTo>
                        <a:cubicBezTo>
                          <a:pt x="49" y="131"/>
                          <a:pt x="46" y="127"/>
                          <a:pt x="45" y="125"/>
                        </a:cubicBezTo>
                        <a:cubicBezTo>
                          <a:pt x="40" y="118"/>
                          <a:pt x="39" y="117"/>
                          <a:pt x="41" y="113"/>
                        </a:cubicBezTo>
                        <a:cubicBezTo>
                          <a:pt x="42" y="109"/>
                          <a:pt x="42" y="109"/>
                          <a:pt x="42" y="109"/>
                        </a:cubicBezTo>
                        <a:cubicBezTo>
                          <a:pt x="49" y="109"/>
                          <a:pt x="49" y="109"/>
                          <a:pt x="49" y="109"/>
                        </a:cubicBezTo>
                        <a:cubicBezTo>
                          <a:pt x="51" y="111"/>
                          <a:pt x="51" y="111"/>
                          <a:pt x="51" y="111"/>
                        </a:cubicBezTo>
                        <a:cubicBezTo>
                          <a:pt x="68" y="125"/>
                          <a:pt x="80" y="127"/>
                          <a:pt x="85" y="127"/>
                        </a:cubicBezTo>
                        <a:cubicBezTo>
                          <a:pt x="88" y="127"/>
                          <a:pt x="89" y="126"/>
                          <a:pt x="90" y="126"/>
                        </a:cubicBezTo>
                        <a:cubicBezTo>
                          <a:pt x="90" y="123"/>
                          <a:pt x="90" y="121"/>
                          <a:pt x="91" y="121"/>
                        </a:cubicBezTo>
                        <a:cubicBezTo>
                          <a:pt x="92" y="118"/>
                          <a:pt x="94" y="116"/>
                          <a:pt x="103" y="116"/>
                        </a:cubicBezTo>
                        <a:cubicBezTo>
                          <a:pt x="106" y="117"/>
                          <a:pt x="110" y="117"/>
                          <a:pt x="111" y="116"/>
                        </a:cubicBezTo>
                        <a:cubicBezTo>
                          <a:pt x="111" y="116"/>
                          <a:pt x="110" y="114"/>
                          <a:pt x="109" y="112"/>
                        </a:cubicBezTo>
                        <a:cubicBezTo>
                          <a:pt x="107" y="108"/>
                          <a:pt x="107" y="105"/>
                          <a:pt x="109" y="102"/>
                        </a:cubicBezTo>
                        <a:cubicBezTo>
                          <a:pt x="110" y="100"/>
                          <a:pt x="113" y="98"/>
                          <a:pt x="118" y="98"/>
                        </a:cubicBezTo>
                        <a:cubicBezTo>
                          <a:pt x="121" y="98"/>
                          <a:pt x="124" y="98"/>
                          <a:pt x="128" y="99"/>
                        </a:cubicBezTo>
                        <a:cubicBezTo>
                          <a:pt x="131" y="100"/>
                          <a:pt x="134" y="100"/>
                          <a:pt x="137" y="100"/>
                        </a:cubicBezTo>
                        <a:cubicBezTo>
                          <a:pt x="136" y="100"/>
                          <a:pt x="136" y="100"/>
                          <a:pt x="136" y="99"/>
                        </a:cubicBezTo>
                        <a:cubicBezTo>
                          <a:pt x="134" y="95"/>
                          <a:pt x="136" y="92"/>
                          <a:pt x="137" y="90"/>
                        </a:cubicBezTo>
                        <a:cubicBezTo>
                          <a:pt x="140" y="85"/>
                          <a:pt x="148" y="84"/>
                          <a:pt x="157" y="84"/>
                        </a:cubicBezTo>
                        <a:cubicBezTo>
                          <a:pt x="161" y="84"/>
                          <a:pt x="169" y="83"/>
                          <a:pt x="171" y="82"/>
                        </a:cubicBezTo>
                        <a:cubicBezTo>
                          <a:pt x="170" y="82"/>
                          <a:pt x="170" y="80"/>
                          <a:pt x="167" y="76"/>
                        </a:cubicBezTo>
                        <a:cubicBezTo>
                          <a:pt x="164" y="72"/>
                          <a:pt x="162" y="69"/>
                          <a:pt x="159" y="65"/>
                        </a:cubicBezTo>
                        <a:cubicBezTo>
                          <a:pt x="142" y="42"/>
                          <a:pt x="120" y="13"/>
                          <a:pt x="77" y="13"/>
                        </a:cubicBezTo>
                        <a:cubicBezTo>
                          <a:pt x="69" y="13"/>
                          <a:pt x="60" y="14"/>
                          <a:pt x="50" y="16"/>
                        </a:cubicBezTo>
                        <a:lnTo>
                          <a:pt x="15"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2" name="Freeform 7"/>
                  <p:cNvSpPr>
                    <a:spLocks noEditPoints="1"/>
                  </p:cNvSpPr>
                  <p:nvPr/>
                </p:nvSpPr>
                <p:spPr bwMode="auto">
                  <a:xfrm>
                    <a:off x="569" y="2187"/>
                    <a:ext cx="402" cy="352"/>
                  </a:xfrm>
                  <a:custGeom>
                    <a:avLst/>
                    <a:gdLst>
                      <a:gd name="T0" fmla="*/ 298 w 584"/>
                      <a:gd name="T1" fmla="*/ 512 h 512"/>
                      <a:gd name="T2" fmla="*/ 0 w 584"/>
                      <a:gd name="T3" fmla="*/ 312 h 512"/>
                      <a:gd name="T4" fmla="*/ 8 w 584"/>
                      <a:gd name="T5" fmla="*/ 307 h 512"/>
                      <a:gd name="T6" fmla="*/ 313 w 584"/>
                      <a:gd name="T7" fmla="*/ 4 h 512"/>
                      <a:gd name="T8" fmla="*/ 317 w 584"/>
                      <a:gd name="T9" fmla="*/ 0 h 512"/>
                      <a:gd name="T10" fmla="*/ 584 w 584"/>
                      <a:gd name="T11" fmla="*/ 140 h 512"/>
                      <a:gd name="T12" fmla="*/ 581 w 584"/>
                      <a:gd name="T13" fmla="*/ 146 h 512"/>
                      <a:gd name="T14" fmla="*/ 302 w 584"/>
                      <a:gd name="T15" fmla="*/ 507 h 512"/>
                      <a:gd name="T16" fmla="*/ 298 w 584"/>
                      <a:gd name="T17" fmla="*/ 512 h 512"/>
                      <a:gd name="T18" fmla="*/ 23 w 584"/>
                      <a:gd name="T19" fmla="*/ 312 h 512"/>
                      <a:gd name="T20" fmla="*/ 295 w 584"/>
                      <a:gd name="T21" fmla="*/ 494 h 512"/>
                      <a:gd name="T22" fmla="*/ 565 w 584"/>
                      <a:gd name="T23" fmla="*/ 145 h 512"/>
                      <a:gd name="T24" fmla="*/ 320 w 584"/>
                      <a:gd name="T25" fmla="*/ 17 h 512"/>
                      <a:gd name="T26" fmla="*/ 23 w 584"/>
                      <a:gd name="T27" fmla="*/ 3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512">
                        <a:moveTo>
                          <a:pt x="298" y="512"/>
                        </a:moveTo>
                        <a:cubicBezTo>
                          <a:pt x="0" y="312"/>
                          <a:pt x="0" y="312"/>
                          <a:pt x="0" y="312"/>
                        </a:cubicBezTo>
                        <a:cubicBezTo>
                          <a:pt x="8" y="307"/>
                          <a:pt x="8" y="307"/>
                          <a:pt x="8" y="307"/>
                        </a:cubicBezTo>
                        <a:cubicBezTo>
                          <a:pt x="120" y="227"/>
                          <a:pt x="311" y="6"/>
                          <a:pt x="313" y="4"/>
                        </a:cubicBezTo>
                        <a:cubicBezTo>
                          <a:pt x="317" y="0"/>
                          <a:pt x="317" y="0"/>
                          <a:pt x="317" y="0"/>
                        </a:cubicBezTo>
                        <a:cubicBezTo>
                          <a:pt x="584" y="140"/>
                          <a:pt x="584" y="140"/>
                          <a:pt x="584" y="140"/>
                        </a:cubicBezTo>
                        <a:cubicBezTo>
                          <a:pt x="581" y="146"/>
                          <a:pt x="581" y="146"/>
                          <a:pt x="581" y="146"/>
                        </a:cubicBezTo>
                        <a:cubicBezTo>
                          <a:pt x="567" y="168"/>
                          <a:pt x="312" y="493"/>
                          <a:pt x="302" y="507"/>
                        </a:cubicBezTo>
                        <a:lnTo>
                          <a:pt x="298" y="512"/>
                        </a:lnTo>
                        <a:close/>
                        <a:moveTo>
                          <a:pt x="23" y="312"/>
                        </a:moveTo>
                        <a:cubicBezTo>
                          <a:pt x="295" y="494"/>
                          <a:pt x="295" y="494"/>
                          <a:pt x="295" y="494"/>
                        </a:cubicBezTo>
                        <a:cubicBezTo>
                          <a:pt x="382" y="384"/>
                          <a:pt x="537" y="184"/>
                          <a:pt x="565" y="145"/>
                        </a:cubicBezTo>
                        <a:cubicBezTo>
                          <a:pt x="320" y="17"/>
                          <a:pt x="320" y="17"/>
                          <a:pt x="320" y="17"/>
                        </a:cubicBezTo>
                        <a:cubicBezTo>
                          <a:pt x="294" y="46"/>
                          <a:pt x="128" y="233"/>
                          <a:pt x="23"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 name="Freeform 8"/>
                  <p:cNvSpPr>
                    <a:spLocks noEditPoints="1"/>
                  </p:cNvSpPr>
                  <p:nvPr/>
                </p:nvSpPr>
                <p:spPr bwMode="auto">
                  <a:xfrm>
                    <a:off x="592" y="1797"/>
                    <a:ext cx="549" cy="596"/>
                  </a:xfrm>
                  <a:custGeom>
                    <a:avLst/>
                    <a:gdLst>
                      <a:gd name="T0" fmla="*/ 784 w 798"/>
                      <a:gd name="T1" fmla="*/ 600 h 866"/>
                      <a:gd name="T2" fmla="*/ 710 w 798"/>
                      <a:gd name="T3" fmla="*/ 421 h 866"/>
                      <a:gd name="T4" fmla="*/ 622 w 798"/>
                      <a:gd name="T5" fmla="*/ 261 h 866"/>
                      <a:gd name="T6" fmla="*/ 471 w 798"/>
                      <a:gd name="T7" fmla="*/ 203 h 866"/>
                      <a:gd name="T8" fmla="*/ 326 w 798"/>
                      <a:gd name="T9" fmla="*/ 7 h 866"/>
                      <a:gd name="T10" fmla="*/ 170 w 798"/>
                      <a:gd name="T11" fmla="*/ 123 h 866"/>
                      <a:gd name="T12" fmla="*/ 135 w 798"/>
                      <a:gd name="T13" fmla="*/ 195 h 866"/>
                      <a:gd name="T14" fmla="*/ 165 w 798"/>
                      <a:gd name="T15" fmla="*/ 253 h 866"/>
                      <a:gd name="T16" fmla="*/ 8 w 798"/>
                      <a:gd name="T17" fmla="*/ 560 h 866"/>
                      <a:gd name="T18" fmla="*/ 184 w 798"/>
                      <a:gd name="T19" fmla="*/ 695 h 866"/>
                      <a:gd name="T20" fmla="*/ 223 w 798"/>
                      <a:gd name="T21" fmla="*/ 605 h 866"/>
                      <a:gd name="T22" fmla="*/ 155 w 798"/>
                      <a:gd name="T23" fmla="*/ 516 h 866"/>
                      <a:gd name="T24" fmla="*/ 200 w 798"/>
                      <a:gd name="T25" fmla="*/ 453 h 866"/>
                      <a:gd name="T26" fmla="*/ 556 w 798"/>
                      <a:gd name="T27" fmla="*/ 680 h 866"/>
                      <a:gd name="T28" fmla="*/ 584 w 798"/>
                      <a:gd name="T29" fmla="*/ 707 h 866"/>
                      <a:gd name="T30" fmla="*/ 552 w 798"/>
                      <a:gd name="T31" fmla="*/ 734 h 866"/>
                      <a:gd name="T32" fmla="*/ 540 w 798"/>
                      <a:gd name="T33" fmla="*/ 788 h 866"/>
                      <a:gd name="T34" fmla="*/ 534 w 798"/>
                      <a:gd name="T35" fmla="*/ 808 h 866"/>
                      <a:gd name="T36" fmla="*/ 614 w 798"/>
                      <a:gd name="T37" fmla="*/ 852 h 866"/>
                      <a:gd name="T38" fmla="*/ 751 w 798"/>
                      <a:gd name="T39" fmla="*/ 709 h 866"/>
                      <a:gd name="T40" fmla="*/ 784 w 798"/>
                      <a:gd name="T41" fmla="*/ 600 h 866"/>
                      <a:gd name="T42" fmla="*/ 414 w 798"/>
                      <a:gd name="T43" fmla="*/ 300 h 866"/>
                      <a:gd name="T44" fmla="*/ 339 w 798"/>
                      <a:gd name="T45" fmla="*/ 372 h 866"/>
                      <a:gd name="T46" fmla="*/ 243 w 798"/>
                      <a:gd name="T47" fmla="*/ 247 h 866"/>
                      <a:gd name="T48" fmla="*/ 310 w 798"/>
                      <a:gd name="T49" fmla="*/ 257 h 866"/>
                      <a:gd name="T50" fmla="*/ 404 w 798"/>
                      <a:gd name="T51" fmla="*/ 197 h 866"/>
                      <a:gd name="T52" fmla="*/ 414 w 798"/>
                      <a:gd name="T53" fmla="*/ 300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98" h="866">
                        <a:moveTo>
                          <a:pt x="784" y="600"/>
                        </a:moveTo>
                        <a:cubicBezTo>
                          <a:pt x="781" y="591"/>
                          <a:pt x="728" y="462"/>
                          <a:pt x="710" y="421"/>
                        </a:cubicBezTo>
                        <a:cubicBezTo>
                          <a:pt x="692" y="381"/>
                          <a:pt x="655" y="272"/>
                          <a:pt x="622" y="261"/>
                        </a:cubicBezTo>
                        <a:cubicBezTo>
                          <a:pt x="588" y="250"/>
                          <a:pt x="471" y="203"/>
                          <a:pt x="471" y="203"/>
                        </a:cubicBezTo>
                        <a:cubicBezTo>
                          <a:pt x="476" y="125"/>
                          <a:pt x="449" y="13"/>
                          <a:pt x="326" y="7"/>
                        </a:cubicBezTo>
                        <a:cubicBezTo>
                          <a:pt x="204" y="0"/>
                          <a:pt x="177" y="96"/>
                          <a:pt x="170" y="123"/>
                        </a:cubicBezTo>
                        <a:cubicBezTo>
                          <a:pt x="164" y="150"/>
                          <a:pt x="145" y="167"/>
                          <a:pt x="135" y="195"/>
                        </a:cubicBezTo>
                        <a:cubicBezTo>
                          <a:pt x="126" y="222"/>
                          <a:pt x="165" y="253"/>
                          <a:pt x="165" y="253"/>
                        </a:cubicBezTo>
                        <a:cubicBezTo>
                          <a:pt x="18" y="344"/>
                          <a:pt x="0" y="526"/>
                          <a:pt x="8" y="560"/>
                        </a:cubicBezTo>
                        <a:cubicBezTo>
                          <a:pt x="15" y="594"/>
                          <a:pt x="184" y="695"/>
                          <a:pt x="184" y="695"/>
                        </a:cubicBezTo>
                        <a:cubicBezTo>
                          <a:pt x="183" y="669"/>
                          <a:pt x="223" y="605"/>
                          <a:pt x="223" y="605"/>
                        </a:cubicBezTo>
                        <a:cubicBezTo>
                          <a:pt x="206" y="573"/>
                          <a:pt x="155" y="516"/>
                          <a:pt x="155" y="516"/>
                        </a:cubicBezTo>
                        <a:cubicBezTo>
                          <a:pt x="179" y="509"/>
                          <a:pt x="200" y="453"/>
                          <a:pt x="200" y="453"/>
                        </a:cubicBezTo>
                        <a:cubicBezTo>
                          <a:pt x="263" y="562"/>
                          <a:pt x="521" y="674"/>
                          <a:pt x="556" y="680"/>
                        </a:cubicBezTo>
                        <a:cubicBezTo>
                          <a:pt x="592" y="686"/>
                          <a:pt x="584" y="703"/>
                          <a:pt x="584" y="707"/>
                        </a:cubicBezTo>
                        <a:cubicBezTo>
                          <a:pt x="584" y="710"/>
                          <a:pt x="573" y="714"/>
                          <a:pt x="552" y="734"/>
                        </a:cubicBezTo>
                        <a:cubicBezTo>
                          <a:pt x="531" y="755"/>
                          <a:pt x="552" y="774"/>
                          <a:pt x="540" y="788"/>
                        </a:cubicBezTo>
                        <a:cubicBezTo>
                          <a:pt x="529" y="802"/>
                          <a:pt x="534" y="808"/>
                          <a:pt x="534" y="808"/>
                        </a:cubicBezTo>
                        <a:cubicBezTo>
                          <a:pt x="578" y="866"/>
                          <a:pt x="608" y="855"/>
                          <a:pt x="614" y="852"/>
                        </a:cubicBezTo>
                        <a:cubicBezTo>
                          <a:pt x="620" y="849"/>
                          <a:pt x="704" y="769"/>
                          <a:pt x="751" y="709"/>
                        </a:cubicBezTo>
                        <a:cubicBezTo>
                          <a:pt x="798" y="649"/>
                          <a:pt x="787" y="608"/>
                          <a:pt x="784" y="600"/>
                        </a:cubicBezTo>
                        <a:moveTo>
                          <a:pt x="414" y="300"/>
                        </a:moveTo>
                        <a:cubicBezTo>
                          <a:pt x="391" y="339"/>
                          <a:pt x="355" y="370"/>
                          <a:pt x="339" y="372"/>
                        </a:cubicBezTo>
                        <a:cubicBezTo>
                          <a:pt x="323" y="373"/>
                          <a:pt x="191" y="286"/>
                          <a:pt x="243" y="247"/>
                        </a:cubicBezTo>
                        <a:cubicBezTo>
                          <a:pt x="243" y="247"/>
                          <a:pt x="297" y="277"/>
                          <a:pt x="310" y="257"/>
                        </a:cubicBezTo>
                        <a:cubicBezTo>
                          <a:pt x="323" y="238"/>
                          <a:pt x="387" y="186"/>
                          <a:pt x="404" y="197"/>
                        </a:cubicBezTo>
                        <a:cubicBezTo>
                          <a:pt x="422" y="208"/>
                          <a:pt x="437" y="261"/>
                          <a:pt x="414" y="30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8" name="Freeform 9"/>
                  <p:cNvSpPr>
                    <a:spLocks/>
                  </p:cNvSpPr>
                  <p:nvPr/>
                </p:nvSpPr>
                <p:spPr bwMode="auto">
                  <a:xfrm>
                    <a:off x="742" y="2260"/>
                    <a:ext cx="40" cy="34"/>
                  </a:xfrm>
                  <a:custGeom>
                    <a:avLst/>
                    <a:gdLst>
                      <a:gd name="T0" fmla="*/ 51 w 58"/>
                      <a:gd name="T1" fmla="*/ 49 h 49"/>
                      <a:gd name="T2" fmla="*/ 48 w 58"/>
                      <a:gd name="T3" fmla="*/ 48 h 49"/>
                      <a:gd name="T4" fmla="*/ 2 w 58"/>
                      <a:gd name="T5" fmla="*/ 12 h 49"/>
                      <a:gd name="T6" fmla="*/ 3 w 58"/>
                      <a:gd name="T7" fmla="*/ 3 h 49"/>
                      <a:gd name="T8" fmla="*/ 12 w 58"/>
                      <a:gd name="T9" fmla="*/ 3 h 49"/>
                      <a:gd name="T10" fmla="*/ 54 w 58"/>
                      <a:gd name="T11" fmla="*/ 36 h 49"/>
                      <a:gd name="T12" fmla="*/ 57 w 58"/>
                      <a:gd name="T13" fmla="*/ 45 h 49"/>
                      <a:gd name="T14" fmla="*/ 51 w 58"/>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9">
                        <a:moveTo>
                          <a:pt x="51" y="49"/>
                        </a:moveTo>
                        <a:cubicBezTo>
                          <a:pt x="50" y="49"/>
                          <a:pt x="49" y="48"/>
                          <a:pt x="48" y="48"/>
                        </a:cubicBezTo>
                        <a:cubicBezTo>
                          <a:pt x="47" y="47"/>
                          <a:pt x="21" y="34"/>
                          <a:pt x="2" y="12"/>
                        </a:cubicBezTo>
                        <a:cubicBezTo>
                          <a:pt x="0" y="9"/>
                          <a:pt x="0" y="5"/>
                          <a:pt x="3" y="3"/>
                        </a:cubicBezTo>
                        <a:cubicBezTo>
                          <a:pt x="6" y="0"/>
                          <a:pt x="10" y="1"/>
                          <a:pt x="12" y="3"/>
                        </a:cubicBezTo>
                        <a:cubicBezTo>
                          <a:pt x="30" y="23"/>
                          <a:pt x="54" y="36"/>
                          <a:pt x="54" y="36"/>
                        </a:cubicBezTo>
                        <a:cubicBezTo>
                          <a:pt x="57" y="38"/>
                          <a:pt x="58" y="42"/>
                          <a:pt x="57" y="45"/>
                        </a:cubicBezTo>
                        <a:cubicBezTo>
                          <a:pt x="56" y="47"/>
                          <a:pt x="53" y="49"/>
                          <a:pt x="51"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9" name="Freeform 10"/>
                  <p:cNvSpPr>
                    <a:spLocks/>
                  </p:cNvSpPr>
                  <p:nvPr/>
                </p:nvSpPr>
                <p:spPr bwMode="auto">
                  <a:xfrm>
                    <a:off x="758" y="2247"/>
                    <a:ext cx="39" cy="37"/>
                  </a:xfrm>
                  <a:custGeom>
                    <a:avLst/>
                    <a:gdLst>
                      <a:gd name="T0" fmla="*/ 49 w 56"/>
                      <a:gd name="T1" fmla="*/ 54 h 54"/>
                      <a:gd name="T2" fmla="*/ 45 w 56"/>
                      <a:gd name="T3" fmla="*/ 52 h 54"/>
                      <a:gd name="T4" fmla="*/ 2 w 56"/>
                      <a:gd name="T5" fmla="*/ 11 h 54"/>
                      <a:gd name="T6" fmla="*/ 5 w 56"/>
                      <a:gd name="T7" fmla="*/ 2 h 54"/>
                      <a:gd name="T8" fmla="*/ 14 w 56"/>
                      <a:gd name="T9" fmla="*/ 5 h 54"/>
                      <a:gd name="T10" fmla="*/ 53 w 56"/>
                      <a:gd name="T11" fmla="*/ 42 h 54"/>
                      <a:gd name="T12" fmla="*/ 54 w 56"/>
                      <a:gd name="T13" fmla="*/ 51 h 54"/>
                      <a:gd name="T14" fmla="*/ 49 w 56"/>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4">
                        <a:moveTo>
                          <a:pt x="49" y="54"/>
                        </a:moveTo>
                        <a:cubicBezTo>
                          <a:pt x="48" y="54"/>
                          <a:pt x="46" y="53"/>
                          <a:pt x="45" y="52"/>
                        </a:cubicBezTo>
                        <a:cubicBezTo>
                          <a:pt x="41" y="49"/>
                          <a:pt x="10" y="25"/>
                          <a:pt x="2" y="11"/>
                        </a:cubicBezTo>
                        <a:cubicBezTo>
                          <a:pt x="0" y="8"/>
                          <a:pt x="2" y="4"/>
                          <a:pt x="5" y="2"/>
                        </a:cubicBezTo>
                        <a:cubicBezTo>
                          <a:pt x="8" y="0"/>
                          <a:pt x="12" y="1"/>
                          <a:pt x="14" y="5"/>
                        </a:cubicBezTo>
                        <a:cubicBezTo>
                          <a:pt x="19" y="14"/>
                          <a:pt x="44" y="35"/>
                          <a:pt x="53" y="42"/>
                        </a:cubicBezTo>
                        <a:cubicBezTo>
                          <a:pt x="56" y="44"/>
                          <a:pt x="56" y="48"/>
                          <a:pt x="54" y="51"/>
                        </a:cubicBezTo>
                        <a:cubicBezTo>
                          <a:pt x="53" y="53"/>
                          <a:pt x="51" y="54"/>
                          <a:pt x="49" y="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0" name="Freeform 11"/>
                  <p:cNvSpPr>
                    <a:spLocks noEditPoints="1"/>
                  </p:cNvSpPr>
                  <p:nvPr/>
                </p:nvSpPr>
                <p:spPr bwMode="auto">
                  <a:xfrm>
                    <a:off x="751" y="2173"/>
                    <a:ext cx="89" cy="146"/>
                  </a:xfrm>
                  <a:custGeom>
                    <a:avLst/>
                    <a:gdLst>
                      <a:gd name="T0" fmla="*/ 120 w 128"/>
                      <a:gd name="T1" fmla="*/ 212 h 212"/>
                      <a:gd name="T2" fmla="*/ 112 w 128"/>
                      <a:gd name="T3" fmla="*/ 207 h 212"/>
                      <a:gd name="T4" fmla="*/ 108 w 128"/>
                      <a:gd name="T5" fmla="*/ 200 h 212"/>
                      <a:gd name="T6" fmla="*/ 97 w 128"/>
                      <a:gd name="T7" fmla="*/ 192 h 212"/>
                      <a:gd name="T8" fmla="*/ 45 w 128"/>
                      <a:gd name="T9" fmla="*/ 96 h 212"/>
                      <a:gd name="T10" fmla="*/ 35 w 128"/>
                      <a:gd name="T11" fmla="*/ 87 h 212"/>
                      <a:gd name="T12" fmla="*/ 5 w 128"/>
                      <a:gd name="T13" fmla="*/ 31 h 212"/>
                      <a:gd name="T14" fmla="*/ 13 w 128"/>
                      <a:gd name="T15" fmla="*/ 5 h 212"/>
                      <a:gd name="T16" fmla="*/ 40 w 128"/>
                      <a:gd name="T17" fmla="*/ 13 h 212"/>
                      <a:gd name="T18" fmla="*/ 70 w 128"/>
                      <a:gd name="T19" fmla="*/ 69 h 212"/>
                      <a:gd name="T20" fmla="*/ 71 w 128"/>
                      <a:gd name="T21" fmla="*/ 82 h 212"/>
                      <a:gd name="T22" fmla="*/ 123 w 128"/>
                      <a:gd name="T23" fmla="*/ 178 h 212"/>
                      <a:gd name="T24" fmla="*/ 123 w 128"/>
                      <a:gd name="T25" fmla="*/ 192 h 212"/>
                      <a:gd name="T26" fmla="*/ 127 w 128"/>
                      <a:gd name="T27" fmla="*/ 199 h 212"/>
                      <a:gd name="T28" fmla="*/ 128 w 128"/>
                      <a:gd name="T29" fmla="*/ 206 h 212"/>
                      <a:gd name="T30" fmla="*/ 123 w 128"/>
                      <a:gd name="T31" fmla="*/ 211 h 212"/>
                      <a:gd name="T32" fmla="*/ 122 w 128"/>
                      <a:gd name="T33" fmla="*/ 211 h 212"/>
                      <a:gd name="T34" fmla="*/ 120 w 128"/>
                      <a:gd name="T35" fmla="*/ 212 h 212"/>
                      <a:gd name="T36" fmla="*/ 22 w 128"/>
                      <a:gd name="T37" fmla="*/ 15 h 212"/>
                      <a:gd name="T38" fmla="*/ 19 w 128"/>
                      <a:gd name="T39" fmla="*/ 16 h 212"/>
                      <a:gd name="T40" fmla="*/ 17 w 128"/>
                      <a:gd name="T41" fmla="*/ 25 h 212"/>
                      <a:gd name="T42" fmla="*/ 47 w 128"/>
                      <a:gd name="T43" fmla="*/ 81 h 212"/>
                      <a:gd name="T44" fmla="*/ 51 w 128"/>
                      <a:gd name="T45" fmla="*/ 84 h 212"/>
                      <a:gd name="T46" fmla="*/ 54 w 128"/>
                      <a:gd name="T47" fmla="*/ 85 h 212"/>
                      <a:gd name="T48" fmla="*/ 108 w 128"/>
                      <a:gd name="T49" fmla="*/ 186 h 212"/>
                      <a:gd name="T50" fmla="*/ 110 w 128"/>
                      <a:gd name="T51" fmla="*/ 187 h 212"/>
                      <a:gd name="T52" fmla="*/ 111 w 128"/>
                      <a:gd name="T53" fmla="*/ 186 h 212"/>
                      <a:gd name="T54" fmla="*/ 111 w 128"/>
                      <a:gd name="T55" fmla="*/ 184 h 212"/>
                      <a:gd name="T56" fmla="*/ 57 w 128"/>
                      <a:gd name="T57" fmla="*/ 83 h 212"/>
                      <a:gd name="T58" fmla="*/ 58 w 128"/>
                      <a:gd name="T59" fmla="*/ 80 h 212"/>
                      <a:gd name="T60" fmla="*/ 58 w 128"/>
                      <a:gd name="T61" fmla="*/ 75 h 212"/>
                      <a:gd name="T62" fmla="*/ 28 w 128"/>
                      <a:gd name="T63" fmla="*/ 19 h 212"/>
                      <a:gd name="T64" fmla="*/ 22 w 128"/>
                      <a:gd name="T65" fmla="*/ 1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212">
                        <a:moveTo>
                          <a:pt x="120" y="212"/>
                        </a:moveTo>
                        <a:cubicBezTo>
                          <a:pt x="116" y="212"/>
                          <a:pt x="113" y="210"/>
                          <a:pt x="112" y="207"/>
                        </a:cubicBezTo>
                        <a:cubicBezTo>
                          <a:pt x="108" y="200"/>
                          <a:pt x="108" y="200"/>
                          <a:pt x="108" y="200"/>
                        </a:cubicBezTo>
                        <a:cubicBezTo>
                          <a:pt x="103" y="199"/>
                          <a:pt x="99" y="197"/>
                          <a:pt x="97" y="192"/>
                        </a:cubicBezTo>
                        <a:cubicBezTo>
                          <a:pt x="45" y="96"/>
                          <a:pt x="45" y="96"/>
                          <a:pt x="45" y="96"/>
                        </a:cubicBezTo>
                        <a:cubicBezTo>
                          <a:pt x="41" y="94"/>
                          <a:pt x="37" y="91"/>
                          <a:pt x="35" y="87"/>
                        </a:cubicBezTo>
                        <a:cubicBezTo>
                          <a:pt x="5" y="31"/>
                          <a:pt x="5" y="31"/>
                          <a:pt x="5" y="31"/>
                        </a:cubicBezTo>
                        <a:cubicBezTo>
                          <a:pt x="0" y="21"/>
                          <a:pt x="4" y="10"/>
                          <a:pt x="13" y="5"/>
                        </a:cubicBezTo>
                        <a:cubicBezTo>
                          <a:pt x="22" y="0"/>
                          <a:pt x="35" y="3"/>
                          <a:pt x="40" y="13"/>
                        </a:cubicBezTo>
                        <a:cubicBezTo>
                          <a:pt x="70" y="69"/>
                          <a:pt x="70" y="69"/>
                          <a:pt x="70" y="69"/>
                        </a:cubicBezTo>
                        <a:cubicBezTo>
                          <a:pt x="72" y="73"/>
                          <a:pt x="72" y="77"/>
                          <a:pt x="71" y="82"/>
                        </a:cubicBezTo>
                        <a:cubicBezTo>
                          <a:pt x="123" y="178"/>
                          <a:pt x="123" y="178"/>
                          <a:pt x="123" y="178"/>
                        </a:cubicBezTo>
                        <a:cubicBezTo>
                          <a:pt x="125" y="183"/>
                          <a:pt x="125" y="188"/>
                          <a:pt x="123" y="192"/>
                        </a:cubicBezTo>
                        <a:cubicBezTo>
                          <a:pt x="127" y="199"/>
                          <a:pt x="127" y="199"/>
                          <a:pt x="127" y="199"/>
                        </a:cubicBezTo>
                        <a:cubicBezTo>
                          <a:pt x="128" y="201"/>
                          <a:pt x="128" y="203"/>
                          <a:pt x="128" y="206"/>
                        </a:cubicBezTo>
                        <a:cubicBezTo>
                          <a:pt x="127" y="208"/>
                          <a:pt x="125" y="210"/>
                          <a:pt x="123" y="211"/>
                        </a:cubicBezTo>
                        <a:cubicBezTo>
                          <a:pt x="122" y="211"/>
                          <a:pt x="122" y="211"/>
                          <a:pt x="122" y="211"/>
                        </a:cubicBezTo>
                        <a:lnTo>
                          <a:pt x="120" y="212"/>
                        </a:lnTo>
                        <a:close/>
                        <a:moveTo>
                          <a:pt x="22" y="15"/>
                        </a:moveTo>
                        <a:cubicBezTo>
                          <a:pt x="21" y="15"/>
                          <a:pt x="20" y="16"/>
                          <a:pt x="19" y="16"/>
                        </a:cubicBezTo>
                        <a:cubicBezTo>
                          <a:pt x="16" y="18"/>
                          <a:pt x="15" y="22"/>
                          <a:pt x="17" y="25"/>
                        </a:cubicBezTo>
                        <a:cubicBezTo>
                          <a:pt x="47" y="81"/>
                          <a:pt x="47" y="81"/>
                          <a:pt x="47" y="81"/>
                        </a:cubicBezTo>
                        <a:cubicBezTo>
                          <a:pt x="48" y="83"/>
                          <a:pt x="50" y="84"/>
                          <a:pt x="51" y="84"/>
                        </a:cubicBezTo>
                        <a:cubicBezTo>
                          <a:pt x="54" y="85"/>
                          <a:pt x="54" y="85"/>
                          <a:pt x="54" y="85"/>
                        </a:cubicBezTo>
                        <a:cubicBezTo>
                          <a:pt x="108" y="186"/>
                          <a:pt x="108" y="186"/>
                          <a:pt x="108" y="186"/>
                        </a:cubicBezTo>
                        <a:cubicBezTo>
                          <a:pt x="109" y="187"/>
                          <a:pt x="109" y="187"/>
                          <a:pt x="110" y="187"/>
                        </a:cubicBezTo>
                        <a:cubicBezTo>
                          <a:pt x="111" y="186"/>
                          <a:pt x="111" y="186"/>
                          <a:pt x="111" y="186"/>
                        </a:cubicBezTo>
                        <a:cubicBezTo>
                          <a:pt x="111" y="186"/>
                          <a:pt x="112" y="185"/>
                          <a:pt x="111" y="184"/>
                        </a:cubicBezTo>
                        <a:cubicBezTo>
                          <a:pt x="57" y="83"/>
                          <a:pt x="57" y="83"/>
                          <a:pt x="57" y="83"/>
                        </a:cubicBezTo>
                        <a:cubicBezTo>
                          <a:pt x="58" y="80"/>
                          <a:pt x="58" y="80"/>
                          <a:pt x="58" y="80"/>
                        </a:cubicBezTo>
                        <a:cubicBezTo>
                          <a:pt x="59" y="79"/>
                          <a:pt x="59" y="77"/>
                          <a:pt x="58" y="75"/>
                        </a:cubicBezTo>
                        <a:cubicBezTo>
                          <a:pt x="28" y="19"/>
                          <a:pt x="28" y="19"/>
                          <a:pt x="28" y="19"/>
                        </a:cubicBezTo>
                        <a:cubicBezTo>
                          <a:pt x="27" y="17"/>
                          <a:pt x="24" y="15"/>
                          <a:pt x="22" y="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1" name="Freeform 12"/>
                  <p:cNvSpPr>
                    <a:spLocks noEditPoints="1"/>
                  </p:cNvSpPr>
                  <p:nvPr/>
                </p:nvSpPr>
                <p:spPr bwMode="auto">
                  <a:xfrm>
                    <a:off x="869" y="2351"/>
                    <a:ext cx="125" cy="115"/>
                  </a:xfrm>
                  <a:custGeom>
                    <a:avLst/>
                    <a:gdLst>
                      <a:gd name="T0" fmla="*/ 103 w 182"/>
                      <a:gd name="T1" fmla="*/ 167 h 167"/>
                      <a:gd name="T2" fmla="*/ 95 w 182"/>
                      <a:gd name="T3" fmla="*/ 138 h 167"/>
                      <a:gd name="T4" fmla="*/ 63 w 182"/>
                      <a:gd name="T5" fmla="*/ 159 h 167"/>
                      <a:gd name="T6" fmla="*/ 83 w 182"/>
                      <a:gd name="T7" fmla="*/ 117 h 167"/>
                      <a:gd name="T8" fmla="*/ 35 w 182"/>
                      <a:gd name="T9" fmla="*/ 162 h 167"/>
                      <a:gd name="T10" fmla="*/ 30 w 182"/>
                      <a:gd name="T11" fmla="*/ 156 h 167"/>
                      <a:gd name="T12" fmla="*/ 11 w 182"/>
                      <a:gd name="T13" fmla="*/ 136 h 167"/>
                      <a:gd name="T14" fmla="*/ 37 w 182"/>
                      <a:gd name="T15" fmla="*/ 94 h 167"/>
                      <a:gd name="T16" fmla="*/ 40 w 182"/>
                      <a:gd name="T17" fmla="*/ 91 h 167"/>
                      <a:gd name="T18" fmla="*/ 8 w 182"/>
                      <a:gd name="T19" fmla="*/ 112 h 167"/>
                      <a:gd name="T20" fmla="*/ 2 w 182"/>
                      <a:gd name="T21" fmla="*/ 97 h 167"/>
                      <a:gd name="T22" fmla="*/ 28 w 182"/>
                      <a:gd name="T23" fmla="*/ 53 h 167"/>
                      <a:gd name="T24" fmla="*/ 7 w 182"/>
                      <a:gd name="T25" fmla="*/ 45 h 167"/>
                      <a:gd name="T26" fmla="*/ 30 w 182"/>
                      <a:gd name="T27" fmla="*/ 30 h 167"/>
                      <a:gd name="T28" fmla="*/ 141 w 182"/>
                      <a:gd name="T29" fmla="*/ 0 h 167"/>
                      <a:gd name="T30" fmla="*/ 181 w 182"/>
                      <a:gd name="T31" fmla="*/ 31 h 167"/>
                      <a:gd name="T32" fmla="*/ 140 w 182"/>
                      <a:gd name="T33" fmla="*/ 102 h 167"/>
                      <a:gd name="T34" fmla="*/ 112 w 182"/>
                      <a:gd name="T35" fmla="*/ 150 h 167"/>
                      <a:gd name="T36" fmla="*/ 99 w 182"/>
                      <a:gd name="T37" fmla="*/ 121 h 167"/>
                      <a:gd name="T38" fmla="*/ 102 w 182"/>
                      <a:gd name="T39" fmla="*/ 123 h 167"/>
                      <a:gd name="T40" fmla="*/ 103 w 182"/>
                      <a:gd name="T41" fmla="*/ 153 h 167"/>
                      <a:gd name="T42" fmla="*/ 115 w 182"/>
                      <a:gd name="T43" fmla="*/ 116 h 167"/>
                      <a:gd name="T44" fmla="*/ 173 w 182"/>
                      <a:gd name="T45" fmla="*/ 35 h 167"/>
                      <a:gd name="T46" fmla="*/ 52 w 182"/>
                      <a:gd name="T47" fmla="*/ 34 h 167"/>
                      <a:gd name="T48" fmla="*/ 14 w 182"/>
                      <a:gd name="T49" fmla="*/ 41 h 167"/>
                      <a:gd name="T50" fmla="*/ 20 w 182"/>
                      <a:gd name="T51" fmla="*/ 44 h 167"/>
                      <a:gd name="T52" fmla="*/ 28 w 182"/>
                      <a:gd name="T53" fmla="*/ 45 h 167"/>
                      <a:gd name="T54" fmla="*/ 57 w 182"/>
                      <a:gd name="T55" fmla="*/ 52 h 167"/>
                      <a:gd name="T56" fmla="*/ 8 w 182"/>
                      <a:gd name="T57" fmla="*/ 102 h 167"/>
                      <a:gd name="T58" fmla="*/ 23 w 182"/>
                      <a:gd name="T59" fmla="*/ 95 h 167"/>
                      <a:gd name="T60" fmla="*/ 56 w 182"/>
                      <a:gd name="T61" fmla="*/ 72 h 167"/>
                      <a:gd name="T62" fmla="*/ 60 w 182"/>
                      <a:gd name="T63" fmla="*/ 75 h 167"/>
                      <a:gd name="T64" fmla="*/ 19 w 182"/>
                      <a:gd name="T65" fmla="*/ 128 h 167"/>
                      <a:gd name="T66" fmla="*/ 65 w 182"/>
                      <a:gd name="T67" fmla="*/ 90 h 167"/>
                      <a:gd name="T68" fmla="*/ 72 w 182"/>
                      <a:gd name="T69" fmla="*/ 88 h 167"/>
                      <a:gd name="T70" fmla="*/ 63 w 182"/>
                      <a:gd name="T71" fmla="*/ 111 h 167"/>
                      <a:gd name="T72" fmla="*/ 60 w 182"/>
                      <a:gd name="T73" fmla="*/ 130 h 167"/>
                      <a:gd name="T74" fmla="*/ 91 w 182"/>
                      <a:gd name="T75" fmla="*/ 103 h 167"/>
                      <a:gd name="T76" fmla="*/ 85 w 182"/>
                      <a:gd name="T77" fmla="*/ 131 h 167"/>
                      <a:gd name="T78" fmla="*/ 91 w 182"/>
                      <a:gd name="T79" fmla="*/ 129 h 167"/>
                      <a:gd name="T80" fmla="*/ 97 w 182"/>
                      <a:gd name="T81" fmla="*/ 122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2" h="167">
                        <a:moveTo>
                          <a:pt x="103" y="167"/>
                        </a:moveTo>
                        <a:cubicBezTo>
                          <a:pt x="103" y="167"/>
                          <a:pt x="103" y="167"/>
                          <a:pt x="103" y="167"/>
                        </a:cubicBezTo>
                        <a:cubicBezTo>
                          <a:pt x="101" y="167"/>
                          <a:pt x="100" y="166"/>
                          <a:pt x="98" y="165"/>
                        </a:cubicBezTo>
                        <a:cubicBezTo>
                          <a:pt x="94" y="160"/>
                          <a:pt x="94" y="150"/>
                          <a:pt x="95" y="138"/>
                        </a:cubicBezTo>
                        <a:cubicBezTo>
                          <a:pt x="80" y="158"/>
                          <a:pt x="74" y="164"/>
                          <a:pt x="69" y="164"/>
                        </a:cubicBezTo>
                        <a:cubicBezTo>
                          <a:pt x="67" y="164"/>
                          <a:pt x="64" y="163"/>
                          <a:pt x="63" y="159"/>
                        </a:cubicBezTo>
                        <a:cubicBezTo>
                          <a:pt x="62" y="152"/>
                          <a:pt x="68" y="142"/>
                          <a:pt x="78" y="126"/>
                        </a:cubicBezTo>
                        <a:cubicBezTo>
                          <a:pt x="80" y="124"/>
                          <a:pt x="82" y="120"/>
                          <a:pt x="83" y="117"/>
                        </a:cubicBezTo>
                        <a:cubicBezTo>
                          <a:pt x="78" y="122"/>
                          <a:pt x="71" y="130"/>
                          <a:pt x="66" y="135"/>
                        </a:cubicBezTo>
                        <a:cubicBezTo>
                          <a:pt x="49" y="154"/>
                          <a:pt x="41" y="162"/>
                          <a:pt x="35" y="162"/>
                        </a:cubicBezTo>
                        <a:cubicBezTo>
                          <a:pt x="33" y="162"/>
                          <a:pt x="32" y="161"/>
                          <a:pt x="31" y="160"/>
                        </a:cubicBezTo>
                        <a:cubicBezTo>
                          <a:pt x="30" y="159"/>
                          <a:pt x="30" y="157"/>
                          <a:pt x="30" y="156"/>
                        </a:cubicBezTo>
                        <a:cubicBezTo>
                          <a:pt x="30" y="147"/>
                          <a:pt x="39" y="131"/>
                          <a:pt x="52" y="112"/>
                        </a:cubicBezTo>
                        <a:cubicBezTo>
                          <a:pt x="27" y="135"/>
                          <a:pt x="16" y="141"/>
                          <a:pt x="11" y="136"/>
                        </a:cubicBezTo>
                        <a:cubicBezTo>
                          <a:pt x="10" y="135"/>
                          <a:pt x="10" y="134"/>
                          <a:pt x="10" y="131"/>
                        </a:cubicBezTo>
                        <a:cubicBezTo>
                          <a:pt x="10" y="124"/>
                          <a:pt x="21" y="112"/>
                          <a:pt x="37" y="94"/>
                        </a:cubicBezTo>
                        <a:cubicBezTo>
                          <a:pt x="38" y="93"/>
                          <a:pt x="40" y="91"/>
                          <a:pt x="41" y="89"/>
                        </a:cubicBezTo>
                        <a:cubicBezTo>
                          <a:pt x="41" y="90"/>
                          <a:pt x="40" y="91"/>
                          <a:pt x="40" y="91"/>
                        </a:cubicBezTo>
                        <a:cubicBezTo>
                          <a:pt x="36" y="94"/>
                          <a:pt x="33" y="98"/>
                          <a:pt x="28" y="101"/>
                        </a:cubicBezTo>
                        <a:cubicBezTo>
                          <a:pt x="24" y="105"/>
                          <a:pt x="15" y="112"/>
                          <a:pt x="8" y="112"/>
                        </a:cubicBezTo>
                        <a:cubicBezTo>
                          <a:pt x="5" y="112"/>
                          <a:pt x="3" y="110"/>
                          <a:pt x="2" y="109"/>
                        </a:cubicBezTo>
                        <a:cubicBezTo>
                          <a:pt x="0" y="106"/>
                          <a:pt x="0" y="102"/>
                          <a:pt x="2" y="97"/>
                        </a:cubicBezTo>
                        <a:cubicBezTo>
                          <a:pt x="7" y="84"/>
                          <a:pt x="26" y="65"/>
                          <a:pt x="41" y="53"/>
                        </a:cubicBezTo>
                        <a:cubicBezTo>
                          <a:pt x="37" y="53"/>
                          <a:pt x="32" y="53"/>
                          <a:pt x="28" y="53"/>
                        </a:cubicBezTo>
                        <a:cubicBezTo>
                          <a:pt x="22" y="53"/>
                          <a:pt x="19" y="53"/>
                          <a:pt x="17" y="52"/>
                        </a:cubicBezTo>
                        <a:cubicBezTo>
                          <a:pt x="14" y="52"/>
                          <a:pt x="8" y="50"/>
                          <a:pt x="7" y="45"/>
                        </a:cubicBezTo>
                        <a:cubicBezTo>
                          <a:pt x="5" y="40"/>
                          <a:pt x="11" y="35"/>
                          <a:pt x="13" y="33"/>
                        </a:cubicBezTo>
                        <a:cubicBezTo>
                          <a:pt x="16" y="30"/>
                          <a:pt x="23" y="30"/>
                          <a:pt x="30" y="30"/>
                        </a:cubicBezTo>
                        <a:cubicBezTo>
                          <a:pt x="36" y="29"/>
                          <a:pt x="44" y="29"/>
                          <a:pt x="47" y="27"/>
                        </a:cubicBezTo>
                        <a:cubicBezTo>
                          <a:pt x="68" y="13"/>
                          <a:pt x="138" y="0"/>
                          <a:pt x="141" y="0"/>
                        </a:cubicBezTo>
                        <a:cubicBezTo>
                          <a:pt x="142" y="0"/>
                          <a:pt x="142" y="0"/>
                          <a:pt x="142" y="0"/>
                        </a:cubicBezTo>
                        <a:cubicBezTo>
                          <a:pt x="181" y="31"/>
                          <a:pt x="181" y="31"/>
                          <a:pt x="181" y="31"/>
                        </a:cubicBezTo>
                        <a:cubicBezTo>
                          <a:pt x="181" y="33"/>
                          <a:pt x="181" y="33"/>
                          <a:pt x="181" y="33"/>
                        </a:cubicBezTo>
                        <a:cubicBezTo>
                          <a:pt x="182" y="64"/>
                          <a:pt x="159" y="85"/>
                          <a:pt x="140" y="102"/>
                        </a:cubicBezTo>
                        <a:cubicBezTo>
                          <a:pt x="132" y="109"/>
                          <a:pt x="125" y="115"/>
                          <a:pt x="122" y="120"/>
                        </a:cubicBezTo>
                        <a:cubicBezTo>
                          <a:pt x="116" y="130"/>
                          <a:pt x="114" y="142"/>
                          <a:pt x="112" y="150"/>
                        </a:cubicBezTo>
                        <a:cubicBezTo>
                          <a:pt x="110" y="160"/>
                          <a:pt x="108" y="167"/>
                          <a:pt x="103" y="167"/>
                        </a:cubicBezTo>
                        <a:moveTo>
                          <a:pt x="99" y="121"/>
                        </a:moveTo>
                        <a:cubicBezTo>
                          <a:pt x="101" y="121"/>
                          <a:pt x="101" y="121"/>
                          <a:pt x="101" y="121"/>
                        </a:cubicBezTo>
                        <a:cubicBezTo>
                          <a:pt x="102" y="123"/>
                          <a:pt x="102" y="123"/>
                          <a:pt x="102" y="123"/>
                        </a:cubicBezTo>
                        <a:cubicBezTo>
                          <a:pt x="104" y="125"/>
                          <a:pt x="104" y="126"/>
                          <a:pt x="103" y="134"/>
                        </a:cubicBezTo>
                        <a:cubicBezTo>
                          <a:pt x="103" y="138"/>
                          <a:pt x="99" y="154"/>
                          <a:pt x="103" y="153"/>
                        </a:cubicBezTo>
                        <a:cubicBezTo>
                          <a:pt x="103" y="152"/>
                          <a:pt x="103" y="150"/>
                          <a:pt x="104" y="149"/>
                        </a:cubicBezTo>
                        <a:cubicBezTo>
                          <a:pt x="106" y="139"/>
                          <a:pt x="109" y="126"/>
                          <a:pt x="115" y="116"/>
                        </a:cubicBezTo>
                        <a:cubicBezTo>
                          <a:pt x="119" y="110"/>
                          <a:pt x="126" y="103"/>
                          <a:pt x="134" y="95"/>
                        </a:cubicBezTo>
                        <a:cubicBezTo>
                          <a:pt x="151" y="80"/>
                          <a:pt x="172" y="61"/>
                          <a:pt x="173" y="35"/>
                        </a:cubicBezTo>
                        <a:cubicBezTo>
                          <a:pt x="140" y="8"/>
                          <a:pt x="140" y="8"/>
                          <a:pt x="140" y="8"/>
                        </a:cubicBezTo>
                        <a:cubicBezTo>
                          <a:pt x="129" y="11"/>
                          <a:pt x="69" y="22"/>
                          <a:pt x="52" y="34"/>
                        </a:cubicBezTo>
                        <a:cubicBezTo>
                          <a:pt x="46" y="37"/>
                          <a:pt x="38" y="37"/>
                          <a:pt x="30" y="38"/>
                        </a:cubicBezTo>
                        <a:cubicBezTo>
                          <a:pt x="26" y="38"/>
                          <a:pt x="16" y="40"/>
                          <a:pt x="14" y="41"/>
                        </a:cubicBezTo>
                        <a:cubicBezTo>
                          <a:pt x="11" y="43"/>
                          <a:pt x="15" y="43"/>
                          <a:pt x="15" y="43"/>
                        </a:cubicBezTo>
                        <a:cubicBezTo>
                          <a:pt x="15" y="43"/>
                          <a:pt x="18" y="44"/>
                          <a:pt x="20" y="44"/>
                        </a:cubicBezTo>
                        <a:cubicBezTo>
                          <a:pt x="24" y="45"/>
                          <a:pt x="24" y="45"/>
                          <a:pt x="24" y="45"/>
                        </a:cubicBezTo>
                        <a:cubicBezTo>
                          <a:pt x="25" y="45"/>
                          <a:pt x="27" y="45"/>
                          <a:pt x="28" y="45"/>
                        </a:cubicBezTo>
                        <a:cubicBezTo>
                          <a:pt x="53" y="45"/>
                          <a:pt x="55" y="45"/>
                          <a:pt x="56" y="49"/>
                        </a:cubicBezTo>
                        <a:cubicBezTo>
                          <a:pt x="57" y="52"/>
                          <a:pt x="57" y="52"/>
                          <a:pt x="57" y="52"/>
                        </a:cubicBezTo>
                        <a:cubicBezTo>
                          <a:pt x="54" y="54"/>
                          <a:pt x="54" y="54"/>
                          <a:pt x="54" y="54"/>
                        </a:cubicBezTo>
                        <a:cubicBezTo>
                          <a:pt x="38" y="64"/>
                          <a:pt x="13" y="89"/>
                          <a:pt x="8" y="102"/>
                        </a:cubicBezTo>
                        <a:cubicBezTo>
                          <a:pt x="7" y="104"/>
                          <a:pt x="9" y="103"/>
                          <a:pt x="9" y="103"/>
                        </a:cubicBezTo>
                        <a:cubicBezTo>
                          <a:pt x="12" y="103"/>
                          <a:pt x="17" y="100"/>
                          <a:pt x="23" y="95"/>
                        </a:cubicBezTo>
                        <a:cubicBezTo>
                          <a:pt x="27" y="92"/>
                          <a:pt x="31" y="88"/>
                          <a:pt x="34" y="85"/>
                        </a:cubicBezTo>
                        <a:cubicBezTo>
                          <a:pt x="42" y="78"/>
                          <a:pt x="48" y="72"/>
                          <a:pt x="56" y="72"/>
                        </a:cubicBezTo>
                        <a:cubicBezTo>
                          <a:pt x="58" y="72"/>
                          <a:pt x="58" y="72"/>
                          <a:pt x="58" y="72"/>
                        </a:cubicBezTo>
                        <a:cubicBezTo>
                          <a:pt x="60" y="75"/>
                          <a:pt x="60" y="75"/>
                          <a:pt x="60" y="75"/>
                        </a:cubicBezTo>
                        <a:cubicBezTo>
                          <a:pt x="62" y="79"/>
                          <a:pt x="59" y="82"/>
                          <a:pt x="43" y="100"/>
                        </a:cubicBezTo>
                        <a:cubicBezTo>
                          <a:pt x="35" y="108"/>
                          <a:pt x="23" y="121"/>
                          <a:pt x="19" y="128"/>
                        </a:cubicBezTo>
                        <a:cubicBezTo>
                          <a:pt x="28" y="123"/>
                          <a:pt x="45" y="108"/>
                          <a:pt x="54" y="99"/>
                        </a:cubicBezTo>
                        <a:cubicBezTo>
                          <a:pt x="58" y="96"/>
                          <a:pt x="62" y="93"/>
                          <a:pt x="65" y="90"/>
                        </a:cubicBezTo>
                        <a:cubicBezTo>
                          <a:pt x="67" y="89"/>
                          <a:pt x="68" y="88"/>
                          <a:pt x="70" y="88"/>
                        </a:cubicBezTo>
                        <a:cubicBezTo>
                          <a:pt x="72" y="88"/>
                          <a:pt x="72" y="88"/>
                          <a:pt x="72" y="88"/>
                        </a:cubicBezTo>
                        <a:cubicBezTo>
                          <a:pt x="74" y="90"/>
                          <a:pt x="74" y="90"/>
                          <a:pt x="74" y="90"/>
                        </a:cubicBezTo>
                        <a:cubicBezTo>
                          <a:pt x="75" y="93"/>
                          <a:pt x="74" y="95"/>
                          <a:pt x="63" y="111"/>
                        </a:cubicBezTo>
                        <a:cubicBezTo>
                          <a:pt x="56" y="122"/>
                          <a:pt x="35" y="148"/>
                          <a:pt x="39" y="152"/>
                        </a:cubicBezTo>
                        <a:cubicBezTo>
                          <a:pt x="44" y="155"/>
                          <a:pt x="53" y="137"/>
                          <a:pt x="60" y="130"/>
                        </a:cubicBezTo>
                        <a:cubicBezTo>
                          <a:pt x="74" y="115"/>
                          <a:pt x="83" y="105"/>
                          <a:pt x="88" y="104"/>
                        </a:cubicBezTo>
                        <a:cubicBezTo>
                          <a:pt x="91" y="103"/>
                          <a:pt x="91" y="103"/>
                          <a:pt x="91" y="103"/>
                        </a:cubicBezTo>
                        <a:cubicBezTo>
                          <a:pt x="93" y="103"/>
                          <a:pt x="94" y="104"/>
                          <a:pt x="95" y="106"/>
                        </a:cubicBezTo>
                        <a:cubicBezTo>
                          <a:pt x="97" y="110"/>
                          <a:pt x="94" y="115"/>
                          <a:pt x="85" y="131"/>
                        </a:cubicBezTo>
                        <a:cubicBezTo>
                          <a:pt x="81" y="137"/>
                          <a:pt x="68" y="151"/>
                          <a:pt x="73" y="152"/>
                        </a:cubicBezTo>
                        <a:cubicBezTo>
                          <a:pt x="76" y="154"/>
                          <a:pt x="83" y="140"/>
                          <a:pt x="91" y="129"/>
                        </a:cubicBezTo>
                        <a:cubicBezTo>
                          <a:pt x="94" y="126"/>
                          <a:pt x="95" y="123"/>
                          <a:pt x="96" y="123"/>
                        </a:cubicBezTo>
                        <a:cubicBezTo>
                          <a:pt x="97" y="122"/>
                          <a:pt x="97" y="122"/>
                          <a:pt x="97" y="122"/>
                        </a:cubicBezTo>
                        <a:lnTo>
                          <a:pt x="99"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cxnSp>
              <p:nvCxnSpPr>
                <p:cNvPr id="23" name="Straight Connector 22"/>
                <p:cNvCxnSpPr/>
                <p:nvPr/>
              </p:nvCxnSpPr>
              <p:spPr>
                <a:xfrm flipH="1" flipV="1">
                  <a:off x="1916110" y="2599553"/>
                  <a:ext cx="209552" cy="113509"/>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flipH="1" flipV="1">
                  <a:off x="1974850" y="2551928"/>
                  <a:ext cx="209552" cy="113509"/>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flipH="1" flipV="1">
                  <a:off x="2026442" y="2500729"/>
                  <a:ext cx="209552" cy="113509"/>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flipH="1" flipV="1">
                  <a:off x="2157413" y="2482078"/>
                  <a:ext cx="104776" cy="63109"/>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2" name="Group 21"/>
          <p:cNvGrpSpPr/>
          <p:nvPr/>
        </p:nvGrpSpPr>
        <p:grpSpPr>
          <a:xfrm>
            <a:off x="8283631" y="4335345"/>
            <a:ext cx="1566181" cy="2429139"/>
            <a:chOff x="8283923" y="4335462"/>
            <a:chExt cx="1566403" cy="2429483"/>
          </a:xfrm>
        </p:grpSpPr>
        <p:sp>
          <p:nvSpPr>
            <p:cNvPr id="30" name="Rectangle 29"/>
            <p:cNvSpPr/>
            <p:nvPr/>
          </p:nvSpPr>
          <p:spPr bwMode="auto">
            <a:xfrm>
              <a:off x="8283923" y="4335462"/>
              <a:ext cx="1566403" cy="2253262"/>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Rectangle 119"/>
            <p:cNvSpPr/>
            <p:nvPr/>
          </p:nvSpPr>
          <p:spPr>
            <a:xfrm>
              <a:off x="8283923" y="6011862"/>
              <a:ext cx="1566403" cy="753083"/>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FFFFFF"/>
                  </a:solidFill>
                  <a:effectLst/>
                  <a:uLnTx/>
                  <a:uFillTx/>
                  <a:latin typeface="Segoe UI"/>
                  <a:ea typeface="+mn-ea"/>
                  <a:cs typeface="+mn-cs"/>
                </a:rPr>
                <a:t>Globally Diverse Revenue</a:t>
              </a:r>
            </a:p>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dirty="0">
                <a:ln>
                  <a:noFill/>
                </a:ln>
                <a:solidFill>
                  <a:srgbClr val="FFFFFF"/>
                </a:solidFill>
                <a:effectLst/>
                <a:uLnTx/>
                <a:uFillTx/>
                <a:latin typeface="Segoe UI"/>
                <a:ea typeface="+mn-ea"/>
                <a:cs typeface="+mn-cs"/>
              </a:endParaRPr>
            </a:p>
          </p:txBody>
        </p:sp>
        <p:sp>
          <p:nvSpPr>
            <p:cNvPr id="168" name="Freeform 9"/>
            <p:cNvSpPr>
              <a:spLocks noChangeAspect="1" noEditPoints="1"/>
            </p:cNvSpPr>
            <p:nvPr/>
          </p:nvSpPr>
          <p:spPr bwMode="auto">
            <a:xfrm>
              <a:off x="8640708" y="4811214"/>
              <a:ext cx="917312" cy="914400"/>
            </a:xfrm>
            <a:custGeom>
              <a:avLst/>
              <a:gdLst>
                <a:gd name="T0" fmla="*/ 284 w 630"/>
                <a:gd name="T1" fmla="*/ 628 h 628"/>
                <a:gd name="T2" fmla="*/ 348 w 630"/>
                <a:gd name="T3" fmla="*/ 2 h 628"/>
                <a:gd name="T4" fmla="*/ 496 w 630"/>
                <a:gd name="T5" fmla="*/ 208 h 628"/>
                <a:gd name="T6" fmla="*/ 526 w 630"/>
                <a:gd name="T7" fmla="*/ 232 h 628"/>
                <a:gd name="T8" fmla="*/ 526 w 630"/>
                <a:gd name="T9" fmla="*/ 240 h 628"/>
                <a:gd name="T10" fmla="*/ 444 w 630"/>
                <a:gd name="T11" fmla="*/ 204 h 628"/>
                <a:gd name="T12" fmla="*/ 468 w 630"/>
                <a:gd name="T13" fmla="*/ 212 h 628"/>
                <a:gd name="T14" fmla="*/ 478 w 630"/>
                <a:gd name="T15" fmla="*/ 226 h 628"/>
                <a:gd name="T16" fmla="*/ 462 w 630"/>
                <a:gd name="T17" fmla="*/ 128 h 628"/>
                <a:gd name="T18" fmla="*/ 576 w 630"/>
                <a:gd name="T19" fmla="*/ 322 h 628"/>
                <a:gd name="T20" fmla="*/ 520 w 630"/>
                <a:gd name="T21" fmla="*/ 190 h 628"/>
                <a:gd name="T22" fmla="*/ 542 w 630"/>
                <a:gd name="T23" fmla="*/ 464 h 628"/>
                <a:gd name="T24" fmla="*/ 554 w 630"/>
                <a:gd name="T25" fmla="*/ 432 h 628"/>
                <a:gd name="T26" fmla="*/ 590 w 630"/>
                <a:gd name="T27" fmla="*/ 336 h 628"/>
                <a:gd name="T28" fmla="*/ 176 w 630"/>
                <a:gd name="T29" fmla="*/ 116 h 628"/>
                <a:gd name="T30" fmla="*/ 68 w 630"/>
                <a:gd name="T31" fmla="*/ 354 h 628"/>
                <a:gd name="T32" fmla="*/ 92 w 630"/>
                <a:gd name="T33" fmla="*/ 416 h 628"/>
                <a:gd name="T34" fmla="*/ 210 w 630"/>
                <a:gd name="T35" fmla="*/ 554 h 628"/>
                <a:gd name="T36" fmla="*/ 250 w 630"/>
                <a:gd name="T37" fmla="*/ 580 h 628"/>
                <a:gd name="T38" fmla="*/ 78 w 630"/>
                <a:gd name="T39" fmla="*/ 298 h 628"/>
                <a:gd name="T40" fmla="*/ 94 w 630"/>
                <a:gd name="T41" fmla="*/ 304 h 628"/>
                <a:gd name="T42" fmla="*/ 128 w 630"/>
                <a:gd name="T43" fmla="*/ 312 h 628"/>
                <a:gd name="T44" fmla="*/ 150 w 630"/>
                <a:gd name="T45" fmla="*/ 332 h 628"/>
                <a:gd name="T46" fmla="*/ 120 w 630"/>
                <a:gd name="T47" fmla="*/ 336 h 628"/>
                <a:gd name="T48" fmla="*/ 74 w 630"/>
                <a:gd name="T49" fmla="*/ 316 h 628"/>
                <a:gd name="T50" fmla="*/ 278 w 630"/>
                <a:gd name="T51" fmla="*/ 576 h 628"/>
                <a:gd name="T52" fmla="*/ 244 w 630"/>
                <a:gd name="T53" fmla="*/ 558 h 628"/>
                <a:gd name="T54" fmla="*/ 250 w 630"/>
                <a:gd name="T55" fmla="*/ 522 h 628"/>
                <a:gd name="T56" fmla="*/ 252 w 630"/>
                <a:gd name="T57" fmla="*/ 410 h 628"/>
                <a:gd name="T58" fmla="*/ 170 w 630"/>
                <a:gd name="T59" fmla="*/ 354 h 628"/>
                <a:gd name="T60" fmla="*/ 158 w 630"/>
                <a:gd name="T61" fmla="*/ 312 h 628"/>
                <a:gd name="T62" fmla="*/ 114 w 630"/>
                <a:gd name="T63" fmla="*/ 296 h 628"/>
                <a:gd name="T64" fmla="*/ 86 w 630"/>
                <a:gd name="T65" fmla="*/ 276 h 628"/>
                <a:gd name="T66" fmla="*/ 88 w 630"/>
                <a:gd name="T67" fmla="*/ 272 h 628"/>
                <a:gd name="T68" fmla="*/ 132 w 630"/>
                <a:gd name="T69" fmla="*/ 224 h 628"/>
                <a:gd name="T70" fmla="*/ 196 w 630"/>
                <a:gd name="T71" fmla="*/ 186 h 628"/>
                <a:gd name="T72" fmla="*/ 204 w 630"/>
                <a:gd name="T73" fmla="*/ 164 h 628"/>
                <a:gd name="T74" fmla="*/ 240 w 630"/>
                <a:gd name="T75" fmla="*/ 166 h 628"/>
                <a:gd name="T76" fmla="*/ 238 w 630"/>
                <a:gd name="T77" fmla="*/ 118 h 628"/>
                <a:gd name="T78" fmla="*/ 260 w 630"/>
                <a:gd name="T79" fmla="*/ 76 h 628"/>
                <a:gd name="T80" fmla="*/ 288 w 630"/>
                <a:gd name="T81" fmla="*/ 86 h 628"/>
                <a:gd name="T82" fmla="*/ 280 w 630"/>
                <a:gd name="T83" fmla="*/ 122 h 628"/>
                <a:gd name="T84" fmla="*/ 356 w 630"/>
                <a:gd name="T85" fmla="*/ 96 h 628"/>
                <a:gd name="T86" fmla="*/ 360 w 630"/>
                <a:gd name="T87" fmla="*/ 58 h 628"/>
                <a:gd name="T88" fmla="*/ 302 w 630"/>
                <a:gd name="T89" fmla="*/ 54 h 628"/>
                <a:gd name="T90" fmla="*/ 270 w 630"/>
                <a:gd name="T91" fmla="*/ 56 h 628"/>
                <a:gd name="T92" fmla="*/ 242 w 630"/>
                <a:gd name="T93" fmla="*/ 62 h 628"/>
                <a:gd name="T94" fmla="*/ 202 w 630"/>
                <a:gd name="T95" fmla="*/ 70 h 628"/>
                <a:gd name="T96" fmla="*/ 316 w 630"/>
                <a:gd name="T97" fmla="*/ 40 h 628"/>
                <a:gd name="T98" fmla="*/ 470 w 630"/>
                <a:gd name="T99" fmla="*/ 96 h 628"/>
                <a:gd name="T100" fmla="*/ 428 w 630"/>
                <a:gd name="T101" fmla="*/ 98 h 628"/>
                <a:gd name="T102" fmla="*/ 432 w 630"/>
                <a:gd name="T103" fmla="*/ 152 h 628"/>
                <a:gd name="T104" fmla="*/ 398 w 630"/>
                <a:gd name="T105" fmla="*/ 142 h 628"/>
                <a:gd name="T106" fmla="*/ 404 w 630"/>
                <a:gd name="T107" fmla="*/ 158 h 628"/>
                <a:gd name="T108" fmla="*/ 420 w 630"/>
                <a:gd name="T109" fmla="*/ 184 h 628"/>
                <a:gd name="T110" fmla="*/ 400 w 630"/>
                <a:gd name="T111" fmla="*/ 222 h 628"/>
                <a:gd name="T112" fmla="*/ 358 w 630"/>
                <a:gd name="T113" fmla="*/ 336 h 628"/>
                <a:gd name="T114" fmla="*/ 438 w 630"/>
                <a:gd name="T115" fmla="*/ 378 h 628"/>
                <a:gd name="T116" fmla="*/ 458 w 630"/>
                <a:gd name="T117" fmla="*/ 464 h 628"/>
                <a:gd name="T118" fmla="*/ 442 w 630"/>
                <a:gd name="T119" fmla="*/ 538 h 628"/>
                <a:gd name="T120" fmla="*/ 530 w 630"/>
                <a:gd name="T121" fmla="*/ 474 h 628"/>
                <a:gd name="T122" fmla="*/ 234 w 630"/>
                <a:gd name="T123" fmla="*/ 118 h 628"/>
                <a:gd name="T124" fmla="*/ 216 w 630"/>
                <a:gd name="T125" fmla="*/ 108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0" h="628">
                  <a:moveTo>
                    <a:pt x="316" y="0"/>
                  </a:moveTo>
                  <a:lnTo>
                    <a:pt x="316" y="0"/>
                  </a:lnTo>
                  <a:lnTo>
                    <a:pt x="284" y="2"/>
                  </a:lnTo>
                  <a:lnTo>
                    <a:pt x="252" y="6"/>
                  </a:lnTo>
                  <a:lnTo>
                    <a:pt x="222" y="14"/>
                  </a:lnTo>
                  <a:lnTo>
                    <a:pt x="194" y="24"/>
                  </a:lnTo>
                  <a:lnTo>
                    <a:pt x="166" y="38"/>
                  </a:lnTo>
                  <a:lnTo>
                    <a:pt x="140" y="54"/>
                  </a:lnTo>
                  <a:lnTo>
                    <a:pt x="116" y="72"/>
                  </a:lnTo>
                  <a:lnTo>
                    <a:pt x="94" y="92"/>
                  </a:lnTo>
                  <a:lnTo>
                    <a:pt x="72" y="114"/>
                  </a:lnTo>
                  <a:lnTo>
                    <a:pt x="54" y="138"/>
                  </a:lnTo>
                  <a:lnTo>
                    <a:pt x="38" y="164"/>
                  </a:lnTo>
                  <a:lnTo>
                    <a:pt x="26" y="192"/>
                  </a:lnTo>
                  <a:lnTo>
                    <a:pt x="16" y="222"/>
                  </a:lnTo>
                  <a:lnTo>
                    <a:pt x="8" y="252"/>
                  </a:lnTo>
                  <a:lnTo>
                    <a:pt x="2" y="282"/>
                  </a:lnTo>
                  <a:lnTo>
                    <a:pt x="0" y="314"/>
                  </a:lnTo>
                  <a:lnTo>
                    <a:pt x="0" y="314"/>
                  </a:lnTo>
                  <a:lnTo>
                    <a:pt x="2" y="346"/>
                  </a:lnTo>
                  <a:lnTo>
                    <a:pt x="8" y="378"/>
                  </a:lnTo>
                  <a:lnTo>
                    <a:pt x="16" y="408"/>
                  </a:lnTo>
                  <a:lnTo>
                    <a:pt x="26" y="436"/>
                  </a:lnTo>
                  <a:lnTo>
                    <a:pt x="38" y="464"/>
                  </a:lnTo>
                  <a:lnTo>
                    <a:pt x="54" y="490"/>
                  </a:lnTo>
                  <a:lnTo>
                    <a:pt x="72" y="514"/>
                  </a:lnTo>
                  <a:lnTo>
                    <a:pt x="94" y="536"/>
                  </a:lnTo>
                  <a:lnTo>
                    <a:pt x="116" y="558"/>
                  </a:lnTo>
                  <a:lnTo>
                    <a:pt x="140" y="576"/>
                  </a:lnTo>
                  <a:lnTo>
                    <a:pt x="166" y="590"/>
                  </a:lnTo>
                  <a:lnTo>
                    <a:pt x="194" y="604"/>
                  </a:lnTo>
                  <a:lnTo>
                    <a:pt x="222" y="614"/>
                  </a:lnTo>
                  <a:lnTo>
                    <a:pt x="252" y="622"/>
                  </a:lnTo>
                  <a:lnTo>
                    <a:pt x="284" y="628"/>
                  </a:lnTo>
                  <a:lnTo>
                    <a:pt x="316" y="628"/>
                  </a:lnTo>
                  <a:lnTo>
                    <a:pt x="316" y="628"/>
                  </a:lnTo>
                  <a:lnTo>
                    <a:pt x="348" y="628"/>
                  </a:lnTo>
                  <a:lnTo>
                    <a:pt x="378" y="622"/>
                  </a:lnTo>
                  <a:lnTo>
                    <a:pt x="408" y="614"/>
                  </a:lnTo>
                  <a:lnTo>
                    <a:pt x="438" y="604"/>
                  </a:lnTo>
                  <a:lnTo>
                    <a:pt x="466" y="590"/>
                  </a:lnTo>
                  <a:lnTo>
                    <a:pt x="492" y="576"/>
                  </a:lnTo>
                  <a:lnTo>
                    <a:pt x="516" y="558"/>
                  </a:lnTo>
                  <a:lnTo>
                    <a:pt x="538" y="536"/>
                  </a:lnTo>
                  <a:lnTo>
                    <a:pt x="558" y="514"/>
                  </a:lnTo>
                  <a:lnTo>
                    <a:pt x="576" y="490"/>
                  </a:lnTo>
                  <a:lnTo>
                    <a:pt x="592" y="464"/>
                  </a:lnTo>
                  <a:lnTo>
                    <a:pt x="606" y="436"/>
                  </a:lnTo>
                  <a:lnTo>
                    <a:pt x="616" y="408"/>
                  </a:lnTo>
                  <a:lnTo>
                    <a:pt x="624" y="378"/>
                  </a:lnTo>
                  <a:lnTo>
                    <a:pt x="628" y="346"/>
                  </a:lnTo>
                  <a:lnTo>
                    <a:pt x="630" y="314"/>
                  </a:lnTo>
                  <a:lnTo>
                    <a:pt x="630" y="314"/>
                  </a:lnTo>
                  <a:lnTo>
                    <a:pt x="628" y="282"/>
                  </a:lnTo>
                  <a:lnTo>
                    <a:pt x="624" y="252"/>
                  </a:lnTo>
                  <a:lnTo>
                    <a:pt x="616" y="222"/>
                  </a:lnTo>
                  <a:lnTo>
                    <a:pt x="606" y="192"/>
                  </a:lnTo>
                  <a:lnTo>
                    <a:pt x="592" y="164"/>
                  </a:lnTo>
                  <a:lnTo>
                    <a:pt x="576" y="138"/>
                  </a:lnTo>
                  <a:lnTo>
                    <a:pt x="558" y="114"/>
                  </a:lnTo>
                  <a:lnTo>
                    <a:pt x="538" y="92"/>
                  </a:lnTo>
                  <a:lnTo>
                    <a:pt x="516" y="72"/>
                  </a:lnTo>
                  <a:lnTo>
                    <a:pt x="492" y="54"/>
                  </a:lnTo>
                  <a:lnTo>
                    <a:pt x="466" y="38"/>
                  </a:lnTo>
                  <a:lnTo>
                    <a:pt x="438" y="24"/>
                  </a:lnTo>
                  <a:lnTo>
                    <a:pt x="408" y="14"/>
                  </a:lnTo>
                  <a:lnTo>
                    <a:pt x="378" y="6"/>
                  </a:lnTo>
                  <a:lnTo>
                    <a:pt x="348" y="2"/>
                  </a:lnTo>
                  <a:lnTo>
                    <a:pt x="316" y="0"/>
                  </a:lnTo>
                  <a:lnTo>
                    <a:pt x="316" y="0"/>
                  </a:lnTo>
                  <a:close/>
                  <a:moveTo>
                    <a:pt x="480" y="228"/>
                  </a:moveTo>
                  <a:lnTo>
                    <a:pt x="480" y="228"/>
                  </a:lnTo>
                  <a:lnTo>
                    <a:pt x="480" y="230"/>
                  </a:lnTo>
                  <a:lnTo>
                    <a:pt x="480" y="230"/>
                  </a:lnTo>
                  <a:lnTo>
                    <a:pt x="482" y="232"/>
                  </a:lnTo>
                  <a:lnTo>
                    <a:pt x="482" y="232"/>
                  </a:lnTo>
                  <a:lnTo>
                    <a:pt x="484" y="234"/>
                  </a:lnTo>
                  <a:lnTo>
                    <a:pt x="484" y="232"/>
                  </a:lnTo>
                  <a:lnTo>
                    <a:pt x="484" y="234"/>
                  </a:lnTo>
                  <a:lnTo>
                    <a:pt x="484" y="234"/>
                  </a:lnTo>
                  <a:lnTo>
                    <a:pt x="484" y="234"/>
                  </a:lnTo>
                  <a:lnTo>
                    <a:pt x="484" y="234"/>
                  </a:lnTo>
                  <a:lnTo>
                    <a:pt x="486" y="232"/>
                  </a:lnTo>
                  <a:lnTo>
                    <a:pt x="488" y="230"/>
                  </a:lnTo>
                  <a:lnTo>
                    <a:pt x="488" y="230"/>
                  </a:lnTo>
                  <a:lnTo>
                    <a:pt x="490" y="228"/>
                  </a:lnTo>
                  <a:lnTo>
                    <a:pt x="490" y="228"/>
                  </a:lnTo>
                  <a:lnTo>
                    <a:pt x="490" y="226"/>
                  </a:lnTo>
                  <a:lnTo>
                    <a:pt x="490" y="226"/>
                  </a:lnTo>
                  <a:lnTo>
                    <a:pt x="488" y="226"/>
                  </a:lnTo>
                  <a:lnTo>
                    <a:pt x="488" y="226"/>
                  </a:lnTo>
                  <a:lnTo>
                    <a:pt x="490" y="222"/>
                  </a:lnTo>
                  <a:lnTo>
                    <a:pt x="490" y="218"/>
                  </a:lnTo>
                  <a:lnTo>
                    <a:pt x="490" y="218"/>
                  </a:lnTo>
                  <a:lnTo>
                    <a:pt x="492" y="218"/>
                  </a:lnTo>
                  <a:lnTo>
                    <a:pt x="494" y="212"/>
                  </a:lnTo>
                  <a:lnTo>
                    <a:pt x="494" y="212"/>
                  </a:lnTo>
                  <a:lnTo>
                    <a:pt x="494" y="210"/>
                  </a:lnTo>
                  <a:lnTo>
                    <a:pt x="494" y="210"/>
                  </a:lnTo>
                  <a:lnTo>
                    <a:pt x="494" y="210"/>
                  </a:lnTo>
                  <a:lnTo>
                    <a:pt x="494" y="210"/>
                  </a:lnTo>
                  <a:lnTo>
                    <a:pt x="496" y="208"/>
                  </a:lnTo>
                  <a:lnTo>
                    <a:pt x="496" y="210"/>
                  </a:lnTo>
                  <a:lnTo>
                    <a:pt x="496" y="210"/>
                  </a:lnTo>
                  <a:lnTo>
                    <a:pt x="496" y="210"/>
                  </a:lnTo>
                  <a:lnTo>
                    <a:pt x="496" y="210"/>
                  </a:lnTo>
                  <a:lnTo>
                    <a:pt x="498" y="212"/>
                  </a:lnTo>
                  <a:lnTo>
                    <a:pt x="498" y="212"/>
                  </a:lnTo>
                  <a:lnTo>
                    <a:pt x="500" y="212"/>
                  </a:lnTo>
                  <a:lnTo>
                    <a:pt x="502" y="216"/>
                  </a:lnTo>
                  <a:lnTo>
                    <a:pt x="502" y="216"/>
                  </a:lnTo>
                  <a:lnTo>
                    <a:pt x="504" y="216"/>
                  </a:lnTo>
                  <a:lnTo>
                    <a:pt x="504" y="216"/>
                  </a:lnTo>
                  <a:lnTo>
                    <a:pt x="504" y="216"/>
                  </a:lnTo>
                  <a:lnTo>
                    <a:pt x="504" y="216"/>
                  </a:lnTo>
                  <a:lnTo>
                    <a:pt x="504" y="218"/>
                  </a:lnTo>
                  <a:lnTo>
                    <a:pt x="504" y="218"/>
                  </a:lnTo>
                  <a:lnTo>
                    <a:pt x="506" y="220"/>
                  </a:lnTo>
                  <a:lnTo>
                    <a:pt x="508" y="222"/>
                  </a:lnTo>
                  <a:lnTo>
                    <a:pt x="508" y="222"/>
                  </a:lnTo>
                  <a:lnTo>
                    <a:pt x="508" y="224"/>
                  </a:lnTo>
                  <a:lnTo>
                    <a:pt x="508" y="224"/>
                  </a:lnTo>
                  <a:lnTo>
                    <a:pt x="508" y="224"/>
                  </a:lnTo>
                  <a:lnTo>
                    <a:pt x="510" y="224"/>
                  </a:lnTo>
                  <a:lnTo>
                    <a:pt x="512" y="224"/>
                  </a:lnTo>
                  <a:lnTo>
                    <a:pt x="512" y="224"/>
                  </a:lnTo>
                  <a:lnTo>
                    <a:pt x="512" y="226"/>
                  </a:lnTo>
                  <a:lnTo>
                    <a:pt x="512" y="226"/>
                  </a:lnTo>
                  <a:lnTo>
                    <a:pt x="514" y="228"/>
                  </a:lnTo>
                  <a:lnTo>
                    <a:pt x="514" y="228"/>
                  </a:lnTo>
                  <a:lnTo>
                    <a:pt x="516" y="230"/>
                  </a:lnTo>
                  <a:lnTo>
                    <a:pt x="524" y="232"/>
                  </a:lnTo>
                  <a:lnTo>
                    <a:pt x="526" y="232"/>
                  </a:lnTo>
                  <a:lnTo>
                    <a:pt x="526" y="232"/>
                  </a:lnTo>
                  <a:lnTo>
                    <a:pt x="526" y="232"/>
                  </a:lnTo>
                  <a:lnTo>
                    <a:pt x="526" y="232"/>
                  </a:lnTo>
                  <a:lnTo>
                    <a:pt x="528" y="230"/>
                  </a:lnTo>
                  <a:lnTo>
                    <a:pt x="528" y="226"/>
                  </a:lnTo>
                  <a:lnTo>
                    <a:pt x="528" y="226"/>
                  </a:lnTo>
                  <a:lnTo>
                    <a:pt x="528" y="226"/>
                  </a:lnTo>
                  <a:lnTo>
                    <a:pt x="530" y="226"/>
                  </a:lnTo>
                  <a:lnTo>
                    <a:pt x="536" y="226"/>
                  </a:lnTo>
                  <a:lnTo>
                    <a:pt x="536" y="226"/>
                  </a:lnTo>
                  <a:lnTo>
                    <a:pt x="536" y="224"/>
                  </a:lnTo>
                  <a:lnTo>
                    <a:pt x="536" y="226"/>
                  </a:lnTo>
                  <a:lnTo>
                    <a:pt x="536" y="226"/>
                  </a:lnTo>
                  <a:lnTo>
                    <a:pt x="536" y="226"/>
                  </a:lnTo>
                  <a:lnTo>
                    <a:pt x="536" y="226"/>
                  </a:lnTo>
                  <a:lnTo>
                    <a:pt x="538" y="230"/>
                  </a:lnTo>
                  <a:lnTo>
                    <a:pt x="538" y="230"/>
                  </a:lnTo>
                  <a:lnTo>
                    <a:pt x="542" y="232"/>
                  </a:lnTo>
                  <a:lnTo>
                    <a:pt x="542" y="232"/>
                  </a:lnTo>
                  <a:lnTo>
                    <a:pt x="542" y="232"/>
                  </a:lnTo>
                  <a:lnTo>
                    <a:pt x="542" y="232"/>
                  </a:lnTo>
                  <a:lnTo>
                    <a:pt x="542" y="232"/>
                  </a:lnTo>
                  <a:lnTo>
                    <a:pt x="544" y="232"/>
                  </a:lnTo>
                  <a:lnTo>
                    <a:pt x="544" y="232"/>
                  </a:lnTo>
                  <a:lnTo>
                    <a:pt x="546" y="232"/>
                  </a:lnTo>
                  <a:lnTo>
                    <a:pt x="546" y="230"/>
                  </a:lnTo>
                  <a:lnTo>
                    <a:pt x="546" y="230"/>
                  </a:lnTo>
                  <a:lnTo>
                    <a:pt x="548" y="232"/>
                  </a:lnTo>
                  <a:lnTo>
                    <a:pt x="546" y="242"/>
                  </a:lnTo>
                  <a:lnTo>
                    <a:pt x="540" y="240"/>
                  </a:lnTo>
                  <a:lnTo>
                    <a:pt x="540" y="240"/>
                  </a:lnTo>
                  <a:lnTo>
                    <a:pt x="538" y="242"/>
                  </a:lnTo>
                  <a:lnTo>
                    <a:pt x="536" y="244"/>
                  </a:lnTo>
                  <a:lnTo>
                    <a:pt x="526" y="240"/>
                  </a:lnTo>
                  <a:lnTo>
                    <a:pt x="526" y="240"/>
                  </a:lnTo>
                  <a:lnTo>
                    <a:pt x="526" y="240"/>
                  </a:lnTo>
                  <a:lnTo>
                    <a:pt x="526" y="240"/>
                  </a:lnTo>
                  <a:lnTo>
                    <a:pt x="522" y="240"/>
                  </a:lnTo>
                  <a:lnTo>
                    <a:pt x="522" y="240"/>
                  </a:lnTo>
                  <a:lnTo>
                    <a:pt x="522" y="240"/>
                  </a:lnTo>
                  <a:lnTo>
                    <a:pt x="520" y="238"/>
                  </a:lnTo>
                  <a:lnTo>
                    <a:pt x="520" y="238"/>
                  </a:lnTo>
                  <a:lnTo>
                    <a:pt x="512" y="238"/>
                  </a:lnTo>
                  <a:lnTo>
                    <a:pt x="512" y="238"/>
                  </a:lnTo>
                  <a:lnTo>
                    <a:pt x="512" y="238"/>
                  </a:lnTo>
                  <a:lnTo>
                    <a:pt x="512" y="238"/>
                  </a:lnTo>
                  <a:lnTo>
                    <a:pt x="510" y="238"/>
                  </a:lnTo>
                  <a:lnTo>
                    <a:pt x="508" y="240"/>
                  </a:lnTo>
                  <a:lnTo>
                    <a:pt x="508" y="240"/>
                  </a:lnTo>
                  <a:lnTo>
                    <a:pt x="506" y="242"/>
                  </a:lnTo>
                  <a:lnTo>
                    <a:pt x="506" y="246"/>
                  </a:lnTo>
                  <a:lnTo>
                    <a:pt x="496" y="240"/>
                  </a:lnTo>
                  <a:lnTo>
                    <a:pt x="496" y="240"/>
                  </a:lnTo>
                  <a:lnTo>
                    <a:pt x="494" y="240"/>
                  </a:lnTo>
                  <a:lnTo>
                    <a:pt x="484" y="236"/>
                  </a:lnTo>
                  <a:lnTo>
                    <a:pt x="480" y="236"/>
                  </a:lnTo>
                  <a:lnTo>
                    <a:pt x="480" y="236"/>
                  </a:lnTo>
                  <a:lnTo>
                    <a:pt x="480" y="234"/>
                  </a:lnTo>
                  <a:lnTo>
                    <a:pt x="480" y="234"/>
                  </a:lnTo>
                  <a:lnTo>
                    <a:pt x="480" y="228"/>
                  </a:lnTo>
                  <a:lnTo>
                    <a:pt x="480" y="228"/>
                  </a:lnTo>
                  <a:close/>
                  <a:moveTo>
                    <a:pt x="436" y="208"/>
                  </a:moveTo>
                  <a:lnTo>
                    <a:pt x="436" y="206"/>
                  </a:lnTo>
                  <a:lnTo>
                    <a:pt x="438" y="204"/>
                  </a:lnTo>
                  <a:lnTo>
                    <a:pt x="440" y="204"/>
                  </a:lnTo>
                  <a:lnTo>
                    <a:pt x="440" y="204"/>
                  </a:lnTo>
                  <a:lnTo>
                    <a:pt x="440" y="204"/>
                  </a:lnTo>
                  <a:lnTo>
                    <a:pt x="440" y="204"/>
                  </a:lnTo>
                  <a:lnTo>
                    <a:pt x="440" y="204"/>
                  </a:lnTo>
                  <a:lnTo>
                    <a:pt x="444" y="204"/>
                  </a:lnTo>
                  <a:lnTo>
                    <a:pt x="444" y="204"/>
                  </a:lnTo>
                  <a:lnTo>
                    <a:pt x="444" y="202"/>
                  </a:lnTo>
                  <a:lnTo>
                    <a:pt x="446" y="196"/>
                  </a:lnTo>
                  <a:lnTo>
                    <a:pt x="446" y="196"/>
                  </a:lnTo>
                  <a:lnTo>
                    <a:pt x="452" y="198"/>
                  </a:lnTo>
                  <a:lnTo>
                    <a:pt x="452" y="198"/>
                  </a:lnTo>
                  <a:lnTo>
                    <a:pt x="454" y="196"/>
                  </a:lnTo>
                  <a:lnTo>
                    <a:pt x="458" y="194"/>
                  </a:lnTo>
                  <a:lnTo>
                    <a:pt x="458" y="194"/>
                  </a:lnTo>
                  <a:lnTo>
                    <a:pt x="458" y="194"/>
                  </a:lnTo>
                  <a:lnTo>
                    <a:pt x="458" y="196"/>
                  </a:lnTo>
                  <a:lnTo>
                    <a:pt x="458" y="196"/>
                  </a:lnTo>
                  <a:lnTo>
                    <a:pt x="456" y="196"/>
                  </a:lnTo>
                  <a:lnTo>
                    <a:pt x="456" y="196"/>
                  </a:lnTo>
                  <a:lnTo>
                    <a:pt x="456" y="198"/>
                  </a:lnTo>
                  <a:lnTo>
                    <a:pt x="456" y="198"/>
                  </a:lnTo>
                  <a:lnTo>
                    <a:pt x="458" y="202"/>
                  </a:lnTo>
                  <a:lnTo>
                    <a:pt x="458" y="202"/>
                  </a:lnTo>
                  <a:lnTo>
                    <a:pt x="458" y="202"/>
                  </a:lnTo>
                  <a:lnTo>
                    <a:pt x="458" y="202"/>
                  </a:lnTo>
                  <a:lnTo>
                    <a:pt x="458" y="202"/>
                  </a:lnTo>
                  <a:lnTo>
                    <a:pt x="458" y="202"/>
                  </a:lnTo>
                  <a:lnTo>
                    <a:pt x="458" y="204"/>
                  </a:lnTo>
                  <a:lnTo>
                    <a:pt x="458" y="206"/>
                  </a:lnTo>
                  <a:lnTo>
                    <a:pt x="458" y="206"/>
                  </a:lnTo>
                  <a:lnTo>
                    <a:pt x="460" y="210"/>
                  </a:lnTo>
                  <a:lnTo>
                    <a:pt x="460" y="210"/>
                  </a:lnTo>
                  <a:lnTo>
                    <a:pt x="462" y="212"/>
                  </a:lnTo>
                  <a:lnTo>
                    <a:pt x="462" y="214"/>
                  </a:lnTo>
                  <a:lnTo>
                    <a:pt x="462" y="214"/>
                  </a:lnTo>
                  <a:lnTo>
                    <a:pt x="464" y="214"/>
                  </a:lnTo>
                  <a:lnTo>
                    <a:pt x="464" y="214"/>
                  </a:lnTo>
                  <a:lnTo>
                    <a:pt x="464" y="214"/>
                  </a:lnTo>
                  <a:lnTo>
                    <a:pt x="468" y="212"/>
                  </a:lnTo>
                  <a:lnTo>
                    <a:pt x="468" y="212"/>
                  </a:lnTo>
                  <a:lnTo>
                    <a:pt x="470" y="208"/>
                  </a:lnTo>
                  <a:lnTo>
                    <a:pt x="470" y="208"/>
                  </a:lnTo>
                  <a:lnTo>
                    <a:pt x="468" y="204"/>
                  </a:lnTo>
                  <a:lnTo>
                    <a:pt x="468" y="204"/>
                  </a:lnTo>
                  <a:lnTo>
                    <a:pt x="466" y="200"/>
                  </a:lnTo>
                  <a:lnTo>
                    <a:pt x="466" y="200"/>
                  </a:lnTo>
                  <a:lnTo>
                    <a:pt x="466" y="198"/>
                  </a:lnTo>
                  <a:lnTo>
                    <a:pt x="466" y="198"/>
                  </a:lnTo>
                  <a:lnTo>
                    <a:pt x="466" y="198"/>
                  </a:lnTo>
                  <a:lnTo>
                    <a:pt x="472" y="202"/>
                  </a:lnTo>
                  <a:lnTo>
                    <a:pt x="472" y="202"/>
                  </a:lnTo>
                  <a:lnTo>
                    <a:pt x="472" y="204"/>
                  </a:lnTo>
                  <a:lnTo>
                    <a:pt x="482" y="208"/>
                  </a:lnTo>
                  <a:lnTo>
                    <a:pt x="482" y="210"/>
                  </a:lnTo>
                  <a:lnTo>
                    <a:pt x="482" y="212"/>
                  </a:lnTo>
                  <a:lnTo>
                    <a:pt x="476" y="210"/>
                  </a:lnTo>
                  <a:lnTo>
                    <a:pt x="476" y="210"/>
                  </a:lnTo>
                  <a:lnTo>
                    <a:pt x="474" y="210"/>
                  </a:lnTo>
                  <a:lnTo>
                    <a:pt x="474" y="210"/>
                  </a:lnTo>
                  <a:lnTo>
                    <a:pt x="474" y="214"/>
                  </a:lnTo>
                  <a:lnTo>
                    <a:pt x="474" y="214"/>
                  </a:lnTo>
                  <a:lnTo>
                    <a:pt x="474" y="216"/>
                  </a:lnTo>
                  <a:lnTo>
                    <a:pt x="474" y="216"/>
                  </a:lnTo>
                  <a:lnTo>
                    <a:pt x="474" y="216"/>
                  </a:lnTo>
                  <a:lnTo>
                    <a:pt x="474" y="216"/>
                  </a:lnTo>
                  <a:lnTo>
                    <a:pt x="482" y="222"/>
                  </a:lnTo>
                  <a:lnTo>
                    <a:pt x="482" y="222"/>
                  </a:lnTo>
                  <a:lnTo>
                    <a:pt x="482" y="222"/>
                  </a:lnTo>
                  <a:lnTo>
                    <a:pt x="482" y="222"/>
                  </a:lnTo>
                  <a:lnTo>
                    <a:pt x="482" y="222"/>
                  </a:lnTo>
                  <a:lnTo>
                    <a:pt x="482" y="222"/>
                  </a:lnTo>
                  <a:lnTo>
                    <a:pt x="480" y="224"/>
                  </a:lnTo>
                  <a:lnTo>
                    <a:pt x="478" y="226"/>
                  </a:lnTo>
                  <a:lnTo>
                    <a:pt x="478" y="226"/>
                  </a:lnTo>
                  <a:lnTo>
                    <a:pt x="478" y="222"/>
                  </a:lnTo>
                  <a:lnTo>
                    <a:pt x="478" y="222"/>
                  </a:lnTo>
                  <a:lnTo>
                    <a:pt x="478" y="222"/>
                  </a:lnTo>
                  <a:lnTo>
                    <a:pt x="476" y="220"/>
                  </a:lnTo>
                  <a:lnTo>
                    <a:pt x="472" y="218"/>
                  </a:lnTo>
                  <a:lnTo>
                    <a:pt x="472" y="218"/>
                  </a:lnTo>
                  <a:lnTo>
                    <a:pt x="470" y="216"/>
                  </a:lnTo>
                  <a:lnTo>
                    <a:pt x="470" y="216"/>
                  </a:lnTo>
                  <a:lnTo>
                    <a:pt x="468" y="218"/>
                  </a:lnTo>
                  <a:lnTo>
                    <a:pt x="464" y="218"/>
                  </a:lnTo>
                  <a:lnTo>
                    <a:pt x="442" y="220"/>
                  </a:lnTo>
                  <a:lnTo>
                    <a:pt x="442" y="220"/>
                  </a:lnTo>
                  <a:lnTo>
                    <a:pt x="442" y="220"/>
                  </a:lnTo>
                  <a:lnTo>
                    <a:pt x="428" y="226"/>
                  </a:lnTo>
                  <a:lnTo>
                    <a:pt x="422" y="226"/>
                  </a:lnTo>
                  <a:lnTo>
                    <a:pt x="422" y="226"/>
                  </a:lnTo>
                  <a:lnTo>
                    <a:pt x="422" y="224"/>
                  </a:lnTo>
                  <a:lnTo>
                    <a:pt x="428" y="224"/>
                  </a:lnTo>
                  <a:lnTo>
                    <a:pt x="428" y="224"/>
                  </a:lnTo>
                  <a:lnTo>
                    <a:pt x="428" y="224"/>
                  </a:lnTo>
                  <a:lnTo>
                    <a:pt x="428" y="224"/>
                  </a:lnTo>
                  <a:lnTo>
                    <a:pt x="428" y="224"/>
                  </a:lnTo>
                  <a:lnTo>
                    <a:pt x="430" y="222"/>
                  </a:lnTo>
                  <a:lnTo>
                    <a:pt x="434" y="218"/>
                  </a:lnTo>
                  <a:lnTo>
                    <a:pt x="434" y="218"/>
                  </a:lnTo>
                  <a:lnTo>
                    <a:pt x="434" y="218"/>
                  </a:lnTo>
                  <a:lnTo>
                    <a:pt x="438" y="216"/>
                  </a:lnTo>
                  <a:lnTo>
                    <a:pt x="438" y="216"/>
                  </a:lnTo>
                  <a:lnTo>
                    <a:pt x="438" y="214"/>
                  </a:lnTo>
                  <a:lnTo>
                    <a:pt x="436" y="208"/>
                  </a:lnTo>
                  <a:close/>
                  <a:moveTo>
                    <a:pt x="460" y="136"/>
                  </a:moveTo>
                  <a:lnTo>
                    <a:pt x="462" y="134"/>
                  </a:lnTo>
                  <a:lnTo>
                    <a:pt x="462" y="128"/>
                  </a:lnTo>
                  <a:lnTo>
                    <a:pt x="462" y="128"/>
                  </a:lnTo>
                  <a:lnTo>
                    <a:pt x="462" y="128"/>
                  </a:lnTo>
                  <a:lnTo>
                    <a:pt x="468" y="128"/>
                  </a:lnTo>
                  <a:lnTo>
                    <a:pt x="468" y="128"/>
                  </a:lnTo>
                  <a:lnTo>
                    <a:pt x="468" y="130"/>
                  </a:lnTo>
                  <a:lnTo>
                    <a:pt x="468" y="130"/>
                  </a:lnTo>
                  <a:lnTo>
                    <a:pt x="470" y="132"/>
                  </a:lnTo>
                  <a:lnTo>
                    <a:pt x="470" y="132"/>
                  </a:lnTo>
                  <a:lnTo>
                    <a:pt x="470" y="134"/>
                  </a:lnTo>
                  <a:lnTo>
                    <a:pt x="470" y="134"/>
                  </a:lnTo>
                  <a:lnTo>
                    <a:pt x="472" y="134"/>
                  </a:lnTo>
                  <a:lnTo>
                    <a:pt x="472" y="134"/>
                  </a:lnTo>
                  <a:lnTo>
                    <a:pt x="472" y="136"/>
                  </a:lnTo>
                  <a:lnTo>
                    <a:pt x="474" y="140"/>
                  </a:lnTo>
                  <a:lnTo>
                    <a:pt x="474" y="140"/>
                  </a:lnTo>
                  <a:lnTo>
                    <a:pt x="468" y="140"/>
                  </a:lnTo>
                  <a:lnTo>
                    <a:pt x="468" y="140"/>
                  </a:lnTo>
                  <a:lnTo>
                    <a:pt x="466" y="142"/>
                  </a:lnTo>
                  <a:lnTo>
                    <a:pt x="466" y="142"/>
                  </a:lnTo>
                  <a:lnTo>
                    <a:pt x="464" y="142"/>
                  </a:lnTo>
                  <a:lnTo>
                    <a:pt x="458" y="144"/>
                  </a:lnTo>
                  <a:lnTo>
                    <a:pt x="458" y="144"/>
                  </a:lnTo>
                  <a:lnTo>
                    <a:pt x="458" y="144"/>
                  </a:lnTo>
                  <a:lnTo>
                    <a:pt x="458" y="144"/>
                  </a:lnTo>
                  <a:lnTo>
                    <a:pt x="458" y="144"/>
                  </a:lnTo>
                  <a:lnTo>
                    <a:pt x="458" y="144"/>
                  </a:lnTo>
                  <a:lnTo>
                    <a:pt x="460" y="144"/>
                  </a:lnTo>
                  <a:lnTo>
                    <a:pt x="460" y="144"/>
                  </a:lnTo>
                  <a:lnTo>
                    <a:pt x="460" y="140"/>
                  </a:lnTo>
                  <a:lnTo>
                    <a:pt x="460" y="136"/>
                  </a:lnTo>
                  <a:close/>
                  <a:moveTo>
                    <a:pt x="576" y="318"/>
                  </a:moveTo>
                  <a:lnTo>
                    <a:pt x="576" y="324"/>
                  </a:lnTo>
                  <a:lnTo>
                    <a:pt x="576" y="324"/>
                  </a:lnTo>
                  <a:lnTo>
                    <a:pt x="576" y="322"/>
                  </a:lnTo>
                  <a:lnTo>
                    <a:pt x="576" y="322"/>
                  </a:lnTo>
                  <a:lnTo>
                    <a:pt x="576" y="322"/>
                  </a:lnTo>
                  <a:lnTo>
                    <a:pt x="574" y="314"/>
                  </a:lnTo>
                  <a:lnTo>
                    <a:pt x="574" y="312"/>
                  </a:lnTo>
                  <a:lnTo>
                    <a:pt x="574" y="312"/>
                  </a:lnTo>
                  <a:lnTo>
                    <a:pt x="574" y="312"/>
                  </a:lnTo>
                  <a:lnTo>
                    <a:pt x="574" y="310"/>
                  </a:lnTo>
                  <a:lnTo>
                    <a:pt x="574" y="310"/>
                  </a:lnTo>
                  <a:lnTo>
                    <a:pt x="576" y="318"/>
                  </a:lnTo>
                  <a:lnTo>
                    <a:pt x="576" y="318"/>
                  </a:lnTo>
                  <a:close/>
                  <a:moveTo>
                    <a:pt x="518" y="216"/>
                  </a:moveTo>
                  <a:lnTo>
                    <a:pt x="518" y="216"/>
                  </a:lnTo>
                  <a:lnTo>
                    <a:pt x="518" y="214"/>
                  </a:lnTo>
                  <a:lnTo>
                    <a:pt x="518" y="214"/>
                  </a:lnTo>
                  <a:lnTo>
                    <a:pt x="518" y="214"/>
                  </a:lnTo>
                  <a:lnTo>
                    <a:pt x="518" y="216"/>
                  </a:lnTo>
                  <a:lnTo>
                    <a:pt x="518" y="216"/>
                  </a:lnTo>
                  <a:lnTo>
                    <a:pt x="520" y="216"/>
                  </a:lnTo>
                  <a:lnTo>
                    <a:pt x="522" y="222"/>
                  </a:lnTo>
                  <a:lnTo>
                    <a:pt x="522" y="222"/>
                  </a:lnTo>
                  <a:lnTo>
                    <a:pt x="518" y="222"/>
                  </a:lnTo>
                  <a:lnTo>
                    <a:pt x="516" y="222"/>
                  </a:lnTo>
                  <a:lnTo>
                    <a:pt x="518" y="220"/>
                  </a:lnTo>
                  <a:lnTo>
                    <a:pt x="518" y="220"/>
                  </a:lnTo>
                  <a:lnTo>
                    <a:pt x="518" y="218"/>
                  </a:lnTo>
                  <a:lnTo>
                    <a:pt x="518" y="218"/>
                  </a:lnTo>
                  <a:lnTo>
                    <a:pt x="518" y="216"/>
                  </a:lnTo>
                  <a:lnTo>
                    <a:pt x="518" y="216"/>
                  </a:lnTo>
                  <a:close/>
                  <a:moveTo>
                    <a:pt x="522" y="196"/>
                  </a:moveTo>
                  <a:lnTo>
                    <a:pt x="520" y="194"/>
                  </a:lnTo>
                  <a:lnTo>
                    <a:pt x="520" y="194"/>
                  </a:lnTo>
                  <a:lnTo>
                    <a:pt x="520" y="192"/>
                  </a:lnTo>
                  <a:lnTo>
                    <a:pt x="520" y="192"/>
                  </a:lnTo>
                  <a:lnTo>
                    <a:pt x="520" y="192"/>
                  </a:lnTo>
                  <a:lnTo>
                    <a:pt x="520" y="190"/>
                  </a:lnTo>
                  <a:lnTo>
                    <a:pt x="520" y="190"/>
                  </a:lnTo>
                  <a:lnTo>
                    <a:pt x="520" y="188"/>
                  </a:lnTo>
                  <a:lnTo>
                    <a:pt x="520" y="188"/>
                  </a:lnTo>
                  <a:lnTo>
                    <a:pt x="520" y="188"/>
                  </a:lnTo>
                  <a:lnTo>
                    <a:pt x="520" y="184"/>
                  </a:lnTo>
                  <a:lnTo>
                    <a:pt x="520" y="184"/>
                  </a:lnTo>
                  <a:lnTo>
                    <a:pt x="520" y="184"/>
                  </a:lnTo>
                  <a:lnTo>
                    <a:pt x="520" y="184"/>
                  </a:lnTo>
                  <a:lnTo>
                    <a:pt x="528" y="190"/>
                  </a:lnTo>
                  <a:lnTo>
                    <a:pt x="528" y="190"/>
                  </a:lnTo>
                  <a:lnTo>
                    <a:pt x="528" y="188"/>
                  </a:lnTo>
                  <a:lnTo>
                    <a:pt x="528" y="188"/>
                  </a:lnTo>
                  <a:lnTo>
                    <a:pt x="530" y="188"/>
                  </a:lnTo>
                  <a:lnTo>
                    <a:pt x="530" y="188"/>
                  </a:lnTo>
                  <a:lnTo>
                    <a:pt x="530" y="186"/>
                  </a:lnTo>
                  <a:lnTo>
                    <a:pt x="530" y="186"/>
                  </a:lnTo>
                  <a:lnTo>
                    <a:pt x="532" y="186"/>
                  </a:lnTo>
                  <a:lnTo>
                    <a:pt x="540" y="192"/>
                  </a:lnTo>
                  <a:lnTo>
                    <a:pt x="542" y="194"/>
                  </a:lnTo>
                  <a:lnTo>
                    <a:pt x="540" y="196"/>
                  </a:lnTo>
                  <a:lnTo>
                    <a:pt x="540" y="196"/>
                  </a:lnTo>
                  <a:lnTo>
                    <a:pt x="534" y="192"/>
                  </a:lnTo>
                  <a:lnTo>
                    <a:pt x="534" y="192"/>
                  </a:lnTo>
                  <a:lnTo>
                    <a:pt x="534" y="194"/>
                  </a:lnTo>
                  <a:lnTo>
                    <a:pt x="534" y="194"/>
                  </a:lnTo>
                  <a:lnTo>
                    <a:pt x="528" y="196"/>
                  </a:lnTo>
                  <a:lnTo>
                    <a:pt x="528" y="196"/>
                  </a:lnTo>
                  <a:lnTo>
                    <a:pt x="524" y="196"/>
                  </a:lnTo>
                  <a:lnTo>
                    <a:pt x="522" y="196"/>
                  </a:lnTo>
                  <a:close/>
                  <a:moveTo>
                    <a:pt x="546" y="460"/>
                  </a:moveTo>
                  <a:lnTo>
                    <a:pt x="546" y="460"/>
                  </a:lnTo>
                  <a:lnTo>
                    <a:pt x="546" y="460"/>
                  </a:lnTo>
                  <a:lnTo>
                    <a:pt x="546" y="460"/>
                  </a:lnTo>
                  <a:lnTo>
                    <a:pt x="542" y="464"/>
                  </a:lnTo>
                  <a:lnTo>
                    <a:pt x="538" y="468"/>
                  </a:lnTo>
                  <a:lnTo>
                    <a:pt x="538" y="468"/>
                  </a:lnTo>
                  <a:lnTo>
                    <a:pt x="538" y="468"/>
                  </a:lnTo>
                  <a:lnTo>
                    <a:pt x="544" y="458"/>
                  </a:lnTo>
                  <a:lnTo>
                    <a:pt x="544" y="458"/>
                  </a:lnTo>
                  <a:lnTo>
                    <a:pt x="544" y="460"/>
                  </a:lnTo>
                  <a:lnTo>
                    <a:pt x="544" y="460"/>
                  </a:lnTo>
                  <a:lnTo>
                    <a:pt x="546" y="460"/>
                  </a:lnTo>
                  <a:lnTo>
                    <a:pt x="546" y="460"/>
                  </a:lnTo>
                  <a:lnTo>
                    <a:pt x="546" y="460"/>
                  </a:lnTo>
                  <a:lnTo>
                    <a:pt x="546" y="460"/>
                  </a:lnTo>
                  <a:lnTo>
                    <a:pt x="546" y="460"/>
                  </a:lnTo>
                  <a:close/>
                  <a:moveTo>
                    <a:pt x="554" y="452"/>
                  </a:moveTo>
                  <a:lnTo>
                    <a:pt x="554" y="452"/>
                  </a:lnTo>
                  <a:lnTo>
                    <a:pt x="552" y="452"/>
                  </a:lnTo>
                  <a:lnTo>
                    <a:pt x="552" y="452"/>
                  </a:lnTo>
                  <a:lnTo>
                    <a:pt x="552" y="450"/>
                  </a:lnTo>
                  <a:lnTo>
                    <a:pt x="550" y="450"/>
                  </a:lnTo>
                  <a:lnTo>
                    <a:pt x="550" y="450"/>
                  </a:lnTo>
                  <a:lnTo>
                    <a:pt x="550" y="450"/>
                  </a:lnTo>
                  <a:lnTo>
                    <a:pt x="550" y="450"/>
                  </a:lnTo>
                  <a:lnTo>
                    <a:pt x="548" y="450"/>
                  </a:lnTo>
                  <a:lnTo>
                    <a:pt x="548" y="450"/>
                  </a:lnTo>
                  <a:lnTo>
                    <a:pt x="548" y="450"/>
                  </a:lnTo>
                  <a:lnTo>
                    <a:pt x="546" y="450"/>
                  </a:lnTo>
                  <a:lnTo>
                    <a:pt x="546" y="450"/>
                  </a:lnTo>
                  <a:lnTo>
                    <a:pt x="548" y="448"/>
                  </a:lnTo>
                  <a:lnTo>
                    <a:pt x="548" y="448"/>
                  </a:lnTo>
                  <a:lnTo>
                    <a:pt x="548" y="446"/>
                  </a:lnTo>
                  <a:lnTo>
                    <a:pt x="550" y="444"/>
                  </a:lnTo>
                  <a:lnTo>
                    <a:pt x="550" y="444"/>
                  </a:lnTo>
                  <a:lnTo>
                    <a:pt x="550" y="442"/>
                  </a:lnTo>
                  <a:lnTo>
                    <a:pt x="550" y="442"/>
                  </a:lnTo>
                  <a:lnTo>
                    <a:pt x="554" y="432"/>
                  </a:lnTo>
                  <a:lnTo>
                    <a:pt x="554" y="428"/>
                  </a:lnTo>
                  <a:lnTo>
                    <a:pt x="558" y="422"/>
                  </a:lnTo>
                  <a:lnTo>
                    <a:pt x="558" y="422"/>
                  </a:lnTo>
                  <a:lnTo>
                    <a:pt x="558" y="422"/>
                  </a:lnTo>
                  <a:lnTo>
                    <a:pt x="558" y="420"/>
                  </a:lnTo>
                  <a:lnTo>
                    <a:pt x="558" y="420"/>
                  </a:lnTo>
                  <a:lnTo>
                    <a:pt x="560" y="416"/>
                  </a:lnTo>
                  <a:lnTo>
                    <a:pt x="564" y="410"/>
                  </a:lnTo>
                  <a:lnTo>
                    <a:pt x="566" y="408"/>
                  </a:lnTo>
                  <a:lnTo>
                    <a:pt x="566" y="408"/>
                  </a:lnTo>
                  <a:lnTo>
                    <a:pt x="566" y="406"/>
                  </a:lnTo>
                  <a:lnTo>
                    <a:pt x="576" y="394"/>
                  </a:lnTo>
                  <a:lnTo>
                    <a:pt x="578" y="392"/>
                  </a:lnTo>
                  <a:lnTo>
                    <a:pt x="578" y="392"/>
                  </a:lnTo>
                  <a:lnTo>
                    <a:pt x="578" y="392"/>
                  </a:lnTo>
                  <a:lnTo>
                    <a:pt x="578" y="392"/>
                  </a:lnTo>
                  <a:lnTo>
                    <a:pt x="568" y="422"/>
                  </a:lnTo>
                  <a:lnTo>
                    <a:pt x="554" y="452"/>
                  </a:lnTo>
                  <a:lnTo>
                    <a:pt x="554" y="452"/>
                  </a:lnTo>
                  <a:close/>
                  <a:moveTo>
                    <a:pt x="588" y="340"/>
                  </a:moveTo>
                  <a:lnTo>
                    <a:pt x="588" y="340"/>
                  </a:lnTo>
                  <a:lnTo>
                    <a:pt x="584" y="344"/>
                  </a:lnTo>
                  <a:lnTo>
                    <a:pt x="584" y="344"/>
                  </a:lnTo>
                  <a:lnTo>
                    <a:pt x="584" y="342"/>
                  </a:lnTo>
                  <a:lnTo>
                    <a:pt x="584" y="342"/>
                  </a:lnTo>
                  <a:lnTo>
                    <a:pt x="584" y="340"/>
                  </a:lnTo>
                  <a:lnTo>
                    <a:pt x="584" y="340"/>
                  </a:lnTo>
                  <a:lnTo>
                    <a:pt x="584" y="340"/>
                  </a:lnTo>
                  <a:lnTo>
                    <a:pt x="584" y="340"/>
                  </a:lnTo>
                  <a:lnTo>
                    <a:pt x="584" y="340"/>
                  </a:lnTo>
                  <a:lnTo>
                    <a:pt x="584" y="340"/>
                  </a:lnTo>
                  <a:lnTo>
                    <a:pt x="584" y="340"/>
                  </a:lnTo>
                  <a:lnTo>
                    <a:pt x="590" y="336"/>
                  </a:lnTo>
                  <a:lnTo>
                    <a:pt x="590" y="336"/>
                  </a:lnTo>
                  <a:lnTo>
                    <a:pt x="588" y="340"/>
                  </a:lnTo>
                  <a:lnTo>
                    <a:pt x="588" y="340"/>
                  </a:lnTo>
                  <a:close/>
                  <a:moveTo>
                    <a:pt x="200" y="112"/>
                  </a:moveTo>
                  <a:lnTo>
                    <a:pt x="200" y="112"/>
                  </a:lnTo>
                  <a:lnTo>
                    <a:pt x="204" y="112"/>
                  </a:lnTo>
                  <a:lnTo>
                    <a:pt x="204" y="112"/>
                  </a:lnTo>
                  <a:lnTo>
                    <a:pt x="206" y="112"/>
                  </a:lnTo>
                  <a:lnTo>
                    <a:pt x="206" y="110"/>
                  </a:lnTo>
                  <a:lnTo>
                    <a:pt x="208" y="110"/>
                  </a:lnTo>
                  <a:lnTo>
                    <a:pt x="208" y="110"/>
                  </a:lnTo>
                  <a:lnTo>
                    <a:pt x="202" y="116"/>
                  </a:lnTo>
                  <a:lnTo>
                    <a:pt x="202" y="116"/>
                  </a:lnTo>
                  <a:lnTo>
                    <a:pt x="200" y="120"/>
                  </a:lnTo>
                  <a:lnTo>
                    <a:pt x="194" y="122"/>
                  </a:lnTo>
                  <a:lnTo>
                    <a:pt x="194" y="122"/>
                  </a:lnTo>
                  <a:lnTo>
                    <a:pt x="194" y="122"/>
                  </a:lnTo>
                  <a:lnTo>
                    <a:pt x="188" y="132"/>
                  </a:lnTo>
                  <a:lnTo>
                    <a:pt x="176" y="136"/>
                  </a:lnTo>
                  <a:lnTo>
                    <a:pt x="176" y="136"/>
                  </a:lnTo>
                  <a:lnTo>
                    <a:pt x="176" y="136"/>
                  </a:lnTo>
                  <a:lnTo>
                    <a:pt x="176" y="136"/>
                  </a:lnTo>
                  <a:lnTo>
                    <a:pt x="174" y="138"/>
                  </a:lnTo>
                  <a:lnTo>
                    <a:pt x="174" y="138"/>
                  </a:lnTo>
                  <a:lnTo>
                    <a:pt x="174" y="138"/>
                  </a:lnTo>
                  <a:lnTo>
                    <a:pt x="172" y="132"/>
                  </a:lnTo>
                  <a:lnTo>
                    <a:pt x="170" y="126"/>
                  </a:lnTo>
                  <a:lnTo>
                    <a:pt x="170" y="126"/>
                  </a:lnTo>
                  <a:lnTo>
                    <a:pt x="168" y="124"/>
                  </a:lnTo>
                  <a:lnTo>
                    <a:pt x="168" y="124"/>
                  </a:lnTo>
                  <a:lnTo>
                    <a:pt x="168" y="124"/>
                  </a:lnTo>
                  <a:lnTo>
                    <a:pt x="168" y="124"/>
                  </a:lnTo>
                  <a:lnTo>
                    <a:pt x="168" y="122"/>
                  </a:lnTo>
                  <a:lnTo>
                    <a:pt x="176" y="116"/>
                  </a:lnTo>
                  <a:lnTo>
                    <a:pt x="176" y="116"/>
                  </a:lnTo>
                  <a:lnTo>
                    <a:pt x="186" y="112"/>
                  </a:lnTo>
                  <a:lnTo>
                    <a:pt x="192" y="110"/>
                  </a:lnTo>
                  <a:lnTo>
                    <a:pt x="192" y="110"/>
                  </a:lnTo>
                  <a:lnTo>
                    <a:pt x="194" y="110"/>
                  </a:lnTo>
                  <a:lnTo>
                    <a:pt x="194" y="110"/>
                  </a:lnTo>
                  <a:lnTo>
                    <a:pt x="194" y="110"/>
                  </a:lnTo>
                  <a:lnTo>
                    <a:pt x="194" y="110"/>
                  </a:lnTo>
                  <a:lnTo>
                    <a:pt x="194" y="108"/>
                  </a:lnTo>
                  <a:lnTo>
                    <a:pt x="198" y="108"/>
                  </a:lnTo>
                  <a:lnTo>
                    <a:pt x="198" y="108"/>
                  </a:lnTo>
                  <a:lnTo>
                    <a:pt x="198" y="108"/>
                  </a:lnTo>
                  <a:lnTo>
                    <a:pt x="200" y="110"/>
                  </a:lnTo>
                  <a:lnTo>
                    <a:pt x="200" y="112"/>
                  </a:lnTo>
                  <a:lnTo>
                    <a:pt x="200" y="112"/>
                  </a:lnTo>
                  <a:close/>
                  <a:moveTo>
                    <a:pt x="42" y="320"/>
                  </a:moveTo>
                  <a:lnTo>
                    <a:pt x="42" y="322"/>
                  </a:lnTo>
                  <a:lnTo>
                    <a:pt x="42" y="322"/>
                  </a:lnTo>
                  <a:lnTo>
                    <a:pt x="46" y="322"/>
                  </a:lnTo>
                  <a:lnTo>
                    <a:pt x="48" y="320"/>
                  </a:lnTo>
                  <a:lnTo>
                    <a:pt x="50" y="326"/>
                  </a:lnTo>
                  <a:lnTo>
                    <a:pt x="50" y="326"/>
                  </a:lnTo>
                  <a:lnTo>
                    <a:pt x="50" y="326"/>
                  </a:lnTo>
                  <a:lnTo>
                    <a:pt x="50" y="326"/>
                  </a:lnTo>
                  <a:lnTo>
                    <a:pt x="52" y="328"/>
                  </a:lnTo>
                  <a:lnTo>
                    <a:pt x="52" y="330"/>
                  </a:lnTo>
                  <a:lnTo>
                    <a:pt x="52" y="330"/>
                  </a:lnTo>
                  <a:lnTo>
                    <a:pt x="54" y="330"/>
                  </a:lnTo>
                  <a:lnTo>
                    <a:pt x="56" y="334"/>
                  </a:lnTo>
                  <a:lnTo>
                    <a:pt x="56" y="334"/>
                  </a:lnTo>
                  <a:lnTo>
                    <a:pt x="58" y="334"/>
                  </a:lnTo>
                  <a:lnTo>
                    <a:pt x="62" y="336"/>
                  </a:lnTo>
                  <a:lnTo>
                    <a:pt x="62" y="336"/>
                  </a:lnTo>
                  <a:lnTo>
                    <a:pt x="62" y="336"/>
                  </a:lnTo>
                  <a:lnTo>
                    <a:pt x="68" y="354"/>
                  </a:lnTo>
                  <a:lnTo>
                    <a:pt x="68" y="354"/>
                  </a:lnTo>
                  <a:lnTo>
                    <a:pt x="68" y="356"/>
                  </a:lnTo>
                  <a:lnTo>
                    <a:pt x="70" y="358"/>
                  </a:lnTo>
                  <a:lnTo>
                    <a:pt x="70" y="358"/>
                  </a:lnTo>
                  <a:lnTo>
                    <a:pt x="72" y="358"/>
                  </a:lnTo>
                  <a:lnTo>
                    <a:pt x="72" y="358"/>
                  </a:lnTo>
                  <a:lnTo>
                    <a:pt x="76" y="360"/>
                  </a:lnTo>
                  <a:lnTo>
                    <a:pt x="76" y="360"/>
                  </a:lnTo>
                  <a:lnTo>
                    <a:pt x="76" y="360"/>
                  </a:lnTo>
                  <a:lnTo>
                    <a:pt x="76" y="362"/>
                  </a:lnTo>
                  <a:lnTo>
                    <a:pt x="76" y="362"/>
                  </a:lnTo>
                  <a:lnTo>
                    <a:pt x="78" y="362"/>
                  </a:lnTo>
                  <a:lnTo>
                    <a:pt x="78" y="362"/>
                  </a:lnTo>
                  <a:lnTo>
                    <a:pt x="78" y="362"/>
                  </a:lnTo>
                  <a:lnTo>
                    <a:pt x="82" y="368"/>
                  </a:lnTo>
                  <a:lnTo>
                    <a:pt x="82" y="368"/>
                  </a:lnTo>
                  <a:lnTo>
                    <a:pt x="84" y="368"/>
                  </a:lnTo>
                  <a:lnTo>
                    <a:pt x="88" y="366"/>
                  </a:lnTo>
                  <a:lnTo>
                    <a:pt x="88" y="366"/>
                  </a:lnTo>
                  <a:lnTo>
                    <a:pt x="88" y="366"/>
                  </a:lnTo>
                  <a:lnTo>
                    <a:pt x="90" y="368"/>
                  </a:lnTo>
                  <a:lnTo>
                    <a:pt x="90" y="368"/>
                  </a:lnTo>
                  <a:lnTo>
                    <a:pt x="94" y="388"/>
                  </a:lnTo>
                  <a:lnTo>
                    <a:pt x="92" y="392"/>
                  </a:lnTo>
                  <a:lnTo>
                    <a:pt x="92" y="396"/>
                  </a:lnTo>
                  <a:lnTo>
                    <a:pt x="90" y="406"/>
                  </a:lnTo>
                  <a:lnTo>
                    <a:pt x="90" y="406"/>
                  </a:lnTo>
                  <a:lnTo>
                    <a:pt x="90" y="406"/>
                  </a:lnTo>
                  <a:lnTo>
                    <a:pt x="90" y="406"/>
                  </a:lnTo>
                  <a:lnTo>
                    <a:pt x="90" y="408"/>
                  </a:lnTo>
                  <a:lnTo>
                    <a:pt x="90" y="408"/>
                  </a:lnTo>
                  <a:lnTo>
                    <a:pt x="92" y="414"/>
                  </a:lnTo>
                  <a:lnTo>
                    <a:pt x="92" y="416"/>
                  </a:lnTo>
                  <a:lnTo>
                    <a:pt x="92" y="416"/>
                  </a:lnTo>
                  <a:lnTo>
                    <a:pt x="92" y="416"/>
                  </a:lnTo>
                  <a:lnTo>
                    <a:pt x="92" y="416"/>
                  </a:lnTo>
                  <a:lnTo>
                    <a:pt x="94" y="418"/>
                  </a:lnTo>
                  <a:lnTo>
                    <a:pt x="94" y="418"/>
                  </a:lnTo>
                  <a:lnTo>
                    <a:pt x="94" y="418"/>
                  </a:lnTo>
                  <a:lnTo>
                    <a:pt x="94" y="418"/>
                  </a:lnTo>
                  <a:lnTo>
                    <a:pt x="94" y="418"/>
                  </a:lnTo>
                  <a:lnTo>
                    <a:pt x="92" y="420"/>
                  </a:lnTo>
                  <a:lnTo>
                    <a:pt x="92" y="420"/>
                  </a:lnTo>
                  <a:lnTo>
                    <a:pt x="94" y="420"/>
                  </a:lnTo>
                  <a:lnTo>
                    <a:pt x="98" y="432"/>
                  </a:lnTo>
                  <a:lnTo>
                    <a:pt x="98" y="432"/>
                  </a:lnTo>
                  <a:lnTo>
                    <a:pt x="98" y="432"/>
                  </a:lnTo>
                  <a:lnTo>
                    <a:pt x="108" y="440"/>
                  </a:lnTo>
                  <a:lnTo>
                    <a:pt x="112" y="448"/>
                  </a:lnTo>
                  <a:lnTo>
                    <a:pt x="112" y="448"/>
                  </a:lnTo>
                  <a:lnTo>
                    <a:pt x="114" y="448"/>
                  </a:lnTo>
                  <a:lnTo>
                    <a:pt x="114" y="448"/>
                  </a:lnTo>
                  <a:lnTo>
                    <a:pt x="114" y="448"/>
                  </a:lnTo>
                  <a:lnTo>
                    <a:pt x="114" y="448"/>
                  </a:lnTo>
                  <a:lnTo>
                    <a:pt x="134" y="472"/>
                  </a:lnTo>
                  <a:lnTo>
                    <a:pt x="146" y="478"/>
                  </a:lnTo>
                  <a:lnTo>
                    <a:pt x="146" y="478"/>
                  </a:lnTo>
                  <a:lnTo>
                    <a:pt x="148" y="480"/>
                  </a:lnTo>
                  <a:lnTo>
                    <a:pt x="148" y="480"/>
                  </a:lnTo>
                  <a:lnTo>
                    <a:pt x="154" y="484"/>
                  </a:lnTo>
                  <a:lnTo>
                    <a:pt x="156" y="484"/>
                  </a:lnTo>
                  <a:lnTo>
                    <a:pt x="156" y="484"/>
                  </a:lnTo>
                  <a:lnTo>
                    <a:pt x="174" y="512"/>
                  </a:lnTo>
                  <a:lnTo>
                    <a:pt x="174" y="512"/>
                  </a:lnTo>
                  <a:lnTo>
                    <a:pt x="190" y="532"/>
                  </a:lnTo>
                  <a:lnTo>
                    <a:pt x="210" y="552"/>
                  </a:lnTo>
                  <a:lnTo>
                    <a:pt x="210" y="552"/>
                  </a:lnTo>
                  <a:lnTo>
                    <a:pt x="210" y="554"/>
                  </a:lnTo>
                  <a:lnTo>
                    <a:pt x="216" y="556"/>
                  </a:lnTo>
                  <a:lnTo>
                    <a:pt x="216" y="556"/>
                  </a:lnTo>
                  <a:lnTo>
                    <a:pt x="218" y="558"/>
                  </a:lnTo>
                  <a:lnTo>
                    <a:pt x="218" y="560"/>
                  </a:lnTo>
                  <a:lnTo>
                    <a:pt x="218" y="560"/>
                  </a:lnTo>
                  <a:lnTo>
                    <a:pt x="220" y="560"/>
                  </a:lnTo>
                  <a:lnTo>
                    <a:pt x="220" y="560"/>
                  </a:lnTo>
                  <a:lnTo>
                    <a:pt x="222" y="562"/>
                  </a:lnTo>
                  <a:lnTo>
                    <a:pt x="222" y="562"/>
                  </a:lnTo>
                  <a:lnTo>
                    <a:pt x="226" y="566"/>
                  </a:lnTo>
                  <a:lnTo>
                    <a:pt x="226" y="566"/>
                  </a:lnTo>
                  <a:lnTo>
                    <a:pt x="228" y="566"/>
                  </a:lnTo>
                  <a:lnTo>
                    <a:pt x="228" y="566"/>
                  </a:lnTo>
                  <a:lnTo>
                    <a:pt x="228" y="566"/>
                  </a:lnTo>
                  <a:lnTo>
                    <a:pt x="230" y="568"/>
                  </a:lnTo>
                  <a:lnTo>
                    <a:pt x="230" y="568"/>
                  </a:lnTo>
                  <a:lnTo>
                    <a:pt x="232" y="570"/>
                  </a:lnTo>
                  <a:lnTo>
                    <a:pt x="234" y="570"/>
                  </a:lnTo>
                  <a:lnTo>
                    <a:pt x="236" y="572"/>
                  </a:lnTo>
                  <a:lnTo>
                    <a:pt x="236" y="572"/>
                  </a:lnTo>
                  <a:lnTo>
                    <a:pt x="236" y="572"/>
                  </a:lnTo>
                  <a:lnTo>
                    <a:pt x="236" y="572"/>
                  </a:lnTo>
                  <a:lnTo>
                    <a:pt x="240" y="574"/>
                  </a:lnTo>
                  <a:lnTo>
                    <a:pt x="242" y="574"/>
                  </a:lnTo>
                  <a:lnTo>
                    <a:pt x="242" y="574"/>
                  </a:lnTo>
                  <a:lnTo>
                    <a:pt x="242" y="574"/>
                  </a:lnTo>
                  <a:lnTo>
                    <a:pt x="242" y="576"/>
                  </a:lnTo>
                  <a:lnTo>
                    <a:pt x="242" y="576"/>
                  </a:lnTo>
                  <a:lnTo>
                    <a:pt x="244" y="578"/>
                  </a:lnTo>
                  <a:lnTo>
                    <a:pt x="244" y="578"/>
                  </a:lnTo>
                  <a:lnTo>
                    <a:pt x="246" y="578"/>
                  </a:lnTo>
                  <a:lnTo>
                    <a:pt x="248" y="580"/>
                  </a:lnTo>
                  <a:lnTo>
                    <a:pt x="248" y="580"/>
                  </a:lnTo>
                  <a:lnTo>
                    <a:pt x="250" y="580"/>
                  </a:lnTo>
                  <a:lnTo>
                    <a:pt x="250" y="580"/>
                  </a:lnTo>
                  <a:lnTo>
                    <a:pt x="250" y="580"/>
                  </a:lnTo>
                  <a:lnTo>
                    <a:pt x="250" y="580"/>
                  </a:lnTo>
                  <a:lnTo>
                    <a:pt x="250" y="580"/>
                  </a:lnTo>
                  <a:lnTo>
                    <a:pt x="250" y="580"/>
                  </a:lnTo>
                  <a:lnTo>
                    <a:pt x="252" y="580"/>
                  </a:lnTo>
                  <a:lnTo>
                    <a:pt x="252" y="580"/>
                  </a:lnTo>
                  <a:lnTo>
                    <a:pt x="252" y="580"/>
                  </a:lnTo>
                  <a:lnTo>
                    <a:pt x="254" y="582"/>
                  </a:lnTo>
                  <a:lnTo>
                    <a:pt x="254" y="582"/>
                  </a:lnTo>
                  <a:lnTo>
                    <a:pt x="232" y="576"/>
                  </a:lnTo>
                  <a:lnTo>
                    <a:pt x="210" y="568"/>
                  </a:lnTo>
                  <a:lnTo>
                    <a:pt x="190" y="558"/>
                  </a:lnTo>
                  <a:lnTo>
                    <a:pt x="170" y="548"/>
                  </a:lnTo>
                  <a:lnTo>
                    <a:pt x="152" y="534"/>
                  </a:lnTo>
                  <a:lnTo>
                    <a:pt x="134" y="520"/>
                  </a:lnTo>
                  <a:lnTo>
                    <a:pt x="118" y="506"/>
                  </a:lnTo>
                  <a:lnTo>
                    <a:pt x="104" y="488"/>
                  </a:lnTo>
                  <a:lnTo>
                    <a:pt x="90" y="470"/>
                  </a:lnTo>
                  <a:lnTo>
                    <a:pt x="78" y="452"/>
                  </a:lnTo>
                  <a:lnTo>
                    <a:pt x="68" y="432"/>
                  </a:lnTo>
                  <a:lnTo>
                    <a:pt x="58" y="410"/>
                  </a:lnTo>
                  <a:lnTo>
                    <a:pt x="52" y="390"/>
                  </a:lnTo>
                  <a:lnTo>
                    <a:pt x="46" y="366"/>
                  </a:lnTo>
                  <a:lnTo>
                    <a:pt x="42" y="344"/>
                  </a:lnTo>
                  <a:lnTo>
                    <a:pt x="42" y="320"/>
                  </a:lnTo>
                  <a:lnTo>
                    <a:pt x="42" y="320"/>
                  </a:lnTo>
                  <a:close/>
                  <a:moveTo>
                    <a:pt x="74" y="296"/>
                  </a:moveTo>
                  <a:lnTo>
                    <a:pt x="74" y="296"/>
                  </a:lnTo>
                  <a:lnTo>
                    <a:pt x="76" y="298"/>
                  </a:lnTo>
                  <a:lnTo>
                    <a:pt x="76" y="298"/>
                  </a:lnTo>
                  <a:lnTo>
                    <a:pt x="78" y="298"/>
                  </a:lnTo>
                  <a:lnTo>
                    <a:pt x="78" y="298"/>
                  </a:lnTo>
                  <a:lnTo>
                    <a:pt x="78" y="298"/>
                  </a:lnTo>
                  <a:lnTo>
                    <a:pt x="78" y="298"/>
                  </a:lnTo>
                  <a:lnTo>
                    <a:pt x="80" y="302"/>
                  </a:lnTo>
                  <a:lnTo>
                    <a:pt x="82" y="306"/>
                  </a:lnTo>
                  <a:lnTo>
                    <a:pt x="82" y="306"/>
                  </a:lnTo>
                  <a:lnTo>
                    <a:pt x="86" y="306"/>
                  </a:lnTo>
                  <a:lnTo>
                    <a:pt x="86" y="306"/>
                  </a:lnTo>
                  <a:lnTo>
                    <a:pt x="90" y="304"/>
                  </a:lnTo>
                  <a:lnTo>
                    <a:pt x="92" y="300"/>
                  </a:lnTo>
                  <a:lnTo>
                    <a:pt x="92" y="300"/>
                  </a:lnTo>
                  <a:lnTo>
                    <a:pt x="92" y="296"/>
                  </a:lnTo>
                  <a:lnTo>
                    <a:pt x="92" y="298"/>
                  </a:lnTo>
                  <a:lnTo>
                    <a:pt x="92" y="298"/>
                  </a:lnTo>
                  <a:lnTo>
                    <a:pt x="92" y="298"/>
                  </a:lnTo>
                  <a:lnTo>
                    <a:pt x="92" y="300"/>
                  </a:lnTo>
                  <a:lnTo>
                    <a:pt x="92" y="300"/>
                  </a:lnTo>
                  <a:lnTo>
                    <a:pt x="94" y="304"/>
                  </a:lnTo>
                  <a:lnTo>
                    <a:pt x="94" y="304"/>
                  </a:lnTo>
                  <a:lnTo>
                    <a:pt x="96" y="304"/>
                  </a:lnTo>
                  <a:lnTo>
                    <a:pt x="96" y="304"/>
                  </a:lnTo>
                  <a:lnTo>
                    <a:pt x="96" y="304"/>
                  </a:lnTo>
                  <a:lnTo>
                    <a:pt x="104" y="302"/>
                  </a:lnTo>
                  <a:lnTo>
                    <a:pt x="104" y="302"/>
                  </a:lnTo>
                  <a:lnTo>
                    <a:pt x="104" y="304"/>
                  </a:lnTo>
                  <a:lnTo>
                    <a:pt x="104" y="304"/>
                  </a:lnTo>
                  <a:lnTo>
                    <a:pt x="104" y="304"/>
                  </a:lnTo>
                  <a:lnTo>
                    <a:pt x="104" y="304"/>
                  </a:lnTo>
                  <a:lnTo>
                    <a:pt x="102" y="306"/>
                  </a:lnTo>
                  <a:lnTo>
                    <a:pt x="102" y="306"/>
                  </a:lnTo>
                  <a:lnTo>
                    <a:pt x="102" y="306"/>
                  </a:lnTo>
                  <a:lnTo>
                    <a:pt x="102" y="306"/>
                  </a:lnTo>
                  <a:lnTo>
                    <a:pt x="96" y="304"/>
                  </a:lnTo>
                  <a:lnTo>
                    <a:pt x="94" y="304"/>
                  </a:lnTo>
                  <a:lnTo>
                    <a:pt x="94" y="304"/>
                  </a:lnTo>
                  <a:lnTo>
                    <a:pt x="94" y="304"/>
                  </a:lnTo>
                  <a:lnTo>
                    <a:pt x="92" y="304"/>
                  </a:lnTo>
                  <a:lnTo>
                    <a:pt x="92" y="304"/>
                  </a:lnTo>
                  <a:lnTo>
                    <a:pt x="88" y="306"/>
                  </a:lnTo>
                  <a:lnTo>
                    <a:pt x="88" y="306"/>
                  </a:lnTo>
                  <a:lnTo>
                    <a:pt x="88" y="310"/>
                  </a:lnTo>
                  <a:lnTo>
                    <a:pt x="88" y="310"/>
                  </a:lnTo>
                  <a:lnTo>
                    <a:pt x="88" y="312"/>
                  </a:lnTo>
                  <a:lnTo>
                    <a:pt x="88" y="312"/>
                  </a:lnTo>
                  <a:lnTo>
                    <a:pt x="94" y="314"/>
                  </a:lnTo>
                  <a:lnTo>
                    <a:pt x="94" y="316"/>
                  </a:lnTo>
                  <a:lnTo>
                    <a:pt x="94" y="316"/>
                  </a:lnTo>
                  <a:lnTo>
                    <a:pt x="96" y="316"/>
                  </a:lnTo>
                  <a:lnTo>
                    <a:pt x="96" y="316"/>
                  </a:lnTo>
                  <a:lnTo>
                    <a:pt x="96" y="316"/>
                  </a:lnTo>
                  <a:lnTo>
                    <a:pt x="96" y="316"/>
                  </a:lnTo>
                  <a:lnTo>
                    <a:pt x="96" y="316"/>
                  </a:lnTo>
                  <a:lnTo>
                    <a:pt x="98" y="316"/>
                  </a:lnTo>
                  <a:lnTo>
                    <a:pt x="102" y="314"/>
                  </a:lnTo>
                  <a:lnTo>
                    <a:pt x="102" y="314"/>
                  </a:lnTo>
                  <a:lnTo>
                    <a:pt x="102" y="314"/>
                  </a:lnTo>
                  <a:lnTo>
                    <a:pt x="102" y="314"/>
                  </a:lnTo>
                  <a:lnTo>
                    <a:pt x="104" y="310"/>
                  </a:lnTo>
                  <a:lnTo>
                    <a:pt x="104" y="310"/>
                  </a:lnTo>
                  <a:lnTo>
                    <a:pt x="104" y="308"/>
                  </a:lnTo>
                  <a:lnTo>
                    <a:pt x="104" y="308"/>
                  </a:lnTo>
                  <a:lnTo>
                    <a:pt x="114" y="312"/>
                  </a:lnTo>
                  <a:lnTo>
                    <a:pt x="114" y="312"/>
                  </a:lnTo>
                  <a:lnTo>
                    <a:pt x="116" y="312"/>
                  </a:lnTo>
                  <a:lnTo>
                    <a:pt x="116" y="312"/>
                  </a:lnTo>
                  <a:lnTo>
                    <a:pt x="116" y="312"/>
                  </a:lnTo>
                  <a:lnTo>
                    <a:pt x="116" y="312"/>
                  </a:lnTo>
                  <a:lnTo>
                    <a:pt x="116" y="312"/>
                  </a:lnTo>
                  <a:lnTo>
                    <a:pt x="116" y="312"/>
                  </a:lnTo>
                  <a:lnTo>
                    <a:pt x="128" y="312"/>
                  </a:lnTo>
                  <a:lnTo>
                    <a:pt x="128" y="312"/>
                  </a:lnTo>
                  <a:lnTo>
                    <a:pt x="128" y="312"/>
                  </a:lnTo>
                  <a:lnTo>
                    <a:pt x="128" y="312"/>
                  </a:lnTo>
                  <a:lnTo>
                    <a:pt x="132" y="312"/>
                  </a:lnTo>
                  <a:lnTo>
                    <a:pt x="138" y="312"/>
                  </a:lnTo>
                  <a:lnTo>
                    <a:pt x="138" y="312"/>
                  </a:lnTo>
                  <a:lnTo>
                    <a:pt x="138" y="312"/>
                  </a:lnTo>
                  <a:lnTo>
                    <a:pt x="138" y="312"/>
                  </a:lnTo>
                  <a:lnTo>
                    <a:pt x="140" y="312"/>
                  </a:lnTo>
                  <a:lnTo>
                    <a:pt x="140" y="312"/>
                  </a:lnTo>
                  <a:lnTo>
                    <a:pt x="142" y="312"/>
                  </a:lnTo>
                  <a:lnTo>
                    <a:pt x="142" y="312"/>
                  </a:lnTo>
                  <a:lnTo>
                    <a:pt x="142" y="314"/>
                  </a:lnTo>
                  <a:lnTo>
                    <a:pt x="142" y="314"/>
                  </a:lnTo>
                  <a:lnTo>
                    <a:pt x="144" y="314"/>
                  </a:lnTo>
                  <a:lnTo>
                    <a:pt x="144" y="314"/>
                  </a:lnTo>
                  <a:lnTo>
                    <a:pt x="146" y="314"/>
                  </a:lnTo>
                  <a:lnTo>
                    <a:pt x="148" y="314"/>
                  </a:lnTo>
                  <a:lnTo>
                    <a:pt x="148" y="314"/>
                  </a:lnTo>
                  <a:lnTo>
                    <a:pt x="148" y="314"/>
                  </a:lnTo>
                  <a:lnTo>
                    <a:pt x="150" y="318"/>
                  </a:lnTo>
                  <a:lnTo>
                    <a:pt x="150" y="318"/>
                  </a:lnTo>
                  <a:lnTo>
                    <a:pt x="150" y="320"/>
                  </a:lnTo>
                  <a:lnTo>
                    <a:pt x="150" y="320"/>
                  </a:lnTo>
                  <a:lnTo>
                    <a:pt x="150" y="324"/>
                  </a:lnTo>
                  <a:lnTo>
                    <a:pt x="150" y="326"/>
                  </a:lnTo>
                  <a:lnTo>
                    <a:pt x="150" y="326"/>
                  </a:lnTo>
                  <a:lnTo>
                    <a:pt x="150" y="328"/>
                  </a:lnTo>
                  <a:lnTo>
                    <a:pt x="152" y="328"/>
                  </a:lnTo>
                  <a:lnTo>
                    <a:pt x="152" y="330"/>
                  </a:lnTo>
                  <a:lnTo>
                    <a:pt x="152" y="330"/>
                  </a:lnTo>
                  <a:lnTo>
                    <a:pt x="152" y="330"/>
                  </a:lnTo>
                  <a:lnTo>
                    <a:pt x="152" y="330"/>
                  </a:lnTo>
                  <a:lnTo>
                    <a:pt x="150" y="332"/>
                  </a:lnTo>
                  <a:lnTo>
                    <a:pt x="150" y="332"/>
                  </a:lnTo>
                  <a:lnTo>
                    <a:pt x="152" y="336"/>
                  </a:lnTo>
                  <a:lnTo>
                    <a:pt x="152" y="336"/>
                  </a:lnTo>
                  <a:lnTo>
                    <a:pt x="152" y="338"/>
                  </a:lnTo>
                  <a:lnTo>
                    <a:pt x="152" y="338"/>
                  </a:lnTo>
                  <a:lnTo>
                    <a:pt x="152" y="340"/>
                  </a:lnTo>
                  <a:lnTo>
                    <a:pt x="152" y="340"/>
                  </a:lnTo>
                  <a:lnTo>
                    <a:pt x="152" y="340"/>
                  </a:lnTo>
                  <a:lnTo>
                    <a:pt x="152" y="340"/>
                  </a:lnTo>
                  <a:lnTo>
                    <a:pt x="152" y="342"/>
                  </a:lnTo>
                  <a:lnTo>
                    <a:pt x="152" y="342"/>
                  </a:lnTo>
                  <a:lnTo>
                    <a:pt x="152" y="346"/>
                  </a:lnTo>
                  <a:lnTo>
                    <a:pt x="152" y="346"/>
                  </a:lnTo>
                  <a:lnTo>
                    <a:pt x="152" y="346"/>
                  </a:lnTo>
                  <a:lnTo>
                    <a:pt x="152" y="348"/>
                  </a:lnTo>
                  <a:lnTo>
                    <a:pt x="154" y="350"/>
                  </a:lnTo>
                  <a:lnTo>
                    <a:pt x="154" y="350"/>
                  </a:lnTo>
                  <a:lnTo>
                    <a:pt x="154" y="350"/>
                  </a:lnTo>
                  <a:lnTo>
                    <a:pt x="156" y="352"/>
                  </a:lnTo>
                  <a:lnTo>
                    <a:pt x="150" y="348"/>
                  </a:lnTo>
                  <a:lnTo>
                    <a:pt x="150" y="348"/>
                  </a:lnTo>
                  <a:lnTo>
                    <a:pt x="150" y="346"/>
                  </a:lnTo>
                  <a:lnTo>
                    <a:pt x="140" y="344"/>
                  </a:lnTo>
                  <a:lnTo>
                    <a:pt x="140" y="344"/>
                  </a:lnTo>
                  <a:lnTo>
                    <a:pt x="140" y="344"/>
                  </a:lnTo>
                  <a:lnTo>
                    <a:pt x="138" y="344"/>
                  </a:lnTo>
                  <a:lnTo>
                    <a:pt x="138" y="344"/>
                  </a:lnTo>
                  <a:lnTo>
                    <a:pt x="138" y="346"/>
                  </a:lnTo>
                  <a:lnTo>
                    <a:pt x="136" y="346"/>
                  </a:lnTo>
                  <a:lnTo>
                    <a:pt x="128" y="344"/>
                  </a:lnTo>
                  <a:lnTo>
                    <a:pt x="122" y="336"/>
                  </a:lnTo>
                  <a:lnTo>
                    <a:pt x="122" y="336"/>
                  </a:lnTo>
                  <a:lnTo>
                    <a:pt x="120" y="336"/>
                  </a:lnTo>
                  <a:lnTo>
                    <a:pt x="120" y="336"/>
                  </a:lnTo>
                  <a:lnTo>
                    <a:pt x="120" y="336"/>
                  </a:lnTo>
                  <a:lnTo>
                    <a:pt x="118" y="336"/>
                  </a:lnTo>
                  <a:lnTo>
                    <a:pt x="116" y="338"/>
                  </a:lnTo>
                  <a:lnTo>
                    <a:pt x="114" y="338"/>
                  </a:lnTo>
                  <a:lnTo>
                    <a:pt x="114" y="338"/>
                  </a:lnTo>
                  <a:lnTo>
                    <a:pt x="112" y="336"/>
                  </a:lnTo>
                  <a:lnTo>
                    <a:pt x="112" y="336"/>
                  </a:lnTo>
                  <a:lnTo>
                    <a:pt x="110" y="336"/>
                  </a:lnTo>
                  <a:lnTo>
                    <a:pt x="100" y="342"/>
                  </a:lnTo>
                  <a:lnTo>
                    <a:pt x="100" y="342"/>
                  </a:lnTo>
                  <a:lnTo>
                    <a:pt x="98" y="344"/>
                  </a:lnTo>
                  <a:lnTo>
                    <a:pt x="98" y="344"/>
                  </a:lnTo>
                  <a:lnTo>
                    <a:pt x="98" y="344"/>
                  </a:lnTo>
                  <a:lnTo>
                    <a:pt x="94" y="352"/>
                  </a:lnTo>
                  <a:lnTo>
                    <a:pt x="90" y="350"/>
                  </a:lnTo>
                  <a:lnTo>
                    <a:pt x="90" y="350"/>
                  </a:lnTo>
                  <a:lnTo>
                    <a:pt x="90" y="350"/>
                  </a:lnTo>
                  <a:lnTo>
                    <a:pt x="90" y="350"/>
                  </a:lnTo>
                  <a:lnTo>
                    <a:pt x="90" y="350"/>
                  </a:lnTo>
                  <a:lnTo>
                    <a:pt x="88" y="350"/>
                  </a:lnTo>
                  <a:lnTo>
                    <a:pt x="88" y="350"/>
                  </a:lnTo>
                  <a:lnTo>
                    <a:pt x="88" y="350"/>
                  </a:lnTo>
                  <a:lnTo>
                    <a:pt x="82" y="350"/>
                  </a:lnTo>
                  <a:lnTo>
                    <a:pt x="80" y="346"/>
                  </a:lnTo>
                  <a:lnTo>
                    <a:pt x="80" y="326"/>
                  </a:lnTo>
                  <a:lnTo>
                    <a:pt x="80" y="326"/>
                  </a:lnTo>
                  <a:lnTo>
                    <a:pt x="80" y="324"/>
                  </a:lnTo>
                  <a:lnTo>
                    <a:pt x="80" y="324"/>
                  </a:lnTo>
                  <a:lnTo>
                    <a:pt x="80" y="322"/>
                  </a:lnTo>
                  <a:lnTo>
                    <a:pt x="80" y="322"/>
                  </a:lnTo>
                  <a:lnTo>
                    <a:pt x="76" y="316"/>
                  </a:lnTo>
                  <a:lnTo>
                    <a:pt x="74" y="316"/>
                  </a:lnTo>
                  <a:lnTo>
                    <a:pt x="74" y="316"/>
                  </a:lnTo>
                  <a:lnTo>
                    <a:pt x="74" y="316"/>
                  </a:lnTo>
                  <a:lnTo>
                    <a:pt x="74" y="316"/>
                  </a:lnTo>
                  <a:lnTo>
                    <a:pt x="72" y="314"/>
                  </a:lnTo>
                  <a:lnTo>
                    <a:pt x="68" y="314"/>
                  </a:lnTo>
                  <a:lnTo>
                    <a:pt x="68" y="314"/>
                  </a:lnTo>
                  <a:lnTo>
                    <a:pt x="68" y="314"/>
                  </a:lnTo>
                  <a:lnTo>
                    <a:pt x="68" y="308"/>
                  </a:lnTo>
                  <a:lnTo>
                    <a:pt x="74" y="290"/>
                  </a:lnTo>
                  <a:lnTo>
                    <a:pt x="74" y="290"/>
                  </a:lnTo>
                  <a:lnTo>
                    <a:pt x="74" y="292"/>
                  </a:lnTo>
                  <a:lnTo>
                    <a:pt x="74" y="292"/>
                  </a:lnTo>
                  <a:lnTo>
                    <a:pt x="74" y="292"/>
                  </a:lnTo>
                  <a:lnTo>
                    <a:pt x="74" y="296"/>
                  </a:lnTo>
                  <a:lnTo>
                    <a:pt x="74" y="296"/>
                  </a:lnTo>
                  <a:close/>
                  <a:moveTo>
                    <a:pt x="316" y="590"/>
                  </a:moveTo>
                  <a:lnTo>
                    <a:pt x="316" y="590"/>
                  </a:lnTo>
                  <a:lnTo>
                    <a:pt x="296" y="588"/>
                  </a:lnTo>
                  <a:lnTo>
                    <a:pt x="276" y="586"/>
                  </a:lnTo>
                  <a:lnTo>
                    <a:pt x="276" y="586"/>
                  </a:lnTo>
                  <a:lnTo>
                    <a:pt x="278" y="586"/>
                  </a:lnTo>
                  <a:lnTo>
                    <a:pt x="278" y="586"/>
                  </a:lnTo>
                  <a:lnTo>
                    <a:pt x="278" y="584"/>
                  </a:lnTo>
                  <a:lnTo>
                    <a:pt x="278" y="584"/>
                  </a:lnTo>
                  <a:lnTo>
                    <a:pt x="278" y="584"/>
                  </a:lnTo>
                  <a:lnTo>
                    <a:pt x="278" y="584"/>
                  </a:lnTo>
                  <a:lnTo>
                    <a:pt x="278" y="584"/>
                  </a:lnTo>
                  <a:lnTo>
                    <a:pt x="278" y="584"/>
                  </a:lnTo>
                  <a:lnTo>
                    <a:pt x="278" y="584"/>
                  </a:lnTo>
                  <a:lnTo>
                    <a:pt x="278" y="584"/>
                  </a:lnTo>
                  <a:lnTo>
                    <a:pt x="280" y="584"/>
                  </a:lnTo>
                  <a:lnTo>
                    <a:pt x="280" y="584"/>
                  </a:lnTo>
                  <a:lnTo>
                    <a:pt x="280" y="582"/>
                  </a:lnTo>
                  <a:lnTo>
                    <a:pt x="280" y="582"/>
                  </a:lnTo>
                  <a:lnTo>
                    <a:pt x="280" y="580"/>
                  </a:lnTo>
                  <a:lnTo>
                    <a:pt x="278" y="576"/>
                  </a:lnTo>
                  <a:lnTo>
                    <a:pt x="278" y="576"/>
                  </a:lnTo>
                  <a:lnTo>
                    <a:pt x="274" y="574"/>
                  </a:lnTo>
                  <a:lnTo>
                    <a:pt x="274" y="574"/>
                  </a:lnTo>
                  <a:lnTo>
                    <a:pt x="274" y="574"/>
                  </a:lnTo>
                  <a:lnTo>
                    <a:pt x="274" y="574"/>
                  </a:lnTo>
                  <a:lnTo>
                    <a:pt x="272" y="576"/>
                  </a:lnTo>
                  <a:lnTo>
                    <a:pt x="272" y="576"/>
                  </a:lnTo>
                  <a:lnTo>
                    <a:pt x="272" y="576"/>
                  </a:lnTo>
                  <a:lnTo>
                    <a:pt x="272" y="576"/>
                  </a:lnTo>
                  <a:lnTo>
                    <a:pt x="270" y="578"/>
                  </a:lnTo>
                  <a:lnTo>
                    <a:pt x="270" y="578"/>
                  </a:lnTo>
                  <a:lnTo>
                    <a:pt x="272" y="580"/>
                  </a:lnTo>
                  <a:lnTo>
                    <a:pt x="268" y="578"/>
                  </a:lnTo>
                  <a:lnTo>
                    <a:pt x="268" y="578"/>
                  </a:lnTo>
                  <a:lnTo>
                    <a:pt x="266" y="578"/>
                  </a:lnTo>
                  <a:lnTo>
                    <a:pt x="266" y="578"/>
                  </a:lnTo>
                  <a:lnTo>
                    <a:pt x="266" y="578"/>
                  </a:lnTo>
                  <a:lnTo>
                    <a:pt x="264" y="578"/>
                  </a:lnTo>
                  <a:lnTo>
                    <a:pt x="264" y="578"/>
                  </a:lnTo>
                  <a:lnTo>
                    <a:pt x="264" y="578"/>
                  </a:lnTo>
                  <a:lnTo>
                    <a:pt x="262" y="576"/>
                  </a:lnTo>
                  <a:lnTo>
                    <a:pt x="258" y="570"/>
                  </a:lnTo>
                  <a:lnTo>
                    <a:pt x="258" y="570"/>
                  </a:lnTo>
                  <a:lnTo>
                    <a:pt x="258" y="570"/>
                  </a:lnTo>
                  <a:lnTo>
                    <a:pt x="258" y="570"/>
                  </a:lnTo>
                  <a:lnTo>
                    <a:pt x="256" y="568"/>
                  </a:lnTo>
                  <a:lnTo>
                    <a:pt x="256" y="568"/>
                  </a:lnTo>
                  <a:lnTo>
                    <a:pt x="254" y="568"/>
                  </a:lnTo>
                  <a:lnTo>
                    <a:pt x="252" y="566"/>
                  </a:lnTo>
                  <a:lnTo>
                    <a:pt x="252" y="566"/>
                  </a:lnTo>
                  <a:lnTo>
                    <a:pt x="252" y="566"/>
                  </a:lnTo>
                  <a:lnTo>
                    <a:pt x="252" y="566"/>
                  </a:lnTo>
                  <a:lnTo>
                    <a:pt x="244" y="558"/>
                  </a:lnTo>
                  <a:lnTo>
                    <a:pt x="244" y="558"/>
                  </a:lnTo>
                  <a:lnTo>
                    <a:pt x="244" y="556"/>
                  </a:lnTo>
                  <a:lnTo>
                    <a:pt x="242" y="556"/>
                  </a:lnTo>
                  <a:lnTo>
                    <a:pt x="242" y="556"/>
                  </a:lnTo>
                  <a:lnTo>
                    <a:pt x="244" y="554"/>
                  </a:lnTo>
                  <a:lnTo>
                    <a:pt x="244" y="554"/>
                  </a:lnTo>
                  <a:lnTo>
                    <a:pt x="242" y="552"/>
                  </a:lnTo>
                  <a:lnTo>
                    <a:pt x="246" y="550"/>
                  </a:lnTo>
                  <a:lnTo>
                    <a:pt x="246" y="550"/>
                  </a:lnTo>
                  <a:lnTo>
                    <a:pt x="246" y="548"/>
                  </a:lnTo>
                  <a:lnTo>
                    <a:pt x="246" y="548"/>
                  </a:lnTo>
                  <a:lnTo>
                    <a:pt x="246" y="548"/>
                  </a:lnTo>
                  <a:lnTo>
                    <a:pt x="246" y="542"/>
                  </a:lnTo>
                  <a:lnTo>
                    <a:pt x="246" y="542"/>
                  </a:lnTo>
                  <a:lnTo>
                    <a:pt x="246" y="542"/>
                  </a:lnTo>
                  <a:lnTo>
                    <a:pt x="246" y="542"/>
                  </a:lnTo>
                  <a:lnTo>
                    <a:pt x="244" y="540"/>
                  </a:lnTo>
                  <a:lnTo>
                    <a:pt x="244" y="540"/>
                  </a:lnTo>
                  <a:lnTo>
                    <a:pt x="244" y="540"/>
                  </a:lnTo>
                  <a:lnTo>
                    <a:pt x="246" y="538"/>
                  </a:lnTo>
                  <a:lnTo>
                    <a:pt x="246" y="538"/>
                  </a:lnTo>
                  <a:lnTo>
                    <a:pt x="246" y="538"/>
                  </a:lnTo>
                  <a:lnTo>
                    <a:pt x="248" y="534"/>
                  </a:lnTo>
                  <a:lnTo>
                    <a:pt x="248" y="534"/>
                  </a:lnTo>
                  <a:lnTo>
                    <a:pt x="248" y="534"/>
                  </a:lnTo>
                  <a:lnTo>
                    <a:pt x="248" y="532"/>
                  </a:lnTo>
                  <a:lnTo>
                    <a:pt x="250" y="528"/>
                  </a:lnTo>
                  <a:lnTo>
                    <a:pt x="250" y="528"/>
                  </a:lnTo>
                  <a:lnTo>
                    <a:pt x="250" y="528"/>
                  </a:lnTo>
                  <a:lnTo>
                    <a:pt x="250" y="526"/>
                  </a:lnTo>
                  <a:lnTo>
                    <a:pt x="250" y="526"/>
                  </a:lnTo>
                  <a:lnTo>
                    <a:pt x="250" y="524"/>
                  </a:lnTo>
                  <a:lnTo>
                    <a:pt x="250" y="522"/>
                  </a:lnTo>
                  <a:lnTo>
                    <a:pt x="250" y="522"/>
                  </a:lnTo>
                  <a:lnTo>
                    <a:pt x="250" y="522"/>
                  </a:lnTo>
                  <a:lnTo>
                    <a:pt x="250" y="520"/>
                  </a:lnTo>
                  <a:lnTo>
                    <a:pt x="246" y="508"/>
                  </a:lnTo>
                  <a:lnTo>
                    <a:pt x="246" y="508"/>
                  </a:lnTo>
                  <a:lnTo>
                    <a:pt x="264" y="498"/>
                  </a:lnTo>
                  <a:lnTo>
                    <a:pt x="264" y="498"/>
                  </a:lnTo>
                  <a:lnTo>
                    <a:pt x="264" y="496"/>
                  </a:lnTo>
                  <a:lnTo>
                    <a:pt x="266" y="492"/>
                  </a:lnTo>
                  <a:lnTo>
                    <a:pt x="266" y="492"/>
                  </a:lnTo>
                  <a:lnTo>
                    <a:pt x="268" y="476"/>
                  </a:lnTo>
                  <a:lnTo>
                    <a:pt x="268" y="476"/>
                  </a:lnTo>
                  <a:lnTo>
                    <a:pt x="268" y="474"/>
                  </a:lnTo>
                  <a:lnTo>
                    <a:pt x="264" y="460"/>
                  </a:lnTo>
                  <a:lnTo>
                    <a:pt x="266" y="458"/>
                  </a:lnTo>
                  <a:lnTo>
                    <a:pt x="268" y="458"/>
                  </a:lnTo>
                  <a:lnTo>
                    <a:pt x="268" y="458"/>
                  </a:lnTo>
                  <a:lnTo>
                    <a:pt x="270" y="456"/>
                  </a:lnTo>
                  <a:lnTo>
                    <a:pt x="270" y="456"/>
                  </a:lnTo>
                  <a:lnTo>
                    <a:pt x="270" y="456"/>
                  </a:lnTo>
                  <a:lnTo>
                    <a:pt x="270" y="456"/>
                  </a:lnTo>
                  <a:lnTo>
                    <a:pt x="274" y="448"/>
                  </a:lnTo>
                  <a:lnTo>
                    <a:pt x="274" y="448"/>
                  </a:lnTo>
                  <a:lnTo>
                    <a:pt x="274" y="448"/>
                  </a:lnTo>
                  <a:lnTo>
                    <a:pt x="280" y="440"/>
                  </a:lnTo>
                  <a:lnTo>
                    <a:pt x="280" y="440"/>
                  </a:lnTo>
                  <a:lnTo>
                    <a:pt x="280" y="438"/>
                  </a:lnTo>
                  <a:lnTo>
                    <a:pt x="280" y="438"/>
                  </a:lnTo>
                  <a:lnTo>
                    <a:pt x="280" y="438"/>
                  </a:lnTo>
                  <a:lnTo>
                    <a:pt x="278" y="424"/>
                  </a:lnTo>
                  <a:lnTo>
                    <a:pt x="278" y="424"/>
                  </a:lnTo>
                  <a:lnTo>
                    <a:pt x="276" y="422"/>
                  </a:lnTo>
                  <a:lnTo>
                    <a:pt x="276" y="422"/>
                  </a:lnTo>
                  <a:lnTo>
                    <a:pt x="252" y="410"/>
                  </a:lnTo>
                  <a:lnTo>
                    <a:pt x="252" y="410"/>
                  </a:lnTo>
                  <a:lnTo>
                    <a:pt x="252" y="410"/>
                  </a:lnTo>
                  <a:lnTo>
                    <a:pt x="232" y="408"/>
                  </a:lnTo>
                  <a:lnTo>
                    <a:pt x="226" y="406"/>
                  </a:lnTo>
                  <a:lnTo>
                    <a:pt x="218" y="400"/>
                  </a:lnTo>
                  <a:lnTo>
                    <a:pt x="218" y="400"/>
                  </a:lnTo>
                  <a:lnTo>
                    <a:pt x="218" y="400"/>
                  </a:lnTo>
                  <a:lnTo>
                    <a:pt x="216" y="398"/>
                  </a:lnTo>
                  <a:lnTo>
                    <a:pt x="216" y="398"/>
                  </a:lnTo>
                  <a:lnTo>
                    <a:pt x="216" y="398"/>
                  </a:lnTo>
                  <a:lnTo>
                    <a:pt x="216" y="396"/>
                  </a:lnTo>
                  <a:lnTo>
                    <a:pt x="216" y="396"/>
                  </a:lnTo>
                  <a:lnTo>
                    <a:pt x="216" y="394"/>
                  </a:lnTo>
                  <a:lnTo>
                    <a:pt x="216" y="394"/>
                  </a:lnTo>
                  <a:lnTo>
                    <a:pt x="214" y="394"/>
                  </a:lnTo>
                  <a:lnTo>
                    <a:pt x="214" y="394"/>
                  </a:lnTo>
                  <a:lnTo>
                    <a:pt x="208" y="390"/>
                  </a:lnTo>
                  <a:lnTo>
                    <a:pt x="202" y="380"/>
                  </a:lnTo>
                  <a:lnTo>
                    <a:pt x="202" y="380"/>
                  </a:lnTo>
                  <a:lnTo>
                    <a:pt x="200" y="378"/>
                  </a:lnTo>
                  <a:lnTo>
                    <a:pt x="200" y="378"/>
                  </a:lnTo>
                  <a:lnTo>
                    <a:pt x="200" y="378"/>
                  </a:lnTo>
                  <a:lnTo>
                    <a:pt x="200" y="378"/>
                  </a:lnTo>
                  <a:lnTo>
                    <a:pt x="188" y="372"/>
                  </a:lnTo>
                  <a:lnTo>
                    <a:pt x="184" y="368"/>
                  </a:lnTo>
                  <a:lnTo>
                    <a:pt x="184" y="368"/>
                  </a:lnTo>
                  <a:lnTo>
                    <a:pt x="182" y="368"/>
                  </a:lnTo>
                  <a:lnTo>
                    <a:pt x="174" y="370"/>
                  </a:lnTo>
                  <a:lnTo>
                    <a:pt x="166" y="362"/>
                  </a:lnTo>
                  <a:lnTo>
                    <a:pt x="166" y="362"/>
                  </a:lnTo>
                  <a:lnTo>
                    <a:pt x="168" y="360"/>
                  </a:lnTo>
                  <a:lnTo>
                    <a:pt x="168" y="360"/>
                  </a:lnTo>
                  <a:lnTo>
                    <a:pt x="168" y="360"/>
                  </a:lnTo>
                  <a:lnTo>
                    <a:pt x="170" y="358"/>
                  </a:lnTo>
                  <a:lnTo>
                    <a:pt x="170" y="358"/>
                  </a:lnTo>
                  <a:lnTo>
                    <a:pt x="170" y="354"/>
                  </a:lnTo>
                  <a:lnTo>
                    <a:pt x="172" y="352"/>
                  </a:lnTo>
                  <a:lnTo>
                    <a:pt x="172" y="352"/>
                  </a:lnTo>
                  <a:lnTo>
                    <a:pt x="172" y="350"/>
                  </a:lnTo>
                  <a:lnTo>
                    <a:pt x="172" y="350"/>
                  </a:lnTo>
                  <a:lnTo>
                    <a:pt x="172" y="350"/>
                  </a:lnTo>
                  <a:lnTo>
                    <a:pt x="172" y="348"/>
                  </a:lnTo>
                  <a:lnTo>
                    <a:pt x="170" y="346"/>
                  </a:lnTo>
                  <a:lnTo>
                    <a:pt x="170" y="346"/>
                  </a:lnTo>
                  <a:lnTo>
                    <a:pt x="162" y="346"/>
                  </a:lnTo>
                  <a:lnTo>
                    <a:pt x="162" y="346"/>
                  </a:lnTo>
                  <a:lnTo>
                    <a:pt x="162" y="346"/>
                  </a:lnTo>
                  <a:lnTo>
                    <a:pt x="162" y="346"/>
                  </a:lnTo>
                  <a:lnTo>
                    <a:pt x="162" y="342"/>
                  </a:lnTo>
                  <a:lnTo>
                    <a:pt x="162" y="342"/>
                  </a:lnTo>
                  <a:lnTo>
                    <a:pt x="162" y="340"/>
                  </a:lnTo>
                  <a:lnTo>
                    <a:pt x="162" y="340"/>
                  </a:lnTo>
                  <a:lnTo>
                    <a:pt x="162" y="336"/>
                  </a:lnTo>
                  <a:lnTo>
                    <a:pt x="162" y="336"/>
                  </a:lnTo>
                  <a:lnTo>
                    <a:pt x="160" y="332"/>
                  </a:lnTo>
                  <a:lnTo>
                    <a:pt x="160" y="332"/>
                  </a:lnTo>
                  <a:lnTo>
                    <a:pt x="162" y="330"/>
                  </a:lnTo>
                  <a:lnTo>
                    <a:pt x="162" y="330"/>
                  </a:lnTo>
                  <a:lnTo>
                    <a:pt x="162" y="328"/>
                  </a:lnTo>
                  <a:lnTo>
                    <a:pt x="160" y="324"/>
                  </a:lnTo>
                  <a:lnTo>
                    <a:pt x="160" y="324"/>
                  </a:lnTo>
                  <a:lnTo>
                    <a:pt x="160" y="324"/>
                  </a:lnTo>
                  <a:lnTo>
                    <a:pt x="160" y="324"/>
                  </a:lnTo>
                  <a:lnTo>
                    <a:pt x="160" y="322"/>
                  </a:lnTo>
                  <a:lnTo>
                    <a:pt x="160" y="322"/>
                  </a:lnTo>
                  <a:lnTo>
                    <a:pt x="162" y="320"/>
                  </a:lnTo>
                  <a:lnTo>
                    <a:pt x="162" y="320"/>
                  </a:lnTo>
                  <a:lnTo>
                    <a:pt x="160" y="314"/>
                  </a:lnTo>
                  <a:lnTo>
                    <a:pt x="160" y="314"/>
                  </a:lnTo>
                  <a:lnTo>
                    <a:pt x="158" y="312"/>
                  </a:lnTo>
                  <a:lnTo>
                    <a:pt x="158" y="312"/>
                  </a:lnTo>
                  <a:lnTo>
                    <a:pt x="158" y="312"/>
                  </a:lnTo>
                  <a:lnTo>
                    <a:pt x="158" y="312"/>
                  </a:lnTo>
                  <a:lnTo>
                    <a:pt x="158" y="310"/>
                  </a:lnTo>
                  <a:lnTo>
                    <a:pt x="158" y="310"/>
                  </a:lnTo>
                  <a:lnTo>
                    <a:pt x="156" y="308"/>
                  </a:lnTo>
                  <a:lnTo>
                    <a:pt x="154" y="308"/>
                  </a:lnTo>
                  <a:lnTo>
                    <a:pt x="154" y="308"/>
                  </a:lnTo>
                  <a:lnTo>
                    <a:pt x="152" y="306"/>
                  </a:lnTo>
                  <a:lnTo>
                    <a:pt x="152" y="306"/>
                  </a:lnTo>
                  <a:lnTo>
                    <a:pt x="144" y="304"/>
                  </a:lnTo>
                  <a:lnTo>
                    <a:pt x="144" y="304"/>
                  </a:lnTo>
                  <a:lnTo>
                    <a:pt x="142" y="304"/>
                  </a:lnTo>
                  <a:lnTo>
                    <a:pt x="142" y="304"/>
                  </a:lnTo>
                  <a:lnTo>
                    <a:pt x="140" y="304"/>
                  </a:lnTo>
                  <a:lnTo>
                    <a:pt x="140" y="304"/>
                  </a:lnTo>
                  <a:lnTo>
                    <a:pt x="138" y="304"/>
                  </a:lnTo>
                  <a:lnTo>
                    <a:pt x="138" y="304"/>
                  </a:lnTo>
                  <a:lnTo>
                    <a:pt x="136" y="302"/>
                  </a:lnTo>
                  <a:lnTo>
                    <a:pt x="134" y="302"/>
                  </a:lnTo>
                  <a:lnTo>
                    <a:pt x="134" y="302"/>
                  </a:lnTo>
                  <a:lnTo>
                    <a:pt x="130" y="300"/>
                  </a:lnTo>
                  <a:lnTo>
                    <a:pt x="130" y="300"/>
                  </a:lnTo>
                  <a:lnTo>
                    <a:pt x="128" y="302"/>
                  </a:lnTo>
                  <a:lnTo>
                    <a:pt x="128" y="302"/>
                  </a:lnTo>
                  <a:lnTo>
                    <a:pt x="122" y="298"/>
                  </a:lnTo>
                  <a:lnTo>
                    <a:pt x="118" y="296"/>
                  </a:lnTo>
                  <a:lnTo>
                    <a:pt x="118" y="296"/>
                  </a:lnTo>
                  <a:lnTo>
                    <a:pt x="116" y="296"/>
                  </a:lnTo>
                  <a:lnTo>
                    <a:pt x="116" y="296"/>
                  </a:lnTo>
                  <a:lnTo>
                    <a:pt x="114" y="296"/>
                  </a:lnTo>
                  <a:lnTo>
                    <a:pt x="114" y="296"/>
                  </a:lnTo>
                  <a:lnTo>
                    <a:pt x="114" y="296"/>
                  </a:lnTo>
                  <a:lnTo>
                    <a:pt x="114" y="296"/>
                  </a:lnTo>
                  <a:lnTo>
                    <a:pt x="114" y="296"/>
                  </a:lnTo>
                  <a:lnTo>
                    <a:pt x="112" y="296"/>
                  </a:lnTo>
                  <a:lnTo>
                    <a:pt x="112" y="296"/>
                  </a:lnTo>
                  <a:lnTo>
                    <a:pt x="112" y="296"/>
                  </a:lnTo>
                  <a:lnTo>
                    <a:pt x="112" y="296"/>
                  </a:lnTo>
                  <a:lnTo>
                    <a:pt x="112" y="296"/>
                  </a:lnTo>
                  <a:lnTo>
                    <a:pt x="112" y="296"/>
                  </a:lnTo>
                  <a:lnTo>
                    <a:pt x="112" y="296"/>
                  </a:lnTo>
                  <a:lnTo>
                    <a:pt x="112" y="296"/>
                  </a:lnTo>
                  <a:lnTo>
                    <a:pt x="112" y="296"/>
                  </a:lnTo>
                  <a:lnTo>
                    <a:pt x="112" y="296"/>
                  </a:lnTo>
                  <a:lnTo>
                    <a:pt x="114" y="296"/>
                  </a:lnTo>
                  <a:lnTo>
                    <a:pt x="114" y="296"/>
                  </a:lnTo>
                  <a:lnTo>
                    <a:pt x="114" y="296"/>
                  </a:lnTo>
                  <a:lnTo>
                    <a:pt x="114" y="296"/>
                  </a:lnTo>
                  <a:lnTo>
                    <a:pt x="116" y="296"/>
                  </a:lnTo>
                  <a:lnTo>
                    <a:pt x="118" y="294"/>
                  </a:lnTo>
                  <a:lnTo>
                    <a:pt x="118" y="294"/>
                  </a:lnTo>
                  <a:lnTo>
                    <a:pt x="116" y="288"/>
                  </a:lnTo>
                  <a:lnTo>
                    <a:pt x="116" y="288"/>
                  </a:lnTo>
                  <a:lnTo>
                    <a:pt x="114" y="286"/>
                  </a:lnTo>
                  <a:lnTo>
                    <a:pt x="112" y="286"/>
                  </a:lnTo>
                  <a:lnTo>
                    <a:pt x="112" y="286"/>
                  </a:lnTo>
                  <a:lnTo>
                    <a:pt x="110" y="288"/>
                  </a:lnTo>
                  <a:lnTo>
                    <a:pt x="110" y="288"/>
                  </a:lnTo>
                  <a:lnTo>
                    <a:pt x="108" y="290"/>
                  </a:lnTo>
                  <a:lnTo>
                    <a:pt x="108" y="290"/>
                  </a:lnTo>
                  <a:lnTo>
                    <a:pt x="108" y="290"/>
                  </a:lnTo>
                  <a:lnTo>
                    <a:pt x="100" y="286"/>
                  </a:lnTo>
                  <a:lnTo>
                    <a:pt x="100" y="286"/>
                  </a:lnTo>
                  <a:lnTo>
                    <a:pt x="88" y="278"/>
                  </a:lnTo>
                  <a:lnTo>
                    <a:pt x="88" y="278"/>
                  </a:lnTo>
                  <a:lnTo>
                    <a:pt x="86" y="276"/>
                  </a:lnTo>
                  <a:lnTo>
                    <a:pt x="86" y="276"/>
                  </a:lnTo>
                  <a:lnTo>
                    <a:pt x="86" y="276"/>
                  </a:lnTo>
                  <a:lnTo>
                    <a:pt x="78" y="278"/>
                  </a:lnTo>
                  <a:lnTo>
                    <a:pt x="78" y="278"/>
                  </a:lnTo>
                  <a:lnTo>
                    <a:pt x="78" y="278"/>
                  </a:lnTo>
                  <a:lnTo>
                    <a:pt x="78" y="278"/>
                  </a:lnTo>
                  <a:lnTo>
                    <a:pt x="76" y="280"/>
                  </a:lnTo>
                  <a:lnTo>
                    <a:pt x="74" y="286"/>
                  </a:lnTo>
                  <a:lnTo>
                    <a:pt x="74" y="286"/>
                  </a:lnTo>
                  <a:lnTo>
                    <a:pt x="72" y="286"/>
                  </a:lnTo>
                  <a:lnTo>
                    <a:pt x="72" y="286"/>
                  </a:lnTo>
                  <a:lnTo>
                    <a:pt x="72" y="286"/>
                  </a:lnTo>
                  <a:lnTo>
                    <a:pt x="60" y="288"/>
                  </a:lnTo>
                  <a:lnTo>
                    <a:pt x="60" y="288"/>
                  </a:lnTo>
                  <a:lnTo>
                    <a:pt x="58" y="290"/>
                  </a:lnTo>
                  <a:lnTo>
                    <a:pt x="56" y="298"/>
                  </a:lnTo>
                  <a:lnTo>
                    <a:pt x="52" y="298"/>
                  </a:lnTo>
                  <a:lnTo>
                    <a:pt x="48" y="290"/>
                  </a:lnTo>
                  <a:lnTo>
                    <a:pt x="52" y="274"/>
                  </a:lnTo>
                  <a:lnTo>
                    <a:pt x="54" y="266"/>
                  </a:lnTo>
                  <a:lnTo>
                    <a:pt x="58" y="262"/>
                  </a:lnTo>
                  <a:lnTo>
                    <a:pt x="58" y="262"/>
                  </a:lnTo>
                  <a:lnTo>
                    <a:pt x="66" y="250"/>
                  </a:lnTo>
                  <a:lnTo>
                    <a:pt x="70" y="250"/>
                  </a:lnTo>
                  <a:lnTo>
                    <a:pt x="74" y="254"/>
                  </a:lnTo>
                  <a:lnTo>
                    <a:pt x="74" y="254"/>
                  </a:lnTo>
                  <a:lnTo>
                    <a:pt x="78" y="254"/>
                  </a:lnTo>
                  <a:lnTo>
                    <a:pt x="78" y="254"/>
                  </a:lnTo>
                  <a:lnTo>
                    <a:pt x="80" y="252"/>
                  </a:lnTo>
                  <a:lnTo>
                    <a:pt x="82" y="248"/>
                  </a:lnTo>
                  <a:lnTo>
                    <a:pt x="88" y="252"/>
                  </a:lnTo>
                  <a:lnTo>
                    <a:pt x="88" y="270"/>
                  </a:lnTo>
                  <a:lnTo>
                    <a:pt x="88" y="270"/>
                  </a:lnTo>
                  <a:lnTo>
                    <a:pt x="88" y="272"/>
                  </a:lnTo>
                  <a:lnTo>
                    <a:pt x="88" y="272"/>
                  </a:lnTo>
                  <a:lnTo>
                    <a:pt x="94" y="274"/>
                  </a:lnTo>
                  <a:lnTo>
                    <a:pt x="94" y="274"/>
                  </a:lnTo>
                  <a:lnTo>
                    <a:pt x="94" y="274"/>
                  </a:lnTo>
                  <a:lnTo>
                    <a:pt x="96" y="272"/>
                  </a:lnTo>
                  <a:lnTo>
                    <a:pt x="96" y="272"/>
                  </a:lnTo>
                  <a:lnTo>
                    <a:pt x="96" y="274"/>
                  </a:lnTo>
                  <a:lnTo>
                    <a:pt x="96" y="276"/>
                  </a:lnTo>
                  <a:lnTo>
                    <a:pt x="96" y="276"/>
                  </a:lnTo>
                  <a:lnTo>
                    <a:pt x="98" y="278"/>
                  </a:lnTo>
                  <a:lnTo>
                    <a:pt x="100" y="278"/>
                  </a:lnTo>
                  <a:lnTo>
                    <a:pt x="104" y="278"/>
                  </a:lnTo>
                  <a:lnTo>
                    <a:pt x="104" y="278"/>
                  </a:lnTo>
                  <a:lnTo>
                    <a:pt x="104" y="278"/>
                  </a:lnTo>
                  <a:lnTo>
                    <a:pt x="104" y="278"/>
                  </a:lnTo>
                  <a:lnTo>
                    <a:pt x="106" y="276"/>
                  </a:lnTo>
                  <a:lnTo>
                    <a:pt x="106" y="276"/>
                  </a:lnTo>
                  <a:lnTo>
                    <a:pt x="106" y="270"/>
                  </a:lnTo>
                  <a:lnTo>
                    <a:pt x="106" y="270"/>
                  </a:lnTo>
                  <a:lnTo>
                    <a:pt x="104" y="268"/>
                  </a:lnTo>
                  <a:lnTo>
                    <a:pt x="102" y="266"/>
                  </a:lnTo>
                  <a:lnTo>
                    <a:pt x="100" y="266"/>
                  </a:lnTo>
                  <a:lnTo>
                    <a:pt x="102" y="260"/>
                  </a:lnTo>
                  <a:lnTo>
                    <a:pt x="102" y="260"/>
                  </a:lnTo>
                  <a:lnTo>
                    <a:pt x="104" y="248"/>
                  </a:lnTo>
                  <a:lnTo>
                    <a:pt x="110" y="238"/>
                  </a:lnTo>
                  <a:lnTo>
                    <a:pt x="110" y="238"/>
                  </a:lnTo>
                  <a:lnTo>
                    <a:pt x="110" y="238"/>
                  </a:lnTo>
                  <a:lnTo>
                    <a:pt x="112" y="238"/>
                  </a:lnTo>
                  <a:lnTo>
                    <a:pt x="118" y="234"/>
                  </a:lnTo>
                  <a:lnTo>
                    <a:pt x="118" y="234"/>
                  </a:lnTo>
                  <a:lnTo>
                    <a:pt x="130" y="224"/>
                  </a:lnTo>
                  <a:lnTo>
                    <a:pt x="130" y="224"/>
                  </a:lnTo>
                  <a:lnTo>
                    <a:pt x="132" y="224"/>
                  </a:lnTo>
                  <a:lnTo>
                    <a:pt x="132" y="224"/>
                  </a:lnTo>
                  <a:lnTo>
                    <a:pt x="132" y="222"/>
                  </a:lnTo>
                  <a:lnTo>
                    <a:pt x="132" y="222"/>
                  </a:lnTo>
                  <a:lnTo>
                    <a:pt x="134" y="214"/>
                  </a:lnTo>
                  <a:lnTo>
                    <a:pt x="134" y="214"/>
                  </a:lnTo>
                  <a:lnTo>
                    <a:pt x="134" y="214"/>
                  </a:lnTo>
                  <a:lnTo>
                    <a:pt x="134" y="214"/>
                  </a:lnTo>
                  <a:lnTo>
                    <a:pt x="136" y="216"/>
                  </a:lnTo>
                  <a:lnTo>
                    <a:pt x="138" y="214"/>
                  </a:lnTo>
                  <a:lnTo>
                    <a:pt x="148" y="204"/>
                  </a:lnTo>
                  <a:lnTo>
                    <a:pt x="148" y="204"/>
                  </a:lnTo>
                  <a:lnTo>
                    <a:pt x="148" y="204"/>
                  </a:lnTo>
                  <a:lnTo>
                    <a:pt x="150" y="202"/>
                  </a:lnTo>
                  <a:lnTo>
                    <a:pt x="162" y="200"/>
                  </a:lnTo>
                  <a:lnTo>
                    <a:pt x="162" y="200"/>
                  </a:lnTo>
                  <a:lnTo>
                    <a:pt x="162" y="200"/>
                  </a:lnTo>
                  <a:lnTo>
                    <a:pt x="166" y="196"/>
                  </a:lnTo>
                  <a:lnTo>
                    <a:pt x="166" y="196"/>
                  </a:lnTo>
                  <a:lnTo>
                    <a:pt x="166" y="194"/>
                  </a:lnTo>
                  <a:lnTo>
                    <a:pt x="166" y="192"/>
                  </a:lnTo>
                  <a:lnTo>
                    <a:pt x="168" y="190"/>
                  </a:lnTo>
                  <a:lnTo>
                    <a:pt x="170" y="190"/>
                  </a:lnTo>
                  <a:lnTo>
                    <a:pt x="170" y="190"/>
                  </a:lnTo>
                  <a:lnTo>
                    <a:pt x="172" y="190"/>
                  </a:lnTo>
                  <a:lnTo>
                    <a:pt x="172" y="190"/>
                  </a:lnTo>
                  <a:lnTo>
                    <a:pt x="172" y="190"/>
                  </a:lnTo>
                  <a:lnTo>
                    <a:pt x="180" y="186"/>
                  </a:lnTo>
                  <a:lnTo>
                    <a:pt x="180" y="188"/>
                  </a:lnTo>
                  <a:lnTo>
                    <a:pt x="180" y="188"/>
                  </a:lnTo>
                  <a:lnTo>
                    <a:pt x="180" y="190"/>
                  </a:lnTo>
                  <a:lnTo>
                    <a:pt x="180" y="190"/>
                  </a:lnTo>
                  <a:lnTo>
                    <a:pt x="180" y="190"/>
                  </a:lnTo>
                  <a:lnTo>
                    <a:pt x="184" y="190"/>
                  </a:lnTo>
                  <a:lnTo>
                    <a:pt x="184" y="190"/>
                  </a:lnTo>
                  <a:lnTo>
                    <a:pt x="196" y="186"/>
                  </a:lnTo>
                  <a:lnTo>
                    <a:pt x="202" y="184"/>
                  </a:lnTo>
                  <a:lnTo>
                    <a:pt x="202" y="184"/>
                  </a:lnTo>
                  <a:lnTo>
                    <a:pt x="202" y="184"/>
                  </a:lnTo>
                  <a:lnTo>
                    <a:pt x="204" y="182"/>
                  </a:lnTo>
                  <a:lnTo>
                    <a:pt x="204" y="182"/>
                  </a:lnTo>
                  <a:lnTo>
                    <a:pt x="204" y="182"/>
                  </a:lnTo>
                  <a:lnTo>
                    <a:pt x="206" y="182"/>
                  </a:lnTo>
                  <a:lnTo>
                    <a:pt x="206" y="182"/>
                  </a:lnTo>
                  <a:lnTo>
                    <a:pt x="206" y="182"/>
                  </a:lnTo>
                  <a:lnTo>
                    <a:pt x="206" y="182"/>
                  </a:lnTo>
                  <a:lnTo>
                    <a:pt x="212" y="180"/>
                  </a:lnTo>
                  <a:lnTo>
                    <a:pt x="212" y="180"/>
                  </a:lnTo>
                  <a:lnTo>
                    <a:pt x="212" y="178"/>
                  </a:lnTo>
                  <a:lnTo>
                    <a:pt x="212" y="178"/>
                  </a:lnTo>
                  <a:lnTo>
                    <a:pt x="212" y="176"/>
                  </a:lnTo>
                  <a:lnTo>
                    <a:pt x="212" y="174"/>
                  </a:lnTo>
                  <a:lnTo>
                    <a:pt x="212" y="172"/>
                  </a:lnTo>
                  <a:lnTo>
                    <a:pt x="212" y="172"/>
                  </a:lnTo>
                  <a:lnTo>
                    <a:pt x="212" y="168"/>
                  </a:lnTo>
                  <a:lnTo>
                    <a:pt x="212" y="168"/>
                  </a:lnTo>
                  <a:lnTo>
                    <a:pt x="208" y="168"/>
                  </a:lnTo>
                  <a:lnTo>
                    <a:pt x="208" y="168"/>
                  </a:lnTo>
                  <a:lnTo>
                    <a:pt x="206" y="168"/>
                  </a:lnTo>
                  <a:lnTo>
                    <a:pt x="200" y="176"/>
                  </a:lnTo>
                  <a:lnTo>
                    <a:pt x="198" y="174"/>
                  </a:lnTo>
                  <a:lnTo>
                    <a:pt x="198" y="174"/>
                  </a:lnTo>
                  <a:lnTo>
                    <a:pt x="198" y="170"/>
                  </a:lnTo>
                  <a:lnTo>
                    <a:pt x="198" y="170"/>
                  </a:lnTo>
                  <a:lnTo>
                    <a:pt x="198" y="170"/>
                  </a:lnTo>
                  <a:lnTo>
                    <a:pt x="200" y="170"/>
                  </a:lnTo>
                  <a:lnTo>
                    <a:pt x="204" y="166"/>
                  </a:lnTo>
                  <a:lnTo>
                    <a:pt x="204" y="166"/>
                  </a:lnTo>
                  <a:lnTo>
                    <a:pt x="204" y="164"/>
                  </a:lnTo>
                  <a:lnTo>
                    <a:pt x="204" y="164"/>
                  </a:lnTo>
                  <a:lnTo>
                    <a:pt x="204" y="164"/>
                  </a:lnTo>
                  <a:lnTo>
                    <a:pt x="204" y="162"/>
                  </a:lnTo>
                  <a:lnTo>
                    <a:pt x="216" y="162"/>
                  </a:lnTo>
                  <a:lnTo>
                    <a:pt x="214" y="162"/>
                  </a:lnTo>
                  <a:lnTo>
                    <a:pt x="214" y="162"/>
                  </a:lnTo>
                  <a:lnTo>
                    <a:pt x="214" y="164"/>
                  </a:lnTo>
                  <a:lnTo>
                    <a:pt x="214" y="164"/>
                  </a:lnTo>
                  <a:lnTo>
                    <a:pt x="214" y="166"/>
                  </a:lnTo>
                  <a:lnTo>
                    <a:pt x="212" y="168"/>
                  </a:lnTo>
                  <a:lnTo>
                    <a:pt x="212" y="168"/>
                  </a:lnTo>
                  <a:lnTo>
                    <a:pt x="212" y="172"/>
                  </a:lnTo>
                  <a:lnTo>
                    <a:pt x="212" y="172"/>
                  </a:lnTo>
                  <a:lnTo>
                    <a:pt x="214" y="172"/>
                  </a:lnTo>
                  <a:lnTo>
                    <a:pt x="220" y="174"/>
                  </a:lnTo>
                  <a:lnTo>
                    <a:pt x="222" y="176"/>
                  </a:lnTo>
                  <a:lnTo>
                    <a:pt x="222" y="176"/>
                  </a:lnTo>
                  <a:lnTo>
                    <a:pt x="224" y="176"/>
                  </a:lnTo>
                  <a:lnTo>
                    <a:pt x="226" y="176"/>
                  </a:lnTo>
                  <a:lnTo>
                    <a:pt x="226" y="176"/>
                  </a:lnTo>
                  <a:lnTo>
                    <a:pt x="228" y="176"/>
                  </a:lnTo>
                  <a:lnTo>
                    <a:pt x="228" y="176"/>
                  </a:lnTo>
                  <a:lnTo>
                    <a:pt x="230" y="176"/>
                  </a:lnTo>
                  <a:lnTo>
                    <a:pt x="232" y="176"/>
                  </a:lnTo>
                  <a:lnTo>
                    <a:pt x="232" y="176"/>
                  </a:lnTo>
                  <a:lnTo>
                    <a:pt x="232" y="176"/>
                  </a:lnTo>
                  <a:lnTo>
                    <a:pt x="232" y="176"/>
                  </a:lnTo>
                  <a:lnTo>
                    <a:pt x="238" y="174"/>
                  </a:lnTo>
                  <a:lnTo>
                    <a:pt x="238" y="174"/>
                  </a:lnTo>
                  <a:lnTo>
                    <a:pt x="240" y="172"/>
                  </a:lnTo>
                  <a:lnTo>
                    <a:pt x="240" y="172"/>
                  </a:lnTo>
                  <a:lnTo>
                    <a:pt x="240" y="170"/>
                  </a:lnTo>
                  <a:lnTo>
                    <a:pt x="240" y="170"/>
                  </a:lnTo>
                  <a:lnTo>
                    <a:pt x="238" y="166"/>
                  </a:lnTo>
                  <a:lnTo>
                    <a:pt x="240" y="166"/>
                  </a:lnTo>
                  <a:lnTo>
                    <a:pt x="240" y="166"/>
                  </a:lnTo>
                  <a:lnTo>
                    <a:pt x="240" y="164"/>
                  </a:lnTo>
                  <a:lnTo>
                    <a:pt x="240" y="164"/>
                  </a:lnTo>
                  <a:lnTo>
                    <a:pt x="236" y="162"/>
                  </a:lnTo>
                  <a:lnTo>
                    <a:pt x="240" y="158"/>
                  </a:lnTo>
                  <a:lnTo>
                    <a:pt x="240" y="158"/>
                  </a:lnTo>
                  <a:lnTo>
                    <a:pt x="242" y="154"/>
                  </a:lnTo>
                  <a:lnTo>
                    <a:pt x="242" y="154"/>
                  </a:lnTo>
                  <a:lnTo>
                    <a:pt x="240" y="154"/>
                  </a:lnTo>
                  <a:lnTo>
                    <a:pt x="242" y="150"/>
                  </a:lnTo>
                  <a:lnTo>
                    <a:pt x="242" y="150"/>
                  </a:lnTo>
                  <a:lnTo>
                    <a:pt x="242" y="150"/>
                  </a:lnTo>
                  <a:lnTo>
                    <a:pt x="242" y="150"/>
                  </a:lnTo>
                  <a:lnTo>
                    <a:pt x="242" y="148"/>
                  </a:lnTo>
                  <a:lnTo>
                    <a:pt x="242" y="148"/>
                  </a:lnTo>
                  <a:lnTo>
                    <a:pt x="242" y="146"/>
                  </a:lnTo>
                  <a:lnTo>
                    <a:pt x="236" y="144"/>
                  </a:lnTo>
                  <a:lnTo>
                    <a:pt x="236" y="144"/>
                  </a:lnTo>
                  <a:lnTo>
                    <a:pt x="236" y="144"/>
                  </a:lnTo>
                  <a:lnTo>
                    <a:pt x="236" y="144"/>
                  </a:lnTo>
                  <a:lnTo>
                    <a:pt x="238" y="138"/>
                  </a:lnTo>
                  <a:lnTo>
                    <a:pt x="238" y="138"/>
                  </a:lnTo>
                  <a:lnTo>
                    <a:pt x="238" y="138"/>
                  </a:lnTo>
                  <a:lnTo>
                    <a:pt x="236" y="136"/>
                  </a:lnTo>
                  <a:lnTo>
                    <a:pt x="236" y="136"/>
                  </a:lnTo>
                  <a:lnTo>
                    <a:pt x="236" y="136"/>
                  </a:lnTo>
                  <a:lnTo>
                    <a:pt x="236" y="134"/>
                  </a:lnTo>
                  <a:lnTo>
                    <a:pt x="236" y="132"/>
                  </a:lnTo>
                  <a:lnTo>
                    <a:pt x="236" y="132"/>
                  </a:lnTo>
                  <a:lnTo>
                    <a:pt x="238" y="122"/>
                  </a:lnTo>
                  <a:lnTo>
                    <a:pt x="238" y="122"/>
                  </a:lnTo>
                  <a:lnTo>
                    <a:pt x="238" y="118"/>
                  </a:lnTo>
                  <a:lnTo>
                    <a:pt x="238" y="118"/>
                  </a:lnTo>
                  <a:lnTo>
                    <a:pt x="238" y="118"/>
                  </a:lnTo>
                  <a:lnTo>
                    <a:pt x="240" y="114"/>
                  </a:lnTo>
                  <a:lnTo>
                    <a:pt x="240" y="114"/>
                  </a:lnTo>
                  <a:lnTo>
                    <a:pt x="242" y="114"/>
                  </a:lnTo>
                  <a:lnTo>
                    <a:pt x="242" y="114"/>
                  </a:lnTo>
                  <a:lnTo>
                    <a:pt x="242" y="114"/>
                  </a:lnTo>
                  <a:lnTo>
                    <a:pt x="244" y="114"/>
                  </a:lnTo>
                  <a:lnTo>
                    <a:pt x="244" y="114"/>
                  </a:lnTo>
                  <a:lnTo>
                    <a:pt x="246" y="114"/>
                  </a:lnTo>
                  <a:lnTo>
                    <a:pt x="252" y="108"/>
                  </a:lnTo>
                  <a:lnTo>
                    <a:pt x="252" y="108"/>
                  </a:lnTo>
                  <a:lnTo>
                    <a:pt x="252" y="108"/>
                  </a:lnTo>
                  <a:lnTo>
                    <a:pt x="252" y="108"/>
                  </a:lnTo>
                  <a:lnTo>
                    <a:pt x="264" y="104"/>
                  </a:lnTo>
                  <a:lnTo>
                    <a:pt x="264" y="104"/>
                  </a:lnTo>
                  <a:lnTo>
                    <a:pt x="264" y="102"/>
                  </a:lnTo>
                  <a:lnTo>
                    <a:pt x="264" y="102"/>
                  </a:lnTo>
                  <a:lnTo>
                    <a:pt x="266" y="102"/>
                  </a:lnTo>
                  <a:lnTo>
                    <a:pt x="266" y="102"/>
                  </a:lnTo>
                  <a:lnTo>
                    <a:pt x="266" y="100"/>
                  </a:lnTo>
                  <a:lnTo>
                    <a:pt x="260" y="94"/>
                  </a:lnTo>
                  <a:lnTo>
                    <a:pt x="264" y="90"/>
                  </a:lnTo>
                  <a:lnTo>
                    <a:pt x="264" y="90"/>
                  </a:lnTo>
                  <a:lnTo>
                    <a:pt x="264" y="88"/>
                  </a:lnTo>
                  <a:lnTo>
                    <a:pt x="258" y="80"/>
                  </a:lnTo>
                  <a:lnTo>
                    <a:pt x="258" y="80"/>
                  </a:lnTo>
                  <a:lnTo>
                    <a:pt x="258" y="80"/>
                  </a:lnTo>
                  <a:lnTo>
                    <a:pt x="258" y="80"/>
                  </a:lnTo>
                  <a:lnTo>
                    <a:pt x="258" y="80"/>
                  </a:lnTo>
                  <a:lnTo>
                    <a:pt x="258" y="80"/>
                  </a:lnTo>
                  <a:lnTo>
                    <a:pt x="258" y="80"/>
                  </a:lnTo>
                  <a:lnTo>
                    <a:pt x="260" y="76"/>
                  </a:lnTo>
                  <a:lnTo>
                    <a:pt x="260" y="76"/>
                  </a:lnTo>
                  <a:lnTo>
                    <a:pt x="260" y="76"/>
                  </a:lnTo>
                  <a:lnTo>
                    <a:pt x="260" y="76"/>
                  </a:lnTo>
                  <a:lnTo>
                    <a:pt x="262" y="76"/>
                  </a:lnTo>
                  <a:lnTo>
                    <a:pt x="262" y="76"/>
                  </a:lnTo>
                  <a:lnTo>
                    <a:pt x="268" y="72"/>
                  </a:lnTo>
                  <a:lnTo>
                    <a:pt x="268" y="72"/>
                  </a:lnTo>
                  <a:lnTo>
                    <a:pt x="270" y="72"/>
                  </a:lnTo>
                  <a:lnTo>
                    <a:pt x="272" y="72"/>
                  </a:lnTo>
                  <a:lnTo>
                    <a:pt x="272" y="72"/>
                  </a:lnTo>
                  <a:lnTo>
                    <a:pt x="272" y="72"/>
                  </a:lnTo>
                  <a:lnTo>
                    <a:pt x="276" y="70"/>
                  </a:lnTo>
                  <a:lnTo>
                    <a:pt x="276" y="70"/>
                  </a:lnTo>
                  <a:lnTo>
                    <a:pt x="278" y="70"/>
                  </a:lnTo>
                  <a:lnTo>
                    <a:pt x="278" y="70"/>
                  </a:lnTo>
                  <a:lnTo>
                    <a:pt x="278" y="70"/>
                  </a:lnTo>
                  <a:lnTo>
                    <a:pt x="278" y="70"/>
                  </a:lnTo>
                  <a:lnTo>
                    <a:pt x="278" y="70"/>
                  </a:lnTo>
                  <a:lnTo>
                    <a:pt x="278" y="70"/>
                  </a:lnTo>
                  <a:lnTo>
                    <a:pt x="278" y="70"/>
                  </a:lnTo>
                  <a:lnTo>
                    <a:pt x="278" y="72"/>
                  </a:lnTo>
                  <a:lnTo>
                    <a:pt x="278" y="72"/>
                  </a:lnTo>
                  <a:lnTo>
                    <a:pt x="278" y="74"/>
                  </a:lnTo>
                  <a:lnTo>
                    <a:pt x="278" y="74"/>
                  </a:lnTo>
                  <a:lnTo>
                    <a:pt x="278" y="74"/>
                  </a:lnTo>
                  <a:lnTo>
                    <a:pt x="278" y="76"/>
                  </a:lnTo>
                  <a:lnTo>
                    <a:pt x="278" y="76"/>
                  </a:lnTo>
                  <a:lnTo>
                    <a:pt x="280" y="78"/>
                  </a:lnTo>
                  <a:lnTo>
                    <a:pt x="280" y="78"/>
                  </a:lnTo>
                  <a:lnTo>
                    <a:pt x="280" y="78"/>
                  </a:lnTo>
                  <a:lnTo>
                    <a:pt x="280" y="78"/>
                  </a:lnTo>
                  <a:lnTo>
                    <a:pt x="286" y="78"/>
                  </a:lnTo>
                  <a:lnTo>
                    <a:pt x="290" y="78"/>
                  </a:lnTo>
                  <a:lnTo>
                    <a:pt x="290" y="80"/>
                  </a:lnTo>
                  <a:lnTo>
                    <a:pt x="288" y="84"/>
                  </a:lnTo>
                  <a:lnTo>
                    <a:pt x="288" y="84"/>
                  </a:lnTo>
                  <a:lnTo>
                    <a:pt x="288" y="86"/>
                  </a:lnTo>
                  <a:lnTo>
                    <a:pt x="288" y="86"/>
                  </a:lnTo>
                  <a:lnTo>
                    <a:pt x="288" y="88"/>
                  </a:lnTo>
                  <a:lnTo>
                    <a:pt x="288" y="88"/>
                  </a:lnTo>
                  <a:lnTo>
                    <a:pt x="288" y="90"/>
                  </a:lnTo>
                  <a:lnTo>
                    <a:pt x="288" y="90"/>
                  </a:lnTo>
                  <a:lnTo>
                    <a:pt x="290" y="92"/>
                  </a:lnTo>
                  <a:lnTo>
                    <a:pt x="290" y="92"/>
                  </a:lnTo>
                  <a:lnTo>
                    <a:pt x="290" y="92"/>
                  </a:lnTo>
                  <a:lnTo>
                    <a:pt x="290" y="92"/>
                  </a:lnTo>
                  <a:lnTo>
                    <a:pt x="286" y="92"/>
                  </a:lnTo>
                  <a:lnTo>
                    <a:pt x="286" y="92"/>
                  </a:lnTo>
                  <a:lnTo>
                    <a:pt x="280" y="98"/>
                  </a:lnTo>
                  <a:lnTo>
                    <a:pt x="280" y="98"/>
                  </a:lnTo>
                  <a:lnTo>
                    <a:pt x="280" y="98"/>
                  </a:lnTo>
                  <a:lnTo>
                    <a:pt x="280" y="98"/>
                  </a:lnTo>
                  <a:lnTo>
                    <a:pt x="280" y="100"/>
                  </a:lnTo>
                  <a:lnTo>
                    <a:pt x="278" y="104"/>
                  </a:lnTo>
                  <a:lnTo>
                    <a:pt x="278" y="104"/>
                  </a:lnTo>
                  <a:lnTo>
                    <a:pt x="278" y="106"/>
                  </a:lnTo>
                  <a:lnTo>
                    <a:pt x="278" y="106"/>
                  </a:lnTo>
                  <a:lnTo>
                    <a:pt x="280" y="106"/>
                  </a:lnTo>
                  <a:lnTo>
                    <a:pt x="280" y="106"/>
                  </a:lnTo>
                  <a:lnTo>
                    <a:pt x="280" y="106"/>
                  </a:lnTo>
                  <a:lnTo>
                    <a:pt x="278" y="108"/>
                  </a:lnTo>
                  <a:lnTo>
                    <a:pt x="278" y="108"/>
                  </a:lnTo>
                  <a:lnTo>
                    <a:pt x="278" y="108"/>
                  </a:lnTo>
                  <a:lnTo>
                    <a:pt x="278" y="108"/>
                  </a:lnTo>
                  <a:lnTo>
                    <a:pt x="276" y="110"/>
                  </a:lnTo>
                  <a:lnTo>
                    <a:pt x="276" y="110"/>
                  </a:lnTo>
                  <a:lnTo>
                    <a:pt x="276" y="110"/>
                  </a:lnTo>
                  <a:lnTo>
                    <a:pt x="278" y="122"/>
                  </a:lnTo>
                  <a:lnTo>
                    <a:pt x="278" y="122"/>
                  </a:lnTo>
                  <a:lnTo>
                    <a:pt x="280" y="122"/>
                  </a:lnTo>
                  <a:lnTo>
                    <a:pt x="280" y="122"/>
                  </a:lnTo>
                  <a:lnTo>
                    <a:pt x="280" y="124"/>
                  </a:lnTo>
                  <a:lnTo>
                    <a:pt x="280" y="124"/>
                  </a:lnTo>
                  <a:lnTo>
                    <a:pt x="282" y="124"/>
                  </a:lnTo>
                  <a:lnTo>
                    <a:pt x="284" y="124"/>
                  </a:lnTo>
                  <a:lnTo>
                    <a:pt x="286" y="126"/>
                  </a:lnTo>
                  <a:lnTo>
                    <a:pt x="286" y="126"/>
                  </a:lnTo>
                  <a:lnTo>
                    <a:pt x="286" y="128"/>
                  </a:lnTo>
                  <a:lnTo>
                    <a:pt x="286" y="128"/>
                  </a:lnTo>
                  <a:lnTo>
                    <a:pt x="290" y="128"/>
                  </a:lnTo>
                  <a:lnTo>
                    <a:pt x="294" y="126"/>
                  </a:lnTo>
                  <a:lnTo>
                    <a:pt x="294" y="126"/>
                  </a:lnTo>
                  <a:lnTo>
                    <a:pt x="296" y="126"/>
                  </a:lnTo>
                  <a:lnTo>
                    <a:pt x="300" y="124"/>
                  </a:lnTo>
                  <a:lnTo>
                    <a:pt x="300" y="124"/>
                  </a:lnTo>
                  <a:lnTo>
                    <a:pt x="310" y="112"/>
                  </a:lnTo>
                  <a:lnTo>
                    <a:pt x="318" y="110"/>
                  </a:lnTo>
                  <a:lnTo>
                    <a:pt x="318" y="110"/>
                  </a:lnTo>
                  <a:lnTo>
                    <a:pt x="318" y="108"/>
                  </a:lnTo>
                  <a:lnTo>
                    <a:pt x="318" y="108"/>
                  </a:lnTo>
                  <a:lnTo>
                    <a:pt x="320" y="108"/>
                  </a:lnTo>
                  <a:lnTo>
                    <a:pt x="320" y="108"/>
                  </a:lnTo>
                  <a:lnTo>
                    <a:pt x="322" y="108"/>
                  </a:lnTo>
                  <a:lnTo>
                    <a:pt x="322" y="108"/>
                  </a:lnTo>
                  <a:lnTo>
                    <a:pt x="326" y="106"/>
                  </a:lnTo>
                  <a:lnTo>
                    <a:pt x="334" y="102"/>
                  </a:lnTo>
                  <a:lnTo>
                    <a:pt x="338" y="102"/>
                  </a:lnTo>
                  <a:lnTo>
                    <a:pt x="338" y="102"/>
                  </a:lnTo>
                  <a:lnTo>
                    <a:pt x="338" y="102"/>
                  </a:lnTo>
                  <a:lnTo>
                    <a:pt x="340" y="102"/>
                  </a:lnTo>
                  <a:lnTo>
                    <a:pt x="340" y="102"/>
                  </a:lnTo>
                  <a:lnTo>
                    <a:pt x="356" y="96"/>
                  </a:lnTo>
                  <a:lnTo>
                    <a:pt x="356" y="96"/>
                  </a:lnTo>
                  <a:lnTo>
                    <a:pt x="356" y="96"/>
                  </a:lnTo>
                  <a:lnTo>
                    <a:pt x="356" y="96"/>
                  </a:lnTo>
                  <a:lnTo>
                    <a:pt x="358" y="94"/>
                  </a:lnTo>
                  <a:lnTo>
                    <a:pt x="360" y="92"/>
                  </a:lnTo>
                  <a:lnTo>
                    <a:pt x="360" y="92"/>
                  </a:lnTo>
                  <a:lnTo>
                    <a:pt x="360" y="90"/>
                  </a:lnTo>
                  <a:lnTo>
                    <a:pt x="360" y="90"/>
                  </a:lnTo>
                  <a:lnTo>
                    <a:pt x="362" y="88"/>
                  </a:lnTo>
                  <a:lnTo>
                    <a:pt x="362" y="88"/>
                  </a:lnTo>
                  <a:lnTo>
                    <a:pt x="360" y="86"/>
                  </a:lnTo>
                  <a:lnTo>
                    <a:pt x="360" y="86"/>
                  </a:lnTo>
                  <a:lnTo>
                    <a:pt x="362" y="84"/>
                  </a:lnTo>
                  <a:lnTo>
                    <a:pt x="362" y="76"/>
                  </a:lnTo>
                  <a:lnTo>
                    <a:pt x="362" y="76"/>
                  </a:lnTo>
                  <a:lnTo>
                    <a:pt x="362" y="76"/>
                  </a:lnTo>
                  <a:lnTo>
                    <a:pt x="362" y="76"/>
                  </a:lnTo>
                  <a:lnTo>
                    <a:pt x="362" y="74"/>
                  </a:lnTo>
                  <a:lnTo>
                    <a:pt x="362" y="74"/>
                  </a:lnTo>
                  <a:lnTo>
                    <a:pt x="360" y="68"/>
                  </a:lnTo>
                  <a:lnTo>
                    <a:pt x="360" y="68"/>
                  </a:lnTo>
                  <a:lnTo>
                    <a:pt x="362" y="68"/>
                  </a:lnTo>
                  <a:lnTo>
                    <a:pt x="362" y="68"/>
                  </a:lnTo>
                  <a:lnTo>
                    <a:pt x="362" y="68"/>
                  </a:lnTo>
                  <a:lnTo>
                    <a:pt x="364" y="68"/>
                  </a:lnTo>
                  <a:lnTo>
                    <a:pt x="366" y="66"/>
                  </a:lnTo>
                  <a:lnTo>
                    <a:pt x="366" y="66"/>
                  </a:lnTo>
                  <a:lnTo>
                    <a:pt x="368" y="64"/>
                  </a:lnTo>
                  <a:lnTo>
                    <a:pt x="368" y="64"/>
                  </a:lnTo>
                  <a:lnTo>
                    <a:pt x="368" y="64"/>
                  </a:lnTo>
                  <a:lnTo>
                    <a:pt x="368" y="64"/>
                  </a:lnTo>
                  <a:lnTo>
                    <a:pt x="368" y="62"/>
                  </a:lnTo>
                  <a:lnTo>
                    <a:pt x="368" y="62"/>
                  </a:lnTo>
                  <a:lnTo>
                    <a:pt x="364" y="60"/>
                  </a:lnTo>
                  <a:lnTo>
                    <a:pt x="362" y="60"/>
                  </a:lnTo>
                  <a:lnTo>
                    <a:pt x="362" y="60"/>
                  </a:lnTo>
                  <a:lnTo>
                    <a:pt x="360" y="58"/>
                  </a:lnTo>
                  <a:lnTo>
                    <a:pt x="360" y="58"/>
                  </a:lnTo>
                  <a:lnTo>
                    <a:pt x="358" y="58"/>
                  </a:lnTo>
                  <a:lnTo>
                    <a:pt x="358" y="58"/>
                  </a:lnTo>
                  <a:lnTo>
                    <a:pt x="356" y="60"/>
                  </a:lnTo>
                  <a:lnTo>
                    <a:pt x="356" y="60"/>
                  </a:lnTo>
                  <a:lnTo>
                    <a:pt x="354" y="58"/>
                  </a:lnTo>
                  <a:lnTo>
                    <a:pt x="354" y="58"/>
                  </a:lnTo>
                  <a:lnTo>
                    <a:pt x="354" y="56"/>
                  </a:lnTo>
                  <a:lnTo>
                    <a:pt x="354" y="56"/>
                  </a:lnTo>
                  <a:lnTo>
                    <a:pt x="352" y="54"/>
                  </a:lnTo>
                  <a:lnTo>
                    <a:pt x="352" y="54"/>
                  </a:lnTo>
                  <a:lnTo>
                    <a:pt x="348" y="52"/>
                  </a:lnTo>
                  <a:lnTo>
                    <a:pt x="344" y="50"/>
                  </a:lnTo>
                  <a:lnTo>
                    <a:pt x="344" y="50"/>
                  </a:lnTo>
                  <a:lnTo>
                    <a:pt x="332" y="50"/>
                  </a:lnTo>
                  <a:lnTo>
                    <a:pt x="332" y="50"/>
                  </a:lnTo>
                  <a:lnTo>
                    <a:pt x="328" y="50"/>
                  </a:lnTo>
                  <a:lnTo>
                    <a:pt x="328" y="50"/>
                  </a:lnTo>
                  <a:lnTo>
                    <a:pt x="322" y="50"/>
                  </a:lnTo>
                  <a:lnTo>
                    <a:pt x="322" y="50"/>
                  </a:lnTo>
                  <a:lnTo>
                    <a:pt x="320" y="52"/>
                  </a:lnTo>
                  <a:lnTo>
                    <a:pt x="320" y="52"/>
                  </a:lnTo>
                  <a:lnTo>
                    <a:pt x="318" y="52"/>
                  </a:lnTo>
                  <a:lnTo>
                    <a:pt x="318" y="52"/>
                  </a:lnTo>
                  <a:lnTo>
                    <a:pt x="314" y="54"/>
                  </a:lnTo>
                  <a:lnTo>
                    <a:pt x="310" y="56"/>
                  </a:lnTo>
                  <a:lnTo>
                    <a:pt x="310" y="56"/>
                  </a:lnTo>
                  <a:lnTo>
                    <a:pt x="308" y="58"/>
                  </a:lnTo>
                  <a:lnTo>
                    <a:pt x="308" y="58"/>
                  </a:lnTo>
                  <a:lnTo>
                    <a:pt x="308" y="58"/>
                  </a:lnTo>
                  <a:lnTo>
                    <a:pt x="308" y="58"/>
                  </a:lnTo>
                  <a:lnTo>
                    <a:pt x="306" y="56"/>
                  </a:lnTo>
                  <a:lnTo>
                    <a:pt x="306" y="56"/>
                  </a:lnTo>
                  <a:lnTo>
                    <a:pt x="302" y="54"/>
                  </a:lnTo>
                  <a:lnTo>
                    <a:pt x="302" y="54"/>
                  </a:lnTo>
                  <a:lnTo>
                    <a:pt x="302" y="54"/>
                  </a:lnTo>
                  <a:lnTo>
                    <a:pt x="302" y="54"/>
                  </a:lnTo>
                  <a:lnTo>
                    <a:pt x="300" y="52"/>
                  </a:lnTo>
                  <a:lnTo>
                    <a:pt x="298" y="50"/>
                  </a:lnTo>
                  <a:lnTo>
                    <a:pt x="298" y="50"/>
                  </a:lnTo>
                  <a:lnTo>
                    <a:pt x="296" y="50"/>
                  </a:lnTo>
                  <a:lnTo>
                    <a:pt x="296" y="50"/>
                  </a:lnTo>
                  <a:lnTo>
                    <a:pt x="294" y="50"/>
                  </a:lnTo>
                  <a:lnTo>
                    <a:pt x="294" y="50"/>
                  </a:lnTo>
                  <a:lnTo>
                    <a:pt x="294" y="50"/>
                  </a:lnTo>
                  <a:lnTo>
                    <a:pt x="294" y="50"/>
                  </a:lnTo>
                  <a:lnTo>
                    <a:pt x="294" y="50"/>
                  </a:lnTo>
                  <a:lnTo>
                    <a:pt x="294" y="50"/>
                  </a:lnTo>
                  <a:lnTo>
                    <a:pt x="294" y="48"/>
                  </a:lnTo>
                  <a:lnTo>
                    <a:pt x="290" y="46"/>
                  </a:lnTo>
                  <a:lnTo>
                    <a:pt x="290" y="46"/>
                  </a:lnTo>
                  <a:lnTo>
                    <a:pt x="288" y="46"/>
                  </a:lnTo>
                  <a:lnTo>
                    <a:pt x="288" y="46"/>
                  </a:lnTo>
                  <a:lnTo>
                    <a:pt x="284" y="46"/>
                  </a:lnTo>
                  <a:lnTo>
                    <a:pt x="284" y="46"/>
                  </a:lnTo>
                  <a:lnTo>
                    <a:pt x="282" y="48"/>
                  </a:lnTo>
                  <a:lnTo>
                    <a:pt x="282" y="48"/>
                  </a:lnTo>
                  <a:lnTo>
                    <a:pt x="282" y="50"/>
                  </a:lnTo>
                  <a:lnTo>
                    <a:pt x="282" y="50"/>
                  </a:lnTo>
                  <a:lnTo>
                    <a:pt x="280" y="50"/>
                  </a:lnTo>
                  <a:lnTo>
                    <a:pt x="280" y="50"/>
                  </a:lnTo>
                  <a:lnTo>
                    <a:pt x="278" y="52"/>
                  </a:lnTo>
                  <a:lnTo>
                    <a:pt x="278" y="52"/>
                  </a:lnTo>
                  <a:lnTo>
                    <a:pt x="274" y="54"/>
                  </a:lnTo>
                  <a:lnTo>
                    <a:pt x="274" y="54"/>
                  </a:lnTo>
                  <a:lnTo>
                    <a:pt x="274" y="54"/>
                  </a:lnTo>
                  <a:lnTo>
                    <a:pt x="274" y="54"/>
                  </a:lnTo>
                  <a:lnTo>
                    <a:pt x="270" y="56"/>
                  </a:lnTo>
                  <a:lnTo>
                    <a:pt x="270" y="56"/>
                  </a:lnTo>
                  <a:lnTo>
                    <a:pt x="270" y="56"/>
                  </a:lnTo>
                  <a:lnTo>
                    <a:pt x="268" y="60"/>
                  </a:lnTo>
                  <a:lnTo>
                    <a:pt x="268" y="60"/>
                  </a:lnTo>
                  <a:lnTo>
                    <a:pt x="266" y="62"/>
                  </a:lnTo>
                  <a:lnTo>
                    <a:pt x="266" y="58"/>
                  </a:lnTo>
                  <a:lnTo>
                    <a:pt x="266" y="58"/>
                  </a:lnTo>
                  <a:lnTo>
                    <a:pt x="264" y="56"/>
                  </a:lnTo>
                  <a:lnTo>
                    <a:pt x="262" y="56"/>
                  </a:lnTo>
                  <a:lnTo>
                    <a:pt x="262" y="56"/>
                  </a:lnTo>
                  <a:lnTo>
                    <a:pt x="260" y="58"/>
                  </a:lnTo>
                  <a:lnTo>
                    <a:pt x="256" y="60"/>
                  </a:lnTo>
                  <a:lnTo>
                    <a:pt x="256" y="60"/>
                  </a:lnTo>
                  <a:lnTo>
                    <a:pt x="256" y="62"/>
                  </a:lnTo>
                  <a:lnTo>
                    <a:pt x="252" y="66"/>
                  </a:lnTo>
                  <a:lnTo>
                    <a:pt x="252" y="66"/>
                  </a:lnTo>
                  <a:lnTo>
                    <a:pt x="250" y="68"/>
                  </a:lnTo>
                  <a:lnTo>
                    <a:pt x="250" y="68"/>
                  </a:lnTo>
                  <a:lnTo>
                    <a:pt x="250" y="68"/>
                  </a:lnTo>
                  <a:lnTo>
                    <a:pt x="250" y="68"/>
                  </a:lnTo>
                  <a:lnTo>
                    <a:pt x="250" y="68"/>
                  </a:lnTo>
                  <a:lnTo>
                    <a:pt x="250" y="68"/>
                  </a:lnTo>
                  <a:lnTo>
                    <a:pt x="248" y="68"/>
                  </a:lnTo>
                  <a:lnTo>
                    <a:pt x="248" y="68"/>
                  </a:lnTo>
                  <a:lnTo>
                    <a:pt x="248" y="68"/>
                  </a:lnTo>
                  <a:lnTo>
                    <a:pt x="248" y="68"/>
                  </a:lnTo>
                  <a:lnTo>
                    <a:pt x="248" y="66"/>
                  </a:lnTo>
                  <a:lnTo>
                    <a:pt x="250" y="64"/>
                  </a:lnTo>
                  <a:lnTo>
                    <a:pt x="250" y="64"/>
                  </a:lnTo>
                  <a:lnTo>
                    <a:pt x="250" y="62"/>
                  </a:lnTo>
                  <a:lnTo>
                    <a:pt x="250" y="62"/>
                  </a:lnTo>
                  <a:lnTo>
                    <a:pt x="248" y="60"/>
                  </a:lnTo>
                  <a:lnTo>
                    <a:pt x="248" y="60"/>
                  </a:lnTo>
                  <a:lnTo>
                    <a:pt x="242" y="62"/>
                  </a:lnTo>
                  <a:lnTo>
                    <a:pt x="242" y="62"/>
                  </a:lnTo>
                  <a:lnTo>
                    <a:pt x="242" y="64"/>
                  </a:lnTo>
                  <a:lnTo>
                    <a:pt x="240" y="66"/>
                  </a:lnTo>
                  <a:lnTo>
                    <a:pt x="240" y="66"/>
                  </a:lnTo>
                  <a:lnTo>
                    <a:pt x="238" y="66"/>
                  </a:lnTo>
                  <a:lnTo>
                    <a:pt x="238" y="66"/>
                  </a:lnTo>
                  <a:lnTo>
                    <a:pt x="240" y="64"/>
                  </a:lnTo>
                  <a:lnTo>
                    <a:pt x="240" y="64"/>
                  </a:lnTo>
                  <a:lnTo>
                    <a:pt x="236" y="62"/>
                  </a:lnTo>
                  <a:lnTo>
                    <a:pt x="236" y="62"/>
                  </a:lnTo>
                  <a:lnTo>
                    <a:pt x="234" y="62"/>
                  </a:lnTo>
                  <a:lnTo>
                    <a:pt x="234" y="62"/>
                  </a:lnTo>
                  <a:lnTo>
                    <a:pt x="232" y="62"/>
                  </a:lnTo>
                  <a:lnTo>
                    <a:pt x="232" y="62"/>
                  </a:lnTo>
                  <a:lnTo>
                    <a:pt x="232" y="62"/>
                  </a:lnTo>
                  <a:lnTo>
                    <a:pt x="230" y="62"/>
                  </a:lnTo>
                  <a:lnTo>
                    <a:pt x="228" y="62"/>
                  </a:lnTo>
                  <a:lnTo>
                    <a:pt x="228" y="62"/>
                  </a:lnTo>
                  <a:lnTo>
                    <a:pt x="226" y="64"/>
                  </a:lnTo>
                  <a:lnTo>
                    <a:pt x="226" y="64"/>
                  </a:lnTo>
                  <a:lnTo>
                    <a:pt x="226" y="64"/>
                  </a:lnTo>
                  <a:lnTo>
                    <a:pt x="226" y="64"/>
                  </a:lnTo>
                  <a:lnTo>
                    <a:pt x="224" y="62"/>
                  </a:lnTo>
                  <a:lnTo>
                    <a:pt x="216" y="64"/>
                  </a:lnTo>
                  <a:lnTo>
                    <a:pt x="216" y="64"/>
                  </a:lnTo>
                  <a:lnTo>
                    <a:pt x="216" y="64"/>
                  </a:lnTo>
                  <a:lnTo>
                    <a:pt x="210" y="66"/>
                  </a:lnTo>
                  <a:lnTo>
                    <a:pt x="210" y="66"/>
                  </a:lnTo>
                  <a:lnTo>
                    <a:pt x="206" y="70"/>
                  </a:lnTo>
                  <a:lnTo>
                    <a:pt x="206" y="70"/>
                  </a:lnTo>
                  <a:lnTo>
                    <a:pt x="206" y="70"/>
                  </a:lnTo>
                  <a:lnTo>
                    <a:pt x="206" y="70"/>
                  </a:lnTo>
                  <a:lnTo>
                    <a:pt x="206" y="70"/>
                  </a:lnTo>
                  <a:lnTo>
                    <a:pt x="202" y="70"/>
                  </a:lnTo>
                  <a:lnTo>
                    <a:pt x="202" y="70"/>
                  </a:lnTo>
                  <a:lnTo>
                    <a:pt x="200" y="70"/>
                  </a:lnTo>
                  <a:lnTo>
                    <a:pt x="200" y="70"/>
                  </a:lnTo>
                  <a:lnTo>
                    <a:pt x="200" y="70"/>
                  </a:lnTo>
                  <a:lnTo>
                    <a:pt x="190" y="74"/>
                  </a:lnTo>
                  <a:lnTo>
                    <a:pt x="190" y="74"/>
                  </a:lnTo>
                  <a:lnTo>
                    <a:pt x="190" y="74"/>
                  </a:lnTo>
                  <a:lnTo>
                    <a:pt x="184" y="78"/>
                  </a:lnTo>
                  <a:lnTo>
                    <a:pt x="184" y="78"/>
                  </a:lnTo>
                  <a:lnTo>
                    <a:pt x="182" y="80"/>
                  </a:lnTo>
                  <a:lnTo>
                    <a:pt x="182" y="80"/>
                  </a:lnTo>
                  <a:lnTo>
                    <a:pt x="184" y="82"/>
                  </a:lnTo>
                  <a:lnTo>
                    <a:pt x="184" y="82"/>
                  </a:lnTo>
                  <a:lnTo>
                    <a:pt x="184" y="82"/>
                  </a:lnTo>
                  <a:lnTo>
                    <a:pt x="182" y="82"/>
                  </a:lnTo>
                  <a:lnTo>
                    <a:pt x="182" y="82"/>
                  </a:lnTo>
                  <a:lnTo>
                    <a:pt x="182" y="80"/>
                  </a:lnTo>
                  <a:lnTo>
                    <a:pt x="182" y="80"/>
                  </a:lnTo>
                  <a:lnTo>
                    <a:pt x="180" y="78"/>
                  </a:lnTo>
                  <a:lnTo>
                    <a:pt x="180" y="78"/>
                  </a:lnTo>
                  <a:lnTo>
                    <a:pt x="178" y="78"/>
                  </a:lnTo>
                  <a:lnTo>
                    <a:pt x="178" y="78"/>
                  </a:lnTo>
                  <a:lnTo>
                    <a:pt x="176" y="78"/>
                  </a:lnTo>
                  <a:lnTo>
                    <a:pt x="176" y="78"/>
                  </a:lnTo>
                  <a:lnTo>
                    <a:pt x="176" y="78"/>
                  </a:lnTo>
                  <a:lnTo>
                    <a:pt x="176" y="78"/>
                  </a:lnTo>
                  <a:lnTo>
                    <a:pt x="208" y="62"/>
                  </a:lnTo>
                  <a:lnTo>
                    <a:pt x="224" y="56"/>
                  </a:lnTo>
                  <a:lnTo>
                    <a:pt x="242" y="50"/>
                  </a:lnTo>
                  <a:lnTo>
                    <a:pt x="260" y="46"/>
                  </a:lnTo>
                  <a:lnTo>
                    <a:pt x="278" y="42"/>
                  </a:lnTo>
                  <a:lnTo>
                    <a:pt x="296" y="40"/>
                  </a:lnTo>
                  <a:lnTo>
                    <a:pt x="316" y="40"/>
                  </a:lnTo>
                  <a:lnTo>
                    <a:pt x="316" y="40"/>
                  </a:lnTo>
                  <a:lnTo>
                    <a:pt x="334" y="40"/>
                  </a:lnTo>
                  <a:lnTo>
                    <a:pt x="354" y="42"/>
                  </a:lnTo>
                  <a:lnTo>
                    <a:pt x="372" y="46"/>
                  </a:lnTo>
                  <a:lnTo>
                    <a:pt x="390" y="50"/>
                  </a:lnTo>
                  <a:lnTo>
                    <a:pt x="408" y="56"/>
                  </a:lnTo>
                  <a:lnTo>
                    <a:pt x="426" y="64"/>
                  </a:lnTo>
                  <a:lnTo>
                    <a:pt x="442" y="72"/>
                  </a:lnTo>
                  <a:lnTo>
                    <a:pt x="458" y="80"/>
                  </a:lnTo>
                  <a:lnTo>
                    <a:pt x="458" y="80"/>
                  </a:lnTo>
                  <a:lnTo>
                    <a:pt x="458" y="80"/>
                  </a:lnTo>
                  <a:lnTo>
                    <a:pt x="458" y="80"/>
                  </a:lnTo>
                  <a:lnTo>
                    <a:pt x="460" y="82"/>
                  </a:lnTo>
                  <a:lnTo>
                    <a:pt x="460" y="82"/>
                  </a:lnTo>
                  <a:lnTo>
                    <a:pt x="462" y="86"/>
                  </a:lnTo>
                  <a:lnTo>
                    <a:pt x="462" y="86"/>
                  </a:lnTo>
                  <a:lnTo>
                    <a:pt x="464" y="86"/>
                  </a:lnTo>
                  <a:lnTo>
                    <a:pt x="464" y="86"/>
                  </a:lnTo>
                  <a:lnTo>
                    <a:pt x="474" y="92"/>
                  </a:lnTo>
                  <a:lnTo>
                    <a:pt x="474" y="92"/>
                  </a:lnTo>
                  <a:lnTo>
                    <a:pt x="476" y="92"/>
                  </a:lnTo>
                  <a:lnTo>
                    <a:pt x="476" y="92"/>
                  </a:lnTo>
                  <a:lnTo>
                    <a:pt x="476" y="92"/>
                  </a:lnTo>
                  <a:lnTo>
                    <a:pt x="476" y="92"/>
                  </a:lnTo>
                  <a:lnTo>
                    <a:pt x="476" y="92"/>
                  </a:lnTo>
                  <a:lnTo>
                    <a:pt x="478" y="94"/>
                  </a:lnTo>
                  <a:lnTo>
                    <a:pt x="478" y="94"/>
                  </a:lnTo>
                  <a:lnTo>
                    <a:pt x="478" y="94"/>
                  </a:lnTo>
                  <a:lnTo>
                    <a:pt x="478" y="96"/>
                  </a:lnTo>
                  <a:lnTo>
                    <a:pt x="472" y="92"/>
                  </a:lnTo>
                  <a:lnTo>
                    <a:pt x="472" y="92"/>
                  </a:lnTo>
                  <a:lnTo>
                    <a:pt x="470" y="94"/>
                  </a:lnTo>
                  <a:lnTo>
                    <a:pt x="470" y="94"/>
                  </a:lnTo>
                  <a:lnTo>
                    <a:pt x="470" y="96"/>
                  </a:lnTo>
                  <a:lnTo>
                    <a:pt x="470" y="96"/>
                  </a:lnTo>
                  <a:lnTo>
                    <a:pt x="466" y="94"/>
                  </a:lnTo>
                  <a:lnTo>
                    <a:pt x="466" y="94"/>
                  </a:lnTo>
                  <a:lnTo>
                    <a:pt x="462" y="92"/>
                  </a:lnTo>
                  <a:lnTo>
                    <a:pt x="462" y="92"/>
                  </a:lnTo>
                  <a:lnTo>
                    <a:pt x="462" y="92"/>
                  </a:lnTo>
                  <a:lnTo>
                    <a:pt x="456" y="90"/>
                  </a:lnTo>
                  <a:lnTo>
                    <a:pt x="456" y="90"/>
                  </a:lnTo>
                  <a:lnTo>
                    <a:pt x="456" y="92"/>
                  </a:lnTo>
                  <a:lnTo>
                    <a:pt x="456" y="92"/>
                  </a:lnTo>
                  <a:lnTo>
                    <a:pt x="454" y="92"/>
                  </a:lnTo>
                  <a:lnTo>
                    <a:pt x="452" y="90"/>
                  </a:lnTo>
                  <a:lnTo>
                    <a:pt x="448" y="88"/>
                  </a:lnTo>
                  <a:lnTo>
                    <a:pt x="448" y="88"/>
                  </a:lnTo>
                  <a:lnTo>
                    <a:pt x="448" y="88"/>
                  </a:lnTo>
                  <a:lnTo>
                    <a:pt x="442" y="88"/>
                  </a:lnTo>
                  <a:lnTo>
                    <a:pt x="442" y="88"/>
                  </a:lnTo>
                  <a:lnTo>
                    <a:pt x="442" y="88"/>
                  </a:lnTo>
                  <a:lnTo>
                    <a:pt x="438" y="88"/>
                  </a:lnTo>
                  <a:lnTo>
                    <a:pt x="438" y="88"/>
                  </a:lnTo>
                  <a:lnTo>
                    <a:pt x="436" y="88"/>
                  </a:lnTo>
                  <a:lnTo>
                    <a:pt x="436" y="88"/>
                  </a:lnTo>
                  <a:lnTo>
                    <a:pt x="436" y="90"/>
                  </a:lnTo>
                  <a:lnTo>
                    <a:pt x="436" y="90"/>
                  </a:lnTo>
                  <a:lnTo>
                    <a:pt x="434" y="90"/>
                  </a:lnTo>
                  <a:lnTo>
                    <a:pt x="434" y="90"/>
                  </a:lnTo>
                  <a:lnTo>
                    <a:pt x="432" y="92"/>
                  </a:lnTo>
                  <a:lnTo>
                    <a:pt x="432" y="92"/>
                  </a:lnTo>
                  <a:lnTo>
                    <a:pt x="432" y="94"/>
                  </a:lnTo>
                  <a:lnTo>
                    <a:pt x="430" y="94"/>
                  </a:lnTo>
                  <a:lnTo>
                    <a:pt x="430" y="94"/>
                  </a:lnTo>
                  <a:lnTo>
                    <a:pt x="430" y="96"/>
                  </a:lnTo>
                  <a:lnTo>
                    <a:pt x="428" y="98"/>
                  </a:lnTo>
                  <a:lnTo>
                    <a:pt x="428" y="98"/>
                  </a:lnTo>
                  <a:lnTo>
                    <a:pt x="428" y="98"/>
                  </a:lnTo>
                  <a:lnTo>
                    <a:pt x="428" y="98"/>
                  </a:lnTo>
                  <a:lnTo>
                    <a:pt x="428" y="100"/>
                  </a:lnTo>
                  <a:lnTo>
                    <a:pt x="428" y="102"/>
                  </a:lnTo>
                  <a:lnTo>
                    <a:pt x="428" y="110"/>
                  </a:lnTo>
                  <a:lnTo>
                    <a:pt x="428" y="110"/>
                  </a:lnTo>
                  <a:lnTo>
                    <a:pt x="428" y="112"/>
                  </a:lnTo>
                  <a:lnTo>
                    <a:pt x="428" y="112"/>
                  </a:lnTo>
                  <a:lnTo>
                    <a:pt x="426" y="112"/>
                  </a:lnTo>
                  <a:lnTo>
                    <a:pt x="422" y="118"/>
                  </a:lnTo>
                  <a:lnTo>
                    <a:pt x="422" y="118"/>
                  </a:lnTo>
                  <a:lnTo>
                    <a:pt x="422" y="122"/>
                  </a:lnTo>
                  <a:lnTo>
                    <a:pt x="428" y="132"/>
                  </a:lnTo>
                  <a:lnTo>
                    <a:pt x="430" y="134"/>
                  </a:lnTo>
                  <a:lnTo>
                    <a:pt x="430" y="134"/>
                  </a:lnTo>
                  <a:lnTo>
                    <a:pt x="430" y="136"/>
                  </a:lnTo>
                  <a:lnTo>
                    <a:pt x="430" y="136"/>
                  </a:lnTo>
                  <a:lnTo>
                    <a:pt x="434" y="136"/>
                  </a:lnTo>
                  <a:lnTo>
                    <a:pt x="436" y="138"/>
                  </a:lnTo>
                  <a:lnTo>
                    <a:pt x="436" y="138"/>
                  </a:lnTo>
                  <a:lnTo>
                    <a:pt x="438" y="138"/>
                  </a:lnTo>
                  <a:lnTo>
                    <a:pt x="436" y="142"/>
                  </a:lnTo>
                  <a:lnTo>
                    <a:pt x="436" y="142"/>
                  </a:lnTo>
                  <a:lnTo>
                    <a:pt x="438" y="144"/>
                  </a:lnTo>
                  <a:lnTo>
                    <a:pt x="440" y="146"/>
                  </a:lnTo>
                  <a:lnTo>
                    <a:pt x="440" y="146"/>
                  </a:lnTo>
                  <a:lnTo>
                    <a:pt x="440" y="148"/>
                  </a:lnTo>
                  <a:lnTo>
                    <a:pt x="436" y="148"/>
                  </a:lnTo>
                  <a:lnTo>
                    <a:pt x="436" y="148"/>
                  </a:lnTo>
                  <a:lnTo>
                    <a:pt x="436" y="148"/>
                  </a:lnTo>
                  <a:lnTo>
                    <a:pt x="436" y="148"/>
                  </a:lnTo>
                  <a:lnTo>
                    <a:pt x="434" y="150"/>
                  </a:lnTo>
                  <a:lnTo>
                    <a:pt x="434" y="152"/>
                  </a:lnTo>
                  <a:lnTo>
                    <a:pt x="434" y="152"/>
                  </a:lnTo>
                  <a:lnTo>
                    <a:pt x="432" y="152"/>
                  </a:lnTo>
                  <a:lnTo>
                    <a:pt x="430" y="154"/>
                  </a:lnTo>
                  <a:lnTo>
                    <a:pt x="430" y="154"/>
                  </a:lnTo>
                  <a:lnTo>
                    <a:pt x="430" y="154"/>
                  </a:lnTo>
                  <a:lnTo>
                    <a:pt x="430" y="154"/>
                  </a:lnTo>
                  <a:lnTo>
                    <a:pt x="430" y="156"/>
                  </a:lnTo>
                  <a:lnTo>
                    <a:pt x="428" y="156"/>
                  </a:lnTo>
                  <a:lnTo>
                    <a:pt x="428" y="154"/>
                  </a:lnTo>
                  <a:lnTo>
                    <a:pt x="428" y="154"/>
                  </a:lnTo>
                  <a:lnTo>
                    <a:pt x="428" y="154"/>
                  </a:lnTo>
                  <a:lnTo>
                    <a:pt x="428" y="154"/>
                  </a:lnTo>
                  <a:lnTo>
                    <a:pt x="414" y="140"/>
                  </a:lnTo>
                  <a:lnTo>
                    <a:pt x="414" y="136"/>
                  </a:lnTo>
                  <a:lnTo>
                    <a:pt x="414" y="136"/>
                  </a:lnTo>
                  <a:lnTo>
                    <a:pt x="414" y="136"/>
                  </a:lnTo>
                  <a:lnTo>
                    <a:pt x="414" y="136"/>
                  </a:lnTo>
                  <a:lnTo>
                    <a:pt x="414" y="136"/>
                  </a:lnTo>
                  <a:lnTo>
                    <a:pt x="414" y="134"/>
                  </a:lnTo>
                  <a:lnTo>
                    <a:pt x="414" y="134"/>
                  </a:lnTo>
                  <a:lnTo>
                    <a:pt x="408" y="132"/>
                  </a:lnTo>
                  <a:lnTo>
                    <a:pt x="408" y="130"/>
                  </a:lnTo>
                  <a:lnTo>
                    <a:pt x="408" y="130"/>
                  </a:lnTo>
                  <a:lnTo>
                    <a:pt x="406" y="128"/>
                  </a:lnTo>
                  <a:lnTo>
                    <a:pt x="402" y="128"/>
                  </a:lnTo>
                  <a:lnTo>
                    <a:pt x="402" y="128"/>
                  </a:lnTo>
                  <a:lnTo>
                    <a:pt x="400" y="128"/>
                  </a:lnTo>
                  <a:lnTo>
                    <a:pt x="400" y="130"/>
                  </a:lnTo>
                  <a:lnTo>
                    <a:pt x="398" y="138"/>
                  </a:lnTo>
                  <a:lnTo>
                    <a:pt x="398" y="138"/>
                  </a:lnTo>
                  <a:lnTo>
                    <a:pt x="398" y="138"/>
                  </a:lnTo>
                  <a:lnTo>
                    <a:pt x="398" y="138"/>
                  </a:lnTo>
                  <a:lnTo>
                    <a:pt x="398" y="140"/>
                  </a:lnTo>
                  <a:lnTo>
                    <a:pt x="398" y="140"/>
                  </a:lnTo>
                  <a:lnTo>
                    <a:pt x="398" y="142"/>
                  </a:lnTo>
                  <a:lnTo>
                    <a:pt x="398" y="142"/>
                  </a:lnTo>
                  <a:lnTo>
                    <a:pt x="398" y="142"/>
                  </a:lnTo>
                  <a:lnTo>
                    <a:pt x="396" y="142"/>
                  </a:lnTo>
                  <a:lnTo>
                    <a:pt x="396" y="142"/>
                  </a:lnTo>
                  <a:lnTo>
                    <a:pt x="396" y="142"/>
                  </a:lnTo>
                  <a:lnTo>
                    <a:pt x="396" y="142"/>
                  </a:lnTo>
                  <a:lnTo>
                    <a:pt x="394" y="142"/>
                  </a:lnTo>
                  <a:lnTo>
                    <a:pt x="394" y="142"/>
                  </a:lnTo>
                  <a:lnTo>
                    <a:pt x="394" y="142"/>
                  </a:lnTo>
                  <a:lnTo>
                    <a:pt x="394" y="142"/>
                  </a:lnTo>
                  <a:lnTo>
                    <a:pt x="392" y="142"/>
                  </a:lnTo>
                  <a:lnTo>
                    <a:pt x="392" y="142"/>
                  </a:lnTo>
                  <a:lnTo>
                    <a:pt x="392" y="144"/>
                  </a:lnTo>
                  <a:lnTo>
                    <a:pt x="392" y="144"/>
                  </a:lnTo>
                  <a:lnTo>
                    <a:pt x="392" y="144"/>
                  </a:lnTo>
                  <a:lnTo>
                    <a:pt x="388" y="146"/>
                  </a:lnTo>
                  <a:lnTo>
                    <a:pt x="388" y="146"/>
                  </a:lnTo>
                  <a:lnTo>
                    <a:pt x="388" y="148"/>
                  </a:lnTo>
                  <a:lnTo>
                    <a:pt x="388" y="152"/>
                  </a:lnTo>
                  <a:lnTo>
                    <a:pt x="388" y="152"/>
                  </a:lnTo>
                  <a:lnTo>
                    <a:pt x="390" y="154"/>
                  </a:lnTo>
                  <a:lnTo>
                    <a:pt x="390" y="154"/>
                  </a:lnTo>
                  <a:lnTo>
                    <a:pt x="390" y="154"/>
                  </a:lnTo>
                  <a:lnTo>
                    <a:pt x="390" y="154"/>
                  </a:lnTo>
                  <a:lnTo>
                    <a:pt x="388" y="154"/>
                  </a:lnTo>
                  <a:lnTo>
                    <a:pt x="388" y="158"/>
                  </a:lnTo>
                  <a:lnTo>
                    <a:pt x="388" y="158"/>
                  </a:lnTo>
                  <a:lnTo>
                    <a:pt x="388" y="162"/>
                  </a:lnTo>
                  <a:lnTo>
                    <a:pt x="388" y="162"/>
                  </a:lnTo>
                  <a:lnTo>
                    <a:pt x="392" y="162"/>
                  </a:lnTo>
                  <a:lnTo>
                    <a:pt x="398" y="160"/>
                  </a:lnTo>
                  <a:lnTo>
                    <a:pt x="398" y="160"/>
                  </a:lnTo>
                  <a:lnTo>
                    <a:pt x="400" y="160"/>
                  </a:lnTo>
                  <a:lnTo>
                    <a:pt x="404" y="158"/>
                  </a:lnTo>
                  <a:lnTo>
                    <a:pt x="404" y="158"/>
                  </a:lnTo>
                  <a:lnTo>
                    <a:pt x="406" y="158"/>
                  </a:lnTo>
                  <a:lnTo>
                    <a:pt x="406" y="158"/>
                  </a:lnTo>
                  <a:lnTo>
                    <a:pt x="406" y="158"/>
                  </a:lnTo>
                  <a:lnTo>
                    <a:pt x="406" y="158"/>
                  </a:lnTo>
                  <a:lnTo>
                    <a:pt x="406" y="158"/>
                  </a:lnTo>
                  <a:lnTo>
                    <a:pt x="406" y="160"/>
                  </a:lnTo>
                  <a:lnTo>
                    <a:pt x="406" y="160"/>
                  </a:lnTo>
                  <a:lnTo>
                    <a:pt x="404" y="160"/>
                  </a:lnTo>
                  <a:lnTo>
                    <a:pt x="404" y="160"/>
                  </a:lnTo>
                  <a:lnTo>
                    <a:pt x="404" y="160"/>
                  </a:lnTo>
                  <a:lnTo>
                    <a:pt x="402" y="164"/>
                  </a:lnTo>
                  <a:lnTo>
                    <a:pt x="402" y="164"/>
                  </a:lnTo>
                  <a:lnTo>
                    <a:pt x="404" y="166"/>
                  </a:lnTo>
                  <a:lnTo>
                    <a:pt x="404" y="166"/>
                  </a:lnTo>
                  <a:lnTo>
                    <a:pt x="406" y="168"/>
                  </a:lnTo>
                  <a:lnTo>
                    <a:pt x="408" y="168"/>
                  </a:lnTo>
                  <a:lnTo>
                    <a:pt x="408" y="168"/>
                  </a:lnTo>
                  <a:lnTo>
                    <a:pt x="408" y="168"/>
                  </a:lnTo>
                  <a:lnTo>
                    <a:pt x="408" y="172"/>
                  </a:lnTo>
                  <a:lnTo>
                    <a:pt x="408" y="172"/>
                  </a:lnTo>
                  <a:lnTo>
                    <a:pt x="408" y="172"/>
                  </a:lnTo>
                  <a:lnTo>
                    <a:pt x="408" y="172"/>
                  </a:lnTo>
                  <a:lnTo>
                    <a:pt x="408" y="172"/>
                  </a:lnTo>
                  <a:lnTo>
                    <a:pt x="408" y="172"/>
                  </a:lnTo>
                  <a:lnTo>
                    <a:pt x="408" y="176"/>
                  </a:lnTo>
                  <a:lnTo>
                    <a:pt x="408" y="176"/>
                  </a:lnTo>
                  <a:lnTo>
                    <a:pt x="410" y="178"/>
                  </a:lnTo>
                  <a:lnTo>
                    <a:pt x="410" y="178"/>
                  </a:lnTo>
                  <a:lnTo>
                    <a:pt x="412" y="178"/>
                  </a:lnTo>
                  <a:lnTo>
                    <a:pt x="412" y="178"/>
                  </a:lnTo>
                  <a:lnTo>
                    <a:pt x="416" y="178"/>
                  </a:lnTo>
                  <a:lnTo>
                    <a:pt x="420" y="182"/>
                  </a:lnTo>
                  <a:lnTo>
                    <a:pt x="420" y="184"/>
                  </a:lnTo>
                  <a:lnTo>
                    <a:pt x="420" y="184"/>
                  </a:lnTo>
                  <a:lnTo>
                    <a:pt x="420" y="186"/>
                  </a:lnTo>
                  <a:lnTo>
                    <a:pt x="420" y="188"/>
                  </a:lnTo>
                  <a:lnTo>
                    <a:pt x="420" y="188"/>
                  </a:lnTo>
                  <a:lnTo>
                    <a:pt x="408" y="186"/>
                  </a:lnTo>
                  <a:lnTo>
                    <a:pt x="408" y="186"/>
                  </a:lnTo>
                  <a:lnTo>
                    <a:pt x="408" y="186"/>
                  </a:lnTo>
                  <a:lnTo>
                    <a:pt x="408" y="186"/>
                  </a:lnTo>
                  <a:lnTo>
                    <a:pt x="404" y="186"/>
                  </a:lnTo>
                  <a:lnTo>
                    <a:pt x="404" y="186"/>
                  </a:lnTo>
                  <a:lnTo>
                    <a:pt x="404" y="186"/>
                  </a:lnTo>
                  <a:lnTo>
                    <a:pt x="402" y="186"/>
                  </a:lnTo>
                  <a:lnTo>
                    <a:pt x="402" y="186"/>
                  </a:lnTo>
                  <a:lnTo>
                    <a:pt x="400" y="188"/>
                  </a:lnTo>
                  <a:lnTo>
                    <a:pt x="400" y="188"/>
                  </a:lnTo>
                  <a:lnTo>
                    <a:pt x="400" y="188"/>
                  </a:lnTo>
                  <a:lnTo>
                    <a:pt x="398" y="188"/>
                  </a:lnTo>
                  <a:lnTo>
                    <a:pt x="398" y="188"/>
                  </a:lnTo>
                  <a:lnTo>
                    <a:pt x="398" y="190"/>
                  </a:lnTo>
                  <a:lnTo>
                    <a:pt x="398" y="190"/>
                  </a:lnTo>
                  <a:lnTo>
                    <a:pt x="396" y="190"/>
                  </a:lnTo>
                  <a:lnTo>
                    <a:pt x="396" y="190"/>
                  </a:lnTo>
                  <a:lnTo>
                    <a:pt x="396" y="192"/>
                  </a:lnTo>
                  <a:lnTo>
                    <a:pt x="396" y="192"/>
                  </a:lnTo>
                  <a:lnTo>
                    <a:pt x="398" y="202"/>
                  </a:lnTo>
                  <a:lnTo>
                    <a:pt x="396" y="212"/>
                  </a:lnTo>
                  <a:lnTo>
                    <a:pt x="396" y="212"/>
                  </a:lnTo>
                  <a:lnTo>
                    <a:pt x="396" y="212"/>
                  </a:lnTo>
                  <a:lnTo>
                    <a:pt x="396" y="212"/>
                  </a:lnTo>
                  <a:lnTo>
                    <a:pt x="396" y="214"/>
                  </a:lnTo>
                  <a:lnTo>
                    <a:pt x="396" y="214"/>
                  </a:lnTo>
                  <a:lnTo>
                    <a:pt x="396" y="216"/>
                  </a:lnTo>
                  <a:lnTo>
                    <a:pt x="398" y="216"/>
                  </a:lnTo>
                  <a:lnTo>
                    <a:pt x="400" y="222"/>
                  </a:lnTo>
                  <a:lnTo>
                    <a:pt x="400" y="222"/>
                  </a:lnTo>
                  <a:lnTo>
                    <a:pt x="402" y="224"/>
                  </a:lnTo>
                  <a:lnTo>
                    <a:pt x="404" y="224"/>
                  </a:lnTo>
                  <a:lnTo>
                    <a:pt x="408" y="224"/>
                  </a:lnTo>
                  <a:lnTo>
                    <a:pt x="410" y="226"/>
                  </a:lnTo>
                  <a:lnTo>
                    <a:pt x="396" y="238"/>
                  </a:lnTo>
                  <a:lnTo>
                    <a:pt x="396" y="238"/>
                  </a:lnTo>
                  <a:lnTo>
                    <a:pt x="396" y="240"/>
                  </a:lnTo>
                  <a:lnTo>
                    <a:pt x="396" y="240"/>
                  </a:lnTo>
                  <a:lnTo>
                    <a:pt x="394" y="240"/>
                  </a:lnTo>
                  <a:lnTo>
                    <a:pt x="392" y="250"/>
                  </a:lnTo>
                  <a:lnTo>
                    <a:pt x="382" y="258"/>
                  </a:lnTo>
                  <a:lnTo>
                    <a:pt x="378" y="260"/>
                  </a:lnTo>
                  <a:lnTo>
                    <a:pt x="378" y="260"/>
                  </a:lnTo>
                  <a:lnTo>
                    <a:pt x="376" y="262"/>
                  </a:lnTo>
                  <a:lnTo>
                    <a:pt x="376" y="262"/>
                  </a:lnTo>
                  <a:lnTo>
                    <a:pt x="368" y="276"/>
                  </a:lnTo>
                  <a:lnTo>
                    <a:pt x="368" y="276"/>
                  </a:lnTo>
                  <a:lnTo>
                    <a:pt x="364" y="282"/>
                  </a:lnTo>
                  <a:lnTo>
                    <a:pt x="358" y="294"/>
                  </a:lnTo>
                  <a:lnTo>
                    <a:pt x="358" y="294"/>
                  </a:lnTo>
                  <a:lnTo>
                    <a:pt x="358" y="296"/>
                  </a:lnTo>
                  <a:lnTo>
                    <a:pt x="358" y="296"/>
                  </a:lnTo>
                  <a:lnTo>
                    <a:pt x="358" y="298"/>
                  </a:lnTo>
                  <a:lnTo>
                    <a:pt x="358" y="298"/>
                  </a:lnTo>
                  <a:lnTo>
                    <a:pt x="358" y="300"/>
                  </a:lnTo>
                  <a:lnTo>
                    <a:pt x="358" y="300"/>
                  </a:lnTo>
                  <a:lnTo>
                    <a:pt x="358" y="300"/>
                  </a:lnTo>
                  <a:lnTo>
                    <a:pt x="360" y="302"/>
                  </a:lnTo>
                  <a:lnTo>
                    <a:pt x="362" y="314"/>
                  </a:lnTo>
                  <a:lnTo>
                    <a:pt x="354" y="330"/>
                  </a:lnTo>
                  <a:lnTo>
                    <a:pt x="354" y="330"/>
                  </a:lnTo>
                  <a:lnTo>
                    <a:pt x="356" y="332"/>
                  </a:lnTo>
                  <a:lnTo>
                    <a:pt x="358" y="336"/>
                  </a:lnTo>
                  <a:lnTo>
                    <a:pt x="358" y="336"/>
                  </a:lnTo>
                  <a:lnTo>
                    <a:pt x="358" y="340"/>
                  </a:lnTo>
                  <a:lnTo>
                    <a:pt x="358" y="340"/>
                  </a:lnTo>
                  <a:lnTo>
                    <a:pt x="358" y="340"/>
                  </a:lnTo>
                  <a:lnTo>
                    <a:pt x="358" y="342"/>
                  </a:lnTo>
                  <a:lnTo>
                    <a:pt x="358" y="342"/>
                  </a:lnTo>
                  <a:lnTo>
                    <a:pt x="358" y="342"/>
                  </a:lnTo>
                  <a:lnTo>
                    <a:pt x="360" y="346"/>
                  </a:lnTo>
                  <a:lnTo>
                    <a:pt x="364" y="350"/>
                  </a:lnTo>
                  <a:lnTo>
                    <a:pt x="372" y="362"/>
                  </a:lnTo>
                  <a:lnTo>
                    <a:pt x="372" y="362"/>
                  </a:lnTo>
                  <a:lnTo>
                    <a:pt x="372" y="362"/>
                  </a:lnTo>
                  <a:lnTo>
                    <a:pt x="378" y="366"/>
                  </a:lnTo>
                  <a:lnTo>
                    <a:pt x="380" y="370"/>
                  </a:lnTo>
                  <a:lnTo>
                    <a:pt x="380" y="370"/>
                  </a:lnTo>
                  <a:lnTo>
                    <a:pt x="382" y="370"/>
                  </a:lnTo>
                  <a:lnTo>
                    <a:pt x="382" y="372"/>
                  </a:lnTo>
                  <a:lnTo>
                    <a:pt x="382" y="372"/>
                  </a:lnTo>
                  <a:lnTo>
                    <a:pt x="382" y="372"/>
                  </a:lnTo>
                  <a:lnTo>
                    <a:pt x="384" y="372"/>
                  </a:lnTo>
                  <a:lnTo>
                    <a:pt x="384" y="372"/>
                  </a:lnTo>
                  <a:lnTo>
                    <a:pt x="384" y="372"/>
                  </a:lnTo>
                  <a:lnTo>
                    <a:pt x="394" y="378"/>
                  </a:lnTo>
                  <a:lnTo>
                    <a:pt x="398" y="382"/>
                  </a:lnTo>
                  <a:lnTo>
                    <a:pt x="398" y="382"/>
                  </a:lnTo>
                  <a:lnTo>
                    <a:pt x="400" y="382"/>
                  </a:lnTo>
                  <a:lnTo>
                    <a:pt x="400" y="382"/>
                  </a:lnTo>
                  <a:lnTo>
                    <a:pt x="400" y="382"/>
                  </a:lnTo>
                  <a:lnTo>
                    <a:pt x="400" y="382"/>
                  </a:lnTo>
                  <a:lnTo>
                    <a:pt x="406" y="382"/>
                  </a:lnTo>
                  <a:lnTo>
                    <a:pt x="414" y="380"/>
                  </a:lnTo>
                  <a:lnTo>
                    <a:pt x="426" y="380"/>
                  </a:lnTo>
                  <a:lnTo>
                    <a:pt x="426" y="380"/>
                  </a:lnTo>
                  <a:lnTo>
                    <a:pt x="426" y="380"/>
                  </a:lnTo>
                  <a:lnTo>
                    <a:pt x="438" y="378"/>
                  </a:lnTo>
                  <a:lnTo>
                    <a:pt x="438" y="378"/>
                  </a:lnTo>
                  <a:lnTo>
                    <a:pt x="438" y="378"/>
                  </a:lnTo>
                  <a:lnTo>
                    <a:pt x="440" y="378"/>
                  </a:lnTo>
                  <a:lnTo>
                    <a:pt x="440" y="378"/>
                  </a:lnTo>
                  <a:lnTo>
                    <a:pt x="440" y="378"/>
                  </a:lnTo>
                  <a:lnTo>
                    <a:pt x="444" y="376"/>
                  </a:lnTo>
                  <a:lnTo>
                    <a:pt x="450" y="376"/>
                  </a:lnTo>
                  <a:lnTo>
                    <a:pt x="452" y="374"/>
                  </a:lnTo>
                  <a:lnTo>
                    <a:pt x="456" y="382"/>
                  </a:lnTo>
                  <a:lnTo>
                    <a:pt x="456" y="382"/>
                  </a:lnTo>
                  <a:lnTo>
                    <a:pt x="458" y="384"/>
                  </a:lnTo>
                  <a:lnTo>
                    <a:pt x="466" y="382"/>
                  </a:lnTo>
                  <a:lnTo>
                    <a:pt x="470" y="388"/>
                  </a:lnTo>
                  <a:lnTo>
                    <a:pt x="470" y="390"/>
                  </a:lnTo>
                  <a:lnTo>
                    <a:pt x="464" y="404"/>
                  </a:lnTo>
                  <a:lnTo>
                    <a:pt x="464" y="404"/>
                  </a:lnTo>
                  <a:lnTo>
                    <a:pt x="464" y="406"/>
                  </a:lnTo>
                  <a:lnTo>
                    <a:pt x="470" y="420"/>
                  </a:lnTo>
                  <a:lnTo>
                    <a:pt x="470" y="422"/>
                  </a:lnTo>
                  <a:lnTo>
                    <a:pt x="470" y="426"/>
                  </a:lnTo>
                  <a:lnTo>
                    <a:pt x="470" y="426"/>
                  </a:lnTo>
                  <a:lnTo>
                    <a:pt x="470" y="426"/>
                  </a:lnTo>
                  <a:lnTo>
                    <a:pt x="470" y="426"/>
                  </a:lnTo>
                  <a:lnTo>
                    <a:pt x="472" y="428"/>
                  </a:lnTo>
                  <a:lnTo>
                    <a:pt x="472" y="428"/>
                  </a:lnTo>
                  <a:lnTo>
                    <a:pt x="472" y="428"/>
                  </a:lnTo>
                  <a:lnTo>
                    <a:pt x="472" y="428"/>
                  </a:lnTo>
                  <a:lnTo>
                    <a:pt x="472" y="430"/>
                  </a:lnTo>
                  <a:lnTo>
                    <a:pt x="472" y="432"/>
                  </a:lnTo>
                  <a:lnTo>
                    <a:pt x="472" y="436"/>
                  </a:lnTo>
                  <a:lnTo>
                    <a:pt x="468" y="452"/>
                  </a:lnTo>
                  <a:lnTo>
                    <a:pt x="464" y="458"/>
                  </a:lnTo>
                  <a:lnTo>
                    <a:pt x="460" y="464"/>
                  </a:lnTo>
                  <a:lnTo>
                    <a:pt x="458" y="464"/>
                  </a:lnTo>
                  <a:lnTo>
                    <a:pt x="458" y="464"/>
                  </a:lnTo>
                  <a:lnTo>
                    <a:pt x="458" y="466"/>
                  </a:lnTo>
                  <a:lnTo>
                    <a:pt x="458" y="466"/>
                  </a:lnTo>
                  <a:lnTo>
                    <a:pt x="456" y="466"/>
                  </a:lnTo>
                  <a:lnTo>
                    <a:pt x="456" y="466"/>
                  </a:lnTo>
                  <a:lnTo>
                    <a:pt x="454" y="476"/>
                  </a:lnTo>
                  <a:lnTo>
                    <a:pt x="454" y="476"/>
                  </a:lnTo>
                  <a:lnTo>
                    <a:pt x="454" y="476"/>
                  </a:lnTo>
                  <a:lnTo>
                    <a:pt x="454" y="476"/>
                  </a:lnTo>
                  <a:lnTo>
                    <a:pt x="454" y="476"/>
                  </a:lnTo>
                  <a:lnTo>
                    <a:pt x="454" y="484"/>
                  </a:lnTo>
                  <a:lnTo>
                    <a:pt x="454" y="484"/>
                  </a:lnTo>
                  <a:lnTo>
                    <a:pt x="446" y="512"/>
                  </a:lnTo>
                  <a:lnTo>
                    <a:pt x="446" y="512"/>
                  </a:lnTo>
                  <a:lnTo>
                    <a:pt x="446" y="512"/>
                  </a:lnTo>
                  <a:lnTo>
                    <a:pt x="446" y="514"/>
                  </a:lnTo>
                  <a:lnTo>
                    <a:pt x="444" y="520"/>
                  </a:lnTo>
                  <a:lnTo>
                    <a:pt x="444" y="520"/>
                  </a:lnTo>
                  <a:lnTo>
                    <a:pt x="440" y="526"/>
                  </a:lnTo>
                  <a:lnTo>
                    <a:pt x="438" y="528"/>
                  </a:lnTo>
                  <a:lnTo>
                    <a:pt x="438" y="528"/>
                  </a:lnTo>
                  <a:lnTo>
                    <a:pt x="434" y="534"/>
                  </a:lnTo>
                  <a:lnTo>
                    <a:pt x="434" y="536"/>
                  </a:lnTo>
                  <a:lnTo>
                    <a:pt x="434" y="536"/>
                  </a:lnTo>
                  <a:lnTo>
                    <a:pt x="434" y="538"/>
                  </a:lnTo>
                  <a:lnTo>
                    <a:pt x="434" y="538"/>
                  </a:lnTo>
                  <a:lnTo>
                    <a:pt x="434" y="540"/>
                  </a:lnTo>
                  <a:lnTo>
                    <a:pt x="434" y="540"/>
                  </a:lnTo>
                  <a:lnTo>
                    <a:pt x="438" y="540"/>
                  </a:lnTo>
                  <a:lnTo>
                    <a:pt x="438" y="540"/>
                  </a:lnTo>
                  <a:lnTo>
                    <a:pt x="440" y="540"/>
                  </a:lnTo>
                  <a:lnTo>
                    <a:pt x="440" y="540"/>
                  </a:lnTo>
                  <a:lnTo>
                    <a:pt x="442" y="538"/>
                  </a:lnTo>
                  <a:lnTo>
                    <a:pt x="442" y="538"/>
                  </a:lnTo>
                  <a:lnTo>
                    <a:pt x="442" y="538"/>
                  </a:lnTo>
                  <a:lnTo>
                    <a:pt x="456" y="536"/>
                  </a:lnTo>
                  <a:lnTo>
                    <a:pt x="464" y="532"/>
                  </a:lnTo>
                  <a:lnTo>
                    <a:pt x="464" y="532"/>
                  </a:lnTo>
                  <a:lnTo>
                    <a:pt x="464" y="532"/>
                  </a:lnTo>
                  <a:lnTo>
                    <a:pt x="478" y="522"/>
                  </a:lnTo>
                  <a:lnTo>
                    <a:pt x="478" y="522"/>
                  </a:lnTo>
                  <a:lnTo>
                    <a:pt x="478" y="522"/>
                  </a:lnTo>
                  <a:lnTo>
                    <a:pt x="478" y="522"/>
                  </a:lnTo>
                  <a:lnTo>
                    <a:pt x="478" y="522"/>
                  </a:lnTo>
                  <a:lnTo>
                    <a:pt x="484" y="518"/>
                  </a:lnTo>
                  <a:lnTo>
                    <a:pt x="490" y="510"/>
                  </a:lnTo>
                  <a:lnTo>
                    <a:pt x="494" y="508"/>
                  </a:lnTo>
                  <a:lnTo>
                    <a:pt x="496" y="508"/>
                  </a:lnTo>
                  <a:lnTo>
                    <a:pt x="496" y="508"/>
                  </a:lnTo>
                  <a:lnTo>
                    <a:pt x="496" y="508"/>
                  </a:lnTo>
                  <a:lnTo>
                    <a:pt x="498" y="506"/>
                  </a:lnTo>
                  <a:lnTo>
                    <a:pt x="498" y="506"/>
                  </a:lnTo>
                  <a:lnTo>
                    <a:pt x="500" y="504"/>
                  </a:lnTo>
                  <a:lnTo>
                    <a:pt x="508" y="496"/>
                  </a:lnTo>
                  <a:lnTo>
                    <a:pt x="508" y="496"/>
                  </a:lnTo>
                  <a:lnTo>
                    <a:pt x="508" y="496"/>
                  </a:lnTo>
                  <a:lnTo>
                    <a:pt x="514" y="488"/>
                  </a:lnTo>
                  <a:lnTo>
                    <a:pt x="514" y="486"/>
                  </a:lnTo>
                  <a:lnTo>
                    <a:pt x="514" y="486"/>
                  </a:lnTo>
                  <a:lnTo>
                    <a:pt x="514" y="486"/>
                  </a:lnTo>
                  <a:lnTo>
                    <a:pt x="516" y="486"/>
                  </a:lnTo>
                  <a:lnTo>
                    <a:pt x="516" y="486"/>
                  </a:lnTo>
                  <a:lnTo>
                    <a:pt x="518" y="484"/>
                  </a:lnTo>
                  <a:lnTo>
                    <a:pt x="520" y="482"/>
                  </a:lnTo>
                  <a:lnTo>
                    <a:pt x="520" y="482"/>
                  </a:lnTo>
                  <a:lnTo>
                    <a:pt x="520" y="482"/>
                  </a:lnTo>
                  <a:lnTo>
                    <a:pt x="520" y="482"/>
                  </a:lnTo>
                  <a:lnTo>
                    <a:pt x="530" y="474"/>
                  </a:lnTo>
                  <a:lnTo>
                    <a:pt x="530" y="474"/>
                  </a:lnTo>
                  <a:lnTo>
                    <a:pt x="530" y="474"/>
                  </a:lnTo>
                  <a:lnTo>
                    <a:pt x="532" y="474"/>
                  </a:lnTo>
                  <a:lnTo>
                    <a:pt x="532" y="474"/>
                  </a:lnTo>
                  <a:lnTo>
                    <a:pt x="532" y="474"/>
                  </a:lnTo>
                  <a:lnTo>
                    <a:pt x="530" y="476"/>
                  </a:lnTo>
                  <a:lnTo>
                    <a:pt x="530" y="476"/>
                  </a:lnTo>
                  <a:lnTo>
                    <a:pt x="530" y="478"/>
                  </a:lnTo>
                  <a:lnTo>
                    <a:pt x="526" y="482"/>
                  </a:lnTo>
                  <a:lnTo>
                    <a:pt x="520" y="488"/>
                  </a:lnTo>
                  <a:lnTo>
                    <a:pt x="520" y="488"/>
                  </a:lnTo>
                  <a:lnTo>
                    <a:pt x="512" y="500"/>
                  </a:lnTo>
                  <a:lnTo>
                    <a:pt x="512" y="500"/>
                  </a:lnTo>
                  <a:lnTo>
                    <a:pt x="510" y="504"/>
                  </a:lnTo>
                  <a:lnTo>
                    <a:pt x="510" y="504"/>
                  </a:lnTo>
                  <a:lnTo>
                    <a:pt x="512" y="506"/>
                  </a:lnTo>
                  <a:lnTo>
                    <a:pt x="512" y="506"/>
                  </a:lnTo>
                  <a:lnTo>
                    <a:pt x="492" y="524"/>
                  </a:lnTo>
                  <a:lnTo>
                    <a:pt x="470" y="540"/>
                  </a:lnTo>
                  <a:lnTo>
                    <a:pt x="448" y="554"/>
                  </a:lnTo>
                  <a:lnTo>
                    <a:pt x="424" y="566"/>
                  </a:lnTo>
                  <a:lnTo>
                    <a:pt x="398" y="576"/>
                  </a:lnTo>
                  <a:lnTo>
                    <a:pt x="372" y="584"/>
                  </a:lnTo>
                  <a:lnTo>
                    <a:pt x="344" y="588"/>
                  </a:lnTo>
                  <a:lnTo>
                    <a:pt x="316" y="590"/>
                  </a:lnTo>
                  <a:lnTo>
                    <a:pt x="316" y="590"/>
                  </a:lnTo>
                  <a:close/>
                  <a:moveTo>
                    <a:pt x="226" y="108"/>
                  </a:moveTo>
                  <a:lnTo>
                    <a:pt x="228" y="110"/>
                  </a:lnTo>
                  <a:lnTo>
                    <a:pt x="226" y="110"/>
                  </a:lnTo>
                  <a:lnTo>
                    <a:pt x="226" y="110"/>
                  </a:lnTo>
                  <a:lnTo>
                    <a:pt x="226" y="112"/>
                  </a:lnTo>
                  <a:lnTo>
                    <a:pt x="226" y="112"/>
                  </a:lnTo>
                  <a:lnTo>
                    <a:pt x="234" y="118"/>
                  </a:lnTo>
                  <a:lnTo>
                    <a:pt x="234" y="118"/>
                  </a:lnTo>
                  <a:lnTo>
                    <a:pt x="234" y="118"/>
                  </a:lnTo>
                  <a:lnTo>
                    <a:pt x="226" y="122"/>
                  </a:lnTo>
                  <a:lnTo>
                    <a:pt x="226" y="122"/>
                  </a:lnTo>
                  <a:lnTo>
                    <a:pt x="228" y="120"/>
                  </a:lnTo>
                  <a:lnTo>
                    <a:pt x="228" y="120"/>
                  </a:lnTo>
                  <a:lnTo>
                    <a:pt x="228" y="118"/>
                  </a:lnTo>
                  <a:lnTo>
                    <a:pt x="228" y="118"/>
                  </a:lnTo>
                  <a:lnTo>
                    <a:pt x="222" y="110"/>
                  </a:lnTo>
                  <a:lnTo>
                    <a:pt x="222" y="110"/>
                  </a:lnTo>
                  <a:lnTo>
                    <a:pt x="222" y="110"/>
                  </a:lnTo>
                  <a:lnTo>
                    <a:pt x="220" y="110"/>
                  </a:lnTo>
                  <a:lnTo>
                    <a:pt x="220" y="110"/>
                  </a:lnTo>
                  <a:lnTo>
                    <a:pt x="222" y="110"/>
                  </a:lnTo>
                  <a:lnTo>
                    <a:pt x="226" y="108"/>
                  </a:lnTo>
                  <a:lnTo>
                    <a:pt x="226" y="108"/>
                  </a:lnTo>
                  <a:close/>
                  <a:moveTo>
                    <a:pt x="226" y="100"/>
                  </a:moveTo>
                  <a:lnTo>
                    <a:pt x="234" y="92"/>
                  </a:lnTo>
                  <a:lnTo>
                    <a:pt x="234" y="92"/>
                  </a:lnTo>
                  <a:lnTo>
                    <a:pt x="236" y="94"/>
                  </a:lnTo>
                  <a:lnTo>
                    <a:pt x="234" y="96"/>
                  </a:lnTo>
                  <a:lnTo>
                    <a:pt x="234" y="96"/>
                  </a:lnTo>
                  <a:lnTo>
                    <a:pt x="232" y="98"/>
                  </a:lnTo>
                  <a:lnTo>
                    <a:pt x="230" y="100"/>
                  </a:lnTo>
                  <a:lnTo>
                    <a:pt x="226" y="100"/>
                  </a:lnTo>
                  <a:close/>
                  <a:moveTo>
                    <a:pt x="222" y="102"/>
                  </a:moveTo>
                  <a:lnTo>
                    <a:pt x="222" y="102"/>
                  </a:lnTo>
                  <a:lnTo>
                    <a:pt x="222" y="102"/>
                  </a:lnTo>
                  <a:lnTo>
                    <a:pt x="218" y="106"/>
                  </a:lnTo>
                  <a:lnTo>
                    <a:pt x="218" y="106"/>
                  </a:lnTo>
                  <a:lnTo>
                    <a:pt x="218" y="106"/>
                  </a:lnTo>
                  <a:lnTo>
                    <a:pt x="218" y="108"/>
                  </a:lnTo>
                  <a:lnTo>
                    <a:pt x="218" y="108"/>
                  </a:lnTo>
                  <a:lnTo>
                    <a:pt x="218" y="110"/>
                  </a:lnTo>
                  <a:lnTo>
                    <a:pt x="216" y="108"/>
                  </a:lnTo>
                  <a:lnTo>
                    <a:pt x="216" y="108"/>
                  </a:lnTo>
                  <a:lnTo>
                    <a:pt x="214" y="108"/>
                  </a:lnTo>
                  <a:lnTo>
                    <a:pt x="216" y="102"/>
                  </a:lnTo>
                  <a:lnTo>
                    <a:pt x="216" y="102"/>
                  </a:lnTo>
                  <a:lnTo>
                    <a:pt x="216" y="102"/>
                  </a:lnTo>
                  <a:lnTo>
                    <a:pt x="224" y="100"/>
                  </a:lnTo>
                  <a:lnTo>
                    <a:pt x="224" y="100"/>
                  </a:lnTo>
                  <a:lnTo>
                    <a:pt x="222" y="102"/>
                  </a:lnTo>
                  <a:lnTo>
                    <a:pt x="222" y="102"/>
                  </a:ln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7" name="Group 6"/>
          <p:cNvGrpSpPr/>
          <p:nvPr/>
        </p:nvGrpSpPr>
        <p:grpSpPr>
          <a:xfrm>
            <a:off x="9888504" y="4309897"/>
            <a:ext cx="1566181" cy="2252943"/>
            <a:chOff x="9889023" y="4310012"/>
            <a:chExt cx="1566403" cy="2253262"/>
          </a:xfrm>
        </p:grpSpPr>
        <p:sp>
          <p:nvSpPr>
            <p:cNvPr id="31" name="Rectangle 30"/>
            <p:cNvSpPr/>
            <p:nvPr/>
          </p:nvSpPr>
          <p:spPr bwMode="auto">
            <a:xfrm>
              <a:off x="9889023" y="4310012"/>
              <a:ext cx="1566403" cy="2253262"/>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071"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2016 Federal Solution Partner of the Year </a:t>
              </a: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0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071" b="1" i="0" u="none" strike="noStrike" kern="0" cap="none" spc="0" normalizeH="0" baseline="0" noProof="0" dirty="0">
                  <a:ln>
                    <a:noFill/>
                  </a:ln>
                  <a:solidFill>
                    <a:sysClr val="windowText" lastClr="000000"/>
                  </a:solidFill>
                  <a:effectLst/>
                  <a:uLnTx/>
                  <a:uFillTx/>
                  <a:latin typeface="Segoe UI"/>
                  <a:ea typeface="+mn-ea"/>
                  <a:cs typeface="+mn-cs"/>
                </a:rPr>
                <a:t>Microsoft 2016 Partner of the Year for Technology for Good Citizenship</a:t>
              </a:r>
              <a:endParaRPr kumimoji="0" lang="en-US" sz="10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Rectangle 120"/>
            <p:cNvSpPr/>
            <p:nvPr/>
          </p:nvSpPr>
          <p:spPr>
            <a:xfrm>
              <a:off x="10059856" y="5979495"/>
              <a:ext cx="1310640" cy="430370"/>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dirty="0">
                  <a:ln>
                    <a:noFill/>
                  </a:ln>
                  <a:solidFill>
                    <a:srgbClr val="FFFFFF"/>
                  </a:solidFill>
                  <a:effectLst/>
                  <a:uLnTx/>
                  <a:uFillTx/>
                  <a:latin typeface="Segoe UI"/>
                  <a:ea typeface="+mn-ea"/>
                  <a:cs typeface="+mn-cs"/>
                </a:rPr>
                <a:t>Multiple Global Awards</a:t>
              </a:r>
            </a:p>
          </p:txBody>
        </p:sp>
      </p:grpSp>
      <p:pic>
        <p:nvPicPr>
          <p:cNvPr id="3" name="Picture 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704741" y="2097179"/>
            <a:ext cx="861273" cy="861273"/>
          </a:xfrm>
          <a:prstGeom prst="rect">
            <a:avLst/>
          </a:prstGeom>
        </p:spPr>
      </p:pic>
    </p:spTree>
    <p:extLst>
      <p:ext uri="{BB962C8B-B14F-4D97-AF65-F5344CB8AC3E}">
        <p14:creationId xmlns:p14="http://schemas.microsoft.com/office/powerpoint/2010/main" val="1010837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par>
                          <p:cTn id="8" fill="hold">
                            <p:stCondLst>
                              <p:cond delay="500"/>
                            </p:stCondLst>
                            <p:childTnLst>
                              <p:par>
                                <p:cTn id="9" presetID="12" presetClass="entr" presetSubtype="4"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 calcmode="lin" valueType="num">
                                      <p:cBhvr additive="base">
                                        <p:cTn id="11" dur="500"/>
                                        <p:tgtEl>
                                          <p:spTgt spid="83"/>
                                        </p:tgtEl>
                                        <p:attrNameLst>
                                          <p:attrName>ppt_y</p:attrName>
                                        </p:attrNameLst>
                                      </p:cBhvr>
                                      <p:tavLst>
                                        <p:tav tm="0">
                                          <p:val>
                                            <p:strVal val="#ppt_y+#ppt_h*1.125000"/>
                                          </p:val>
                                        </p:tav>
                                        <p:tav tm="100000">
                                          <p:val>
                                            <p:strVal val="#ppt_y"/>
                                          </p:val>
                                        </p:tav>
                                      </p:tavLst>
                                    </p:anim>
                                    <p:animEffect transition="in" filter="wipe(up)">
                                      <p:cBhvr>
                                        <p:cTn id="12" dur="500"/>
                                        <p:tgtEl>
                                          <p:spTgt spid="83"/>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4" fill="hold" nodeType="clickEffect">
                                  <p:stCondLst>
                                    <p:cond delay="0"/>
                                  </p:stCondLst>
                                  <p:childTnLst>
                                    <p:set>
                                      <p:cBhvr>
                                        <p:cTn id="16" dur="1" fill="hold">
                                          <p:stCondLst>
                                            <p:cond delay="0"/>
                                          </p:stCondLst>
                                        </p:cTn>
                                        <p:tgtEl>
                                          <p:spTgt spid="54"/>
                                        </p:tgtEl>
                                        <p:attrNameLst>
                                          <p:attrName>style.visibility</p:attrName>
                                        </p:attrNameLst>
                                      </p:cBhvr>
                                      <p:to>
                                        <p:strVal val="visible"/>
                                      </p:to>
                                    </p:set>
                                    <p:anim calcmode="lin" valueType="num">
                                      <p:cBhvr additive="base">
                                        <p:cTn id="17" dur="500"/>
                                        <p:tgtEl>
                                          <p:spTgt spid="54"/>
                                        </p:tgtEl>
                                        <p:attrNameLst>
                                          <p:attrName>ppt_y</p:attrName>
                                        </p:attrNameLst>
                                      </p:cBhvr>
                                      <p:tavLst>
                                        <p:tav tm="0">
                                          <p:val>
                                            <p:strVal val="#ppt_y+#ppt_h*1.125000"/>
                                          </p:val>
                                        </p:tav>
                                        <p:tav tm="100000">
                                          <p:val>
                                            <p:strVal val="#ppt_y"/>
                                          </p:val>
                                        </p:tav>
                                      </p:tavLst>
                                    </p:anim>
                                    <p:animEffect transition="in" filter="wipe(up)">
                                      <p:cBhvr>
                                        <p:cTn id="18" dur="500"/>
                                        <p:tgtEl>
                                          <p:spTgt spid="5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childTnLst>
                          </p:cTn>
                        </p:par>
                        <p:par>
                          <p:cTn id="24" fill="hold">
                            <p:stCondLst>
                              <p:cond delay="500"/>
                            </p:stCondLst>
                            <p:childTnLst>
                              <p:par>
                                <p:cTn id="25" presetID="12" presetClass="entr" presetSubtype="4" fill="hold" nodeType="afterEffect">
                                  <p:stCondLst>
                                    <p:cond delay="0"/>
                                  </p:stCondLst>
                                  <p:childTnLst>
                                    <p:set>
                                      <p:cBhvr>
                                        <p:cTn id="26" dur="1" fill="hold">
                                          <p:stCondLst>
                                            <p:cond delay="0"/>
                                          </p:stCondLst>
                                        </p:cTn>
                                        <p:tgtEl>
                                          <p:spTgt spid="49"/>
                                        </p:tgtEl>
                                        <p:attrNameLst>
                                          <p:attrName>style.visibility</p:attrName>
                                        </p:attrNameLst>
                                      </p:cBhvr>
                                      <p:to>
                                        <p:strVal val="visible"/>
                                      </p:to>
                                    </p:set>
                                    <p:anim calcmode="lin" valueType="num">
                                      <p:cBhvr additive="base">
                                        <p:cTn id="27" dur="500"/>
                                        <p:tgtEl>
                                          <p:spTgt spid="49"/>
                                        </p:tgtEl>
                                        <p:attrNameLst>
                                          <p:attrName>ppt_y</p:attrName>
                                        </p:attrNameLst>
                                      </p:cBhvr>
                                      <p:tavLst>
                                        <p:tav tm="0">
                                          <p:val>
                                            <p:strVal val="#ppt_y+#ppt_h*1.125000"/>
                                          </p:val>
                                        </p:tav>
                                        <p:tav tm="100000">
                                          <p:val>
                                            <p:strVal val="#ppt_y"/>
                                          </p:val>
                                        </p:tav>
                                      </p:tavLst>
                                    </p:anim>
                                    <p:animEffect transition="in" filter="wipe(up)">
                                      <p:cBhvr>
                                        <p:cTn id="28" dur="500"/>
                                        <p:tgtEl>
                                          <p:spTgt spid="49"/>
                                        </p:tgtEl>
                                      </p:cBhvr>
                                    </p:animEffect>
                                  </p:childTnLst>
                                </p:cTn>
                              </p:par>
                            </p:childTnLst>
                          </p:cTn>
                        </p:par>
                        <p:par>
                          <p:cTn id="29" fill="hold">
                            <p:stCondLst>
                              <p:cond delay="1000"/>
                            </p:stCondLst>
                            <p:childTnLst>
                              <p:par>
                                <p:cTn id="30" presetID="12" presetClass="entr" presetSubtype="4" fill="hold" nodeType="afterEffect">
                                  <p:stCondLst>
                                    <p:cond delay="0"/>
                                  </p:stCondLst>
                                  <p:childTnLst>
                                    <p:set>
                                      <p:cBhvr>
                                        <p:cTn id="31" dur="1" fill="hold">
                                          <p:stCondLst>
                                            <p:cond delay="0"/>
                                          </p:stCondLst>
                                        </p:cTn>
                                        <p:tgtEl>
                                          <p:spTgt spid="48"/>
                                        </p:tgtEl>
                                        <p:attrNameLst>
                                          <p:attrName>style.visibility</p:attrName>
                                        </p:attrNameLst>
                                      </p:cBhvr>
                                      <p:to>
                                        <p:strVal val="visible"/>
                                      </p:to>
                                    </p:set>
                                    <p:anim calcmode="lin" valueType="num">
                                      <p:cBhvr additive="base">
                                        <p:cTn id="32" dur="500"/>
                                        <p:tgtEl>
                                          <p:spTgt spid="48"/>
                                        </p:tgtEl>
                                        <p:attrNameLst>
                                          <p:attrName>ppt_y</p:attrName>
                                        </p:attrNameLst>
                                      </p:cBhvr>
                                      <p:tavLst>
                                        <p:tav tm="0">
                                          <p:val>
                                            <p:strVal val="#ppt_y+#ppt_h*1.125000"/>
                                          </p:val>
                                        </p:tav>
                                        <p:tav tm="100000">
                                          <p:val>
                                            <p:strVal val="#ppt_y"/>
                                          </p:val>
                                        </p:tav>
                                      </p:tavLst>
                                    </p:anim>
                                    <p:animEffect transition="in" filter="wipe(up)">
                                      <p:cBhvr>
                                        <p:cTn id="33" dur="500"/>
                                        <p:tgtEl>
                                          <p:spTgt spid="48"/>
                                        </p:tgtEl>
                                      </p:cBhvr>
                                    </p:animEffect>
                                  </p:childTnLst>
                                </p:cTn>
                              </p:par>
                            </p:childTnLst>
                          </p:cTn>
                        </p:par>
                        <p:par>
                          <p:cTn id="34" fill="hold">
                            <p:stCondLst>
                              <p:cond delay="1500"/>
                            </p:stCondLst>
                            <p:childTnLst>
                              <p:par>
                                <p:cTn id="35" presetID="12" presetClass="entr" presetSubtype="4" fill="hold" nodeType="afterEffect">
                                  <p:stCondLst>
                                    <p:cond delay="0"/>
                                  </p:stCondLst>
                                  <p:childTnLst>
                                    <p:set>
                                      <p:cBhvr>
                                        <p:cTn id="36" dur="1" fill="hold">
                                          <p:stCondLst>
                                            <p:cond delay="0"/>
                                          </p:stCondLst>
                                        </p:cTn>
                                        <p:tgtEl>
                                          <p:spTgt spid="47"/>
                                        </p:tgtEl>
                                        <p:attrNameLst>
                                          <p:attrName>style.visibility</p:attrName>
                                        </p:attrNameLst>
                                      </p:cBhvr>
                                      <p:to>
                                        <p:strVal val="visible"/>
                                      </p:to>
                                    </p:set>
                                    <p:anim calcmode="lin" valueType="num">
                                      <p:cBhvr additive="base">
                                        <p:cTn id="37" dur="500"/>
                                        <p:tgtEl>
                                          <p:spTgt spid="47"/>
                                        </p:tgtEl>
                                        <p:attrNameLst>
                                          <p:attrName>ppt_y</p:attrName>
                                        </p:attrNameLst>
                                      </p:cBhvr>
                                      <p:tavLst>
                                        <p:tav tm="0">
                                          <p:val>
                                            <p:strVal val="#ppt_y+#ppt_h*1.125000"/>
                                          </p:val>
                                        </p:tav>
                                        <p:tav tm="100000">
                                          <p:val>
                                            <p:strVal val="#ppt_y"/>
                                          </p:val>
                                        </p:tav>
                                      </p:tavLst>
                                    </p:anim>
                                    <p:animEffect transition="in" filter="wipe(up)">
                                      <p:cBhvr>
                                        <p:cTn id="38" dur="500"/>
                                        <p:tgtEl>
                                          <p:spTgt spid="47"/>
                                        </p:tgtEl>
                                      </p:cBhvr>
                                    </p:animEffect>
                                  </p:childTnLst>
                                </p:cTn>
                              </p:par>
                            </p:childTnLst>
                          </p:cTn>
                        </p:par>
                        <p:par>
                          <p:cTn id="39" fill="hold">
                            <p:stCondLst>
                              <p:cond delay="2000"/>
                            </p:stCondLst>
                            <p:childTnLst>
                              <p:par>
                                <p:cTn id="40" presetID="12" presetClass="entr" presetSubtype="4" fill="hold" nodeType="afterEffect">
                                  <p:stCondLst>
                                    <p:cond delay="0"/>
                                  </p:stCondLst>
                                  <p:childTnLst>
                                    <p:set>
                                      <p:cBhvr>
                                        <p:cTn id="41" dur="1" fill="hold">
                                          <p:stCondLst>
                                            <p:cond delay="0"/>
                                          </p:stCondLst>
                                        </p:cTn>
                                        <p:tgtEl>
                                          <p:spTgt spid="45"/>
                                        </p:tgtEl>
                                        <p:attrNameLst>
                                          <p:attrName>style.visibility</p:attrName>
                                        </p:attrNameLst>
                                      </p:cBhvr>
                                      <p:to>
                                        <p:strVal val="visible"/>
                                      </p:to>
                                    </p:set>
                                    <p:anim calcmode="lin" valueType="num">
                                      <p:cBhvr additive="base">
                                        <p:cTn id="42" dur="500"/>
                                        <p:tgtEl>
                                          <p:spTgt spid="45"/>
                                        </p:tgtEl>
                                        <p:attrNameLst>
                                          <p:attrName>ppt_y</p:attrName>
                                        </p:attrNameLst>
                                      </p:cBhvr>
                                      <p:tavLst>
                                        <p:tav tm="0">
                                          <p:val>
                                            <p:strVal val="#ppt_y+#ppt_h*1.125000"/>
                                          </p:val>
                                        </p:tav>
                                        <p:tav tm="100000">
                                          <p:val>
                                            <p:strVal val="#ppt_y"/>
                                          </p:val>
                                        </p:tav>
                                      </p:tavLst>
                                    </p:anim>
                                    <p:animEffect transition="in" filter="wipe(up)">
                                      <p:cBhvr>
                                        <p:cTn id="43" dur="500"/>
                                        <p:tgtEl>
                                          <p:spTgt spid="45"/>
                                        </p:tgtEl>
                                      </p:cBhvr>
                                    </p:animEffect>
                                  </p:childTnLst>
                                </p:cTn>
                              </p:par>
                            </p:childTnLst>
                          </p:cTn>
                        </p:par>
                        <p:par>
                          <p:cTn id="44" fill="hold">
                            <p:stCondLst>
                              <p:cond delay="2500"/>
                            </p:stCondLst>
                            <p:childTnLst>
                              <p:par>
                                <p:cTn id="45" presetID="12" presetClass="entr" presetSubtype="4" fill="hold" nodeType="afterEffect">
                                  <p:stCondLst>
                                    <p:cond delay="0"/>
                                  </p:stCondLst>
                                  <p:childTnLst>
                                    <p:set>
                                      <p:cBhvr>
                                        <p:cTn id="46" dur="1" fill="hold">
                                          <p:stCondLst>
                                            <p:cond delay="0"/>
                                          </p:stCondLst>
                                        </p:cTn>
                                        <p:tgtEl>
                                          <p:spTgt spid="43"/>
                                        </p:tgtEl>
                                        <p:attrNameLst>
                                          <p:attrName>style.visibility</p:attrName>
                                        </p:attrNameLst>
                                      </p:cBhvr>
                                      <p:to>
                                        <p:strVal val="visible"/>
                                      </p:to>
                                    </p:set>
                                    <p:anim calcmode="lin" valueType="num">
                                      <p:cBhvr additive="base">
                                        <p:cTn id="47" dur="500"/>
                                        <p:tgtEl>
                                          <p:spTgt spid="43"/>
                                        </p:tgtEl>
                                        <p:attrNameLst>
                                          <p:attrName>ppt_y</p:attrName>
                                        </p:attrNameLst>
                                      </p:cBhvr>
                                      <p:tavLst>
                                        <p:tav tm="0">
                                          <p:val>
                                            <p:strVal val="#ppt_y+#ppt_h*1.125000"/>
                                          </p:val>
                                        </p:tav>
                                        <p:tav tm="100000">
                                          <p:val>
                                            <p:strVal val="#ppt_y"/>
                                          </p:val>
                                        </p:tav>
                                      </p:tavLst>
                                    </p:anim>
                                    <p:animEffect transition="in" filter="wipe(up)">
                                      <p:cBhvr>
                                        <p:cTn id="48" dur="500"/>
                                        <p:tgtEl>
                                          <p:spTgt spid="43"/>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39"/>
                                        </p:tgtEl>
                                        <p:attrNameLst>
                                          <p:attrName>style.visibility</p:attrName>
                                        </p:attrNameLst>
                                      </p:cBhvr>
                                      <p:to>
                                        <p:strVal val="visible"/>
                                      </p:to>
                                    </p:set>
                                    <p:animEffect transition="in" filter="fade">
                                      <p:cBhvr>
                                        <p:cTn id="53" dur="500"/>
                                        <p:tgtEl>
                                          <p:spTgt spid="39"/>
                                        </p:tgtEl>
                                      </p:cBhvr>
                                    </p:animEffect>
                                  </p:childTnLst>
                                </p:cTn>
                              </p:par>
                            </p:childTnLst>
                          </p:cTn>
                        </p:par>
                        <p:par>
                          <p:cTn id="54" fill="hold">
                            <p:stCondLst>
                              <p:cond delay="500"/>
                            </p:stCondLst>
                            <p:childTnLst>
                              <p:par>
                                <p:cTn id="55" presetID="12" presetClass="entr" presetSubtype="4" fill="hold" nodeType="afterEffect">
                                  <p:stCondLst>
                                    <p:cond delay="0"/>
                                  </p:stCondLst>
                                  <p:childTnLst>
                                    <p:set>
                                      <p:cBhvr>
                                        <p:cTn id="56" dur="1" fill="hold">
                                          <p:stCondLst>
                                            <p:cond delay="0"/>
                                          </p:stCondLst>
                                        </p:cTn>
                                        <p:tgtEl>
                                          <p:spTgt spid="53"/>
                                        </p:tgtEl>
                                        <p:attrNameLst>
                                          <p:attrName>style.visibility</p:attrName>
                                        </p:attrNameLst>
                                      </p:cBhvr>
                                      <p:to>
                                        <p:strVal val="visible"/>
                                      </p:to>
                                    </p:set>
                                    <p:anim calcmode="lin" valueType="num">
                                      <p:cBhvr additive="base">
                                        <p:cTn id="57" dur="500"/>
                                        <p:tgtEl>
                                          <p:spTgt spid="53"/>
                                        </p:tgtEl>
                                        <p:attrNameLst>
                                          <p:attrName>ppt_y</p:attrName>
                                        </p:attrNameLst>
                                      </p:cBhvr>
                                      <p:tavLst>
                                        <p:tav tm="0">
                                          <p:val>
                                            <p:strVal val="#ppt_y+#ppt_h*1.125000"/>
                                          </p:val>
                                        </p:tav>
                                        <p:tav tm="100000">
                                          <p:val>
                                            <p:strVal val="#ppt_y"/>
                                          </p:val>
                                        </p:tav>
                                      </p:tavLst>
                                    </p:anim>
                                    <p:animEffect transition="in" filter="wipe(up)">
                                      <p:cBhvr>
                                        <p:cTn id="58" dur="500"/>
                                        <p:tgtEl>
                                          <p:spTgt spid="53"/>
                                        </p:tgtEl>
                                      </p:cBhvr>
                                    </p:animEffect>
                                  </p:childTnLst>
                                </p:cTn>
                              </p:par>
                            </p:childTnLst>
                          </p:cTn>
                        </p:par>
                        <p:par>
                          <p:cTn id="59" fill="hold">
                            <p:stCondLst>
                              <p:cond delay="1000"/>
                            </p:stCondLst>
                            <p:childTnLst>
                              <p:par>
                                <p:cTn id="60" presetID="12" presetClass="entr" presetSubtype="4" fill="hold" nodeType="afterEffect">
                                  <p:stCondLst>
                                    <p:cond delay="0"/>
                                  </p:stCondLst>
                                  <p:childTnLst>
                                    <p:set>
                                      <p:cBhvr>
                                        <p:cTn id="61" dur="1" fill="hold">
                                          <p:stCondLst>
                                            <p:cond delay="0"/>
                                          </p:stCondLst>
                                        </p:cTn>
                                        <p:tgtEl>
                                          <p:spTgt spid="52"/>
                                        </p:tgtEl>
                                        <p:attrNameLst>
                                          <p:attrName>style.visibility</p:attrName>
                                        </p:attrNameLst>
                                      </p:cBhvr>
                                      <p:to>
                                        <p:strVal val="visible"/>
                                      </p:to>
                                    </p:set>
                                    <p:anim calcmode="lin" valueType="num">
                                      <p:cBhvr additive="base">
                                        <p:cTn id="62" dur="500"/>
                                        <p:tgtEl>
                                          <p:spTgt spid="52"/>
                                        </p:tgtEl>
                                        <p:attrNameLst>
                                          <p:attrName>ppt_y</p:attrName>
                                        </p:attrNameLst>
                                      </p:cBhvr>
                                      <p:tavLst>
                                        <p:tav tm="0">
                                          <p:val>
                                            <p:strVal val="#ppt_y+#ppt_h*1.125000"/>
                                          </p:val>
                                        </p:tav>
                                        <p:tav tm="100000">
                                          <p:val>
                                            <p:strVal val="#ppt_y"/>
                                          </p:val>
                                        </p:tav>
                                      </p:tavLst>
                                    </p:anim>
                                    <p:animEffect transition="in" filter="wipe(up)">
                                      <p:cBhvr>
                                        <p:cTn id="63" dur="500"/>
                                        <p:tgtEl>
                                          <p:spTgt spid="52"/>
                                        </p:tgtEl>
                                      </p:cBhvr>
                                    </p:animEffect>
                                  </p:childTnLst>
                                </p:cTn>
                              </p:par>
                            </p:childTnLst>
                          </p:cTn>
                        </p:par>
                      </p:childTnLst>
                    </p:cTn>
                  </p:par>
                  <p:par>
                    <p:cTn id="64" fill="hold">
                      <p:stCondLst>
                        <p:cond delay="indefinite"/>
                      </p:stCondLst>
                      <p:childTnLst>
                        <p:par>
                          <p:cTn id="65" fill="hold">
                            <p:stCondLst>
                              <p:cond delay="0"/>
                            </p:stCondLst>
                            <p:childTnLst>
                              <p:par>
                                <p:cTn id="66" presetID="12" presetClass="entr" presetSubtype="4" fill="hold" nodeType="clickEffect">
                                  <p:stCondLst>
                                    <p:cond delay="0"/>
                                  </p:stCondLst>
                                  <p:childTnLst>
                                    <p:set>
                                      <p:cBhvr>
                                        <p:cTn id="67" dur="1" fill="hold">
                                          <p:stCondLst>
                                            <p:cond delay="0"/>
                                          </p:stCondLst>
                                        </p:cTn>
                                        <p:tgtEl>
                                          <p:spTgt spid="22"/>
                                        </p:tgtEl>
                                        <p:attrNameLst>
                                          <p:attrName>style.visibility</p:attrName>
                                        </p:attrNameLst>
                                      </p:cBhvr>
                                      <p:to>
                                        <p:strVal val="visible"/>
                                      </p:to>
                                    </p:set>
                                    <p:anim calcmode="lin" valueType="num">
                                      <p:cBhvr additive="base">
                                        <p:cTn id="68" dur="500"/>
                                        <p:tgtEl>
                                          <p:spTgt spid="22"/>
                                        </p:tgtEl>
                                        <p:attrNameLst>
                                          <p:attrName>ppt_y</p:attrName>
                                        </p:attrNameLst>
                                      </p:cBhvr>
                                      <p:tavLst>
                                        <p:tav tm="0">
                                          <p:val>
                                            <p:strVal val="#ppt_y+#ppt_h*1.125000"/>
                                          </p:val>
                                        </p:tav>
                                        <p:tav tm="100000">
                                          <p:val>
                                            <p:strVal val="#ppt_y"/>
                                          </p:val>
                                        </p:tav>
                                      </p:tavLst>
                                    </p:anim>
                                    <p:animEffect transition="in" filter="wipe(up)">
                                      <p:cBhvr>
                                        <p:cTn id="69" dur="500"/>
                                        <p:tgtEl>
                                          <p:spTgt spid="22"/>
                                        </p:tgtEl>
                                      </p:cBhvr>
                                    </p:animEffect>
                                  </p:childTnLst>
                                </p:cTn>
                              </p:par>
                            </p:childTnLst>
                          </p:cTn>
                        </p:par>
                        <p:par>
                          <p:cTn id="70" fill="hold">
                            <p:stCondLst>
                              <p:cond delay="500"/>
                            </p:stCondLst>
                            <p:childTnLst>
                              <p:par>
                                <p:cTn id="71" presetID="12" presetClass="entr" presetSubtype="4" fill="hold" nodeType="afterEffect">
                                  <p:stCondLst>
                                    <p:cond delay="0"/>
                                  </p:stCondLst>
                                  <p:childTnLst>
                                    <p:set>
                                      <p:cBhvr>
                                        <p:cTn id="72" dur="1" fill="hold">
                                          <p:stCondLst>
                                            <p:cond delay="0"/>
                                          </p:stCondLst>
                                        </p:cTn>
                                        <p:tgtEl>
                                          <p:spTgt spid="7"/>
                                        </p:tgtEl>
                                        <p:attrNameLst>
                                          <p:attrName>style.visibility</p:attrName>
                                        </p:attrNameLst>
                                      </p:cBhvr>
                                      <p:to>
                                        <p:strVal val="visible"/>
                                      </p:to>
                                    </p:set>
                                    <p:anim calcmode="lin" valueType="num">
                                      <p:cBhvr additive="base">
                                        <p:cTn id="73" dur="500"/>
                                        <p:tgtEl>
                                          <p:spTgt spid="7"/>
                                        </p:tgtEl>
                                        <p:attrNameLst>
                                          <p:attrName>ppt_y</p:attrName>
                                        </p:attrNameLst>
                                      </p:cBhvr>
                                      <p:tavLst>
                                        <p:tav tm="0">
                                          <p:val>
                                            <p:strVal val="#ppt_y+#ppt_h*1.125000"/>
                                          </p:val>
                                        </p:tav>
                                        <p:tav tm="100000">
                                          <p:val>
                                            <p:strVal val="#ppt_y"/>
                                          </p:val>
                                        </p:tav>
                                      </p:tavLst>
                                    </p:anim>
                                    <p:animEffect transition="in" filter="wipe(up)">
                                      <p:cBhvr>
                                        <p:cTn id="7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39" grpId="0"/>
      <p:bldP spid="10" grpId="0" build="p"/>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1541290" y="976953"/>
            <a:ext cx="9562379" cy="5567701"/>
          </a:xfrm>
          <a:prstGeom prst="rect">
            <a:avLst/>
          </a:prstGeom>
          <a:solidFill>
            <a:schemeClr val="bg1"/>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2" name="Title 1"/>
          <p:cNvSpPr>
            <a:spLocks noGrp="1"/>
          </p:cNvSpPr>
          <p:nvPr>
            <p:ph type="title"/>
          </p:nvPr>
        </p:nvSpPr>
        <p:spPr>
          <a:xfrm>
            <a:off x="426744" y="233152"/>
            <a:ext cx="11477646" cy="762786"/>
          </a:xfrm>
        </p:spPr>
        <p:txBody>
          <a:bodyPr>
            <a:normAutofit/>
          </a:bodyPr>
          <a:lstStyle/>
          <a:p>
            <a:pPr algn="ctr" defTabSz="932597" fontAlgn="base">
              <a:spcAft>
                <a:spcPct val="0"/>
              </a:spcAft>
              <a:defRPr/>
            </a:pPr>
            <a:r>
              <a:rPr lang="en-US" sz="4896" dirty="0"/>
              <a:t>15,000+ Customers </a:t>
            </a:r>
            <a:r>
              <a:rPr lang="en-US" sz="4896" dirty="0">
                <a:sym typeface="Wingdings" pitchFamily="2" charset="2"/>
              </a:rPr>
              <a:t></a:t>
            </a:r>
            <a:r>
              <a:rPr lang="en-US" sz="4896" dirty="0"/>
              <a:t> Expansive Needs</a:t>
            </a:r>
          </a:p>
        </p:txBody>
      </p:sp>
      <p:sp>
        <p:nvSpPr>
          <p:cNvPr id="8" name="Rectangle 103"/>
          <p:cNvSpPr>
            <a:spLocks noChangeArrowheads="1"/>
          </p:cNvSpPr>
          <p:nvPr/>
        </p:nvSpPr>
        <p:spPr bwMode="auto">
          <a:xfrm>
            <a:off x="2179178" y="1248480"/>
            <a:ext cx="2325176" cy="542399"/>
          </a:xfrm>
          <a:prstGeom prst="rect">
            <a:avLst/>
          </a:prstGeom>
          <a:noFill/>
          <a:ln w="12700" algn="ctr">
            <a:noFill/>
            <a:miter lim="800000"/>
            <a:headEnd/>
            <a:tailEnd/>
          </a:ln>
        </p:spPr>
        <p:txBody>
          <a:bodyPr wrap="none">
            <a:spAutoFit/>
          </a:bodyPr>
          <a:lstStyle/>
          <a:p>
            <a:pPr marL="174862" marR="0" lvl="0" indent="-174862" algn="ctr" defTabSz="932597" rtl="0" eaLnBrk="0" fontAlgn="base" latinLnBrk="0" hangingPunct="0">
              <a:lnSpc>
                <a:spcPct val="100000"/>
              </a:lnSpc>
              <a:spcBef>
                <a:spcPct val="0"/>
              </a:spcBef>
              <a:spcAft>
                <a:spcPct val="0"/>
              </a:spcAft>
              <a:buClrTx/>
              <a:buSzTx/>
              <a:buFontTx/>
              <a:buNone/>
              <a:tabLst/>
              <a:defRPr/>
            </a:pPr>
            <a:r>
              <a:rPr kumimoji="0" lang="en-US" sz="2856" b="1" i="0" u="none" strike="noStrike" kern="0" cap="none" spc="0" normalizeH="0" baseline="0" noProof="0" dirty="0">
                <a:ln>
                  <a:noFill/>
                </a:ln>
                <a:solidFill>
                  <a:srgbClr val="FFFFFF"/>
                </a:solidFill>
                <a:effectLst/>
                <a:uLnTx/>
                <a:uFillTx/>
                <a:latin typeface="Arial" pitchFamily="34" charset="0"/>
                <a:ea typeface="+mn-ea"/>
                <a:cs typeface="+mn-cs"/>
              </a:rPr>
              <a:t>Commercial</a:t>
            </a:r>
          </a:p>
        </p:txBody>
      </p:sp>
      <p:sp>
        <p:nvSpPr>
          <p:cNvPr id="20" name="Rectangle 19"/>
          <p:cNvSpPr/>
          <p:nvPr/>
        </p:nvSpPr>
        <p:spPr bwMode="auto">
          <a:xfrm>
            <a:off x="1541291" y="1165634"/>
            <a:ext cx="9411636" cy="59732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r>
              <a:rPr kumimoji="0" lang="en-US" sz="2856" b="0" i="0" u="none" strike="noStrike" kern="0" cap="none" spc="-51"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rPr>
              <a:t>Public Sector / Department of Defense</a:t>
            </a:r>
          </a:p>
        </p:txBody>
      </p:sp>
      <p:pic>
        <p:nvPicPr>
          <p:cNvPr id="84" name="Picture 21" descr="http://www.miusa.org/publications/freeresources/awayimages/statelogo"/>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5706128" y="3372421"/>
            <a:ext cx="1212385" cy="1212384"/>
          </a:xfrm>
          <a:prstGeom prst="rect">
            <a:avLst/>
          </a:prstGeom>
          <a:noFill/>
          <a:ln w="9525">
            <a:noFill/>
            <a:miter lim="800000"/>
            <a:headEnd/>
            <a:tailEnd/>
          </a:ln>
        </p:spPr>
      </p:pic>
      <p:pic>
        <p:nvPicPr>
          <p:cNvPr id="90" name="Picture 8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50260" y="2076918"/>
            <a:ext cx="1124120" cy="1119124"/>
          </a:xfrm>
          <a:prstGeom prst="rect">
            <a:avLst/>
          </a:prstGeom>
        </p:spPr>
      </p:pic>
      <p:pic>
        <p:nvPicPr>
          <p:cNvPr id="91" name="Picture 9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70518" y="6040249"/>
            <a:ext cx="3950834" cy="294430"/>
          </a:xfrm>
          <a:prstGeom prst="rect">
            <a:avLst/>
          </a:prstGeom>
        </p:spPr>
      </p:pic>
      <p:pic>
        <p:nvPicPr>
          <p:cNvPr id="95" name="Picture 94" descr="Irs.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755256" y="4679241"/>
            <a:ext cx="1119124" cy="1119124"/>
          </a:xfrm>
          <a:prstGeom prst="rect">
            <a:avLst/>
          </a:prstGeom>
        </p:spPr>
      </p:pic>
      <p:pic>
        <p:nvPicPr>
          <p:cNvPr id="96" name="Picture 4" descr="http://ts4.mm.bing.net/th?id=H.4783748684710700&amp;w=371&amp;h=366&amp;c=7&amp;rs=1&amp;qlt=80&amp;pid=1.7"/>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594687" y="4647430"/>
            <a:ext cx="1107115" cy="1092193"/>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18" descr="http://www.world-wire.com/images/WORLDBANK_LOGO.jp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874133" y="4880839"/>
            <a:ext cx="1650906" cy="718144"/>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37" descr="http://www-as.harvard.edu/chemistry/trop/img/NASA_Logo.gif"/>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bwMode="auto">
          <a:xfrm>
            <a:off x="7545479" y="3415523"/>
            <a:ext cx="1205534" cy="1025864"/>
          </a:xfrm>
          <a:prstGeom prst="rect">
            <a:avLst/>
          </a:prstGeom>
          <a:noFill/>
          <a:ln w="9525">
            <a:noFill/>
            <a:miter lim="800000"/>
            <a:headEnd/>
            <a:tailEnd/>
          </a:ln>
        </p:spPr>
      </p:pic>
      <p:pic>
        <p:nvPicPr>
          <p:cNvPr id="99" name="Picture 6" descr="http://ts2.mm.bing.net/th?id=H.4733665101087320&amp;w=236&amp;h=186&amp;c=7&amp;rs=1&amp;pid=1.7"/>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9250682" y="4770090"/>
            <a:ext cx="1119123" cy="882020"/>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99"/>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104081" y="2138623"/>
            <a:ext cx="816743" cy="1084171"/>
          </a:xfrm>
          <a:prstGeom prst="rect">
            <a:avLst/>
          </a:prstGeom>
        </p:spPr>
      </p:pic>
      <p:pic>
        <p:nvPicPr>
          <p:cNvPr id="101" name="Picture 100"/>
          <p:cNvPicPr>
            <a:picLocks/>
          </p:cNvPicPr>
          <p:nvPr/>
        </p:nvPicPr>
        <p:blipFill>
          <a:blip r:embed="rId12" cstate="email">
            <a:extLst>
              <a:ext uri="{28A0092B-C50C-407E-A947-70E740481C1C}">
                <a14:useLocalDpi xmlns:a14="http://schemas.microsoft.com/office/drawing/2010/main"/>
              </a:ext>
            </a:extLst>
          </a:blip>
          <a:stretch>
            <a:fillRect/>
          </a:stretch>
        </p:blipFill>
        <p:spPr>
          <a:xfrm>
            <a:off x="7539469" y="2076918"/>
            <a:ext cx="1119124" cy="1119124"/>
          </a:xfrm>
          <a:prstGeom prst="rect">
            <a:avLst/>
          </a:prstGeom>
        </p:spPr>
      </p:pic>
      <p:pic>
        <p:nvPicPr>
          <p:cNvPr id="102" name="Picture 10" descr="http://4closurefraud.org/wp-content/uploads/2011/01/fdic.jp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2198678" y="3634227"/>
            <a:ext cx="819987" cy="479992"/>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105"/>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9290047" y="3399880"/>
            <a:ext cx="1119124" cy="1116463"/>
          </a:xfrm>
          <a:prstGeom prst="rect">
            <a:avLst/>
          </a:prstGeom>
        </p:spPr>
      </p:pic>
      <p:pic>
        <p:nvPicPr>
          <p:cNvPr id="107" name="Picture 10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550580" y="5847212"/>
            <a:ext cx="1263444" cy="559705"/>
          </a:xfrm>
          <a:prstGeom prst="rect">
            <a:avLst/>
          </a:prstGeom>
        </p:spPr>
      </p:pic>
      <p:pic>
        <p:nvPicPr>
          <p:cNvPr id="3" name="Picture 2"/>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3989554" y="3495069"/>
            <a:ext cx="1018040" cy="1021274"/>
          </a:xfrm>
          <a:prstGeom prst="rect">
            <a:avLst/>
          </a:prstGeom>
        </p:spPr>
      </p:pic>
      <p:pic>
        <p:nvPicPr>
          <p:cNvPr id="4" name="Picture 3"/>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2056736" y="4554456"/>
            <a:ext cx="1149008" cy="1149008"/>
          </a:xfrm>
          <a:prstGeom prst="rect">
            <a:avLst/>
          </a:prstGeom>
        </p:spPr>
      </p:pic>
      <p:pic>
        <p:nvPicPr>
          <p:cNvPr id="6" name="Picture 5"/>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9202235" y="2047185"/>
            <a:ext cx="1085979" cy="1085979"/>
          </a:xfrm>
          <a:prstGeom prst="rect">
            <a:avLst/>
          </a:prstGeom>
        </p:spPr>
      </p:pic>
      <p:pic>
        <p:nvPicPr>
          <p:cNvPr id="7" name="Picture 6"/>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2013723" y="2129875"/>
            <a:ext cx="1192021" cy="1192021"/>
          </a:xfrm>
          <a:prstGeom prst="rect">
            <a:avLst/>
          </a:prstGeom>
        </p:spPr>
      </p:pic>
      <p:pic>
        <p:nvPicPr>
          <p:cNvPr id="9" name="Picture 8"/>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9371638" y="5606673"/>
            <a:ext cx="863680" cy="876276"/>
          </a:xfrm>
          <a:prstGeom prst="rect">
            <a:avLst/>
          </a:prstGeom>
        </p:spPr>
      </p:pic>
    </p:spTree>
    <p:extLst>
      <p:ext uri="{BB962C8B-B14F-4D97-AF65-F5344CB8AC3E}">
        <p14:creationId xmlns:p14="http://schemas.microsoft.com/office/powerpoint/2010/main" val="22000475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1000" fill="hold"/>
                                        <p:tgtEl>
                                          <p:spTgt spid="84"/>
                                        </p:tgtEl>
                                        <p:attrNameLst>
                                          <p:attrName>ppt_w</p:attrName>
                                        </p:attrNameLst>
                                      </p:cBhvr>
                                      <p:tavLst>
                                        <p:tav tm="0">
                                          <p:val>
                                            <p:fltVal val="0"/>
                                          </p:val>
                                        </p:tav>
                                        <p:tav tm="100000">
                                          <p:val>
                                            <p:strVal val="#ppt_w"/>
                                          </p:val>
                                        </p:tav>
                                      </p:tavLst>
                                    </p:anim>
                                    <p:anim calcmode="lin" valueType="num">
                                      <p:cBhvr>
                                        <p:cTn id="8" dur="1000" fill="hold"/>
                                        <p:tgtEl>
                                          <p:spTgt spid="84"/>
                                        </p:tgtEl>
                                        <p:attrNameLst>
                                          <p:attrName>ppt_h</p:attrName>
                                        </p:attrNameLst>
                                      </p:cBhvr>
                                      <p:tavLst>
                                        <p:tav tm="0">
                                          <p:val>
                                            <p:fltVal val="0"/>
                                          </p:val>
                                        </p:tav>
                                        <p:tav tm="100000">
                                          <p:val>
                                            <p:strVal val="#ppt_h"/>
                                          </p:val>
                                        </p:tav>
                                      </p:tavLst>
                                    </p:anim>
                                    <p:anim calcmode="lin" valueType="num">
                                      <p:cBhvr>
                                        <p:cTn id="9" dur="1000" fill="hold"/>
                                        <p:tgtEl>
                                          <p:spTgt spid="84"/>
                                        </p:tgtEl>
                                        <p:attrNameLst>
                                          <p:attrName>style.rotation</p:attrName>
                                        </p:attrNameLst>
                                      </p:cBhvr>
                                      <p:tavLst>
                                        <p:tav tm="0">
                                          <p:val>
                                            <p:fltVal val="90"/>
                                          </p:val>
                                        </p:tav>
                                        <p:tav tm="100000">
                                          <p:val>
                                            <p:fltVal val="0"/>
                                          </p:val>
                                        </p:tav>
                                      </p:tavLst>
                                    </p:anim>
                                    <p:animEffect transition="in" filter="fade">
                                      <p:cBhvr>
                                        <p:cTn id="10" dur="1000"/>
                                        <p:tgtEl>
                                          <p:spTgt spid="84"/>
                                        </p:tgtEl>
                                      </p:cBhvr>
                                    </p:animEffect>
                                  </p:childTnLst>
                                </p:cTn>
                              </p:par>
                              <p:par>
                                <p:cTn id="11" presetID="31" presetClass="entr" presetSubtype="0" fill="hold" nodeType="withEffect">
                                  <p:stCondLst>
                                    <p:cond delay="0"/>
                                  </p:stCondLst>
                                  <p:childTnLst>
                                    <p:set>
                                      <p:cBhvr>
                                        <p:cTn id="12" dur="1" fill="hold">
                                          <p:stCondLst>
                                            <p:cond delay="0"/>
                                          </p:stCondLst>
                                        </p:cTn>
                                        <p:tgtEl>
                                          <p:spTgt spid="90"/>
                                        </p:tgtEl>
                                        <p:attrNameLst>
                                          <p:attrName>style.visibility</p:attrName>
                                        </p:attrNameLst>
                                      </p:cBhvr>
                                      <p:to>
                                        <p:strVal val="visible"/>
                                      </p:to>
                                    </p:set>
                                    <p:anim calcmode="lin" valueType="num">
                                      <p:cBhvr>
                                        <p:cTn id="13" dur="1000" fill="hold"/>
                                        <p:tgtEl>
                                          <p:spTgt spid="90"/>
                                        </p:tgtEl>
                                        <p:attrNameLst>
                                          <p:attrName>ppt_w</p:attrName>
                                        </p:attrNameLst>
                                      </p:cBhvr>
                                      <p:tavLst>
                                        <p:tav tm="0">
                                          <p:val>
                                            <p:fltVal val="0"/>
                                          </p:val>
                                        </p:tav>
                                        <p:tav tm="100000">
                                          <p:val>
                                            <p:strVal val="#ppt_w"/>
                                          </p:val>
                                        </p:tav>
                                      </p:tavLst>
                                    </p:anim>
                                    <p:anim calcmode="lin" valueType="num">
                                      <p:cBhvr>
                                        <p:cTn id="14" dur="1000" fill="hold"/>
                                        <p:tgtEl>
                                          <p:spTgt spid="90"/>
                                        </p:tgtEl>
                                        <p:attrNameLst>
                                          <p:attrName>ppt_h</p:attrName>
                                        </p:attrNameLst>
                                      </p:cBhvr>
                                      <p:tavLst>
                                        <p:tav tm="0">
                                          <p:val>
                                            <p:fltVal val="0"/>
                                          </p:val>
                                        </p:tav>
                                        <p:tav tm="100000">
                                          <p:val>
                                            <p:strVal val="#ppt_h"/>
                                          </p:val>
                                        </p:tav>
                                      </p:tavLst>
                                    </p:anim>
                                    <p:anim calcmode="lin" valueType="num">
                                      <p:cBhvr>
                                        <p:cTn id="15" dur="1000" fill="hold"/>
                                        <p:tgtEl>
                                          <p:spTgt spid="90"/>
                                        </p:tgtEl>
                                        <p:attrNameLst>
                                          <p:attrName>style.rotation</p:attrName>
                                        </p:attrNameLst>
                                      </p:cBhvr>
                                      <p:tavLst>
                                        <p:tav tm="0">
                                          <p:val>
                                            <p:fltVal val="90"/>
                                          </p:val>
                                        </p:tav>
                                        <p:tav tm="100000">
                                          <p:val>
                                            <p:fltVal val="0"/>
                                          </p:val>
                                        </p:tav>
                                      </p:tavLst>
                                    </p:anim>
                                    <p:animEffect transition="in" filter="fade">
                                      <p:cBhvr>
                                        <p:cTn id="16" dur="1000"/>
                                        <p:tgtEl>
                                          <p:spTgt spid="90"/>
                                        </p:tgtEl>
                                      </p:cBhvr>
                                    </p:animEffect>
                                  </p:childTnLst>
                                </p:cTn>
                              </p:par>
                              <p:par>
                                <p:cTn id="17" presetID="31" presetClass="entr" presetSubtype="0" fill="hold" nodeType="withEffect">
                                  <p:stCondLst>
                                    <p:cond delay="0"/>
                                  </p:stCondLst>
                                  <p:childTnLst>
                                    <p:set>
                                      <p:cBhvr>
                                        <p:cTn id="18" dur="1" fill="hold">
                                          <p:stCondLst>
                                            <p:cond delay="0"/>
                                          </p:stCondLst>
                                        </p:cTn>
                                        <p:tgtEl>
                                          <p:spTgt spid="91"/>
                                        </p:tgtEl>
                                        <p:attrNameLst>
                                          <p:attrName>style.visibility</p:attrName>
                                        </p:attrNameLst>
                                      </p:cBhvr>
                                      <p:to>
                                        <p:strVal val="visible"/>
                                      </p:to>
                                    </p:set>
                                    <p:anim calcmode="lin" valueType="num">
                                      <p:cBhvr>
                                        <p:cTn id="19" dur="1000" fill="hold"/>
                                        <p:tgtEl>
                                          <p:spTgt spid="91"/>
                                        </p:tgtEl>
                                        <p:attrNameLst>
                                          <p:attrName>ppt_w</p:attrName>
                                        </p:attrNameLst>
                                      </p:cBhvr>
                                      <p:tavLst>
                                        <p:tav tm="0">
                                          <p:val>
                                            <p:fltVal val="0"/>
                                          </p:val>
                                        </p:tav>
                                        <p:tav tm="100000">
                                          <p:val>
                                            <p:strVal val="#ppt_w"/>
                                          </p:val>
                                        </p:tav>
                                      </p:tavLst>
                                    </p:anim>
                                    <p:anim calcmode="lin" valueType="num">
                                      <p:cBhvr>
                                        <p:cTn id="20" dur="1000" fill="hold"/>
                                        <p:tgtEl>
                                          <p:spTgt spid="91"/>
                                        </p:tgtEl>
                                        <p:attrNameLst>
                                          <p:attrName>ppt_h</p:attrName>
                                        </p:attrNameLst>
                                      </p:cBhvr>
                                      <p:tavLst>
                                        <p:tav tm="0">
                                          <p:val>
                                            <p:fltVal val="0"/>
                                          </p:val>
                                        </p:tav>
                                        <p:tav tm="100000">
                                          <p:val>
                                            <p:strVal val="#ppt_h"/>
                                          </p:val>
                                        </p:tav>
                                      </p:tavLst>
                                    </p:anim>
                                    <p:anim calcmode="lin" valueType="num">
                                      <p:cBhvr>
                                        <p:cTn id="21" dur="1000" fill="hold"/>
                                        <p:tgtEl>
                                          <p:spTgt spid="91"/>
                                        </p:tgtEl>
                                        <p:attrNameLst>
                                          <p:attrName>style.rotation</p:attrName>
                                        </p:attrNameLst>
                                      </p:cBhvr>
                                      <p:tavLst>
                                        <p:tav tm="0">
                                          <p:val>
                                            <p:fltVal val="90"/>
                                          </p:val>
                                        </p:tav>
                                        <p:tav tm="100000">
                                          <p:val>
                                            <p:fltVal val="0"/>
                                          </p:val>
                                        </p:tav>
                                      </p:tavLst>
                                    </p:anim>
                                    <p:animEffect transition="in" filter="fade">
                                      <p:cBhvr>
                                        <p:cTn id="22" dur="1000"/>
                                        <p:tgtEl>
                                          <p:spTgt spid="91"/>
                                        </p:tgtEl>
                                      </p:cBhvr>
                                    </p:animEffect>
                                  </p:childTnLst>
                                </p:cTn>
                              </p:par>
                              <p:par>
                                <p:cTn id="23" presetID="31" presetClass="entr" presetSubtype="0" fill="hold" nodeType="withEffect">
                                  <p:stCondLst>
                                    <p:cond delay="0"/>
                                  </p:stCondLst>
                                  <p:childTnLst>
                                    <p:set>
                                      <p:cBhvr>
                                        <p:cTn id="24" dur="1" fill="hold">
                                          <p:stCondLst>
                                            <p:cond delay="0"/>
                                          </p:stCondLst>
                                        </p:cTn>
                                        <p:tgtEl>
                                          <p:spTgt spid="95"/>
                                        </p:tgtEl>
                                        <p:attrNameLst>
                                          <p:attrName>style.visibility</p:attrName>
                                        </p:attrNameLst>
                                      </p:cBhvr>
                                      <p:to>
                                        <p:strVal val="visible"/>
                                      </p:to>
                                    </p:set>
                                    <p:anim calcmode="lin" valueType="num">
                                      <p:cBhvr>
                                        <p:cTn id="25" dur="1000" fill="hold"/>
                                        <p:tgtEl>
                                          <p:spTgt spid="95"/>
                                        </p:tgtEl>
                                        <p:attrNameLst>
                                          <p:attrName>ppt_w</p:attrName>
                                        </p:attrNameLst>
                                      </p:cBhvr>
                                      <p:tavLst>
                                        <p:tav tm="0">
                                          <p:val>
                                            <p:fltVal val="0"/>
                                          </p:val>
                                        </p:tav>
                                        <p:tav tm="100000">
                                          <p:val>
                                            <p:strVal val="#ppt_w"/>
                                          </p:val>
                                        </p:tav>
                                      </p:tavLst>
                                    </p:anim>
                                    <p:anim calcmode="lin" valueType="num">
                                      <p:cBhvr>
                                        <p:cTn id="26" dur="1000" fill="hold"/>
                                        <p:tgtEl>
                                          <p:spTgt spid="95"/>
                                        </p:tgtEl>
                                        <p:attrNameLst>
                                          <p:attrName>ppt_h</p:attrName>
                                        </p:attrNameLst>
                                      </p:cBhvr>
                                      <p:tavLst>
                                        <p:tav tm="0">
                                          <p:val>
                                            <p:fltVal val="0"/>
                                          </p:val>
                                        </p:tav>
                                        <p:tav tm="100000">
                                          <p:val>
                                            <p:strVal val="#ppt_h"/>
                                          </p:val>
                                        </p:tav>
                                      </p:tavLst>
                                    </p:anim>
                                    <p:anim calcmode="lin" valueType="num">
                                      <p:cBhvr>
                                        <p:cTn id="27" dur="1000" fill="hold"/>
                                        <p:tgtEl>
                                          <p:spTgt spid="95"/>
                                        </p:tgtEl>
                                        <p:attrNameLst>
                                          <p:attrName>style.rotation</p:attrName>
                                        </p:attrNameLst>
                                      </p:cBhvr>
                                      <p:tavLst>
                                        <p:tav tm="0">
                                          <p:val>
                                            <p:fltVal val="90"/>
                                          </p:val>
                                        </p:tav>
                                        <p:tav tm="100000">
                                          <p:val>
                                            <p:fltVal val="0"/>
                                          </p:val>
                                        </p:tav>
                                      </p:tavLst>
                                    </p:anim>
                                    <p:animEffect transition="in" filter="fade">
                                      <p:cBhvr>
                                        <p:cTn id="28" dur="1000"/>
                                        <p:tgtEl>
                                          <p:spTgt spid="95"/>
                                        </p:tgtEl>
                                      </p:cBhvr>
                                    </p:animEffect>
                                  </p:childTnLst>
                                </p:cTn>
                              </p:par>
                              <p:par>
                                <p:cTn id="29" presetID="31" presetClass="entr" presetSubtype="0" fill="hold" nodeType="withEffect">
                                  <p:stCondLst>
                                    <p:cond delay="0"/>
                                  </p:stCondLst>
                                  <p:childTnLst>
                                    <p:set>
                                      <p:cBhvr>
                                        <p:cTn id="30" dur="1" fill="hold">
                                          <p:stCondLst>
                                            <p:cond delay="0"/>
                                          </p:stCondLst>
                                        </p:cTn>
                                        <p:tgtEl>
                                          <p:spTgt spid="96"/>
                                        </p:tgtEl>
                                        <p:attrNameLst>
                                          <p:attrName>style.visibility</p:attrName>
                                        </p:attrNameLst>
                                      </p:cBhvr>
                                      <p:to>
                                        <p:strVal val="visible"/>
                                      </p:to>
                                    </p:set>
                                    <p:anim calcmode="lin" valueType="num">
                                      <p:cBhvr>
                                        <p:cTn id="31" dur="1000" fill="hold"/>
                                        <p:tgtEl>
                                          <p:spTgt spid="96"/>
                                        </p:tgtEl>
                                        <p:attrNameLst>
                                          <p:attrName>ppt_w</p:attrName>
                                        </p:attrNameLst>
                                      </p:cBhvr>
                                      <p:tavLst>
                                        <p:tav tm="0">
                                          <p:val>
                                            <p:fltVal val="0"/>
                                          </p:val>
                                        </p:tav>
                                        <p:tav tm="100000">
                                          <p:val>
                                            <p:strVal val="#ppt_w"/>
                                          </p:val>
                                        </p:tav>
                                      </p:tavLst>
                                    </p:anim>
                                    <p:anim calcmode="lin" valueType="num">
                                      <p:cBhvr>
                                        <p:cTn id="32" dur="1000" fill="hold"/>
                                        <p:tgtEl>
                                          <p:spTgt spid="96"/>
                                        </p:tgtEl>
                                        <p:attrNameLst>
                                          <p:attrName>ppt_h</p:attrName>
                                        </p:attrNameLst>
                                      </p:cBhvr>
                                      <p:tavLst>
                                        <p:tav tm="0">
                                          <p:val>
                                            <p:fltVal val="0"/>
                                          </p:val>
                                        </p:tav>
                                        <p:tav tm="100000">
                                          <p:val>
                                            <p:strVal val="#ppt_h"/>
                                          </p:val>
                                        </p:tav>
                                      </p:tavLst>
                                    </p:anim>
                                    <p:anim calcmode="lin" valueType="num">
                                      <p:cBhvr>
                                        <p:cTn id="33" dur="1000" fill="hold"/>
                                        <p:tgtEl>
                                          <p:spTgt spid="96"/>
                                        </p:tgtEl>
                                        <p:attrNameLst>
                                          <p:attrName>style.rotation</p:attrName>
                                        </p:attrNameLst>
                                      </p:cBhvr>
                                      <p:tavLst>
                                        <p:tav tm="0">
                                          <p:val>
                                            <p:fltVal val="90"/>
                                          </p:val>
                                        </p:tav>
                                        <p:tav tm="100000">
                                          <p:val>
                                            <p:fltVal val="0"/>
                                          </p:val>
                                        </p:tav>
                                      </p:tavLst>
                                    </p:anim>
                                    <p:animEffect transition="in" filter="fade">
                                      <p:cBhvr>
                                        <p:cTn id="34" dur="1000"/>
                                        <p:tgtEl>
                                          <p:spTgt spid="96"/>
                                        </p:tgtEl>
                                      </p:cBhvr>
                                    </p:animEffect>
                                  </p:childTnLst>
                                </p:cTn>
                              </p:par>
                              <p:par>
                                <p:cTn id="35" presetID="31" presetClass="entr" presetSubtype="0" fill="hold" nodeType="withEffect">
                                  <p:stCondLst>
                                    <p:cond delay="0"/>
                                  </p:stCondLst>
                                  <p:childTnLst>
                                    <p:set>
                                      <p:cBhvr>
                                        <p:cTn id="36" dur="1" fill="hold">
                                          <p:stCondLst>
                                            <p:cond delay="0"/>
                                          </p:stCondLst>
                                        </p:cTn>
                                        <p:tgtEl>
                                          <p:spTgt spid="97"/>
                                        </p:tgtEl>
                                        <p:attrNameLst>
                                          <p:attrName>style.visibility</p:attrName>
                                        </p:attrNameLst>
                                      </p:cBhvr>
                                      <p:to>
                                        <p:strVal val="visible"/>
                                      </p:to>
                                    </p:set>
                                    <p:anim calcmode="lin" valueType="num">
                                      <p:cBhvr>
                                        <p:cTn id="37" dur="1000" fill="hold"/>
                                        <p:tgtEl>
                                          <p:spTgt spid="97"/>
                                        </p:tgtEl>
                                        <p:attrNameLst>
                                          <p:attrName>ppt_w</p:attrName>
                                        </p:attrNameLst>
                                      </p:cBhvr>
                                      <p:tavLst>
                                        <p:tav tm="0">
                                          <p:val>
                                            <p:fltVal val="0"/>
                                          </p:val>
                                        </p:tav>
                                        <p:tav tm="100000">
                                          <p:val>
                                            <p:strVal val="#ppt_w"/>
                                          </p:val>
                                        </p:tav>
                                      </p:tavLst>
                                    </p:anim>
                                    <p:anim calcmode="lin" valueType="num">
                                      <p:cBhvr>
                                        <p:cTn id="38" dur="1000" fill="hold"/>
                                        <p:tgtEl>
                                          <p:spTgt spid="97"/>
                                        </p:tgtEl>
                                        <p:attrNameLst>
                                          <p:attrName>ppt_h</p:attrName>
                                        </p:attrNameLst>
                                      </p:cBhvr>
                                      <p:tavLst>
                                        <p:tav tm="0">
                                          <p:val>
                                            <p:fltVal val="0"/>
                                          </p:val>
                                        </p:tav>
                                        <p:tav tm="100000">
                                          <p:val>
                                            <p:strVal val="#ppt_h"/>
                                          </p:val>
                                        </p:tav>
                                      </p:tavLst>
                                    </p:anim>
                                    <p:anim calcmode="lin" valueType="num">
                                      <p:cBhvr>
                                        <p:cTn id="39" dur="1000" fill="hold"/>
                                        <p:tgtEl>
                                          <p:spTgt spid="97"/>
                                        </p:tgtEl>
                                        <p:attrNameLst>
                                          <p:attrName>style.rotation</p:attrName>
                                        </p:attrNameLst>
                                      </p:cBhvr>
                                      <p:tavLst>
                                        <p:tav tm="0">
                                          <p:val>
                                            <p:fltVal val="90"/>
                                          </p:val>
                                        </p:tav>
                                        <p:tav tm="100000">
                                          <p:val>
                                            <p:fltVal val="0"/>
                                          </p:val>
                                        </p:tav>
                                      </p:tavLst>
                                    </p:anim>
                                    <p:animEffect transition="in" filter="fade">
                                      <p:cBhvr>
                                        <p:cTn id="40" dur="1000"/>
                                        <p:tgtEl>
                                          <p:spTgt spid="97"/>
                                        </p:tgtEl>
                                      </p:cBhvr>
                                    </p:animEffect>
                                  </p:childTnLst>
                                </p:cTn>
                              </p:par>
                              <p:par>
                                <p:cTn id="41" presetID="31" presetClass="entr" presetSubtype="0" fill="hold" nodeType="withEffect">
                                  <p:stCondLst>
                                    <p:cond delay="0"/>
                                  </p:stCondLst>
                                  <p:childTnLst>
                                    <p:set>
                                      <p:cBhvr>
                                        <p:cTn id="42" dur="1" fill="hold">
                                          <p:stCondLst>
                                            <p:cond delay="0"/>
                                          </p:stCondLst>
                                        </p:cTn>
                                        <p:tgtEl>
                                          <p:spTgt spid="98"/>
                                        </p:tgtEl>
                                        <p:attrNameLst>
                                          <p:attrName>style.visibility</p:attrName>
                                        </p:attrNameLst>
                                      </p:cBhvr>
                                      <p:to>
                                        <p:strVal val="visible"/>
                                      </p:to>
                                    </p:set>
                                    <p:anim calcmode="lin" valueType="num">
                                      <p:cBhvr>
                                        <p:cTn id="43" dur="1000" fill="hold"/>
                                        <p:tgtEl>
                                          <p:spTgt spid="98"/>
                                        </p:tgtEl>
                                        <p:attrNameLst>
                                          <p:attrName>ppt_w</p:attrName>
                                        </p:attrNameLst>
                                      </p:cBhvr>
                                      <p:tavLst>
                                        <p:tav tm="0">
                                          <p:val>
                                            <p:fltVal val="0"/>
                                          </p:val>
                                        </p:tav>
                                        <p:tav tm="100000">
                                          <p:val>
                                            <p:strVal val="#ppt_w"/>
                                          </p:val>
                                        </p:tav>
                                      </p:tavLst>
                                    </p:anim>
                                    <p:anim calcmode="lin" valueType="num">
                                      <p:cBhvr>
                                        <p:cTn id="44" dur="1000" fill="hold"/>
                                        <p:tgtEl>
                                          <p:spTgt spid="98"/>
                                        </p:tgtEl>
                                        <p:attrNameLst>
                                          <p:attrName>ppt_h</p:attrName>
                                        </p:attrNameLst>
                                      </p:cBhvr>
                                      <p:tavLst>
                                        <p:tav tm="0">
                                          <p:val>
                                            <p:fltVal val="0"/>
                                          </p:val>
                                        </p:tav>
                                        <p:tav tm="100000">
                                          <p:val>
                                            <p:strVal val="#ppt_h"/>
                                          </p:val>
                                        </p:tav>
                                      </p:tavLst>
                                    </p:anim>
                                    <p:anim calcmode="lin" valueType="num">
                                      <p:cBhvr>
                                        <p:cTn id="45" dur="1000" fill="hold"/>
                                        <p:tgtEl>
                                          <p:spTgt spid="98"/>
                                        </p:tgtEl>
                                        <p:attrNameLst>
                                          <p:attrName>style.rotation</p:attrName>
                                        </p:attrNameLst>
                                      </p:cBhvr>
                                      <p:tavLst>
                                        <p:tav tm="0">
                                          <p:val>
                                            <p:fltVal val="90"/>
                                          </p:val>
                                        </p:tav>
                                        <p:tav tm="100000">
                                          <p:val>
                                            <p:fltVal val="0"/>
                                          </p:val>
                                        </p:tav>
                                      </p:tavLst>
                                    </p:anim>
                                    <p:animEffect transition="in" filter="fade">
                                      <p:cBhvr>
                                        <p:cTn id="46" dur="1000"/>
                                        <p:tgtEl>
                                          <p:spTgt spid="98"/>
                                        </p:tgtEl>
                                      </p:cBhvr>
                                    </p:animEffect>
                                  </p:childTnLst>
                                </p:cTn>
                              </p:par>
                              <p:par>
                                <p:cTn id="47" presetID="31" presetClass="entr" presetSubtype="0" fill="hold" nodeType="withEffect">
                                  <p:stCondLst>
                                    <p:cond delay="0"/>
                                  </p:stCondLst>
                                  <p:childTnLst>
                                    <p:set>
                                      <p:cBhvr>
                                        <p:cTn id="48" dur="1" fill="hold">
                                          <p:stCondLst>
                                            <p:cond delay="0"/>
                                          </p:stCondLst>
                                        </p:cTn>
                                        <p:tgtEl>
                                          <p:spTgt spid="99"/>
                                        </p:tgtEl>
                                        <p:attrNameLst>
                                          <p:attrName>style.visibility</p:attrName>
                                        </p:attrNameLst>
                                      </p:cBhvr>
                                      <p:to>
                                        <p:strVal val="visible"/>
                                      </p:to>
                                    </p:set>
                                    <p:anim calcmode="lin" valueType="num">
                                      <p:cBhvr>
                                        <p:cTn id="49" dur="1000" fill="hold"/>
                                        <p:tgtEl>
                                          <p:spTgt spid="99"/>
                                        </p:tgtEl>
                                        <p:attrNameLst>
                                          <p:attrName>ppt_w</p:attrName>
                                        </p:attrNameLst>
                                      </p:cBhvr>
                                      <p:tavLst>
                                        <p:tav tm="0">
                                          <p:val>
                                            <p:fltVal val="0"/>
                                          </p:val>
                                        </p:tav>
                                        <p:tav tm="100000">
                                          <p:val>
                                            <p:strVal val="#ppt_w"/>
                                          </p:val>
                                        </p:tav>
                                      </p:tavLst>
                                    </p:anim>
                                    <p:anim calcmode="lin" valueType="num">
                                      <p:cBhvr>
                                        <p:cTn id="50" dur="1000" fill="hold"/>
                                        <p:tgtEl>
                                          <p:spTgt spid="99"/>
                                        </p:tgtEl>
                                        <p:attrNameLst>
                                          <p:attrName>ppt_h</p:attrName>
                                        </p:attrNameLst>
                                      </p:cBhvr>
                                      <p:tavLst>
                                        <p:tav tm="0">
                                          <p:val>
                                            <p:fltVal val="0"/>
                                          </p:val>
                                        </p:tav>
                                        <p:tav tm="100000">
                                          <p:val>
                                            <p:strVal val="#ppt_h"/>
                                          </p:val>
                                        </p:tav>
                                      </p:tavLst>
                                    </p:anim>
                                    <p:anim calcmode="lin" valueType="num">
                                      <p:cBhvr>
                                        <p:cTn id="51" dur="1000" fill="hold"/>
                                        <p:tgtEl>
                                          <p:spTgt spid="99"/>
                                        </p:tgtEl>
                                        <p:attrNameLst>
                                          <p:attrName>style.rotation</p:attrName>
                                        </p:attrNameLst>
                                      </p:cBhvr>
                                      <p:tavLst>
                                        <p:tav tm="0">
                                          <p:val>
                                            <p:fltVal val="90"/>
                                          </p:val>
                                        </p:tav>
                                        <p:tav tm="100000">
                                          <p:val>
                                            <p:fltVal val="0"/>
                                          </p:val>
                                        </p:tav>
                                      </p:tavLst>
                                    </p:anim>
                                    <p:animEffect transition="in" filter="fade">
                                      <p:cBhvr>
                                        <p:cTn id="52" dur="1000"/>
                                        <p:tgtEl>
                                          <p:spTgt spid="99"/>
                                        </p:tgtEl>
                                      </p:cBhvr>
                                    </p:animEffect>
                                  </p:childTnLst>
                                </p:cTn>
                              </p:par>
                              <p:par>
                                <p:cTn id="53" presetID="31" presetClass="entr" presetSubtype="0" fill="hold" nodeType="withEffect">
                                  <p:stCondLst>
                                    <p:cond delay="0"/>
                                  </p:stCondLst>
                                  <p:childTnLst>
                                    <p:set>
                                      <p:cBhvr>
                                        <p:cTn id="54" dur="1" fill="hold">
                                          <p:stCondLst>
                                            <p:cond delay="0"/>
                                          </p:stCondLst>
                                        </p:cTn>
                                        <p:tgtEl>
                                          <p:spTgt spid="100"/>
                                        </p:tgtEl>
                                        <p:attrNameLst>
                                          <p:attrName>style.visibility</p:attrName>
                                        </p:attrNameLst>
                                      </p:cBhvr>
                                      <p:to>
                                        <p:strVal val="visible"/>
                                      </p:to>
                                    </p:set>
                                    <p:anim calcmode="lin" valueType="num">
                                      <p:cBhvr>
                                        <p:cTn id="55" dur="1000" fill="hold"/>
                                        <p:tgtEl>
                                          <p:spTgt spid="100"/>
                                        </p:tgtEl>
                                        <p:attrNameLst>
                                          <p:attrName>ppt_w</p:attrName>
                                        </p:attrNameLst>
                                      </p:cBhvr>
                                      <p:tavLst>
                                        <p:tav tm="0">
                                          <p:val>
                                            <p:fltVal val="0"/>
                                          </p:val>
                                        </p:tav>
                                        <p:tav tm="100000">
                                          <p:val>
                                            <p:strVal val="#ppt_w"/>
                                          </p:val>
                                        </p:tav>
                                      </p:tavLst>
                                    </p:anim>
                                    <p:anim calcmode="lin" valueType="num">
                                      <p:cBhvr>
                                        <p:cTn id="56" dur="1000" fill="hold"/>
                                        <p:tgtEl>
                                          <p:spTgt spid="100"/>
                                        </p:tgtEl>
                                        <p:attrNameLst>
                                          <p:attrName>ppt_h</p:attrName>
                                        </p:attrNameLst>
                                      </p:cBhvr>
                                      <p:tavLst>
                                        <p:tav tm="0">
                                          <p:val>
                                            <p:fltVal val="0"/>
                                          </p:val>
                                        </p:tav>
                                        <p:tav tm="100000">
                                          <p:val>
                                            <p:strVal val="#ppt_h"/>
                                          </p:val>
                                        </p:tav>
                                      </p:tavLst>
                                    </p:anim>
                                    <p:anim calcmode="lin" valueType="num">
                                      <p:cBhvr>
                                        <p:cTn id="57" dur="1000" fill="hold"/>
                                        <p:tgtEl>
                                          <p:spTgt spid="100"/>
                                        </p:tgtEl>
                                        <p:attrNameLst>
                                          <p:attrName>style.rotation</p:attrName>
                                        </p:attrNameLst>
                                      </p:cBhvr>
                                      <p:tavLst>
                                        <p:tav tm="0">
                                          <p:val>
                                            <p:fltVal val="90"/>
                                          </p:val>
                                        </p:tav>
                                        <p:tav tm="100000">
                                          <p:val>
                                            <p:fltVal val="0"/>
                                          </p:val>
                                        </p:tav>
                                      </p:tavLst>
                                    </p:anim>
                                    <p:animEffect transition="in" filter="fade">
                                      <p:cBhvr>
                                        <p:cTn id="58" dur="1000"/>
                                        <p:tgtEl>
                                          <p:spTgt spid="100"/>
                                        </p:tgtEl>
                                      </p:cBhvr>
                                    </p:animEffect>
                                  </p:childTnLst>
                                </p:cTn>
                              </p:par>
                              <p:par>
                                <p:cTn id="59" presetID="31" presetClass="entr" presetSubtype="0" fill="hold" nodeType="withEffect">
                                  <p:stCondLst>
                                    <p:cond delay="0"/>
                                  </p:stCondLst>
                                  <p:childTnLst>
                                    <p:set>
                                      <p:cBhvr>
                                        <p:cTn id="60" dur="1" fill="hold">
                                          <p:stCondLst>
                                            <p:cond delay="0"/>
                                          </p:stCondLst>
                                        </p:cTn>
                                        <p:tgtEl>
                                          <p:spTgt spid="101"/>
                                        </p:tgtEl>
                                        <p:attrNameLst>
                                          <p:attrName>style.visibility</p:attrName>
                                        </p:attrNameLst>
                                      </p:cBhvr>
                                      <p:to>
                                        <p:strVal val="visible"/>
                                      </p:to>
                                    </p:set>
                                    <p:anim calcmode="lin" valueType="num">
                                      <p:cBhvr>
                                        <p:cTn id="61" dur="1000" fill="hold"/>
                                        <p:tgtEl>
                                          <p:spTgt spid="101"/>
                                        </p:tgtEl>
                                        <p:attrNameLst>
                                          <p:attrName>ppt_w</p:attrName>
                                        </p:attrNameLst>
                                      </p:cBhvr>
                                      <p:tavLst>
                                        <p:tav tm="0">
                                          <p:val>
                                            <p:fltVal val="0"/>
                                          </p:val>
                                        </p:tav>
                                        <p:tav tm="100000">
                                          <p:val>
                                            <p:strVal val="#ppt_w"/>
                                          </p:val>
                                        </p:tav>
                                      </p:tavLst>
                                    </p:anim>
                                    <p:anim calcmode="lin" valueType="num">
                                      <p:cBhvr>
                                        <p:cTn id="62" dur="1000" fill="hold"/>
                                        <p:tgtEl>
                                          <p:spTgt spid="101"/>
                                        </p:tgtEl>
                                        <p:attrNameLst>
                                          <p:attrName>ppt_h</p:attrName>
                                        </p:attrNameLst>
                                      </p:cBhvr>
                                      <p:tavLst>
                                        <p:tav tm="0">
                                          <p:val>
                                            <p:fltVal val="0"/>
                                          </p:val>
                                        </p:tav>
                                        <p:tav tm="100000">
                                          <p:val>
                                            <p:strVal val="#ppt_h"/>
                                          </p:val>
                                        </p:tav>
                                      </p:tavLst>
                                    </p:anim>
                                    <p:anim calcmode="lin" valueType="num">
                                      <p:cBhvr>
                                        <p:cTn id="63" dur="1000" fill="hold"/>
                                        <p:tgtEl>
                                          <p:spTgt spid="101"/>
                                        </p:tgtEl>
                                        <p:attrNameLst>
                                          <p:attrName>style.rotation</p:attrName>
                                        </p:attrNameLst>
                                      </p:cBhvr>
                                      <p:tavLst>
                                        <p:tav tm="0">
                                          <p:val>
                                            <p:fltVal val="90"/>
                                          </p:val>
                                        </p:tav>
                                        <p:tav tm="100000">
                                          <p:val>
                                            <p:fltVal val="0"/>
                                          </p:val>
                                        </p:tav>
                                      </p:tavLst>
                                    </p:anim>
                                    <p:animEffect transition="in" filter="fade">
                                      <p:cBhvr>
                                        <p:cTn id="64" dur="1000"/>
                                        <p:tgtEl>
                                          <p:spTgt spid="101"/>
                                        </p:tgtEl>
                                      </p:cBhvr>
                                    </p:animEffect>
                                  </p:childTnLst>
                                </p:cTn>
                              </p:par>
                              <p:par>
                                <p:cTn id="65" presetID="31" presetClass="entr" presetSubtype="0" fill="hold" nodeType="withEffect">
                                  <p:stCondLst>
                                    <p:cond delay="0"/>
                                  </p:stCondLst>
                                  <p:childTnLst>
                                    <p:set>
                                      <p:cBhvr>
                                        <p:cTn id="66" dur="1" fill="hold">
                                          <p:stCondLst>
                                            <p:cond delay="0"/>
                                          </p:stCondLst>
                                        </p:cTn>
                                        <p:tgtEl>
                                          <p:spTgt spid="102"/>
                                        </p:tgtEl>
                                        <p:attrNameLst>
                                          <p:attrName>style.visibility</p:attrName>
                                        </p:attrNameLst>
                                      </p:cBhvr>
                                      <p:to>
                                        <p:strVal val="visible"/>
                                      </p:to>
                                    </p:set>
                                    <p:anim calcmode="lin" valueType="num">
                                      <p:cBhvr>
                                        <p:cTn id="67" dur="1000" fill="hold"/>
                                        <p:tgtEl>
                                          <p:spTgt spid="102"/>
                                        </p:tgtEl>
                                        <p:attrNameLst>
                                          <p:attrName>ppt_w</p:attrName>
                                        </p:attrNameLst>
                                      </p:cBhvr>
                                      <p:tavLst>
                                        <p:tav tm="0">
                                          <p:val>
                                            <p:fltVal val="0"/>
                                          </p:val>
                                        </p:tav>
                                        <p:tav tm="100000">
                                          <p:val>
                                            <p:strVal val="#ppt_w"/>
                                          </p:val>
                                        </p:tav>
                                      </p:tavLst>
                                    </p:anim>
                                    <p:anim calcmode="lin" valueType="num">
                                      <p:cBhvr>
                                        <p:cTn id="68" dur="1000" fill="hold"/>
                                        <p:tgtEl>
                                          <p:spTgt spid="102"/>
                                        </p:tgtEl>
                                        <p:attrNameLst>
                                          <p:attrName>ppt_h</p:attrName>
                                        </p:attrNameLst>
                                      </p:cBhvr>
                                      <p:tavLst>
                                        <p:tav tm="0">
                                          <p:val>
                                            <p:fltVal val="0"/>
                                          </p:val>
                                        </p:tav>
                                        <p:tav tm="100000">
                                          <p:val>
                                            <p:strVal val="#ppt_h"/>
                                          </p:val>
                                        </p:tav>
                                      </p:tavLst>
                                    </p:anim>
                                    <p:anim calcmode="lin" valueType="num">
                                      <p:cBhvr>
                                        <p:cTn id="69" dur="1000" fill="hold"/>
                                        <p:tgtEl>
                                          <p:spTgt spid="102"/>
                                        </p:tgtEl>
                                        <p:attrNameLst>
                                          <p:attrName>style.rotation</p:attrName>
                                        </p:attrNameLst>
                                      </p:cBhvr>
                                      <p:tavLst>
                                        <p:tav tm="0">
                                          <p:val>
                                            <p:fltVal val="90"/>
                                          </p:val>
                                        </p:tav>
                                        <p:tav tm="100000">
                                          <p:val>
                                            <p:fltVal val="0"/>
                                          </p:val>
                                        </p:tav>
                                      </p:tavLst>
                                    </p:anim>
                                    <p:animEffect transition="in" filter="fade">
                                      <p:cBhvr>
                                        <p:cTn id="70" dur="1000"/>
                                        <p:tgtEl>
                                          <p:spTgt spid="102"/>
                                        </p:tgtEl>
                                      </p:cBhvr>
                                    </p:animEffect>
                                  </p:childTnLst>
                                </p:cTn>
                              </p:par>
                              <p:par>
                                <p:cTn id="71" presetID="31" presetClass="entr" presetSubtype="0" fill="hold" nodeType="withEffect">
                                  <p:stCondLst>
                                    <p:cond delay="0"/>
                                  </p:stCondLst>
                                  <p:childTnLst>
                                    <p:set>
                                      <p:cBhvr>
                                        <p:cTn id="72" dur="1" fill="hold">
                                          <p:stCondLst>
                                            <p:cond delay="0"/>
                                          </p:stCondLst>
                                        </p:cTn>
                                        <p:tgtEl>
                                          <p:spTgt spid="107"/>
                                        </p:tgtEl>
                                        <p:attrNameLst>
                                          <p:attrName>style.visibility</p:attrName>
                                        </p:attrNameLst>
                                      </p:cBhvr>
                                      <p:to>
                                        <p:strVal val="visible"/>
                                      </p:to>
                                    </p:set>
                                    <p:anim calcmode="lin" valueType="num">
                                      <p:cBhvr>
                                        <p:cTn id="73" dur="1000" fill="hold"/>
                                        <p:tgtEl>
                                          <p:spTgt spid="107"/>
                                        </p:tgtEl>
                                        <p:attrNameLst>
                                          <p:attrName>ppt_w</p:attrName>
                                        </p:attrNameLst>
                                      </p:cBhvr>
                                      <p:tavLst>
                                        <p:tav tm="0">
                                          <p:val>
                                            <p:fltVal val="0"/>
                                          </p:val>
                                        </p:tav>
                                        <p:tav tm="100000">
                                          <p:val>
                                            <p:strVal val="#ppt_w"/>
                                          </p:val>
                                        </p:tav>
                                      </p:tavLst>
                                    </p:anim>
                                    <p:anim calcmode="lin" valueType="num">
                                      <p:cBhvr>
                                        <p:cTn id="74" dur="1000" fill="hold"/>
                                        <p:tgtEl>
                                          <p:spTgt spid="107"/>
                                        </p:tgtEl>
                                        <p:attrNameLst>
                                          <p:attrName>ppt_h</p:attrName>
                                        </p:attrNameLst>
                                      </p:cBhvr>
                                      <p:tavLst>
                                        <p:tav tm="0">
                                          <p:val>
                                            <p:fltVal val="0"/>
                                          </p:val>
                                        </p:tav>
                                        <p:tav tm="100000">
                                          <p:val>
                                            <p:strVal val="#ppt_h"/>
                                          </p:val>
                                        </p:tav>
                                      </p:tavLst>
                                    </p:anim>
                                    <p:anim calcmode="lin" valueType="num">
                                      <p:cBhvr>
                                        <p:cTn id="75" dur="1000" fill="hold"/>
                                        <p:tgtEl>
                                          <p:spTgt spid="107"/>
                                        </p:tgtEl>
                                        <p:attrNameLst>
                                          <p:attrName>style.rotation</p:attrName>
                                        </p:attrNameLst>
                                      </p:cBhvr>
                                      <p:tavLst>
                                        <p:tav tm="0">
                                          <p:val>
                                            <p:fltVal val="90"/>
                                          </p:val>
                                        </p:tav>
                                        <p:tav tm="100000">
                                          <p:val>
                                            <p:fltVal val="0"/>
                                          </p:val>
                                        </p:tav>
                                      </p:tavLst>
                                    </p:anim>
                                    <p:animEffect transition="in" filter="fade">
                                      <p:cBhvr>
                                        <p:cTn id="76" dur="1000"/>
                                        <p:tgtEl>
                                          <p:spTgt spid="107"/>
                                        </p:tgtEl>
                                      </p:cBhvr>
                                    </p:animEffect>
                                  </p:childTnLst>
                                </p:cTn>
                              </p:par>
                              <p:par>
                                <p:cTn id="77" presetID="31" presetClass="entr" presetSubtype="0" fill="hold" nodeType="withEffect">
                                  <p:stCondLst>
                                    <p:cond delay="0"/>
                                  </p:stCondLst>
                                  <p:childTnLst>
                                    <p:set>
                                      <p:cBhvr>
                                        <p:cTn id="78" dur="1" fill="hold">
                                          <p:stCondLst>
                                            <p:cond delay="0"/>
                                          </p:stCondLst>
                                        </p:cTn>
                                        <p:tgtEl>
                                          <p:spTgt spid="106"/>
                                        </p:tgtEl>
                                        <p:attrNameLst>
                                          <p:attrName>style.visibility</p:attrName>
                                        </p:attrNameLst>
                                      </p:cBhvr>
                                      <p:to>
                                        <p:strVal val="visible"/>
                                      </p:to>
                                    </p:set>
                                    <p:anim calcmode="lin" valueType="num">
                                      <p:cBhvr>
                                        <p:cTn id="79" dur="1000" fill="hold"/>
                                        <p:tgtEl>
                                          <p:spTgt spid="106"/>
                                        </p:tgtEl>
                                        <p:attrNameLst>
                                          <p:attrName>ppt_w</p:attrName>
                                        </p:attrNameLst>
                                      </p:cBhvr>
                                      <p:tavLst>
                                        <p:tav tm="0">
                                          <p:val>
                                            <p:fltVal val="0"/>
                                          </p:val>
                                        </p:tav>
                                        <p:tav tm="100000">
                                          <p:val>
                                            <p:strVal val="#ppt_w"/>
                                          </p:val>
                                        </p:tav>
                                      </p:tavLst>
                                    </p:anim>
                                    <p:anim calcmode="lin" valueType="num">
                                      <p:cBhvr>
                                        <p:cTn id="80" dur="1000" fill="hold"/>
                                        <p:tgtEl>
                                          <p:spTgt spid="106"/>
                                        </p:tgtEl>
                                        <p:attrNameLst>
                                          <p:attrName>ppt_h</p:attrName>
                                        </p:attrNameLst>
                                      </p:cBhvr>
                                      <p:tavLst>
                                        <p:tav tm="0">
                                          <p:val>
                                            <p:fltVal val="0"/>
                                          </p:val>
                                        </p:tav>
                                        <p:tav tm="100000">
                                          <p:val>
                                            <p:strVal val="#ppt_h"/>
                                          </p:val>
                                        </p:tav>
                                      </p:tavLst>
                                    </p:anim>
                                    <p:anim calcmode="lin" valueType="num">
                                      <p:cBhvr>
                                        <p:cTn id="81" dur="1000" fill="hold"/>
                                        <p:tgtEl>
                                          <p:spTgt spid="106"/>
                                        </p:tgtEl>
                                        <p:attrNameLst>
                                          <p:attrName>style.rotation</p:attrName>
                                        </p:attrNameLst>
                                      </p:cBhvr>
                                      <p:tavLst>
                                        <p:tav tm="0">
                                          <p:val>
                                            <p:fltVal val="90"/>
                                          </p:val>
                                        </p:tav>
                                        <p:tav tm="100000">
                                          <p:val>
                                            <p:fltVal val="0"/>
                                          </p:val>
                                        </p:tav>
                                      </p:tavLst>
                                    </p:anim>
                                    <p:animEffect transition="in" filter="fade">
                                      <p:cBhvr>
                                        <p:cTn id="82" dur="1000"/>
                                        <p:tgtEl>
                                          <p:spTgt spid="1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0467" y="1194375"/>
            <a:ext cx="11373923" cy="633954"/>
          </a:xfrm>
        </p:spPr>
        <p:txBody>
          <a:bodyPr/>
          <a:lstStyle/>
          <a:p>
            <a:pPr algn="ctr"/>
            <a:r>
              <a:rPr lang="en-US" sz="4488" b="1" dirty="0"/>
              <a:t>AvePoint Drives         Cloud Consumption</a:t>
            </a:r>
          </a:p>
        </p:txBody>
      </p:sp>
      <p:pic>
        <p:nvPicPr>
          <p:cNvPr id="29" name="Picture 2" descr="http://download.microsoft.com/download/B/1/0/B102AB56-BB7E-4BCF-9D80-1278A029F95A/MSFT_logo_png.pn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5362041" y="963468"/>
            <a:ext cx="752627" cy="79444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http://kemptechnologies.com/blog/wp-content/uploads/2014/07/micorosftazurelogo.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936321" y="2799588"/>
            <a:ext cx="4394628" cy="285221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 descr="http://www.skypeassets.com/content/dam/scom/images/text-and-image/mobile/office-logo_v3.jp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7010794" y="2799588"/>
            <a:ext cx="3669356" cy="2852212"/>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p:cNvSpPr txBox="1"/>
          <p:nvPr/>
        </p:nvSpPr>
        <p:spPr>
          <a:xfrm>
            <a:off x="2447942" y="2417898"/>
            <a:ext cx="3177115" cy="320182"/>
          </a:xfrm>
          <a:prstGeom prst="rect">
            <a:avLst/>
          </a:prstGeom>
          <a:noFill/>
        </p:spPr>
        <p:txBody>
          <a:bodyPr wrap="square" lIns="0" tIns="0" rIns="0" bIns="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040" b="1" i="0" u="none" strike="noStrike" kern="0" cap="none" spc="0" normalizeH="0" baseline="0" noProof="0" dirty="0">
                <a:ln>
                  <a:noFill/>
                </a:ln>
                <a:solidFill>
                  <a:srgbClr val="262626"/>
                </a:solidFill>
                <a:effectLst/>
                <a:uLnTx/>
                <a:uFillTx/>
                <a:latin typeface="Segoe UI Light" pitchFamily="34" charset="0"/>
                <a:ea typeface="+mn-ea"/>
                <a:cs typeface="+mn-cs"/>
              </a:rPr>
              <a:t>Azure Consumption</a:t>
            </a:r>
          </a:p>
        </p:txBody>
      </p:sp>
      <p:sp>
        <p:nvSpPr>
          <p:cNvPr id="33" name="TextBox 32"/>
          <p:cNvSpPr txBox="1"/>
          <p:nvPr/>
        </p:nvSpPr>
        <p:spPr>
          <a:xfrm>
            <a:off x="6909804" y="2417897"/>
            <a:ext cx="3871335" cy="320182"/>
          </a:xfrm>
          <a:prstGeom prst="rect">
            <a:avLst/>
          </a:prstGeom>
          <a:noFill/>
        </p:spPr>
        <p:txBody>
          <a:bodyPr wrap="square" lIns="0" tIns="0" rIns="0" bIns="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040" b="1" i="0" u="none" strike="noStrike" kern="0" cap="none" spc="0" normalizeH="0" baseline="0" noProof="0" dirty="0">
                <a:ln>
                  <a:noFill/>
                </a:ln>
                <a:solidFill>
                  <a:srgbClr val="262626"/>
                </a:solidFill>
                <a:effectLst/>
                <a:uLnTx/>
                <a:uFillTx/>
                <a:latin typeface="Segoe UI Light" pitchFamily="34" charset="0"/>
                <a:ea typeface="+mn-ea"/>
                <a:cs typeface="+mn-cs"/>
              </a:rPr>
              <a:t>Office 365 Monthly Active Usage</a:t>
            </a:r>
          </a:p>
        </p:txBody>
      </p:sp>
    </p:spTree>
    <p:extLst>
      <p:ext uri="{BB962C8B-B14F-4D97-AF65-F5344CB8AC3E}">
        <p14:creationId xmlns:p14="http://schemas.microsoft.com/office/powerpoint/2010/main" val="1385496848"/>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0466" y="233152"/>
            <a:ext cx="11778152" cy="762786"/>
          </a:xfrm>
        </p:spPr>
        <p:txBody>
          <a:bodyPr/>
          <a:lstStyle/>
          <a:p>
            <a:r>
              <a:rPr lang="en-US" dirty="0"/>
              <a:t>AvePoint Online Services (Commercial)</a:t>
            </a:r>
          </a:p>
        </p:txBody>
      </p:sp>
      <p:grpSp>
        <p:nvGrpSpPr>
          <p:cNvPr id="40" name="Group 39"/>
          <p:cNvGrpSpPr/>
          <p:nvPr/>
        </p:nvGrpSpPr>
        <p:grpSpPr>
          <a:xfrm>
            <a:off x="2097073" y="1217570"/>
            <a:ext cx="4827265" cy="2164344"/>
            <a:chOff x="2055277" y="1193804"/>
            <a:chExt cx="4733042" cy="2122099"/>
          </a:xfrm>
        </p:grpSpPr>
        <p:sp>
          <p:nvSpPr>
            <p:cNvPr id="2" name="Rectangle 1"/>
            <p:cNvSpPr/>
            <p:nvPr/>
          </p:nvSpPr>
          <p:spPr>
            <a:xfrm>
              <a:off x="2055277" y="1193804"/>
              <a:ext cx="4733042" cy="2122099"/>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4" name="Rectangle 23"/>
            <p:cNvSpPr/>
            <p:nvPr/>
          </p:nvSpPr>
          <p:spPr>
            <a:xfrm>
              <a:off x="2962123" y="2621899"/>
              <a:ext cx="3034756" cy="657359"/>
            </a:xfrm>
            <a:prstGeom prst="rect">
              <a:avLst/>
            </a:prstGeom>
          </p:spPr>
          <p:txBody>
            <a:bodyPr wrap="square">
              <a:sp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r>
                <a:rPr kumimoji="0" lang="en-US" sz="183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gration, Compliance, Governance</a:t>
              </a:r>
            </a:p>
          </p:txBody>
        </p:sp>
        <p:grpSp>
          <p:nvGrpSpPr>
            <p:cNvPr id="12" name="Group 5"/>
            <p:cNvGrpSpPr>
              <a:grpSpLocks noChangeAspect="1"/>
            </p:cNvGrpSpPr>
            <p:nvPr/>
          </p:nvGrpSpPr>
          <p:grpSpPr bwMode="auto">
            <a:xfrm>
              <a:off x="2459744" y="1835929"/>
              <a:ext cx="3961750" cy="484558"/>
              <a:chOff x="-458" y="1640"/>
              <a:chExt cx="2044" cy="250"/>
            </a:xfrm>
            <a:solidFill>
              <a:schemeClr val="bg1"/>
            </a:solidFill>
          </p:grpSpPr>
          <p:sp>
            <p:nvSpPr>
              <p:cNvPr id="29" name="Freeform 6"/>
              <p:cNvSpPr>
                <a:spLocks/>
              </p:cNvSpPr>
              <p:nvPr/>
            </p:nvSpPr>
            <p:spPr bwMode="auto">
              <a:xfrm>
                <a:off x="-458" y="1655"/>
                <a:ext cx="230" cy="227"/>
              </a:xfrm>
              <a:custGeom>
                <a:avLst/>
                <a:gdLst>
                  <a:gd name="T0" fmla="*/ 31 w 59"/>
                  <a:gd name="T1" fmla="*/ 58 h 58"/>
                  <a:gd name="T2" fmla="*/ 28 w 59"/>
                  <a:gd name="T3" fmla="*/ 58 h 58"/>
                  <a:gd name="T4" fmla="*/ 7 w 59"/>
                  <a:gd name="T5" fmla="*/ 11 h 58"/>
                  <a:gd name="T6" fmla="*/ 7 w 59"/>
                  <a:gd name="T7" fmla="*/ 11 h 58"/>
                  <a:gd name="T8" fmla="*/ 7 w 59"/>
                  <a:gd name="T9" fmla="*/ 12 h 58"/>
                  <a:gd name="T10" fmla="*/ 7 w 59"/>
                  <a:gd name="T11" fmla="*/ 12 h 58"/>
                  <a:gd name="T12" fmla="*/ 7 w 59"/>
                  <a:gd name="T13" fmla="*/ 58 h 58"/>
                  <a:gd name="T14" fmla="*/ 7 w 59"/>
                  <a:gd name="T15" fmla="*/ 58 h 58"/>
                  <a:gd name="T16" fmla="*/ 6 w 59"/>
                  <a:gd name="T17" fmla="*/ 58 h 58"/>
                  <a:gd name="T18" fmla="*/ 0 w 59"/>
                  <a:gd name="T19" fmla="*/ 58 h 58"/>
                  <a:gd name="T20" fmla="*/ 0 w 59"/>
                  <a:gd name="T21" fmla="*/ 0 h 58"/>
                  <a:gd name="T22" fmla="*/ 9 w 59"/>
                  <a:gd name="T23" fmla="*/ 0 h 58"/>
                  <a:gd name="T24" fmla="*/ 29 w 59"/>
                  <a:gd name="T25" fmla="*/ 47 h 58"/>
                  <a:gd name="T26" fmla="*/ 30 w 59"/>
                  <a:gd name="T27" fmla="*/ 46 h 58"/>
                  <a:gd name="T28" fmla="*/ 41 w 59"/>
                  <a:gd name="T29" fmla="*/ 22 h 58"/>
                  <a:gd name="T30" fmla="*/ 50 w 59"/>
                  <a:gd name="T31" fmla="*/ 1 h 58"/>
                  <a:gd name="T32" fmla="*/ 52 w 59"/>
                  <a:gd name="T33" fmla="*/ 0 h 58"/>
                  <a:gd name="T34" fmla="*/ 58 w 59"/>
                  <a:gd name="T35" fmla="*/ 0 h 58"/>
                  <a:gd name="T36" fmla="*/ 59 w 59"/>
                  <a:gd name="T37" fmla="*/ 0 h 58"/>
                  <a:gd name="T38" fmla="*/ 59 w 59"/>
                  <a:gd name="T39" fmla="*/ 58 h 58"/>
                  <a:gd name="T40" fmla="*/ 52 w 59"/>
                  <a:gd name="T41" fmla="*/ 58 h 58"/>
                  <a:gd name="T42" fmla="*/ 52 w 59"/>
                  <a:gd name="T43" fmla="*/ 12 h 58"/>
                  <a:gd name="T44" fmla="*/ 52 w 59"/>
                  <a:gd name="T45" fmla="*/ 12 h 58"/>
                  <a:gd name="T46" fmla="*/ 48 w 59"/>
                  <a:gd name="T47" fmla="*/ 21 h 58"/>
                  <a:gd name="T48" fmla="*/ 44 w 59"/>
                  <a:gd name="T49" fmla="*/ 30 h 58"/>
                  <a:gd name="T50" fmla="*/ 40 w 59"/>
                  <a:gd name="T51" fmla="*/ 39 h 58"/>
                  <a:gd name="T52" fmla="*/ 35 w 59"/>
                  <a:gd name="T53" fmla="*/ 49 h 58"/>
                  <a:gd name="T54" fmla="*/ 31 w 59"/>
                  <a:gd name="T5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9" h="58">
                    <a:moveTo>
                      <a:pt x="31" y="58"/>
                    </a:moveTo>
                    <a:cubicBezTo>
                      <a:pt x="30" y="58"/>
                      <a:pt x="29" y="58"/>
                      <a:pt x="28" y="58"/>
                    </a:cubicBezTo>
                    <a:cubicBezTo>
                      <a:pt x="21" y="43"/>
                      <a:pt x="14" y="27"/>
                      <a:pt x="7" y="11"/>
                    </a:cubicBezTo>
                    <a:cubicBezTo>
                      <a:pt x="7" y="11"/>
                      <a:pt x="7" y="11"/>
                      <a:pt x="7" y="11"/>
                    </a:cubicBezTo>
                    <a:cubicBezTo>
                      <a:pt x="7" y="11"/>
                      <a:pt x="7" y="11"/>
                      <a:pt x="7" y="12"/>
                    </a:cubicBezTo>
                    <a:cubicBezTo>
                      <a:pt x="7" y="12"/>
                      <a:pt x="7" y="12"/>
                      <a:pt x="7" y="12"/>
                    </a:cubicBezTo>
                    <a:cubicBezTo>
                      <a:pt x="7" y="27"/>
                      <a:pt x="7" y="43"/>
                      <a:pt x="7" y="58"/>
                    </a:cubicBezTo>
                    <a:cubicBezTo>
                      <a:pt x="7" y="58"/>
                      <a:pt x="7" y="58"/>
                      <a:pt x="7" y="58"/>
                    </a:cubicBezTo>
                    <a:cubicBezTo>
                      <a:pt x="7" y="58"/>
                      <a:pt x="6" y="58"/>
                      <a:pt x="6" y="58"/>
                    </a:cubicBezTo>
                    <a:cubicBezTo>
                      <a:pt x="4" y="58"/>
                      <a:pt x="2" y="58"/>
                      <a:pt x="0" y="58"/>
                    </a:cubicBezTo>
                    <a:cubicBezTo>
                      <a:pt x="0" y="39"/>
                      <a:pt x="0" y="20"/>
                      <a:pt x="0" y="0"/>
                    </a:cubicBezTo>
                    <a:cubicBezTo>
                      <a:pt x="3" y="0"/>
                      <a:pt x="6" y="0"/>
                      <a:pt x="9" y="0"/>
                    </a:cubicBezTo>
                    <a:cubicBezTo>
                      <a:pt x="16" y="16"/>
                      <a:pt x="23" y="31"/>
                      <a:pt x="29" y="47"/>
                    </a:cubicBezTo>
                    <a:cubicBezTo>
                      <a:pt x="30" y="46"/>
                      <a:pt x="30" y="46"/>
                      <a:pt x="30" y="46"/>
                    </a:cubicBezTo>
                    <a:cubicBezTo>
                      <a:pt x="34" y="38"/>
                      <a:pt x="37" y="30"/>
                      <a:pt x="41" y="22"/>
                    </a:cubicBezTo>
                    <a:cubicBezTo>
                      <a:pt x="44" y="15"/>
                      <a:pt x="47" y="8"/>
                      <a:pt x="50" y="1"/>
                    </a:cubicBezTo>
                    <a:cubicBezTo>
                      <a:pt x="50" y="1"/>
                      <a:pt x="51" y="0"/>
                      <a:pt x="52" y="0"/>
                    </a:cubicBezTo>
                    <a:cubicBezTo>
                      <a:pt x="54" y="0"/>
                      <a:pt x="56" y="0"/>
                      <a:pt x="58" y="0"/>
                    </a:cubicBezTo>
                    <a:cubicBezTo>
                      <a:pt x="58" y="0"/>
                      <a:pt x="59" y="0"/>
                      <a:pt x="59" y="0"/>
                    </a:cubicBezTo>
                    <a:cubicBezTo>
                      <a:pt x="59" y="1"/>
                      <a:pt x="59" y="57"/>
                      <a:pt x="59" y="58"/>
                    </a:cubicBezTo>
                    <a:cubicBezTo>
                      <a:pt x="57" y="58"/>
                      <a:pt x="55" y="58"/>
                      <a:pt x="52" y="58"/>
                    </a:cubicBezTo>
                    <a:cubicBezTo>
                      <a:pt x="52" y="43"/>
                      <a:pt x="52" y="27"/>
                      <a:pt x="52" y="12"/>
                    </a:cubicBezTo>
                    <a:cubicBezTo>
                      <a:pt x="52" y="12"/>
                      <a:pt x="52" y="12"/>
                      <a:pt x="52" y="12"/>
                    </a:cubicBezTo>
                    <a:cubicBezTo>
                      <a:pt x="51" y="15"/>
                      <a:pt x="49" y="18"/>
                      <a:pt x="48" y="21"/>
                    </a:cubicBezTo>
                    <a:cubicBezTo>
                      <a:pt x="46" y="24"/>
                      <a:pt x="45" y="27"/>
                      <a:pt x="44" y="30"/>
                    </a:cubicBezTo>
                    <a:cubicBezTo>
                      <a:pt x="42" y="33"/>
                      <a:pt x="41" y="36"/>
                      <a:pt x="40" y="39"/>
                    </a:cubicBezTo>
                    <a:cubicBezTo>
                      <a:pt x="38" y="43"/>
                      <a:pt x="37" y="46"/>
                      <a:pt x="35" y="49"/>
                    </a:cubicBezTo>
                    <a:cubicBezTo>
                      <a:pt x="34" y="52"/>
                      <a:pt x="33" y="55"/>
                      <a:pt x="31"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 name="Freeform 7"/>
              <p:cNvSpPr>
                <a:spLocks/>
              </p:cNvSpPr>
              <p:nvPr/>
            </p:nvSpPr>
            <p:spPr bwMode="auto">
              <a:xfrm>
                <a:off x="566" y="1640"/>
                <a:ext cx="184" cy="246"/>
              </a:xfrm>
              <a:custGeom>
                <a:avLst/>
                <a:gdLst>
                  <a:gd name="T0" fmla="*/ 47 w 47"/>
                  <a:gd name="T1" fmla="*/ 21 h 63"/>
                  <a:gd name="T2" fmla="*/ 47 w 47"/>
                  <a:gd name="T3" fmla="*/ 27 h 63"/>
                  <a:gd name="T4" fmla="*/ 37 w 47"/>
                  <a:gd name="T5" fmla="*/ 27 h 63"/>
                  <a:gd name="T6" fmla="*/ 37 w 47"/>
                  <a:gd name="T7" fmla="*/ 28 h 63"/>
                  <a:gd name="T8" fmla="*/ 37 w 47"/>
                  <a:gd name="T9" fmla="*/ 50 h 63"/>
                  <a:gd name="T10" fmla="*/ 37 w 47"/>
                  <a:gd name="T11" fmla="*/ 54 h 63"/>
                  <a:gd name="T12" fmla="*/ 42 w 47"/>
                  <a:gd name="T13" fmla="*/ 57 h 63"/>
                  <a:gd name="T14" fmla="*/ 47 w 47"/>
                  <a:gd name="T15" fmla="*/ 56 h 63"/>
                  <a:gd name="T16" fmla="*/ 47 w 47"/>
                  <a:gd name="T17" fmla="*/ 56 h 63"/>
                  <a:gd name="T18" fmla="*/ 47 w 47"/>
                  <a:gd name="T19" fmla="*/ 57 h 63"/>
                  <a:gd name="T20" fmla="*/ 47 w 47"/>
                  <a:gd name="T21" fmla="*/ 61 h 63"/>
                  <a:gd name="T22" fmla="*/ 46 w 47"/>
                  <a:gd name="T23" fmla="*/ 62 h 63"/>
                  <a:gd name="T24" fmla="*/ 43 w 47"/>
                  <a:gd name="T25" fmla="*/ 63 h 63"/>
                  <a:gd name="T26" fmla="*/ 37 w 47"/>
                  <a:gd name="T27" fmla="*/ 63 h 63"/>
                  <a:gd name="T28" fmla="*/ 31 w 47"/>
                  <a:gd name="T29" fmla="*/ 57 h 63"/>
                  <a:gd name="T30" fmla="*/ 30 w 47"/>
                  <a:gd name="T31" fmla="*/ 51 h 63"/>
                  <a:gd name="T32" fmla="*/ 30 w 47"/>
                  <a:gd name="T33" fmla="*/ 28 h 63"/>
                  <a:gd name="T34" fmla="*/ 30 w 47"/>
                  <a:gd name="T35" fmla="*/ 27 h 63"/>
                  <a:gd name="T36" fmla="*/ 14 w 47"/>
                  <a:gd name="T37" fmla="*/ 27 h 63"/>
                  <a:gd name="T38" fmla="*/ 14 w 47"/>
                  <a:gd name="T39" fmla="*/ 35 h 63"/>
                  <a:gd name="T40" fmla="*/ 14 w 47"/>
                  <a:gd name="T41" fmla="*/ 44 h 63"/>
                  <a:gd name="T42" fmla="*/ 14 w 47"/>
                  <a:gd name="T43" fmla="*/ 53 h 63"/>
                  <a:gd name="T44" fmla="*/ 14 w 47"/>
                  <a:gd name="T45" fmla="*/ 62 h 63"/>
                  <a:gd name="T46" fmla="*/ 7 w 47"/>
                  <a:gd name="T47" fmla="*/ 62 h 63"/>
                  <a:gd name="T48" fmla="*/ 7 w 47"/>
                  <a:gd name="T49" fmla="*/ 58 h 63"/>
                  <a:gd name="T50" fmla="*/ 7 w 47"/>
                  <a:gd name="T51" fmla="*/ 53 h 63"/>
                  <a:gd name="T52" fmla="*/ 7 w 47"/>
                  <a:gd name="T53" fmla="*/ 49 h 63"/>
                  <a:gd name="T54" fmla="*/ 7 w 47"/>
                  <a:gd name="T55" fmla="*/ 45 h 63"/>
                  <a:gd name="T56" fmla="*/ 7 w 47"/>
                  <a:gd name="T57" fmla="*/ 40 h 63"/>
                  <a:gd name="T58" fmla="*/ 7 w 47"/>
                  <a:gd name="T59" fmla="*/ 36 h 63"/>
                  <a:gd name="T60" fmla="*/ 7 w 47"/>
                  <a:gd name="T61" fmla="*/ 31 h 63"/>
                  <a:gd name="T62" fmla="*/ 7 w 47"/>
                  <a:gd name="T63" fmla="*/ 27 h 63"/>
                  <a:gd name="T64" fmla="*/ 0 w 47"/>
                  <a:gd name="T65" fmla="*/ 27 h 63"/>
                  <a:gd name="T66" fmla="*/ 0 w 47"/>
                  <a:gd name="T67" fmla="*/ 21 h 63"/>
                  <a:gd name="T68" fmla="*/ 7 w 47"/>
                  <a:gd name="T69" fmla="*/ 21 h 63"/>
                  <a:gd name="T70" fmla="*/ 7 w 47"/>
                  <a:gd name="T71" fmla="*/ 20 h 63"/>
                  <a:gd name="T72" fmla="*/ 7 w 47"/>
                  <a:gd name="T73" fmla="*/ 12 h 63"/>
                  <a:gd name="T74" fmla="*/ 14 w 47"/>
                  <a:gd name="T75" fmla="*/ 2 h 63"/>
                  <a:gd name="T76" fmla="*/ 20 w 47"/>
                  <a:gd name="T77" fmla="*/ 0 h 63"/>
                  <a:gd name="T78" fmla="*/ 25 w 47"/>
                  <a:gd name="T79" fmla="*/ 1 h 63"/>
                  <a:gd name="T80" fmla="*/ 25 w 47"/>
                  <a:gd name="T81" fmla="*/ 1 h 63"/>
                  <a:gd name="T82" fmla="*/ 25 w 47"/>
                  <a:gd name="T83" fmla="*/ 7 h 63"/>
                  <a:gd name="T84" fmla="*/ 22 w 47"/>
                  <a:gd name="T85" fmla="*/ 6 h 63"/>
                  <a:gd name="T86" fmla="*/ 18 w 47"/>
                  <a:gd name="T87" fmla="*/ 6 h 63"/>
                  <a:gd name="T88" fmla="*/ 15 w 47"/>
                  <a:gd name="T89" fmla="*/ 10 h 63"/>
                  <a:gd name="T90" fmla="*/ 14 w 47"/>
                  <a:gd name="T91" fmla="*/ 13 h 63"/>
                  <a:gd name="T92" fmla="*/ 14 w 47"/>
                  <a:gd name="T93" fmla="*/ 20 h 63"/>
                  <a:gd name="T94" fmla="*/ 14 w 47"/>
                  <a:gd name="T95" fmla="*/ 21 h 63"/>
                  <a:gd name="T96" fmla="*/ 30 w 47"/>
                  <a:gd name="T97" fmla="*/ 21 h 63"/>
                  <a:gd name="T98" fmla="*/ 30 w 47"/>
                  <a:gd name="T99" fmla="*/ 11 h 63"/>
                  <a:gd name="T100" fmla="*/ 37 w 47"/>
                  <a:gd name="T101" fmla="*/ 9 h 63"/>
                  <a:gd name="T102" fmla="*/ 37 w 47"/>
                  <a:gd name="T103" fmla="*/ 12 h 63"/>
                  <a:gd name="T104" fmla="*/ 37 w 47"/>
                  <a:gd name="T105" fmla="*/ 15 h 63"/>
                  <a:gd name="T106" fmla="*/ 37 w 47"/>
                  <a:gd name="T107" fmla="*/ 18 h 63"/>
                  <a:gd name="T108" fmla="*/ 37 w 47"/>
                  <a:gd name="T109" fmla="*/ 21 h 63"/>
                  <a:gd name="T110" fmla="*/ 47 w 47"/>
                  <a:gd name="T111"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 h="63">
                    <a:moveTo>
                      <a:pt x="47" y="21"/>
                    </a:moveTo>
                    <a:cubicBezTo>
                      <a:pt x="47" y="23"/>
                      <a:pt x="47" y="25"/>
                      <a:pt x="47" y="27"/>
                    </a:cubicBezTo>
                    <a:cubicBezTo>
                      <a:pt x="44" y="27"/>
                      <a:pt x="40" y="27"/>
                      <a:pt x="37" y="27"/>
                    </a:cubicBezTo>
                    <a:cubicBezTo>
                      <a:pt x="37" y="27"/>
                      <a:pt x="37" y="27"/>
                      <a:pt x="37" y="28"/>
                    </a:cubicBezTo>
                    <a:cubicBezTo>
                      <a:pt x="37" y="35"/>
                      <a:pt x="37" y="43"/>
                      <a:pt x="37" y="50"/>
                    </a:cubicBezTo>
                    <a:cubicBezTo>
                      <a:pt x="37" y="51"/>
                      <a:pt x="37" y="53"/>
                      <a:pt x="37" y="54"/>
                    </a:cubicBezTo>
                    <a:cubicBezTo>
                      <a:pt x="38" y="56"/>
                      <a:pt x="39" y="57"/>
                      <a:pt x="42" y="57"/>
                    </a:cubicBezTo>
                    <a:cubicBezTo>
                      <a:pt x="43" y="58"/>
                      <a:pt x="45" y="58"/>
                      <a:pt x="47" y="56"/>
                    </a:cubicBezTo>
                    <a:cubicBezTo>
                      <a:pt x="47" y="56"/>
                      <a:pt x="47" y="56"/>
                      <a:pt x="47" y="56"/>
                    </a:cubicBezTo>
                    <a:cubicBezTo>
                      <a:pt x="47" y="57"/>
                      <a:pt x="47" y="57"/>
                      <a:pt x="47" y="57"/>
                    </a:cubicBezTo>
                    <a:cubicBezTo>
                      <a:pt x="47" y="58"/>
                      <a:pt x="47" y="60"/>
                      <a:pt x="47" y="61"/>
                    </a:cubicBezTo>
                    <a:cubicBezTo>
                      <a:pt x="47" y="62"/>
                      <a:pt x="47" y="62"/>
                      <a:pt x="46" y="62"/>
                    </a:cubicBezTo>
                    <a:cubicBezTo>
                      <a:pt x="45" y="63"/>
                      <a:pt x="44" y="63"/>
                      <a:pt x="43" y="63"/>
                    </a:cubicBezTo>
                    <a:cubicBezTo>
                      <a:pt x="41" y="63"/>
                      <a:pt x="39" y="63"/>
                      <a:pt x="37" y="63"/>
                    </a:cubicBezTo>
                    <a:cubicBezTo>
                      <a:pt x="34" y="62"/>
                      <a:pt x="32" y="60"/>
                      <a:pt x="31" y="57"/>
                    </a:cubicBezTo>
                    <a:cubicBezTo>
                      <a:pt x="30" y="55"/>
                      <a:pt x="30" y="53"/>
                      <a:pt x="30" y="51"/>
                    </a:cubicBezTo>
                    <a:cubicBezTo>
                      <a:pt x="30" y="43"/>
                      <a:pt x="30" y="36"/>
                      <a:pt x="30" y="28"/>
                    </a:cubicBezTo>
                    <a:cubicBezTo>
                      <a:pt x="30" y="28"/>
                      <a:pt x="30" y="27"/>
                      <a:pt x="30" y="27"/>
                    </a:cubicBezTo>
                    <a:cubicBezTo>
                      <a:pt x="25" y="27"/>
                      <a:pt x="19" y="27"/>
                      <a:pt x="14" y="27"/>
                    </a:cubicBezTo>
                    <a:cubicBezTo>
                      <a:pt x="14" y="30"/>
                      <a:pt x="14" y="33"/>
                      <a:pt x="14" y="35"/>
                    </a:cubicBezTo>
                    <a:cubicBezTo>
                      <a:pt x="14" y="38"/>
                      <a:pt x="14" y="41"/>
                      <a:pt x="14" y="44"/>
                    </a:cubicBezTo>
                    <a:cubicBezTo>
                      <a:pt x="14" y="47"/>
                      <a:pt x="14" y="50"/>
                      <a:pt x="14" y="53"/>
                    </a:cubicBezTo>
                    <a:cubicBezTo>
                      <a:pt x="14" y="56"/>
                      <a:pt x="14" y="59"/>
                      <a:pt x="14" y="62"/>
                    </a:cubicBezTo>
                    <a:cubicBezTo>
                      <a:pt x="12" y="62"/>
                      <a:pt x="10" y="62"/>
                      <a:pt x="7" y="62"/>
                    </a:cubicBezTo>
                    <a:cubicBezTo>
                      <a:pt x="7" y="61"/>
                      <a:pt x="7" y="59"/>
                      <a:pt x="7" y="58"/>
                    </a:cubicBezTo>
                    <a:cubicBezTo>
                      <a:pt x="7" y="56"/>
                      <a:pt x="7" y="55"/>
                      <a:pt x="7" y="53"/>
                    </a:cubicBezTo>
                    <a:cubicBezTo>
                      <a:pt x="7" y="52"/>
                      <a:pt x="7" y="50"/>
                      <a:pt x="7" y="49"/>
                    </a:cubicBezTo>
                    <a:cubicBezTo>
                      <a:pt x="7" y="47"/>
                      <a:pt x="7" y="46"/>
                      <a:pt x="7" y="45"/>
                    </a:cubicBezTo>
                    <a:cubicBezTo>
                      <a:pt x="7" y="43"/>
                      <a:pt x="7" y="42"/>
                      <a:pt x="7" y="40"/>
                    </a:cubicBezTo>
                    <a:cubicBezTo>
                      <a:pt x="7" y="39"/>
                      <a:pt x="7" y="37"/>
                      <a:pt x="7" y="36"/>
                    </a:cubicBezTo>
                    <a:cubicBezTo>
                      <a:pt x="7" y="34"/>
                      <a:pt x="7" y="33"/>
                      <a:pt x="7" y="31"/>
                    </a:cubicBezTo>
                    <a:cubicBezTo>
                      <a:pt x="7" y="30"/>
                      <a:pt x="7" y="28"/>
                      <a:pt x="7" y="27"/>
                    </a:cubicBezTo>
                    <a:cubicBezTo>
                      <a:pt x="5" y="27"/>
                      <a:pt x="3" y="27"/>
                      <a:pt x="0" y="27"/>
                    </a:cubicBezTo>
                    <a:cubicBezTo>
                      <a:pt x="0" y="25"/>
                      <a:pt x="0" y="23"/>
                      <a:pt x="0" y="21"/>
                    </a:cubicBezTo>
                    <a:cubicBezTo>
                      <a:pt x="3" y="21"/>
                      <a:pt x="5" y="21"/>
                      <a:pt x="7" y="21"/>
                    </a:cubicBezTo>
                    <a:cubicBezTo>
                      <a:pt x="7" y="20"/>
                      <a:pt x="7" y="20"/>
                      <a:pt x="7" y="20"/>
                    </a:cubicBezTo>
                    <a:cubicBezTo>
                      <a:pt x="7" y="17"/>
                      <a:pt x="7" y="15"/>
                      <a:pt x="7" y="12"/>
                    </a:cubicBezTo>
                    <a:cubicBezTo>
                      <a:pt x="8" y="7"/>
                      <a:pt x="10" y="4"/>
                      <a:pt x="14" y="2"/>
                    </a:cubicBezTo>
                    <a:cubicBezTo>
                      <a:pt x="16" y="1"/>
                      <a:pt x="18" y="0"/>
                      <a:pt x="20" y="0"/>
                    </a:cubicBezTo>
                    <a:cubicBezTo>
                      <a:pt x="21" y="0"/>
                      <a:pt x="23" y="0"/>
                      <a:pt x="25" y="1"/>
                    </a:cubicBezTo>
                    <a:cubicBezTo>
                      <a:pt x="25" y="1"/>
                      <a:pt x="25" y="1"/>
                      <a:pt x="25" y="1"/>
                    </a:cubicBezTo>
                    <a:cubicBezTo>
                      <a:pt x="25" y="3"/>
                      <a:pt x="25" y="5"/>
                      <a:pt x="25" y="7"/>
                    </a:cubicBezTo>
                    <a:cubicBezTo>
                      <a:pt x="24" y="6"/>
                      <a:pt x="23" y="6"/>
                      <a:pt x="22" y="6"/>
                    </a:cubicBezTo>
                    <a:cubicBezTo>
                      <a:pt x="20" y="6"/>
                      <a:pt x="19" y="6"/>
                      <a:pt x="18" y="6"/>
                    </a:cubicBezTo>
                    <a:cubicBezTo>
                      <a:pt x="16" y="7"/>
                      <a:pt x="15" y="8"/>
                      <a:pt x="15" y="10"/>
                    </a:cubicBezTo>
                    <a:cubicBezTo>
                      <a:pt x="14" y="11"/>
                      <a:pt x="14" y="12"/>
                      <a:pt x="14" y="13"/>
                    </a:cubicBezTo>
                    <a:cubicBezTo>
                      <a:pt x="14" y="15"/>
                      <a:pt x="14" y="18"/>
                      <a:pt x="14" y="20"/>
                    </a:cubicBezTo>
                    <a:cubicBezTo>
                      <a:pt x="14" y="21"/>
                      <a:pt x="14" y="21"/>
                      <a:pt x="14" y="21"/>
                    </a:cubicBezTo>
                    <a:cubicBezTo>
                      <a:pt x="19" y="21"/>
                      <a:pt x="25" y="21"/>
                      <a:pt x="30" y="21"/>
                    </a:cubicBezTo>
                    <a:cubicBezTo>
                      <a:pt x="30" y="18"/>
                      <a:pt x="30" y="14"/>
                      <a:pt x="30" y="11"/>
                    </a:cubicBezTo>
                    <a:cubicBezTo>
                      <a:pt x="32" y="10"/>
                      <a:pt x="35" y="9"/>
                      <a:pt x="37" y="9"/>
                    </a:cubicBezTo>
                    <a:cubicBezTo>
                      <a:pt x="37" y="10"/>
                      <a:pt x="37" y="11"/>
                      <a:pt x="37" y="12"/>
                    </a:cubicBezTo>
                    <a:cubicBezTo>
                      <a:pt x="37" y="13"/>
                      <a:pt x="37" y="14"/>
                      <a:pt x="37" y="15"/>
                    </a:cubicBezTo>
                    <a:cubicBezTo>
                      <a:pt x="37" y="16"/>
                      <a:pt x="37" y="17"/>
                      <a:pt x="37" y="18"/>
                    </a:cubicBezTo>
                    <a:cubicBezTo>
                      <a:pt x="37" y="19"/>
                      <a:pt x="37" y="20"/>
                      <a:pt x="37" y="21"/>
                    </a:cubicBezTo>
                    <a:cubicBezTo>
                      <a:pt x="40" y="21"/>
                      <a:pt x="44" y="21"/>
                      <a:pt x="4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 name="Freeform 8"/>
              <p:cNvSpPr>
                <a:spLocks noEditPoints="1"/>
              </p:cNvSpPr>
              <p:nvPr/>
            </p:nvSpPr>
            <p:spPr bwMode="auto">
              <a:xfrm>
                <a:off x="816" y="1655"/>
                <a:ext cx="203" cy="227"/>
              </a:xfrm>
              <a:custGeom>
                <a:avLst/>
                <a:gdLst>
                  <a:gd name="T0" fmla="*/ 8 w 52"/>
                  <a:gd name="T1" fmla="*/ 58 h 58"/>
                  <a:gd name="T2" fmla="*/ 1 w 52"/>
                  <a:gd name="T3" fmla="*/ 58 h 58"/>
                  <a:gd name="T4" fmla="*/ 0 w 52"/>
                  <a:gd name="T5" fmla="*/ 58 h 58"/>
                  <a:gd name="T6" fmla="*/ 0 w 52"/>
                  <a:gd name="T7" fmla="*/ 58 h 58"/>
                  <a:gd name="T8" fmla="*/ 22 w 52"/>
                  <a:gd name="T9" fmla="*/ 1 h 58"/>
                  <a:gd name="T10" fmla="*/ 23 w 52"/>
                  <a:gd name="T11" fmla="*/ 0 h 58"/>
                  <a:gd name="T12" fmla="*/ 30 w 52"/>
                  <a:gd name="T13" fmla="*/ 0 h 58"/>
                  <a:gd name="T14" fmla="*/ 52 w 52"/>
                  <a:gd name="T15" fmla="*/ 58 h 58"/>
                  <a:gd name="T16" fmla="*/ 44 w 52"/>
                  <a:gd name="T17" fmla="*/ 58 h 58"/>
                  <a:gd name="T18" fmla="*/ 38 w 52"/>
                  <a:gd name="T19" fmla="*/ 42 h 58"/>
                  <a:gd name="T20" fmla="*/ 14 w 52"/>
                  <a:gd name="T21" fmla="*/ 42 h 58"/>
                  <a:gd name="T22" fmla="*/ 8 w 52"/>
                  <a:gd name="T23" fmla="*/ 58 h 58"/>
                  <a:gd name="T24" fmla="*/ 36 w 52"/>
                  <a:gd name="T25" fmla="*/ 36 h 58"/>
                  <a:gd name="T26" fmla="*/ 36 w 52"/>
                  <a:gd name="T27" fmla="*/ 35 h 58"/>
                  <a:gd name="T28" fmla="*/ 26 w 52"/>
                  <a:gd name="T29" fmla="*/ 9 h 58"/>
                  <a:gd name="T30" fmla="*/ 26 w 52"/>
                  <a:gd name="T31" fmla="*/ 9 h 58"/>
                  <a:gd name="T32" fmla="*/ 26 w 52"/>
                  <a:gd name="T33" fmla="*/ 9 h 58"/>
                  <a:gd name="T34" fmla="*/ 16 w 52"/>
                  <a:gd name="T35" fmla="*/ 36 h 58"/>
                  <a:gd name="T36" fmla="*/ 36 w 52"/>
                  <a:gd name="T37" fmla="*/ 3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 h="58">
                    <a:moveTo>
                      <a:pt x="8" y="58"/>
                    </a:moveTo>
                    <a:cubicBezTo>
                      <a:pt x="5" y="58"/>
                      <a:pt x="3" y="58"/>
                      <a:pt x="1" y="58"/>
                    </a:cubicBezTo>
                    <a:cubicBezTo>
                      <a:pt x="1" y="58"/>
                      <a:pt x="1" y="58"/>
                      <a:pt x="0" y="58"/>
                    </a:cubicBezTo>
                    <a:cubicBezTo>
                      <a:pt x="0" y="58"/>
                      <a:pt x="0" y="58"/>
                      <a:pt x="0" y="58"/>
                    </a:cubicBezTo>
                    <a:cubicBezTo>
                      <a:pt x="8" y="39"/>
                      <a:pt x="15" y="20"/>
                      <a:pt x="22" y="1"/>
                    </a:cubicBezTo>
                    <a:cubicBezTo>
                      <a:pt x="22" y="1"/>
                      <a:pt x="22" y="1"/>
                      <a:pt x="23" y="0"/>
                    </a:cubicBezTo>
                    <a:cubicBezTo>
                      <a:pt x="25" y="0"/>
                      <a:pt x="27" y="0"/>
                      <a:pt x="30" y="0"/>
                    </a:cubicBezTo>
                    <a:cubicBezTo>
                      <a:pt x="37" y="20"/>
                      <a:pt x="44" y="39"/>
                      <a:pt x="52" y="58"/>
                    </a:cubicBezTo>
                    <a:cubicBezTo>
                      <a:pt x="49" y="58"/>
                      <a:pt x="47" y="58"/>
                      <a:pt x="44" y="58"/>
                    </a:cubicBezTo>
                    <a:cubicBezTo>
                      <a:pt x="42" y="53"/>
                      <a:pt x="40" y="48"/>
                      <a:pt x="38" y="42"/>
                    </a:cubicBezTo>
                    <a:cubicBezTo>
                      <a:pt x="30" y="42"/>
                      <a:pt x="22" y="42"/>
                      <a:pt x="14" y="42"/>
                    </a:cubicBezTo>
                    <a:cubicBezTo>
                      <a:pt x="12" y="48"/>
                      <a:pt x="10" y="53"/>
                      <a:pt x="8" y="58"/>
                    </a:cubicBezTo>
                    <a:close/>
                    <a:moveTo>
                      <a:pt x="36" y="36"/>
                    </a:moveTo>
                    <a:cubicBezTo>
                      <a:pt x="36" y="36"/>
                      <a:pt x="36" y="35"/>
                      <a:pt x="36" y="35"/>
                    </a:cubicBezTo>
                    <a:cubicBezTo>
                      <a:pt x="32" y="27"/>
                      <a:pt x="29" y="18"/>
                      <a:pt x="26" y="9"/>
                    </a:cubicBezTo>
                    <a:cubicBezTo>
                      <a:pt x="26" y="9"/>
                      <a:pt x="26" y="9"/>
                      <a:pt x="26" y="9"/>
                    </a:cubicBezTo>
                    <a:cubicBezTo>
                      <a:pt x="26" y="9"/>
                      <a:pt x="26" y="9"/>
                      <a:pt x="26" y="9"/>
                    </a:cubicBezTo>
                    <a:cubicBezTo>
                      <a:pt x="24" y="12"/>
                      <a:pt x="16" y="35"/>
                      <a:pt x="16" y="36"/>
                    </a:cubicBezTo>
                    <a:cubicBezTo>
                      <a:pt x="23" y="36"/>
                      <a:pt x="29" y="36"/>
                      <a:pt x="3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24" name="Freeform 9"/>
              <p:cNvSpPr>
                <a:spLocks noEditPoints="1"/>
              </p:cNvSpPr>
              <p:nvPr/>
            </p:nvSpPr>
            <p:spPr bwMode="auto">
              <a:xfrm>
                <a:off x="1445" y="1718"/>
                <a:ext cx="141" cy="172"/>
              </a:xfrm>
              <a:custGeom>
                <a:avLst/>
                <a:gdLst>
                  <a:gd name="T0" fmla="*/ 33 w 36"/>
                  <a:gd name="T1" fmla="*/ 33 h 44"/>
                  <a:gd name="T2" fmla="*/ 33 w 36"/>
                  <a:gd name="T3" fmla="*/ 39 h 44"/>
                  <a:gd name="T4" fmla="*/ 33 w 36"/>
                  <a:gd name="T5" fmla="*/ 40 h 44"/>
                  <a:gd name="T6" fmla="*/ 25 w 36"/>
                  <a:gd name="T7" fmla="*/ 43 h 44"/>
                  <a:gd name="T8" fmla="*/ 16 w 36"/>
                  <a:gd name="T9" fmla="*/ 43 h 44"/>
                  <a:gd name="T10" fmla="*/ 2 w 36"/>
                  <a:gd name="T11" fmla="*/ 32 h 44"/>
                  <a:gd name="T12" fmla="*/ 0 w 36"/>
                  <a:gd name="T13" fmla="*/ 19 h 44"/>
                  <a:gd name="T14" fmla="*/ 5 w 36"/>
                  <a:gd name="T15" fmla="*/ 7 h 44"/>
                  <a:gd name="T16" fmla="*/ 19 w 36"/>
                  <a:gd name="T17" fmla="*/ 0 h 44"/>
                  <a:gd name="T18" fmla="*/ 25 w 36"/>
                  <a:gd name="T19" fmla="*/ 1 h 44"/>
                  <a:gd name="T20" fmla="*/ 35 w 36"/>
                  <a:gd name="T21" fmla="*/ 10 h 44"/>
                  <a:gd name="T22" fmla="*/ 36 w 36"/>
                  <a:gd name="T23" fmla="*/ 17 h 44"/>
                  <a:gd name="T24" fmla="*/ 36 w 36"/>
                  <a:gd name="T25" fmla="*/ 22 h 44"/>
                  <a:gd name="T26" fmla="*/ 36 w 36"/>
                  <a:gd name="T27" fmla="*/ 23 h 44"/>
                  <a:gd name="T28" fmla="*/ 7 w 36"/>
                  <a:gd name="T29" fmla="*/ 23 h 44"/>
                  <a:gd name="T30" fmla="*/ 7 w 36"/>
                  <a:gd name="T31" fmla="*/ 28 h 44"/>
                  <a:gd name="T32" fmla="*/ 18 w 36"/>
                  <a:gd name="T33" fmla="*/ 37 h 44"/>
                  <a:gd name="T34" fmla="*/ 32 w 36"/>
                  <a:gd name="T35" fmla="*/ 34 h 44"/>
                  <a:gd name="T36" fmla="*/ 33 w 36"/>
                  <a:gd name="T37" fmla="*/ 33 h 44"/>
                  <a:gd name="T38" fmla="*/ 7 w 36"/>
                  <a:gd name="T39" fmla="*/ 18 h 44"/>
                  <a:gd name="T40" fmla="*/ 29 w 36"/>
                  <a:gd name="T41" fmla="*/ 18 h 44"/>
                  <a:gd name="T42" fmla="*/ 26 w 36"/>
                  <a:gd name="T43" fmla="*/ 8 h 44"/>
                  <a:gd name="T44" fmla="*/ 23 w 36"/>
                  <a:gd name="T45" fmla="*/ 7 h 44"/>
                  <a:gd name="T46" fmla="*/ 12 w 36"/>
                  <a:gd name="T47" fmla="*/ 8 h 44"/>
                  <a:gd name="T48" fmla="*/ 7 w 36"/>
                  <a:gd name="T49" fmla="*/ 15 h 44"/>
                  <a:gd name="T50" fmla="*/ 7 w 36"/>
                  <a:gd name="T51"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44">
                    <a:moveTo>
                      <a:pt x="33" y="33"/>
                    </a:moveTo>
                    <a:cubicBezTo>
                      <a:pt x="33" y="35"/>
                      <a:pt x="33" y="37"/>
                      <a:pt x="33" y="39"/>
                    </a:cubicBezTo>
                    <a:cubicBezTo>
                      <a:pt x="33" y="39"/>
                      <a:pt x="33" y="40"/>
                      <a:pt x="33" y="40"/>
                    </a:cubicBezTo>
                    <a:cubicBezTo>
                      <a:pt x="30" y="41"/>
                      <a:pt x="28" y="42"/>
                      <a:pt x="25" y="43"/>
                    </a:cubicBezTo>
                    <a:cubicBezTo>
                      <a:pt x="22" y="43"/>
                      <a:pt x="19" y="44"/>
                      <a:pt x="16" y="43"/>
                    </a:cubicBezTo>
                    <a:cubicBezTo>
                      <a:pt x="9" y="42"/>
                      <a:pt x="4" y="39"/>
                      <a:pt x="2" y="32"/>
                    </a:cubicBezTo>
                    <a:cubicBezTo>
                      <a:pt x="0" y="28"/>
                      <a:pt x="0" y="24"/>
                      <a:pt x="0" y="19"/>
                    </a:cubicBezTo>
                    <a:cubicBezTo>
                      <a:pt x="0" y="14"/>
                      <a:pt x="2" y="10"/>
                      <a:pt x="5" y="7"/>
                    </a:cubicBezTo>
                    <a:cubicBezTo>
                      <a:pt x="9" y="2"/>
                      <a:pt x="13" y="0"/>
                      <a:pt x="19" y="0"/>
                    </a:cubicBezTo>
                    <a:cubicBezTo>
                      <a:pt x="21" y="0"/>
                      <a:pt x="23" y="0"/>
                      <a:pt x="25" y="1"/>
                    </a:cubicBezTo>
                    <a:cubicBezTo>
                      <a:pt x="30" y="3"/>
                      <a:pt x="33" y="6"/>
                      <a:pt x="35" y="10"/>
                    </a:cubicBezTo>
                    <a:cubicBezTo>
                      <a:pt x="35" y="13"/>
                      <a:pt x="36" y="15"/>
                      <a:pt x="36" y="17"/>
                    </a:cubicBezTo>
                    <a:cubicBezTo>
                      <a:pt x="36" y="19"/>
                      <a:pt x="36" y="21"/>
                      <a:pt x="36" y="22"/>
                    </a:cubicBezTo>
                    <a:cubicBezTo>
                      <a:pt x="36" y="23"/>
                      <a:pt x="36" y="23"/>
                      <a:pt x="36" y="23"/>
                    </a:cubicBezTo>
                    <a:cubicBezTo>
                      <a:pt x="26" y="23"/>
                      <a:pt x="17" y="23"/>
                      <a:pt x="7" y="23"/>
                    </a:cubicBezTo>
                    <a:cubicBezTo>
                      <a:pt x="7" y="25"/>
                      <a:pt x="7" y="27"/>
                      <a:pt x="7" y="28"/>
                    </a:cubicBezTo>
                    <a:cubicBezTo>
                      <a:pt x="9" y="33"/>
                      <a:pt x="12" y="37"/>
                      <a:pt x="18" y="37"/>
                    </a:cubicBezTo>
                    <a:cubicBezTo>
                      <a:pt x="23" y="38"/>
                      <a:pt x="27" y="37"/>
                      <a:pt x="32" y="34"/>
                    </a:cubicBezTo>
                    <a:cubicBezTo>
                      <a:pt x="32" y="34"/>
                      <a:pt x="33" y="34"/>
                      <a:pt x="33" y="33"/>
                    </a:cubicBezTo>
                    <a:close/>
                    <a:moveTo>
                      <a:pt x="7" y="18"/>
                    </a:moveTo>
                    <a:cubicBezTo>
                      <a:pt x="14" y="18"/>
                      <a:pt x="22" y="18"/>
                      <a:pt x="29" y="18"/>
                    </a:cubicBezTo>
                    <a:cubicBezTo>
                      <a:pt x="29" y="15"/>
                      <a:pt x="28" y="11"/>
                      <a:pt x="26" y="8"/>
                    </a:cubicBezTo>
                    <a:cubicBezTo>
                      <a:pt x="25" y="8"/>
                      <a:pt x="24" y="7"/>
                      <a:pt x="23" y="7"/>
                    </a:cubicBezTo>
                    <a:cubicBezTo>
                      <a:pt x="19" y="5"/>
                      <a:pt x="16" y="5"/>
                      <a:pt x="12" y="8"/>
                    </a:cubicBezTo>
                    <a:cubicBezTo>
                      <a:pt x="10" y="10"/>
                      <a:pt x="8" y="12"/>
                      <a:pt x="7" y="15"/>
                    </a:cubicBezTo>
                    <a:cubicBezTo>
                      <a:pt x="7" y="16"/>
                      <a:pt x="7" y="17"/>
                      <a:pt x="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25" name="Freeform 10"/>
              <p:cNvSpPr>
                <a:spLocks noEditPoints="1"/>
              </p:cNvSpPr>
              <p:nvPr/>
            </p:nvSpPr>
            <p:spPr bwMode="auto">
              <a:xfrm>
                <a:off x="402" y="1718"/>
                <a:ext cx="160" cy="172"/>
              </a:xfrm>
              <a:custGeom>
                <a:avLst/>
                <a:gdLst>
                  <a:gd name="T0" fmla="*/ 0 w 41"/>
                  <a:gd name="T1" fmla="*/ 22 h 44"/>
                  <a:gd name="T2" fmla="*/ 2 w 41"/>
                  <a:gd name="T3" fmla="*/ 12 h 44"/>
                  <a:gd name="T4" fmla="*/ 16 w 41"/>
                  <a:gd name="T5" fmla="*/ 0 h 44"/>
                  <a:gd name="T6" fmla="*/ 27 w 41"/>
                  <a:gd name="T7" fmla="*/ 1 h 44"/>
                  <a:gd name="T8" fmla="*/ 39 w 41"/>
                  <a:gd name="T9" fmla="*/ 13 h 44"/>
                  <a:gd name="T10" fmla="*/ 41 w 41"/>
                  <a:gd name="T11" fmla="*/ 23 h 44"/>
                  <a:gd name="T12" fmla="*/ 39 w 41"/>
                  <a:gd name="T13" fmla="*/ 31 h 44"/>
                  <a:gd name="T14" fmla="*/ 24 w 41"/>
                  <a:gd name="T15" fmla="*/ 43 h 44"/>
                  <a:gd name="T16" fmla="*/ 12 w 41"/>
                  <a:gd name="T17" fmla="*/ 42 h 44"/>
                  <a:gd name="T18" fmla="*/ 1 w 41"/>
                  <a:gd name="T19" fmla="*/ 29 h 44"/>
                  <a:gd name="T20" fmla="*/ 0 w 41"/>
                  <a:gd name="T21" fmla="*/ 22 h 44"/>
                  <a:gd name="T22" fmla="*/ 7 w 41"/>
                  <a:gd name="T23" fmla="*/ 22 h 44"/>
                  <a:gd name="T24" fmla="*/ 7 w 41"/>
                  <a:gd name="T25" fmla="*/ 27 h 44"/>
                  <a:gd name="T26" fmla="*/ 15 w 41"/>
                  <a:gd name="T27" fmla="*/ 37 h 44"/>
                  <a:gd name="T28" fmla="*/ 25 w 41"/>
                  <a:gd name="T29" fmla="*/ 37 h 44"/>
                  <a:gd name="T30" fmla="*/ 33 w 41"/>
                  <a:gd name="T31" fmla="*/ 29 h 44"/>
                  <a:gd name="T32" fmla="*/ 34 w 41"/>
                  <a:gd name="T33" fmla="*/ 23 h 44"/>
                  <a:gd name="T34" fmla="*/ 33 w 41"/>
                  <a:gd name="T35" fmla="*/ 14 h 44"/>
                  <a:gd name="T36" fmla="*/ 25 w 41"/>
                  <a:gd name="T37" fmla="*/ 6 h 44"/>
                  <a:gd name="T38" fmla="*/ 20 w 41"/>
                  <a:gd name="T39" fmla="*/ 6 h 44"/>
                  <a:gd name="T40" fmla="*/ 8 w 41"/>
                  <a:gd name="T41" fmla="*/ 14 h 44"/>
                  <a:gd name="T42" fmla="*/ 7 w 41"/>
                  <a:gd name="T43"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4">
                    <a:moveTo>
                      <a:pt x="0" y="22"/>
                    </a:moveTo>
                    <a:cubicBezTo>
                      <a:pt x="0" y="19"/>
                      <a:pt x="0" y="15"/>
                      <a:pt x="2" y="12"/>
                    </a:cubicBezTo>
                    <a:cubicBezTo>
                      <a:pt x="4" y="6"/>
                      <a:pt x="9" y="2"/>
                      <a:pt x="16" y="0"/>
                    </a:cubicBezTo>
                    <a:cubicBezTo>
                      <a:pt x="20" y="0"/>
                      <a:pt x="24" y="0"/>
                      <a:pt x="27" y="1"/>
                    </a:cubicBezTo>
                    <a:cubicBezTo>
                      <a:pt x="34" y="2"/>
                      <a:pt x="37" y="7"/>
                      <a:pt x="39" y="13"/>
                    </a:cubicBezTo>
                    <a:cubicBezTo>
                      <a:pt x="41" y="16"/>
                      <a:pt x="41" y="20"/>
                      <a:pt x="41" y="23"/>
                    </a:cubicBezTo>
                    <a:cubicBezTo>
                      <a:pt x="41" y="26"/>
                      <a:pt x="40" y="28"/>
                      <a:pt x="39" y="31"/>
                    </a:cubicBezTo>
                    <a:cubicBezTo>
                      <a:pt x="36" y="38"/>
                      <a:pt x="32" y="42"/>
                      <a:pt x="24" y="43"/>
                    </a:cubicBezTo>
                    <a:cubicBezTo>
                      <a:pt x="20" y="44"/>
                      <a:pt x="16" y="43"/>
                      <a:pt x="12" y="42"/>
                    </a:cubicBezTo>
                    <a:cubicBezTo>
                      <a:pt x="6" y="40"/>
                      <a:pt x="2" y="35"/>
                      <a:pt x="1" y="29"/>
                    </a:cubicBezTo>
                    <a:cubicBezTo>
                      <a:pt x="0" y="27"/>
                      <a:pt x="0" y="24"/>
                      <a:pt x="0" y="22"/>
                    </a:cubicBezTo>
                    <a:close/>
                    <a:moveTo>
                      <a:pt x="7" y="22"/>
                    </a:moveTo>
                    <a:cubicBezTo>
                      <a:pt x="7" y="24"/>
                      <a:pt x="7" y="25"/>
                      <a:pt x="7" y="27"/>
                    </a:cubicBezTo>
                    <a:cubicBezTo>
                      <a:pt x="8" y="32"/>
                      <a:pt x="11" y="35"/>
                      <a:pt x="15" y="37"/>
                    </a:cubicBezTo>
                    <a:cubicBezTo>
                      <a:pt x="19" y="38"/>
                      <a:pt x="22" y="38"/>
                      <a:pt x="25" y="37"/>
                    </a:cubicBezTo>
                    <a:cubicBezTo>
                      <a:pt x="29" y="36"/>
                      <a:pt x="32" y="33"/>
                      <a:pt x="33" y="29"/>
                    </a:cubicBezTo>
                    <a:cubicBezTo>
                      <a:pt x="34" y="27"/>
                      <a:pt x="34" y="25"/>
                      <a:pt x="34" y="23"/>
                    </a:cubicBezTo>
                    <a:cubicBezTo>
                      <a:pt x="34" y="20"/>
                      <a:pt x="34" y="17"/>
                      <a:pt x="33" y="14"/>
                    </a:cubicBezTo>
                    <a:cubicBezTo>
                      <a:pt x="32" y="10"/>
                      <a:pt x="29" y="8"/>
                      <a:pt x="25" y="6"/>
                    </a:cubicBezTo>
                    <a:cubicBezTo>
                      <a:pt x="23" y="6"/>
                      <a:pt x="22" y="6"/>
                      <a:pt x="20" y="6"/>
                    </a:cubicBezTo>
                    <a:cubicBezTo>
                      <a:pt x="14" y="6"/>
                      <a:pt x="10" y="9"/>
                      <a:pt x="8" y="14"/>
                    </a:cubicBezTo>
                    <a:cubicBezTo>
                      <a:pt x="7" y="16"/>
                      <a:pt x="7" y="19"/>
                      <a:pt x="7"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27" name="Freeform 11"/>
              <p:cNvSpPr>
                <a:spLocks noEditPoints="1"/>
              </p:cNvSpPr>
              <p:nvPr/>
            </p:nvSpPr>
            <p:spPr bwMode="auto">
              <a:xfrm>
                <a:off x="109" y="1718"/>
                <a:ext cx="160" cy="168"/>
              </a:xfrm>
              <a:custGeom>
                <a:avLst/>
                <a:gdLst>
                  <a:gd name="T0" fmla="*/ 21 w 41"/>
                  <a:gd name="T1" fmla="*/ 43 h 43"/>
                  <a:gd name="T2" fmla="*/ 12 w 41"/>
                  <a:gd name="T3" fmla="*/ 42 h 43"/>
                  <a:gd name="T4" fmla="*/ 1 w 41"/>
                  <a:gd name="T5" fmla="*/ 30 h 43"/>
                  <a:gd name="T6" fmla="*/ 2 w 41"/>
                  <a:gd name="T7" fmla="*/ 12 h 43"/>
                  <a:gd name="T8" fmla="*/ 16 w 41"/>
                  <a:gd name="T9" fmla="*/ 0 h 43"/>
                  <a:gd name="T10" fmla="*/ 28 w 41"/>
                  <a:gd name="T11" fmla="*/ 1 h 43"/>
                  <a:gd name="T12" fmla="*/ 40 w 41"/>
                  <a:gd name="T13" fmla="*/ 13 h 43"/>
                  <a:gd name="T14" fmla="*/ 41 w 41"/>
                  <a:gd name="T15" fmla="*/ 24 h 43"/>
                  <a:gd name="T16" fmla="*/ 38 w 41"/>
                  <a:gd name="T17" fmla="*/ 33 h 43"/>
                  <a:gd name="T18" fmla="*/ 24 w 41"/>
                  <a:gd name="T19" fmla="*/ 43 h 43"/>
                  <a:gd name="T20" fmla="*/ 21 w 41"/>
                  <a:gd name="T21" fmla="*/ 43 h 43"/>
                  <a:gd name="T22" fmla="*/ 21 w 41"/>
                  <a:gd name="T23" fmla="*/ 6 h 43"/>
                  <a:gd name="T24" fmla="*/ 19 w 41"/>
                  <a:gd name="T25" fmla="*/ 6 h 43"/>
                  <a:gd name="T26" fmla="*/ 8 w 41"/>
                  <a:gd name="T27" fmla="*/ 14 h 43"/>
                  <a:gd name="T28" fmla="*/ 8 w 41"/>
                  <a:gd name="T29" fmla="*/ 28 h 43"/>
                  <a:gd name="T30" fmla="*/ 17 w 41"/>
                  <a:gd name="T31" fmla="*/ 37 h 43"/>
                  <a:gd name="T32" fmla="*/ 23 w 41"/>
                  <a:gd name="T33" fmla="*/ 37 h 43"/>
                  <a:gd name="T34" fmla="*/ 32 w 41"/>
                  <a:gd name="T35" fmla="*/ 32 h 43"/>
                  <a:gd name="T36" fmla="*/ 33 w 41"/>
                  <a:gd name="T37" fmla="*/ 28 h 43"/>
                  <a:gd name="T38" fmla="*/ 34 w 41"/>
                  <a:gd name="T39" fmla="*/ 18 h 43"/>
                  <a:gd name="T40" fmla="*/ 32 w 41"/>
                  <a:gd name="T41" fmla="*/ 12 h 43"/>
                  <a:gd name="T42" fmla="*/ 25 w 41"/>
                  <a:gd name="T43" fmla="*/ 6 h 43"/>
                  <a:gd name="T44" fmla="*/ 21 w 41"/>
                  <a:gd name="T45" fmla="*/ 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 h="43">
                    <a:moveTo>
                      <a:pt x="21" y="43"/>
                    </a:moveTo>
                    <a:cubicBezTo>
                      <a:pt x="17" y="43"/>
                      <a:pt x="15" y="43"/>
                      <a:pt x="12" y="42"/>
                    </a:cubicBezTo>
                    <a:cubicBezTo>
                      <a:pt x="7" y="40"/>
                      <a:pt x="3" y="36"/>
                      <a:pt x="1" y="30"/>
                    </a:cubicBezTo>
                    <a:cubicBezTo>
                      <a:pt x="0" y="24"/>
                      <a:pt x="0" y="18"/>
                      <a:pt x="2" y="12"/>
                    </a:cubicBezTo>
                    <a:cubicBezTo>
                      <a:pt x="5" y="5"/>
                      <a:pt x="9" y="2"/>
                      <a:pt x="16" y="0"/>
                    </a:cubicBezTo>
                    <a:cubicBezTo>
                      <a:pt x="20" y="0"/>
                      <a:pt x="24" y="0"/>
                      <a:pt x="28" y="1"/>
                    </a:cubicBezTo>
                    <a:cubicBezTo>
                      <a:pt x="34" y="2"/>
                      <a:pt x="38" y="7"/>
                      <a:pt x="40" y="13"/>
                    </a:cubicBezTo>
                    <a:cubicBezTo>
                      <a:pt x="41" y="16"/>
                      <a:pt x="41" y="20"/>
                      <a:pt x="41" y="24"/>
                    </a:cubicBezTo>
                    <a:cubicBezTo>
                      <a:pt x="41" y="27"/>
                      <a:pt x="40" y="30"/>
                      <a:pt x="38" y="33"/>
                    </a:cubicBezTo>
                    <a:cubicBezTo>
                      <a:pt x="35" y="39"/>
                      <a:pt x="31" y="42"/>
                      <a:pt x="24" y="43"/>
                    </a:cubicBezTo>
                    <a:cubicBezTo>
                      <a:pt x="23" y="43"/>
                      <a:pt x="22" y="43"/>
                      <a:pt x="21" y="43"/>
                    </a:cubicBezTo>
                    <a:close/>
                    <a:moveTo>
                      <a:pt x="21" y="6"/>
                    </a:moveTo>
                    <a:cubicBezTo>
                      <a:pt x="20" y="6"/>
                      <a:pt x="19" y="6"/>
                      <a:pt x="19" y="6"/>
                    </a:cubicBezTo>
                    <a:cubicBezTo>
                      <a:pt x="13" y="7"/>
                      <a:pt x="10" y="9"/>
                      <a:pt x="8" y="14"/>
                    </a:cubicBezTo>
                    <a:cubicBezTo>
                      <a:pt x="7" y="19"/>
                      <a:pt x="7" y="24"/>
                      <a:pt x="8" y="28"/>
                    </a:cubicBezTo>
                    <a:cubicBezTo>
                      <a:pt x="9" y="33"/>
                      <a:pt x="12" y="36"/>
                      <a:pt x="17" y="37"/>
                    </a:cubicBezTo>
                    <a:cubicBezTo>
                      <a:pt x="19" y="38"/>
                      <a:pt x="21" y="38"/>
                      <a:pt x="23" y="37"/>
                    </a:cubicBezTo>
                    <a:cubicBezTo>
                      <a:pt x="27" y="37"/>
                      <a:pt x="30" y="35"/>
                      <a:pt x="32" y="32"/>
                    </a:cubicBezTo>
                    <a:cubicBezTo>
                      <a:pt x="33" y="31"/>
                      <a:pt x="33" y="29"/>
                      <a:pt x="33" y="28"/>
                    </a:cubicBezTo>
                    <a:cubicBezTo>
                      <a:pt x="34" y="25"/>
                      <a:pt x="34" y="21"/>
                      <a:pt x="34" y="18"/>
                    </a:cubicBezTo>
                    <a:cubicBezTo>
                      <a:pt x="34" y="16"/>
                      <a:pt x="33" y="14"/>
                      <a:pt x="32" y="12"/>
                    </a:cubicBezTo>
                    <a:cubicBezTo>
                      <a:pt x="31" y="9"/>
                      <a:pt x="28" y="7"/>
                      <a:pt x="25" y="6"/>
                    </a:cubicBezTo>
                    <a:cubicBezTo>
                      <a:pt x="24" y="6"/>
                      <a:pt x="22" y="6"/>
                      <a:pt x="2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28" name="Freeform 12"/>
              <p:cNvSpPr>
                <a:spLocks/>
              </p:cNvSpPr>
              <p:nvPr/>
            </p:nvSpPr>
            <p:spPr bwMode="auto">
              <a:xfrm>
                <a:off x="1183" y="1722"/>
                <a:ext cx="133" cy="168"/>
              </a:xfrm>
              <a:custGeom>
                <a:avLst/>
                <a:gdLst>
                  <a:gd name="T0" fmla="*/ 28 w 34"/>
                  <a:gd name="T1" fmla="*/ 0 h 43"/>
                  <a:gd name="T2" fmla="*/ 34 w 34"/>
                  <a:gd name="T3" fmla="*/ 0 h 43"/>
                  <a:gd name="T4" fmla="*/ 34 w 34"/>
                  <a:gd name="T5" fmla="*/ 41 h 43"/>
                  <a:gd name="T6" fmla="*/ 28 w 34"/>
                  <a:gd name="T7" fmla="*/ 41 h 43"/>
                  <a:gd name="T8" fmla="*/ 28 w 34"/>
                  <a:gd name="T9" fmla="*/ 35 h 43"/>
                  <a:gd name="T10" fmla="*/ 27 w 34"/>
                  <a:gd name="T11" fmla="*/ 36 h 43"/>
                  <a:gd name="T12" fmla="*/ 19 w 34"/>
                  <a:gd name="T13" fmla="*/ 42 h 43"/>
                  <a:gd name="T14" fmla="*/ 8 w 34"/>
                  <a:gd name="T15" fmla="*/ 41 h 43"/>
                  <a:gd name="T16" fmla="*/ 1 w 34"/>
                  <a:gd name="T17" fmla="*/ 33 h 43"/>
                  <a:gd name="T18" fmla="*/ 0 w 34"/>
                  <a:gd name="T19" fmla="*/ 25 h 43"/>
                  <a:gd name="T20" fmla="*/ 0 w 34"/>
                  <a:gd name="T21" fmla="*/ 1 h 43"/>
                  <a:gd name="T22" fmla="*/ 0 w 34"/>
                  <a:gd name="T23" fmla="*/ 0 h 43"/>
                  <a:gd name="T24" fmla="*/ 7 w 34"/>
                  <a:gd name="T25" fmla="*/ 0 h 43"/>
                  <a:gd name="T26" fmla="*/ 7 w 34"/>
                  <a:gd name="T27" fmla="*/ 1 h 43"/>
                  <a:gd name="T28" fmla="*/ 7 w 34"/>
                  <a:gd name="T29" fmla="*/ 23 h 43"/>
                  <a:gd name="T30" fmla="*/ 7 w 34"/>
                  <a:gd name="T31" fmla="*/ 29 h 43"/>
                  <a:gd name="T32" fmla="*/ 8 w 34"/>
                  <a:gd name="T33" fmla="*/ 32 h 43"/>
                  <a:gd name="T34" fmla="*/ 15 w 34"/>
                  <a:gd name="T35" fmla="*/ 36 h 43"/>
                  <a:gd name="T36" fmla="*/ 19 w 34"/>
                  <a:gd name="T37" fmla="*/ 36 h 43"/>
                  <a:gd name="T38" fmla="*/ 27 w 34"/>
                  <a:gd name="T39" fmla="*/ 28 h 43"/>
                  <a:gd name="T40" fmla="*/ 28 w 34"/>
                  <a:gd name="T41" fmla="*/ 24 h 43"/>
                  <a:gd name="T42" fmla="*/ 28 w 34"/>
                  <a:gd name="T43" fmla="*/ 1 h 43"/>
                  <a:gd name="T44" fmla="*/ 28 w 34"/>
                  <a:gd name="T4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43">
                    <a:moveTo>
                      <a:pt x="28" y="0"/>
                    </a:moveTo>
                    <a:cubicBezTo>
                      <a:pt x="30" y="0"/>
                      <a:pt x="32" y="0"/>
                      <a:pt x="34" y="0"/>
                    </a:cubicBezTo>
                    <a:cubicBezTo>
                      <a:pt x="34" y="1"/>
                      <a:pt x="34" y="40"/>
                      <a:pt x="34" y="41"/>
                    </a:cubicBezTo>
                    <a:cubicBezTo>
                      <a:pt x="32" y="41"/>
                      <a:pt x="30" y="41"/>
                      <a:pt x="28" y="41"/>
                    </a:cubicBezTo>
                    <a:cubicBezTo>
                      <a:pt x="28" y="39"/>
                      <a:pt x="28" y="37"/>
                      <a:pt x="28" y="35"/>
                    </a:cubicBezTo>
                    <a:cubicBezTo>
                      <a:pt x="27" y="35"/>
                      <a:pt x="27" y="36"/>
                      <a:pt x="27" y="36"/>
                    </a:cubicBezTo>
                    <a:cubicBezTo>
                      <a:pt x="25" y="39"/>
                      <a:pt x="22" y="41"/>
                      <a:pt x="19" y="42"/>
                    </a:cubicBezTo>
                    <a:cubicBezTo>
                      <a:pt x="15" y="43"/>
                      <a:pt x="12" y="43"/>
                      <a:pt x="8" y="41"/>
                    </a:cubicBezTo>
                    <a:cubicBezTo>
                      <a:pt x="5" y="40"/>
                      <a:pt x="2" y="37"/>
                      <a:pt x="1" y="33"/>
                    </a:cubicBezTo>
                    <a:cubicBezTo>
                      <a:pt x="0" y="31"/>
                      <a:pt x="0" y="28"/>
                      <a:pt x="0" y="25"/>
                    </a:cubicBezTo>
                    <a:cubicBezTo>
                      <a:pt x="0" y="17"/>
                      <a:pt x="0" y="9"/>
                      <a:pt x="0" y="1"/>
                    </a:cubicBezTo>
                    <a:cubicBezTo>
                      <a:pt x="0" y="1"/>
                      <a:pt x="0" y="0"/>
                      <a:pt x="0" y="0"/>
                    </a:cubicBezTo>
                    <a:cubicBezTo>
                      <a:pt x="2" y="0"/>
                      <a:pt x="4" y="0"/>
                      <a:pt x="7" y="0"/>
                    </a:cubicBezTo>
                    <a:cubicBezTo>
                      <a:pt x="7" y="0"/>
                      <a:pt x="7" y="1"/>
                      <a:pt x="7" y="1"/>
                    </a:cubicBezTo>
                    <a:cubicBezTo>
                      <a:pt x="7" y="8"/>
                      <a:pt x="7" y="16"/>
                      <a:pt x="7" y="23"/>
                    </a:cubicBezTo>
                    <a:cubicBezTo>
                      <a:pt x="7" y="25"/>
                      <a:pt x="7" y="27"/>
                      <a:pt x="7" y="29"/>
                    </a:cubicBezTo>
                    <a:cubicBezTo>
                      <a:pt x="7" y="30"/>
                      <a:pt x="8" y="31"/>
                      <a:pt x="8" y="32"/>
                    </a:cubicBezTo>
                    <a:cubicBezTo>
                      <a:pt x="10" y="35"/>
                      <a:pt x="12" y="36"/>
                      <a:pt x="15" y="36"/>
                    </a:cubicBezTo>
                    <a:cubicBezTo>
                      <a:pt x="16" y="37"/>
                      <a:pt x="18" y="37"/>
                      <a:pt x="19" y="36"/>
                    </a:cubicBezTo>
                    <a:cubicBezTo>
                      <a:pt x="23" y="35"/>
                      <a:pt x="26" y="32"/>
                      <a:pt x="27" y="28"/>
                    </a:cubicBezTo>
                    <a:cubicBezTo>
                      <a:pt x="28" y="27"/>
                      <a:pt x="28" y="25"/>
                      <a:pt x="28" y="24"/>
                    </a:cubicBezTo>
                    <a:cubicBezTo>
                      <a:pt x="28" y="16"/>
                      <a:pt x="28" y="9"/>
                      <a:pt x="28" y="1"/>
                    </a:cubicBezTo>
                    <a:cubicBezTo>
                      <a:pt x="28" y="1"/>
                      <a:pt x="28" y="1"/>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29" name="Freeform 13"/>
              <p:cNvSpPr>
                <a:spLocks/>
              </p:cNvSpPr>
              <p:nvPr/>
            </p:nvSpPr>
            <p:spPr bwMode="auto">
              <a:xfrm>
                <a:off x="1031" y="1722"/>
                <a:ext cx="133" cy="160"/>
              </a:xfrm>
              <a:custGeom>
                <a:avLst/>
                <a:gdLst>
                  <a:gd name="T0" fmla="*/ 34 w 34"/>
                  <a:gd name="T1" fmla="*/ 0 h 41"/>
                  <a:gd name="T2" fmla="*/ 33 w 34"/>
                  <a:gd name="T3" fmla="*/ 3 h 41"/>
                  <a:gd name="T4" fmla="*/ 10 w 34"/>
                  <a:gd name="T5" fmla="*/ 35 h 41"/>
                  <a:gd name="T6" fmla="*/ 10 w 34"/>
                  <a:gd name="T7" fmla="*/ 36 h 41"/>
                  <a:gd name="T8" fmla="*/ 14 w 34"/>
                  <a:gd name="T9" fmla="*/ 36 h 41"/>
                  <a:gd name="T10" fmla="*/ 18 w 34"/>
                  <a:gd name="T11" fmla="*/ 36 h 41"/>
                  <a:gd name="T12" fmla="*/ 22 w 34"/>
                  <a:gd name="T13" fmla="*/ 36 h 41"/>
                  <a:gd name="T14" fmla="*/ 26 w 34"/>
                  <a:gd name="T15" fmla="*/ 36 h 41"/>
                  <a:gd name="T16" fmla="*/ 30 w 34"/>
                  <a:gd name="T17" fmla="*/ 36 h 41"/>
                  <a:gd name="T18" fmla="*/ 34 w 34"/>
                  <a:gd name="T19" fmla="*/ 36 h 41"/>
                  <a:gd name="T20" fmla="*/ 34 w 34"/>
                  <a:gd name="T21" fmla="*/ 41 h 41"/>
                  <a:gd name="T22" fmla="*/ 0 w 34"/>
                  <a:gd name="T23" fmla="*/ 41 h 41"/>
                  <a:gd name="T24" fmla="*/ 0 w 34"/>
                  <a:gd name="T25" fmla="*/ 38 h 41"/>
                  <a:gd name="T26" fmla="*/ 23 w 34"/>
                  <a:gd name="T27" fmla="*/ 7 h 41"/>
                  <a:gd name="T28" fmla="*/ 24 w 34"/>
                  <a:gd name="T29" fmla="*/ 6 h 41"/>
                  <a:gd name="T30" fmla="*/ 2 w 34"/>
                  <a:gd name="T31" fmla="*/ 6 h 41"/>
                  <a:gd name="T32" fmla="*/ 2 w 34"/>
                  <a:gd name="T33" fmla="*/ 0 h 41"/>
                  <a:gd name="T34" fmla="*/ 34 w 34"/>
                  <a:gd name="T35"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41">
                    <a:moveTo>
                      <a:pt x="34" y="0"/>
                    </a:moveTo>
                    <a:cubicBezTo>
                      <a:pt x="34" y="1"/>
                      <a:pt x="34" y="2"/>
                      <a:pt x="33" y="3"/>
                    </a:cubicBezTo>
                    <a:cubicBezTo>
                      <a:pt x="26" y="13"/>
                      <a:pt x="18" y="24"/>
                      <a:pt x="10" y="35"/>
                    </a:cubicBezTo>
                    <a:cubicBezTo>
                      <a:pt x="10" y="35"/>
                      <a:pt x="10" y="35"/>
                      <a:pt x="10" y="36"/>
                    </a:cubicBezTo>
                    <a:cubicBezTo>
                      <a:pt x="11" y="36"/>
                      <a:pt x="12" y="36"/>
                      <a:pt x="14" y="36"/>
                    </a:cubicBezTo>
                    <a:cubicBezTo>
                      <a:pt x="15" y="36"/>
                      <a:pt x="16" y="36"/>
                      <a:pt x="18" y="36"/>
                    </a:cubicBezTo>
                    <a:cubicBezTo>
                      <a:pt x="19" y="36"/>
                      <a:pt x="20" y="36"/>
                      <a:pt x="22" y="36"/>
                    </a:cubicBezTo>
                    <a:cubicBezTo>
                      <a:pt x="23" y="36"/>
                      <a:pt x="24" y="36"/>
                      <a:pt x="26" y="36"/>
                    </a:cubicBezTo>
                    <a:cubicBezTo>
                      <a:pt x="27" y="36"/>
                      <a:pt x="28" y="36"/>
                      <a:pt x="30" y="36"/>
                    </a:cubicBezTo>
                    <a:cubicBezTo>
                      <a:pt x="31" y="36"/>
                      <a:pt x="32" y="36"/>
                      <a:pt x="34" y="36"/>
                    </a:cubicBezTo>
                    <a:cubicBezTo>
                      <a:pt x="34" y="36"/>
                      <a:pt x="34" y="40"/>
                      <a:pt x="34" y="41"/>
                    </a:cubicBezTo>
                    <a:cubicBezTo>
                      <a:pt x="22" y="41"/>
                      <a:pt x="11" y="41"/>
                      <a:pt x="0" y="41"/>
                    </a:cubicBezTo>
                    <a:cubicBezTo>
                      <a:pt x="0" y="40"/>
                      <a:pt x="0" y="39"/>
                      <a:pt x="0" y="38"/>
                    </a:cubicBezTo>
                    <a:cubicBezTo>
                      <a:pt x="8" y="28"/>
                      <a:pt x="16" y="17"/>
                      <a:pt x="23" y="7"/>
                    </a:cubicBezTo>
                    <a:cubicBezTo>
                      <a:pt x="24" y="6"/>
                      <a:pt x="24" y="6"/>
                      <a:pt x="24" y="6"/>
                    </a:cubicBezTo>
                    <a:cubicBezTo>
                      <a:pt x="17" y="6"/>
                      <a:pt x="9" y="6"/>
                      <a:pt x="2" y="6"/>
                    </a:cubicBezTo>
                    <a:cubicBezTo>
                      <a:pt x="2" y="5"/>
                      <a:pt x="2" y="1"/>
                      <a:pt x="2" y="0"/>
                    </a:cubicBezTo>
                    <a:cubicBezTo>
                      <a:pt x="13" y="0"/>
                      <a:pt x="23" y="0"/>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30" name="Freeform 14"/>
              <p:cNvSpPr>
                <a:spLocks/>
              </p:cNvSpPr>
              <p:nvPr/>
            </p:nvSpPr>
            <p:spPr bwMode="auto">
              <a:xfrm>
                <a:off x="284" y="1718"/>
                <a:ext cx="102" cy="168"/>
              </a:xfrm>
              <a:custGeom>
                <a:avLst/>
                <a:gdLst>
                  <a:gd name="T0" fmla="*/ 24 w 26"/>
                  <a:gd name="T1" fmla="*/ 2 h 43"/>
                  <a:gd name="T2" fmla="*/ 24 w 26"/>
                  <a:gd name="T3" fmla="*/ 8 h 43"/>
                  <a:gd name="T4" fmla="*/ 23 w 26"/>
                  <a:gd name="T5" fmla="*/ 8 h 43"/>
                  <a:gd name="T6" fmla="*/ 13 w 26"/>
                  <a:gd name="T7" fmla="*/ 6 h 43"/>
                  <a:gd name="T8" fmla="*/ 11 w 26"/>
                  <a:gd name="T9" fmla="*/ 7 h 43"/>
                  <a:gd name="T10" fmla="*/ 10 w 26"/>
                  <a:gd name="T11" fmla="*/ 16 h 43"/>
                  <a:gd name="T12" fmla="*/ 15 w 26"/>
                  <a:gd name="T13" fmla="*/ 19 h 43"/>
                  <a:gd name="T14" fmla="*/ 20 w 26"/>
                  <a:gd name="T15" fmla="*/ 21 h 43"/>
                  <a:gd name="T16" fmla="*/ 22 w 26"/>
                  <a:gd name="T17" fmla="*/ 23 h 43"/>
                  <a:gd name="T18" fmla="*/ 26 w 26"/>
                  <a:gd name="T19" fmla="*/ 32 h 43"/>
                  <a:gd name="T20" fmla="*/ 19 w 26"/>
                  <a:gd name="T21" fmla="*/ 42 h 43"/>
                  <a:gd name="T22" fmla="*/ 12 w 26"/>
                  <a:gd name="T23" fmla="*/ 43 h 43"/>
                  <a:gd name="T24" fmla="*/ 2 w 26"/>
                  <a:gd name="T25" fmla="*/ 41 h 43"/>
                  <a:gd name="T26" fmla="*/ 1 w 26"/>
                  <a:gd name="T27" fmla="*/ 40 h 43"/>
                  <a:gd name="T28" fmla="*/ 1 w 26"/>
                  <a:gd name="T29" fmla="*/ 35 h 43"/>
                  <a:gd name="T30" fmla="*/ 1 w 26"/>
                  <a:gd name="T31" fmla="*/ 34 h 43"/>
                  <a:gd name="T32" fmla="*/ 2 w 26"/>
                  <a:gd name="T33" fmla="*/ 34 h 43"/>
                  <a:gd name="T34" fmla="*/ 12 w 26"/>
                  <a:gd name="T35" fmla="*/ 38 h 43"/>
                  <a:gd name="T36" fmla="*/ 16 w 26"/>
                  <a:gd name="T37" fmla="*/ 37 h 43"/>
                  <a:gd name="T38" fmla="*/ 19 w 26"/>
                  <a:gd name="T39" fmla="*/ 33 h 43"/>
                  <a:gd name="T40" fmla="*/ 17 w 26"/>
                  <a:gd name="T41" fmla="*/ 28 h 43"/>
                  <a:gd name="T42" fmla="*/ 10 w 26"/>
                  <a:gd name="T43" fmla="*/ 24 h 43"/>
                  <a:gd name="T44" fmla="*/ 5 w 26"/>
                  <a:gd name="T45" fmla="*/ 21 h 43"/>
                  <a:gd name="T46" fmla="*/ 1 w 26"/>
                  <a:gd name="T47" fmla="*/ 15 h 43"/>
                  <a:gd name="T48" fmla="*/ 8 w 26"/>
                  <a:gd name="T49" fmla="*/ 1 h 43"/>
                  <a:gd name="T50" fmla="*/ 14 w 26"/>
                  <a:gd name="T51" fmla="*/ 0 h 43"/>
                  <a:gd name="T52" fmla="*/ 23 w 26"/>
                  <a:gd name="T53" fmla="*/ 1 h 43"/>
                  <a:gd name="T54" fmla="*/ 24 w 26"/>
                  <a:gd name="T55" fmla="*/ 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 h="43">
                    <a:moveTo>
                      <a:pt x="24" y="2"/>
                    </a:moveTo>
                    <a:cubicBezTo>
                      <a:pt x="24" y="4"/>
                      <a:pt x="24" y="6"/>
                      <a:pt x="24" y="8"/>
                    </a:cubicBezTo>
                    <a:cubicBezTo>
                      <a:pt x="24" y="8"/>
                      <a:pt x="24" y="8"/>
                      <a:pt x="23" y="8"/>
                    </a:cubicBezTo>
                    <a:cubicBezTo>
                      <a:pt x="20" y="6"/>
                      <a:pt x="17" y="5"/>
                      <a:pt x="13" y="6"/>
                    </a:cubicBezTo>
                    <a:cubicBezTo>
                      <a:pt x="12" y="6"/>
                      <a:pt x="12" y="6"/>
                      <a:pt x="11" y="7"/>
                    </a:cubicBezTo>
                    <a:cubicBezTo>
                      <a:pt x="6" y="9"/>
                      <a:pt x="7" y="15"/>
                      <a:pt x="10" y="16"/>
                    </a:cubicBezTo>
                    <a:cubicBezTo>
                      <a:pt x="12" y="17"/>
                      <a:pt x="13" y="18"/>
                      <a:pt x="15" y="19"/>
                    </a:cubicBezTo>
                    <a:cubicBezTo>
                      <a:pt x="17" y="20"/>
                      <a:pt x="18" y="20"/>
                      <a:pt x="20" y="21"/>
                    </a:cubicBezTo>
                    <a:cubicBezTo>
                      <a:pt x="21" y="22"/>
                      <a:pt x="22" y="22"/>
                      <a:pt x="22" y="23"/>
                    </a:cubicBezTo>
                    <a:cubicBezTo>
                      <a:pt x="25" y="25"/>
                      <a:pt x="26" y="29"/>
                      <a:pt x="26" y="32"/>
                    </a:cubicBezTo>
                    <a:cubicBezTo>
                      <a:pt x="26" y="37"/>
                      <a:pt x="23" y="40"/>
                      <a:pt x="19" y="42"/>
                    </a:cubicBezTo>
                    <a:cubicBezTo>
                      <a:pt x="17" y="43"/>
                      <a:pt x="14" y="43"/>
                      <a:pt x="12" y="43"/>
                    </a:cubicBezTo>
                    <a:cubicBezTo>
                      <a:pt x="8" y="43"/>
                      <a:pt x="5" y="43"/>
                      <a:pt x="2" y="41"/>
                    </a:cubicBezTo>
                    <a:cubicBezTo>
                      <a:pt x="1" y="41"/>
                      <a:pt x="1" y="41"/>
                      <a:pt x="1" y="40"/>
                    </a:cubicBezTo>
                    <a:cubicBezTo>
                      <a:pt x="1" y="38"/>
                      <a:pt x="1" y="36"/>
                      <a:pt x="1" y="35"/>
                    </a:cubicBezTo>
                    <a:cubicBezTo>
                      <a:pt x="1" y="35"/>
                      <a:pt x="1" y="34"/>
                      <a:pt x="1" y="34"/>
                    </a:cubicBezTo>
                    <a:cubicBezTo>
                      <a:pt x="1" y="34"/>
                      <a:pt x="1" y="34"/>
                      <a:pt x="2" y="34"/>
                    </a:cubicBezTo>
                    <a:cubicBezTo>
                      <a:pt x="5" y="37"/>
                      <a:pt x="8" y="38"/>
                      <a:pt x="12" y="38"/>
                    </a:cubicBezTo>
                    <a:cubicBezTo>
                      <a:pt x="13" y="38"/>
                      <a:pt x="14" y="37"/>
                      <a:pt x="16" y="37"/>
                    </a:cubicBezTo>
                    <a:cubicBezTo>
                      <a:pt x="18" y="36"/>
                      <a:pt x="19" y="35"/>
                      <a:pt x="19" y="33"/>
                    </a:cubicBezTo>
                    <a:cubicBezTo>
                      <a:pt x="20" y="31"/>
                      <a:pt x="19" y="29"/>
                      <a:pt x="17" y="28"/>
                    </a:cubicBezTo>
                    <a:cubicBezTo>
                      <a:pt x="15" y="26"/>
                      <a:pt x="13" y="25"/>
                      <a:pt x="10" y="24"/>
                    </a:cubicBezTo>
                    <a:cubicBezTo>
                      <a:pt x="8" y="23"/>
                      <a:pt x="7" y="22"/>
                      <a:pt x="5" y="21"/>
                    </a:cubicBezTo>
                    <a:cubicBezTo>
                      <a:pt x="3" y="19"/>
                      <a:pt x="1" y="17"/>
                      <a:pt x="1" y="15"/>
                    </a:cubicBezTo>
                    <a:cubicBezTo>
                      <a:pt x="0" y="8"/>
                      <a:pt x="3" y="4"/>
                      <a:pt x="8" y="1"/>
                    </a:cubicBezTo>
                    <a:cubicBezTo>
                      <a:pt x="10" y="0"/>
                      <a:pt x="12" y="0"/>
                      <a:pt x="14" y="0"/>
                    </a:cubicBezTo>
                    <a:cubicBezTo>
                      <a:pt x="17" y="0"/>
                      <a:pt x="20" y="0"/>
                      <a:pt x="23" y="1"/>
                    </a:cubicBezTo>
                    <a:cubicBezTo>
                      <a:pt x="23" y="1"/>
                      <a:pt x="24" y="2"/>
                      <a:pt x="2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31" name="Freeform 15"/>
              <p:cNvSpPr>
                <a:spLocks/>
              </p:cNvSpPr>
              <p:nvPr/>
            </p:nvSpPr>
            <p:spPr bwMode="auto">
              <a:xfrm>
                <a:off x="-126" y="1718"/>
                <a:ext cx="121" cy="168"/>
              </a:xfrm>
              <a:custGeom>
                <a:avLst/>
                <a:gdLst>
                  <a:gd name="T0" fmla="*/ 31 w 31"/>
                  <a:gd name="T1" fmla="*/ 9 h 43"/>
                  <a:gd name="T2" fmla="*/ 30 w 31"/>
                  <a:gd name="T3" fmla="*/ 8 h 43"/>
                  <a:gd name="T4" fmla="*/ 19 w 31"/>
                  <a:gd name="T5" fmla="*/ 6 h 43"/>
                  <a:gd name="T6" fmla="*/ 8 w 31"/>
                  <a:gd name="T7" fmla="*/ 14 h 43"/>
                  <a:gd name="T8" fmla="*/ 7 w 31"/>
                  <a:gd name="T9" fmla="*/ 23 h 43"/>
                  <a:gd name="T10" fmla="*/ 9 w 31"/>
                  <a:gd name="T11" fmla="*/ 31 h 43"/>
                  <a:gd name="T12" fmla="*/ 19 w 31"/>
                  <a:gd name="T13" fmla="*/ 37 h 43"/>
                  <a:gd name="T14" fmla="*/ 30 w 31"/>
                  <a:gd name="T15" fmla="*/ 35 h 43"/>
                  <a:gd name="T16" fmla="*/ 31 w 31"/>
                  <a:gd name="T17" fmla="*/ 34 h 43"/>
                  <a:gd name="T18" fmla="*/ 31 w 31"/>
                  <a:gd name="T19" fmla="*/ 35 h 43"/>
                  <a:gd name="T20" fmla="*/ 31 w 31"/>
                  <a:gd name="T21" fmla="*/ 40 h 43"/>
                  <a:gd name="T22" fmla="*/ 30 w 31"/>
                  <a:gd name="T23" fmla="*/ 41 h 43"/>
                  <a:gd name="T24" fmla="*/ 22 w 31"/>
                  <a:gd name="T25" fmla="*/ 43 h 43"/>
                  <a:gd name="T26" fmla="*/ 14 w 31"/>
                  <a:gd name="T27" fmla="*/ 42 h 43"/>
                  <a:gd name="T28" fmla="*/ 1 w 31"/>
                  <a:gd name="T29" fmla="*/ 30 h 43"/>
                  <a:gd name="T30" fmla="*/ 0 w 31"/>
                  <a:gd name="T31" fmla="*/ 20 h 43"/>
                  <a:gd name="T32" fmla="*/ 2 w 31"/>
                  <a:gd name="T33" fmla="*/ 13 h 43"/>
                  <a:gd name="T34" fmla="*/ 18 w 31"/>
                  <a:gd name="T35" fmla="*/ 0 h 43"/>
                  <a:gd name="T36" fmla="*/ 29 w 31"/>
                  <a:gd name="T37" fmla="*/ 1 h 43"/>
                  <a:gd name="T38" fmla="*/ 31 w 31"/>
                  <a:gd name="T39" fmla="*/ 4 h 43"/>
                  <a:gd name="T40" fmla="*/ 31 w 31"/>
                  <a:gd name="T41"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3">
                    <a:moveTo>
                      <a:pt x="31" y="9"/>
                    </a:moveTo>
                    <a:cubicBezTo>
                      <a:pt x="31" y="9"/>
                      <a:pt x="30" y="8"/>
                      <a:pt x="30" y="8"/>
                    </a:cubicBezTo>
                    <a:cubicBezTo>
                      <a:pt x="26" y="6"/>
                      <a:pt x="23" y="5"/>
                      <a:pt x="19" y="6"/>
                    </a:cubicBezTo>
                    <a:cubicBezTo>
                      <a:pt x="14" y="7"/>
                      <a:pt x="11" y="9"/>
                      <a:pt x="8" y="14"/>
                    </a:cubicBezTo>
                    <a:cubicBezTo>
                      <a:pt x="7" y="17"/>
                      <a:pt x="7" y="20"/>
                      <a:pt x="7" y="23"/>
                    </a:cubicBezTo>
                    <a:cubicBezTo>
                      <a:pt x="7" y="26"/>
                      <a:pt x="7" y="28"/>
                      <a:pt x="9" y="31"/>
                    </a:cubicBezTo>
                    <a:cubicBezTo>
                      <a:pt x="11" y="35"/>
                      <a:pt x="14" y="37"/>
                      <a:pt x="19" y="37"/>
                    </a:cubicBezTo>
                    <a:cubicBezTo>
                      <a:pt x="23" y="38"/>
                      <a:pt x="27" y="37"/>
                      <a:pt x="30" y="35"/>
                    </a:cubicBezTo>
                    <a:cubicBezTo>
                      <a:pt x="30" y="35"/>
                      <a:pt x="30" y="34"/>
                      <a:pt x="31" y="34"/>
                    </a:cubicBezTo>
                    <a:cubicBezTo>
                      <a:pt x="31" y="34"/>
                      <a:pt x="31" y="35"/>
                      <a:pt x="31" y="35"/>
                    </a:cubicBezTo>
                    <a:cubicBezTo>
                      <a:pt x="31" y="36"/>
                      <a:pt x="31" y="38"/>
                      <a:pt x="31" y="40"/>
                    </a:cubicBezTo>
                    <a:cubicBezTo>
                      <a:pt x="31" y="40"/>
                      <a:pt x="31" y="41"/>
                      <a:pt x="30" y="41"/>
                    </a:cubicBezTo>
                    <a:cubicBezTo>
                      <a:pt x="28" y="42"/>
                      <a:pt x="25" y="43"/>
                      <a:pt x="22" y="43"/>
                    </a:cubicBezTo>
                    <a:cubicBezTo>
                      <a:pt x="19" y="43"/>
                      <a:pt x="16" y="43"/>
                      <a:pt x="14" y="42"/>
                    </a:cubicBezTo>
                    <a:cubicBezTo>
                      <a:pt x="7" y="41"/>
                      <a:pt x="3" y="37"/>
                      <a:pt x="1" y="30"/>
                    </a:cubicBezTo>
                    <a:cubicBezTo>
                      <a:pt x="0" y="27"/>
                      <a:pt x="0" y="24"/>
                      <a:pt x="0" y="20"/>
                    </a:cubicBezTo>
                    <a:cubicBezTo>
                      <a:pt x="0" y="18"/>
                      <a:pt x="1" y="15"/>
                      <a:pt x="2" y="13"/>
                    </a:cubicBezTo>
                    <a:cubicBezTo>
                      <a:pt x="5" y="6"/>
                      <a:pt x="10" y="1"/>
                      <a:pt x="18" y="0"/>
                    </a:cubicBezTo>
                    <a:cubicBezTo>
                      <a:pt x="22" y="0"/>
                      <a:pt x="26" y="0"/>
                      <a:pt x="29" y="1"/>
                    </a:cubicBezTo>
                    <a:cubicBezTo>
                      <a:pt x="31" y="2"/>
                      <a:pt x="31" y="2"/>
                      <a:pt x="31" y="4"/>
                    </a:cubicBezTo>
                    <a:cubicBezTo>
                      <a:pt x="31" y="5"/>
                      <a:pt x="31" y="7"/>
                      <a:pt x="3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32" name="Freeform 16"/>
              <p:cNvSpPr>
                <a:spLocks/>
              </p:cNvSpPr>
              <p:nvPr/>
            </p:nvSpPr>
            <p:spPr bwMode="auto">
              <a:xfrm>
                <a:off x="23" y="1718"/>
                <a:ext cx="86" cy="164"/>
              </a:xfrm>
              <a:custGeom>
                <a:avLst/>
                <a:gdLst>
                  <a:gd name="T0" fmla="*/ 22 w 22"/>
                  <a:gd name="T1" fmla="*/ 1 h 42"/>
                  <a:gd name="T2" fmla="*/ 22 w 22"/>
                  <a:gd name="T3" fmla="*/ 7 h 42"/>
                  <a:gd name="T4" fmla="*/ 18 w 22"/>
                  <a:gd name="T5" fmla="*/ 6 h 42"/>
                  <a:gd name="T6" fmla="*/ 11 w 22"/>
                  <a:gd name="T7" fmla="*/ 9 h 42"/>
                  <a:gd name="T8" fmla="*/ 7 w 22"/>
                  <a:gd name="T9" fmla="*/ 17 h 42"/>
                  <a:gd name="T10" fmla="*/ 7 w 22"/>
                  <a:gd name="T11" fmla="*/ 21 h 42"/>
                  <a:gd name="T12" fmla="*/ 7 w 22"/>
                  <a:gd name="T13" fmla="*/ 41 h 42"/>
                  <a:gd name="T14" fmla="*/ 7 w 22"/>
                  <a:gd name="T15" fmla="*/ 42 h 42"/>
                  <a:gd name="T16" fmla="*/ 0 w 22"/>
                  <a:gd name="T17" fmla="*/ 42 h 42"/>
                  <a:gd name="T18" fmla="*/ 0 w 22"/>
                  <a:gd name="T19" fmla="*/ 1 h 42"/>
                  <a:gd name="T20" fmla="*/ 7 w 22"/>
                  <a:gd name="T21" fmla="*/ 1 h 42"/>
                  <a:gd name="T22" fmla="*/ 7 w 22"/>
                  <a:gd name="T23" fmla="*/ 9 h 42"/>
                  <a:gd name="T24" fmla="*/ 7 w 22"/>
                  <a:gd name="T25" fmla="*/ 9 h 42"/>
                  <a:gd name="T26" fmla="*/ 8 w 22"/>
                  <a:gd name="T27" fmla="*/ 8 h 42"/>
                  <a:gd name="T28" fmla="*/ 11 w 22"/>
                  <a:gd name="T29" fmla="*/ 3 h 42"/>
                  <a:gd name="T30" fmla="*/ 20 w 22"/>
                  <a:gd name="T31" fmla="*/ 0 h 42"/>
                  <a:gd name="T32" fmla="*/ 22 w 22"/>
                  <a:gd name="T33"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42">
                    <a:moveTo>
                      <a:pt x="22" y="1"/>
                    </a:moveTo>
                    <a:cubicBezTo>
                      <a:pt x="22" y="3"/>
                      <a:pt x="22" y="5"/>
                      <a:pt x="22" y="7"/>
                    </a:cubicBezTo>
                    <a:cubicBezTo>
                      <a:pt x="21" y="7"/>
                      <a:pt x="20" y="7"/>
                      <a:pt x="18" y="6"/>
                    </a:cubicBezTo>
                    <a:cubicBezTo>
                      <a:pt x="15" y="6"/>
                      <a:pt x="13" y="7"/>
                      <a:pt x="11" y="9"/>
                    </a:cubicBezTo>
                    <a:cubicBezTo>
                      <a:pt x="9" y="11"/>
                      <a:pt x="8" y="14"/>
                      <a:pt x="7" y="17"/>
                    </a:cubicBezTo>
                    <a:cubicBezTo>
                      <a:pt x="7" y="18"/>
                      <a:pt x="7" y="20"/>
                      <a:pt x="7" y="21"/>
                    </a:cubicBezTo>
                    <a:cubicBezTo>
                      <a:pt x="7" y="28"/>
                      <a:pt x="7" y="34"/>
                      <a:pt x="7" y="41"/>
                    </a:cubicBezTo>
                    <a:cubicBezTo>
                      <a:pt x="7" y="41"/>
                      <a:pt x="7" y="42"/>
                      <a:pt x="7" y="42"/>
                    </a:cubicBezTo>
                    <a:cubicBezTo>
                      <a:pt x="5" y="42"/>
                      <a:pt x="3" y="42"/>
                      <a:pt x="0" y="42"/>
                    </a:cubicBezTo>
                    <a:cubicBezTo>
                      <a:pt x="0" y="29"/>
                      <a:pt x="0" y="15"/>
                      <a:pt x="0" y="1"/>
                    </a:cubicBezTo>
                    <a:cubicBezTo>
                      <a:pt x="3" y="1"/>
                      <a:pt x="5" y="1"/>
                      <a:pt x="7" y="1"/>
                    </a:cubicBezTo>
                    <a:cubicBezTo>
                      <a:pt x="7" y="4"/>
                      <a:pt x="7" y="6"/>
                      <a:pt x="7" y="9"/>
                    </a:cubicBezTo>
                    <a:cubicBezTo>
                      <a:pt x="7" y="9"/>
                      <a:pt x="7" y="9"/>
                      <a:pt x="7" y="9"/>
                    </a:cubicBezTo>
                    <a:cubicBezTo>
                      <a:pt x="7" y="9"/>
                      <a:pt x="8" y="8"/>
                      <a:pt x="8" y="8"/>
                    </a:cubicBezTo>
                    <a:cubicBezTo>
                      <a:pt x="8" y="6"/>
                      <a:pt x="9" y="5"/>
                      <a:pt x="11" y="3"/>
                    </a:cubicBezTo>
                    <a:cubicBezTo>
                      <a:pt x="13" y="1"/>
                      <a:pt x="16" y="0"/>
                      <a:pt x="20" y="0"/>
                    </a:cubicBezTo>
                    <a:cubicBezTo>
                      <a:pt x="20" y="0"/>
                      <a:pt x="21" y="1"/>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33" name="Freeform 17"/>
              <p:cNvSpPr>
                <a:spLocks/>
              </p:cNvSpPr>
              <p:nvPr/>
            </p:nvSpPr>
            <p:spPr bwMode="auto">
              <a:xfrm>
                <a:off x="1359" y="1718"/>
                <a:ext cx="86" cy="164"/>
              </a:xfrm>
              <a:custGeom>
                <a:avLst/>
                <a:gdLst>
                  <a:gd name="T0" fmla="*/ 0 w 22"/>
                  <a:gd name="T1" fmla="*/ 1 h 42"/>
                  <a:gd name="T2" fmla="*/ 7 w 22"/>
                  <a:gd name="T3" fmla="*/ 1 h 42"/>
                  <a:gd name="T4" fmla="*/ 7 w 22"/>
                  <a:gd name="T5" fmla="*/ 5 h 42"/>
                  <a:gd name="T6" fmla="*/ 7 w 22"/>
                  <a:gd name="T7" fmla="*/ 9 h 42"/>
                  <a:gd name="T8" fmla="*/ 7 w 22"/>
                  <a:gd name="T9" fmla="*/ 8 h 42"/>
                  <a:gd name="T10" fmla="*/ 10 w 22"/>
                  <a:gd name="T11" fmla="*/ 3 h 42"/>
                  <a:gd name="T12" fmla="*/ 19 w 22"/>
                  <a:gd name="T13" fmla="*/ 0 h 42"/>
                  <a:gd name="T14" fmla="*/ 22 w 22"/>
                  <a:gd name="T15" fmla="*/ 1 h 42"/>
                  <a:gd name="T16" fmla="*/ 22 w 22"/>
                  <a:gd name="T17" fmla="*/ 7 h 42"/>
                  <a:gd name="T18" fmla="*/ 18 w 22"/>
                  <a:gd name="T19" fmla="*/ 7 h 42"/>
                  <a:gd name="T20" fmla="*/ 10 w 22"/>
                  <a:gd name="T21" fmla="*/ 10 h 42"/>
                  <a:gd name="T22" fmla="*/ 7 w 22"/>
                  <a:gd name="T23" fmla="*/ 18 h 42"/>
                  <a:gd name="T24" fmla="*/ 7 w 22"/>
                  <a:gd name="T25" fmla="*/ 22 h 42"/>
                  <a:gd name="T26" fmla="*/ 7 w 22"/>
                  <a:gd name="T27" fmla="*/ 41 h 42"/>
                  <a:gd name="T28" fmla="*/ 7 w 22"/>
                  <a:gd name="T29" fmla="*/ 42 h 42"/>
                  <a:gd name="T30" fmla="*/ 0 w 22"/>
                  <a:gd name="T31" fmla="*/ 42 h 42"/>
                  <a:gd name="T32" fmla="*/ 0 w 22"/>
                  <a:gd name="T33"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42">
                    <a:moveTo>
                      <a:pt x="0" y="1"/>
                    </a:moveTo>
                    <a:cubicBezTo>
                      <a:pt x="2" y="1"/>
                      <a:pt x="4" y="1"/>
                      <a:pt x="7" y="1"/>
                    </a:cubicBezTo>
                    <a:cubicBezTo>
                      <a:pt x="7" y="2"/>
                      <a:pt x="7" y="4"/>
                      <a:pt x="7" y="5"/>
                    </a:cubicBezTo>
                    <a:cubicBezTo>
                      <a:pt x="7" y="6"/>
                      <a:pt x="7" y="8"/>
                      <a:pt x="7" y="9"/>
                    </a:cubicBezTo>
                    <a:cubicBezTo>
                      <a:pt x="7" y="9"/>
                      <a:pt x="7" y="8"/>
                      <a:pt x="7" y="8"/>
                    </a:cubicBezTo>
                    <a:cubicBezTo>
                      <a:pt x="8" y="6"/>
                      <a:pt x="9" y="5"/>
                      <a:pt x="10" y="3"/>
                    </a:cubicBezTo>
                    <a:cubicBezTo>
                      <a:pt x="13" y="1"/>
                      <a:pt x="16" y="0"/>
                      <a:pt x="19" y="0"/>
                    </a:cubicBezTo>
                    <a:cubicBezTo>
                      <a:pt x="20" y="0"/>
                      <a:pt x="21" y="1"/>
                      <a:pt x="22" y="1"/>
                    </a:cubicBezTo>
                    <a:cubicBezTo>
                      <a:pt x="22" y="3"/>
                      <a:pt x="22" y="5"/>
                      <a:pt x="22" y="7"/>
                    </a:cubicBezTo>
                    <a:cubicBezTo>
                      <a:pt x="21" y="7"/>
                      <a:pt x="19" y="7"/>
                      <a:pt x="18" y="7"/>
                    </a:cubicBezTo>
                    <a:cubicBezTo>
                      <a:pt x="15" y="6"/>
                      <a:pt x="12" y="7"/>
                      <a:pt x="10" y="10"/>
                    </a:cubicBezTo>
                    <a:cubicBezTo>
                      <a:pt x="8" y="12"/>
                      <a:pt x="7" y="15"/>
                      <a:pt x="7" y="18"/>
                    </a:cubicBezTo>
                    <a:cubicBezTo>
                      <a:pt x="7" y="19"/>
                      <a:pt x="7" y="20"/>
                      <a:pt x="7" y="22"/>
                    </a:cubicBezTo>
                    <a:cubicBezTo>
                      <a:pt x="7" y="28"/>
                      <a:pt x="7" y="35"/>
                      <a:pt x="7" y="41"/>
                    </a:cubicBezTo>
                    <a:cubicBezTo>
                      <a:pt x="7" y="41"/>
                      <a:pt x="7" y="42"/>
                      <a:pt x="7" y="42"/>
                    </a:cubicBezTo>
                    <a:cubicBezTo>
                      <a:pt x="4" y="42"/>
                      <a:pt x="2" y="42"/>
                      <a:pt x="0" y="42"/>
                    </a:cubicBezTo>
                    <a:cubicBezTo>
                      <a:pt x="0" y="29"/>
                      <a:pt x="0" y="15"/>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34" name="Freeform 18"/>
              <p:cNvSpPr>
                <a:spLocks/>
              </p:cNvSpPr>
              <p:nvPr/>
            </p:nvSpPr>
            <p:spPr bwMode="auto">
              <a:xfrm>
                <a:off x="-181" y="1722"/>
                <a:ext cx="24" cy="160"/>
              </a:xfrm>
              <a:custGeom>
                <a:avLst/>
                <a:gdLst>
                  <a:gd name="T0" fmla="*/ 0 w 6"/>
                  <a:gd name="T1" fmla="*/ 0 h 41"/>
                  <a:gd name="T2" fmla="*/ 6 w 6"/>
                  <a:gd name="T3" fmla="*/ 0 h 41"/>
                  <a:gd name="T4" fmla="*/ 6 w 6"/>
                  <a:gd name="T5" fmla="*/ 41 h 41"/>
                  <a:gd name="T6" fmla="*/ 0 w 6"/>
                  <a:gd name="T7" fmla="*/ 41 h 41"/>
                  <a:gd name="T8" fmla="*/ 0 w 6"/>
                  <a:gd name="T9" fmla="*/ 0 h 41"/>
                </a:gdLst>
                <a:ahLst/>
                <a:cxnLst>
                  <a:cxn ang="0">
                    <a:pos x="T0" y="T1"/>
                  </a:cxn>
                  <a:cxn ang="0">
                    <a:pos x="T2" y="T3"/>
                  </a:cxn>
                  <a:cxn ang="0">
                    <a:pos x="T4" y="T5"/>
                  </a:cxn>
                  <a:cxn ang="0">
                    <a:pos x="T6" y="T7"/>
                  </a:cxn>
                  <a:cxn ang="0">
                    <a:pos x="T8" y="T9"/>
                  </a:cxn>
                </a:cxnLst>
                <a:rect l="0" t="0" r="r" b="b"/>
                <a:pathLst>
                  <a:path w="6" h="41">
                    <a:moveTo>
                      <a:pt x="0" y="0"/>
                    </a:moveTo>
                    <a:cubicBezTo>
                      <a:pt x="2" y="0"/>
                      <a:pt x="4" y="0"/>
                      <a:pt x="6" y="0"/>
                    </a:cubicBezTo>
                    <a:cubicBezTo>
                      <a:pt x="6" y="14"/>
                      <a:pt x="6" y="27"/>
                      <a:pt x="6" y="41"/>
                    </a:cubicBezTo>
                    <a:cubicBezTo>
                      <a:pt x="4" y="41"/>
                      <a:pt x="2" y="41"/>
                      <a:pt x="0" y="41"/>
                    </a:cubicBezTo>
                    <a:cubicBezTo>
                      <a:pt x="0" y="28"/>
                      <a:pt x="0" y="1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35" name="Freeform 19"/>
              <p:cNvSpPr>
                <a:spLocks/>
              </p:cNvSpPr>
              <p:nvPr/>
            </p:nvSpPr>
            <p:spPr bwMode="auto">
              <a:xfrm>
                <a:off x="-185" y="1648"/>
                <a:ext cx="36" cy="35"/>
              </a:xfrm>
              <a:custGeom>
                <a:avLst/>
                <a:gdLst>
                  <a:gd name="T0" fmla="*/ 8 w 9"/>
                  <a:gd name="T1" fmla="*/ 4 h 9"/>
                  <a:gd name="T2" fmla="*/ 4 w 9"/>
                  <a:gd name="T3" fmla="*/ 8 h 9"/>
                  <a:gd name="T4" fmla="*/ 0 w 9"/>
                  <a:gd name="T5" fmla="*/ 4 h 9"/>
                  <a:gd name="T6" fmla="*/ 4 w 9"/>
                  <a:gd name="T7" fmla="*/ 0 h 9"/>
                  <a:gd name="T8" fmla="*/ 8 w 9"/>
                  <a:gd name="T9" fmla="*/ 4 h 9"/>
                </a:gdLst>
                <a:ahLst/>
                <a:cxnLst>
                  <a:cxn ang="0">
                    <a:pos x="T0" y="T1"/>
                  </a:cxn>
                  <a:cxn ang="0">
                    <a:pos x="T2" y="T3"/>
                  </a:cxn>
                  <a:cxn ang="0">
                    <a:pos x="T4" y="T5"/>
                  </a:cxn>
                  <a:cxn ang="0">
                    <a:pos x="T6" y="T7"/>
                  </a:cxn>
                  <a:cxn ang="0">
                    <a:pos x="T8" y="T9"/>
                  </a:cxn>
                </a:cxnLst>
                <a:rect l="0" t="0" r="r" b="b"/>
                <a:pathLst>
                  <a:path w="9" h="9">
                    <a:moveTo>
                      <a:pt x="8" y="4"/>
                    </a:moveTo>
                    <a:cubicBezTo>
                      <a:pt x="8" y="7"/>
                      <a:pt x="6" y="9"/>
                      <a:pt x="4" y="8"/>
                    </a:cubicBezTo>
                    <a:cubicBezTo>
                      <a:pt x="1" y="8"/>
                      <a:pt x="0" y="7"/>
                      <a:pt x="0" y="4"/>
                    </a:cubicBezTo>
                    <a:cubicBezTo>
                      <a:pt x="0" y="2"/>
                      <a:pt x="2" y="0"/>
                      <a:pt x="4" y="0"/>
                    </a:cubicBezTo>
                    <a:cubicBezTo>
                      <a:pt x="7" y="0"/>
                      <a:pt x="9" y="2"/>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42" name="Group 41"/>
          <p:cNvGrpSpPr/>
          <p:nvPr/>
        </p:nvGrpSpPr>
        <p:grpSpPr>
          <a:xfrm>
            <a:off x="1942370" y="3493828"/>
            <a:ext cx="2639930" cy="2648592"/>
            <a:chOff x="1903593" y="3425632"/>
            <a:chExt cx="2588402" cy="2596895"/>
          </a:xfrm>
        </p:grpSpPr>
        <p:sp>
          <p:nvSpPr>
            <p:cNvPr id="20" name="Rectangle 19"/>
            <p:cNvSpPr/>
            <p:nvPr/>
          </p:nvSpPr>
          <p:spPr>
            <a:xfrm>
              <a:off x="2055277" y="3425632"/>
              <a:ext cx="2308818" cy="2596895"/>
            </a:xfrm>
            <a:prstGeom prst="rect">
              <a:avLst/>
            </a:prstGeom>
            <a:solidFill>
              <a:srgbClr val="5959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 name="Rectangle 24"/>
            <p:cNvSpPr/>
            <p:nvPr/>
          </p:nvSpPr>
          <p:spPr>
            <a:xfrm>
              <a:off x="1903593" y="5378133"/>
              <a:ext cx="2588402" cy="374846"/>
            </a:xfrm>
            <a:prstGeom prst="rect">
              <a:avLst/>
            </a:prstGeom>
          </p:spPr>
          <p:txBody>
            <a:bodyPr wrap="square">
              <a:sp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r>
                <a:rPr kumimoji="0" lang="en-US" sz="183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ull Service S-a-a-S</a:t>
              </a:r>
            </a:p>
          </p:txBody>
        </p:sp>
        <p:grpSp>
          <p:nvGrpSpPr>
            <p:cNvPr id="4" name="Group 5"/>
            <p:cNvGrpSpPr>
              <a:grpSpLocks noChangeAspect="1"/>
            </p:cNvGrpSpPr>
            <p:nvPr/>
          </p:nvGrpSpPr>
          <p:grpSpPr bwMode="auto">
            <a:xfrm>
              <a:off x="2409120" y="3988535"/>
              <a:ext cx="1506537" cy="874713"/>
              <a:chOff x="1493" y="2516"/>
              <a:chExt cx="949" cy="551"/>
            </a:xfrm>
          </p:grpSpPr>
          <p:sp>
            <p:nvSpPr>
              <p:cNvPr id="5" name="AutoShape 4"/>
              <p:cNvSpPr>
                <a:spLocks noChangeAspect="1" noChangeArrowheads="1" noTextEdit="1"/>
              </p:cNvSpPr>
              <p:nvPr/>
            </p:nvSpPr>
            <p:spPr bwMode="auto">
              <a:xfrm>
                <a:off x="1493" y="2516"/>
                <a:ext cx="949" cy="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 name="Freeform 6"/>
              <p:cNvSpPr>
                <a:spLocks/>
              </p:cNvSpPr>
              <p:nvPr/>
            </p:nvSpPr>
            <p:spPr bwMode="auto">
              <a:xfrm>
                <a:off x="1493" y="2516"/>
                <a:ext cx="954" cy="551"/>
              </a:xfrm>
              <a:custGeom>
                <a:avLst/>
                <a:gdLst>
                  <a:gd name="T0" fmla="*/ 27 w 187"/>
                  <a:gd name="T1" fmla="*/ 54 h 108"/>
                  <a:gd name="T2" fmla="*/ 32 w 187"/>
                  <a:gd name="T3" fmla="*/ 54 h 108"/>
                  <a:gd name="T4" fmla="*/ 66 w 187"/>
                  <a:gd name="T5" fmla="*/ 23 h 108"/>
                  <a:gd name="T6" fmla="*/ 74 w 187"/>
                  <a:gd name="T7" fmla="*/ 24 h 108"/>
                  <a:gd name="T8" fmla="*/ 113 w 187"/>
                  <a:gd name="T9" fmla="*/ 0 h 108"/>
                  <a:gd name="T10" fmla="*/ 156 w 187"/>
                  <a:gd name="T11" fmla="*/ 39 h 108"/>
                  <a:gd name="T12" fmla="*/ 187 w 187"/>
                  <a:gd name="T13" fmla="*/ 73 h 108"/>
                  <a:gd name="T14" fmla="*/ 152 w 187"/>
                  <a:gd name="T15" fmla="*/ 108 h 108"/>
                  <a:gd name="T16" fmla="*/ 27 w 187"/>
                  <a:gd name="T17" fmla="*/ 108 h 108"/>
                  <a:gd name="T18" fmla="*/ 0 w 187"/>
                  <a:gd name="T19" fmla="*/ 81 h 108"/>
                  <a:gd name="T20" fmla="*/ 27 w 187"/>
                  <a:gd name="T21"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108">
                    <a:moveTo>
                      <a:pt x="27" y="54"/>
                    </a:moveTo>
                    <a:cubicBezTo>
                      <a:pt x="29" y="54"/>
                      <a:pt x="30" y="54"/>
                      <a:pt x="32" y="54"/>
                    </a:cubicBezTo>
                    <a:cubicBezTo>
                      <a:pt x="33" y="37"/>
                      <a:pt x="48" y="23"/>
                      <a:pt x="66" y="23"/>
                    </a:cubicBezTo>
                    <a:cubicBezTo>
                      <a:pt x="69" y="23"/>
                      <a:pt x="72" y="23"/>
                      <a:pt x="74" y="24"/>
                    </a:cubicBezTo>
                    <a:cubicBezTo>
                      <a:pt x="81" y="10"/>
                      <a:pt x="96" y="0"/>
                      <a:pt x="113" y="0"/>
                    </a:cubicBezTo>
                    <a:cubicBezTo>
                      <a:pt x="136" y="0"/>
                      <a:pt x="154" y="17"/>
                      <a:pt x="156" y="39"/>
                    </a:cubicBezTo>
                    <a:cubicBezTo>
                      <a:pt x="173" y="41"/>
                      <a:pt x="187" y="55"/>
                      <a:pt x="187" y="73"/>
                    </a:cubicBezTo>
                    <a:cubicBezTo>
                      <a:pt x="187" y="93"/>
                      <a:pt x="171" y="108"/>
                      <a:pt x="152" y="108"/>
                    </a:cubicBezTo>
                    <a:cubicBezTo>
                      <a:pt x="137" y="108"/>
                      <a:pt x="39" y="108"/>
                      <a:pt x="27" y="108"/>
                    </a:cubicBezTo>
                    <a:cubicBezTo>
                      <a:pt x="12" y="108"/>
                      <a:pt x="0" y="96"/>
                      <a:pt x="0" y="81"/>
                    </a:cubicBezTo>
                    <a:cubicBezTo>
                      <a:pt x="0" y="66"/>
                      <a:pt x="12" y="54"/>
                      <a:pt x="27"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 name="Freeform 7"/>
              <p:cNvSpPr>
                <a:spLocks noEditPoints="1"/>
              </p:cNvSpPr>
              <p:nvPr/>
            </p:nvSpPr>
            <p:spPr bwMode="auto">
              <a:xfrm>
                <a:off x="1789" y="2648"/>
                <a:ext cx="260" cy="261"/>
              </a:xfrm>
              <a:custGeom>
                <a:avLst/>
                <a:gdLst>
                  <a:gd name="T0" fmla="*/ 35 w 51"/>
                  <a:gd name="T1" fmla="*/ 44 h 51"/>
                  <a:gd name="T2" fmla="*/ 38 w 51"/>
                  <a:gd name="T3" fmla="*/ 43 h 51"/>
                  <a:gd name="T4" fmla="*/ 42 w 51"/>
                  <a:gd name="T5" fmla="*/ 45 h 51"/>
                  <a:gd name="T6" fmla="*/ 46 w 51"/>
                  <a:gd name="T7" fmla="*/ 41 h 51"/>
                  <a:gd name="T8" fmla="*/ 44 w 51"/>
                  <a:gd name="T9" fmla="*/ 37 h 51"/>
                  <a:gd name="T10" fmla="*/ 45 w 51"/>
                  <a:gd name="T11" fmla="*/ 34 h 51"/>
                  <a:gd name="T12" fmla="*/ 50 w 51"/>
                  <a:gd name="T13" fmla="*/ 34 h 51"/>
                  <a:gd name="T14" fmla="*/ 51 w 51"/>
                  <a:gd name="T15" fmla="*/ 28 h 51"/>
                  <a:gd name="T16" fmla="*/ 47 w 51"/>
                  <a:gd name="T17" fmla="*/ 26 h 51"/>
                  <a:gd name="T18" fmla="*/ 47 w 51"/>
                  <a:gd name="T19" fmla="*/ 25 h 51"/>
                  <a:gd name="T20" fmla="*/ 47 w 51"/>
                  <a:gd name="T21" fmla="*/ 23 h 51"/>
                  <a:gd name="T22" fmla="*/ 51 w 51"/>
                  <a:gd name="T23" fmla="*/ 21 h 51"/>
                  <a:gd name="T24" fmla="*/ 49 w 51"/>
                  <a:gd name="T25" fmla="*/ 15 h 51"/>
                  <a:gd name="T26" fmla="*/ 45 w 51"/>
                  <a:gd name="T27" fmla="*/ 16 h 51"/>
                  <a:gd name="T28" fmla="*/ 43 w 51"/>
                  <a:gd name="T29" fmla="*/ 12 h 51"/>
                  <a:gd name="T30" fmla="*/ 45 w 51"/>
                  <a:gd name="T31" fmla="*/ 9 h 51"/>
                  <a:gd name="T32" fmla="*/ 41 w 51"/>
                  <a:gd name="T33" fmla="*/ 5 h 51"/>
                  <a:gd name="T34" fmla="*/ 37 w 51"/>
                  <a:gd name="T35" fmla="*/ 7 h 51"/>
                  <a:gd name="T36" fmla="*/ 34 w 51"/>
                  <a:gd name="T37" fmla="*/ 5 h 51"/>
                  <a:gd name="T38" fmla="*/ 34 w 51"/>
                  <a:gd name="T39" fmla="*/ 1 h 51"/>
                  <a:gd name="T40" fmla="*/ 29 w 51"/>
                  <a:gd name="T41" fmla="*/ 0 h 51"/>
                  <a:gd name="T42" fmla="*/ 27 w 51"/>
                  <a:gd name="T43" fmla="*/ 4 h 51"/>
                  <a:gd name="T44" fmla="*/ 25 w 51"/>
                  <a:gd name="T45" fmla="*/ 4 h 51"/>
                  <a:gd name="T46" fmla="*/ 23 w 51"/>
                  <a:gd name="T47" fmla="*/ 4 h 51"/>
                  <a:gd name="T48" fmla="*/ 21 w 51"/>
                  <a:gd name="T49" fmla="*/ 0 h 51"/>
                  <a:gd name="T50" fmla="*/ 16 w 51"/>
                  <a:gd name="T51" fmla="*/ 2 h 51"/>
                  <a:gd name="T52" fmla="*/ 16 w 51"/>
                  <a:gd name="T53" fmla="*/ 6 h 51"/>
                  <a:gd name="T54" fmla="*/ 13 w 51"/>
                  <a:gd name="T55" fmla="*/ 8 h 51"/>
                  <a:gd name="T56" fmla="*/ 9 w 51"/>
                  <a:gd name="T57" fmla="*/ 6 h 51"/>
                  <a:gd name="T58" fmla="*/ 5 w 51"/>
                  <a:gd name="T59" fmla="*/ 10 h 51"/>
                  <a:gd name="T60" fmla="*/ 8 w 51"/>
                  <a:gd name="T61" fmla="*/ 13 h 51"/>
                  <a:gd name="T62" fmla="*/ 6 w 51"/>
                  <a:gd name="T63" fmla="*/ 17 h 51"/>
                  <a:gd name="T64" fmla="*/ 2 w 51"/>
                  <a:gd name="T65" fmla="*/ 17 h 51"/>
                  <a:gd name="T66" fmla="*/ 0 w 51"/>
                  <a:gd name="T67" fmla="*/ 22 h 51"/>
                  <a:gd name="T68" fmla="*/ 4 w 51"/>
                  <a:gd name="T69" fmla="*/ 24 h 51"/>
                  <a:gd name="T70" fmla="*/ 4 w 51"/>
                  <a:gd name="T71" fmla="*/ 26 h 51"/>
                  <a:gd name="T72" fmla="*/ 4 w 51"/>
                  <a:gd name="T73" fmla="*/ 28 h 51"/>
                  <a:gd name="T74" fmla="*/ 1 w 51"/>
                  <a:gd name="T75" fmla="*/ 30 h 51"/>
                  <a:gd name="T76" fmla="*/ 2 w 51"/>
                  <a:gd name="T77" fmla="*/ 35 h 51"/>
                  <a:gd name="T78" fmla="*/ 6 w 51"/>
                  <a:gd name="T79" fmla="*/ 35 h 51"/>
                  <a:gd name="T80" fmla="*/ 8 w 51"/>
                  <a:gd name="T81" fmla="*/ 38 h 51"/>
                  <a:gd name="T82" fmla="*/ 6 w 51"/>
                  <a:gd name="T83" fmla="*/ 42 h 51"/>
                  <a:gd name="T84" fmla="*/ 10 w 51"/>
                  <a:gd name="T85" fmla="*/ 46 h 51"/>
                  <a:gd name="T86" fmla="*/ 14 w 51"/>
                  <a:gd name="T87" fmla="*/ 43 h 51"/>
                  <a:gd name="T88" fmla="*/ 17 w 51"/>
                  <a:gd name="T89" fmla="*/ 45 h 51"/>
                  <a:gd name="T90" fmla="*/ 17 w 51"/>
                  <a:gd name="T91" fmla="*/ 49 h 51"/>
                  <a:gd name="T92" fmla="*/ 22 w 51"/>
                  <a:gd name="T93" fmla="*/ 51 h 51"/>
                  <a:gd name="T94" fmla="*/ 24 w 51"/>
                  <a:gd name="T95" fmla="*/ 47 h 51"/>
                  <a:gd name="T96" fmla="*/ 26 w 51"/>
                  <a:gd name="T97" fmla="*/ 47 h 51"/>
                  <a:gd name="T98" fmla="*/ 28 w 51"/>
                  <a:gd name="T99" fmla="*/ 47 h 51"/>
                  <a:gd name="T100" fmla="*/ 30 w 51"/>
                  <a:gd name="T101" fmla="*/ 50 h 51"/>
                  <a:gd name="T102" fmla="*/ 35 w 51"/>
                  <a:gd name="T103" fmla="*/ 49 h 51"/>
                  <a:gd name="T104" fmla="*/ 35 w 51"/>
                  <a:gd name="T105" fmla="*/ 44 h 51"/>
                  <a:gd name="T106" fmla="*/ 39 w 51"/>
                  <a:gd name="T107" fmla="*/ 25 h 51"/>
                  <a:gd name="T108" fmla="*/ 26 w 51"/>
                  <a:gd name="T109" fmla="*/ 39 h 51"/>
                  <a:gd name="T110" fmla="*/ 12 w 51"/>
                  <a:gd name="T111" fmla="*/ 26 h 51"/>
                  <a:gd name="T112" fmla="*/ 25 w 51"/>
                  <a:gd name="T113" fmla="*/ 12 h 51"/>
                  <a:gd name="T114" fmla="*/ 39 w 51"/>
                  <a:gd name="T11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 h="51">
                    <a:moveTo>
                      <a:pt x="35" y="44"/>
                    </a:moveTo>
                    <a:cubicBezTo>
                      <a:pt x="36" y="44"/>
                      <a:pt x="37" y="43"/>
                      <a:pt x="38" y="43"/>
                    </a:cubicBezTo>
                    <a:cubicBezTo>
                      <a:pt x="42" y="45"/>
                      <a:pt x="42" y="45"/>
                      <a:pt x="42" y="45"/>
                    </a:cubicBezTo>
                    <a:cubicBezTo>
                      <a:pt x="44" y="43"/>
                      <a:pt x="45" y="42"/>
                      <a:pt x="46" y="41"/>
                    </a:cubicBezTo>
                    <a:cubicBezTo>
                      <a:pt x="44" y="37"/>
                      <a:pt x="44" y="37"/>
                      <a:pt x="44" y="37"/>
                    </a:cubicBezTo>
                    <a:cubicBezTo>
                      <a:pt x="44" y="36"/>
                      <a:pt x="45" y="35"/>
                      <a:pt x="45" y="34"/>
                    </a:cubicBezTo>
                    <a:cubicBezTo>
                      <a:pt x="50" y="34"/>
                      <a:pt x="50" y="34"/>
                      <a:pt x="50" y="34"/>
                    </a:cubicBezTo>
                    <a:cubicBezTo>
                      <a:pt x="50" y="32"/>
                      <a:pt x="51" y="30"/>
                      <a:pt x="51" y="28"/>
                    </a:cubicBezTo>
                    <a:cubicBezTo>
                      <a:pt x="47" y="26"/>
                      <a:pt x="47" y="26"/>
                      <a:pt x="47" y="26"/>
                    </a:cubicBezTo>
                    <a:cubicBezTo>
                      <a:pt x="47" y="26"/>
                      <a:pt x="47" y="25"/>
                      <a:pt x="47" y="25"/>
                    </a:cubicBezTo>
                    <a:cubicBezTo>
                      <a:pt x="47" y="24"/>
                      <a:pt x="47" y="23"/>
                      <a:pt x="47" y="23"/>
                    </a:cubicBezTo>
                    <a:cubicBezTo>
                      <a:pt x="51" y="21"/>
                      <a:pt x="51" y="21"/>
                      <a:pt x="51" y="21"/>
                    </a:cubicBezTo>
                    <a:cubicBezTo>
                      <a:pt x="50" y="19"/>
                      <a:pt x="50" y="17"/>
                      <a:pt x="49" y="15"/>
                    </a:cubicBezTo>
                    <a:cubicBezTo>
                      <a:pt x="45" y="16"/>
                      <a:pt x="45" y="16"/>
                      <a:pt x="45" y="16"/>
                    </a:cubicBezTo>
                    <a:cubicBezTo>
                      <a:pt x="44" y="14"/>
                      <a:pt x="44" y="13"/>
                      <a:pt x="43" y="12"/>
                    </a:cubicBezTo>
                    <a:cubicBezTo>
                      <a:pt x="45" y="9"/>
                      <a:pt x="45" y="9"/>
                      <a:pt x="45" y="9"/>
                    </a:cubicBezTo>
                    <a:cubicBezTo>
                      <a:pt x="44" y="7"/>
                      <a:pt x="42" y="6"/>
                      <a:pt x="41" y="5"/>
                    </a:cubicBezTo>
                    <a:cubicBezTo>
                      <a:pt x="37" y="7"/>
                      <a:pt x="37" y="7"/>
                      <a:pt x="37" y="7"/>
                    </a:cubicBezTo>
                    <a:cubicBezTo>
                      <a:pt x="36" y="7"/>
                      <a:pt x="35" y="6"/>
                      <a:pt x="34" y="5"/>
                    </a:cubicBezTo>
                    <a:cubicBezTo>
                      <a:pt x="34" y="1"/>
                      <a:pt x="34" y="1"/>
                      <a:pt x="34" y="1"/>
                    </a:cubicBezTo>
                    <a:cubicBezTo>
                      <a:pt x="32" y="1"/>
                      <a:pt x="31" y="0"/>
                      <a:pt x="29" y="0"/>
                    </a:cubicBezTo>
                    <a:cubicBezTo>
                      <a:pt x="27" y="4"/>
                      <a:pt x="27" y="4"/>
                      <a:pt x="27" y="4"/>
                    </a:cubicBezTo>
                    <a:cubicBezTo>
                      <a:pt x="26" y="4"/>
                      <a:pt x="26" y="4"/>
                      <a:pt x="25" y="4"/>
                    </a:cubicBezTo>
                    <a:cubicBezTo>
                      <a:pt x="24" y="4"/>
                      <a:pt x="24" y="4"/>
                      <a:pt x="23" y="4"/>
                    </a:cubicBezTo>
                    <a:cubicBezTo>
                      <a:pt x="21" y="0"/>
                      <a:pt x="21" y="0"/>
                      <a:pt x="21" y="0"/>
                    </a:cubicBezTo>
                    <a:cubicBezTo>
                      <a:pt x="19" y="1"/>
                      <a:pt x="17" y="1"/>
                      <a:pt x="16" y="2"/>
                    </a:cubicBezTo>
                    <a:cubicBezTo>
                      <a:pt x="16" y="6"/>
                      <a:pt x="16" y="6"/>
                      <a:pt x="16" y="6"/>
                    </a:cubicBezTo>
                    <a:cubicBezTo>
                      <a:pt x="15" y="7"/>
                      <a:pt x="14" y="7"/>
                      <a:pt x="13" y="8"/>
                    </a:cubicBezTo>
                    <a:cubicBezTo>
                      <a:pt x="9" y="6"/>
                      <a:pt x="9" y="6"/>
                      <a:pt x="9" y="6"/>
                    </a:cubicBezTo>
                    <a:cubicBezTo>
                      <a:pt x="8" y="7"/>
                      <a:pt x="6" y="8"/>
                      <a:pt x="5" y="10"/>
                    </a:cubicBezTo>
                    <a:cubicBezTo>
                      <a:pt x="8" y="13"/>
                      <a:pt x="8" y="13"/>
                      <a:pt x="8" y="13"/>
                    </a:cubicBezTo>
                    <a:cubicBezTo>
                      <a:pt x="7" y="15"/>
                      <a:pt x="6" y="16"/>
                      <a:pt x="6" y="17"/>
                    </a:cubicBezTo>
                    <a:cubicBezTo>
                      <a:pt x="2" y="17"/>
                      <a:pt x="2" y="17"/>
                      <a:pt x="2" y="17"/>
                    </a:cubicBezTo>
                    <a:cubicBezTo>
                      <a:pt x="1" y="19"/>
                      <a:pt x="1" y="20"/>
                      <a:pt x="0" y="22"/>
                    </a:cubicBezTo>
                    <a:cubicBezTo>
                      <a:pt x="4" y="24"/>
                      <a:pt x="4" y="24"/>
                      <a:pt x="4" y="24"/>
                    </a:cubicBezTo>
                    <a:cubicBezTo>
                      <a:pt x="4" y="25"/>
                      <a:pt x="4" y="25"/>
                      <a:pt x="4" y="26"/>
                    </a:cubicBezTo>
                    <a:cubicBezTo>
                      <a:pt x="4" y="27"/>
                      <a:pt x="4" y="27"/>
                      <a:pt x="4" y="28"/>
                    </a:cubicBezTo>
                    <a:cubicBezTo>
                      <a:pt x="1" y="30"/>
                      <a:pt x="1" y="30"/>
                      <a:pt x="1" y="30"/>
                    </a:cubicBezTo>
                    <a:cubicBezTo>
                      <a:pt x="1" y="32"/>
                      <a:pt x="1" y="33"/>
                      <a:pt x="2" y="35"/>
                    </a:cubicBezTo>
                    <a:cubicBezTo>
                      <a:pt x="6" y="35"/>
                      <a:pt x="6" y="35"/>
                      <a:pt x="6" y="35"/>
                    </a:cubicBezTo>
                    <a:cubicBezTo>
                      <a:pt x="7" y="36"/>
                      <a:pt x="8" y="37"/>
                      <a:pt x="8" y="38"/>
                    </a:cubicBezTo>
                    <a:cubicBezTo>
                      <a:pt x="6" y="42"/>
                      <a:pt x="6" y="42"/>
                      <a:pt x="6" y="42"/>
                    </a:cubicBezTo>
                    <a:cubicBezTo>
                      <a:pt x="7" y="43"/>
                      <a:pt x="9" y="44"/>
                      <a:pt x="10" y="46"/>
                    </a:cubicBezTo>
                    <a:cubicBezTo>
                      <a:pt x="14" y="43"/>
                      <a:pt x="14" y="43"/>
                      <a:pt x="14" y="43"/>
                    </a:cubicBezTo>
                    <a:cubicBezTo>
                      <a:pt x="15" y="44"/>
                      <a:pt x="16" y="45"/>
                      <a:pt x="17" y="45"/>
                    </a:cubicBezTo>
                    <a:cubicBezTo>
                      <a:pt x="17" y="49"/>
                      <a:pt x="17" y="49"/>
                      <a:pt x="17" y="49"/>
                    </a:cubicBezTo>
                    <a:cubicBezTo>
                      <a:pt x="19" y="50"/>
                      <a:pt x="21" y="50"/>
                      <a:pt x="22" y="51"/>
                    </a:cubicBezTo>
                    <a:cubicBezTo>
                      <a:pt x="24" y="47"/>
                      <a:pt x="24" y="47"/>
                      <a:pt x="24" y="47"/>
                    </a:cubicBezTo>
                    <a:cubicBezTo>
                      <a:pt x="25" y="47"/>
                      <a:pt x="26" y="47"/>
                      <a:pt x="26" y="47"/>
                    </a:cubicBezTo>
                    <a:cubicBezTo>
                      <a:pt x="27" y="47"/>
                      <a:pt x="27" y="47"/>
                      <a:pt x="28" y="47"/>
                    </a:cubicBezTo>
                    <a:cubicBezTo>
                      <a:pt x="30" y="50"/>
                      <a:pt x="30" y="50"/>
                      <a:pt x="30" y="50"/>
                    </a:cubicBezTo>
                    <a:cubicBezTo>
                      <a:pt x="32" y="50"/>
                      <a:pt x="34" y="49"/>
                      <a:pt x="35" y="49"/>
                    </a:cubicBezTo>
                    <a:lnTo>
                      <a:pt x="35" y="44"/>
                    </a:lnTo>
                    <a:close/>
                    <a:moveTo>
                      <a:pt x="39" y="25"/>
                    </a:moveTo>
                    <a:cubicBezTo>
                      <a:pt x="39" y="32"/>
                      <a:pt x="33" y="39"/>
                      <a:pt x="26" y="39"/>
                    </a:cubicBezTo>
                    <a:cubicBezTo>
                      <a:pt x="19" y="39"/>
                      <a:pt x="12" y="33"/>
                      <a:pt x="12" y="26"/>
                    </a:cubicBezTo>
                    <a:cubicBezTo>
                      <a:pt x="12" y="18"/>
                      <a:pt x="18" y="12"/>
                      <a:pt x="25" y="12"/>
                    </a:cubicBezTo>
                    <a:cubicBezTo>
                      <a:pt x="33" y="11"/>
                      <a:pt x="39" y="17"/>
                      <a:pt x="39" y="25"/>
                    </a:cubicBez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 name="Freeform 8"/>
              <p:cNvSpPr>
                <a:spLocks noEditPoints="1"/>
              </p:cNvSpPr>
              <p:nvPr/>
            </p:nvSpPr>
            <p:spPr bwMode="auto">
              <a:xfrm>
                <a:off x="2049" y="2730"/>
                <a:ext cx="168" cy="163"/>
              </a:xfrm>
              <a:custGeom>
                <a:avLst/>
                <a:gdLst>
                  <a:gd name="T0" fmla="*/ 30 w 33"/>
                  <a:gd name="T1" fmla="*/ 18 h 32"/>
                  <a:gd name="T2" fmla="*/ 30 w 33"/>
                  <a:gd name="T3" fmla="*/ 16 h 32"/>
                  <a:gd name="T4" fmla="*/ 33 w 33"/>
                  <a:gd name="T5" fmla="*/ 15 h 32"/>
                  <a:gd name="T6" fmla="*/ 32 w 33"/>
                  <a:gd name="T7" fmla="*/ 12 h 32"/>
                  <a:gd name="T8" fmla="*/ 29 w 33"/>
                  <a:gd name="T9" fmla="*/ 12 h 32"/>
                  <a:gd name="T10" fmla="*/ 29 w 33"/>
                  <a:gd name="T11" fmla="*/ 9 h 32"/>
                  <a:gd name="T12" fmla="*/ 30 w 33"/>
                  <a:gd name="T13" fmla="*/ 7 h 32"/>
                  <a:gd name="T14" fmla="*/ 28 w 33"/>
                  <a:gd name="T15" fmla="*/ 5 h 32"/>
                  <a:gd name="T16" fmla="*/ 26 w 33"/>
                  <a:gd name="T17" fmla="*/ 6 h 32"/>
                  <a:gd name="T18" fmla="*/ 24 w 33"/>
                  <a:gd name="T19" fmla="*/ 4 h 32"/>
                  <a:gd name="T20" fmla="*/ 24 w 33"/>
                  <a:gd name="T21" fmla="*/ 2 h 32"/>
                  <a:gd name="T22" fmla="*/ 21 w 33"/>
                  <a:gd name="T23" fmla="*/ 0 h 32"/>
                  <a:gd name="T24" fmla="*/ 19 w 33"/>
                  <a:gd name="T25" fmla="*/ 2 h 32"/>
                  <a:gd name="T26" fmla="*/ 18 w 33"/>
                  <a:gd name="T27" fmla="*/ 2 h 32"/>
                  <a:gd name="T28" fmla="*/ 17 w 33"/>
                  <a:gd name="T29" fmla="*/ 2 h 32"/>
                  <a:gd name="T30" fmla="*/ 16 w 33"/>
                  <a:gd name="T31" fmla="*/ 0 h 32"/>
                  <a:gd name="T32" fmla="*/ 13 w 33"/>
                  <a:gd name="T33" fmla="*/ 0 h 32"/>
                  <a:gd name="T34" fmla="*/ 12 w 33"/>
                  <a:gd name="T35" fmla="*/ 3 h 32"/>
                  <a:gd name="T36" fmla="*/ 10 w 33"/>
                  <a:gd name="T37" fmla="*/ 4 h 32"/>
                  <a:gd name="T38" fmla="*/ 8 w 33"/>
                  <a:gd name="T39" fmla="*/ 2 h 32"/>
                  <a:gd name="T40" fmla="*/ 5 w 33"/>
                  <a:gd name="T41" fmla="*/ 4 h 32"/>
                  <a:gd name="T42" fmla="*/ 6 w 33"/>
                  <a:gd name="T43" fmla="*/ 7 h 32"/>
                  <a:gd name="T44" fmla="*/ 5 w 33"/>
                  <a:gd name="T45" fmla="*/ 9 h 32"/>
                  <a:gd name="T46" fmla="*/ 2 w 33"/>
                  <a:gd name="T47" fmla="*/ 8 h 32"/>
                  <a:gd name="T48" fmla="*/ 1 w 33"/>
                  <a:gd name="T49" fmla="*/ 11 h 32"/>
                  <a:gd name="T50" fmla="*/ 3 w 33"/>
                  <a:gd name="T51" fmla="*/ 13 h 32"/>
                  <a:gd name="T52" fmla="*/ 3 w 33"/>
                  <a:gd name="T53" fmla="*/ 14 h 32"/>
                  <a:gd name="T54" fmla="*/ 3 w 33"/>
                  <a:gd name="T55" fmla="*/ 15 h 32"/>
                  <a:gd name="T56" fmla="*/ 0 w 33"/>
                  <a:gd name="T57" fmla="*/ 16 h 32"/>
                  <a:gd name="T58" fmla="*/ 1 w 33"/>
                  <a:gd name="T59" fmla="*/ 20 h 32"/>
                  <a:gd name="T60" fmla="*/ 3 w 33"/>
                  <a:gd name="T61" fmla="*/ 20 h 32"/>
                  <a:gd name="T62" fmla="*/ 4 w 33"/>
                  <a:gd name="T63" fmla="*/ 22 h 32"/>
                  <a:gd name="T64" fmla="*/ 3 w 33"/>
                  <a:gd name="T65" fmla="*/ 24 h 32"/>
                  <a:gd name="T66" fmla="*/ 5 w 33"/>
                  <a:gd name="T67" fmla="*/ 27 h 32"/>
                  <a:gd name="T68" fmla="*/ 7 w 33"/>
                  <a:gd name="T69" fmla="*/ 26 h 32"/>
                  <a:gd name="T70" fmla="*/ 9 w 33"/>
                  <a:gd name="T71" fmla="*/ 27 h 32"/>
                  <a:gd name="T72" fmla="*/ 9 w 33"/>
                  <a:gd name="T73" fmla="*/ 30 h 32"/>
                  <a:gd name="T74" fmla="*/ 12 w 33"/>
                  <a:gd name="T75" fmla="*/ 31 h 32"/>
                  <a:gd name="T76" fmla="*/ 13 w 33"/>
                  <a:gd name="T77" fmla="*/ 29 h 32"/>
                  <a:gd name="T78" fmla="*/ 15 w 33"/>
                  <a:gd name="T79" fmla="*/ 29 h 32"/>
                  <a:gd name="T80" fmla="*/ 16 w 33"/>
                  <a:gd name="T81" fmla="*/ 30 h 32"/>
                  <a:gd name="T82" fmla="*/ 17 w 33"/>
                  <a:gd name="T83" fmla="*/ 32 h 32"/>
                  <a:gd name="T84" fmla="*/ 20 w 33"/>
                  <a:gd name="T85" fmla="*/ 32 h 32"/>
                  <a:gd name="T86" fmla="*/ 21 w 33"/>
                  <a:gd name="T87" fmla="*/ 29 h 32"/>
                  <a:gd name="T88" fmla="*/ 23 w 33"/>
                  <a:gd name="T89" fmla="*/ 28 h 32"/>
                  <a:gd name="T90" fmla="*/ 25 w 33"/>
                  <a:gd name="T91" fmla="*/ 30 h 32"/>
                  <a:gd name="T92" fmla="*/ 28 w 33"/>
                  <a:gd name="T93" fmla="*/ 28 h 32"/>
                  <a:gd name="T94" fmla="*/ 27 w 33"/>
                  <a:gd name="T95" fmla="*/ 25 h 32"/>
                  <a:gd name="T96" fmla="*/ 28 w 33"/>
                  <a:gd name="T97" fmla="*/ 23 h 32"/>
                  <a:gd name="T98" fmla="*/ 31 w 33"/>
                  <a:gd name="T99" fmla="*/ 24 h 32"/>
                  <a:gd name="T100" fmla="*/ 32 w 33"/>
                  <a:gd name="T101" fmla="*/ 20 h 32"/>
                  <a:gd name="T102" fmla="*/ 30 w 33"/>
                  <a:gd name="T103" fmla="*/ 19 h 32"/>
                  <a:gd name="T104" fmla="*/ 30 w 33"/>
                  <a:gd name="T105" fmla="*/ 18 h 32"/>
                  <a:gd name="T106" fmla="*/ 25 w 33"/>
                  <a:gd name="T107" fmla="*/ 17 h 32"/>
                  <a:gd name="T108" fmla="*/ 15 w 33"/>
                  <a:gd name="T109" fmla="*/ 24 h 32"/>
                  <a:gd name="T110" fmla="*/ 8 w 33"/>
                  <a:gd name="T111" fmla="*/ 15 h 32"/>
                  <a:gd name="T112" fmla="*/ 17 w 33"/>
                  <a:gd name="T113" fmla="*/ 7 h 32"/>
                  <a:gd name="T114" fmla="*/ 25 w 33"/>
                  <a:gd name="T115"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32">
                    <a:moveTo>
                      <a:pt x="30" y="18"/>
                    </a:moveTo>
                    <a:cubicBezTo>
                      <a:pt x="30" y="17"/>
                      <a:pt x="30" y="17"/>
                      <a:pt x="30" y="16"/>
                    </a:cubicBezTo>
                    <a:cubicBezTo>
                      <a:pt x="33" y="15"/>
                      <a:pt x="33" y="15"/>
                      <a:pt x="33" y="15"/>
                    </a:cubicBezTo>
                    <a:cubicBezTo>
                      <a:pt x="33" y="14"/>
                      <a:pt x="32" y="13"/>
                      <a:pt x="32" y="12"/>
                    </a:cubicBezTo>
                    <a:cubicBezTo>
                      <a:pt x="29" y="12"/>
                      <a:pt x="29" y="12"/>
                      <a:pt x="29" y="12"/>
                    </a:cubicBezTo>
                    <a:cubicBezTo>
                      <a:pt x="29" y="11"/>
                      <a:pt x="29" y="10"/>
                      <a:pt x="29" y="9"/>
                    </a:cubicBezTo>
                    <a:cubicBezTo>
                      <a:pt x="30" y="7"/>
                      <a:pt x="30" y="7"/>
                      <a:pt x="30" y="7"/>
                    </a:cubicBezTo>
                    <a:cubicBezTo>
                      <a:pt x="30" y="6"/>
                      <a:pt x="29" y="5"/>
                      <a:pt x="28" y="5"/>
                    </a:cubicBezTo>
                    <a:cubicBezTo>
                      <a:pt x="26" y="6"/>
                      <a:pt x="26" y="6"/>
                      <a:pt x="26" y="6"/>
                    </a:cubicBezTo>
                    <a:cubicBezTo>
                      <a:pt x="25" y="5"/>
                      <a:pt x="24" y="5"/>
                      <a:pt x="24" y="4"/>
                    </a:cubicBezTo>
                    <a:cubicBezTo>
                      <a:pt x="24" y="2"/>
                      <a:pt x="24" y="2"/>
                      <a:pt x="24" y="2"/>
                    </a:cubicBezTo>
                    <a:cubicBezTo>
                      <a:pt x="23" y="1"/>
                      <a:pt x="22" y="1"/>
                      <a:pt x="21" y="0"/>
                    </a:cubicBezTo>
                    <a:cubicBezTo>
                      <a:pt x="19" y="2"/>
                      <a:pt x="19" y="2"/>
                      <a:pt x="19" y="2"/>
                    </a:cubicBezTo>
                    <a:cubicBezTo>
                      <a:pt x="19" y="2"/>
                      <a:pt x="19" y="2"/>
                      <a:pt x="18" y="2"/>
                    </a:cubicBezTo>
                    <a:cubicBezTo>
                      <a:pt x="18" y="2"/>
                      <a:pt x="17" y="2"/>
                      <a:pt x="17" y="2"/>
                    </a:cubicBezTo>
                    <a:cubicBezTo>
                      <a:pt x="16" y="0"/>
                      <a:pt x="16" y="0"/>
                      <a:pt x="16" y="0"/>
                    </a:cubicBezTo>
                    <a:cubicBezTo>
                      <a:pt x="15" y="0"/>
                      <a:pt x="14" y="0"/>
                      <a:pt x="13" y="0"/>
                    </a:cubicBezTo>
                    <a:cubicBezTo>
                      <a:pt x="12" y="3"/>
                      <a:pt x="12" y="3"/>
                      <a:pt x="12" y="3"/>
                    </a:cubicBezTo>
                    <a:cubicBezTo>
                      <a:pt x="11" y="3"/>
                      <a:pt x="11" y="3"/>
                      <a:pt x="10" y="4"/>
                    </a:cubicBezTo>
                    <a:cubicBezTo>
                      <a:pt x="8" y="2"/>
                      <a:pt x="8" y="2"/>
                      <a:pt x="8" y="2"/>
                    </a:cubicBezTo>
                    <a:cubicBezTo>
                      <a:pt x="7" y="3"/>
                      <a:pt x="6" y="3"/>
                      <a:pt x="5" y="4"/>
                    </a:cubicBezTo>
                    <a:cubicBezTo>
                      <a:pt x="6" y="7"/>
                      <a:pt x="6" y="7"/>
                      <a:pt x="6" y="7"/>
                    </a:cubicBezTo>
                    <a:cubicBezTo>
                      <a:pt x="6" y="7"/>
                      <a:pt x="5" y="8"/>
                      <a:pt x="5" y="9"/>
                    </a:cubicBezTo>
                    <a:cubicBezTo>
                      <a:pt x="2" y="8"/>
                      <a:pt x="2" y="8"/>
                      <a:pt x="2" y="8"/>
                    </a:cubicBezTo>
                    <a:cubicBezTo>
                      <a:pt x="2" y="9"/>
                      <a:pt x="1" y="10"/>
                      <a:pt x="1" y="11"/>
                    </a:cubicBezTo>
                    <a:cubicBezTo>
                      <a:pt x="3" y="13"/>
                      <a:pt x="3" y="13"/>
                      <a:pt x="3" y="13"/>
                    </a:cubicBezTo>
                    <a:cubicBezTo>
                      <a:pt x="3" y="13"/>
                      <a:pt x="3" y="14"/>
                      <a:pt x="3" y="14"/>
                    </a:cubicBezTo>
                    <a:cubicBezTo>
                      <a:pt x="3" y="15"/>
                      <a:pt x="3" y="15"/>
                      <a:pt x="3" y="15"/>
                    </a:cubicBezTo>
                    <a:cubicBezTo>
                      <a:pt x="0" y="16"/>
                      <a:pt x="0" y="16"/>
                      <a:pt x="0" y="16"/>
                    </a:cubicBezTo>
                    <a:cubicBezTo>
                      <a:pt x="0" y="17"/>
                      <a:pt x="0" y="19"/>
                      <a:pt x="1" y="20"/>
                    </a:cubicBezTo>
                    <a:cubicBezTo>
                      <a:pt x="3" y="20"/>
                      <a:pt x="3" y="20"/>
                      <a:pt x="3" y="20"/>
                    </a:cubicBezTo>
                    <a:cubicBezTo>
                      <a:pt x="4" y="21"/>
                      <a:pt x="4" y="22"/>
                      <a:pt x="4" y="22"/>
                    </a:cubicBezTo>
                    <a:cubicBezTo>
                      <a:pt x="3" y="24"/>
                      <a:pt x="3" y="24"/>
                      <a:pt x="3" y="24"/>
                    </a:cubicBezTo>
                    <a:cubicBezTo>
                      <a:pt x="3" y="25"/>
                      <a:pt x="4" y="26"/>
                      <a:pt x="5" y="27"/>
                    </a:cubicBezTo>
                    <a:cubicBezTo>
                      <a:pt x="7" y="26"/>
                      <a:pt x="7" y="26"/>
                      <a:pt x="7" y="26"/>
                    </a:cubicBezTo>
                    <a:cubicBezTo>
                      <a:pt x="8" y="27"/>
                      <a:pt x="8" y="27"/>
                      <a:pt x="9" y="27"/>
                    </a:cubicBezTo>
                    <a:cubicBezTo>
                      <a:pt x="9" y="30"/>
                      <a:pt x="9" y="30"/>
                      <a:pt x="9" y="30"/>
                    </a:cubicBezTo>
                    <a:cubicBezTo>
                      <a:pt x="10" y="31"/>
                      <a:pt x="11" y="31"/>
                      <a:pt x="12" y="31"/>
                    </a:cubicBezTo>
                    <a:cubicBezTo>
                      <a:pt x="13" y="29"/>
                      <a:pt x="13" y="29"/>
                      <a:pt x="13" y="29"/>
                    </a:cubicBezTo>
                    <a:cubicBezTo>
                      <a:pt x="14" y="29"/>
                      <a:pt x="14" y="29"/>
                      <a:pt x="15" y="29"/>
                    </a:cubicBezTo>
                    <a:cubicBezTo>
                      <a:pt x="15" y="30"/>
                      <a:pt x="15" y="30"/>
                      <a:pt x="16" y="30"/>
                    </a:cubicBezTo>
                    <a:cubicBezTo>
                      <a:pt x="17" y="32"/>
                      <a:pt x="17" y="32"/>
                      <a:pt x="17" y="32"/>
                    </a:cubicBezTo>
                    <a:cubicBezTo>
                      <a:pt x="18" y="32"/>
                      <a:pt x="19" y="32"/>
                      <a:pt x="20" y="32"/>
                    </a:cubicBezTo>
                    <a:cubicBezTo>
                      <a:pt x="21" y="29"/>
                      <a:pt x="21" y="29"/>
                      <a:pt x="21" y="29"/>
                    </a:cubicBezTo>
                    <a:cubicBezTo>
                      <a:pt x="21" y="29"/>
                      <a:pt x="22" y="28"/>
                      <a:pt x="23" y="28"/>
                    </a:cubicBezTo>
                    <a:cubicBezTo>
                      <a:pt x="25" y="30"/>
                      <a:pt x="25" y="30"/>
                      <a:pt x="25" y="30"/>
                    </a:cubicBezTo>
                    <a:cubicBezTo>
                      <a:pt x="26" y="29"/>
                      <a:pt x="27" y="28"/>
                      <a:pt x="28" y="28"/>
                    </a:cubicBezTo>
                    <a:cubicBezTo>
                      <a:pt x="27" y="25"/>
                      <a:pt x="27" y="25"/>
                      <a:pt x="27" y="25"/>
                    </a:cubicBezTo>
                    <a:cubicBezTo>
                      <a:pt x="27" y="25"/>
                      <a:pt x="28" y="24"/>
                      <a:pt x="28" y="23"/>
                    </a:cubicBezTo>
                    <a:cubicBezTo>
                      <a:pt x="31" y="24"/>
                      <a:pt x="31" y="24"/>
                      <a:pt x="31" y="24"/>
                    </a:cubicBezTo>
                    <a:cubicBezTo>
                      <a:pt x="31" y="23"/>
                      <a:pt x="32" y="22"/>
                      <a:pt x="32" y="20"/>
                    </a:cubicBezTo>
                    <a:cubicBezTo>
                      <a:pt x="30" y="19"/>
                      <a:pt x="30" y="19"/>
                      <a:pt x="30" y="19"/>
                    </a:cubicBezTo>
                    <a:cubicBezTo>
                      <a:pt x="30" y="18"/>
                      <a:pt x="30" y="18"/>
                      <a:pt x="30" y="18"/>
                    </a:cubicBezTo>
                    <a:close/>
                    <a:moveTo>
                      <a:pt x="25" y="17"/>
                    </a:moveTo>
                    <a:cubicBezTo>
                      <a:pt x="24" y="22"/>
                      <a:pt x="20" y="25"/>
                      <a:pt x="15" y="24"/>
                    </a:cubicBezTo>
                    <a:cubicBezTo>
                      <a:pt x="11" y="24"/>
                      <a:pt x="7" y="20"/>
                      <a:pt x="8" y="15"/>
                    </a:cubicBezTo>
                    <a:cubicBezTo>
                      <a:pt x="8" y="10"/>
                      <a:pt x="13" y="7"/>
                      <a:pt x="17" y="7"/>
                    </a:cubicBezTo>
                    <a:cubicBezTo>
                      <a:pt x="22" y="8"/>
                      <a:pt x="26" y="12"/>
                      <a:pt x="25" y="17"/>
                    </a:cubicBez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 name="Freeform 9"/>
              <p:cNvSpPr>
                <a:spLocks noEditPoints="1"/>
              </p:cNvSpPr>
              <p:nvPr/>
            </p:nvSpPr>
            <p:spPr bwMode="auto">
              <a:xfrm>
                <a:off x="1957" y="2868"/>
                <a:ext cx="163" cy="168"/>
              </a:xfrm>
              <a:custGeom>
                <a:avLst/>
                <a:gdLst>
                  <a:gd name="T0" fmla="*/ 30 w 32"/>
                  <a:gd name="T1" fmla="*/ 17 h 33"/>
                  <a:gd name="T2" fmla="*/ 32 w 32"/>
                  <a:gd name="T3" fmla="*/ 16 h 33"/>
                  <a:gd name="T4" fmla="*/ 32 w 32"/>
                  <a:gd name="T5" fmla="*/ 13 h 33"/>
                  <a:gd name="T6" fmla="*/ 29 w 32"/>
                  <a:gd name="T7" fmla="*/ 12 h 33"/>
                  <a:gd name="T8" fmla="*/ 28 w 32"/>
                  <a:gd name="T9" fmla="*/ 10 h 33"/>
                  <a:gd name="T10" fmla="*/ 30 w 32"/>
                  <a:gd name="T11" fmla="*/ 8 h 33"/>
                  <a:gd name="T12" fmla="*/ 27 w 32"/>
                  <a:gd name="T13" fmla="*/ 5 h 33"/>
                  <a:gd name="T14" fmla="*/ 25 w 32"/>
                  <a:gd name="T15" fmla="*/ 6 h 33"/>
                  <a:gd name="T16" fmla="*/ 23 w 32"/>
                  <a:gd name="T17" fmla="*/ 5 h 33"/>
                  <a:gd name="T18" fmla="*/ 23 w 32"/>
                  <a:gd name="T19" fmla="*/ 2 h 33"/>
                  <a:gd name="T20" fmla="*/ 20 w 32"/>
                  <a:gd name="T21" fmla="*/ 1 h 33"/>
                  <a:gd name="T22" fmla="*/ 19 w 32"/>
                  <a:gd name="T23" fmla="*/ 3 h 33"/>
                  <a:gd name="T24" fmla="*/ 18 w 32"/>
                  <a:gd name="T25" fmla="*/ 3 h 33"/>
                  <a:gd name="T26" fmla="*/ 16 w 32"/>
                  <a:gd name="T27" fmla="*/ 3 h 33"/>
                  <a:gd name="T28" fmla="*/ 15 w 32"/>
                  <a:gd name="T29" fmla="*/ 0 h 33"/>
                  <a:gd name="T30" fmla="*/ 12 w 32"/>
                  <a:gd name="T31" fmla="*/ 1 h 33"/>
                  <a:gd name="T32" fmla="*/ 12 w 32"/>
                  <a:gd name="T33" fmla="*/ 4 h 33"/>
                  <a:gd name="T34" fmla="*/ 9 w 32"/>
                  <a:gd name="T35" fmla="*/ 4 h 33"/>
                  <a:gd name="T36" fmla="*/ 7 w 32"/>
                  <a:gd name="T37" fmla="*/ 3 h 33"/>
                  <a:gd name="T38" fmla="*/ 5 w 32"/>
                  <a:gd name="T39" fmla="*/ 5 h 33"/>
                  <a:gd name="T40" fmla="*/ 6 w 32"/>
                  <a:gd name="T41" fmla="*/ 7 h 33"/>
                  <a:gd name="T42" fmla="*/ 4 w 32"/>
                  <a:gd name="T43" fmla="*/ 9 h 33"/>
                  <a:gd name="T44" fmla="*/ 2 w 32"/>
                  <a:gd name="T45" fmla="*/ 9 h 33"/>
                  <a:gd name="T46" fmla="*/ 0 w 32"/>
                  <a:gd name="T47" fmla="*/ 12 h 33"/>
                  <a:gd name="T48" fmla="*/ 2 w 32"/>
                  <a:gd name="T49" fmla="*/ 14 h 33"/>
                  <a:gd name="T50" fmla="*/ 2 w 32"/>
                  <a:gd name="T51" fmla="*/ 15 h 33"/>
                  <a:gd name="T52" fmla="*/ 2 w 32"/>
                  <a:gd name="T53" fmla="*/ 16 h 33"/>
                  <a:gd name="T54" fmla="*/ 0 w 32"/>
                  <a:gd name="T55" fmla="*/ 17 h 33"/>
                  <a:gd name="T56" fmla="*/ 0 w 32"/>
                  <a:gd name="T57" fmla="*/ 21 h 33"/>
                  <a:gd name="T58" fmla="*/ 3 w 32"/>
                  <a:gd name="T59" fmla="*/ 21 h 33"/>
                  <a:gd name="T60" fmla="*/ 4 w 32"/>
                  <a:gd name="T61" fmla="*/ 23 h 33"/>
                  <a:gd name="T62" fmla="*/ 2 w 32"/>
                  <a:gd name="T63" fmla="*/ 25 h 33"/>
                  <a:gd name="T64" fmla="*/ 4 w 32"/>
                  <a:gd name="T65" fmla="*/ 28 h 33"/>
                  <a:gd name="T66" fmla="*/ 7 w 32"/>
                  <a:gd name="T67" fmla="*/ 27 h 33"/>
                  <a:gd name="T68" fmla="*/ 9 w 32"/>
                  <a:gd name="T69" fmla="*/ 28 h 33"/>
                  <a:gd name="T70" fmla="*/ 8 w 32"/>
                  <a:gd name="T71" fmla="*/ 31 h 33"/>
                  <a:gd name="T72" fmla="*/ 11 w 32"/>
                  <a:gd name="T73" fmla="*/ 32 h 33"/>
                  <a:gd name="T74" fmla="*/ 13 w 32"/>
                  <a:gd name="T75" fmla="*/ 30 h 33"/>
                  <a:gd name="T76" fmla="*/ 14 w 32"/>
                  <a:gd name="T77" fmla="*/ 30 h 33"/>
                  <a:gd name="T78" fmla="*/ 15 w 32"/>
                  <a:gd name="T79" fmla="*/ 30 h 33"/>
                  <a:gd name="T80" fmla="*/ 16 w 32"/>
                  <a:gd name="T81" fmla="*/ 33 h 33"/>
                  <a:gd name="T82" fmla="*/ 20 w 32"/>
                  <a:gd name="T83" fmla="*/ 32 h 33"/>
                  <a:gd name="T84" fmla="*/ 20 w 32"/>
                  <a:gd name="T85" fmla="*/ 30 h 33"/>
                  <a:gd name="T86" fmla="*/ 22 w 32"/>
                  <a:gd name="T87" fmla="*/ 29 h 33"/>
                  <a:gd name="T88" fmla="*/ 24 w 32"/>
                  <a:gd name="T89" fmla="*/ 30 h 33"/>
                  <a:gd name="T90" fmla="*/ 27 w 32"/>
                  <a:gd name="T91" fmla="*/ 28 h 33"/>
                  <a:gd name="T92" fmla="*/ 26 w 32"/>
                  <a:gd name="T93" fmla="*/ 26 h 33"/>
                  <a:gd name="T94" fmla="*/ 27 w 32"/>
                  <a:gd name="T95" fmla="*/ 24 h 33"/>
                  <a:gd name="T96" fmla="*/ 30 w 32"/>
                  <a:gd name="T97" fmla="*/ 24 h 33"/>
                  <a:gd name="T98" fmla="*/ 31 w 32"/>
                  <a:gd name="T99" fmla="*/ 21 h 33"/>
                  <a:gd name="T100" fmla="*/ 29 w 32"/>
                  <a:gd name="T101" fmla="*/ 19 h 33"/>
                  <a:gd name="T102" fmla="*/ 29 w 32"/>
                  <a:gd name="T103" fmla="*/ 18 h 33"/>
                  <a:gd name="T104" fmla="*/ 30 w 32"/>
                  <a:gd name="T105" fmla="*/ 17 h 33"/>
                  <a:gd name="T106" fmla="*/ 24 w 32"/>
                  <a:gd name="T107" fmla="*/ 18 h 33"/>
                  <a:gd name="T108" fmla="*/ 15 w 32"/>
                  <a:gd name="T109" fmla="*/ 25 h 33"/>
                  <a:gd name="T110" fmla="*/ 7 w 32"/>
                  <a:gd name="T111" fmla="*/ 16 h 33"/>
                  <a:gd name="T112" fmla="*/ 17 w 32"/>
                  <a:gd name="T113" fmla="*/ 8 h 33"/>
                  <a:gd name="T114" fmla="*/ 24 w 32"/>
                  <a:gd name="T115" fmla="*/ 1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 h="33">
                    <a:moveTo>
                      <a:pt x="30" y="17"/>
                    </a:moveTo>
                    <a:cubicBezTo>
                      <a:pt x="32" y="16"/>
                      <a:pt x="32" y="16"/>
                      <a:pt x="32" y="16"/>
                    </a:cubicBezTo>
                    <a:cubicBezTo>
                      <a:pt x="32" y="15"/>
                      <a:pt x="32" y="14"/>
                      <a:pt x="32" y="13"/>
                    </a:cubicBezTo>
                    <a:cubicBezTo>
                      <a:pt x="29" y="12"/>
                      <a:pt x="29" y="12"/>
                      <a:pt x="29" y="12"/>
                    </a:cubicBezTo>
                    <a:cubicBezTo>
                      <a:pt x="29" y="12"/>
                      <a:pt x="28" y="11"/>
                      <a:pt x="28" y="10"/>
                    </a:cubicBezTo>
                    <a:cubicBezTo>
                      <a:pt x="30" y="8"/>
                      <a:pt x="30" y="8"/>
                      <a:pt x="30" y="8"/>
                    </a:cubicBezTo>
                    <a:cubicBezTo>
                      <a:pt x="29" y="7"/>
                      <a:pt x="28" y="6"/>
                      <a:pt x="27" y="5"/>
                    </a:cubicBezTo>
                    <a:cubicBezTo>
                      <a:pt x="25" y="6"/>
                      <a:pt x="25" y="6"/>
                      <a:pt x="25" y="6"/>
                    </a:cubicBezTo>
                    <a:cubicBezTo>
                      <a:pt x="24" y="6"/>
                      <a:pt x="24" y="5"/>
                      <a:pt x="23" y="5"/>
                    </a:cubicBezTo>
                    <a:cubicBezTo>
                      <a:pt x="23" y="2"/>
                      <a:pt x="23" y="2"/>
                      <a:pt x="23" y="2"/>
                    </a:cubicBezTo>
                    <a:cubicBezTo>
                      <a:pt x="22" y="2"/>
                      <a:pt x="21" y="1"/>
                      <a:pt x="20" y="1"/>
                    </a:cubicBezTo>
                    <a:cubicBezTo>
                      <a:pt x="19" y="3"/>
                      <a:pt x="19" y="3"/>
                      <a:pt x="19" y="3"/>
                    </a:cubicBezTo>
                    <a:cubicBezTo>
                      <a:pt x="18" y="3"/>
                      <a:pt x="18" y="3"/>
                      <a:pt x="18" y="3"/>
                    </a:cubicBezTo>
                    <a:cubicBezTo>
                      <a:pt x="17" y="3"/>
                      <a:pt x="17" y="3"/>
                      <a:pt x="16" y="3"/>
                    </a:cubicBezTo>
                    <a:cubicBezTo>
                      <a:pt x="15" y="0"/>
                      <a:pt x="15" y="0"/>
                      <a:pt x="15" y="0"/>
                    </a:cubicBezTo>
                    <a:cubicBezTo>
                      <a:pt x="14" y="0"/>
                      <a:pt x="13" y="1"/>
                      <a:pt x="12" y="1"/>
                    </a:cubicBezTo>
                    <a:cubicBezTo>
                      <a:pt x="12" y="4"/>
                      <a:pt x="12" y="4"/>
                      <a:pt x="12" y="4"/>
                    </a:cubicBezTo>
                    <a:cubicBezTo>
                      <a:pt x="11" y="4"/>
                      <a:pt x="10" y="4"/>
                      <a:pt x="9" y="4"/>
                    </a:cubicBezTo>
                    <a:cubicBezTo>
                      <a:pt x="7" y="3"/>
                      <a:pt x="7" y="3"/>
                      <a:pt x="7" y="3"/>
                    </a:cubicBezTo>
                    <a:cubicBezTo>
                      <a:pt x="6" y="3"/>
                      <a:pt x="5" y="4"/>
                      <a:pt x="5" y="5"/>
                    </a:cubicBezTo>
                    <a:cubicBezTo>
                      <a:pt x="6" y="7"/>
                      <a:pt x="6" y="7"/>
                      <a:pt x="6" y="7"/>
                    </a:cubicBezTo>
                    <a:cubicBezTo>
                      <a:pt x="5" y="8"/>
                      <a:pt x="5" y="9"/>
                      <a:pt x="4" y="9"/>
                    </a:cubicBezTo>
                    <a:cubicBezTo>
                      <a:pt x="2" y="9"/>
                      <a:pt x="2" y="9"/>
                      <a:pt x="2" y="9"/>
                    </a:cubicBezTo>
                    <a:cubicBezTo>
                      <a:pt x="1" y="10"/>
                      <a:pt x="1" y="11"/>
                      <a:pt x="0" y="12"/>
                    </a:cubicBezTo>
                    <a:cubicBezTo>
                      <a:pt x="2" y="14"/>
                      <a:pt x="2" y="14"/>
                      <a:pt x="2" y="14"/>
                    </a:cubicBezTo>
                    <a:cubicBezTo>
                      <a:pt x="2" y="14"/>
                      <a:pt x="2" y="14"/>
                      <a:pt x="2" y="15"/>
                    </a:cubicBezTo>
                    <a:cubicBezTo>
                      <a:pt x="2" y="15"/>
                      <a:pt x="2" y="16"/>
                      <a:pt x="2" y="16"/>
                    </a:cubicBezTo>
                    <a:cubicBezTo>
                      <a:pt x="0" y="17"/>
                      <a:pt x="0" y="17"/>
                      <a:pt x="0" y="17"/>
                    </a:cubicBezTo>
                    <a:cubicBezTo>
                      <a:pt x="0" y="18"/>
                      <a:pt x="0" y="19"/>
                      <a:pt x="0" y="21"/>
                    </a:cubicBezTo>
                    <a:cubicBezTo>
                      <a:pt x="3" y="21"/>
                      <a:pt x="3" y="21"/>
                      <a:pt x="3" y="21"/>
                    </a:cubicBezTo>
                    <a:cubicBezTo>
                      <a:pt x="3" y="22"/>
                      <a:pt x="3" y="22"/>
                      <a:pt x="4" y="23"/>
                    </a:cubicBezTo>
                    <a:cubicBezTo>
                      <a:pt x="2" y="25"/>
                      <a:pt x="2" y="25"/>
                      <a:pt x="2" y="25"/>
                    </a:cubicBezTo>
                    <a:cubicBezTo>
                      <a:pt x="3" y="26"/>
                      <a:pt x="3" y="27"/>
                      <a:pt x="4" y="28"/>
                    </a:cubicBezTo>
                    <a:cubicBezTo>
                      <a:pt x="7" y="27"/>
                      <a:pt x="7" y="27"/>
                      <a:pt x="7" y="27"/>
                    </a:cubicBezTo>
                    <a:cubicBezTo>
                      <a:pt x="7" y="27"/>
                      <a:pt x="8" y="28"/>
                      <a:pt x="9" y="28"/>
                    </a:cubicBezTo>
                    <a:cubicBezTo>
                      <a:pt x="8" y="31"/>
                      <a:pt x="8" y="31"/>
                      <a:pt x="8" y="31"/>
                    </a:cubicBezTo>
                    <a:cubicBezTo>
                      <a:pt x="9" y="31"/>
                      <a:pt x="10" y="32"/>
                      <a:pt x="11" y="32"/>
                    </a:cubicBezTo>
                    <a:cubicBezTo>
                      <a:pt x="13" y="30"/>
                      <a:pt x="13" y="30"/>
                      <a:pt x="13" y="30"/>
                    </a:cubicBezTo>
                    <a:cubicBezTo>
                      <a:pt x="13" y="30"/>
                      <a:pt x="14" y="30"/>
                      <a:pt x="14" y="30"/>
                    </a:cubicBezTo>
                    <a:cubicBezTo>
                      <a:pt x="15" y="30"/>
                      <a:pt x="15" y="30"/>
                      <a:pt x="15" y="30"/>
                    </a:cubicBezTo>
                    <a:cubicBezTo>
                      <a:pt x="16" y="33"/>
                      <a:pt x="16" y="33"/>
                      <a:pt x="16" y="33"/>
                    </a:cubicBezTo>
                    <a:cubicBezTo>
                      <a:pt x="18" y="33"/>
                      <a:pt x="19" y="33"/>
                      <a:pt x="20" y="32"/>
                    </a:cubicBezTo>
                    <a:cubicBezTo>
                      <a:pt x="20" y="30"/>
                      <a:pt x="20" y="30"/>
                      <a:pt x="20" y="30"/>
                    </a:cubicBezTo>
                    <a:cubicBezTo>
                      <a:pt x="21" y="29"/>
                      <a:pt x="22" y="29"/>
                      <a:pt x="22" y="29"/>
                    </a:cubicBezTo>
                    <a:cubicBezTo>
                      <a:pt x="24" y="30"/>
                      <a:pt x="24" y="30"/>
                      <a:pt x="24" y="30"/>
                    </a:cubicBezTo>
                    <a:cubicBezTo>
                      <a:pt x="25" y="30"/>
                      <a:pt x="26" y="29"/>
                      <a:pt x="27" y="28"/>
                    </a:cubicBezTo>
                    <a:cubicBezTo>
                      <a:pt x="26" y="26"/>
                      <a:pt x="26" y="26"/>
                      <a:pt x="26" y="26"/>
                    </a:cubicBezTo>
                    <a:cubicBezTo>
                      <a:pt x="27" y="25"/>
                      <a:pt x="27" y="25"/>
                      <a:pt x="27" y="24"/>
                    </a:cubicBezTo>
                    <a:cubicBezTo>
                      <a:pt x="30" y="24"/>
                      <a:pt x="30" y="24"/>
                      <a:pt x="30" y="24"/>
                    </a:cubicBezTo>
                    <a:cubicBezTo>
                      <a:pt x="31" y="23"/>
                      <a:pt x="31" y="22"/>
                      <a:pt x="31" y="21"/>
                    </a:cubicBezTo>
                    <a:cubicBezTo>
                      <a:pt x="29" y="19"/>
                      <a:pt x="29" y="19"/>
                      <a:pt x="29" y="19"/>
                    </a:cubicBezTo>
                    <a:cubicBezTo>
                      <a:pt x="29" y="19"/>
                      <a:pt x="29" y="19"/>
                      <a:pt x="29" y="18"/>
                    </a:cubicBezTo>
                    <a:cubicBezTo>
                      <a:pt x="29" y="18"/>
                      <a:pt x="30" y="17"/>
                      <a:pt x="30" y="17"/>
                    </a:cubicBezTo>
                    <a:close/>
                    <a:moveTo>
                      <a:pt x="24" y="18"/>
                    </a:moveTo>
                    <a:cubicBezTo>
                      <a:pt x="24" y="22"/>
                      <a:pt x="20" y="26"/>
                      <a:pt x="15" y="25"/>
                    </a:cubicBezTo>
                    <a:cubicBezTo>
                      <a:pt x="10" y="25"/>
                      <a:pt x="7" y="20"/>
                      <a:pt x="7" y="16"/>
                    </a:cubicBezTo>
                    <a:cubicBezTo>
                      <a:pt x="8" y="11"/>
                      <a:pt x="12" y="7"/>
                      <a:pt x="17" y="8"/>
                    </a:cubicBezTo>
                    <a:cubicBezTo>
                      <a:pt x="22" y="9"/>
                      <a:pt x="25" y="13"/>
                      <a:pt x="24" y="18"/>
                    </a:cubicBez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41" name="Group 40"/>
          <p:cNvGrpSpPr/>
          <p:nvPr/>
        </p:nvGrpSpPr>
        <p:grpSpPr>
          <a:xfrm>
            <a:off x="6978645" y="1208244"/>
            <a:ext cx="3357560" cy="4934176"/>
            <a:chOff x="6841566" y="1184660"/>
            <a:chExt cx="3292024" cy="4837867"/>
          </a:xfrm>
        </p:grpSpPr>
        <p:sp>
          <p:nvSpPr>
            <p:cNvPr id="22" name="Rectangle 21"/>
            <p:cNvSpPr/>
            <p:nvPr/>
          </p:nvSpPr>
          <p:spPr>
            <a:xfrm>
              <a:off x="6901422" y="1184660"/>
              <a:ext cx="3232168" cy="4837867"/>
            </a:xfrm>
            <a:prstGeom prst="rect">
              <a:avLst/>
            </a:prstGeom>
            <a:solidFill>
              <a:srgbClr val="E31A2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 name="Rectangle 27"/>
            <p:cNvSpPr/>
            <p:nvPr/>
          </p:nvSpPr>
          <p:spPr>
            <a:xfrm>
              <a:off x="6841566" y="4400913"/>
              <a:ext cx="3232168" cy="1096839"/>
            </a:xfrm>
            <a:prstGeom prst="rect">
              <a:avLst/>
            </a:prstGeom>
          </p:spPr>
          <p:txBody>
            <a:bodyPr wrap="square">
              <a:sp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r>
                <a:rPr kumimoji="0" lang="en-US" sz="183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ing 5 Million Users</a:t>
              </a:r>
            </a:p>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0" rtl="0" eaLnBrk="1" fontAlgn="base" latinLnBrk="0" hangingPunct="1">
                <a:lnSpc>
                  <a:spcPct val="100000"/>
                </a:lnSpc>
                <a:spcBef>
                  <a:spcPct val="0"/>
                </a:spcBef>
                <a:spcAft>
                  <a:spcPct val="0"/>
                </a:spcAft>
                <a:buClrTx/>
                <a:buSzTx/>
                <a:buFontTx/>
                <a:buNone/>
                <a:tabLst/>
                <a:defRPr/>
              </a:pPr>
              <a:r>
                <a:rPr kumimoji="0" lang="en-US" sz="285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 million 2016</a:t>
              </a:r>
            </a:p>
          </p:txBody>
        </p:sp>
        <p:grpSp>
          <p:nvGrpSpPr>
            <p:cNvPr id="14" name="Group 8"/>
            <p:cNvGrpSpPr>
              <a:grpSpLocks noChangeAspect="1"/>
            </p:cNvGrpSpPr>
            <p:nvPr/>
          </p:nvGrpSpPr>
          <p:grpSpPr bwMode="auto">
            <a:xfrm>
              <a:off x="7362671" y="2722238"/>
              <a:ext cx="2287588" cy="1382713"/>
              <a:chOff x="4532" y="1696"/>
              <a:chExt cx="1441" cy="871"/>
            </a:xfrm>
          </p:grpSpPr>
          <p:sp>
            <p:nvSpPr>
              <p:cNvPr id="15" name="AutoShape 7"/>
              <p:cNvSpPr>
                <a:spLocks noChangeAspect="1" noChangeArrowheads="1" noTextEdit="1"/>
              </p:cNvSpPr>
              <p:nvPr/>
            </p:nvSpPr>
            <p:spPr bwMode="auto">
              <a:xfrm>
                <a:off x="4544" y="1696"/>
                <a:ext cx="1423" cy="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 name="Oval 9"/>
              <p:cNvSpPr>
                <a:spLocks noChangeArrowheads="1"/>
              </p:cNvSpPr>
              <p:nvPr/>
            </p:nvSpPr>
            <p:spPr bwMode="auto">
              <a:xfrm>
                <a:off x="5134" y="1696"/>
                <a:ext cx="238" cy="2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 name="Freeform 10"/>
              <p:cNvSpPr>
                <a:spLocks/>
              </p:cNvSpPr>
              <p:nvPr/>
            </p:nvSpPr>
            <p:spPr bwMode="auto">
              <a:xfrm>
                <a:off x="5031" y="1975"/>
                <a:ext cx="447" cy="592"/>
              </a:xfrm>
              <a:custGeom>
                <a:avLst/>
                <a:gdLst>
                  <a:gd name="T0" fmla="*/ 816 w 949"/>
                  <a:gd name="T1" fmla="*/ 0 h 1258"/>
                  <a:gd name="T2" fmla="*/ 133 w 949"/>
                  <a:gd name="T3" fmla="*/ 0 h 1258"/>
                  <a:gd name="T4" fmla="*/ 0 w 949"/>
                  <a:gd name="T5" fmla="*/ 133 h 1258"/>
                  <a:gd name="T6" fmla="*/ 0 w 949"/>
                  <a:gd name="T7" fmla="*/ 596 h 1258"/>
                  <a:gd name="T8" fmla="*/ 133 w 949"/>
                  <a:gd name="T9" fmla="*/ 729 h 1258"/>
                  <a:gd name="T10" fmla="*/ 223 w 949"/>
                  <a:gd name="T11" fmla="*/ 729 h 1258"/>
                  <a:gd name="T12" fmla="*/ 223 w 949"/>
                  <a:gd name="T13" fmla="*/ 1125 h 1258"/>
                  <a:gd name="T14" fmla="*/ 356 w 949"/>
                  <a:gd name="T15" fmla="*/ 1258 h 1258"/>
                  <a:gd name="T16" fmla="*/ 591 w 949"/>
                  <a:gd name="T17" fmla="*/ 1258 h 1258"/>
                  <a:gd name="T18" fmla="*/ 724 w 949"/>
                  <a:gd name="T19" fmla="*/ 1125 h 1258"/>
                  <a:gd name="T20" fmla="*/ 724 w 949"/>
                  <a:gd name="T21" fmla="*/ 729 h 1258"/>
                  <a:gd name="T22" fmla="*/ 816 w 949"/>
                  <a:gd name="T23" fmla="*/ 729 h 1258"/>
                  <a:gd name="T24" fmla="*/ 949 w 949"/>
                  <a:gd name="T25" fmla="*/ 596 h 1258"/>
                  <a:gd name="T26" fmla="*/ 949 w 949"/>
                  <a:gd name="T27" fmla="*/ 133 h 1258"/>
                  <a:gd name="T28" fmla="*/ 816 w 949"/>
                  <a:gd name="T29" fmla="*/ 0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9" h="1258">
                    <a:moveTo>
                      <a:pt x="816" y="0"/>
                    </a:moveTo>
                    <a:cubicBezTo>
                      <a:pt x="133" y="0"/>
                      <a:pt x="133" y="0"/>
                      <a:pt x="133" y="0"/>
                    </a:cubicBezTo>
                    <a:cubicBezTo>
                      <a:pt x="59" y="0"/>
                      <a:pt x="0" y="60"/>
                      <a:pt x="0" y="133"/>
                    </a:cubicBezTo>
                    <a:cubicBezTo>
                      <a:pt x="0" y="596"/>
                      <a:pt x="0" y="596"/>
                      <a:pt x="0" y="596"/>
                    </a:cubicBezTo>
                    <a:cubicBezTo>
                      <a:pt x="0" y="670"/>
                      <a:pt x="59" y="729"/>
                      <a:pt x="133" y="729"/>
                    </a:cubicBezTo>
                    <a:cubicBezTo>
                      <a:pt x="223" y="729"/>
                      <a:pt x="223" y="729"/>
                      <a:pt x="223" y="729"/>
                    </a:cubicBezTo>
                    <a:cubicBezTo>
                      <a:pt x="223" y="1125"/>
                      <a:pt x="223" y="1125"/>
                      <a:pt x="223" y="1125"/>
                    </a:cubicBezTo>
                    <a:cubicBezTo>
                      <a:pt x="223" y="1199"/>
                      <a:pt x="282" y="1258"/>
                      <a:pt x="356" y="1258"/>
                    </a:cubicBezTo>
                    <a:cubicBezTo>
                      <a:pt x="591" y="1258"/>
                      <a:pt x="591" y="1258"/>
                      <a:pt x="591" y="1258"/>
                    </a:cubicBezTo>
                    <a:cubicBezTo>
                      <a:pt x="664" y="1258"/>
                      <a:pt x="724" y="1199"/>
                      <a:pt x="724" y="1125"/>
                    </a:cubicBezTo>
                    <a:cubicBezTo>
                      <a:pt x="724" y="729"/>
                      <a:pt x="724" y="729"/>
                      <a:pt x="724" y="729"/>
                    </a:cubicBezTo>
                    <a:cubicBezTo>
                      <a:pt x="816" y="729"/>
                      <a:pt x="816" y="729"/>
                      <a:pt x="816" y="729"/>
                    </a:cubicBezTo>
                    <a:cubicBezTo>
                      <a:pt x="890" y="729"/>
                      <a:pt x="949" y="670"/>
                      <a:pt x="949" y="596"/>
                    </a:cubicBezTo>
                    <a:cubicBezTo>
                      <a:pt x="949" y="133"/>
                      <a:pt x="949" y="133"/>
                      <a:pt x="949" y="133"/>
                    </a:cubicBezTo>
                    <a:cubicBezTo>
                      <a:pt x="949" y="60"/>
                      <a:pt x="890" y="0"/>
                      <a:pt x="8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 name="Oval 11"/>
              <p:cNvSpPr>
                <a:spLocks noChangeArrowheads="1"/>
              </p:cNvSpPr>
              <p:nvPr/>
            </p:nvSpPr>
            <p:spPr bwMode="auto">
              <a:xfrm>
                <a:off x="5428" y="1766"/>
                <a:ext cx="201" cy="20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 name="Freeform 12"/>
              <p:cNvSpPr>
                <a:spLocks/>
              </p:cNvSpPr>
              <p:nvPr/>
            </p:nvSpPr>
            <p:spPr bwMode="auto">
              <a:xfrm>
                <a:off x="5430" y="2000"/>
                <a:ext cx="288" cy="497"/>
              </a:xfrm>
              <a:custGeom>
                <a:avLst/>
                <a:gdLst>
                  <a:gd name="T0" fmla="*/ 498 w 610"/>
                  <a:gd name="T1" fmla="*/ 0 h 1055"/>
                  <a:gd name="T2" fmla="*/ 167 w 610"/>
                  <a:gd name="T3" fmla="*/ 0 h 1055"/>
                  <a:gd name="T4" fmla="*/ 208 w 610"/>
                  <a:gd name="T5" fmla="*/ 129 h 1055"/>
                  <a:gd name="T6" fmla="*/ 208 w 610"/>
                  <a:gd name="T7" fmla="*/ 570 h 1055"/>
                  <a:gd name="T8" fmla="*/ 0 w 610"/>
                  <a:gd name="T9" fmla="*/ 792 h 1055"/>
                  <a:gd name="T10" fmla="*/ 0 w 610"/>
                  <a:gd name="T11" fmla="*/ 943 h 1055"/>
                  <a:gd name="T12" fmla="*/ 112 w 610"/>
                  <a:gd name="T13" fmla="*/ 1055 h 1055"/>
                  <a:gd name="T14" fmla="*/ 309 w 610"/>
                  <a:gd name="T15" fmla="*/ 1055 h 1055"/>
                  <a:gd name="T16" fmla="*/ 421 w 610"/>
                  <a:gd name="T17" fmla="*/ 943 h 1055"/>
                  <a:gd name="T18" fmla="*/ 421 w 610"/>
                  <a:gd name="T19" fmla="*/ 611 h 1055"/>
                  <a:gd name="T20" fmla="*/ 498 w 610"/>
                  <a:gd name="T21" fmla="*/ 611 h 1055"/>
                  <a:gd name="T22" fmla="*/ 610 w 610"/>
                  <a:gd name="T23" fmla="*/ 500 h 1055"/>
                  <a:gd name="T24" fmla="*/ 610 w 610"/>
                  <a:gd name="T25" fmla="*/ 111 h 1055"/>
                  <a:gd name="T26" fmla="*/ 498 w 610"/>
                  <a:gd name="T27" fmla="*/ 0 h 1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0" h="1055">
                    <a:moveTo>
                      <a:pt x="498" y="0"/>
                    </a:moveTo>
                    <a:cubicBezTo>
                      <a:pt x="167" y="0"/>
                      <a:pt x="167" y="0"/>
                      <a:pt x="167" y="0"/>
                    </a:cubicBezTo>
                    <a:cubicBezTo>
                      <a:pt x="193" y="36"/>
                      <a:pt x="208" y="81"/>
                      <a:pt x="208" y="129"/>
                    </a:cubicBezTo>
                    <a:cubicBezTo>
                      <a:pt x="208" y="570"/>
                      <a:pt x="208" y="570"/>
                      <a:pt x="208" y="570"/>
                    </a:cubicBezTo>
                    <a:cubicBezTo>
                      <a:pt x="208" y="688"/>
                      <a:pt x="116" y="785"/>
                      <a:pt x="0" y="792"/>
                    </a:cubicBezTo>
                    <a:cubicBezTo>
                      <a:pt x="0" y="943"/>
                      <a:pt x="0" y="943"/>
                      <a:pt x="0" y="943"/>
                    </a:cubicBezTo>
                    <a:cubicBezTo>
                      <a:pt x="0" y="1005"/>
                      <a:pt x="50" y="1055"/>
                      <a:pt x="112" y="1055"/>
                    </a:cubicBezTo>
                    <a:cubicBezTo>
                      <a:pt x="309" y="1055"/>
                      <a:pt x="309" y="1055"/>
                      <a:pt x="309" y="1055"/>
                    </a:cubicBezTo>
                    <a:cubicBezTo>
                      <a:pt x="371" y="1055"/>
                      <a:pt x="421" y="1005"/>
                      <a:pt x="421" y="943"/>
                    </a:cubicBezTo>
                    <a:cubicBezTo>
                      <a:pt x="421" y="611"/>
                      <a:pt x="421" y="611"/>
                      <a:pt x="421" y="611"/>
                    </a:cubicBezTo>
                    <a:cubicBezTo>
                      <a:pt x="498" y="611"/>
                      <a:pt x="498" y="611"/>
                      <a:pt x="498" y="611"/>
                    </a:cubicBezTo>
                    <a:cubicBezTo>
                      <a:pt x="560" y="611"/>
                      <a:pt x="610" y="561"/>
                      <a:pt x="610" y="500"/>
                    </a:cubicBezTo>
                    <a:cubicBezTo>
                      <a:pt x="610" y="111"/>
                      <a:pt x="610" y="111"/>
                      <a:pt x="610" y="111"/>
                    </a:cubicBezTo>
                    <a:cubicBezTo>
                      <a:pt x="610" y="49"/>
                      <a:pt x="560" y="0"/>
                      <a:pt x="49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 name="Oval 13"/>
              <p:cNvSpPr>
                <a:spLocks noChangeArrowheads="1"/>
              </p:cNvSpPr>
              <p:nvPr/>
            </p:nvSpPr>
            <p:spPr bwMode="auto">
              <a:xfrm>
                <a:off x="4875" y="1765"/>
                <a:ext cx="200" cy="2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3" name="Freeform 14"/>
              <p:cNvSpPr>
                <a:spLocks/>
              </p:cNvSpPr>
              <p:nvPr/>
            </p:nvSpPr>
            <p:spPr bwMode="auto">
              <a:xfrm>
                <a:off x="4786" y="1998"/>
                <a:ext cx="287" cy="497"/>
              </a:xfrm>
              <a:custGeom>
                <a:avLst/>
                <a:gdLst>
                  <a:gd name="T0" fmla="*/ 112 w 610"/>
                  <a:gd name="T1" fmla="*/ 0 h 1055"/>
                  <a:gd name="T2" fmla="*/ 443 w 610"/>
                  <a:gd name="T3" fmla="*/ 0 h 1055"/>
                  <a:gd name="T4" fmla="*/ 402 w 610"/>
                  <a:gd name="T5" fmla="*/ 129 h 1055"/>
                  <a:gd name="T6" fmla="*/ 402 w 610"/>
                  <a:gd name="T7" fmla="*/ 570 h 1055"/>
                  <a:gd name="T8" fmla="*/ 610 w 610"/>
                  <a:gd name="T9" fmla="*/ 792 h 1055"/>
                  <a:gd name="T10" fmla="*/ 610 w 610"/>
                  <a:gd name="T11" fmla="*/ 944 h 1055"/>
                  <a:gd name="T12" fmla="*/ 498 w 610"/>
                  <a:gd name="T13" fmla="*/ 1055 h 1055"/>
                  <a:gd name="T14" fmla="*/ 301 w 610"/>
                  <a:gd name="T15" fmla="*/ 1055 h 1055"/>
                  <a:gd name="T16" fmla="*/ 189 w 610"/>
                  <a:gd name="T17" fmla="*/ 944 h 1055"/>
                  <a:gd name="T18" fmla="*/ 189 w 610"/>
                  <a:gd name="T19" fmla="*/ 611 h 1055"/>
                  <a:gd name="T20" fmla="*/ 112 w 610"/>
                  <a:gd name="T21" fmla="*/ 611 h 1055"/>
                  <a:gd name="T22" fmla="*/ 0 w 610"/>
                  <a:gd name="T23" fmla="*/ 500 h 1055"/>
                  <a:gd name="T24" fmla="*/ 0 w 610"/>
                  <a:gd name="T25" fmla="*/ 111 h 1055"/>
                  <a:gd name="T26" fmla="*/ 112 w 610"/>
                  <a:gd name="T27" fmla="*/ 0 h 1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0" h="1055">
                    <a:moveTo>
                      <a:pt x="112" y="0"/>
                    </a:moveTo>
                    <a:cubicBezTo>
                      <a:pt x="443" y="0"/>
                      <a:pt x="443" y="0"/>
                      <a:pt x="443" y="0"/>
                    </a:cubicBezTo>
                    <a:cubicBezTo>
                      <a:pt x="417" y="36"/>
                      <a:pt x="402" y="81"/>
                      <a:pt x="402" y="129"/>
                    </a:cubicBezTo>
                    <a:cubicBezTo>
                      <a:pt x="402" y="570"/>
                      <a:pt x="402" y="570"/>
                      <a:pt x="402" y="570"/>
                    </a:cubicBezTo>
                    <a:cubicBezTo>
                      <a:pt x="402" y="689"/>
                      <a:pt x="493" y="785"/>
                      <a:pt x="610" y="792"/>
                    </a:cubicBezTo>
                    <a:cubicBezTo>
                      <a:pt x="610" y="944"/>
                      <a:pt x="610" y="944"/>
                      <a:pt x="610" y="944"/>
                    </a:cubicBezTo>
                    <a:cubicBezTo>
                      <a:pt x="610" y="1005"/>
                      <a:pt x="560" y="1055"/>
                      <a:pt x="498" y="1055"/>
                    </a:cubicBezTo>
                    <a:cubicBezTo>
                      <a:pt x="301" y="1055"/>
                      <a:pt x="301" y="1055"/>
                      <a:pt x="301" y="1055"/>
                    </a:cubicBezTo>
                    <a:cubicBezTo>
                      <a:pt x="239" y="1055"/>
                      <a:pt x="189" y="1005"/>
                      <a:pt x="189" y="944"/>
                    </a:cubicBezTo>
                    <a:cubicBezTo>
                      <a:pt x="189" y="611"/>
                      <a:pt x="189" y="611"/>
                      <a:pt x="189" y="611"/>
                    </a:cubicBezTo>
                    <a:cubicBezTo>
                      <a:pt x="112" y="611"/>
                      <a:pt x="112" y="611"/>
                      <a:pt x="112" y="611"/>
                    </a:cubicBezTo>
                    <a:cubicBezTo>
                      <a:pt x="50" y="611"/>
                      <a:pt x="0" y="561"/>
                      <a:pt x="0" y="500"/>
                    </a:cubicBezTo>
                    <a:cubicBezTo>
                      <a:pt x="0" y="111"/>
                      <a:pt x="0" y="111"/>
                      <a:pt x="0" y="111"/>
                    </a:cubicBezTo>
                    <a:cubicBezTo>
                      <a:pt x="0" y="50"/>
                      <a:pt x="50" y="0"/>
                      <a:pt x="11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 name="Oval 15"/>
              <p:cNvSpPr>
                <a:spLocks noChangeArrowheads="1"/>
              </p:cNvSpPr>
              <p:nvPr/>
            </p:nvSpPr>
            <p:spPr bwMode="auto">
              <a:xfrm>
                <a:off x="5736" y="1834"/>
                <a:ext cx="164" cy="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 name="Freeform 16"/>
              <p:cNvSpPr>
                <a:spLocks/>
              </p:cNvSpPr>
              <p:nvPr/>
            </p:nvSpPr>
            <p:spPr bwMode="auto">
              <a:xfrm>
                <a:off x="5738" y="2024"/>
                <a:ext cx="235" cy="407"/>
              </a:xfrm>
              <a:custGeom>
                <a:avLst/>
                <a:gdLst>
                  <a:gd name="T0" fmla="*/ 407 w 498"/>
                  <a:gd name="T1" fmla="*/ 0 h 863"/>
                  <a:gd name="T2" fmla="*/ 42 w 498"/>
                  <a:gd name="T3" fmla="*/ 0 h 863"/>
                  <a:gd name="T4" fmla="*/ 58 w 498"/>
                  <a:gd name="T5" fmla="*/ 77 h 863"/>
                  <a:gd name="T6" fmla="*/ 58 w 498"/>
                  <a:gd name="T7" fmla="*/ 429 h 863"/>
                  <a:gd name="T8" fmla="*/ 0 w 498"/>
                  <a:gd name="T9" fmla="*/ 570 h 863"/>
                  <a:gd name="T10" fmla="*/ 0 w 498"/>
                  <a:gd name="T11" fmla="*/ 771 h 863"/>
                  <a:gd name="T12" fmla="*/ 91 w 498"/>
                  <a:gd name="T13" fmla="*/ 863 h 863"/>
                  <a:gd name="T14" fmla="*/ 252 w 498"/>
                  <a:gd name="T15" fmla="*/ 863 h 863"/>
                  <a:gd name="T16" fmla="*/ 343 w 498"/>
                  <a:gd name="T17" fmla="*/ 771 h 863"/>
                  <a:gd name="T18" fmla="*/ 343 w 498"/>
                  <a:gd name="T19" fmla="*/ 500 h 863"/>
                  <a:gd name="T20" fmla="*/ 407 w 498"/>
                  <a:gd name="T21" fmla="*/ 500 h 863"/>
                  <a:gd name="T22" fmla="*/ 498 w 498"/>
                  <a:gd name="T23" fmla="*/ 409 h 863"/>
                  <a:gd name="T24" fmla="*/ 498 w 498"/>
                  <a:gd name="T25" fmla="*/ 91 h 863"/>
                  <a:gd name="T26" fmla="*/ 407 w 498"/>
                  <a:gd name="T27" fmla="*/ 0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8" h="863">
                    <a:moveTo>
                      <a:pt x="407" y="0"/>
                    </a:moveTo>
                    <a:cubicBezTo>
                      <a:pt x="42" y="0"/>
                      <a:pt x="42" y="0"/>
                      <a:pt x="42" y="0"/>
                    </a:cubicBezTo>
                    <a:cubicBezTo>
                      <a:pt x="52" y="24"/>
                      <a:pt x="58" y="50"/>
                      <a:pt x="58" y="77"/>
                    </a:cubicBezTo>
                    <a:cubicBezTo>
                      <a:pt x="58" y="429"/>
                      <a:pt x="58" y="429"/>
                      <a:pt x="58" y="429"/>
                    </a:cubicBezTo>
                    <a:cubicBezTo>
                      <a:pt x="58" y="484"/>
                      <a:pt x="36" y="534"/>
                      <a:pt x="0" y="570"/>
                    </a:cubicBezTo>
                    <a:cubicBezTo>
                      <a:pt x="0" y="771"/>
                      <a:pt x="0" y="771"/>
                      <a:pt x="0" y="771"/>
                    </a:cubicBezTo>
                    <a:cubicBezTo>
                      <a:pt x="0" y="822"/>
                      <a:pt x="41" y="863"/>
                      <a:pt x="91" y="863"/>
                    </a:cubicBezTo>
                    <a:cubicBezTo>
                      <a:pt x="252" y="863"/>
                      <a:pt x="252" y="863"/>
                      <a:pt x="252" y="863"/>
                    </a:cubicBezTo>
                    <a:cubicBezTo>
                      <a:pt x="303" y="863"/>
                      <a:pt x="343" y="822"/>
                      <a:pt x="343" y="771"/>
                    </a:cubicBezTo>
                    <a:cubicBezTo>
                      <a:pt x="343" y="500"/>
                      <a:pt x="343" y="500"/>
                      <a:pt x="343" y="500"/>
                    </a:cubicBezTo>
                    <a:cubicBezTo>
                      <a:pt x="407" y="500"/>
                      <a:pt x="407" y="500"/>
                      <a:pt x="407" y="500"/>
                    </a:cubicBezTo>
                    <a:cubicBezTo>
                      <a:pt x="457" y="500"/>
                      <a:pt x="498" y="459"/>
                      <a:pt x="498" y="409"/>
                    </a:cubicBezTo>
                    <a:cubicBezTo>
                      <a:pt x="498" y="91"/>
                      <a:pt x="498" y="91"/>
                      <a:pt x="498" y="91"/>
                    </a:cubicBezTo>
                    <a:cubicBezTo>
                      <a:pt x="498" y="41"/>
                      <a:pt x="457" y="0"/>
                      <a:pt x="40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 name="Oval 17"/>
              <p:cNvSpPr>
                <a:spLocks noChangeArrowheads="1"/>
              </p:cNvSpPr>
              <p:nvPr/>
            </p:nvSpPr>
            <p:spPr bwMode="auto">
              <a:xfrm>
                <a:off x="4605" y="1834"/>
                <a:ext cx="163" cy="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 name="Freeform 18"/>
              <p:cNvSpPr>
                <a:spLocks/>
              </p:cNvSpPr>
              <p:nvPr/>
            </p:nvSpPr>
            <p:spPr bwMode="auto">
              <a:xfrm>
                <a:off x="4532" y="2024"/>
                <a:ext cx="235" cy="407"/>
              </a:xfrm>
              <a:custGeom>
                <a:avLst/>
                <a:gdLst>
                  <a:gd name="T0" fmla="*/ 91 w 498"/>
                  <a:gd name="T1" fmla="*/ 0 h 863"/>
                  <a:gd name="T2" fmla="*/ 455 w 498"/>
                  <a:gd name="T3" fmla="*/ 0 h 863"/>
                  <a:gd name="T4" fmla="*/ 440 w 498"/>
                  <a:gd name="T5" fmla="*/ 77 h 863"/>
                  <a:gd name="T6" fmla="*/ 440 w 498"/>
                  <a:gd name="T7" fmla="*/ 429 h 863"/>
                  <a:gd name="T8" fmla="*/ 498 w 498"/>
                  <a:gd name="T9" fmla="*/ 570 h 863"/>
                  <a:gd name="T10" fmla="*/ 498 w 498"/>
                  <a:gd name="T11" fmla="*/ 771 h 863"/>
                  <a:gd name="T12" fmla="*/ 407 w 498"/>
                  <a:gd name="T13" fmla="*/ 863 h 863"/>
                  <a:gd name="T14" fmla="*/ 245 w 498"/>
                  <a:gd name="T15" fmla="*/ 863 h 863"/>
                  <a:gd name="T16" fmla="*/ 154 w 498"/>
                  <a:gd name="T17" fmla="*/ 771 h 863"/>
                  <a:gd name="T18" fmla="*/ 154 w 498"/>
                  <a:gd name="T19" fmla="*/ 500 h 863"/>
                  <a:gd name="T20" fmla="*/ 91 w 498"/>
                  <a:gd name="T21" fmla="*/ 500 h 863"/>
                  <a:gd name="T22" fmla="*/ 0 w 498"/>
                  <a:gd name="T23" fmla="*/ 409 h 863"/>
                  <a:gd name="T24" fmla="*/ 0 w 498"/>
                  <a:gd name="T25" fmla="*/ 91 h 863"/>
                  <a:gd name="T26" fmla="*/ 91 w 498"/>
                  <a:gd name="T27" fmla="*/ 0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8" h="863">
                    <a:moveTo>
                      <a:pt x="91" y="0"/>
                    </a:moveTo>
                    <a:cubicBezTo>
                      <a:pt x="455" y="0"/>
                      <a:pt x="455" y="0"/>
                      <a:pt x="455" y="0"/>
                    </a:cubicBezTo>
                    <a:cubicBezTo>
                      <a:pt x="445" y="24"/>
                      <a:pt x="440" y="50"/>
                      <a:pt x="440" y="77"/>
                    </a:cubicBezTo>
                    <a:cubicBezTo>
                      <a:pt x="440" y="429"/>
                      <a:pt x="440" y="429"/>
                      <a:pt x="440" y="429"/>
                    </a:cubicBezTo>
                    <a:cubicBezTo>
                      <a:pt x="440" y="484"/>
                      <a:pt x="462" y="534"/>
                      <a:pt x="498" y="570"/>
                    </a:cubicBezTo>
                    <a:cubicBezTo>
                      <a:pt x="498" y="771"/>
                      <a:pt x="498" y="771"/>
                      <a:pt x="498" y="771"/>
                    </a:cubicBezTo>
                    <a:cubicBezTo>
                      <a:pt x="498" y="822"/>
                      <a:pt x="457" y="863"/>
                      <a:pt x="407" y="863"/>
                    </a:cubicBezTo>
                    <a:cubicBezTo>
                      <a:pt x="245" y="863"/>
                      <a:pt x="245" y="863"/>
                      <a:pt x="245" y="863"/>
                    </a:cubicBezTo>
                    <a:cubicBezTo>
                      <a:pt x="195" y="863"/>
                      <a:pt x="154" y="822"/>
                      <a:pt x="154" y="771"/>
                    </a:cubicBezTo>
                    <a:cubicBezTo>
                      <a:pt x="154" y="500"/>
                      <a:pt x="154" y="500"/>
                      <a:pt x="154" y="500"/>
                    </a:cubicBezTo>
                    <a:cubicBezTo>
                      <a:pt x="91" y="500"/>
                      <a:pt x="91" y="500"/>
                      <a:pt x="91" y="500"/>
                    </a:cubicBezTo>
                    <a:cubicBezTo>
                      <a:pt x="41" y="500"/>
                      <a:pt x="0" y="459"/>
                      <a:pt x="0" y="409"/>
                    </a:cubicBezTo>
                    <a:cubicBezTo>
                      <a:pt x="0" y="91"/>
                      <a:pt x="0" y="91"/>
                      <a:pt x="0" y="91"/>
                    </a:cubicBezTo>
                    <a:cubicBezTo>
                      <a:pt x="0" y="41"/>
                      <a:pt x="41" y="0"/>
                      <a:pt x="9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43" name="Group 42"/>
          <p:cNvGrpSpPr/>
          <p:nvPr/>
        </p:nvGrpSpPr>
        <p:grpSpPr>
          <a:xfrm>
            <a:off x="4569557" y="3493828"/>
            <a:ext cx="2354781" cy="2648592"/>
            <a:chOff x="4479501" y="3425632"/>
            <a:chExt cx="2308818" cy="2596895"/>
          </a:xfrm>
        </p:grpSpPr>
        <p:sp>
          <p:nvSpPr>
            <p:cNvPr id="46" name="Rectangle 45"/>
            <p:cNvSpPr/>
            <p:nvPr/>
          </p:nvSpPr>
          <p:spPr>
            <a:xfrm>
              <a:off x="4479501" y="3425632"/>
              <a:ext cx="2308818" cy="2596895"/>
            </a:xfrm>
            <a:prstGeom prst="rect">
              <a:avLst/>
            </a:prstGeom>
            <a:solidFill>
              <a:srgbClr val="7F7F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 name="Rectangle 25"/>
            <p:cNvSpPr/>
            <p:nvPr/>
          </p:nvSpPr>
          <p:spPr>
            <a:xfrm>
              <a:off x="4494950" y="5239634"/>
              <a:ext cx="2293369" cy="657359"/>
            </a:xfrm>
            <a:prstGeom prst="rect">
              <a:avLst/>
            </a:prstGeom>
          </p:spPr>
          <p:txBody>
            <a:bodyPr wrap="square">
              <a:sp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r>
                <a:rPr kumimoji="0" lang="en-US" sz="183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o installation.</a:t>
              </a:r>
            </a:p>
            <a:p>
              <a:pPr marL="0" marR="0" lvl="0" indent="0" algn="ctr" defTabSz="932290" rtl="0" eaLnBrk="1" fontAlgn="base" latinLnBrk="0" hangingPunct="1">
                <a:lnSpc>
                  <a:spcPct val="100000"/>
                </a:lnSpc>
                <a:spcBef>
                  <a:spcPct val="0"/>
                </a:spcBef>
                <a:spcAft>
                  <a:spcPct val="0"/>
                </a:spcAft>
                <a:buClrTx/>
                <a:buSzTx/>
                <a:buFontTx/>
                <a:buNone/>
                <a:tabLst/>
                <a:defRPr/>
              </a:pPr>
              <a:r>
                <a:rPr kumimoji="0" lang="en-US" sz="183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o agents.</a:t>
              </a:r>
            </a:p>
          </p:txBody>
        </p:sp>
        <p:grpSp>
          <p:nvGrpSpPr>
            <p:cNvPr id="10" name="Group 4"/>
            <p:cNvGrpSpPr>
              <a:grpSpLocks noChangeAspect="1"/>
            </p:cNvGrpSpPr>
            <p:nvPr/>
          </p:nvGrpSpPr>
          <p:grpSpPr bwMode="auto">
            <a:xfrm>
              <a:off x="5134142" y="3930817"/>
              <a:ext cx="1009650" cy="965200"/>
              <a:chOff x="3224" y="2466"/>
              <a:chExt cx="636" cy="608"/>
            </a:xfrm>
          </p:grpSpPr>
          <p:sp>
            <p:nvSpPr>
              <p:cNvPr id="11" name="AutoShape 3"/>
              <p:cNvSpPr>
                <a:spLocks noChangeAspect="1" noChangeArrowheads="1" noTextEdit="1"/>
              </p:cNvSpPr>
              <p:nvPr/>
            </p:nvSpPr>
            <p:spPr bwMode="auto">
              <a:xfrm>
                <a:off x="3224" y="2466"/>
                <a:ext cx="636" cy="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 name="Freeform 5"/>
              <p:cNvSpPr>
                <a:spLocks/>
              </p:cNvSpPr>
              <p:nvPr/>
            </p:nvSpPr>
            <p:spPr bwMode="auto">
              <a:xfrm>
                <a:off x="3580" y="2446"/>
                <a:ext cx="318" cy="334"/>
              </a:xfrm>
              <a:custGeom>
                <a:avLst/>
                <a:gdLst>
                  <a:gd name="T0" fmla="*/ 210 w 243"/>
                  <a:gd name="T1" fmla="*/ 72 h 255"/>
                  <a:gd name="T2" fmla="*/ 121 w 243"/>
                  <a:gd name="T3" fmla="*/ 153 h 255"/>
                  <a:gd name="T4" fmla="*/ 76 w 243"/>
                  <a:gd name="T5" fmla="*/ 107 h 255"/>
                  <a:gd name="T6" fmla="*/ 159 w 243"/>
                  <a:gd name="T7" fmla="*/ 22 h 255"/>
                  <a:gd name="T8" fmla="*/ 31 w 243"/>
                  <a:gd name="T9" fmla="*/ 40 h 255"/>
                  <a:gd name="T10" fmla="*/ 2 w 243"/>
                  <a:gd name="T11" fmla="*/ 141 h 255"/>
                  <a:gd name="T12" fmla="*/ 86 w 243"/>
                  <a:gd name="T13" fmla="*/ 222 h 255"/>
                  <a:gd name="T14" fmla="*/ 210 w 243"/>
                  <a:gd name="T15" fmla="*/ 72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255">
                    <a:moveTo>
                      <a:pt x="210" y="72"/>
                    </a:moveTo>
                    <a:cubicBezTo>
                      <a:pt x="121" y="153"/>
                      <a:pt x="121" y="153"/>
                      <a:pt x="121" y="153"/>
                    </a:cubicBezTo>
                    <a:cubicBezTo>
                      <a:pt x="76" y="107"/>
                      <a:pt x="76" y="107"/>
                      <a:pt x="76" y="107"/>
                    </a:cubicBezTo>
                    <a:cubicBezTo>
                      <a:pt x="159" y="22"/>
                      <a:pt x="159" y="22"/>
                      <a:pt x="159" y="22"/>
                    </a:cubicBezTo>
                    <a:cubicBezTo>
                      <a:pt x="159" y="22"/>
                      <a:pt x="77" y="0"/>
                      <a:pt x="31" y="40"/>
                    </a:cubicBezTo>
                    <a:cubicBezTo>
                      <a:pt x="1" y="65"/>
                      <a:pt x="0" y="112"/>
                      <a:pt x="2" y="141"/>
                    </a:cubicBezTo>
                    <a:cubicBezTo>
                      <a:pt x="41" y="154"/>
                      <a:pt x="72" y="184"/>
                      <a:pt x="86" y="222"/>
                    </a:cubicBezTo>
                    <a:cubicBezTo>
                      <a:pt x="243" y="255"/>
                      <a:pt x="210" y="72"/>
                      <a:pt x="210" y="7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 name="Freeform 6"/>
              <p:cNvSpPr>
                <a:spLocks/>
              </p:cNvSpPr>
              <p:nvPr/>
            </p:nvSpPr>
            <p:spPr bwMode="auto">
              <a:xfrm>
                <a:off x="3242" y="2871"/>
                <a:ext cx="205" cy="206"/>
              </a:xfrm>
              <a:custGeom>
                <a:avLst/>
                <a:gdLst>
                  <a:gd name="T0" fmla="*/ 93 w 156"/>
                  <a:gd name="T1" fmla="*/ 0 h 157"/>
                  <a:gd name="T2" fmla="*/ 15 w 156"/>
                  <a:gd name="T3" fmla="*/ 77 h 157"/>
                  <a:gd name="T4" fmla="*/ 15 w 156"/>
                  <a:gd name="T5" fmla="*/ 131 h 157"/>
                  <a:gd name="T6" fmla="*/ 26 w 156"/>
                  <a:gd name="T7" fmla="*/ 142 h 157"/>
                  <a:gd name="T8" fmla="*/ 79 w 156"/>
                  <a:gd name="T9" fmla="*/ 142 h 157"/>
                  <a:gd name="T10" fmla="*/ 156 w 156"/>
                  <a:gd name="T11" fmla="*/ 66 h 157"/>
                  <a:gd name="T12" fmla="*/ 93 w 156"/>
                  <a:gd name="T13" fmla="*/ 0 h 157"/>
                </a:gdLst>
                <a:ahLst/>
                <a:cxnLst>
                  <a:cxn ang="0">
                    <a:pos x="T0" y="T1"/>
                  </a:cxn>
                  <a:cxn ang="0">
                    <a:pos x="T2" y="T3"/>
                  </a:cxn>
                  <a:cxn ang="0">
                    <a:pos x="T4" y="T5"/>
                  </a:cxn>
                  <a:cxn ang="0">
                    <a:pos x="T6" y="T7"/>
                  </a:cxn>
                  <a:cxn ang="0">
                    <a:pos x="T8" y="T9"/>
                  </a:cxn>
                  <a:cxn ang="0">
                    <a:pos x="T10" y="T11"/>
                  </a:cxn>
                  <a:cxn ang="0">
                    <a:pos x="T12" y="T13"/>
                  </a:cxn>
                </a:cxnLst>
                <a:rect l="0" t="0" r="r" b="b"/>
                <a:pathLst>
                  <a:path w="156" h="157">
                    <a:moveTo>
                      <a:pt x="93" y="0"/>
                    </a:moveTo>
                    <a:cubicBezTo>
                      <a:pt x="15" y="77"/>
                      <a:pt x="15" y="77"/>
                      <a:pt x="15" y="77"/>
                    </a:cubicBezTo>
                    <a:cubicBezTo>
                      <a:pt x="0" y="92"/>
                      <a:pt x="0" y="116"/>
                      <a:pt x="15" y="131"/>
                    </a:cubicBezTo>
                    <a:cubicBezTo>
                      <a:pt x="26" y="142"/>
                      <a:pt x="26" y="142"/>
                      <a:pt x="26" y="142"/>
                    </a:cubicBezTo>
                    <a:cubicBezTo>
                      <a:pt x="41" y="157"/>
                      <a:pt x="64" y="157"/>
                      <a:pt x="79" y="142"/>
                    </a:cubicBezTo>
                    <a:cubicBezTo>
                      <a:pt x="156" y="66"/>
                      <a:pt x="156" y="66"/>
                      <a:pt x="156" y="66"/>
                    </a:cubicBezTo>
                    <a:cubicBezTo>
                      <a:pt x="128" y="52"/>
                      <a:pt x="106" y="28"/>
                      <a:pt x="9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 name="Freeform 7"/>
              <p:cNvSpPr>
                <a:spLocks/>
              </p:cNvSpPr>
              <p:nvPr/>
            </p:nvSpPr>
            <p:spPr bwMode="auto">
              <a:xfrm>
                <a:off x="3224" y="2493"/>
                <a:ext cx="196" cy="197"/>
              </a:xfrm>
              <a:custGeom>
                <a:avLst/>
                <a:gdLst>
                  <a:gd name="T0" fmla="*/ 61 w 150"/>
                  <a:gd name="T1" fmla="*/ 84 h 150"/>
                  <a:gd name="T2" fmla="*/ 124 w 150"/>
                  <a:gd name="T3" fmla="*/ 150 h 150"/>
                  <a:gd name="T4" fmla="*/ 150 w 150"/>
                  <a:gd name="T5" fmla="*/ 125 h 150"/>
                  <a:gd name="T6" fmla="*/ 84 w 150"/>
                  <a:gd name="T7" fmla="*/ 62 h 150"/>
                  <a:gd name="T8" fmla="*/ 84 w 150"/>
                  <a:gd name="T9" fmla="*/ 39 h 150"/>
                  <a:gd name="T10" fmla="*/ 34 w 150"/>
                  <a:gd name="T11" fmla="*/ 0 h 150"/>
                  <a:gd name="T12" fmla="*/ 0 w 150"/>
                  <a:gd name="T13" fmla="*/ 33 h 150"/>
                  <a:gd name="T14" fmla="*/ 39 w 150"/>
                  <a:gd name="T15" fmla="*/ 88 h 150"/>
                  <a:gd name="T16" fmla="*/ 61 w 150"/>
                  <a:gd name="T17" fmla="*/ 8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150">
                    <a:moveTo>
                      <a:pt x="61" y="84"/>
                    </a:moveTo>
                    <a:cubicBezTo>
                      <a:pt x="124" y="150"/>
                      <a:pt x="124" y="150"/>
                      <a:pt x="124" y="150"/>
                    </a:cubicBezTo>
                    <a:cubicBezTo>
                      <a:pt x="132" y="141"/>
                      <a:pt x="141" y="132"/>
                      <a:pt x="150" y="125"/>
                    </a:cubicBezTo>
                    <a:cubicBezTo>
                      <a:pt x="84" y="62"/>
                      <a:pt x="84" y="62"/>
                      <a:pt x="84" y="62"/>
                    </a:cubicBezTo>
                    <a:cubicBezTo>
                      <a:pt x="84" y="39"/>
                      <a:pt x="84" y="39"/>
                      <a:pt x="84" y="39"/>
                    </a:cubicBezTo>
                    <a:cubicBezTo>
                      <a:pt x="34" y="0"/>
                      <a:pt x="34" y="0"/>
                      <a:pt x="34" y="0"/>
                    </a:cubicBezTo>
                    <a:cubicBezTo>
                      <a:pt x="0" y="33"/>
                      <a:pt x="0" y="33"/>
                      <a:pt x="0" y="33"/>
                    </a:cubicBezTo>
                    <a:cubicBezTo>
                      <a:pt x="39" y="88"/>
                      <a:pt x="39" y="88"/>
                      <a:pt x="39" y="88"/>
                    </a:cubicBezTo>
                    <a:lnTo>
                      <a:pt x="61" y="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 name="Freeform 8"/>
              <p:cNvSpPr>
                <a:spLocks/>
              </p:cNvSpPr>
              <p:nvPr/>
            </p:nvSpPr>
            <p:spPr bwMode="auto">
              <a:xfrm>
                <a:off x="3593" y="2858"/>
                <a:ext cx="220" cy="222"/>
              </a:xfrm>
              <a:custGeom>
                <a:avLst/>
                <a:gdLst>
                  <a:gd name="T0" fmla="*/ 77 w 168"/>
                  <a:gd name="T1" fmla="*/ 0 h 170"/>
                  <a:gd name="T2" fmla="*/ 66 w 168"/>
                  <a:gd name="T3" fmla="*/ 23 h 170"/>
                  <a:gd name="T4" fmla="*/ 141 w 168"/>
                  <a:gd name="T5" fmla="*/ 97 h 170"/>
                  <a:gd name="T6" fmla="*/ 141 w 168"/>
                  <a:gd name="T7" fmla="*/ 114 h 170"/>
                  <a:gd name="T8" fmla="*/ 123 w 168"/>
                  <a:gd name="T9" fmla="*/ 114 h 170"/>
                  <a:gd name="T10" fmla="*/ 52 w 168"/>
                  <a:gd name="T11" fmla="*/ 43 h 170"/>
                  <a:gd name="T12" fmla="*/ 40 w 168"/>
                  <a:gd name="T13" fmla="*/ 55 h 170"/>
                  <a:gd name="T14" fmla="*/ 111 w 168"/>
                  <a:gd name="T15" fmla="*/ 126 h 170"/>
                  <a:gd name="T16" fmla="*/ 112 w 168"/>
                  <a:gd name="T17" fmla="*/ 143 h 170"/>
                  <a:gd name="T18" fmla="*/ 94 w 168"/>
                  <a:gd name="T19" fmla="*/ 143 h 170"/>
                  <a:gd name="T20" fmla="*/ 20 w 168"/>
                  <a:gd name="T21" fmla="*/ 70 h 170"/>
                  <a:gd name="T22" fmla="*/ 0 w 168"/>
                  <a:gd name="T23" fmla="*/ 81 h 170"/>
                  <a:gd name="T24" fmla="*/ 75 w 168"/>
                  <a:gd name="T25" fmla="*/ 155 h 170"/>
                  <a:gd name="T26" fmla="*/ 128 w 168"/>
                  <a:gd name="T27" fmla="*/ 155 h 170"/>
                  <a:gd name="T28" fmla="*/ 153 w 168"/>
                  <a:gd name="T29" fmla="*/ 129 h 170"/>
                  <a:gd name="T30" fmla="*/ 153 w 168"/>
                  <a:gd name="T31" fmla="*/ 76 h 170"/>
                  <a:gd name="T32" fmla="*/ 77 w 168"/>
                  <a:gd name="T3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8" h="170">
                    <a:moveTo>
                      <a:pt x="77" y="0"/>
                    </a:moveTo>
                    <a:cubicBezTo>
                      <a:pt x="74" y="8"/>
                      <a:pt x="71" y="16"/>
                      <a:pt x="66" y="23"/>
                    </a:cubicBezTo>
                    <a:cubicBezTo>
                      <a:pt x="141" y="97"/>
                      <a:pt x="141" y="97"/>
                      <a:pt x="141" y="97"/>
                    </a:cubicBezTo>
                    <a:cubicBezTo>
                      <a:pt x="145" y="101"/>
                      <a:pt x="145" y="109"/>
                      <a:pt x="141" y="114"/>
                    </a:cubicBezTo>
                    <a:cubicBezTo>
                      <a:pt x="136" y="119"/>
                      <a:pt x="128" y="119"/>
                      <a:pt x="123" y="114"/>
                    </a:cubicBezTo>
                    <a:cubicBezTo>
                      <a:pt x="52" y="43"/>
                      <a:pt x="52" y="43"/>
                      <a:pt x="52" y="43"/>
                    </a:cubicBezTo>
                    <a:cubicBezTo>
                      <a:pt x="48" y="47"/>
                      <a:pt x="44" y="51"/>
                      <a:pt x="40" y="55"/>
                    </a:cubicBezTo>
                    <a:cubicBezTo>
                      <a:pt x="111" y="126"/>
                      <a:pt x="111" y="126"/>
                      <a:pt x="111" y="126"/>
                    </a:cubicBezTo>
                    <a:cubicBezTo>
                      <a:pt x="116" y="131"/>
                      <a:pt x="116" y="138"/>
                      <a:pt x="112" y="143"/>
                    </a:cubicBezTo>
                    <a:cubicBezTo>
                      <a:pt x="107" y="148"/>
                      <a:pt x="99" y="148"/>
                      <a:pt x="94" y="143"/>
                    </a:cubicBezTo>
                    <a:cubicBezTo>
                      <a:pt x="20" y="70"/>
                      <a:pt x="20" y="70"/>
                      <a:pt x="20" y="70"/>
                    </a:cubicBezTo>
                    <a:cubicBezTo>
                      <a:pt x="14" y="74"/>
                      <a:pt x="7" y="78"/>
                      <a:pt x="0" y="81"/>
                    </a:cubicBezTo>
                    <a:cubicBezTo>
                      <a:pt x="75" y="155"/>
                      <a:pt x="75" y="155"/>
                      <a:pt x="75" y="155"/>
                    </a:cubicBezTo>
                    <a:cubicBezTo>
                      <a:pt x="89" y="170"/>
                      <a:pt x="113" y="170"/>
                      <a:pt x="128" y="155"/>
                    </a:cubicBezTo>
                    <a:cubicBezTo>
                      <a:pt x="153" y="129"/>
                      <a:pt x="153" y="129"/>
                      <a:pt x="153" y="129"/>
                    </a:cubicBezTo>
                    <a:cubicBezTo>
                      <a:pt x="168" y="114"/>
                      <a:pt x="168" y="91"/>
                      <a:pt x="153" y="76"/>
                    </a:cubicBezTo>
                    <a:lnTo>
                      <a:pt x="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 name="Freeform 9"/>
              <p:cNvSpPr>
                <a:spLocks noEditPoints="1"/>
              </p:cNvSpPr>
              <p:nvPr/>
            </p:nvSpPr>
            <p:spPr bwMode="auto">
              <a:xfrm>
                <a:off x="3384" y="2658"/>
                <a:ext cx="282" cy="283"/>
              </a:xfrm>
              <a:custGeom>
                <a:avLst/>
                <a:gdLst>
                  <a:gd name="T0" fmla="*/ 108 w 216"/>
                  <a:gd name="T1" fmla="*/ 0 h 216"/>
                  <a:gd name="T2" fmla="*/ 0 w 216"/>
                  <a:gd name="T3" fmla="*/ 108 h 216"/>
                  <a:gd name="T4" fmla="*/ 108 w 216"/>
                  <a:gd name="T5" fmla="*/ 216 h 216"/>
                  <a:gd name="T6" fmla="*/ 216 w 216"/>
                  <a:gd name="T7" fmla="*/ 108 h 216"/>
                  <a:gd name="T8" fmla="*/ 108 w 216"/>
                  <a:gd name="T9" fmla="*/ 0 h 216"/>
                  <a:gd name="T10" fmla="*/ 107 w 216"/>
                  <a:gd name="T11" fmla="*/ 196 h 216"/>
                  <a:gd name="T12" fmla="*/ 21 w 216"/>
                  <a:gd name="T13" fmla="*/ 110 h 216"/>
                  <a:gd name="T14" fmla="*/ 107 w 216"/>
                  <a:gd name="T15" fmla="*/ 24 h 216"/>
                  <a:gd name="T16" fmla="*/ 193 w 216"/>
                  <a:gd name="T17" fmla="*/ 110 h 216"/>
                  <a:gd name="T18" fmla="*/ 107 w 216"/>
                  <a:gd name="T19" fmla="*/ 19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216">
                    <a:moveTo>
                      <a:pt x="108" y="0"/>
                    </a:moveTo>
                    <a:cubicBezTo>
                      <a:pt x="48" y="0"/>
                      <a:pt x="0" y="49"/>
                      <a:pt x="0" y="108"/>
                    </a:cubicBezTo>
                    <a:cubicBezTo>
                      <a:pt x="0" y="168"/>
                      <a:pt x="48" y="216"/>
                      <a:pt x="108" y="216"/>
                    </a:cubicBezTo>
                    <a:cubicBezTo>
                      <a:pt x="168" y="216"/>
                      <a:pt x="216" y="168"/>
                      <a:pt x="216" y="108"/>
                    </a:cubicBezTo>
                    <a:cubicBezTo>
                      <a:pt x="216" y="49"/>
                      <a:pt x="168" y="0"/>
                      <a:pt x="108" y="0"/>
                    </a:cubicBezTo>
                    <a:close/>
                    <a:moveTo>
                      <a:pt x="107" y="196"/>
                    </a:moveTo>
                    <a:cubicBezTo>
                      <a:pt x="60" y="196"/>
                      <a:pt x="21" y="157"/>
                      <a:pt x="21" y="110"/>
                    </a:cubicBezTo>
                    <a:cubicBezTo>
                      <a:pt x="21" y="63"/>
                      <a:pt x="60" y="24"/>
                      <a:pt x="107" y="24"/>
                    </a:cubicBezTo>
                    <a:cubicBezTo>
                      <a:pt x="155" y="24"/>
                      <a:pt x="193" y="63"/>
                      <a:pt x="193" y="110"/>
                    </a:cubicBezTo>
                    <a:cubicBezTo>
                      <a:pt x="193" y="157"/>
                      <a:pt x="155" y="196"/>
                      <a:pt x="107" y="196"/>
                    </a:cubicBezTo>
                    <a:close/>
                  </a:path>
                </a:pathLst>
              </a:custGeom>
              <a:solidFill>
                <a:srgbClr val="E31A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 name="Freeform 10"/>
              <p:cNvSpPr>
                <a:spLocks/>
              </p:cNvSpPr>
              <p:nvPr/>
            </p:nvSpPr>
            <p:spPr bwMode="auto">
              <a:xfrm>
                <a:off x="3416" y="2714"/>
                <a:ext cx="220" cy="174"/>
              </a:xfrm>
              <a:custGeom>
                <a:avLst/>
                <a:gdLst>
                  <a:gd name="T0" fmla="*/ 0 w 220"/>
                  <a:gd name="T1" fmla="*/ 146 h 174"/>
                  <a:gd name="T2" fmla="*/ 203 w 220"/>
                  <a:gd name="T3" fmla="*/ 0 h 174"/>
                  <a:gd name="T4" fmla="*/ 220 w 220"/>
                  <a:gd name="T5" fmla="*/ 33 h 174"/>
                  <a:gd name="T6" fmla="*/ 17 w 220"/>
                  <a:gd name="T7" fmla="*/ 174 h 174"/>
                  <a:gd name="T8" fmla="*/ 0 w 220"/>
                  <a:gd name="T9" fmla="*/ 146 h 174"/>
                </a:gdLst>
                <a:ahLst/>
                <a:cxnLst>
                  <a:cxn ang="0">
                    <a:pos x="T0" y="T1"/>
                  </a:cxn>
                  <a:cxn ang="0">
                    <a:pos x="T2" y="T3"/>
                  </a:cxn>
                  <a:cxn ang="0">
                    <a:pos x="T4" y="T5"/>
                  </a:cxn>
                  <a:cxn ang="0">
                    <a:pos x="T6" y="T7"/>
                  </a:cxn>
                  <a:cxn ang="0">
                    <a:pos x="T8" y="T9"/>
                  </a:cxn>
                </a:cxnLst>
                <a:rect l="0" t="0" r="r" b="b"/>
                <a:pathLst>
                  <a:path w="220" h="174">
                    <a:moveTo>
                      <a:pt x="0" y="146"/>
                    </a:moveTo>
                    <a:lnTo>
                      <a:pt x="203" y="0"/>
                    </a:lnTo>
                    <a:lnTo>
                      <a:pt x="220" y="33"/>
                    </a:lnTo>
                    <a:lnTo>
                      <a:pt x="17" y="174"/>
                    </a:lnTo>
                    <a:lnTo>
                      <a:pt x="0" y="146"/>
                    </a:lnTo>
                    <a:close/>
                  </a:path>
                </a:pathLst>
              </a:custGeom>
              <a:solidFill>
                <a:srgbClr val="E31A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Tree>
    <p:extLst>
      <p:ext uri="{BB962C8B-B14F-4D97-AF65-F5344CB8AC3E}">
        <p14:creationId xmlns:p14="http://schemas.microsoft.com/office/powerpoint/2010/main" val="104793005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0467" y="233152"/>
            <a:ext cx="11373923" cy="633954"/>
          </a:xfrm>
        </p:spPr>
        <p:txBody>
          <a:bodyPr/>
          <a:lstStyle/>
          <a:p>
            <a:r>
              <a:rPr lang="en-US" sz="4488" dirty="0"/>
              <a:t>How does AvePoint drive Azure Consumption?</a:t>
            </a:r>
          </a:p>
        </p:txBody>
      </p:sp>
      <p:sp>
        <p:nvSpPr>
          <p:cNvPr id="5" name="Text Placeholder 4"/>
          <p:cNvSpPr>
            <a:spLocks noGrp="1"/>
          </p:cNvSpPr>
          <p:nvPr>
            <p:ph type="body" sz="quarter" idx="10"/>
          </p:nvPr>
        </p:nvSpPr>
        <p:spPr>
          <a:xfrm>
            <a:off x="373923" y="1107817"/>
            <a:ext cx="11950646" cy="6232475"/>
          </a:xfrm>
        </p:spPr>
        <p:txBody>
          <a:bodyPr/>
          <a:lstStyle/>
          <a:p>
            <a:pPr marL="524586" indent="-524586">
              <a:buFont typeface="+mj-lt"/>
              <a:buAutoNum type="arabicPeriod"/>
            </a:pPr>
            <a:r>
              <a:rPr lang="en-US" sz="4896" dirty="0">
                <a:solidFill>
                  <a:schemeClr val="accent6">
                    <a:lumMod val="75000"/>
                  </a:schemeClr>
                </a:solidFill>
              </a:rPr>
              <a:t>Azure </a:t>
            </a:r>
            <a:r>
              <a:rPr lang="en-US" sz="4896" dirty="0" err="1">
                <a:solidFill>
                  <a:schemeClr val="accent6">
                    <a:lumMod val="75000"/>
                  </a:schemeClr>
                </a:solidFill>
              </a:rPr>
              <a:t>Gov</a:t>
            </a:r>
            <a:r>
              <a:rPr lang="en-US" sz="4896" dirty="0">
                <a:solidFill>
                  <a:schemeClr val="accent6">
                    <a:lumMod val="75000"/>
                  </a:schemeClr>
                </a:solidFill>
              </a:rPr>
              <a:t> Compliance-as-a-Service (</a:t>
            </a:r>
            <a:r>
              <a:rPr lang="en-US" sz="4896" dirty="0" err="1">
                <a:solidFill>
                  <a:schemeClr val="accent6">
                    <a:lumMod val="75000"/>
                  </a:schemeClr>
                </a:solidFill>
              </a:rPr>
              <a:t>CaaS</a:t>
            </a:r>
            <a:r>
              <a:rPr lang="en-US" sz="4896" dirty="0">
                <a:solidFill>
                  <a:schemeClr val="accent6">
                    <a:lumMod val="75000"/>
                  </a:schemeClr>
                </a:solidFill>
              </a:rPr>
              <a:t>)</a:t>
            </a:r>
          </a:p>
          <a:p>
            <a:pPr lvl="5" indent="0">
              <a:buNone/>
            </a:pPr>
            <a:r>
              <a:rPr lang="en-US" sz="2448" b="1" dirty="0">
                <a:solidFill>
                  <a:schemeClr val="accent6">
                    <a:lumMod val="75000"/>
                  </a:schemeClr>
                </a:solidFill>
              </a:rPr>
              <a:t>O365, OneDrive, Yammer, Box, Shared Drives…..</a:t>
            </a:r>
            <a:endParaRPr lang="en-US" b="1" dirty="0">
              <a:solidFill>
                <a:schemeClr val="accent6">
                  <a:lumMod val="75000"/>
                </a:schemeClr>
              </a:solidFill>
            </a:endParaRPr>
          </a:p>
          <a:p>
            <a:pPr marL="524586" indent="-524586">
              <a:buFont typeface="+mj-lt"/>
              <a:buAutoNum type="arabicPeriod"/>
            </a:pPr>
            <a:endParaRPr lang="en-US" sz="4896" dirty="0">
              <a:solidFill>
                <a:schemeClr val="accent6">
                  <a:lumMod val="75000"/>
                </a:schemeClr>
              </a:solidFill>
            </a:endParaRPr>
          </a:p>
          <a:p>
            <a:pPr marL="524586" indent="-524586">
              <a:buFont typeface="+mj-lt"/>
              <a:buAutoNum type="arabicPeriod"/>
            </a:pPr>
            <a:r>
              <a:rPr lang="en-US" sz="4896" dirty="0">
                <a:solidFill>
                  <a:schemeClr val="accent6">
                    <a:lumMod val="75000"/>
                  </a:schemeClr>
                </a:solidFill>
              </a:rPr>
              <a:t>Compliant Migrations</a:t>
            </a:r>
          </a:p>
          <a:p>
            <a:pPr marL="524586" indent="-524586">
              <a:buFont typeface="+mj-lt"/>
              <a:buAutoNum type="arabicPeriod"/>
            </a:pPr>
            <a:r>
              <a:rPr lang="en-US" sz="4896" dirty="0" err="1">
                <a:solidFill>
                  <a:schemeClr val="accent6">
                    <a:lumMod val="75000"/>
                  </a:schemeClr>
                </a:solidFill>
              </a:rPr>
              <a:t>DocAve</a:t>
            </a:r>
            <a:r>
              <a:rPr lang="en-US" sz="4896" dirty="0">
                <a:solidFill>
                  <a:schemeClr val="accent6">
                    <a:lumMod val="75000"/>
                  </a:schemeClr>
                </a:solidFill>
              </a:rPr>
              <a:t> w/Existing Federal Clients</a:t>
            </a:r>
          </a:p>
          <a:p>
            <a:r>
              <a:rPr lang="en-US" sz="4896" dirty="0">
                <a:solidFill>
                  <a:schemeClr val="accent6">
                    <a:lumMod val="75000"/>
                  </a:schemeClr>
                </a:solidFill>
              </a:rPr>
              <a:t>4. Azure </a:t>
            </a:r>
            <a:r>
              <a:rPr lang="en-US" sz="4896" dirty="0" err="1">
                <a:solidFill>
                  <a:schemeClr val="accent6">
                    <a:lumMod val="75000"/>
                  </a:schemeClr>
                </a:solidFill>
              </a:rPr>
              <a:t>Gov</a:t>
            </a:r>
            <a:r>
              <a:rPr lang="en-US" sz="4896" dirty="0">
                <a:solidFill>
                  <a:schemeClr val="accent6">
                    <a:lumMod val="75000"/>
                  </a:schemeClr>
                </a:solidFill>
              </a:rPr>
              <a:t> Marketplace</a:t>
            </a:r>
          </a:p>
          <a:p>
            <a:r>
              <a:rPr lang="en-US" sz="4896" dirty="0">
                <a:solidFill>
                  <a:schemeClr val="accent6">
                    <a:lumMod val="75000"/>
                  </a:schemeClr>
                </a:solidFill>
              </a:rPr>
              <a:t>5. Project Hosts (</a:t>
            </a:r>
            <a:r>
              <a:rPr lang="en-US" sz="4896" dirty="0" err="1">
                <a:solidFill>
                  <a:schemeClr val="accent6">
                    <a:lumMod val="75000"/>
                  </a:schemeClr>
                </a:solidFill>
              </a:rPr>
              <a:t>FedRamp</a:t>
            </a:r>
            <a:r>
              <a:rPr lang="en-US" sz="4896" dirty="0">
                <a:solidFill>
                  <a:schemeClr val="accent6">
                    <a:lumMod val="75000"/>
                  </a:schemeClr>
                </a:solidFill>
              </a:rPr>
              <a:t>, L4/L5, ITAR, etc.)</a:t>
            </a:r>
          </a:p>
          <a:p>
            <a:endParaRPr lang="en-US" sz="4896" dirty="0"/>
          </a:p>
          <a:p>
            <a:pPr lvl="1"/>
            <a:endParaRPr lang="en-US" sz="1632" i="1" dirty="0"/>
          </a:p>
        </p:txBody>
      </p:sp>
    </p:spTree>
    <p:extLst>
      <p:ext uri="{BB962C8B-B14F-4D97-AF65-F5344CB8AC3E}">
        <p14:creationId xmlns:p14="http://schemas.microsoft.com/office/powerpoint/2010/main" val="778852834"/>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466" y="391693"/>
            <a:ext cx="12896017" cy="633954"/>
          </a:xfrm>
        </p:spPr>
        <p:txBody>
          <a:bodyPr/>
          <a:lstStyle/>
          <a:p>
            <a:r>
              <a:rPr lang="en-US" sz="4488" dirty="0"/>
              <a:t>Azure Compliance-as-a-Service (</a:t>
            </a:r>
            <a:r>
              <a:rPr lang="en-US" sz="4488" dirty="0" err="1"/>
              <a:t>CaaS</a:t>
            </a:r>
            <a:r>
              <a:rPr lang="en-US" sz="4488" dirty="0"/>
              <a:t>)</a:t>
            </a:r>
          </a:p>
        </p:txBody>
      </p:sp>
      <p:sp>
        <p:nvSpPr>
          <p:cNvPr id="3" name="Content Placeholder 2"/>
          <p:cNvSpPr>
            <a:spLocks noGrp="1"/>
          </p:cNvSpPr>
          <p:nvPr>
            <p:ph type="body" sz="quarter" idx="10"/>
          </p:nvPr>
        </p:nvSpPr>
        <p:spPr>
          <a:xfrm>
            <a:off x="471186" y="2220213"/>
            <a:ext cx="5160929" cy="3835902"/>
          </a:xfrm>
        </p:spPr>
        <p:txBody>
          <a:bodyPr/>
          <a:lstStyle/>
          <a:p>
            <a:pPr marL="176480" lvl="1" indent="0">
              <a:lnSpc>
                <a:spcPct val="100000"/>
              </a:lnSpc>
              <a:spcBef>
                <a:spcPts val="1224"/>
              </a:spcBef>
              <a:buNone/>
            </a:pPr>
            <a:r>
              <a:rPr lang="en-US" sz="4080" dirty="0">
                <a:solidFill>
                  <a:srgbClr val="E31A22"/>
                </a:solidFill>
                <a:latin typeface="Segoe UI Light" panose="020B0502040204020203" pitchFamily="34" charset="0"/>
                <a:cs typeface="Segoe UI Light" panose="020B0502040204020203" pitchFamily="34" charset="0"/>
              </a:rPr>
              <a:t>Classify with ease</a:t>
            </a:r>
          </a:p>
          <a:p>
            <a:pPr marL="176480" lvl="1" indent="0">
              <a:lnSpc>
                <a:spcPct val="100000"/>
              </a:lnSpc>
              <a:spcBef>
                <a:spcPts val="0"/>
              </a:spcBef>
              <a:buNone/>
            </a:pPr>
            <a:r>
              <a:rPr lang="en-US" dirty="0">
                <a:latin typeface="Segoe UI Light" panose="020B0502040204020203" pitchFamily="34" charset="0"/>
                <a:cs typeface="Segoe UI Light" panose="020B0502040204020203" pitchFamily="34" charset="0"/>
              </a:rPr>
              <a:t>Monitor Office 365, File Shares, Box for: </a:t>
            </a:r>
          </a:p>
          <a:p>
            <a:pPr marL="526204" lvl="1" indent="-349724">
              <a:lnSpc>
                <a:spcPct val="100000"/>
              </a:lnSpc>
              <a:spcBef>
                <a:spcPts val="0"/>
              </a:spcBef>
            </a:pPr>
            <a:r>
              <a:rPr lang="en-US" dirty="0">
                <a:latin typeface="Segoe UI Light" panose="020B0502040204020203" pitchFamily="34" charset="0"/>
                <a:cs typeface="Segoe UI Light" panose="020B0502040204020203" pitchFamily="34" charset="0"/>
              </a:rPr>
              <a:t>PII</a:t>
            </a:r>
          </a:p>
          <a:p>
            <a:pPr marL="526204" lvl="1" indent="-349724">
              <a:lnSpc>
                <a:spcPct val="100000"/>
              </a:lnSpc>
              <a:spcBef>
                <a:spcPts val="0"/>
              </a:spcBef>
            </a:pPr>
            <a:r>
              <a:rPr lang="en-US" dirty="0">
                <a:latin typeface="Segoe UI Light" panose="020B0502040204020203" pitchFamily="34" charset="0"/>
                <a:cs typeface="Segoe UI Light" panose="020B0502040204020203" pitchFamily="34" charset="0"/>
              </a:rPr>
              <a:t>PHI</a:t>
            </a:r>
          </a:p>
          <a:p>
            <a:pPr marL="526204" lvl="1" indent="-349724">
              <a:lnSpc>
                <a:spcPct val="100000"/>
              </a:lnSpc>
              <a:spcBef>
                <a:spcPts val="0"/>
              </a:spcBef>
            </a:pPr>
            <a:r>
              <a:rPr lang="en-US" dirty="0">
                <a:latin typeface="Segoe UI Light" panose="020B0502040204020203" pitchFamily="34" charset="0"/>
                <a:cs typeface="Segoe UI Light" panose="020B0502040204020203" pitchFamily="34" charset="0"/>
              </a:rPr>
              <a:t>DOD Classification Security Markings</a:t>
            </a:r>
          </a:p>
          <a:p>
            <a:pPr marL="526204" lvl="1" indent="-349724">
              <a:lnSpc>
                <a:spcPct val="100000"/>
              </a:lnSpc>
              <a:spcBef>
                <a:spcPts val="0"/>
              </a:spcBef>
            </a:pPr>
            <a:r>
              <a:rPr lang="en-US" dirty="0">
                <a:latin typeface="Segoe UI Light" panose="020B0502040204020203" pitchFamily="34" charset="0"/>
                <a:cs typeface="Segoe UI Light" panose="020B0502040204020203" pitchFamily="34" charset="0"/>
              </a:rPr>
              <a:t>ITAR  </a:t>
            </a:r>
          </a:p>
          <a:p>
            <a:pPr marL="176480" lvl="1" indent="0">
              <a:lnSpc>
                <a:spcPct val="100000"/>
              </a:lnSpc>
              <a:spcBef>
                <a:spcPts val="1224"/>
              </a:spcBef>
              <a:buNone/>
            </a:pPr>
            <a:r>
              <a:rPr lang="en-US" dirty="0">
                <a:latin typeface="Segoe UI Light" panose="020B0502040204020203" pitchFamily="34" charset="0"/>
                <a:cs typeface="Segoe UI Light" panose="020B0502040204020203" pitchFamily="34" charset="0"/>
              </a:rPr>
              <a:t>Embrace the values of the cloud without losing control over content, structure, and security</a:t>
            </a:r>
          </a:p>
          <a:p>
            <a:pPr marL="176480" lvl="1" indent="0">
              <a:lnSpc>
                <a:spcPct val="100000"/>
              </a:lnSpc>
              <a:spcBef>
                <a:spcPts val="1224"/>
              </a:spcBef>
              <a:buNone/>
            </a:pPr>
            <a:r>
              <a:rPr lang="en-US" dirty="0">
                <a:latin typeface="Segoe UI Light" panose="020B0502040204020203" pitchFamily="34" charset="0"/>
                <a:cs typeface="Segoe UI Light" panose="020B0502040204020203" pitchFamily="34" charset="0"/>
              </a:rPr>
              <a:t>Compliments MS OOB DLP</a:t>
            </a:r>
          </a:p>
        </p:txBody>
      </p:sp>
      <p:sp>
        <p:nvSpPr>
          <p:cNvPr id="9" name="Rectangle 8"/>
          <p:cNvSpPr/>
          <p:nvPr/>
        </p:nvSpPr>
        <p:spPr bwMode="auto">
          <a:xfrm>
            <a:off x="9931569" y="4301978"/>
            <a:ext cx="1916997" cy="1916998"/>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l" defTabSz="932290" rtl="0" eaLnBrk="1" fontAlgn="base" latinLnBrk="0" hangingPunct="1">
              <a:lnSpc>
                <a:spcPct val="100000"/>
              </a:lnSpc>
              <a:spcBef>
                <a:spcPct val="0"/>
              </a:spcBef>
              <a:spcAft>
                <a:spcPct val="0"/>
              </a:spcAft>
              <a:buClrTx/>
              <a:buSzTx/>
              <a:buFontTx/>
              <a:buNone/>
              <a:tabLst/>
              <a:defRPr/>
            </a:pPr>
            <a:r>
              <a:rPr kumimoji="0" lang="en-US" sz="1428" b="0" i="0" u="none" strike="noStrike" kern="0" cap="none" spc="-51"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Easy scaling for business-needs</a:t>
            </a:r>
          </a:p>
        </p:txBody>
      </p:sp>
      <p:sp>
        <p:nvSpPr>
          <p:cNvPr id="12" name="Rectangle 11"/>
          <p:cNvSpPr/>
          <p:nvPr/>
        </p:nvSpPr>
        <p:spPr bwMode="auto">
          <a:xfrm>
            <a:off x="7914543" y="2274537"/>
            <a:ext cx="1916997" cy="1916998"/>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latin typeface="Segoe UI"/>
                <a:ea typeface="+mn-ea"/>
                <a:cs typeface="+mn-cs"/>
              </a:rPr>
              <a:t>Intelligent scanning and classification</a:t>
            </a:r>
          </a:p>
        </p:txBody>
      </p:sp>
      <p:sp>
        <p:nvSpPr>
          <p:cNvPr id="17" name="Rectangle 16"/>
          <p:cNvSpPr/>
          <p:nvPr/>
        </p:nvSpPr>
        <p:spPr bwMode="auto">
          <a:xfrm>
            <a:off x="7914543" y="4301978"/>
            <a:ext cx="1916997" cy="1916998"/>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l" defTabSz="932290"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latin typeface="Segoe UI"/>
                <a:ea typeface="+mn-ea"/>
                <a:cs typeface="+mn-cs"/>
              </a:rPr>
              <a:t>No unmanaged</a:t>
            </a:r>
          </a:p>
          <a:p>
            <a:pPr marL="0" marR="0" lvl="0" indent="0" algn="l" defTabSz="932290"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latin typeface="Segoe UI"/>
                <a:ea typeface="+mn-ea"/>
                <a:cs typeface="+mn-cs"/>
              </a:rPr>
              <a:t>employee storage</a:t>
            </a:r>
          </a:p>
        </p:txBody>
      </p:sp>
      <p:sp>
        <p:nvSpPr>
          <p:cNvPr id="8" name="Rectangle 7"/>
          <p:cNvSpPr/>
          <p:nvPr/>
        </p:nvSpPr>
        <p:spPr bwMode="auto">
          <a:xfrm>
            <a:off x="530467" y="1333845"/>
            <a:ext cx="11322162" cy="515944"/>
          </a:xfrm>
          <a:prstGeom prst="rect">
            <a:avLst/>
          </a:prstGeom>
          <a:solidFill>
            <a:srgbClr val="E02C3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ysClr val="windowText" lastClr="000000"/>
                </a:solidFill>
                <a:effectLst/>
                <a:uLnTx/>
                <a:uFillTx/>
                <a:latin typeface="Segoe UI"/>
                <a:ea typeface="+mn-ea"/>
                <a:cs typeface="+mn-cs"/>
              </a:rPr>
              <a:t>Compliance Guardian in Azure </a:t>
            </a:r>
            <a:r>
              <a:rPr kumimoji="0" lang="en-US" sz="2040" b="0" i="0" u="none" strike="noStrike" kern="0" cap="none" spc="0" normalizeH="0" baseline="0" noProof="0" dirty="0" err="1">
                <a:ln>
                  <a:noFill/>
                </a:ln>
                <a:solidFill>
                  <a:sysClr val="windowText" lastClr="000000"/>
                </a:solidFill>
                <a:effectLst/>
                <a:uLnTx/>
                <a:uFillTx/>
                <a:latin typeface="Segoe UI"/>
                <a:ea typeface="+mn-ea"/>
                <a:cs typeface="+mn-cs"/>
              </a:rPr>
              <a:t>Gov</a:t>
            </a:r>
            <a:endParaRPr kumimoji="0" lang="en-US" sz="204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1" name="Rectangle 20"/>
          <p:cNvSpPr/>
          <p:nvPr/>
        </p:nvSpPr>
        <p:spPr bwMode="auto">
          <a:xfrm>
            <a:off x="5892649" y="2274537"/>
            <a:ext cx="1916997" cy="19169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l" defTabSz="932290"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latin typeface="Segoe UI"/>
                <a:ea typeface="+mn-ea"/>
                <a:cs typeface="+mn-cs"/>
              </a:rPr>
              <a:t>Ownership</a:t>
            </a:r>
          </a:p>
          <a:p>
            <a:pPr marL="0" marR="0" lvl="0" indent="0" algn="l" defTabSz="932290"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latin typeface="Segoe UI"/>
                <a:ea typeface="+mn-ea"/>
                <a:cs typeface="+mn-cs"/>
              </a:rPr>
              <a:t>of content</a:t>
            </a:r>
          </a:p>
        </p:txBody>
      </p:sp>
      <p:sp>
        <p:nvSpPr>
          <p:cNvPr id="22" name="Rectangle 21"/>
          <p:cNvSpPr/>
          <p:nvPr/>
        </p:nvSpPr>
        <p:spPr bwMode="auto">
          <a:xfrm>
            <a:off x="9931569" y="2274537"/>
            <a:ext cx="1916997" cy="1916998"/>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l" defTabSz="932290"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latin typeface="Segoe UI"/>
                <a:ea typeface="+mn-ea"/>
                <a:cs typeface="+mn-cs"/>
              </a:rPr>
              <a:t>Automation for </a:t>
            </a:r>
          </a:p>
          <a:p>
            <a:pPr marL="0" marR="0" lvl="0" indent="0" algn="l" defTabSz="932290"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latin typeface="Segoe UI"/>
                <a:ea typeface="+mn-ea"/>
                <a:cs typeface="+mn-cs"/>
              </a:rPr>
              <a:t>admin efficiency</a:t>
            </a:r>
          </a:p>
          <a:p>
            <a:pPr marL="0" marR="0" lvl="0" indent="0" algn="l" defTabSz="932290"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latin typeface="Segoe UI"/>
                <a:ea typeface="+mn-ea"/>
                <a:cs typeface="+mn-cs"/>
              </a:rPr>
              <a:t>and self-service</a:t>
            </a:r>
            <a:endParaRPr kumimoji="0" lang="en-US" sz="1428" b="0" i="0" u="none" strike="noStrike" kern="0" cap="none" spc="-51"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59" name="Group 58"/>
          <p:cNvGrpSpPr/>
          <p:nvPr/>
        </p:nvGrpSpPr>
        <p:grpSpPr>
          <a:xfrm>
            <a:off x="8561704" y="2517820"/>
            <a:ext cx="830656" cy="825659"/>
            <a:chOff x="557213" y="4564063"/>
            <a:chExt cx="1530351" cy="1535112"/>
          </a:xfrm>
          <a:solidFill>
            <a:schemeClr val="bg1"/>
          </a:solidFill>
        </p:grpSpPr>
        <p:sp>
          <p:nvSpPr>
            <p:cNvPr id="60" name="Oval 67"/>
            <p:cNvSpPr>
              <a:spLocks noChangeArrowheads="1"/>
            </p:cNvSpPr>
            <p:nvPr/>
          </p:nvSpPr>
          <p:spPr bwMode="auto">
            <a:xfrm>
              <a:off x="874713" y="4826000"/>
              <a:ext cx="573088" cy="2682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1" name="Freeform 68"/>
            <p:cNvSpPr>
              <a:spLocks/>
            </p:cNvSpPr>
            <p:nvPr/>
          </p:nvSpPr>
          <p:spPr bwMode="auto">
            <a:xfrm>
              <a:off x="874713" y="4995863"/>
              <a:ext cx="573088" cy="236537"/>
            </a:xfrm>
            <a:custGeom>
              <a:avLst/>
              <a:gdLst>
                <a:gd name="T0" fmla="*/ 351 w 703"/>
                <a:gd name="T1" fmla="*/ 165 h 290"/>
                <a:gd name="T2" fmla="*/ 0 w 703"/>
                <a:gd name="T3" fmla="*/ 0 h 290"/>
                <a:gd name="T4" fmla="*/ 0 w 703"/>
                <a:gd name="T5" fmla="*/ 126 h 290"/>
                <a:gd name="T6" fmla="*/ 351 w 703"/>
                <a:gd name="T7" fmla="*/ 290 h 290"/>
                <a:gd name="T8" fmla="*/ 703 w 703"/>
                <a:gd name="T9" fmla="*/ 126 h 290"/>
                <a:gd name="T10" fmla="*/ 703 w 703"/>
                <a:gd name="T11" fmla="*/ 0 h 290"/>
                <a:gd name="T12" fmla="*/ 351 w 703"/>
                <a:gd name="T13" fmla="*/ 165 h 290"/>
              </a:gdLst>
              <a:ahLst/>
              <a:cxnLst>
                <a:cxn ang="0">
                  <a:pos x="T0" y="T1"/>
                </a:cxn>
                <a:cxn ang="0">
                  <a:pos x="T2" y="T3"/>
                </a:cxn>
                <a:cxn ang="0">
                  <a:pos x="T4" y="T5"/>
                </a:cxn>
                <a:cxn ang="0">
                  <a:pos x="T6" y="T7"/>
                </a:cxn>
                <a:cxn ang="0">
                  <a:pos x="T8" y="T9"/>
                </a:cxn>
                <a:cxn ang="0">
                  <a:pos x="T10" y="T11"/>
                </a:cxn>
                <a:cxn ang="0">
                  <a:pos x="T12" y="T13"/>
                </a:cxn>
              </a:cxnLst>
              <a:rect l="0" t="0" r="r" b="b"/>
              <a:pathLst>
                <a:path w="703" h="290">
                  <a:moveTo>
                    <a:pt x="351" y="165"/>
                  </a:moveTo>
                  <a:cubicBezTo>
                    <a:pt x="157" y="165"/>
                    <a:pt x="0" y="91"/>
                    <a:pt x="0" y="0"/>
                  </a:cubicBezTo>
                  <a:cubicBezTo>
                    <a:pt x="0" y="38"/>
                    <a:pt x="0" y="63"/>
                    <a:pt x="0" y="126"/>
                  </a:cubicBezTo>
                  <a:cubicBezTo>
                    <a:pt x="0" y="217"/>
                    <a:pt x="157" y="290"/>
                    <a:pt x="351" y="290"/>
                  </a:cubicBezTo>
                  <a:cubicBezTo>
                    <a:pt x="545" y="290"/>
                    <a:pt x="703" y="217"/>
                    <a:pt x="703" y="126"/>
                  </a:cubicBezTo>
                  <a:cubicBezTo>
                    <a:pt x="703" y="92"/>
                    <a:pt x="703" y="58"/>
                    <a:pt x="703" y="0"/>
                  </a:cubicBezTo>
                  <a:cubicBezTo>
                    <a:pt x="703" y="91"/>
                    <a:pt x="545" y="165"/>
                    <a:pt x="351" y="1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2" name="Freeform 69"/>
            <p:cNvSpPr>
              <a:spLocks/>
            </p:cNvSpPr>
            <p:nvPr/>
          </p:nvSpPr>
          <p:spPr bwMode="auto">
            <a:xfrm>
              <a:off x="874713" y="5135563"/>
              <a:ext cx="573088" cy="236537"/>
            </a:xfrm>
            <a:custGeom>
              <a:avLst/>
              <a:gdLst>
                <a:gd name="T0" fmla="*/ 351 w 703"/>
                <a:gd name="T1" fmla="*/ 164 h 290"/>
                <a:gd name="T2" fmla="*/ 150 w 703"/>
                <a:gd name="T3" fmla="*/ 135 h 290"/>
                <a:gd name="T4" fmla="*/ 0 w 703"/>
                <a:gd name="T5" fmla="*/ 0 h 290"/>
                <a:gd name="T6" fmla="*/ 0 w 703"/>
                <a:gd name="T7" fmla="*/ 126 h 290"/>
                <a:gd name="T8" fmla="*/ 351 w 703"/>
                <a:gd name="T9" fmla="*/ 290 h 290"/>
                <a:gd name="T10" fmla="*/ 703 w 703"/>
                <a:gd name="T11" fmla="*/ 126 h 290"/>
                <a:gd name="T12" fmla="*/ 703 w 703"/>
                <a:gd name="T13" fmla="*/ 0 h 290"/>
                <a:gd name="T14" fmla="*/ 351 w 703"/>
                <a:gd name="T15" fmla="*/ 164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3" h="290">
                  <a:moveTo>
                    <a:pt x="351" y="164"/>
                  </a:moveTo>
                  <a:cubicBezTo>
                    <a:pt x="276" y="164"/>
                    <a:pt x="207" y="154"/>
                    <a:pt x="150" y="135"/>
                  </a:cubicBezTo>
                  <a:cubicBezTo>
                    <a:pt x="59" y="105"/>
                    <a:pt x="0" y="56"/>
                    <a:pt x="0" y="0"/>
                  </a:cubicBezTo>
                  <a:cubicBezTo>
                    <a:pt x="0" y="38"/>
                    <a:pt x="0" y="63"/>
                    <a:pt x="0" y="126"/>
                  </a:cubicBezTo>
                  <a:cubicBezTo>
                    <a:pt x="0" y="217"/>
                    <a:pt x="157" y="290"/>
                    <a:pt x="351" y="290"/>
                  </a:cubicBezTo>
                  <a:cubicBezTo>
                    <a:pt x="545" y="290"/>
                    <a:pt x="703" y="217"/>
                    <a:pt x="703" y="126"/>
                  </a:cubicBezTo>
                  <a:cubicBezTo>
                    <a:pt x="703" y="92"/>
                    <a:pt x="703" y="58"/>
                    <a:pt x="703" y="0"/>
                  </a:cubicBezTo>
                  <a:cubicBezTo>
                    <a:pt x="703" y="91"/>
                    <a:pt x="545" y="164"/>
                    <a:pt x="351"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3" name="Freeform 70"/>
            <p:cNvSpPr>
              <a:spLocks/>
            </p:cNvSpPr>
            <p:nvPr/>
          </p:nvSpPr>
          <p:spPr bwMode="auto">
            <a:xfrm>
              <a:off x="874713" y="5275263"/>
              <a:ext cx="573088" cy="234950"/>
            </a:xfrm>
            <a:custGeom>
              <a:avLst/>
              <a:gdLst>
                <a:gd name="T0" fmla="*/ 351 w 703"/>
                <a:gd name="T1" fmla="*/ 164 h 290"/>
                <a:gd name="T2" fmla="*/ 0 w 703"/>
                <a:gd name="T3" fmla="*/ 0 h 290"/>
                <a:gd name="T4" fmla="*/ 0 w 703"/>
                <a:gd name="T5" fmla="*/ 126 h 290"/>
                <a:gd name="T6" fmla="*/ 351 w 703"/>
                <a:gd name="T7" fmla="*/ 290 h 290"/>
                <a:gd name="T8" fmla="*/ 703 w 703"/>
                <a:gd name="T9" fmla="*/ 126 h 290"/>
                <a:gd name="T10" fmla="*/ 703 w 703"/>
                <a:gd name="T11" fmla="*/ 0 h 290"/>
                <a:gd name="T12" fmla="*/ 351 w 703"/>
                <a:gd name="T13" fmla="*/ 164 h 290"/>
              </a:gdLst>
              <a:ahLst/>
              <a:cxnLst>
                <a:cxn ang="0">
                  <a:pos x="T0" y="T1"/>
                </a:cxn>
                <a:cxn ang="0">
                  <a:pos x="T2" y="T3"/>
                </a:cxn>
                <a:cxn ang="0">
                  <a:pos x="T4" y="T5"/>
                </a:cxn>
                <a:cxn ang="0">
                  <a:pos x="T6" y="T7"/>
                </a:cxn>
                <a:cxn ang="0">
                  <a:pos x="T8" y="T9"/>
                </a:cxn>
                <a:cxn ang="0">
                  <a:pos x="T10" y="T11"/>
                </a:cxn>
                <a:cxn ang="0">
                  <a:pos x="T12" y="T13"/>
                </a:cxn>
              </a:cxnLst>
              <a:rect l="0" t="0" r="r" b="b"/>
              <a:pathLst>
                <a:path w="703" h="290">
                  <a:moveTo>
                    <a:pt x="351" y="164"/>
                  </a:moveTo>
                  <a:cubicBezTo>
                    <a:pt x="157" y="164"/>
                    <a:pt x="0" y="91"/>
                    <a:pt x="0" y="0"/>
                  </a:cubicBezTo>
                  <a:cubicBezTo>
                    <a:pt x="0" y="38"/>
                    <a:pt x="0" y="63"/>
                    <a:pt x="0" y="126"/>
                  </a:cubicBezTo>
                  <a:cubicBezTo>
                    <a:pt x="0" y="216"/>
                    <a:pt x="157" y="290"/>
                    <a:pt x="351" y="290"/>
                  </a:cubicBezTo>
                  <a:cubicBezTo>
                    <a:pt x="545" y="290"/>
                    <a:pt x="703" y="216"/>
                    <a:pt x="703" y="126"/>
                  </a:cubicBezTo>
                  <a:cubicBezTo>
                    <a:pt x="703" y="92"/>
                    <a:pt x="703" y="57"/>
                    <a:pt x="703" y="0"/>
                  </a:cubicBezTo>
                  <a:cubicBezTo>
                    <a:pt x="703" y="91"/>
                    <a:pt x="545" y="164"/>
                    <a:pt x="351"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4" name="Freeform 71"/>
            <p:cNvSpPr>
              <a:spLocks noEditPoints="1"/>
            </p:cNvSpPr>
            <p:nvPr/>
          </p:nvSpPr>
          <p:spPr bwMode="auto">
            <a:xfrm>
              <a:off x="557213" y="4564063"/>
              <a:ext cx="1209675" cy="1208087"/>
            </a:xfrm>
            <a:custGeom>
              <a:avLst/>
              <a:gdLst>
                <a:gd name="T0" fmla="*/ 742 w 1484"/>
                <a:gd name="T1" fmla="*/ 0 h 1484"/>
                <a:gd name="T2" fmla="*/ 0 w 1484"/>
                <a:gd name="T3" fmla="*/ 742 h 1484"/>
                <a:gd name="T4" fmla="*/ 742 w 1484"/>
                <a:gd name="T5" fmla="*/ 1484 h 1484"/>
                <a:gd name="T6" fmla="*/ 1484 w 1484"/>
                <a:gd name="T7" fmla="*/ 742 h 1484"/>
                <a:gd name="T8" fmla="*/ 742 w 1484"/>
                <a:gd name="T9" fmla="*/ 0 h 1484"/>
                <a:gd name="T10" fmla="*/ 742 w 1484"/>
                <a:gd name="T11" fmla="*/ 1367 h 1484"/>
                <a:gd name="T12" fmla="*/ 118 w 1484"/>
                <a:gd name="T13" fmla="*/ 742 h 1484"/>
                <a:gd name="T14" fmla="*/ 742 w 1484"/>
                <a:gd name="T15" fmla="*/ 118 h 1484"/>
                <a:gd name="T16" fmla="*/ 1366 w 1484"/>
                <a:gd name="T17" fmla="*/ 742 h 1484"/>
                <a:gd name="T18" fmla="*/ 742 w 1484"/>
                <a:gd name="T19" fmla="*/ 1367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84" h="1484">
                  <a:moveTo>
                    <a:pt x="742" y="0"/>
                  </a:moveTo>
                  <a:cubicBezTo>
                    <a:pt x="332" y="0"/>
                    <a:pt x="0" y="333"/>
                    <a:pt x="0" y="742"/>
                  </a:cubicBezTo>
                  <a:cubicBezTo>
                    <a:pt x="0" y="1152"/>
                    <a:pt x="332" y="1484"/>
                    <a:pt x="742" y="1484"/>
                  </a:cubicBezTo>
                  <a:cubicBezTo>
                    <a:pt x="1152" y="1484"/>
                    <a:pt x="1484" y="1152"/>
                    <a:pt x="1484" y="742"/>
                  </a:cubicBezTo>
                  <a:cubicBezTo>
                    <a:pt x="1484" y="333"/>
                    <a:pt x="1152" y="0"/>
                    <a:pt x="742" y="0"/>
                  </a:cubicBezTo>
                  <a:close/>
                  <a:moveTo>
                    <a:pt x="742" y="1367"/>
                  </a:moveTo>
                  <a:cubicBezTo>
                    <a:pt x="397" y="1367"/>
                    <a:pt x="118" y="1087"/>
                    <a:pt x="118" y="742"/>
                  </a:cubicBezTo>
                  <a:cubicBezTo>
                    <a:pt x="118" y="398"/>
                    <a:pt x="397" y="118"/>
                    <a:pt x="742" y="118"/>
                  </a:cubicBezTo>
                  <a:cubicBezTo>
                    <a:pt x="1087" y="118"/>
                    <a:pt x="1366" y="398"/>
                    <a:pt x="1366" y="742"/>
                  </a:cubicBezTo>
                  <a:cubicBezTo>
                    <a:pt x="1366" y="1087"/>
                    <a:pt x="1087" y="1367"/>
                    <a:pt x="742" y="13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5" name="Freeform 72"/>
            <p:cNvSpPr>
              <a:spLocks/>
            </p:cNvSpPr>
            <p:nvPr/>
          </p:nvSpPr>
          <p:spPr bwMode="auto">
            <a:xfrm>
              <a:off x="1557338" y="5567363"/>
              <a:ext cx="125413" cy="122237"/>
            </a:xfrm>
            <a:custGeom>
              <a:avLst/>
              <a:gdLst>
                <a:gd name="T0" fmla="*/ 59 w 154"/>
                <a:gd name="T1" fmla="*/ 138 h 150"/>
                <a:gd name="T2" fmla="*/ 13 w 154"/>
                <a:gd name="T3" fmla="*/ 135 h 150"/>
                <a:gd name="T4" fmla="*/ 13 w 154"/>
                <a:gd name="T5" fmla="*/ 135 h 150"/>
                <a:gd name="T6" fmla="*/ 13 w 154"/>
                <a:gd name="T7" fmla="*/ 89 h 150"/>
                <a:gd name="T8" fmla="*/ 95 w 154"/>
                <a:gd name="T9" fmla="*/ 12 h 150"/>
                <a:gd name="T10" fmla="*/ 141 w 154"/>
                <a:gd name="T11" fmla="*/ 15 h 150"/>
                <a:gd name="T12" fmla="*/ 141 w 154"/>
                <a:gd name="T13" fmla="*/ 15 h 150"/>
                <a:gd name="T14" fmla="*/ 142 w 154"/>
                <a:gd name="T15" fmla="*/ 61 h 150"/>
                <a:gd name="T16" fmla="*/ 59 w 154"/>
                <a:gd name="T17"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150">
                  <a:moveTo>
                    <a:pt x="59" y="138"/>
                  </a:moveTo>
                  <a:cubicBezTo>
                    <a:pt x="46" y="150"/>
                    <a:pt x="26" y="149"/>
                    <a:pt x="13" y="135"/>
                  </a:cubicBezTo>
                  <a:cubicBezTo>
                    <a:pt x="13" y="135"/>
                    <a:pt x="13" y="135"/>
                    <a:pt x="13" y="135"/>
                  </a:cubicBezTo>
                  <a:cubicBezTo>
                    <a:pt x="0" y="122"/>
                    <a:pt x="0" y="101"/>
                    <a:pt x="13" y="89"/>
                  </a:cubicBezTo>
                  <a:cubicBezTo>
                    <a:pt x="95" y="12"/>
                    <a:pt x="95" y="12"/>
                    <a:pt x="95" y="12"/>
                  </a:cubicBezTo>
                  <a:cubicBezTo>
                    <a:pt x="108" y="0"/>
                    <a:pt x="129" y="1"/>
                    <a:pt x="141" y="15"/>
                  </a:cubicBezTo>
                  <a:cubicBezTo>
                    <a:pt x="141" y="15"/>
                    <a:pt x="141" y="15"/>
                    <a:pt x="141" y="15"/>
                  </a:cubicBezTo>
                  <a:cubicBezTo>
                    <a:pt x="154" y="28"/>
                    <a:pt x="154" y="49"/>
                    <a:pt x="142" y="61"/>
                  </a:cubicBezTo>
                  <a:lnTo>
                    <a:pt x="59"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6" name="Freeform 73"/>
            <p:cNvSpPr>
              <a:spLocks/>
            </p:cNvSpPr>
            <p:nvPr/>
          </p:nvSpPr>
          <p:spPr bwMode="auto">
            <a:xfrm>
              <a:off x="1625601" y="5635625"/>
              <a:ext cx="461963" cy="463550"/>
            </a:xfrm>
            <a:custGeom>
              <a:avLst/>
              <a:gdLst>
                <a:gd name="T0" fmla="*/ 522 w 566"/>
                <a:gd name="T1" fmla="*/ 366 h 569"/>
                <a:gd name="T2" fmla="*/ 522 w 566"/>
                <a:gd name="T3" fmla="*/ 525 h 569"/>
                <a:gd name="T4" fmla="*/ 522 w 566"/>
                <a:gd name="T5" fmla="*/ 525 h 569"/>
                <a:gd name="T6" fmla="*/ 363 w 566"/>
                <a:gd name="T7" fmla="*/ 525 h 569"/>
                <a:gd name="T8" fmla="*/ 44 w 566"/>
                <a:gd name="T9" fmla="*/ 202 h 569"/>
                <a:gd name="T10" fmla="*/ 44 w 566"/>
                <a:gd name="T11" fmla="*/ 43 h 569"/>
                <a:gd name="T12" fmla="*/ 44 w 566"/>
                <a:gd name="T13" fmla="*/ 43 h 569"/>
                <a:gd name="T14" fmla="*/ 203 w 566"/>
                <a:gd name="T15" fmla="*/ 44 h 569"/>
                <a:gd name="T16" fmla="*/ 522 w 566"/>
                <a:gd name="T17" fmla="*/ 366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569">
                  <a:moveTo>
                    <a:pt x="522" y="366"/>
                  </a:moveTo>
                  <a:cubicBezTo>
                    <a:pt x="566" y="410"/>
                    <a:pt x="566" y="482"/>
                    <a:pt x="522" y="525"/>
                  </a:cubicBezTo>
                  <a:cubicBezTo>
                    <a:pt x="522" y="525"/>
                    <a:pt x="522" y="525"/>
                    <a:pt x="522" y="525"/>
                  </a:cubicBezTo>
                  <a:cubicBezTo>
                    <a:pt x="478" y="569"/>
                    <a:pt x="406" y="569"/>
                    <a:pt x="363" y="525"/>
                  </a:cubicBezTo>
                  <a:cubicBezTo>
                    <a:pt x="44" y="202"/>
                    <a:pt x="44" y="202"/>
                    <a:pt x="44" y="202"/>
                  </a:cubicBezTo>
                  <a:cubicBezTo>
                    <a:pt x="0" y="158"/>
                    <a:pt x="0" y="87"/>
                    <a:pt x="44" y="43"/>
                  </a:cubicBezTo>
                  <a:cubicBezTo>
                    <a:pt x="44" y="43"/>
                    <a:pt x="44" y="43"/>
                    <a:pt x="44" y="43"/>
                  </a:cubicBezTo>
                  <a:cubicBezTo>
                    <a:pt x="88" y="0"/>
                    <a:pt x="160" y="0"/>
                    <a:pt x="203" y="44"/>
                  </a:cubicBezTo>
                  <a:lnTo>
                    <a:pt x="522" y="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8" name="Group 67"/>
          <p:cNvGrpSpPr/>
          <p:nvPr/>
        </p:nvGrpSpPr>
        <p:grpSpPr>
          <a:xfrm>
            <a:off x="6622488" y="2588308"/>
            <a:ext cx="591783" cy="483636"/>
            <a:chOff x="8528072" y="2730513"/>
            <a:chExt cx="625482" cy="511176"/>
          </a:xfrm>
          <a:solidFill>
            <a:schemeClr val="bg1"/>
          </a:solidFill>
        </p:grpSpPr>
        <p:sp>
          <p:nvSpPr>
            <p:cNvPr id="69" name="Freeform 286"/>
            <p:cNvSpPr>
              <a:spLocks/>
            </p:cNvSpPr>
            <p:nvPr/>
          </p:nvSpPr>
          <p:spPr bwMode="auto">
            <a:xfrm>
              <a:off x="8528077" y="2873387"/>
              <a:ext cx="625477" cy="368302"/>
            </a:xfrm>
            <a:custGeom>
              <a:avLst/>
              <a:gdLst>
                <a:gd name="T0" fmla="*/ 394 w 394"/>
                <a:gd name="T1" fmla="*/ 198 h 232"/>
                <a:gd name="T2" fmla="*/ 394 w 394"/>
                <a:gd name="T3" fmla="*/ 198 h 232"/>
                <a:gd name="T4" fmla="*/ 394 w 394"/>
                <a:gd name="T5" fmla="*/ 206 h 232"/>
                <a:gd name="T6" fmla="*/ 392 w 394"/>
                <a:gd name="T7" fmla="*/ 212 h 232"/>
                <a:gd name="T8" fmla="*/ 388 w 394"/>
                <a:gd name="T9" fmla="*/ 218 h 232"/>
                <a:gd name="T10" fmla="*/ 384 w 394"/>
                <a:gd name="T11" fmla="*/ 222 h 232"/>
                <a:gd name="T12" fmla="*/ 378 w 394"/>
                <a:gd name="T13" fmla="*/ 226 h 232"/>
                <a:gd name="T14" fmla="*/ 372 w 394"/>
                <a:gd name="T15" fmla="*/ 228 h 232"/>
                <a:gd name="T16" fmla="*/ 366 w 394"/>
                <a:gd name="T17" fmla="*/ 230 h 232"/>
                <a:gd name="T18" fmla="*/ 358 w 394"/>
                <a:gd name="T19" fmla="*/ 232 h 232"/>
                <a:gd name="T20" fmla="*/ 36 w 394"/>
                <a:gd name="T21" fmla="*/ 232 h 232"/>
                <a:gd name="T22" fmla="*/ 36 w 394"/>
                <a:gd name="T23" fmla="*/ 232 h 232"/>
                <a:gd name="T24" fmla="*/ 30 w 394"/>
                <a:gd name="T25" fmla="*/ 230 h 232"/>
                <a:gd name="T26" fmla="*/ 22 w 394"/>
                <a:gd name="T27" fmla="*/ 228 h 232"/>
                <a:gd name="T28" fmla="*/ 16 w 394"/>
                <a:gd name="T29" fmla="*/ 226 h 232"/>
                <a:gd name="T30" fmla="*/ 10 w 394"/>
                <a:gd name="T31" fmla="*/ 222 h 232"/>
                <a:gd name="T32" fmla="*/ 6 w 394"/>
                <a:gd name="T33" fmla="*/ 218 h 232"/>
                <a:gd name="T34" fmla="*/ 4 w 394"/>
                <a:gd name="T35" fmla="*/ 212 h 232"/>
                <a:gd name="T36" fmla="*/ 2 w 394"/>
                <a:gd name="T37" fmla="*/ 206 h 232"/>
                <a:gd name="T38" fmla="*/ 0 w 394"/>
                <a:gd name="T39" fmla="*/ 198 h 232"/>
                <a:gd name="T40" fmla="*/ 0 w 394"/>
                <a:gd name="T41" fmla="*/ 32 h 232"/>
                <a:gd name="T42" fmla="*/ 0 w 394"/>
                <a:gd name="T43" fmla="*/ 32 h 232"/>
                <a:gd name="T44" fmla="*/ 2 w 394"/>
                <a:gd name="T45" fmla="*/ 26 h 232"/>
                <a:gd name="T46" fmla="*/ 4 w 394"/>
                <a:gd name="T47" fmla="*/ 20 h 232"/>
                <a:gd name="T48" fmla="*/ 6 w 394"/>
                <a:gd name="T49" fmla="*/ 14 h 232"/>
                <a:gd name="T50" fmla="*/ 10 w 394"/>
                <a:gd name="T51" fmla="*/ 10 h 232"/>
                <a:gd name="T52" fmla="*/ 16 w 394"/>
                <a:gd name="T53" fmla="*/ 6 h 232"/>
                <a:gd name="T54" fmla="*/ 22 w 394"/>
                <a:gd name="T55" fmla="*/ 2 h 232"/>
                <a:gd name="T56" fmla="*/ 30 w 394"/>
                <a:gd name="T57" fmla="*/ 0 h 232"/>
                <a:gd name="T58" fmla="*/ 36 w 394"/>
                <a:gd name="T59" fmla="*/ 0 h 232"/>
                <a:gd name="T60" fmla="*/ 358 w 394"/>
                <a:gd name="T61" fmla="*/ 0 h 232"/>
                <a:gd name="T62" fmla="*/ 358 w 394"/>
                <a:gd name="T63" fmla="*/ 0 h 232"/>
                <a:gd name="T64" fmla="*/ 366 w 394"/>
                <a:gd name="T65" fmla="*/ 0 h 232"/>
                <a:gd name="T66" fmla="*/ 372 w 394"/>
                <a:gd name="T67" fmla="*/ 2 h 232"/>
                <a:gd name="T68" fmla="*/ 378 w 394"/>
                <a:gd name="T69" fmla="*/ 6 h 232"/>
                <a:gd name="T70" fmla="*/ 384 w 394"/>
                <a:gd name="T71" fmla="*/ 10 h 232"/>
                <a:gd name="T72" fmla="*/ 388 w 394"/>
                <a:gd name="T73" fmla="*/ 14 h 232"/>
                <a:gd name="T74" fmla="*/ 392 w 394"/>
                <a:gd name="T75" fmla="*/ 20 h 232"/>
                <a:gd name="T76" fmla="*/ 394 w 394"/>
                <a:gd name="T77" fmla="*/ 26 h 232"/>
                <a:gd name="T78" fmla="*/ 394 w 394"/>
                <a:gd name="T79" fmla="*/ 32 h 232"/>
                <a:gd name="T80" fmla="*/ 394 w 394"/>
                <a:gd name="T81" fmla="*/ 19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4" h="232">
                  <a:moveTo>
                    <a:pt x="394" y="198"/>
                  </a:moveTo>
                  <a:lnTo>
                    <a:pt x="394" y="198"/>
                  </a:lnTo>
                  <a:lnTo>
                    <a:pt x="394" y="206"/>
                  </a:lnTo>
                  <a:lnTo>
                    <a:pt x="392" y="212"/>
                  </a:lnTo>
                  <a:lnTo>
                    <a:pt x="388" y="218"/>
                  </a:lnTo>
                  <a:lnTo>
                    <a:pt x="384" y="222"/>
                  </a:lnTo>
                  <a:lnTo>
                    <a:pt x="378" y="226"/>
                  </a:lnTo>
                  <a:lnTo>
                    <a:pt x="372" y="228"/>
                  </a:lnTo>
                  <a:lnTo>
                    <a:pt x="366" y="230"/>
                  </a:lnTo>
                  <a:lnTo>
                    <a:pt x="358" y="232"/>
                  </a:lnTo>
                  <a:lnTo>
                    <a:pt x="36" y="232"/>
                  </a:lnTo>
                  <a:lnTo>
                    <a:pt x="36" y="232"/>
                  </a:lnTo>
                  <a:lnTo>
                    <a:pt x="30" y="230"/>
                  </a:lnTo>
                  <a:lnTo>
                    <a:pt x="22" y="228"/>
                  </a:lnTo>
                  <a:lnTo>
                    <a:pt x="16" y="226"/>
                  </a:lnTo>
                  <a:lnTo>
                    <a:pt x="10" y="222"/>
                  </a:lnTo>
                  <a:lnTo>
                    <a:pt x="6" y="218"/>
                  </a:lnTo>
                  <a:lnTo>
                    <a:pt x="4" y="212"/>
                  </a:lnTo>
                  <a:lnTo>
                    <a:pt x="2" y="206"/>
                  </a:lnTo>
                  <a:lnTo>
                    <a:pt x="0" y="198"/>
                  </a:lnTo>
                  <a:lnTo>
                    <a:pt x="0" y="32"/>
                  </a:lnTo>
                  <a:lnTo>
                    <a:pt x="0" y="32"/>
                  </a:lnTo>
                  <a:lnTo>
                    <a:pt x="2" y="26"/>
                  </a:lnTo>
                  <a:lnTo>
                    <a:pt x="4" y="20"/>
                  </a:lnTo>
                  <a:lnTo>
                    <a:pt x="6" y="14"/>
                  </a:lnTo>
                  <a:lnTo>
                    <a:pt x="10" y="10"/>
                  </a:lnTo>
                  <a:lnTo>
                    <a:pt x="16" y="6"/>
                  </a:lnTo>
                  <a:lnTo>
                    <a:pt x="22" y="2"/>
                  </a:lnTo>
                  <a:lnTo>
                    <a:pt x="30" y="0"/>
                  </a:lnTo>
                  <a:lnTo>
                    <a:pt x="36" y="0"/>
                  </a:lnTo>
                  <a:lnTo>
                    <a:pt x="358" y="0"/>
                  </a:lnTo>
                  <a:lnTo>
                    <a:pt x="358" y="0"/>
                  </a:lnTo>
                  <a:lnTo>
                    <a:pt x="366" y="0"/>
                  </a:lnTo>
                  <a:lnTo>
                    <a:pt x="372" y="2"/>
                  </a:lnTo>
                  <a:lnTo>
                    <a:pt x="378" y="6"/>
                  </a:lnTo>
                  <a:lnTo>
                    <a:pt x="384" y="10"/>
                  </a:lnTo>
                  <a:lnTo>
                    <a:pt x="388" y="14"/>
                  </a:lnTo>
                  <a:lnTo>
                    <a:pt x="392" y="20"/>
                  </a:lnTo>
                  <a:lnTo>
                    <a:pt x="394" y="26"/>
                  </a:lnTo>
                  <a:lnTo>
                    <a:pt x="394" y="32"/>
                  </a:lnTo>
                  <a:lnTo>
                    <a:pt x="394"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0" name="Freeform 287"/>
            <p:cNvSpPr>
              <a:spLocks/>
            </p:cNvSpPr>
            <p:nvPr/>
          </p:nvSpPr>
          <p:spPr bwMode="auto">
            <a:xfrm>
              <a:off x="8528072" y="2730513"/>
              <a:ext cx="625477" cy="161926"/>
            </a:xfrm>
            <a:custGeom>
              <a:avLst/>
              <a:gdLst>
                <a:gd name="T0" fmla="*/ 346 w 394"/>
                <a:gd name="T1" fmla="*/ 34 h 102"/>
                <a:gd name="T2" fmla="*/ 190 w 394"/>
                <a:gd name="T3" fmla="*/ 34 h 102"/>
                <a:gd name="T4" fmla="*/ 190 w 394"/>
                <a:gd name="T5" fmla="*/ 34 h 102"/>
                <a:gd name="T6" fmla="*/ 190 w 394"/>
                <a:gd name="T7" fmla="*/ 28 h 102"/>
                <a:gd name="T8" fmla="*/ 188 w 394"/>
                <a:gd name="T9" fmla="*/ 20 h 102"/>
                <a:gd name="T10" fmla="*/ 184 w 394"/>
                <a:gd name="T11" fmla="*/ 14 h 102"/>
                <a:gd name="T12" fmla="*/ 178 w 394"/>
                <a:gd name="T13" fmla="*/ 10 h 102"/>
                <a:gd name="T14" fmla="*/ 172 w 394"/>
                <a:gd name="T15" fmla="*/ 4 h 102"/>
                <a:gd name="T16" fmla="*/ 166 w 394"/>
                <a:gd name="T17" fmla="*/ 2 h 102"/>
                <a:gd name="T18" fmla="*/ 158 w 394"/>
                <a:gd name="T19" fmla="*/ 0 h 102"/>
                <a:gd name="T20" fmla="*/ 150 w 394"/>
                <a:gd name="T21" fmla="*/ 0 h 102"/>
                <a:gd name="T22" fmla="*/ 42 w 394"/>
                <a:gd name="T23" fmla="*/ 0 h 102"/>
                <a:gd name="T24" fmla="*/ 42 w 394"/>
                <a:gd name="T25" fmla="*/ 0 h 102"/>
                <a:gd name="T26" fmla="*/ 34 w 394"/>
                <a:gd name="T27" fmla="*/ 0 h 102"/>
                <a:gd name="T28" fmla="*/ 26 w 394"/>
                <a:gd name="T29" fmla="*/ 2 h 102"/>
                <a:gd name="T30" fmla="*/ 18 w 394"/>
                <a:gd name="T31" fmla="*/ 6 h 102"/>
                <a:gd name="T32" fmla="*/ 12 w 394"/>
                <a:gd name="T33" fmla="*/ 10 h 102"/>
                <a:gd name="T34" fmla="*/ 8 w 394"/>
                <a:gd name="T35" fmla="*/ 16 h 102"/>
                <a:gd name="T36" fmla="*/ 4 w 394"/>
                <a:gd name="T37" fmla="*/ 22 h 102"/>
                <a:gd name="T38" fmla="*/ 2 w 394"/>
                <a:gd name="T39" fmla="*/ 28 h 102"/>
                <a:gd name="T40" fmla="*/ 0 w 394"/>
                <a:gd name="T41" fmla="*/ 36 h 102"/>
                <a:gd name="T42" fmla="*/ 0 w 394"/>
                <a:gd name="T43" fmla="*/ 90 h 102"/>
                <a:gd name="T44" fmla="*/ 0 w 394"/>
                <a:gd name="T45" fmla="*/ 90 h 102"/>
                <a:gd name="T46" fmla="*/ 0 w 394"/>
                <a:gd name="T47" fmla="*/ 86 h 102"/>
                <a:gd name="T48" fmla="*/ 0 w 394"/>
                <a:gd name="T49" fmla="*/ 98 h 102"/>
                <a:gd name="T50" fmla="*/ 0 w 394"/>
                <a:gd name="T51" fmla="*/ 98 h 102"/>
                <a:gd name="T52" fmla="*/ 2 w 394"/>
                <a:gd name="T53" fmla="*/ 92 h 102"/>
                <a:gd name="T54" fmla="*/ 4 w 394"/>
                <a:gd name="T55" fmla="*/ 88 h 102"/>
                <a:gd name="T56" fmla="*/ 12 w 394"/>
                <a:gd name="T57" fmla="*/ 78 h 102"/>
                <a:gd name="T58" fmla="*/ 24 w 394"/>
                <a:gd name="T59" fmla="*/ 72 h 102"/>
                <a:gd name="T60" fmla="*/ 36 w 394"/>
                <a:gd name="T61" fmla="*/ 70 h 102"/>
                <a:gd name="T62" fmla="*/ 38 w 394"/>
                <a:gd name="T63" fmla="*/ 70 h 102"/>
                <a:gd name="T64" fmla="*/ 48 w 394"/>
                <a:gd name="T65" fmla="*/ 40 h 102"/>
                <a:gd name="T66" fmla="*/ 78 w 394"/>
                <a:gd name="T67" fmla="*/ 48 h 102"/>
                <a:gd name="T68" fmla="*/ 88 w 394"/>
                <a:gd name="T69" fmla="*/ 20 h 102"/>
                <a:gd name="T70" fmla="*/ 248 w 394"/>
                <a:gd name="T71" fmla="*/ 70 h 102"/>
                <a:gd name="T72" fmla="*/ 358 w 394"/>
                <a:gd name="T73" fmla="*/ 70 h 102"/>
                <a:gd name="T74" fmla="*/ 358 w 394"/>
                <a:gd name="T75" fmla="*/ 70 h 102"/>
                <a:gd name="T76" fmla="*/ 366 w 394"/>
                <a:gd name="T77" fmla="*/ 70 h 102"/>
                <a:gd name="T78" fmla="*/ 372 w 394"/>
                <a:gd name="T79" fmla="*/ 72 h 102"/>
                <a:gd name="T80" fmla="*/ 378 w 394"/>
                <a:gd name="T81" fmla="*/ 76 h 102"/>
                <a:gd name="T82" fmla="*/ 384 w 394"/>
                <a:gd name="T83" fmla="*/ 80 h 102"/>
                <a:gd name="T84" fmla="*/ 388 w 394"/>
                <a:gd name="T85" fmla="*/ 84 h 102"/>
                <a:gd name="T86" fmla="*/ 392 w 394"/>
                <a:gd name="T87" fmla="*/ 90 h 102"/>
                <a:gd name="T88" fmla="*/ 394 w 394"/>
                <a:gd name="T89" fmla="*/ 96 h 102"/>
                <a:gd name="T90" fmla="*/ 394 w 394"/>
                <a:gd name="T91" fmla="*/ 102 h 102"/>
                <a:gd name="T92" fmla="*/ 394 w 394"/>
                <a:gd name="T93" fmla="*/ 78 h 102"/>
                <a:gd name="T94" fmla="*/ 394 w 394"/>
                <a:gd name="T95" fmla="*/ 78 h 102"/>
                <a:gd name="T96" fmla="*/ 394 w 394"/>
                <a:gd name="T97" fmla="*/ 68 h 102"/>
                <a:gd name="T98" fmla="*/ 392 w 394"/>
                <a:gd name="T99" fmla="*/ 60 h 102"/>
                <a:gd name="T100" fmla="*/ 386 w 394"/>
                <a:gd name="T101" fmla="*/ 54 h 102"/>
                <a:gd name="T102" fmla="*/ 380 w 394"/>
                <a:gd name="T103" fmla="*/ 46 h 102"/>
                <a:gd name="T104" fmla="*/ 374 w 394"/>
                <a:gd name="T105" fmla="*/ 42 h 102"/>
                <a:gd name="T106" fmla="*/ 366 w 394"/>
                <a:gd name="T107" fmla="*/ 38 h 102"/>
                <a:gd name="T108" fmla="*/ 356 w 394"/>
                <a:gd name="T109" fmla="*/ 36 h 102"/>
                <a:gd name="T110" fmla="*/ 346 w 394"/>
                <a:gd name="T111" fmla="*/ 34 h 102"/>
                <a:gd name="T112" fmla="*/ 346 w 394"/>
                <a:gd name="T113" fmla="*/ 3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4" h="102">
                  <a:moveTo>
                    <a:pt x="346" y="34"/>
                  </a:moveTo>
                  <a:lnTo>
                    <a:pt x="190" y="34"/>
                  </a:lnTo>
                  <a:lnTo>
                    <a:pt x="190" y="34"/>
                  </a:lnTo>
                  <a:lnTo>
                    <a:pt x="190" y="28"/>
                  </a:lnTo>
                  <a:lnTo>
                    <a:pt x="188" y="20"/>
                  </a:lnTo>
                  <a:lnTo>
                    <a:pt x="184" y="14"/>
                  </a:lnTo>
                  <a:lnTo>
                    <a:pt x="178" y="10"/>
                  </a:lnTo>
                  <a:lnTo>
                    <a:pt x="172" y="4"/>
                  </a:lnTo>
                  <a:lnTo>
                    <a:pt x="166" y="2"/>
                  </a:lnTo>
                  <a:lnTo>
                    <a:pt x="158" y="0"/>
                  </a:lnTo>
                  <a:lnTo>
                    <a:pt x="150" y="0"/>
                  </a:lnTo>
                  <a:lnTo>
                    <a:pt x="42" y="0"/>
                  </a:lnTo>
                  <a:lnTo>
                    <a:pt x="42" y="0"/>
                  </a:lnTo>
                  <a:lnTo>
                    <a:pt x="34" y="0"/>
                  </a:lnTo>
                  <a:lnTo>
                    <a:pt x="26" y="2"/>
                  </a:lnTo>
                  <a:lnTo>
                    <a:pt x="18" y="6"/>
                  </a:lnTo>
                  <a:lnTo>
                    <a:pt x="12" y="10"/>
                  </a:lnTo>
                  <a:lnTo>
                    <a:pt x="8" y="16"/>
                  </a:lnTo>
                  <a:lnTo>
                    <a:pt x="4" y="22"/>
                  </a:lnTo>
                  <a:lnTo>
                    <a:pt x="2" y="28"/>
                  </a:lnTo>
                  <a:lnTo>
                    <a:pt x="0" y="36"/>
                  </a:lnTo>
                  <a:lnTo>
                    <a:pt x="0" y="90"/>
                  </a:lnTo>
                  <a:lnTo>
                    <a:pt x="0" y="90"/>
                  </a:lnTo>
                  <a:lnTo>
                    <a:pt x="0" y="86"/>
                  </a:lnTo>
                  <a:lnTo>
                    <a:pt x="0" y="98"/>
                  </a:lnTo>
                  <a:lnTo>
                    <a:pt x="0" y="98"/>
                  </a:lnTo>
                  <a:lnTo>
                    <a:pt x="2" y="92"/>
                  </a:lnTo>
                  <a:lnTo>
                    <a:pt x="4" y="88"/>
                  </a:lnTo>
                  <a:lnTo>
                    <a:pt x="12" y="78"/>
                  </a:lnTo>
                  <a:lnTo>
                    <a:pt x="24" y="72"/>
                  </a:lnTo>
                  <a:lnTo>
                    <a:pt x="36" y="70"/>
                  </a:lnTo>
                  <a:lnTo>
                    <a:pt x="38" y="70"/>
                  </a:lnTo>
                  <a:lnTo>
                    <a:pt x="48" y="40"/>
                  </a:lnTo>
                  <a:lnTo>
                    <a:pt x="78" y="48"/>
                  </a:lnTo>
                  <a:lnTo>
                    <a:pt x="88" y="20"/>
                  </a:lnTo>
                  <a:lnTo>
                    <a:pt x="248" y="70"/>
                  </a:lnTo>
                  <a:lnTo>
                    <a:pt x="358" y="70"/>
                  </a:lnTo>
                  <a:lnTo>
                    <a:pt x="358" y="70"/>
                  </a:lnTo>
                  <a:lnTo>
                    <a:pt x="366" y="70"/>
                  </a:lnTo>
                  <a:lnTo>
                    <a:pt x="372" y="72"/>
                  </a:lnTo>
                  <a:lnTo>
                    <a:pt x="378" y="76"/>
                  </a:lnTo>
                  <a:lnTo>
                    <a:pt x="384" y="80"/>
                  </a:lnTo>
                  <a:lnTo>
                    <a:pt x="388" y="84"/>
                  </a:lnTo>
                  <a:lnTo>
                    <a:pt x="392" y="90"/>
                  </a:lnTo>
                  <a:lnTo>
                    <a:pt x="394" y="96"/>
                  </a:lnTo>
                  <a:lnTo>
                    <a:pt x="394" y="102"/>
                  </a:lnTo>
                  <a:lnTo>
                    <a:pt x="394" y="78"/>
                  </a:lnTo>
                  <a:lnTo>
                    <a:pt x="394" y="78"/>
                  </a:lnTo>
                  <a:lnTo>
                    <a:pt x="394" y="68"/>
                  </a:lnTo>
                  <a:lnTo>
                    <a:pt x="392" y="60"/>
                  </a:lnTo>
                  <a:lnTo>
                    <a:pt x="386" y="54"/>
                  </a:lnTo>
                  <a:lnTo>
                    <a:pt x="380" y="46"/>
                  </a:lnTo>
                  <a:lnTo>
                    <a:pt x="374" y="42"/>
                  </a:lnTo>
                  <a:lnTo>
                    <a:pt x="366" y="38"/>
                  </a:lnTo>
                  <a:lnTo>
                    <a:pt x="356" y="36"/>
                  </a:lnTo>
                  <a:lnTo>
                    <a:pt x="346" y="34"/>
                  </a:lnTo>
                  <a:lnTo>
                    <a:pt x="346"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1" name="Freeform 288"/>
            <p:cNvSpPr>
              <a:spLocks noEditPoints="1"/>
            </p:cNvSpPr>
            <p:nvPr/>
          </p:nvSpPr>
          <p:spPr bwMode="auto">
            <a:xfrm>
              <a:off x="8680470" y="2913005"/>
              <a:ext cx="313056" cy="315983"/>
            </a:xfrm>
            <a:custGeom>
              <a:avLst/>
              <a:gdLst>
                <a:gd name="T0" fmla="*/ 172 w 214"/>
                <a:gd name="T1" fmla="*/ 144 h 216"/>
                <a:gd name="T2" fmla="*/ 168 w 214"/>
                <a:gd name="T3" fmla="*/ 140 h 216"/>
                <a:gd name="T4" fmla="*/ 158 w 214"/>
                <a:gd name="T5" fmla="*/ 138 h 216"/>
                <a:gd name="T6" fmla="*/ 146 w 214"/>
                <a:gd name="T7" fmla="*/ 134 h 216"/>
                <a:gd name="T8" fmla="*/ 154 w 214"/>
                <a:gd name="T9" fmla="*/ 122 h 216"/>
                <a:gd name="T10" fmla="*/ 162 w 214"/>
                <a:gd name="T11" fmla="*/ 96 h 216"/>
                <a:gd name="T12" fmla="*/ 164 w 214"/>
                <a:gd name="T13" fmla="*/ 82 h 216"/>
                <a:gd name="T14" fmla="*/ 158 w 214"/>
                <a:gd name="T15" fmla="*/ 50 h 216"/>
                <a:gd name="T16" fmla="*/ 140 w 214"/>
                <a:gd name="T17" fmla="*/ 24 h 216"/>
                <a:gd name="T18" fmla="*/ 114 w 214"/>
                <a:gd name="T19" fmla="*/ 6 h 216"/>
                <a:gd name="T20" fmla="*/ 82 w 214"/>
                <a:gd name="T21" fmla="*/ 0 h 216"/>
                <a:gd name="T22" fmla="*/ 64 w 214"/>
                <a:gd name="T23" fmla="*/ 2 h 216"/>
                <a:gd name="T24" fmla="*/ 36 w 214"/>
                <a:gd name="T25" fmla="*/ 14 h 216"/>
                <a:gd name="T26" fmla="*/ 14 w 214"/>
                <a:gd name="T27" fmla="*/ 36 h 216"/>
                <a:gd name="T28" fmla="*/ 2 w 214"/>
                <a:gd name="T29" fmla="*/ 66 h 216"/>
                <a:gd name="T30" fmla="*/ 0 w 214"/>
                <a:gd name="T31" fmla="*/ 82 h 216"/>
                <a:gd name="T32" fmla="*/ 6 w 214"/>
                <a:gd name="T33" fmla="*/ 114 h 216"/>
                <a:gd name="T34" fmla="*/ 24 w 214"/>
                <a:gd name="T35" fmla="*/ 140 h 216"/>
                <a:gd name="T36" fmla="*/ 50 w 214"/>
                <a:gd name="T37" fmla="*/ 158 h 216"/>
                <a:gd name="T38" fmla="*/ 82 w 214"/>
                <a:gd name="T39" fmla="*/ 164 h 216"/>
                <a:gd name="T40" fmla="*/ 96 w 214"/>
                <a:gd name="T41" fmla="*/ 164 h 216"/>
                <a:gd name="T42" fmla="*/ 122 w 214"/>
                <a:gd name="T43" fmla="*/ 154 h 216"/>
                <a:gd name="T44" fmla="*/ 140 w 214"/>
                <a:gd name="T45" fmla="*/ 154 h 216"/>
                <a:gd name="T46" fmla="*/ 138 w 214"/>
                <a:gd name="T47" fmla="*/ 158 h 216"/>
                <a:gd name="T48" fmla="*/ 140 w 214"/>
                <a:gd name="T49" fmla="*/ 168 h 216"/>
                <a:gd name="T50" fmla="*/ 180 w 214"/>
                <a:gd name="T51" fmla="*/ 210 h 216"/>
                <a:gd name="T52" fmla="*/ 186 w 214"/>
                <a:gd name="T53" fmla="*/ 214 h 216"/>
                <a:gd name="T54" fmla="*/ 198 w 214"/>
                <a:gd name="T55" fmla="*/ 214 h 216"/>
                <a:gd name="T56" fmla="*/ 210 w 214"/>
                <a:gd name="T57" fmla="*/ 204 h 216"/>
                <a:gd name="T58" fmla="*/ 214 w 214"/>
                <a:gd name="T59" fmla="*/ 198 h 216"/>
                <a:gd name="T60" fmla="*/ 214 w 214"/>
                <a:gd name="T61" fmla="*/ 186 h 216"/>
                <a:gd name="T62" fmla="*/ 210 w 214"/>
                <a:gd name="T63" fmla="*/ 182 h 216"/>
                <a:gd name="T64" fmla="*/ 14 w 214"/>
                <a:gd name="T65" fmla="*/ 82 h 216"/>
                <a:gd name="T66" fmla="*/ 20 w 214"/>
                <a:gd name="T67" fmla="*/ 56 h 216"/>
                <a:gd name="T68" fmla="*/ 34 w 214"/>
                <a:gd name="T69" fmla="*/ 34 h 216"/>
                <a:gd name="T70" fmla="*/ 56 w 214"/>
                <a:gd name="T71" fmla="*/ 20 h 216"/>
                <a:gd name="T72" fmla="*/ 82 w 214"/>
                <a:gd name="T73" fmla="*/ 16 h 216"/>
                <a:gd name="T74" fmla="*/ 94 w 214"/>
                <a:gd name="T75" fmla="*/ 16 h 216"/>
                <a:gd name="T76" fmla="*/ 118 w 214"/>
                <a:gd name="T77" fmla="*/ 26 h 216"/>
                <a:gd name="T78" fmla="*/ 138 w 214"/>
                <a:gd name="T79" fmla="*/ 44 h 216"/>
                <a:gd name="T80" fmla="*/ 148 w 214"/>
                <a:gd name="T81" fmla="*/ 68 h 216"/>
                <a:gd name="T82" fmla="*/ 148 w 214"/>
                <a:gd name="T83" fmla="*/ 82 h 216"/>
                <a:gd name="T84" fmla="*/ 144 w 214"/>
                <a:gd name="T85" fmla="*/ 108 h 216"/>
                <a:gd name="T86" fmla="*/ 128 w 214"/>
                <a:gd name="T87" fmla="*/ 130 h 216"/>
                <a:gd name="T88" fmla="*/ 108 w 214"/>
                <a:gd name="T89" fmla="*/ 144 h 216"/>
                <a:gd name="T90" fmla="*/ 82 w 214"/>
                <a:gd name="T91" fmla="*/ 150 h 216"/>
                <a:gd name="T92" fmla="*/ 68 w 214"/>
                <a:gd name="T93" fmla="*/ 148 h 216"/>
                <a:gd name="T94" fmla="*/ 44 w 214"/>
                <a:gd name="T95" fmla="*/ 138 h 216"/>
                <a:gd name="T96" fmla="*/ 26 w 214"/>
                <a:gd name="T97" fmla="*/ 120 h 216"/>
                <a:gd name="T98" fmla="*/ 16 w 214"/>
                <a:gd name="T99" fmla="*/ 96 h 216"/>
                <a:gd name="T100" fmla="*/ 14 w 214"/>
                <a:gd name="T101" fmla="*/ 8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4" h="216">
                  <a:moveTo>
                    <a:pt x="210" y="182"/>
                  </a:moveTo>
                  <a:lnTo>
                    <a:pt x="172" y="144"/>
                  </a:lnTo>
                  <a:lnTo>
                    <a:pt x="172" y="144"/>
                  </a:lnTo>
                  <a:lnTo>
                    <a:pt x="168" y="140"/>
                  </a:lnTo>
                  <a:lnTo>
                    <a:pt x="162" y="138"/>
                  </a:lnTo>
                  <a:lnTo>
                    <a:pt x="158" y="138"/>
                  </a:lnTo>
                  <a:lnTo>
                    <a:pt x="154" y="140"/>
                  </a:lnTo>
                  <a:lnTo>
                    <a:pt x="146" y="134"/>
                  </a:lnTo>
                  <a:lnTo>
                    <a:pt x="146" y="134"/>
                  </a:lnTo>
                  <a:lnTo>
                    <a:pt x="154" y="122"/>
                  </a:lnTo>
                  <a:lnTo>
                    <a:pt x="158" y="110"/>
                  </a:lnTo>
                  <a:lnTo>
                    <a:pt x="162" y="96"/>
                  </a:lnTo>
                  <a:lnTo>
                    <a:pt x="164" y="82"/>
                  </a:lnTo>
                  <a:lnTo>
                    <a:pt x="164" y="82"/>
                  </a:lnTo>
                  <a:lnTo>
                    <a:pt x="162" y="66"/>
                  </a:lnTo>
                  <a:lnTo>
                    <a:pt x="158" y="50"/>
                  </a:lnTo>
                  <a:lnTo>
                    <a:pt x="150" y="36"/>
                  </a:lnTo>
                  <a:lnTo>
                    <a:pt x="140" y="24"/>
                  </a:lnTo>
                  <a:lnTo>
                    <a:pt x="128" y="14"/>
                  </a:lnTo>
                  <a:lnTo>
                    <a:pt x="114" y="6"/>
                  </a:lnTo>
                  <a:lnTo>
                    <a:pt x="98" y="2"/>
                  </a:lnTo>
                  <a:lnTo>
                    <a:pt x="82" y="0"/>
                  </a:lnTo>
                  <a:lnTo>
                    <a:pt x="82" y="0"/>
                  </a:lnTo>
                  <a:lnTo>
                    <a:pt x="64" y="2"/>
                  </a:lnTo>
                  <a:lnTo>
                    <a:pt x="50" y="6"/>
                  </a:lnTo>
                  <a:lnTo>
                    <a:pt x="36" y="14"/>
                  </a:lnTo>
                  <a:lnTo>
                    <a:pt x="24" y="24"/>
                  </a:lnTo>
                  <a:lnTo>
                    <a:pt x="14" y="36"/>
                  </a:lnTo>
                  <a:lnTo>
                    <a:pt x="6" y="50"/>
                  </a:lnTo>
                  <a:lnTo>
                    <a:pt x="2" y="66"/>
                  </a:lnTo>
                  <a:lnTo>
                    <a:pt x="0" y="82"/>
                  </a:lnTo>
                  <a:lnTo>
                    <a:pt x="0" y="82"/>
                  </a:lnTo>
                  <a:lnTo>
                    <a:pt x="2" y="98"/>
                  </a:lnTo>
                  <a:lnTo>
                    <a:pt x="6" y="114"/>
                  </a:lnTo>
                  <a:lnTo>
                    <a:pt x="14" y="128"/>
                  </a:lnTo>
                  <a:lnTo>
                    <a:pt x="24" y="140"/>
                  </a:lnTo>
                  <a:lnTo>
                    <a:pt x="36" y="150"/>
                  </a:lnTo>
                  <a:lnTo>
                    <a:pt x="50" y="158"/>
                  </a:lnTo>
                  <a:lnTo>
                    <a:pt x="64" y="162"/>
                  </a:lnTo>
                  <a:lnTo>
                    <a:pt x="82" y="164"/>
                  </a:lnTo>
                  <a:lnTo>
                    <a:pt x="82" y="164"/>
                  </a:lnTo>
                  <a:lnTo>
                    <a:pt x="96" y="164"/>
                  </a:lnTo>
                  <a:lnTo>
                    <a:pt x="108" y="160"/>
                  </a:lnTo>
                  <a:lnTo>
                    <a:pt x="122" y="154"/>
                  </a:lnTo>
                  <a:lnTo>
                    <a:pt x="132" y="146"/>
                  </a:lnTo>
                  <a:lnTo>
                    <a:pt x="140" y="154"/>
                  </a:lnTo>
                  <a:lnTo>
                    <a:pt x="140" y="154"/>
                  </a:lnTo>
                  <a:lnTo>
                    <a:pt x="138" y="158"/>
                  </a:lnTo>
                  <a:lnTo>
                    <a:pt x="138" y="164"/>
                  </a:lnTo>
                  <a:lnTo>
                    <a:pt x="140" y="168"/>
                  </a:lnTo>
                  <a:lnTo>
                    <a:pt x="142" y="172"/>
                  </a:lnTo>
                  <a:lnTo>
                    <a:pt x="180" y="210"/>
                  </a:lnTo>
                  <a:lnTo>
                    <a:pt x="180" y="210"/>
                  </a:lnTo>
                  <a:lnTo>
                    <a:pt x="186" y="214"/>
                  </a:lnTo>
                  <a:lnTo>
                    <a:pt x="192" y="216"/>
                  </a:lnTo>
                  <a:lnTo>
                    <a:pt x="198" y="214"/>
                  </a:lnTo>
                  <a:lnTo>
                    <a:pt x="202" y="210"/>
                  </a:lnTo>
                  <a:lnTo>
                    <a:pt x="210" y="204"/>
                  </a:lnTo>
                  <a:lnTo>
                    <a:pt x="210" y="204"/>
                  </a:lnTo>
                  <a:lnTo>
                    <a:pt x="214" y="198"/>
                  </a:lnTo>
                  <a:lnTo>
                    <a:pt x="214" y="192"/>
                  </a:lnTo>
                  <a:lnTo>
                    <a:pt x="214" y="186"/>
                  </a:lnTo>
                  <a:lnTo>
                    <a:pt x="210" y="182"/>
                  </a:lnTo>
                  <a:lnTo>
                    <a:pt x="210" y="182"/>
                  </a:lnTo>
                  <a:close/>
                  <a:moveTo>
                    <a:pt x="14" y="82"/>
                  </a:moveTo>
                  <a:lnTo>
                    <a:pt x="14" y="82"/>
                  </a:lnTo>
                  <a:lnTo>
                    <a:pt x="16" y="68"/>
                  </a:lnTo>
                  <a:lnTo>
                    <a:pt x="20" y="56"/>
                  </a:lnTo>
                  <a:lnTo>
                    <a:pt x="26" y="44"/>
                  </a:lnTo>
                  <a:lnTo>
                    <a:pt x="34" y="34"/>
                  </a:lnTo>
                  <a:lnTo>
                    <a:pt x="44" y="26"/>
                  </a:lnTo>
                  <a:lnTo>
                    <a:pt x="56" y="20"/>
                  </a:lnTo>
                  <a:lnTo>
                    <a:pt x="68" y="16"/>
                  </a:lnTo>
                  <a:lnTo>
                    <a:pt x="82" y="16"/>
                  </a:lnTo>
                  <a:lnTo>
                    <a:pt x="82" y="16"/>
                  </a:lnTo>
                  <a:lnTo>
                    <a:pt x="94" y="16"/>
                  </a:lnTo>
                  <a:lnTo>
                    <a:pt x="108" y="20"/>
                  </a:lnTo>
                  <a:lnTo>
                    <a:pt x="118" y="26"/>
                  </a:lnTo>
                  <a:lnTo>
                    <a:pt x="128" y="34"/>
                  </a:lnTo>
                  <a:lnTo>
                    <a:pt x="138" y="44"/>
                  </a:lnTo>
                  <a:lnTo>
                    <a:pt x="144" y="56"/>
                  </a:lnTo>
                  <a:lnTo>
                    <a:pt x="148" y="68"/>
                  </a:lnTo>
                  <a:lnTo>
                    <a:pt x="148" y="82"/>
                  </a:lnTo>
                  <a:lnTo>
                    <a:pt x="148" y="82"/>
                  </a:lnTo>
                  <a:lnTo>
                    <a:pt x="148" y="96"/>
                  </a:lnTo>
                  <a:lnTo>
                    <a:pt x="144" y="108"/>
                  </a:lnTo>
                  <a:lnTo>
                    <a:pt x="138" y="120"/>
                  </a:lnTo>
                  <a:lnTo>
                    <a:pt x="128" y="130"/>
                  </a:lnTo>
                  <a:lnTo>
                    <a:pt x="118" y="138"/>
                  </a:lnTo>
                  <a:lnTo>
                    <a:pt x="108" y="144"/>
                  </a:lnTo>
                  <a:lnTo>
                    <a:pt x="94" y="148"/>
                  </a:lnTo>
                  <a:lnTo>
                    <a:pt x="82" y="150"/>
                  </a:lnTo>
                  <a:lnTo>
                    <a:pt x="82" y="150"/>
                  </a:lnTo>
                  <a:lnTo>
                    <a:pt x="68" y="148"/>
                  </a:lnTo>
                  <a:lnTo>
                    <a:pt x="56" y="144"/>
                  </a:lnTo>
                  <a:lnTo>
                    <a:pt x="44" y="138"/>
                  </a:lnTo>
                  <a:lnTo>
                    <a:pt x="34" y="130"/>
                  </a:lnTo>
                  <a:lnTo>
                    <a:pt x="26" y="120"/>
                  </a:lnTo>
                  <a:lnTo>
                    <a:pt x="20" y="108"/>
                  </a:lnTo>
                  <a:lnTo>
                    <a:pt x="16" y="96"/>
                  </a:lnTo>
                  <a:lnTo>
                    <a:pt x="14" y="82"/>
                  </a:lnTo>
                  <a:lnTo>
                    <a:pt x="14"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2" name="Freeform 289"/>
            <p:cNvSpPr>
              <a:spLocks/>
            </p:cNvSpPr>
            <p:nvPr/>
          </p:nvSpPr>
          <p:spPr bwMode="auto">
            <a:xfrm>
              <a:off x="8731250" y="2984501"/>
              <a:ext cx="114300" cy="107950"/>
            </a:xfrm>
            <a:custGeom>
              <a:avLst/>
              <a:gdLst>
                <a:gd name="T0" fmla="*/ 8 w 72"/>
                <a:gd name="T1" fmla="*/ 2 h 68"/>
                <a:gd name="T2" fmla="*/ 8 w 72"/>
                <a:gd name="T3" fmla="*/ 2 h 68"/>
                <a:gd name="T4" fmla="*/ 8 w 72"/>
                <a:gd name="T5" fmla="*/ 0 h 68"/>
                <a:gd name="T6" fmla="*/ 8 w 72"/>
                <a:gd name="T7" fmla="*/ 0 h 68"/>
                <a:gd name="T8" fmla="*/ 2 w 72"/>
                <a:gd name="T9" fmla="*/ 10 h 68"/>
                <a:gd name="T10" fmla="*/ 0 w 72"/>
                <a:gd name="T11" fmla="*/ 24 h 68"/>
                <a:gd name="T12" fmla="*/ 0 w 72"/>
                <a:gd name="T13" fmla="*/ 24 h 68"/>
                <a:gd name="T14" fmla="*/ 2 w 72"/>
                <a:gd name="T15" fmla="*/ 32 h 68"/>
                <a:gd name="T16" fmla="*/ 4 w 72"/>
                <a:gd name="T17" fmla="*/ 40 h 68"/>
                <a:gd name="T18" fmla="*/ 8 w 72"/>
                <a:gd name="T19" fmla="*/ 48 h 68"/>
                <a:gd name="T20" fmla="*/ 14 w 72"/>
                <a:gd name="T21" fmla="*/ 56 h 68"/>
                <a:gd name="T22" fmla="*/ 20 w 72"/>
                <a:gd name="T23" fmla="*/ 62 h 68"/>
                <a:gd name="T24" fmla="*/ 28 w 72"/>
                <a:gd name="T25" fmla="*/ 66 h 68"/>
                <a:gd name="T26" fmla="*/ 36 w 72"/>
                <a:gd name="T27" fmla="*/ 68 h 68"/>
                <a:gd name="T28" fmla="*/ 46 w 72"/>
                <a:gd name="T29" fmla="*/ 68 h 68"/>
                <a:gd name="T30" fmla="*/ 46 w 72"/>
                <a:gd name="T31" fmla="*/ 68 h 68"/>
                <a:gd name="T32" fmla="*/ 60 w 72"/>
                <a:gd name="T33" fmla="*/ 66 h 68"/>
                <a:gd name="T34" fmla="*/ 72 w 72"/>
                <a:gd name="T35" fmla="*/ 60 h 68"/>
                <a:gd name="T36" fmla="*/ 72 w 72"/>
                <a:gd name="T37" fmla="*/ 60 h 68"/>
                <a:gd name="T38" fmla="*/ 66 w 72"/>
                <a:gd name="T39" fmla="*/ 60 h 68"/>
                <a:gd name="T40" fmla="*/ 66 w 72"/>
                <a:gd name="T41" fmla="*/ 60 h 68"/>
                <a:gd name="T42" fmla="*/ 54 w 72"/>
                <a:gd name="T43" fmla="*/ 60 h 68"/>
                <a:gd name="T44" fmla="*/ 44 w 72"/>
                <a:gd name="T45" fmla="*/ 56 h 68"/>
                <a:gd name="T46" fmla="*/ 34 w 72"/>
                <a:gd name="T47" fmla="*/ 50 h 68"/>
                <a:gd name="T48" fmla="*/ 24 w 72"/>
                <a:gd name="T49" fmla="*/ 44 h 68"/>
                <a:gd name="T50" fmla="*/ 18 w 72"/>
                <a:gd name="T51" fmla="*/ 34 h 68"/>
                <a:gd name="T52" fmla="*/ 12 w 72"/>
                <a:gd name="T53" fmla="*/ 24 h 68"/>
                <a:gd name="T54" fmla="*/ 8 w 72"/>
                <a:gd name="T55" fmla="*/ 14 h 68"/>
                <a:gd name="T56" fmla="*/ 8 w 72"/>
                <a:gd name="T57" fmla="*/ 2 h 68"/>
                <a:gd name="T58" fmla="*/ 8 w 72"/>
                <a:gd name="T59" fmla="*/ 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68">
                  <a:moveTo>
                    <a:pt x="8" y="2"/>
                  </a:moveTo>
                  <a:lnTo>
                    <a:pt x="8" y="2"/>
                  </a:lnTo>
                  <a:lnTo>
                    <a:pt x="8" y="0"/>
                  </a:lnTo>
                  <a:lnTo>
                    <a:pt x="8" y="0"/>
                  </a:lnTo>
                  <a:lnTo>
                    <a:pt x="2" y="10"/>
                  </a:lnTo>
                  <a:lnTo>
                    <a:pt x="0" y="24"/>
                  </a:lnTo>
                  <a:lnTo>
                    <a:pt x="0" y="24"/>
                  </a:lnTo>
                  <a:lnTo>
                    <a:pt x="2" y="32"/>
                  </a:lnTo>
                  <a:lnTo>
                    <a:pt x="4" y="40"/>
                  </a:lnTo>
                  <a:lnTo>
                    <a:pt x="8" y="48"/>
                  </a:lnTo>
                  <a:lnTo>
                    <a:pt x="14" y="56"/>
                  </a:lnTo>
                  <a:lnTo>
                    <a:pt x="20" y="62"/>
                  </a:lnTo>
                  <a:lnTo>
                    <a:pt x="28" y="66"/>
                  </a:lnTo>
                  <a:lnTo>
                    <a:pt x="36" y="68"/>
                  </a:lnTo>
                  <a:lnTo>
                    <a:pt x="46" y="68"/>
                  </a:lnTo>
                  <a:lnTo>
                    <a:pt x="46" y="68"/>
                  </a:lnTo>
                  <a:lnTo>
                    <a:pt x="60" y="66"/>
                  </a:lnTo>
                  <a:lnTo>
                    <a:pt x="72" y="60"/>
                  </a:lnTo>
                  <a:lnTo>
                    <a:pt x="72" y="60"/>
                  </a:lnTo>
                  <a:lnTo>
                    <a:pt x="66" y="60"/>
                  </a:lnTo>
                  <a:lnTo>
                    <a:pt x="66" y="60"/>
                  </a:lnTo>
                  <a:lnTo>
                    <a:pt x="54" y="60"/>
                  </a:lnTo>
                  <a:lnTo>
                    <a:pt x="44" y="56"/>
                  </a:lnTo>
                  <a:lnTo>
                    <a:pt x="34" y="50"/>
                  </a:lnTo>
                  <a:lnTo>
                    <a:pt x="24" y="44"/>
                  </a:lnTo>
                  <a:lnTo>
                    <a:pt x="18" y="34"/>
                  </a:lnTo>
                  <a:lnTo>
                    <a:pt x="12" y="24"/>
                  </a:lnTo>
                  <a:lnTo>
                    <a:pt x="8" y="14"/>
                  </a:lnTo>
                  <a:lnTo>
                    <a:pt x="8" y="2"/>
                  </a:lnTo>
                  <a:lnTo>
                    <a:pt x="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73" name="Group 72"/>
          <p:cNvGrpSpPr/>
          <p:nvPr/>
        </p:nvGrpSpPr>
        <p:grpSpPr>
          <a:xfrm flipH="1">
            <a:off x="10490388" y="4643200"/>
            <a:ext cx="865348" cy="566065"/>
            <a:chOff x="6887925" y="2343796"/>
            <a:chExt cx="2668587" cy="1766887"/>
          </a:xfrm>
          <a:solidFill>
            <a:schemeClr val="bg1"/>
          </a:solidFill>
        </p:grpSpPr>
        <p:sp>
          <p:nvSpPr>
            <p:cNvPr id="74" name="Freeform 36"/>
            <p:cNvSpPr>
              <a:spLocks noEditPoints="1"/>
            </p:cNvSpPr>
            <p:nvPr/>
          </p:nvSpPr>
          <p:spPr bwMode="auto">
            <a:xfrm>
              <a:off x="7494350" y="2343796"/>
              <a:ext cx="728662" cy="1447800"/>
            </a:xfrm>
            <a:custGeom>
              <a:avLst/>
              <a:gdLst>
                <a:gd name="T0" fmla="*/ 293 w 459"/>
                <a:gd name="T1" fmla="*/ 0 h 912"/>
                <a:gd name="T2" fmla="*/ 0 w 459"/>
                <a:gd name="T3" fmla="*/ 47 h 912"/>
                <a:gd name="T4" fmla="*/ 0 w 459"/>
                <a:gd name="T5" fmla="*/ 862 h 912"/>
                <a:gd name="T6" fmla="*/ 286 w 459"/>
                <a:gd name="T7" fmla="*/ 912 h 912"/>
                <a:gd name="T8" fmla="*/ 459 w 459"/>
                <a:gd name="T9" fmla="*/ 836 h 912"/>
                <a:gd name="T10" fmla="*/ 459 w 459"/>
                <a:gd name="T11" fmla="*/ 61 h 912"/>
                <a:gd name="T12" fmla="*/ 293 w 459"/>
                <a:gd name="T13" fmla="*/ 0 h 912"/>
                <a:gd name="T14" fmla="*/ 17 w 459"/>
                <a:gd name="T15" fmla="*/ 378 h 912"/>
                <a:gd name="T16" fmla="*/ 258 w 459"/>
                <a:gd name="T17" fmla="*/ 378 h 912"/>
                <a:gd name="T18" fmla="*/ 258 w 459"/>
                <a:gd name="T19" fmla="*/ 451 h 912"/>
                <a:gd name="T20" fmla="*/ 17 w 459"/>
                <a:gd name="T21" fmla="*/ 444 h 912"/>
                <a:gd name="T22" fmla="*/ 17 w 459"/>
                <a:gd name="T23" fmla="*/ 378 h 912"/>
                <a:gd name="T24" fmla="*/ 258 w 459"/>
                <a:gd name="T25" fmla="*/ 361 h 912"/>
                <a:gd name="T26" fmla="*/ 17 w 459"/>
                <a:gd name="T27" fmla="*/ 361 h 912"/>
                <a:gd name="T28" fmla="*/ 17 w 459"/>
                <a:gd name="T29" fmla="*/ 297 h 912"/>
                <a:gd name="T30" fmla="*/ 258 w 459"/>
                <a:gd name="T31" fmla="*/ 288 h 912"/>
                <a:gd name="T32" fmla="*/ 258 w 459"/>
                <a:gd name="T33" fmla="*/ 361 h 912"/>
                <a:gd name="T34" fmla="*/ 17 w 459"/>
                <a:gd name="T35" fmla="*/ 463 h 912"/>
                <a:gd name="T36" fmla="*/ 258 w 459"/>
                <a:gd name="T37" fmla="*/ 468 h 912"/>
                <a:gd name="T38" fmla="*/ 258 w 459"/>
                <a:gd name="T39" fmla="*/ 536 h 912"/>
                <a:gd name="T40" fmla="*/ 17 w 459"/>
                <a:gd name="T41" fmla="*/ 527 h 912"/>
                <a:gd name="T42" fmla="*/ 17 w 459"/>
                <a:gd name="T43" fmla="*/ 463 h 912"/>
                <a:gd name="T44" fmla="*/ 258 w 459"/>
                <a:gd name="T45" fmla="*/ 269 h 912"/>
                <a:gd name="T46" fmla="*/ 17 w 459"/>
                <a:gd name="T47" fmla="*/ 278 h 912"/>
                <a:gd name="T48" fmla="*/ 17 w 459"/>
                <a:gd name="T49" fmla="*/ 217 h 912"/>
                <a:gd name="T50" fmla="*/ 258 w 459"/>
                <a:gd name="T51" fmla="*/ 198 h 912"/>
                <a:gd name="T52" fmla="*/ 258 w 459"/>
                <a:gd name="T53" fmla="*/ 269 h 912"/>
                <a:gd name="T54" fmla="*/ 258 w 459"/>
                <a:gd name="T55" fmla="*/ 179 h 912"/>
                <a:gd name="T56" fmla="*/ 17 w 459"/>
                <a:gd name="T57" fmla="*/ 198 h 912"/>
                <a:gd name="T58" fmla="*/ 17 w 459"/>
                <a:gd name="T59" fmla="*/ 139 h 912"/>
                <a:gd name="T60" fmla="*/ 258 w 459"/>
                <a:gd name="T61" fmla="*/ 113 h 912"/>
                <a:gd name="T62" fmla="*/ 258 w 459"/>
                <a:gd name="T63" fmla="*/ 179 h 912"/>
                <a:gd name="T64" fmla="*/ 258 w 459"/>
                <a:gd name="T65" fmla="*/ 30 h 912"/>
                <a:gd name="T66" fmla="*/ 258 w 459"/>
                <a:gd name="T67" fmla="*/ 94 h 912"/>
                <a:gd name="T68" fmla="*/ 17 w 459"/>
                <a:gd name="T69" fmla="*/ 120 h 912"/>
                <a:gd name="T70" fmla="*/ 17 w 459"/>
                <a:gd name="T71" fmla="*/ 71 h 912"/>
                <a:gd name="T72" fmla="*/ 258 w 459"/>
                <a:gd name="T73" fmla="*/ 30 h 912"/>
                <a:gd name="T74" fmla="*/ 17 w 459"/>
                <a:gd name="T75" fmla="*/ 836 h 912"/>
                <a:gd name="T76" fmla="*/ 17 w 459"/>
                <a:gd name="T77" fmla="*/ 543 h 912"/>
                <a:gd name="T78" fmla="*/ 258 w 459"/>
                <a:gd name="T79" fmla="*/ 555 h 912"/>
                <a:gd name="T80" fmla="*/ 258 w 459"/>
                <a:gd name="T81" fmla="*/ 872 h 912"/>
                <a:gd name="T82" fmla="*/ 17 w 459"/>
                <a:gd name="T83" fmla="*/ 836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9" h="912">
                  <a:moveTo>
                    <a:pt x="293" y="0"/>
                  </a:moveTo>
                  <a:lnTo>
                    <a:pt x="0" y="47"/>
                  </a:lnTo>
                  <a:lnTo>
                    <a:pt x="0" y="862"/>
                  </a:lnTo>
                  <a:lnTo>
                    <a:pt x="286" y="912"/>
                  </a:lnTo>
                  <a:lnTo>
                    <a:pt x="459" y="836"/>
                  </a:lnTo>
                  <a:lnTo>
                    <a:pt x="459" y="61"/>
                  </a:lnTo>
                  <a:lnTo>
                    <a:pt x="293" y="0"/>
                  </a:lnTo>
                  <a:close/>
                  <a:moveTo>
                    <a:pt x="17" y="378"/>
                  </a:moveTo>
                  <a:lnTo>
                    <a:pt x="258" y="378"/>
                  </a:lnTo>
                  <a:lnTo>
                    <a:pt x="258" y="451"/>
                  </a:lnTo>
                  <a:lnTo>
                    <a:pt x="17" y="444"/>
                  </a:lnTo>
                  <a:lnTo>
                    <a:pt x="17" y="378"/>
                  </a:lnTo>
                  <a:close/>
                  <a:moveTo>
                    <a:pt x="258" y="361"/>
                  </a:moveTo>
                  <a:lnTo>
                    <a:pt x="17" y="361"/>
                  </a:lnTo>
                  <a:lnTo>
                    <a:pt x="17" y="297"/>
                  </a:lnTo>
                  <a:lnTo>
                    <a:pt x="258" y="288"/>
                  </a:lnTo>
                  <a:lnTo>
                    <a:pt x="258" y="361"/>
                  </a:lnTo>
                  <a:close/>
                  <a:moveTo>
                    <a:pt x="17" y="463"/>
                  </a:moveTo>
                  <a:lnTo>
                    <a:pt x="258" y="468"/>
                  </a:lnTo>
                  <a:lnTo>
                    <a:pt x="258" y="536"/>
                  </a:lnTo>
                  <a:lnTo>
                    <a:pt x="17" y="527"/>
                  </a:lnTo>
                  <a:lnTo>
                    <a:pt x="17" y="463"/>
                  </a:lnTo>
                  <a:close/>
                  <a:moveTo>
                    <a:pt x="258" y="269"/>
                  </a:moveTo>
                  <a:lnTo>
                    <a:pt x="17" y="278"/>
                  </a:lnTo>
                  <a:lnTo>
                    <a:pt x="17" y="217"/>
                  </a:lnTo>
                  <a:lnTo>
                    <a:pt x="258" y="198"/>
                  </a:lnTo>
                  <a:lnTo>
                    <a:pt x="258" y="269"/>
                  </a:lnTo>
                  <a:close/>
                  <a:moveTo>
                    <a:pt x="258" y="179"/>
                  </a:moveTo>
                  <a:lnTo>
                    <a:pt x="17" y="198"/>
                  </a:lnTo>
                  <a:lnTo>
                    <a:pt x="17" y="139"/>
                  </a:lnTo>
                  <a:lnTo>
                    <a:pt x="258" y="113"/>
                  </a:lnTo>
                  <a:lnTo>
                    <a:pt x="258" y="179"/>
                  </a:lnTo>
                  <a:close/>
                  <a:moveTo>
                    <a:pt x="258" y="30"/>
                  </a:moveTo>
                  <a:lnTo>
                    <a:pt x="258" y="94"/>
                  </a:lnTo>
                  <a:lnTo>
                    <a:pt x="17" y="120"/>
                  </a:lnTo>
                  <a:lnTo>
                    <a:pt x="17" y="71"/>
                  </a:lnTo>
                  <a:lnTo>
                    <a:pt x="258" y="30"/>
                  </a:lnTo>
                  <a:close/>
                  <a:moveTo>
                    <a:pt x="17" y="836"/>
                  </a:moveTo>
                  <a:lnTo>
                    <a:pt x="17" y="543"/>
                  </a:lnTo>
                  <a:lnTo>
                    <a:pt x="258" y="555"/>
                  </a:lnTo>
                  <a:lnTo>
                    <a:pt x="258" y="872"/>
                  </a:lnTo>
                  <a:lnTo>
                    <a:pt x="17" y="836"/>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5" name="Freeform 37"/>
            <p:cNvSpPr>
              <a:spLocks noEditPoints="1"/>
            </p:cNvSpPr>
            <p:nvPr/>
          </p:nvSpPr>
          <p:spPr bwMode="auto">
            <a:xfrm>
              <a:off x="8022987" y="2512072"/>
              <a:ext cx="533401" cy="1065213"/>
            </a:xfrm>
            <a:custGeom>
              <a:avLst/>
              <a:gdLst>
                <a:gd name="T0" fmla="*/ 215 w 336"/>
                <a:gd name="T1" fmla="*/ 0 h 671"/>
                <a:gd name="T2" fmla="*/ 0 w 336"/>
                <a:gd name="T3" fmla="*/ 33 h 671"/>
                <a:gd name="T4" fmla="*/ 0 w 336"/>
                <a:gd name="T5" fmla="*/ 633 h 671"/>
                <a:gd name="T6" fmla="*/ 211 w 336"/>
                <a:gd name="T7" fmla="*/ 671 h 671"/>
                <a:gd name="T8" fmla="*/ 336 w 336"/>
                <a:gd name="T9" fmla="*/ 612 h 671"/>
                <a:gd name="T10" fmla="*/ 336 w 336"/>
                <a:gd name="T11" fmla="*/ 45 h 671"/>
                <a:gd name="T12" fmla="*/ 215 w 336"/>
                <a:gd name="T13" fmla="*/ 0 h 671"/>
                <a:gd name="T14" fmla="*/ 12 w 336"/>
                <a:gd name="T15" fmla="*/ 279 h 671"/>
                <a:gd name="T16" fmla="*/ 189 w 336"/>
                <a:gd name="T17" fmla="*/ 279 h 671"/>
                <a:gd name="T18" fmla="*/ 189 w 336"/>
                <a:gd name="T19" fmla="*/ 331 h 671"/>
                <a:gd name="T20" fmla="*/ 12 w 336"/>
                <a:gd name="T21" fmla="*/ 326 h 671"/>
                <a:gd name="T22" fmla="*/ 12 w 336"/>
                <a:gd name="T23" fmla="*/ 279 h 671"/>
                <a:gd name="T24" fmla="*/ 189 w 336"/>
                <a:gd name="T25" fmla="*/ 265 h 671"/>
                <a:gd name="T26" fmla="*/ 12 w 336"/>
                <a:gd name="T27" fmla="*/ 265 h 671"/>
                <a:gd name="T28" fmla="*/ 12 w 336"/>
                <a:gd name="T29" fmla="*/ 217 h 671"/>
                <a:gd name="T30" fmla="*/ 189 w 336"/>
                <a:gd name="T31" fmla="*/ 210 h 671"/>
                <a:gd name="T32" fmla="*/ 189 w 336"/>
                <a:gd name="T33" fmla="*/ 265 h 671"/>
                <a:gd name="T34" fmla="*/ 12 w 336"/>
                <a:gd name="T35" fmla="*/ 340 h 671"/>
                <a:gd name="T36" fmla="*/ 189 w 336"/>
                <a:gd name="T37" fmla="*/ 343 h 671"/>
                <a:gd name="T38" fmla="*/ 189 w 336"/>
                <a:gd name="T39" fmla="*/ 392 h 671"/>
                <a:gd name="T40" fmla="*/ 12 w 336"/>
                <a:gd name="T41" fmla="*/ 385 h 671"/>
                <a:gd name="T42" fmla="*/ 12 w 336"/>
                <a:gd name="T43" fmla="*/ 340 h 671"/>
                <a:gd name="T44" fmla="*/ 189 w 336"/>
                <a:gd name="T45" fmla="*/ 198 h 671"/>
                <a:gd name="T46" fmla="*/ 12 w 336"/>
                <a:gd name="T47" fmla="*/ 206 h 671"/>
                <a:gd name="T48" fmla="*/ 12 w 336"/>
                <a:gd name="T49" fmla="*/ 158 h 671"/>
                <a:gd name="T50" fmla="*/ 189 w 336"/>
                <a:gd name="T51" fmla="*/ 144 h 671"/>
                <a:gd name="T52" fmla="*/ 189 w 336"/>
                <a:gd name="T53" fmla="*/ 198 h 671"/>
                <a:gd name="T54" fmla="*/ 189 w 336"/>
                <a:gd name="T55" fmla="*/ 132 h 671"/>
                <a:gd name="T56" fmla="*/ 12 w 336"/>
                <a:gd name="T57" fmla="*/ 144 h 671"/>
                <a:gd name="T58" fmla="*/ 12 w 336"/>
                <a:gd name="T59" fmla="*/ 102 h 671"/>
                <a:gd name="T60" fmla="*/ 189 w 336"/>
                <a:gd name="T61" fmla="*/ 83 h 671"/>
                <a:gd name="T62" fmla="*/ 189 w 336"/>
                <a:gd name="T63" fmla="*/ 132 h 671"/>
                <a:gd name="T64" fmla="*/ 189 w 336"/>
                <a:gd name="T65" fmla="*/ 21 h 671"/>
                <a:gd name="T66" fmla="*/ 189 w 336"/>
                <a:gd name="T67" fmla="*/ 68 h 671"/>
                <a:gd name="T68" fmla="*/ 12 w 336"/>
                <a:gd name="T69" fmla="*/ 87 h 671"/>
                <a:gd name="T70" fmla="*/ 12 w 336"/>
                <a:gd name="T71" fmla="*/ 52 h 671"/>
                <a:gd name="T72" fmla="*/ 189 w 336"/>
                <a:gd name="T73" fmla="*/ 21 h 671"/>
                <a:gd name="T74" fmla="*/ 12 w 336"/>
                <a:gd name="T75" fmla="*/ 612 h 671"/>
                <a:gd name="T76" fmla="*/ 12 w 336"/>
                <a:gd name="T77" fmla="*/ 399 h 671"/>
                <a:gd name="T78" fmla="*/ 189 w 336"/>
                <a:gd name="T79" fmla="*/ 406 h 671"/>
                <a:gd name="T80" fmla="*/ 189 w 336"/>
                <a:gd name="T81" fmla="*/ 640 h 671"/>
                <a:gd name="T82" fmla="*/ 12 w 336"/>
                <a:gd name="T83" fmla="*/ 612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6" h="671">
                  <a:moveTo>
                    <a:pt x="215" y="0"/>
                  </a:moveTo>
                  <a:lnTo>
                    <a:pt x="0" y="33"/>
                  </a:lnTo>
                  <a:lnTo>
                    <a:pt x="0" y="633"/>
                  </a:lnTo>
                  <a:lnTo>
                    <a:pt x="211" y="671"/>
                  </a:lnTo>
                  <a:lnTo>
                    <a:pt x="336" y="612"/>
                  </a:lnTo>
                  <a:lnTo>
                    <a:pt x="336" y="45"/>
                  </a:lnTo>
                  <a:lnTo>
                    <a:pt x="215" y="0"/>
                  </a:lnTo>
                  <a:close/>
                  <a:moveTo>
                    <a:pt x="12" y="279"/>
                  </a:moveTo>
                  <a:lnTo>
                    <a:pt x="189" y="279"/>
                  </a:lnTo>
                  <a:lnTo>
                    <a:pt x="189" y="331"/>
                  </a:lnTo>
                  <a:lnTo>
                    <a:pt x="12" y="326"/>
                  </a:lnTo>
                  <a:lnTo>
                    <a:pt x="12" y="279"/>
                  </a:lnTo>
                  <a:close/>
                  <a:moveTo>
                    <a:pt x="189" y="265"/>
                  </a:moveTo>
                  <a:lnTo>
                    <a:pt x="12" y="265"/>
                  </a:lnTo>
                  <a:lnTo>
                    <a:pt x="12" y="217"/>
                  </a:lnTo>
                  <a:lnTo>
                    <a:pt x="189" y="210"/>
                  </a:lnTo>
                  <a:lnTo>
                    <a:pt x="189" y="265"/>
                  </a:lnTo>
                  <a:close/>
                  <a:moveTo>
                    <a:pt x="12" y="340"/>
                  </a:moveTo>
                  <a:lnTo>
                    <a:pt x="189" y="343"/>
                  </a:lnTo>
                  <a:lnTo>
                    <a:pt x="189" y="392"/>
                  </a:lnTo>
                  <a:lnTo>
                    <a:pt x="12" y="385"/>
                  </a:lnTo>
                  <a:lnTo>
                    <a:pt x="12" y="340"/>
                  </a:lnTo>
                  <a:close/>
                  <a:moveTo>
                    <a:pt x="189" y="198"/>
                  </a:moveTo>
                  <a:lnTo>
                    <a:pt x="12" y="206"/>
                  </a:lnTo>
                  <a:lnTo>
                    <a:pt x="12" y="158"/>
                  </a:lnTo>
                  <a:lnTo>
                    <a:pt x="189" y="144"/>
                  </a:lnTo>
                  <a:lnTo>
                    <a:pt x="189" y="198"/>
                  </a:lnTo>
                  <a:close/>
                  <a:moveTo>
                    <a:pt x="189" y="132"/>
                  </a:moveTo>
                  <a:lnTo>
                    <a:pt x="12" y="144"/>
                  </a:lnTo>
                  <a:lnTo>
                    <a:pt x="12" y="102"/>
                  </a:lnTo>
                  <a:lnTo>
                    <a:pt x="189" y="83"/>
                  </a:lnTo>
                  <a:lnTo>
                    <a:pt x="189" y="132"/>
                  </a:lnTo>
                  <a:close/>
                  <a:moveTo>
                    <a:pt x="189" y="21"/>
                  </a:moveTo>
                  <a:lnTo>
                    <a:pt x="189" y="68"/>
                  </a:lnTo>
                  <a:lnTo>
                    <a:pt x="12" y="87"/>
                  </a:lnTo>
                  <a:lnTo>
                    <a:pt x="12" y="52"/>
                  </a:lnTo>
                  <a:lnTo>
                    <a:pt x="189" y="21"/>
                  </a:lnTo>
                  <a:close/>
                  <a:moveTo>
                    <a:pt x="12" y="612"/>
                  </a:moveTo>
                  <a:lnTo>
                    <a:pt x="12" y="399"/>
                  </a:lnTo>
                  <a:lnTo>
                    <a:pt x="189" y="406"/>
                  </a:lnTo>
                  <a:lnTo>
                    <a:pt x="189" y="640"/>
                  </a:lnTo>
                  <a:lnTo>
                    <a:pt x="12" y="612"/>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6" name="Freeform 38"/>
            <p:cNvSpPr>
              <a:spLocks noEditPoints="1"/>
            </p:cNvSpPr>
            <p:nvPr/>
          </p:nvSpPr>
          <p:spPr bwMode="auto">
            <a:xfrm>
              <a:off x="8440500" y="2661296"/>
              <a:ext cx="377825" cy="762000"/>
            </a:xfrm>
            <a:custGeom>
              <a:avLst/>
              <a:gdLst>
                <a:gd name="T0" fmla="*/ 153 w 238"/>
                <a:gd name="T1" fmla="*/ 0 h 480"/>
                <a:gd name="T2" fmla="*/ 0 w 238"/>
                <a:gd name="T3" fmla="*/ 26 h 480"/>
                <a:gd name="T4" fmla="*/ 0 w 238"/>
                <a:gd name="T5" fmla="*/ 454 h 480"/>
                <a:gd name="T6" fmla="*/ 148 w 238"/>
                <a:gd name="T7" fmla="*/ 480 h 480"/>
                <a:gd name="T8" fmla="*/ 238 w 238"/>
                <a:gd name="T9" fmla="*/ 440 h 480"/>
                <a:gd name="T10" fmla="*/ 238 w 238"/>
                <a:gd name="T11" fmla="*/ 34 h 480"/>
                <a:gd name="T12" fmla="*/ 153 w 238"/>
                <a:gd name="T13" fmla="*/ 0 h 480"/>
                <a:gd name="T14" fmla="*/ 7 w 238"/>
                <a:gd name="T15" fmla="*/ 201 h 480"/>
                <a:gd name="T16" fmla="*/ 134 w 238"/>
                <a:gd name="T17" fmla="*/ 201 h 480"/>
                <a:gd name="T18" fmla="*/ 134 w 238"/>
                <a:gd name="T19" fmla="*/ 237 h 480"/>
                <a:gd name="T20" fmla="*/ 7 w 238"/>
                <a:gd name="T21" fmla="*/ 234 h 480"/>
                <a:gd name="T22" fmla="*/ 7 w 238"/>
                <a:gd name="T23" fmla="*/ 201 h 480"/>
                <a:gd name="T24" fmla="*/ 134 w 238"/>
                <a:gd name="T25" fmla="*/ 190 h 480"/>
                <a:gd name="T26" fmla="*/ 7 w 238"/>
                <a:gd name="T27" fmla="*/ 190 h 480"/>
                <a:gd name="T28" fmla="*/ 7 w 238"/>
                <a:gd name="T29" fmla="*/ 156 h 480"/>
                <a:gd name="T30" fmla="*/ 134 w 238"/>
                <a:gd name="T31" fmla="*/ 152 h 480"/>
                <a:gd name="T32" fmla="*/ 134 w 238"/>
                <a:gd name="T33" fmla="*/ 190 h 480"/>
                <a:gd name="T34" fmla="*/ 7 w 238"/>
                <a:gd name="T35" fmla="*/ 244 h 480"/>
                <a:gd name="T36" fmla="*/ 134 w 238"/>
                <a:gd name="T37" fmla="*/ 246 h 480"/>
                <a:gd name="T38" fmla="*/ 134 w 238"/>
                <a:gd name="T39" fmla="*/ 282 h 480"/>
                <a:gd name="T40" fmla="*/ 7 w 238"/>
                <a:gd name="T41" fmla="*/ 277 h 480"/>
                <a:gd name="T42" fmla="*/ 7 w 238"/>
                <a:gd name="T43" fmla="*/ 244 h 480"/>
                <a:gd name="T44" fmla="*/ 134 w 238"/>
                <a:gd name="T45" fmla="*/ 142 h 480"/>
                <a:gd name="T46" fmla="*/ 7 w 238"/>
                <a:gd name="T47" fmla="*/ 147 h 480"/>
                <a:gd name="T48" fmla="*/ 7 w 238"/>
                <a:gd name="T49" fmla="*/ 116 h 480"/>
                <a:gd name="T50" fmla="*/ 134 w 238"/>
                <a:gd name="T51" fmla="*/ 104 h 480"/>
                <a:gd name="T52" fmla="*/ 134 w 238"/>
                <a:gd name="T53" fmla="*/ 142 h 480"/>
                <a:gd name="T54" fmla="*/ 134 w 238"/>
                <a:gd name="T55" fmla="*/ 95 h 480"/>
                <a:gd name="T56" fmla="*/ 7 w 238"/>
                <a:gd name="T57" fmla="*/ 104 h 480"/>
                <a:gd name="T58" fmla="*/ 7 w 238"/>
                <a:gd name="T59" fmla="*/ 74 h 480"/>
                <a:gd name="T60" fmla="*/ 134 w 238"/>
                <a:gd name="T61" fmla="*/ 62 h 480"/>
                <a:gd name="T62" fmla="*/ 134 w 238"/>
                <a:gd name="T63" fmla="*/ 95 h 480"/>
                <a:gd name="T64" fmla="*/ 134 w 238"/>
                <a:gd name="T65" fmla="*/ 17 h 480"/>
                <a:gd name="T66" fmla="*/ 134 w 238"/>
                <a:gd name="T67" fmla="*/ 50 h 480"/>
                <a:gd name="T68" fmla="*/ 7 w 238"/>
                <a:gd name="T69" fmla="*/ 64 h 480"/>
                <a:gd name="T70" fmla="*/ 7 w 238"/>
                <a:gd name="T71" fmla="*/ 38 h 480"/>
                <a:gd name="T72" fmla="*/ 134 w 238"/>
                <a:gd name="T73" fmla="*/ 17 h 480"/>
                <a:gd name="T74" fmla="*/ 7 w 238"/>
                <a:gd name="T75" fmla="*/ 440 h 480"/>
                <a:gd name="T76" fmla="*/ 7 w 238"/>
                <a:gd name="T77" fmla="*/ 286 h 480"/>
                <a:gd name="T78" fmla="*/ 134 w 238"/>
                <a:gd name="T79" fmla="*/ 291 h 480"/>
                <a:gd name="T80" fmla="*/ 134 w 238"/>
                <a:gd name="T81" fmla="*/ 459 h 480"/>
                <a:gd name="T82" fmla="*/ 7 w 238"/>
                <a:gd name="T83" fmla="*/ 44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8" h="480">
                  <a:moveTo>
                    <a:pt x="153" y="0"/>
                  </a:moveTo>
                  <a:lnTo>
                    <a:pt x="0" y="26"/>
                  </a:lnTo>
                  <a:lnTo>
                    <a:pt x="0" y="454"/>
                  </a:lnTo>
                  <a:lnTo>
                    <a:pt x="148" y="480"/>
                  </a:lnTo>
                  <a:lnTo>
                    <a:pt x="238" y="440"/>
                  </a:lnTo>
                  <a:lnTo>
                    <a:pt x="238" y="34"/>
                  </a:lnTo>
                  <a:lnTo>
                    <a:pt x="153" y="0"/>
                  </a:lnTo>
                  <a:close/>
                  <a:moveTo>
                    <a:pt x="7" y="201"/>
                  </a:moveTo>
                  <a:lnTo>
                    <a:pt x="134" y="201"/>
                  </a:lnTo>
                  <a:lnTo>
                    <a:pt x="134" y="237"/>
                  </a:lnTo>
                  <a:lnTo>
                    <a:pt x="7" y="234"/>
                  </a:lnTo>
                  <a:lnTo>
                    <a:pt x="7" y="201"/>
                  </a:lnTo>
                  <a:close/>
                  <a:moveTo>
                    <a:pt x="134" y="190"/>
                  </a:moveTo>
                  <a:lnTo>
                    <a:pt x="7" y="190"/>
                  </a:lnTo>
                  <a:lnTo>
                    <a:pt x="7" y="156"/>
                  </a:lnTo>
                  <a:lnTo>
                    <a:pt x="134" y="152"/>
                  </a:lnTo>
                  <a:lnTo>
                    <a:pt x="134" y="190"/>
                  </a:lnTo>
                  <a:close/>
                  <a:moveTo>
                    <a:pt x="7" y="244"/>
                  </a:moveTo>
                  <a:lnTo>
                    <a:pt x="134" y="246"/>
                  </a:lnTo>
                  <a:lnTo>
                    <a:pt x="134" y="282"/>
                  </a:lnTo>
                  <a:lnTo>
                    <a:pt x="7" y="277"/>
                  </a:lnTo>
                  <a:lnTo>
                    <a:pt x="7" y="244"/>
                  </a:lnTo>
                  <a:close/>
                  <a:moveTo>
                    <a:pt x="134" y="142"/>
                  </a:moveTo>
                  <a:lnTo>
                    <a:pt x="7" y="147"/>
                  </a:lnTo>
                  <a:lnTo>
                    <a:pt x="7" y="116"/>
                  </a:lnTo>
                  <a:lnTo>
                    <a:pt x="134" y="104"/>
                  </a:lnTo>
                  <a:lnTo>
                    <a:pt x="134" y="142"/>
                  </a:lnTo>
                  <a:close/>
                  <a:moveTo>
                    <a:pt x="134" y="95"/>
                  </a:moveTo>
                  <a:lnTo>
                    <a:pt x="7" y="104"/>
                  </a:lnTo>
                  <a:lnTo>
                    <a:pt x="7" y="74"/>
                  </a:lnTo>
                  <a:lnTo>
                    <a:pt x="134" y="62"/>
                  </a:lnTo>
                  <a:lnTo>
                    <a:pt x="134" y="95"/>
                  </a:lnTo>
                  <a:close/>
                  <a:moveTo>
                    <a:pt x="134" y="17"/>
                  </a:moveTo>
                  <a:lnTo>
                    <a:pt x="134" y="50"/>
                  </a:lnTo>
                  <a:lnTo>
                    <a:pt x="7" y="64"/>
                  </a:lnTo>
                  <a:lnTo>
                    <a:pt x="7" y="38"/>
                  </a:lnTo>
                  <a:lnTo>
                    <a:pt x="134" y="17"/>
                  </a:lnTo>
                  <a:close/>
                  <a:moveTo>
                    <a:pt x="7" y="440"/>
                  </a:moveTo>
                  <a:lnTo>
                    <a:pt x="7" y="286"/>
                  </a:lnTo>
                  <a:lnTo>
                    <a:pt x="134" y="291"/>
                  </a:lnTo>
                  <a:lnTo>
                    <a:pt x="134" y="459"/>
                  </a:lnTo>
                  <a:lnTo>
                    <a:pt x="7" y="44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7" name="Freeform 39"/>
            <p:cNvSpPr>
              <a:spLocks noEditPoints="1"/>
            </p:cNvSpPr>
            <p:nvPr/>
          </p:nvSpPr>
          <p:spPr bwMode="auto">
            <a:xfrm>
              <a:off x="8743712" y="2785121"/>
              <a:ext cx="284162" cy="563562"/>
            </a:xfrm>
            <a:custGeom>
              <a:avLst/>
              <a:gdLst>
                <a:gd name="T0" fmla="*/ 113 w 179"/>
                <a:gd name="T1" fmla="*/ 0 h 355"/>
                <a:gd name="T2" fmla="*/ 0 w 179"/>
                <a:gd name="T3" fmla="*/ 19 h 355"/>
                <a:gd name="T4" fmla="*/ 0 w 179"/>
                <a:gd name="T5" fmla="*/ 336 h 355"/>
                <a:gd name="T6" fmla="*/ 111 w 179"/>
                <a:gd name="T7" fmla="*/ 355 h 355"/>
                <a:gd name="T8" fmla="*/ 179 w 179"/>
                <a:gd name="T9" fmla="*/ 327 h 355"/>
                <a:gd name="T10" fmla="*/ 179 w 179"/>
                <a:gd name="T11" fmla="*/ 24 h 355"/>
                <a:gd name="T12" fmla="*/ 113 w 179"/>
                <a:gd name="T13" fmla="*/ 0 h 355"/>
                <a:gd name="T14" fmla="*/ 7 w 179"/>
                <a:gd name="T15" fmla="*/ 149 h 355"/>
                <a:gd name="T16" fmla="*/ 101 w 179"/>
                <a:gd name="T17" fmla="*/ 149 h 355"/>
                <a:gd name="T18" fmla="*/ 101 w 179"/>
                <a:gd name="T19" fmla="*/ 175 h 355"/>
                <a:gd name="T20" fmla="*/ 7 w 179"/>
                <a:gd name="T21" fmla="*/ 173 h 355"/>
                <a:gd name="T22" fmla="*/ 7 w 179"/>
                <a:gd name="T23" fmla="*/ 149 h 355"/>
                <a:gd name="T24" fmla="*/ 101 w 179"/>
                <a:gd name="T25" fmla="*/ 140 h 355"/>
                <a:gd name="T26" fmla="*/ 7 w 179"/>
                <a:gd name="T27" fmla="*/ 140 h 355"/>
                <a:gd name="T28" fmla="*/ 7 w 179"/>
                <a:gd name="T29" fmla="*/ 116 h 355"/>
                <a:gd name="T30" fmla="*/ 101 w 179"/>
                <a:gd name="T31" fmla="*/ 114 h 355"/>
                <a:gd name="T32" fmla="*/ 101 w 179"/>
                <a:gd name="T33" fmla="*/ 140 h 355"/>
                <a:gd name="T34" fmla="*/ 7 w 179"/>
                <a:gd name="T35" fmla="*/ 180 h 355"/>
                <a:gd name="T36" fmla="*/ 101 w 179"/>
                <a:gd name="T37" fmla="*/ 182 h 355"/>
                <a:gd name="T38" fmla="*/ 101 w 179"/>
                <a:gd name="T39" fmla="*/ 208 h 355"/>
                <a:gd name="T40" fmla="*/ 7 w 179"/>
                <a:gd name="T41" fmla="*/ 206 h 355"/>
                <a:gd name="T42" fmla="*/ 7 w 179"/>
                <a:gd name="T43" fmla="*/ 180 h 355"/>
                <a:gd name="T44" fmla="*/ 101 w 179"/>
                <a:gd name="T45" fmla="*/ 107 h 355"/>
                <a:gd name="T46" fmla="*/ 7 w 179"/>
                <a:gd name="T47" fmla="*/ 109 h 355"/>
                <a:gd name="T48" fmla="*/ 7 w 179"/>
                <a:gd name="T49" fmla="*/ 86 h 355"/>
                <a:gd name="T50" fmla="*/ 101 w 179"/>
                <a:gd name="T51" fmla="*/ 78 h 355"/>
                <a:gd name="T52" fmla="*/ 101 w 179"/>
                <a:gd name="T53" fmla="*/ 107 h 355"/>
                <a:gd name="T54" fmla="*/ 101 w 179"/>
                <a:gd name="T55" fmla="*/ 71 h 355"/>
                <a:gd name="T56" fmla="*/ 7 w 179"/>
                <a:gd name="T57" fmla="*/ 78 h 355"/>
                <a:gd name="T58" fmla="*/ 7 w 179"/>
                <a:gd name="T59" fmla="*/ 55 h 355"/>
                <a:gd name="T60" fmla="*/ 101 w 179"/>
                <a:gd name="T61" fmla="*/ 45 h 355"/>
                <a:gd name="T62" fmla="*/ 101 w 179"/>
                <a:gd name="T63" fmla="*/ 71 h 355"/>
                <a:gd name="T64" fmla="*/ 101 w 179"/>
                <a:gd name="T65" fmla="*/ 12 h 355"/>
                <a:gd name="T66" fmla="*/ 101 w 179"/>
                <a:gd name="T67" fmla="*/ 38 h 355"/>
                <a:gd name="T68" fmla="*/ 7 w 179"/>
                <a:gd name="T69" fmla="*/ 48 h 355"/>
                <a:gd name="T70" fmla="*/ 7 w 179"/>
                <a:gd name="T71" fmla="*/ 29 h 355"/>
                <a:gd name="T72" fmla="*/ 101 w 179"/>
                <a:gd name="T73" fmla="*/ 12 h 355"/>
                <a:gd name="T74" fmla="*/ 7 w 179"/>
                <a:gd name="T75" fmla="*/ 327 h 355"/>
                <a:gd name="T76" fmla="*/ 7 w 179"/>
                <a:gd name="T77" fmla="*/ 213 h 355"/>
                <a:gd name="T78" fmla="*/ 101 w 179"/>
                <a:gd name="T79" fmla="*/ 216 h 355"/>
                <a:gd name="T80" fmla="*/ 101 w 179"/>
                <a:gd name="T81" fmla="*/ 341 h 355"/>
                <a:gd name="T82" fmla="*/ 7 w 179"/>
                <a:gd name="T83" fmla="*/ 32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9" h="355">
                  <a:moveTo>
                    <a:pt x="113" y="0"/>
                  </a:moveTo>
                  <a:lnTo>
                    <a:pt x="0" y="19"/>
                  </a:lnTo>
                  <a:lnTo>
                    <a:pt x="0" y="336"/>
                  </a:lnTo>
                  <a:lnTo>
                    <a:pt x="111" y="355"/>
                  </a:lnTo>
                  <a:lnTo>
                    <a:pt x="179" y="327"/>
                  </a:lnTo>
                  <a:lnTo>
                    <a:pt x="179" y="24"/>
                  </a:lnTo>
                  <a:lnTo>
                    <a:pt x="113" y="0"/>
                  </a:lnTo>
                  <a:close/>
                  <a:moveTo>
                    <a:pt x="7" y="149"/>
                  </a:moveTo>
                  <a:lnTo>
                    <a:pt x="101" y="149"/>
                  </a:lnTo>
                  <a:lnTo>
                    <a:pt x="101" y="175"/>
                  </a:lnTo>
                  <a:lnTo>
                    <a:pt x="7" y="173"/>
                  </a:lnTo>
                  <a:lnTo>
                    <a:pt x="7" y="149"/>
                  </a:lnTo>
                  <a:close/>
                  <a:moveTo>
                    <a:pt x="101" y="140"/>
                  </a:moveTo>
                  <a:lnTo>
                    <a:pt x="7" y="140"/>
                  </a:lnTo>
                  <a:lnTo>
                    <a:pt x="7" y="116"/>
                  </a:lnTo>
                  <a:lnTo>
                    <a:pt x="101" y="114"/>
                  </a:lnTo>
                  <a:lnTo>
                    <a:pt x="101" y="140"/>
                  </a:lnTo>
                  <a:close/>
                  <a:moveTo>
                    <a:pt x="7" y="180"/>
                  </a:moveTo>
                  <a:lnTo>
                    <a:pt x="101" y="182"/>
                  </a:lnTo>
                  <a:lnTo>
                    <a:pt x="101" y="208"/>
                  </a:lnTo>
                  <a:lnTo>
                    <a:pt x="7" y="206"/>
                  </a:lnTo>
                  <a:lnTo>
                    <a:pt x="7" y="180"/>
                  </a:lnTo>
                  <a:close/>
                  <a:moveTo>
                    <a:pt x="101" y="107"/>
                  </a:moveTo>
                  <a:lnTo>
                    <a:pt x="7" y="109"/>
                  </a:lnTo>
                  <a:lnTo>
                    <a:pt x="7" y="86"/>
                  </a:lnTo>
                  <a:lnTo>
                    <a:pt x="101" y="78"/>
                  </a:lnTo>
                  <a:lnTo>
                    <a:pt x="101" y="107"/>
                  </a:lnTo>
                  <a:close/>
                  <a:moveTo>
                    <a:pt x="101" y="71"/>
                  </a:moveTo>
                  <a:lnTo>
                    <a:pt x="7" y="78"/>
                  </a:lnTo>
                  <a:lnTo>
                    <a:pt x="7" y="55"/>
                  </a:lnTo>
                  <a:lnTo>
                    <a:pt x="101" y="45"/>
                  </a:lnTo>
                  <a:lnTo>
                    <a:pt x="101" y="71"/>
                  </a:lnTo>
                  <a:close/>
                  <a:moveTo>
                    <a:pt x="101" y="12"/>
                  </a:moveTo>
                  <a:lnTo>
                    <a:pt x="101" y="38"/>
                  </a:lnTo>
                  <a:lnTo>
                    <a:pt x="7" y="48"/>
                  </a:lnTo>
                  <a:lnTo>
                    <a:pt x="7" y="29"/>
                  </a:lnTo>
                  <a:lnTo>
                    <a:pt x="101" y="12"/>
                  </a:lnTo>
                  <a:close/>
                  <a:moveTo>
                    <a:pt x="7" y="327"/>
                  </a:moveTo>
                  <a:lnTo>
                    <a:pt x="7" y="213"/>
                  </a:lnTo>
                  <a:lnTo>
                    <a:pt x="101" y="216"/>
                  </a:lnTo>
                  <a:lnTo>
                    <a:pt x="101" y="341"/>
                  </a:lnTo>
                  <a:lnTo>
                    <a:pt x="7" y="327"/>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8" name="Freeform 40"/>
            <p:cNvSpPr>
              <a:spLocks/>
            </p:cNvSpPr>
            <p:nvPr/>
          </p:nvSpPr>
          <p:spPr bwMode="auto">
            <a:xfrm>
              <a:off x="6887925" y="2908946"/>
              <a:ext cx="2668587" cy="1201737"/>
            </a:xfrm>
            <a:custGeom>
              <a:avLst/>
              <a:gdLst>
                <a:gd name="T0" fmla="*/ 602 w 712"/>
                <a:gd name="T1" fmla="*/ 222 h 320"/>
                <a:gd name="T2" fmla="*/ 356 w 712"/>
                <a:gd name="T3" fmla="*/ 280 h 320"/>
                <a:gd name="T4" fmla="*/ 51 w 712"/>
                <a:gd name="T5" fmla="*/ 136 h 320"/>
                <a:gd name="T6" fmla="*/ 162 w 712"/>
                <a:gd name="T7" fmla="*/ 24 h 320"/>
                <a:gd name="T8" fmla="*/ 162 w 712"/>
                <a:gd name="T9" fmla="*/ 0 h 320"/>
                <a:gd name="T10" fmla="*/ 0 w 712"/>
                <a:gd name="T11" fmla="*/ 146 h 320"/>
                <a:gd name="T12" fmla="*/ 356 w 712"/>
                <a:gd name="T13" fmla="*/ 320 h 320"/>
                <a:gd name="T14" fmla="*/ 712 w 712"/>
                <a:gd name="T15" fmla="*/ 146 h 320"/>
                <a:gd name="T16" fmla="*/ 571 w 712"/>
                <a:gd name="T17" fmla="*/ 7 h 320"/>
                <a:gd name="T18" fmla="*/ 571 w 712"/>
                <a:gd name="T19" fmla="*/ 33 h 320"/>
                <a:gd name="T20" fmla="*/ 661 w 712"/>
                <a:gd name="T21" fmla="*/ 136 h 320"/>
                <a:gd name="T22" fmla="*/ 602 w 712"/>
                <a:gd name="T23" fmla="*/ 2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2" h="320">
                  <a:moveTo>
                    <a:pt x="602" y="222"/>
                  </a:moveTo>
                  <a:cubicBezTo>
                    <a:pt x="546" y="257"/>
                    <a:pt x="457" y="280"/>
                    <a:pt x="356" y="280"/>
                  </a:cubicBezTo>
                  <a:cubicBezTo>
                    <a:pt x="188" y="280"/>
                    <a:pt x="51" y="216"/>
                    <a:pt x="51" y="136"/>
                  </a:cubicBezTo>
                  <a:cubicBezTo>
                    <a:pt x="51" y="90"/>
                    <a:pt x="94" y="50"/>
                    <a:pt x="162" y="24"/>
                  </a:cubicBezTo>
                  <a:cubicBezTo>
                    <a:pt x="162" y="0"/>
                    <a:pt x="162" y="0"/>
                    <a:pt x="162" y="0"/>
                  </a:cubicBezTo>
                  <a:cubicBezTo>
                    <a:pt x="65" y="31"/>
                    <a:pt x="0" y="85"/>
                    <a:pt x="0" y="146"/>
                  </a:cubicBezTo>
                  <a:cubicBezTo>
                    <a:pt x="0" y="242"/>
                    <a:pt x="160" y="320"/>
                    <a:pt x="356" y="320"/>
                  </a:cubicBezTo>
                  <a:cubicBezTo>
                    <a:pt x="553" y="320"/>
                    <a:pt x="712" y="242"/>
                    <a:pt x="712" y="146"/>
                  </a:cubicBezTo>
                  <a:cubicBezTo>
                    <a:pt x="712" y="89"/>
                    <a:pt x="657" y="39"/>
                    <a:pt x="571" y="7"/>
                  </a:cubicBezTo>
                  <a:cubicBezTo>
                    <a:pt x="571" y="33"/>
                    <a:pt x="571" y="33"/>
                    <a:pt x="571" y="33"/>
                  </a:cubicBezTo>
                  <a:cubicBezTo>
                    <a:pt x="627" y="59"/>
                    <a:pt x="661" y="95"/>
                    <a:pt x="661" y="136"/>
                  </a:cubicBezTo>
                  <a:cubicBezTo>
                    <a:pt x="661" y="168"/>
                    <a:pt x="639" y="198"/>
                    <a:pt x="602" y="222"/>
                  </a:cubicBezTo>
                </a:path>
              </a:pathLst>
            </a:custGeom>
            <a:solidFill>
              <a:schemeClr val="bg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49" name="Group 10"/>
          <p:cNvGrpSpPr>
            <a:grpSpLocks noChangeAspect="1"/>
          </p:cNvGrpSpPr>
          <p:nvPr/>
        </p:nvGrpSpPr>
        <p:grpSpPr bwMode="auto">
          <a:xfrm>
            <a:off x="8582600" y="4555419"/>
            <a:ext cx="580883" cy="705058"/>
            <a:chOff x="2933" y="1540"/>
            <a:chExt cx="828" cy="1005"/>
          </a:xfrm>
          <a:solidFill>
            <a:schemeClr val="bg1"/>
          </a:solidFill>
        </p:grpSpPr>
        <p:sp>
          <p:nvSpPr>
            <p:cNvPr id="50" name="Freeform 11"/>
            <p:cNvSpPr>
              <a:spLocks/>
            </p:cNvSpPr>
            <p:nvPr/>
          </p:nvSpPr>
          <p:spPr bwMode="auto">
            <a:xfrm>
              <a:off x="3168" y="2013"/>
              <a:ext cx="215" cy="28"/>
            </a:xfrm>
            <a:custGeom>
              <a:avLst/>
              <a:gdLst>
                <a:gd name="T0" fmla="*/ 266 w 266"/>
                <a:gd name="T1" fmla="*/ 27 h 35"/>
                <a:gd name="T2" fmla="*/ 255 w 266"/>
                <a:gd name="T3" fmla="*/ 35 h 35"/>
                <a:gd name="T4" fmla="*/ 11 w 266"/>
                <a:gd name="T5" fmla="*/ 35 h 35"/>
                <a:gd name="T6" fmla="*/ 0 w 266"/>
                <a:gd name="T7" fmla="*/ 27 h 35"/>
                <a:gd name="T8" fmla="*/ 0 w 266"/>
                <a:gd name="T9" fmla="*/ 8 h 35"/>
                <a:gd name="T10" fmla="*/ 11 w 266"/>
                <a:gd name="T11" fmla="*/ 0 h 35"/>
                <a:gd name="T12" fmla="*/ 255 w 266"/>
                <a:gd name="T13" fmla="*/ 0 h 35"/>
                <a:gd name="T14" fmla="*/ 266 w 266"/>
                <a:gd name="T15" fmla="*/ 8 h 35"/>
                <a:gd name="T16" fmla="*/ 266 w 266"/>
                <a:gd name="T17"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6" h="35">
                  <a:moveTo>
                    <a:pt x="266" y="27"/>
                  </a:moveTo>
                  <a:cubicBezTo>
                    <a:pt x="266" y="31"/>
                    <a:pt x="261" y="35"/>
                    <a:pt x="255" y="35"/>
                  </a:cubicBezTo>
                  <a:cubicBezTo>
                    <a:pt x="11" y="35"/>
                    <a:pt x="11" y="35"/>
                    <a:pt x="11" y="35"/>
                  </a:cubicBezTo>
                  <a:cubicBezTo>
                    <a:pt x="5" y="35"/>
                    <a:pt x="0" y="31"/>
                    <a:pt x="0" y="27"/>
                  </a:cubicBezTo>
                  <a:cubicBezTo>
                    <a:pt x="0" y="8"/>
                    <a:pt x="0" y="8"/>
                    <a:pt x="0" y="8"/>
                  </a:cubicBezTo>
                  <a:cubicBezTo>
                    <a:pt x="0" y="4"/>
                    <a:pt x="5" y="0"/>
                    <a:pt x="11" y="0"/>
                  </a:cubicBezTo>
                  <a:cubicBezTo>
                    <a:pt x="255" y="0"/>
                    <a:pt x="255" y="0"/>
                    <a:pt x="255" y="0"/>
                  </a:cubicBezTo>
                  <a:cubicBezTo>
                    <a:pt x="261" y="0"/>
                    <a:pt x="266" y="4"/>
                    <a:pt x="266" y="8"/>
                  </a:cubicBezTo>
                  <a:lnTo>
                    <a:pt x="26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1" name="Freeform 12"/>
            <p:cNvSpPr>
              <a:spLocks/>
            </p:cNvSpPr>
            <p:nvPr/>
          </p:nvSpPr>
          <p:spPr bwMode="auto">
            <a:xfrm>
              <a:off x="3168" y="2146"/>
              <a:ext cx="215" cy="28"/>
            </a:xfrm>
            <a:custGeom>
              <a:avLst/>
              <a:gdLst>
                <a:gd name="T0" fmla="*/ 266 w 266"/>
                <a:gd name="T1" fmla="*/ 26 h 34"/>
                <a:gd name="T2" fmla="*/ 255 w 266"/>
                <a:gd name="T3" fmla="*/ 34 h 34"/>
                <a:gd name="T4" fmla="*/ 11 w 266"/>
                <a:gd name="T5" fmla="*/ 34 h 34"/>
                <a:gd name="T6" fmla="*/ 0 w 266"/>
                <a:gd name="T7" fmla="*/ 26 h 34"/>
                <a:gd name="T8" fmla="*/ 0 w 266"/>
                <a:gd name="T9" fmla="*/ 8 h 34"/>
                <a:gd name="T10" fmla="*/ 11 w 266"/>
                <a:gd name="T11" fmla="*/ 0 h 34"/>
                <a:gd name="T12" fmla="*/ 255 w 266"/>
                <a:gd name="T13" fmla="*/ 0 h 34"/>
                <a:gd name="T14" fmla="*/ 266 w 266"/>
                <a:gd name="T15" fmla="*/ 8 h 34"/>
                <a:gd name="T16" fmla="*/ 266 w 266"/>
                <a:gd name="T1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6" h="34">
                  <a:moveTo>
                    <a:pt x="266" y="26"/>
                  </a:moveTo>
                  <a:cubicBezTo>
                    <a:pt x="266" y="31"/>
                    <a:pt x="261" y="34"/>
                    <a:pt x="255" y="34"/>
                  </a:cubicBezTo>
                  <a:cubicBezTo>
                    <a:pt x="11" y="34"/>
                    <a:pt x="11" y="34"/>
                    <a:pt x="11" y="34"/>
                  </a:cubicBezTo>
                  <a:cubicBezTo>
                    <a:pt x="5" y="34"/>
                    <a:pt x="0" y="31"/>
                    <a:pt x="0" y="26"/>
                  </a:cubicBezTo>
                  <a:cubicBezTo>
                    <a:pt x="0" y="8"/>
                    <a:pt x="0" y="8"/>
                    <a:pt x="0" y="8"/>
                  </a:cubicBezTo>
                  <a:cubicBezTo>
                    <a:pt x="0" y="3"/>
                    <a:pt x="5" y="0"/>
                    <a:pt x="11" y="0"/>
                  </a:cubicBezTo>
                  <a:cubicBezTo>
                    <a:pt x="255" y="0"/>
                    <a:pt x="255" y="0"/>
                    <a:pt x="255" y="0"/>
                  </a:cubicBezTo>
                  <a:cubicBezTo>
                    <a:pt x="261" y="0"/>
                    <a:pt x="266" y="3"/>
                    <a:pt x="266" y="8"/>
                  </a:cubicBezTo>
                  <a:lnTo>
                    <a:pt x="26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2" name="Freeform 13"/>
            <p:cNvSpPr>
              <a:spLocks/>
            </p:cNvSpPr>
            <p:nvPr/>
          </p:nvSpPr>
          <p:spPr bwMode="auto">
            <a:xfrm>
              <a:off x="3061" y="2265"/>
              <a:ext cx="57" cy="56"/>
            </a:xfrm>
            <a:custGeom>
              <a:avLst/>
              <a:gdLst>
                <a:gd name="T0" fmla="*/ 70 w 70"/>
                <a:gd name="T1" fmla="*/ 62 h 69"/>
                <a:gd name="T2" fmla="*/ 62 w 70"/>
                <a:gd name="T3" fmla="*/ 69 h 69"/>
                <a:gd name="T4" fmla="*/ 7 w 70"/>
                <a:gd name="T5" fmla="*/ 69 h 69"/>
                <a:gd name="T6" fmla="*/ 0 w 70"/>
                <a:gd name="T7" fmla="*/ 62 h 69"/>
                <a:gd name="T8" fmla="*/ 0 w 70"/>
                <a:gd name="T9" fmla="*/ 7 h 69"/>
                <a:gd name="T10" fmla="*/ 7 w 70"/>
                <a:gd name="T11" fmla="*/ 0 h 69"/>
                <a:gd name="T12" fmla="*/ 62 w 70"/>
                <a:gd name="T13" fmla="*/ 0 h 69"/>
                <a:gd name="T14" fmla="*/ 70 w 70"/>
                <a:gd name="T15" fmla="*/ 7 h 69"/>
                <a:gd name="T16" fmla="*/ 70 w 70"/>
                <a:gd name="T1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69">
                  <a:moveTo>
                    <a:pt x="70" y="62"/>
                  </a:moveTo>
                  <a:cubicBezTo>
                    <a:pt x="70" y="66"/>
                    <a:pt x="66" y="69"/>
                    <a:pt x="62" y="69"/>
                  </a:cubicBezTo>
                  <a:cubicBezTo>
                    <a:pt x="7" y="69"/>
                    <a:pt x="7" y="69"/>
                    <a:pt x="7" y="69"/>
                  </a:cubicBezTo>
                  <a:cubicBezTo>
                    <a:pt x="3" y="69"/>
                    <a:pt x="0" y="66"/>
                    <a:pt x="0" y="62"/>
                  </a:cubicBezTo>
                  <a:cubicBezTo>
                    <a:pt x="0" y="7"/>
                    <a:pt x="0" y="7"/>
                    <a:pt x="0" y="7"/>
                  </a:cubicBezTo>
                  <a:cubicBezTo>
                    <a:pt x="0" y="3"/>
                    <a:pt x="3" y="0"/>
                    <a:pt x="7" y="0"/>
                  </a:cubicBezTo>
                  <a:cubicBezTo>
                    <a:pt x="62" y="0"/>
                    <a:pt x="62" y="0"/>
                    <a:pt x="62" y="0"/>
                  </a:cubicBezTo>
                  <a:cubicBezTo>
                    <a:pt x="66" y="0"/>
                    <a:pt x="70" y="3"/>
                    <a:pt x="70" y="7"/>
                  </a:cubicBezTo>
                  <a:lnTo>
                    <a:pt x="7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3" name="Freeform 14"/>
            <p:cNvSpPr>
              <a:spLocks/>
            </p:cNvSpPr>
            <p:nvPr/>
          </p:nvSpPr>
          <p:spPr bwMode="auto">
            <a:xfrm>
              <a:off x="3061" y="2132"/>
              <a:ext cx="57" cy="56"/>
            </a:xfrm>
            <a:custGeom>
              <a:avLst/>
              <a:gdLst>
                <a:gd name="T0" fmla="*/ 70 w 70"/>
                <a:gd name="T1" fmla="*/ 62 h 70"/>
                <a:gd name="T2" fmla="*/ 62 w 70"/>
                <a:gd name="T3" fmla="*/ 70 h 70"/>
                <a:gd name="T4" fmla="*/ 7 w 70"/>
                <a:gd name="T5" fmla="*/ 70 h 70"/>
                <a:gd name="T6" fmla="*/ 0 w 70"/>
                <a:gd name="T7" fmla="*/ 62 h 70"/>
                <a:gd name="T8" fmla="*/ 0 w 70"/>
                <a:gd name="T9" fmla="*/ 8 h 70"/>
                <a:gd name="T10" fmla="*/ 7 w 70"/>
                <a:gd name="T11" fmla="*/ 0 h 70"/>
                <a:gd name="T12" fmla="*/ 62 w 70"/>
                <a:gd name="T13" fmla="*/ 0 h 70"/>
                <a:gd name="T14" fmla="*/ 70 w 70"/>
                <a:gd name="T15" fmla="*/ 8 h 70"/>
                <a:gd name="T16" fmla="*/ 70 w 70"/>
                <a:gd name="T1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70" y="62"/>
                  </a:moveTo>
                  <a:cubicBezTo>
                    <a:pt x="70" y="67"/>
                    <a:pt x="66" y="70"/>
                    <a:pt x="62" y="70"/>
                  </a:cubicBezTo>
                  <a:cubicBezTo>
                    <a:pt x="7" y="70"/>
                    <a:pt x="7" y="70"/>
                    <a:pt x="7" y="70"/>
                  </a:cubicBezTo>
                  <a:cubicBezTo>
                    <a:pt x="3" y="70"/>
                    <a:pt x="0" y="67"/>
                    <a:pt x="0" y="62"/>
                  </a:cubicBezTo>
                  <a:cubicBezTo>
                    <a:pt x="0" y="8"/>
                    <a:pt x="0" y="8"/>
                    <a:pt x="0" y="8"/>
                  </a:cubicBezTo>
                  <a:cubicBezTo>
                    <a:pt x="0" y="4"/>
                    <a:pt x="3" y="0"/>
                    <a:pt x="7" y="0"/>
                  </a:cubicBezTo>
                  <a:cubicBezTo>
                    <a:pt x="62" y="0"/>
                    <a:pt x="62" y="0"/>
                    <a:pt x="62" y="0"/>
                  </a:cubicBezTo>
                  <a:cubicBezTo>
                    <a:pt x="66" y="0"/>
                    <a:pt x="70" y="4"/>
                    <a:pt x="70" y="8"/>
                  </a:cubicBezTo>
                  <a:lnTo>
                    <a:pt x="7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 name="Freeform 15"/>
            <p:cNvSpPr>
              <a:spLocks/>
            </p:cNvSpPr>
            <p:nvPr/>
          </p:nvSpPr>
          <p:spPr bwMode="auto">
            <a:xfrm>
              <a:off x="3061" y="1999"/>
              <a:ext cx="57" cy="56"/>
            </a:xfrm>
            <a:custGeom>
              <a:avLst/>
              <a:gdLst>
                <a:gd name="T0" fmla="*/ 70 w 70"/>
                <a:gd name="T1" fmla="*/ 62 h 69"/>
                <a:gd name="T2" fmla="*/ 62 w 70"/>
                <a:gd name="T3" fmla="*/ 69 h 69"/>
                <a:gd name="T4" fmla="*/ 7 w 70"/>
                <a:gd name="T5" fmla="*/ 69 h 69"/>
                <a:gd name="T6" fmla="*/ 0 w 70"/>
                <a:gd name="T7" fmla="*/ 62 h 69"/>
                <a:gd name="T8" fmla="*/ 0 w 70"/>
                <a:gd name="T9" fmla="*/ 7 h 69"/>
                <a:gd name="T10" fmla="*/ 7 w 70"/>
                <a:gd name="T11" fmla="*/ 0 h 69"/>
                <a:gd name="T12" fmla="*/ 62 w 70"/>
                <a:gd name="T13" fmla="*/ 0 h 69"/>
                <a:gd name="T14" fmla="*/ 70 w 70"/>
                <a:gd name="T15" fmla="*/ 7 h 69"/>
                <a:gd name="T16" fmla="*/ 70 w 70"/>
                <a:gd name="T1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69">
                  <a:moveTo>
                    <a:pt x="70" y="62"/>
                  </a:moveTo>
                  <a:cubicBezTo>
                    <a:pt x="70" y="66"/>
                    <a:pt x="66" y="69"/>
                    <a:pt x="62" y="69"/>
                  </a:cubicBezTo>
                  <a:cubicBezTo>
                    <a:pt x="7" y="69"/>
                    <a:pt x="7" y="69"/>
                    <a:pt x="7" y="69"/>
                  </a:cubicBezTo>
                  <a:cubicBezTo>
                    <a:pt x="3" y="69"/>
                    <a:pt x="0" y="66"/>
                    <a:pt x="0" y="62"/>
                  </a:cubicBezTo>
                  <a:cubicBezTo>
                    <a:pt x="0" y="7"/>
                    <a:pt x="0" y="7"/>
                    <a:pt x="0" y="7"/>
                  </a:cubicBezTo>
                  <a:cubicBezTo>
                    <a:pt x="0" y="3"/>
                    <a:pt x="3" y="0"/>
                    <a:pt x="7" y="0"/>
                  </a:cubicBezTo>
                  <a:cubicBezTo>
                    <a:pt x="62" y="0"/>
                    <a:pt x="62" y="0"/>
                    <a:pt x="62" y="0"/>
                  </a:cubicBezTo>
                  <a:cubicBezTo>
                    <a:pt x="66" y="0"/>
                    <a:pt x="70" y="3"/>
                    <a:pt x="70" y="7"/>
                  </a:cubicBezTo>
                  <a:lnTo>
                    <a:pt x="7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5" name="Freeform 16"/>
            <p:cNvSpPr>
              <a:spLocks/>
            </p:cNvSpPr>
            <p:nvPr/>
          </p:nvSpPr>
          <p:spPr bwMode="auto">
            <a:xfrm>
              <a:off x="3168" y="2279"/>
              <a:ext cx="215" cy="28"/>
            </a:xfrm>
            <a:custGeom>
              <a:avLst/>
              <a:gdLst>
                <a:gd name="T0" fmla="*/ 266 w 266"/>
                <a:gd name="T1" fmla="*/ 27 h 35"/>
                <a:gd name="T2" fmla="*/ 255 w 266"/>
                <a:gd name="T3" fmla="*/ 35 h 35"/>
                <a:gd name="T4" fmla="*/ 11 w 266"/>
                <a:gd name="T5" fmla="*/ 35 h 35"/>
                <a:gd name="T6" fmla="*/ 0 w 266"/>
                <a:gd name="T7" fmla="*/ 27 h 35"/>
                <a:gd name="T8" fmla="*/ 0 w 266"/>
                <a:gd name="T9" fmla="*/ 8 h 35"/>
                <a:gd name="T10" fmla="*/ 11 w 266"/>
                <a:gd name="T11" fmla="*/ 0 h 35"/>
                <a:gd name="T12" fmla="*/ 255 w 266"/>
                <a:gd name="T13" fmla="*/ 0 h 35"/>
                <a:gd name="T14" fmla="*/ 266 w 266"/>
                <a:gd name="T15" fmla="*/ 8 h 35"/>
                <a:gd name="T16" fmla="*/ 266 w 266"/>
                <a:gd name="T17"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6" h="35">
                  <a:moveTo>
                    <a:pt x="266" y="27"/>
                  </a:moveTo>
                  <a:cubicBezTo>
                    <a:pt x="266" y="31"/>
                    <a:pt x="261" y="35"/>
                    <a:pt x="255" y="35"/>
                  </a:cubicBezTo>
                  <a:cubicBezTo>
                    <a:pt x="11" y="35"/>
                    <a:pt x="11" y="35"/>
                    <a:pt x="11" y="35"/>
                  </a:cubicBezTo>
                  <a:cubicBezTo>
                    <a:pt x="5" y="35"/>
                    <a:pt x="0" y="31"/>
                    <a:pt x="0" y="27"/>
                  </a:cubicBezTo>
                  <a:cubicBezTo>
                    <a:pt x="0" y="8"/>
                    <a:pt x="0" y="8"/>
                    <a:pt x="0" y="8"/>
                  </a:cubicBezTo>
                  <a:cubicBezTo>
                    <a:pt x="0" y="4"/>
                    <a:pt x="5" y="0"/>
                    <a:pt x="11" y="0"/>
                  </a:cubicBezTo>
                  <a:cubicBezTo>
                    <a:pt x="255" y="0"/>
                    <a:pt x="255" y="0"/>
                    <a:pt x="255" y="0"/>
                  </a:cubicBezTo>
                  <a:cubicBezTo>
                    <a:pt x="261" y="0"/>
                    <a:pt x="266" y="4"/>
                    <a:pt x="266" y="8"/>
                  </a:cubicBezTo>
                  <a:lnTo>
                    <a:pt x="26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6" name="Freeform 17"/>
            <p:cNvSpPr>
              <a:spLocks/>
            </p:cNvSpPr>
            <p:nvPr/>
          </p:nvSpPr>
          <p:spPr bwMode="auto">
            <a:xfrm>
              <a:off x="2933" y="1755"/>
              <a:ext cx="568" cy="726"/>
            </a:xfrm>
            <a:custGeom>
              <a:avLst/>
              <a:gdLst>
                <a:gd name="T0" fmla="*/ 600 w 704"/>
                <a:gd name="T1" fmla="*/ 841 h 900"/>
                <a:gd name="T2" fmla="*/ 58 w 704"/>
                <a:gd name="T3" fmla="*/ 841 h 900"/>
                <a:gd name="T4" fmla="*/ 58 w 704"/>
                <a:gd name="T5" fmla="*/ 59 h 900"/>
                <a:gd name="T6" fmla="*/ 485 w 704"/>
                <a:gd name="T7" fmla="*/ 59 h 900"/>
                <a:gd name="T8" fmla="*/ 485 w 704"/>
                <a:gd name="T9" fmla="*/ 201 h 900"/>
                <a:gd name="T10" fmla="*/ 518 w 704"/>
                <a:gd name="T11" fmla="*/ 234 h 900"/>
                <a:gd name="T12" fmla="*/ 647 w 704"/>
                <a:gd name="T13" fmla="*/ 234 h 900"/>
                <a:gd name="T14" fmla="*/ 647 w 704"/>
                <a:gd name="T15" fmla="*/ 530 h 900"/>
                <a:gd name="T16" fmla="*/ 704 w 704"/>
                <a:gd name="T17" fmla="*/ 444 h 900"/>
                <a:gd name="T18" fmla="*/ 704 w 704"/>
                <a:gd name="T19" fmla="*/ 287 h 900"/>
                <a:gd name="T20" fmla="*/ 704 w 704"/>
                <a:gd name="T21" fmla="*/ 221 h 900"/>
                <a:gd name="T22" fmla="*/ 600 w 704"/>
                <a:gd name="T23" fmla="*/ 95 h 900"/>
                <a:gd name="T24" fmla="*/ 503 w 704"/>
                <a:gd name="T25" fmla="*/ 9 h 900"/>
                <a:gd name="T26" fmla="*/ 444 w 704"/>
                <a:gd name="T27" fmla="*/ 1 h 900"/>
                <a:gd name="T28" fmla="*/ 67 w 704"/>
                <a:gd name="T29" fmla="*/ 1 h 900"/>
                <a:gd name="T30" fmla="*/ 0 w 704"/>
                <a:gd name="T31" fmla="*/ 67 h 900"/>
                <a:gd name="T32" fmla="*/ 0 w 704"/>
                <a:gd name="T33" fmla="*/ 833 h 900"/>
                <a:gd name="T34" fmla="*/ 67 w 704"/>
                <a:gd name="T35" fmla="*/ 900 h 900"/>
                <a:gd name="T36" fmla="*/ 600 w 704"/>
                <a:gd name="T37" fmla="*/ 900 h 900"/>
                <a:gd name="T38" fmla="*/ 600 w 704"/>
                <a:gd name="T39" fmla="*/ 841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4" h="900">
                  <a:moveTo>
                    <a:pt x="600" y="841"/>
                  </a:moveTo>
                  <a:cubicBezTo>
                    <a:pt x="58" y="841"/>
                    <a:pt x="58" y="841"/>
                    <a:pt x="58" y="841"/>
                  </a:cubicBezTo>
                  <a:cubicBezTo>
                    <a:pt x="58" y="59"/>
                    <a:pt x="58" y="59"/>
                    <a:pt x="58" y="59"/>
                  </a:cubicBezTo>
                  <a:cubicBezTo>
                    <a:pt x="485" y="59"/>
                    <a:pt x="485" y="59"/>
                    <a:pt x="485" y="59"/>
                  </a:cubicBezTo>
                  <a:cubicBezTo>
                    <a:pt x="485" y="201"/>
                    <a:pt x="485" y="201"/>
                    <a:pt x="485" y="201"/>
                  </a:cubicBezTo>
                  <a:cubicBezTo>
                    <a:pt x="485" y="220"/>
                    <a:pt x="500" y="234"/>
                    <a:pt x="518" y="234"/>
                  </a:cubicBezTo>
                  <a:cubicBezTo>
                    <a:pt x="647" y="234"/>
                    <a:pt x="647" y="234"/>
                    <a:pt x="647" y="234"/>
                  </a:cubicBezTo>
                  <a:cubicBezTo>
                    <a:pt x="647" y="530"/>
                    <a:pt x="647" y="530"/>
                    <a:pt x="647" y="530"/>
                  </a:cubicBezTo>
                  <a:cubicBezTo>
                    <a:pt x="659" y="497"/>
                    <a:pt x="678" y="467"/>
                    <a:pt x="704" y="444"/>
                  </a:cubicBezTo>
                  <a:cubicBezTo>
                    <a:pt x="704" y="287"/>
                    <a:pt x="704" y="287"/>
                    <a:pt x="704" y="287"/>
                  </a:cubicBezTo>
                  <a:cubicBezTo>
                    <a:pt x="704" y="287"/>
                    <a:pt x="704" y="278"/>
                    <a:pt x="704" y="221"/>
                  </a:cubicBezTo>
                  <a:cubicBezTo>
                    <a:pt x="704" y="192"/>
                    <a:pt x="600" y="95"/>
                    <a:pt x="600" y="95"/>
                  </a:cubicBezTo>
                  <a:cubicBezTo>
                    <a:pt x="600" y="95"/>
                    <a:pt x="531" y="24"/>
                    <a:pt x="503" y="9"/>
                  </a:cubicBezTo>
                  <a:cubicBezTo>
                    <a:pt x="488" y="0"/>
                    <a:pt x="451" y="1"/>
                    <a:pt x="444" y="1"/>
                  </a:cubicBezTo>
                  <a:cubicBezTo>
                    <a:pt x="67" y="1"/>
                    <a:pt x="67" y="1"/>
                    <a:pt x="67" y="1"/>
                  </a:cubicBezTo>
                  <a:cubicBezTo>
                    <a:pt x="30" y="1"/>
                    <a:pt x="0" y="30"/>
                    <a:pt x="0" y="67"/>
                  </a:cubicBezTo>
                  <a:cubicBezTo>
                    <a:pt x="0" y="833"/>
                    <a:pt x="0" y="833"/>
                    <a:pt x="0" y="833"/>
                  </a:cubicBezTo>
                  <a:cubicBezTo>
                    <a:pt x="0" y="870"/>
                    <a:pt x="30" y="900"/>
                    <a:pt x="67" y="900"/>
                  </a:cubicBezTo>
                  <a:cubicBezTo>
                    <a:pt x="600" y="900"/>
                    <a:pt x="600" y="900"/>
                    <a:pt x="600" y="900"/>
                  </a:cubicBezTo>
                  <a:lnTo>
                    <a:pt x="600" y="8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7" name="Freeform 18"/>
            <p:cNvSpPr>
              <a:spLocks/>
            </p:cNvSpPr>
            <p:nvPr/>
          </p:nvSpPr>
          <p:spPr bwMode="auto">
            <a:xfrm>
              <a:off x="3488" y="2108"/>
              <a:ext cx="251" cy="178"/>
            </a:xfrm>
            <a:custGeom>
              <a:avLst/>
              <a:gdLst>
                <a:gd name="T0" fmla="*/ 311 w 311"/>
                <a:gd name="T1" fmla="*/ 220 h 220"/>
                <a:gd name="T2" fmla="*/ 253 w 311"/>
                <a:gd name="T3" fmla="*/ 220 h 220"/>
                <a:gd name="T4" fmla="*/ 253 w 311"/>
                <a:gd name="T5" fmla="*/ 155 h 220"/>
                <a:gd name="T6" fmla="*/ 156 w 311"/>
                <a:gd name="T7" fmla="*/ 58 h 220"/>
                <a:gd name="T8" fmla="*/ 58 w 311"/>
                <a:gd name="T9" fmla="*/ 155 h 220"/>
                <a:gd name="T10" fmla="*/ 58 w 311"/>
                <a:gd name="T11" fmla="*/ 220 h 220"/>
                <a:gd name="T12" fmla="*/ 0 w 311"/>
                <a:gd name="T13" fmla="*/ 220 h 220"/>
                <a:gd name="T14" fmla="*/ 0 w 311"/>
                <a:gd name="T15" fmla="*/ 155 h 220"/>
                <a:gd name="T16" fmla="*/ 156 w 311"/>
                <a:gd name="T17" fmla="*/ 0 h 220"/>
                <a:gd name="T18" fmla="*/ 311 w 311"/>
                <a:gd name="T19" fmla="*/ 155 h 220"/>
                <a:gd name="T20" fmla="*/ 311 w 311"/>
                <a:gd name="T21"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20">
                  <a:moveTo>
                    <a:pt x="311" y="220"/>
                  </a:moveTo>
                  <a:cubicBezTo>
                    <a:pt x="253" y="220"/>
                    <a:pt x="253" y="220"/>
                    <a:pt x="253" y="220"/>
                  </a:cubicBezTo>
                  <a:cubicBezTo>
                    <a:pt x="253" y="155"/>
                    <a:pt x="253" y="155"/>
                    <a:pt x="253" y="155"/>
                  </a:cubicBezTo>
                  <a:cubicBezTo>
                    <a:pt x="253" y="101"/>
                    <a:pt x="211" y="58"/>
                    <a:pt x="156" y="58"/>
                  </a:cubicBezTo>
                  <a:cubicBezTo>
                    <a:pt x="101" y="58"/>
                    <a:pt x="58" y="101"/>
                    <a:pt x="58" y="155"/>
                  </a:cubicBezTo>
                  <a:cubicBezTo>
                    <a:pt x="58" y="220"/>
                    <a:pt x="58" y="220"/>
                    <a:pt x="58" y="220"/>
                  </a:cubicBezTo>
                  <a:cubicBezTo>
                    <a:pt x="0" y="220"/>
                    <a:pt x="0" y="220"/>
                    <a:pt x="0" y="220"/>
                  </a:cubicBezTo>
                  <a:cubicBezTo>
                    <a:pt x="0" y="155"/>
                    <a:pt x="0" y="155"/>
                    <a:pt x="0" y="155"/>
                  </a:cubicBezTo>
                  <a:cubicBezTo>
                    <a:pt x="0" y="68"/>
                    <a:pt x="69" y="0"/>
                    <a:pt x="156" y="0"/>
                  </a:cubicBezTo>
                  <a:cubicBezTo>
                    <a:pt x="243" y="0"/>
                    <a:pt x="311" y="68"/>
                    <a:pt x="311" y="155"/>
                  </a:cubicBezTo>
                  <a:lnTo>
                    <a:pt x="311"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8" name="Freeform 19"/>
            <p:cNvSpPr>
              <a:spLocks noEditPoints="1"/>
            </p:cNvSpPr>
            <p:nvPr/>
          </p:nvSpPr>
          <p:spPr bwMode="auto">
            <a:xfrm>
              <a:off x="3465" y="2304"/>
              <a:ext cx="296" cy="241"/>
            </a:xfrm>
            <a:custGeom>
              <a:avLst/>
              <a:gdLst>
                <a:gd name="T0" fmla="*/ 318 w 367"/>
                <a:gd name="T1" fmla="*/ 0 h 299"/>
                <a:gd name="T2" fmla="*/ 49 w 367"/>
                <a:gd name="T3" fmla="*/ 0 h 299"/>
                <a:gd name="T4" fmla="*/ 0 w 367"/>
                <a:gd name="T5" fmla="*/ 50 h 299"/>
                <a:gd name="T6" fmla="*/ 0 w 367"/>
                <a:gd name="T7" fmla="*/ 249 h 299"/>
                <a:gd name="T8" fmla="*/ 49 w 367"/>
                <a:gd name="T9" fmla="*/ 299 h 299"/>
                <a:gd name="T10" fmla="*/ 318 w 367"/>
                <a:gd name="T11" fmla="*/ 299 h 299"/>
                <a:gd name="T12" fmla="*/ 367 w 367"/>
                <a:gd name="T13" fmla="*/ 249 h 299"/>
                <a:gd name="T14" fmla="*/ 367 w 367"/>
                <a:gd name="T15" fmla="*/ 50 h 299"/>
                <a:gd name="T16" fmla="*/ 318 w 367"/>
                <a:gd name="T17" fmla="*/ 0 h 299"/>
                <a:gd name="T18" fmla="*/ 203 w 367"/>
                <a:gd name="T19" fmla="*/ 133 h 299"/>
                <a:gd name="T20" fmla="*/ 233 w 367"/>
                <a:gd name="T21" fmla="*/ 229 h 299"/>
                <a:gd name="T22" fmla="*/ 140 w 367"/>
                <a:gd name="T23" fmla="*/ 229 h 299"/>
                <a:gd name="T24" fmla="*/ 170 w 367"/>
                <a:gd name="T25" fmla="*/ 133 h 299"/>
                <a:gd name="T26" fmla="*/ 154 w 367"/>
                <a:gd name="T27" fmla="*/ 106 h 299"/>
                <a:gd name="T28" fmla="*/ 186 w 367"/>
                <a:gd name="T29" fmla="*/ 73 h 299"/>
                <a:gd name="T30" fmla="*/ 219 w 367"/>
                <a:gd name="T31" fmla="*/ 106 h 299"/>
                <a:gd name="T32" fmla="*/ 203 w 367"/>
                <a:gd name="T33" fmla="*/ 13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7" h="299">
                  <a:moveTo>
                    <a:pt x="318" y="0"/>
                  </a:moveTo>
                  <a:cubicBezTo>
                    <a:pt x="49" y="0"/>
                    <a:pt x="49" y="0"/>
                    <a:pt x="49" y="0"/>
                  </a:cubicBezTo>
                  <a:cubicBezTo>
                    <a:pt x="18" y="0"/>
                    <a:pt x="0" y="18"/>
                    <a:pt x="0" y="50"/>
                  </a:cubicBezTo>
                  <a:cubicBezTo>
                    <a:pt x="0" y="249"/>
                    <a:pt x="0" y="249"/>
                    <a:pt x="0" y="249"/>
                  </a:cubicBezTo>
                  <a:cubicBezTo>
                    <a:pt x="0" y="281"/>
                    <a:pt x="18" y="299"/>
                    <a:pt x="49" y="299"/>
                  </a:cubicBezTo>
                  <a:cubicBezTo>
                    <a:pt x="318" y="299"/>
                    <a:pt x="318" y="299"/>
                    <a:pt x="318" y="299"/>
                  </a:cubicBezTo>
                  <a:cubicBezTo>
                    <a:pt x="350" y="299"/>
                    <a:pt x="367" y="281"/>
                    <a:pt x="367" y="249"/>
                  </a:cubicBezTo>
                  <a:cubicBezTo>
                    <a:pt x="367" y="50"/>
                    <a:pt x="367" y="50"/>
                    <a:pt x="367" y="50"/>
                  </a:cubicBezTo>
                  <a:cubicBezTo>
                    <a:pt x="367" y="18"/>
                    <a:pt x="350" y="0"/>
                    <a:pt x="318" y="0"/>
                  </a:cubicBezTo>
                  <a:close/>
                  <a:moveTo>
                    <a:pt x="203" y="133"/>
                  </a:moveTo>
                  <a:cubicBezTo>
                    <a:pt x="233" y="229"/>
                    <a:pt x="233" y="229"/>
                    <a:pt x="233" y="229"/>
                  </a:cubicBezTo>
                  <a:cubicBezTo>
                    <a:pt x="140" y="229"/>
                    <a:pt x="140" y="229"/>
                    <a:pt x="140" y="229"/>
                  </a:cubicBezTo>
                  <a:cubicBezTo>
                    <a:pt x="170" y="133"/>
                    <a:pt x="170" y="133"/>
                    <a:pt x="170" y="133"/>
                  </a:cubicBezTo>
                  <a:cubicBezTo>
                    <a:pt x="160" y="128"/>
                    <a:pt x="154" y="118"/>
                    <a:pt x="154" y="106"/>
                  </a:cubicBezTo>
                  <a:cubicBezTo>
                    <a:pt x="154" y="88"/>
                    <a:pt x="168" y="73"/>
                    <a:pt x="186" y="73"/>
                  </a:cubicBezTo>
                  <a:cubicBezTo>
                    <a:pt x="204" y="73"/>
                    <a:pt x="219" y="88"/>
                    <a:pt x="219" y="106"/>
                  </a:cubicBezTo>
                  <a:cubicBezTo>
                    <a:pt x="219" y="118"/>
                    <a:pt x="212" y="128"/>
                    <a:pt x="203"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 name="Oval 20"/>
            <p:cNvSpPr>
              <a:spLocks noChangeArrowheads="1"/>
            </p:cNvSpPr>
            <p:nvPr/>
          </p:nvSpPr>
          <p:spPr bwMode="auto">
            <a:xfrm>
              <a:off x="3650" y="1705"/>
              <a:ext cx="81" cy="8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 name="Oval 21"/>
            <p:cNvSpPr>
              <a:spLocks noChangeArrowheads="1"/>
            </p:cNvSpPr>
            <p:nvPr/>
          </p:nvSpPr>
          <p:spPr bwMode="auto">
            <a:xfrm>
              <a:off x="3650" y="1540"/>
              <a:ext cx="81" cy="8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8" name="Oval 22"/>
            <p:cNvSpPr>
              <a:spLocks noChangeArrowheads="1"/>
            </p:cNvSpPr>
            <p:nvPr/>
          </p:nvSpPr>
          <p:spPr bwMode="auto">
            <a:xfrm>
              <a:off x="3489" y="1621"/>
              <a:ext cx="82" cy="8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9" name="Freeform 23"/>
            <p:cNvSpPr>
              <a:spLocks/>
            </p:cNvSpPr>
            <p:nvPr/>
          </p:nvSpPr>
          <p:spPr bwMode="auto">
            <a:xfrm>
              <a:off x="3511" y="1572"/>
              <a:ext cx="184" cy="181"/>
            </a:xfrm>
            <a:custGeom>
              <a:avLst/>
              <a:gdLst>
                <a:gd name="T0" fmla="*/ 176 w 184"/>
                <a:gd name="T1" fmla="*/ 0 h 181"/>
                <a:gd name="T2" fmla="*/ 183 w 184"/>
                <a:gd name="T3" fmla="*/ 17 h 181"/>
                <a:gd name="T4" fmla="*/ 38 w 184"/>
                <a:gd name="T5" fmla="*/ 90 h 181"/>
                <a:gd name="T6" fmla="*/ 184 w 184"/>
                <a:gd name="T7" fmla="*/ 166 h 181"/>
                <a:gd name="T8" fmla="*/ 175 w 184"/>
                <a:gd name="T9" fmla="*/ 181 h 181"/>
                <a:gd name="T10" fmla="*/ 0 w 184"/>
                <a:gd name="T11" fmla="*/ 89 h 181"/>
                <a:gd name="T12" fmla="*/ 176 w 184"/>
                <a:gd name="T13" fmla="*/ 0 h 181"/>
              </a:gdLst>
              <a:ahLst/>
              <a:cxnLst>
                <a:cxn ang="0">
                  <a:pos x="T0" y="T1"/>
                </a:cxn>
                <a:cxn ang="0">
                  <a:pos x="T2" y="T3"/>
                </a:cxn>
                <a:cxn ang="0">
                  <a:pos x="T4" y="T5"/>
                </a:cxn>
                <a:cxn ang="0">
                  <a:pos x="T6" y="T7"/>
                </a:cxn>
                <a:cxn ang="0">
                  <a:pos x="T8" y="T9"/>
                </a:cxn>
                <a:cxn ang="0">
                  <a:pos x="T10" y="T11"/>
                </a:cxn>
                <a:cxn ang="0">
                  <a:pos x="T12" y="T13"/>
                </a:cxn>
              </a:cxnLst>
              <a:rect l="0" t="0" r="r" b="b"/>
              <a:pathLst>
                <a:path w="184" h="181">
                  <a:moveTo>
                    <a:pt x="176" y="0"/>
                  </a:moveTo>
                  <a:lnTo>
                    <a:pt x="183" y="17"/>
                  </a:lnTo>
                  <a:lnTo>
                    <a:pt x="38" y="90"/>
                  </a:lnTo>
                  <a:lnTo>
                    <a:pt x="184" y="166"/>
                  </a:lnTo>
                  <a:lnTo>
                    <a:pt x="175" y="181"/>
                  </a:lnTo>
                  <a:lnTo>
                    <a:pt x="0" y="89"/>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0" name="Freeform 24"/>
            <p:cNvSpPr>
              <a:spLocks/>
            </p:cNvSpPr>
            <p:nvPr/>
          </p:nvSpPr>
          <p:spPr bwMode="auto">
            <a:xfrm>
              <a:off x="3588" y="1815"/>
              <a:ext cx="47" cy="256"/>
            </a:xfrm>
            <a:custGeom>
              <a:avLst/>
              <a:gdLst>
                <a:gd name="T0" fmla="*/ 0 w 58"/>
                <a:gd name="T1" fmla="*/ 0 h 318"/>
                <a:gd name="T2" fmla="*/ 0 w 58"/>
                <a:gd name="T3" fmla="*/ 318 h 318"/>
                <a:gd name="T4" fmla="*/ 34 w 58"/>
                <a:gd name="T5" fmla="*/ 315 h 318"/>
                <a:gd name="T6" fmla="*/ 58 w 58"/>
                <a:gd name="T7" fmla="*/ 317 h 318"/>
                <a:gd name="T8" fmla="*/ 58 w 58"/>
                <a:gd name="T9" fmla="*/ 47 h 318"/>
                <a:gd name="T10" fmla="*/ 58 w 58"/>
                <a:gd name="T11" fmla="*/ 0 h 318"/>
                <a:gd name="T12" fmla="*/ 0 w 58"/>
                <a:gd name="T13" fmla="*/ 0 h 318"/>
              </a:gdLst>
              <a:ahLst/>
              <a:cxnLst>
                <a:cxn ang="0">
                  <a:pos x="T0" y="T1"/>
                </a:cxn>
                <a:cxn ang="0">
                  <a:pos x="T2" y="T3"/>
                </a:cxn>
                <a:cxn ang="0">
                  <a:pos x="T4" y="T5"/>
                </a:cxn>
                <a:cxn ang="0">
                  <a:pos x="T6" y="T7"/>
                </a:cxn>
                <a:cxn ang="0">
                  <a:pos x="T8" y="T9"/>
                </a:cxn>
                <a:cxn ang="0">
                  <a:pos x="T10" y="T11"/>
                </a:cxn>
                <a:cxn ang="0">
                  <a:pos x="T12" y="T13"/>
                </a:cxn>
              </a:cxnLst>
              <a:rect l="0" t="0" r="r" b="b"/>
              <a:pathLst>
                <a:path w="58" h="318">
                  <a:moveTo>
                    <a:pt x="0" y="0"/>
                  </a:moveTo>
                  <a:cubicBezTo>
                    <a:pt x="0" y="318"/>
                    <a:pt x="0" y="318"/>
                    <a:pt x="0" y="318"/>
                  </a:cubicBezTo>
                  <a:cubicBezTo>
                    <a:pt x="11" y="316"/>
                    <a:pt x="22" y="315"/>
                    <a:pt x="34" y="315"/>
                  </a:cubicBezTo>
                  <a:cubicBezTo>
                    <a:pt x="42" y="315"/>
                    <a:pt x="50" y="316"/>
                    <a:pt x="58" y="317"/>
                  </a:cubicBezTo>
                  <a:cubicBezTo>
                    <a:pt x="58" y="47"/>
                    <a:pt x="58" y="47"/>
                    <a:pt x="58" y="47"/>
                  </a:cubicBezTo>
                  <a:cubicBezTo>
                    <a:pt x="58" y="47"/>
                    <a:pt x="58" y="40"/>
                    <a:pt x="58"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1" name="Freeform 25"/>
            <p:cNvSpPr>
              <a:spLocks/>
            </p:cNvSpPr>
            <p:nvPr/>
          </p:nvSpPr>
          <p:spPr bwMode="auto">
            <a:xfrm>
              <a:off x="3067" y="1622"/>
              <a:ext cx="379" cy="100"/>
            </a:xfrm>
            <a:custGeom>
              <a:avLst/>
              <a:gdLst>
                <a:gd name="T0" fmla="*/ 469 w 469"/>
                <a:gd name="T1" fmla="*/ 1 h 124"/>
                <a:gd name="T2" fmla="*/ 443 w 469"/>
                <a:gd name="T3" fmla="*/ 0 h 124"/>
                <a:gd name="T4" fmla="*/ 67 w 469"/>
                <a:gd name="T5" fmla="*/ 0 h 124"/>
                <a:gd name="T6" fmla="*/ 0 w 469"/>
                <a:gd name="T7" fmla="*/ 66 h 124"/>
                <a:gd name="T8" fmla="*/ 0 w 469"/>
                <a:gd name="T9" fmla="*/ 124 h 124"/>
                <a:gd name="T10" fmla="*/ 57 w 469"/>
                <a:gd name="T11" fmla="*/ 124 h 124"/>
                <a:gd name="T12" fmla="*/ 57 w 469"/>
                <a:gd name="T13" fmla="*/ 58 h 124"/>
                <a:gd name="T14" fmla="*/ 469 w 469"/>
                <a:gd name="T15" fmla="*/ 58 h 124"/>
                <a:gd name="T16" fmla="*/ 469 w 469"/>
                <a:gd name="T17" fmla="*/ 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24">
                  <a:moveTo>
                    <a:pt x="469" y="1"/>
                  </a:moveTo>
                  <a:cubicBezTo>
                    <a:pt x="457" y="0"/>
                    <a:pt x="447" y="0"/>
                    <a:pt x="443" y="0"/>
                  </a:cubicBezTo>
                  <a:cubicBezTo>
                    <a:pt x="67" y="0"/>
                    <a:pt x="67" y="0"/>
                    <a:pt x="67" y="0"/>
                  </a:cubicBezTo>
                  <a:cubicBezTo>
                    <a:pt x="30" y="0"/>
                    <a:pt x="0" y="29"/>
                    <a:pt x="0" y="66"/>
                  </a:cubicBezTo>
                  <a:cubicBezTo>
                    <a:pt x="0" y="124"/>
                    <a:pt x="0" y="124"/>
                    <a:pt x="0" y="124"/>
                  </a:cubicBezTo>
                  <a:cubicBezTo>
                    <a:pt x="57" y="124"/>
                    <a:pt x="57" y="124"/>
                    <a:pt x="57" y="124"/>
                  </a:cubicBezTo>
                  <a:cubicBezTo>
                    <a:pt x="57" y="58"/>
                    <a:pt x="57" y="58"/>
                    <a:pt x="57" y="58"/>
                  </a:cubicBezTo>
                  <a:cubicBezTo>
                    <a:pt x="469" y="58"/>
                    <a:pt x="469" y="58"/>
                    <a:pt x="469" y="58"/>
                  </a:cubicBezTo>
                  <a:lnTo>
                    <a:pt x="46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2" name="Group 91"/>
          <p:cNvGrpSpPr/>
          <p:nvPr/>
        </p:nvGrpSpPr>
        <p:grpSpPr>
          <a:xfrm>
            <a:off x="10586202" y="2525950"/>
            <a:ext cx="607730" cy="608355"/>
            <a:chOff x="4008438" y="2549526"/>
            <a:chExt cx="862013" cy="947738"/>
          </a:xfrm>
          <a:solidFill>
            <a:schemeClr val="bg1"/>
          </a:solidFill>
        </p:grpSpPr>
        <p:sp>
          <p:nvSpPr>
            <p:cNvPr id="93" name="Freeform 92"/>
            <p:cNvSpPr>
              <a:spLocks/>
            </p:cNvSpPr>
            <p:nvPr/>
          </p:nvSpPr>
          <p:spPr bwMode="auto">
            <a:xfrm>
              <a:off x="4151313" y="2828926"/>
              <a:ext cx="85725" cy="88900"/>
            </a:xfrm>
            <a:custGeom>
              <a:avLst/>
              <a:gdLst>
                <a:gd name="T0" fmla="*/ 27 w 27"/>
                <a:gd name="T1" fmla="*/ 25 h 28"/>
                <a:gd name="T2" fmla="*/ 25 w 27"/>
                <a:gd name="T3" fmla="*/ 28 h 28"/>
                <a:gd name="T4" fmla="*/ 3 w 27"/>
                <a:gd name="T5" fmla="*/ 28 h 28"/>
                <a:gd name="T6" fmla="*/ 0 w 27"/>
                <a:gd name="T7" fmla="*/ 25 h 28"/>
                <a:gd name="T8" fmla="*/ 0 w 27"/>
                <a:gd name="T9" fmla="*/ 3 h 28"/>
                <a:gd name="T10" fmla="*/ 3 w 27"/>
                <a:gd name="T11" fmla="*/ 0 h 28"/>
                <a:gd name="T12" fmla="*/ 25 w 27"/>
                <a:gd name="T13" fmla="*/ 0 h 28"/>
                <a:gd name="T14" fmla="*/ 27 w 27"/>
                <a:gd name="T15" fmla="*/ 3 h 28"/>
                <a:gd name="T16" fmla="*/ 27 w 27"/>
                <a:gd name="T17"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8">
                  <a:moveTo>
                    <a:pt x="27" y="25"/>
                  </a:moveTo>
                  <a:cubicBezTo>
                    <a:pt x="27" y="26"/>
                    <a:pt x="26" y="28"/>
                    <a:pt x="25" y="28"/>
                  </a:cubicBezTo>
                  <a:cubicBezTo>
                    <a:pt x="3" y="28"/>
                    <a:pt x="3" y="28"/>
                    <a:pt x="3" y="28"/>
                  </a:cubicBezTo>
                  <a:cubicBezTo>
                    <a:pt x="1" y="28"/>
                    <a:pt x="0" y="26"/>
                    <a:pt x="0" y="25"/>
                  </a:cubicBezTo>
                  <a:cubicBezTo>
                    <a:pt x="0" y="3"/>
                    <a:pt x="0" y="3"/>
                    <a:pt x="0" y="3"/>
                  </a:cubicBezTo>
                  <a:cubicBezTo>
                    <a:pt x="0" y="1"/>
                    <a:pt x="1" y="0"/>
                    <a:pt x="3" y="0"/>
                  </a:cubicBezTo>
                  <a:cubicBezTo>
                    <a:pt x="25" y="0"/>
                    <a:pt x="25" y="0"/>
                    <a:pt x="25" y="0"/>
                  </a:cubicBezTo>
                  <a:cubicBezTo>
                    <a:pt x="26" y="0"/>
                    <a:pt x="27" y="1"/>
                    <a:pt x="27" y="3"/>
                  </a:cubicBezTo>
                  <a:lnTo>
                    <a:pt x="27"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a:lstStyle>
            <a:p>
              <a:pPr marL="0" marR="0" lvl="0" indent="0" algn="l" defTabSz="932411" rtl="0" eaLnBrk="1" fontAlgn="auto" latinLnBrk="0" hangingPunct="1">
                <a:lnSpc>
                  <a:spcPct val="100000"/>
                </a:lnSpc>
                <a:spcBef>
                  <a:spcPts val="0"/>
                </a:spcBef>
                <a:spcAft>
                  <a:spcPts val="0"/>
                </a:spcAft>
                <a:buClrTx/>
                <a:buSzTx/>
                <a:buFontTx/>
                <a:buNone/>
                <a:tabLst/>
                <a:defRPr/>
              </a:pPr>
              <a:endParaRPr kumimoji="0" lang="en-US" sz="1938" b="0" i="0" u="none" strike="noStrike" kern="1200" cap="none" spc="0" normalizeH="0" baseline="0" noProof="0">
                <a:ln>
                  <a:noFill/>
                </a:ln>
                <a:solidFill>
                  <a:srgbClr val="595959"/>
                </a:solidFill>
                <a:effectLst/>
                <a:uLnTx/>
                <a:uFillTx/>
                <a:latin typeface="Segoe UI"/>
                <a:ea typeface="+mn-ea"/>
                <a:cs typeface="+mn-cs"/>
              </a:endParaRPr>
            </a:p>
          </p:txBody>
        </p:sp>
        <p:sp>
          <p:nvSpPr>
            <p:cNvPr id="94" name="Freeform 93"/>
            <p:cNvSpPr>
              <a:spLocks/>
            </p:cNvSpPr>
            <p:nvPr/>
          </p:nvSpPr>
          <p:spPr bwMode="auto">
            <a:xfrm>
              <a:off x="4287838" y="2854326"/>
              <a:ext cx="254000" cy="34925"/>
            </a:xfrm>
            <a:custGeom>
              <a:avLst/>
              <a:gdLst>
                <a:gd name="T0" fmla="*/ 80 w 80"/>
                <a:gd name="T1" fmla="*/ 9 h 11"/>
                <a:gd name="T2" fmla="*/ 77 w 80"/>
                <a:gd name="T3" fmla="*/ 11 h 11"/>
                <a:gd name="T4" fmla="*/ 3 w 80"/>
                <a:gd name="T5" fmla="*/ 11 h 11"/>
                <a:gd name="T6" fmla="*/ 0 w 80"/>
                <a:gd name="T7" fmla="*/ 9 h 11"/>
                <a:gd name="T8" fmla="*/ 0 w 80"/>
                <a:gd name="T9" fmla="*/ 3 h 11"/>
                <a:gd name="T10" fmla="*/ 3 w 80"/>
                <a:gd name="T11" fmla="*/ 0 h 11"/>
                <a:gd name="T12" fmla="*/ 77 w 80"/>
                <a:gd name="T13" fmla="*/ 0 h 11"/>
                <a:gd name="T14" fmla="*/ 80 w 80"/>
                <a:gd name="T15" fmla="*/ 3 h 11"/>
                <a:gd name="T16" fmla="*/ 80 w 80"/>
                <a:gd name="T17"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1">
                  <a:moveTo>
                    <a:pt x="80" y="9"/>
                  </a:moveTo>
                  <a:cubicBezTo>
                    <a:pt x="80" y="10"/>
                    <a:pt x="79" y="11"/>
                    <a:pt x="77" y="11"/>
                  </a:cubicBezTo>
                  <a:cubicBezTo>
                    <a:pt x="3" y="11"/>
                    <a:pt x="3" y="11"/>
                    <a:pt x="3" y="11"/>
                  </a:cubicBezTo>
                  <a:cubicBezTo>
                    <a:pt x="1" y="11"/>
                    <a:pt x="0" y="10"/>
                    <a:pt x="0" y="9"/>
                  </a:cubicBezTo>
                  <a:cubicBezTo>
                    <a:pt x="0" y="3"/>
                    <a:pt x="0" y="3"/>
                    <a:pt x="0" y="3"/>
                  </a:cubicBezTo>
                  <a:cubicBezTo>
                    <a:pt x="0" y="2"/>
                    <a:pt x="1" y="0"/>
                    <a:pt x="3" y="0"/>
                  </a:cubicBezTo>
                  <a:cubicBezTo>
                    <a:pt x="77" y="0"/>
                    <a:pt x="77" y="0"/>
                    <a:pt x="77" y="0"/>
                  </a:cubicBezTo>
                  <a:cubicBezTo>
                    <a:pt x="79" y="0"/>
                    <a:pt x="80" y="2"/>
                    <a:pt x="80" y="3"/>
                  </a:cubicBezTo>
                  <a:lnTo>
                    <a:pt x="8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a:lstStyle>
            <a:p>
              <a:pPr marL="0" marR="0" lvl="0" indent="0" algn="l" defTabSz="932411" rtl="0" eaLnBrk="1" fontAlgn="auto" latinLnBrk="0" hangingPunct="1">
                <a:lnSpc>
                  <a:spcPct val="100000"/>
                </a:lnSpc>
                <a:spcBef>
                  <a:spcPts val="0"/>
                </a:spcBef>
                <a:spcAft>
                  <a:spcPts val="0"/>
                </a:spcAft>
                <a:buClrTx/>
                <a:buSzTx/>
                <a:buFontTx/>
                <a:buNone/>
                <a:tabLst/>
                <a:defRPr/>
              </a:pPr>
              <a:endParaRPr kumimoji="0" lang="en-US" sz="1938" b="0" i="0" u="none" strike="noStrike" kern="1200" cap="none" spc="0" normalizeH="0" baseline="0" noProof="0">
                <a:ln>
                  <a:noFill/>
                </a:ln>
                <a:solidFill>
                  <a:srgbClr val="595959"/>
                </a:solidFill>
                <a:effectLst/>
                <a:uLnTx/>
                <a:uFillTx/>
                <a:latin typeface="Segoe UI"/>
                <a:ea typeface="+mn-ea"/>
                <a:cs typeface="+mn-cs"/>
              </a:endParaRPr>
            </a:p>
          </p:txBody>
        </p:sp>
        <p:sp>
          <p:nvSpPr>
            <p:cNvPr id="95" name="Freeform 94"/>
            <p:cNvSpPr>
              <a:spLocks/>
            </p:cNvSpPr>
            <p:nvPr/>
          </p:nvSpPr>
          <p:spPr bwMode="auto">
            <a:xfrm>
              <a:off x="4151313" y="2984501"/>
              <a:ext cx="85725" cy="88900"/>
            </a:xfrm>
            <a:custGeom>
              <a:avLst/>
              <a:gdLst>
                <a:gd name="T0" fmla="*/ 27 w 27"/>
                <a:gd name="T1" fmla="*/ 25 h 28"/>
                <a:gd name="T2" fmla="*/ 25 w 27"/>
                <a:gd name="T3" fmla="*/ 28 h 28"/>
                <a:gd name="T4" fmla="*/ 3 w 27"/>
                <a:gd name="T5" fmla="*/ 28 h 28"/>
                <a:gd name="T6" fmla="*/ 0 w 27"/>
                <a:gd name="T7" fmla="*/ 25 h 28"/>
                <a:gd name="T8" fmla="*/ 0 w 27"/>
                <a:gd name="T9" fmla="*/ 3 h 28"/>
                <a:gd name="T10" fmla="*/ 3 w 27"/>
                <a:gd name="T11" fmla="*/ 0 h 28"/>
                <a:gd name="T12" fmla="*/ 25 w 27"/>
                <a:gd name="T13" fmla="*/ 0 h 28"/>
                <a:gd name="T14" fmla="*/ 27 w 27"/>
                <a:gd name="T15" fmla="*/ 3 h 28"/>
                <a:gd name="T16" fmla="*/ 27 w 27"/>
                <a:gd name="T17"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8">
                  <a:moveTo>
                    <a:pt x="27" y="25"/>
                  </a:moveTo>
                  <a:cubicBezTo>
                    <a:pt x="27" y="27"/>
                    <a:pt x="26" y="28"/>
                    <a:pt x="25" y="28"/>
                  </a:cubicBezTo>
                  <a:cubicBezTo>
                    <a:pt x="3" y="28"/>
                    <a:pt x="3" y="28"/>
                    <a:pt x="3" y="28"/>
                  </a:cubicBezTo>
                  <a:cubicBezTo>
                    <a:pt x="1" y="28"/>
                    <a:pt x="0" y="27"/>
                    <a:pt x="0" y="25"/>
                  </a:cubicBezTo>
                  <a:cubicBezTo>
                    <a:pt x="0" y="3"/>
                    <a:pt x="0" y="3"/>
                    <a:pt x="0" y="3"/>
                  </a:cubicBezTo>
                  <a:cubicBezTo>
                    <a:pt x="0" y="2"/>
                    <a:pt x="1" y="0"/>
                    <a:pt x="3" y="0"/>
                  </a:cubicBezTo>
                  <a:cubicBezTo>
                    <a:pt x="25" y="0"/>
                    <a:pt x="25" y="0"/>
                    <a:pt x="25" y="0"/>
                  </a:cubicBezTo>
                  <a:cubicBezTo>
                    <a:pt x="26" y="0"/>
                    <a:pt x="27" y="2"/>
                    <a:pt x="27" y="3"/>
                  </a:cubicBezTo>
                  <a:lnTo>
                    <a:pt x="27"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a:lstStyle>
            <a:p>
              <a:pPr marL="0" marR="0" lvl="0" indent="0" algn="l" defTabSz="932411" rtl="0" eaLnBrk="1" fontAlgn="auto" latinLnBrk="0" hangingPunct="1">
                <a:lnSpc>
                  <a:spcPct val="100000"/>
                </a:lnSpc>
                <a:spcBef>
                  <a:spcPts val="0"/>
                </a:spcBef>
                <a:spcAft>
                  <a:spcPts val="0"/>
                </a:spcAft>
                <a:buClrTx/>
                <a:buSzTx/>
                <a:buFontTx/>
                <a:buNone/>
                <a:tabLst/>
                <a:defRPr/>
              </a:pPr>
              <a:endParaRPr kumimoji="0" lang="en-US" sz="1938" b="0" i="0" u="none" strike="noStrike" kern="1200" cap="none" spc="0" normalizeH="0" baseline="0" noProof="0">
                <a:ln>
                  <a:noFill/>
                </a:ln>
                <a:solidFill>
                  <a:srgbClr val="595959"/>
                </a:solidFill>
                <a:effectLst/>
                <a:uLnTx/>
                <a:uFillTx/>
                <a:latin typeface="Segoe UI"/>
                <a:ea typeface="+mn-ea"/>
                <a:cs typeface="+mn-cs"/>
              </a:endParaRPr>
            </a:p>
          </p:txBody>
        </p:sp>
        <p:sp>
          <p:nvSpPr>
            <p:cNvPr id="96" name="Freeform 95"/>
            <p:cNvSpPr>
              <a:spLocks/>
            </p:cNvSpPr>
            <p:nvPr/>
          </p:nvSpPr>
          <p:spPr bwMode="auto">
            <a:xfrm>
              <a:off x="4287838" y="3013076"/>
              <a:ext cx="254000" cy="34925"/>
            </a:xfrm>
            <a:custGeom>
              <a:avLst/>
              <a:gdLst>
                <a:gd name="T0" fmla="*/ 80 w 80"/>
                <a:gd name="T1" fmla="*/ 8 h 11"/>
                <a:gd name="T2" fmla="*/ 77 w 80"/>
                <a:gd name="T3" fmla="*/ 11 h 11"/>
                <a:gd name="T4" fmla="*/ 3 w 80"/>
                <a:gd name="T5" fmla="*/ 11 h 11"/>
                <a:gd name="T6" fmla="*/ 0 w 80"/>
                <a:gd name="T7" fmla="*/ 8 h 11"/>
                <a:gd name="T8" fmla="*/ 0 w 80"/>
                <a:gd name="T9" fmla="*/ 3 h 11"/>
                <a:gd name="T10" fmla="*/ 3 w 80"/>
                <a:gd name="T11" fmla="*/ 0 h 11"/>
                <a:gd name="T12" fmla="*/ 77 w 80"/>
                <a:gd name="T13" fmla="*/ 0 h 11"/>
                <a:gd name="T14" fmla="*/ 80 w 80"/>
                <a:gd name="T15" fmla="*/ 3 h 11"/>
                <a:gd name="T16" fmla="*/ 80 w 80"/>
                <a:gd name="T17"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1">
                  <a:moveTo>
                    <a:pt x="80" y="8"/>
                  </a:moveTo>
                  <a:cubicBezTo>
                    <a:pt x="80" y="10"/>
                    <a:pt x="79" y="11"/>
                    <a:pt x="77" y="11"/>
                  </a:cubicBezTo>
                  <a:cubicBezTo>
                    <a:pt x="3" y="11"/>
                    <a:pt x="3" y="11"/>
                    <a:pt x="3" y="11"/>
                  </a:cubicBezTo>
                  <a:cubicBezTo>
                    <a:pt x="1" y="11"/>
                    <a:pt x="0" y="10"/>
                    <a:pt x="0" y="8"/>
                  </a:cubicBezTo>
                  <a:cubicBezTo>
                    <a:pt x="0" y="3"/>
                    <a:pt x="0" y="3"/>
                    <a:pt x="0" y="3"/>
                  </a:cubicBezTo>
                  <a:cubicBezTo>
                    <a:pt x="0" y="1"/>
                    <a:pt x="1" y="0"/>
                    <a:pt x="3" y="0"/>
                  </a:cubicBezTo>
                  <a:cubicBezTo>
                    <a:pt x="77" y="0"/>
                    <a:pt x="77" y="0"/>
                    <a:pt x="77" y="0"/>
                  </a:cubicBezTo>
                  <a:cubicBezTo>
                    <a:pt x="79" y="0"/>
                    <a:pt x="80" y="1"/>
                    <a:pt x="80" y="3"/>
                  </a:cubicBezTo>
                  <a:lnTo>
                    <a:pt x="8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a:lstStyle>
            <a:p>
              <a:pPr marL="0" marR="0" lvl="0" indent="0" algn="l" defTabSz="932411" rtl="0" eaLnBrk="1" fontAlgn="auto" latinLnBrk="0" hangingPunct="1">
                <a:lnSpc>
                  <a:spcPct val="100000"/>
                </a:lnSpc>
                <a:spcBef>
                  <a:spcPts val="0"/>
                </a:spcBef>
                <a:spcAft>
                  <a:spcPts val="0"/>
                </a:spcAft>
                <a:buClrTx/>
                <a:buSzTx/>
                <a:buFontTx/>
                <a:buNone/>
                <a:tabLst/>
                <a:defRPr/>
              </a:pPr>
              <a:endParaRPr kumimoji="0" lang="en-US" sz="1938" b="0" i="0" u="none" strike="noStrike" kern="1200" cap="none" spc="0" normalizeH="0" baseline="0" noProof="0">
                <a:ln>
                  <a:noFill/>
                </a:ln>
                <a:solidFill>
                  <a:srgbClr val="595959"/>
                </a:solidFill>
                <a:effectLst/>
                <a:uLnTx/>
                <a:uFillTx/>
                <a:latin typeface="Segoe UI"/>
                <a:ea typeface="+mn-ea"/>
                <a:cs typeface="+mn-cs"/>
              </a:endParaRPr>
            </a:p>
          </p:txBody>
        </p:sp>
        <p:sp>
          <p:nvSpPr>
            <p:cNvPr id="97" name="Freeform 96"/>
            <p:cNvSpPr>
              <a:spLocks/>
            </p:cNvSpPr>
            <p:nvPr/>
          </p:nvSpPr>
          <p:spPr bwMode="auto">
            <a:xfrm>
              <a:off x="4151313" y="3143251"/>
              <a:ext cx="85725" cy="90488"/>
            </a:xfrm>
            <a:custGeom>
              <a:avLst/>
              <a:gdLst>
                <a:gd name="T0" fmla="*/ 27 w 27"/>
                <a:gd name="T1" fmla="*/ 25 h 28"/>
                <a:gd name="T2" fmla="*/ 25 w 27"/>
                <a:gd name="T3" fmla="*/ 28 h 28"/>
                <a:gd name="T4" fmla="*/ 3 w 27"/>
                <a:gd name="T5" fmla="*/ 28 h 28"/>
                <a:gd name="T6" fmla="*/ 0 w 27"/>
                <a:gd name="T7" fmla="*/ 25 h 28"/>
                <a:gd name="T8" fmla="*/ 0 w 27"/>
                <a:gd name="T9" fmla="*/ 3 h 28"/>
                <a:gd name="T10" fmla="*/ 3 w 27"/>
                <a:gd name="T11" fmla="*/ 0 h 28"/>
                <a:gd name="T12" fmla="*/ 25 w 27"/>
                <a:gd name="T13" fmla="*/ 0 h 28"/>
                <a:gd name="T14" fmla="*/ 27 w 27"/>
                <a:gd name="T15" fmla="*/ 3 h 28"/>
                <a:gd name="T16" fmla="*/ 27 w 27"/>
                <a:gd name="T17"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8">
                  <a:moveTo>
                    <a:pt x="27" y="25"/>
                  </a:moveTo>
                  <a:cubicBezTo>
                    <a:pt x="27" y="26"/>
                    <a:pt x="26" y="28"/>
                    <a:pt x="25" y="28"/>
                  </a:cubicBezTo>
                  <a:cubicBezTo>
                    <a:pt x="3" y="28"/>
                    <a:pt x="3" y="28"/>
                    <a:pt x="3" y="28"/>
                  </a:cubicBezTo>
                  <a:cubicBezTo>
                    <a:pt x="1" y="28"/>
                    <a:pt x="0" y="26"/>
                    <a:pt x="0" y="25"/>
                  </a:cubicBezTo>
                  <a:cubicBezTo>
                    <a:pt x="0" y="3"/>
                    <a:pt x="0" y="3"/>
                    <a:pt x="0" y="3"/>
                  </a:cubicBezTo>
                  <a:cubicBezTo>
                    <a:pt x="0" y="1"/>
                    <a:pt x="1" y="0"/>
                    <a:pt x="3" y="0"/>
                  </a:cubicBezTo>
                  <a:cubicBezTo>
                    <a:pt x="25" y="0"/>
                    <a:pt x="25" y="0"/>
                    <a:pt x="25" y="0"/>
                  </a:cubicBezTo>
                  <a:cubicBezTo>
                    <a:pt x="26" y="0"/>
                    <a:pt x="27" y="1"/>
                    <a:pt x="27" y="3"/>
                  </a:cubicBezTo>
                  <a:lnTo>
                    <a:pt x="27"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a:lstStyle>
            <a:p>
              <a:pPr marL="0" marR="0" lvl="0" indent="0" algn="l" defTabSz="932411" rtl="0" eaLnBrk="1" fontAlgn="auto" latinLnBrk="0" hangingPunct="1">
                <a:lnSpc>
                  <a:spcPct val="100000"/>
                </a:lnSpc>
                <a:spcBef>
                  <a:spcPts val="0"/>
                </a:spcBef>
                <a:spcAft>
                  <a:spcPts val="0"/>
                </a:spcAft>
                <a:buClrTx/>
                <a:buSzTx/>
                <a:buFontTx/>
                <a:buNone/>
                <a:tabLst/>
                <a:defRPr/>
              </a:pPr>
              <a:endParaRPr kumimoji="0" lang="en-US" sz="1938" b="0" i="0" u="none" strike="noStrike" kern="1200" cap="none" spc="0" normalizeH="0" baseline="0" noProof="0">
                <a:ln>
                  <a:noFill/>
                </a:ln>
                <a:solidFill>
                  <a:srgbClr val="595959"/>
                </a:solidFill>
                <a:effectLst/>
                <a:uLnTx/>
                <a:uFillTx/>
                <a:latin typeface="Segoe UI"/>
                <a:ea typeface="+mn-ea"/>
                <a:cs typeface="+mn-cs"/>
              </a:endParaRPr>
            </a:p>
          </p:txBody>
        </p:sp>
        <p:sp>
          <p:nvSpPr>
            <p:cNvPr id="98" name="Freeform 97"/>
            <p:cNvSpPr>
              <a:spLocks/>
            </p:cNvSpPr>
            <p:nvPr/>
          </p:nvSpPr>
          <p:spPr bwMode="auto">
            <a:xfrm>
              <a:off x="4008438" y="2549526"/>
              <a:ext cx="673100" cy="862013"/>
            </a:xfrm>
            <a:custGeom>
              <a:avLst/>
              <a:gdLst>
                <a:gd name="T0" fmla="*/ 153 w 212"/>
                <a:gd name="T1" fmla="*/ 256 h 271"/>
                <a:gd name="T2" fmla="*/ 152 w 212"/>
                <a:gd name="T3" fmla="*/ 254 h 271"/>
                <a:gd name="T4" fmla="*/ 17 w 212"/>
                <a:gd name="T5" fmla="*/ 254 h 271"/>
                <a:gd name="T6" fmla="*/ 17 w 212"/>
                <a:gd name="T7" fmla="*/ 18 h 271"/>
                <a:gd name="T8" fmla="*/ 146 w 212"/>
                <a:gd name="T9" fmla="*/ 18 h 271"/>
                <a:gd name="T10" fmla="*/ 146 w 212"/>
                <a:gd name="T11" fmla="*/ 61 h 271"/>
                <a:gd name="T12" fmla="*/ 156 w 212"/>
                <a:gd name="T13" fmla="*/ 71 h 271"/>
                <a:gd name="T14" fmla="*/ 195 w 212"/>
                <a:gd name="T15" fmla="*/ 71 h 271"/>
                <a:gd name="T16" fmla="*/ 195 w 212"/>
                <a:gd name="T17" fmla="*/ 157 h 271"/>
                <a:gd name="T18" fmla="*/ 212 w 212"/>
                <a:gd name="T19" fmla="*/ 157 h 271"/>
                <a:gd name="T20" fmla="*/ 212 w 212"/>
                <a:gd name="T21" fmla="*/ 86 h 271"/>
                <a:gd name="T22" fmla="*/ 212 w 212"/>
                <a:gd name="T23" fmla="*/ 67 h 271"/>
                <a:gd name="T24" fmla="*/ 181 w 212"/>
                <a:gd name="T25" fmla="*/ 28 h 271"/>
                <a:gd name="T26" fmla="*/ 152 w 212"/>
                <a:gd name="T27" fmla="*/ 2 h 271"/>
                <a:gd name="T28" fmla="*/ 134 w 212"/>
                <a:gd name="T29" fmla="*/ 0 h 271"/>
                <a:gd name="T30" fmla="*/ 20 w 212"/>
                <a:gd name="T31" fmla="*/ 0 h 271"/>
                <a:gd name="T32" fmla="*/ 0 w 212"/>
                <a:gd name="T33" fmla="*/ 20 h 271"/>
                <a:gd name="T34" fmla="*/ 0 w 212"/>
                <a:gd name="T35" fmla="*/ 251 h 271"/>
                <a:gd name="T36" fmla="*/ 20 w 212"/>
                <a:gd name="T37" fmla="*/ 271 h 271"/>
                <a:gd name="T38" fmla="*/ 144 w 212"/>
                <a:gd name="T39" fmla="*/ 271 h 271"/>
                <a:gd name="T40" fmla="*/ 153 w 212"/>
                <a:gd name="T41" fmla="*/ 256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2" h="271">
                  <a:moveTo>
                    <a:pt x="153" y="256"/>
                  </a:moveTo>
                  <a:cubicBezTo>
                    <a:pt x="152" y="254"/>
                    <a:pt x="152" y="254"/>
                    <a:pt x="152" y="254"/>
                  </a:cubicBezTo>
                  <a:cubicBezTo>
                    <a:pt x="17" y="254"/>
                    <a:pt x="17" y="254"/>
                    <a:pt x="17" y="254"/>
                  </a:cubicBezTo>
                  <a:cubicBezTo>
                    <a:pt x="17" y="18"/>
                    <a:pt x="17" y="18"/>
                    <a:pt x="17" y="18"/>
                  </a:cubicBezTo>
                  <a:cubicBezTo>
                    <a:pt x="146" y="18"/>
                    <a:pt x="146" y="18"/>
                    <a:pt x="146" y="18"/>
                  </a:cubicBezTo>
                  <a:cubicBezTo>
                    <a:pt x="146" y="61"/>
                    <a:pt x="146" y="61"/>
                    <a:pt x="146" y="61"/>
                  </a:cubicBezTo>
                  <a:cubicBezTo>
                    <a:pt x="146" y="66"/>
                    <a:pt x="151" y="71"/>
                    <a:pt x="156" y="71"/>
                  </a:cubicBezTo>
                  <a:cubicBezTo>
                    <a:pt x="195" y="71"/>
                    <a:pt x="195" y="71"/>
                    <a:pt x="195" y="71"/>
                  </a:cubicBezTo>
                  <a:cubicBezTo>
                    <a:pt x="195" y="157"/>
                    <a:pt x="195" y="157"/>
                    <a:pt x="195" y="157"/>
                  </a:cubicBezTo>
                  <a:cubicBezTo>
                    <a:pt x="212" y="157"/>
                    <a:pt x="212" y="157"/>
                    <a:pt x="212" y="157"/>
                  </a:cubicBezTo>
                  <a:cubicBezTo>
                    <a:pt x="212" y="86"/>
                    <a:pt x="212" y="86"/>
                    <a:pt x="212" y="86"/>
                  </a:cubicBezTo>
                  <a:cubicBezTo>
                    <a:pt x="212" y="86"/>
                    <a:pt x="212" y="84"/>
                    <a:pt x="212" y="67"/>
                  </a:cubicBezTo>
                  <a:cubicBezTo>
                    <a:pt x="212" y="58"/>
                    <a:pt x="181" y="28"/>
                    <a:pt x="181" y="28"/>
                  </a:cubicBezTo>
                  <a:cubicBezTo>
                    <a:pt x="181" y="28"/>
                    <a:pt x="160" y="7"/>
                    <a:pt x="152" y="2"/>
                  </a:cubicBezTo>
                  <a:cubicBezTo>
                    <a:pt x="147" y="0"/>
                    <a:pt x="136" y="0"/>
                    <a:pt x="134" y="0"/>
                  </a:cubicBezTo>
                  <a:cubicBezTo>
                    <a:pt x="20" y="0"/>
                    <a:pt x="20" y="0"/>
                    <a:pt x="20" y="0"/>
                  </a:cubicBezTo>
                  <a:cubicBezTo>
                    <a:pt x="9" y="0"/>
                    <a:pt x="0" y="9"/>
                    <a:pt x="0" y="20"/>
                  </a:cubicBezTo>
                  <a:cubicBezTo>
                    <a:pt x="0" y="251"/>
                    <a:pt x="0" y="251"/>
                    <a:pt x="0" y="251"/>
                  </a:cubicBezTo>
                  <a:cubicBezTo>
                    <a:pt x="0" y="262"/>
                    <a:pt x="9" y="271"/>
                    <a:pt x="20" y="271"/>
                  </a:cubicBezTo>
                  <a:cubicBezTo>
                    <a:pt x="144" y="271"/>
                    <a:pt x="144" y="271"/>
                    <a:pt x="144" y="271"/>
                  </a:cubicBezTo>
                  <a:lnTo>
                    <a:pt x="153"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a:lstStyle>
            <a:p>
              <a:pPr marL="0" marR="0" lvl="0" indent="0" algn="l" defTabSz="932411" rtl="0" eaLnBrk="1" fontAlgn="auto" latinLnBrk="0" hangingPunct="1">
                <a:lnSpc>
                  <a:spcPct val="100000"/>
                </a:lnSpc>
                <a:spcBef>
                  <a:spcPts val="0"/>
                </a:spcBef>
                <a:spcAft>
                  <a:spcPts val="0"/>
                </a:spcAft>
                <a:buClrTx/>
                <a:buSzTx/>
                <a:buFontTx/>
                <a:buNone/>
                <a:tabLst/>
                <a:defRPr/>
              </a:pPr>
              <a:endParaRPr kumimoji="0" lang="en-US" sz="1938" b="0" i="0" u="none" strike="noStrike" kern="1200" cap="none" spc="0" normalizeH="0" baseline="0" noProof="0">
                <a:ln>
                  <a:noFill/>
                </a:ln>
                <a:solidFill>
                  <a:srgbClr val="595959"/>
                </a:solidFill>
                <a:effectLst/>
                <a:uLnTx/>
                <a:uFillTx/>
                <a:latin typeface="Segoe UI"/>
                <a:ea typeface="+mn-ea"/>
                <a:cs typeface="+mn-cs"/>
              </a:endParaRPr>
            </a:p>
          </p:txBody>
        </p:sp>
        <p:sp>
          <p:nvSpPr>
            <p:cNvPr id="99" name="Freeform 98"/>
            <p:cNvSpPr>
              <a:spLocks noEditPoints="1"/>
            </p:cNvSpPr>
            <p:nvPr/>
          </p:nvSpPr>
          <p:spPr bwMode="auto">
            <a:xfrm>
              <a:off x="4462463" y="3086101"/>
              <a:ext cx="407988" cy="411163"/>
            </a:xfrm>
            <a:custGeom>
              <a:avLst/>
              <a:gdLst>
                <a:gd name="T0" fmla="*/ 128 w 128"/>
                <a:gd name="T1" fmla="*/ 73 h 129"/>
                <a:gd name="T2" fmla="*/ 128 w 128"/>
                <a:gd name="T3" fmla="*/ 56 h 129"/>
                <a:gd name="T4" fmla="*/ 109 w 128"/>
                <a:gd name="T5" fmla="*/ 53 h 129"/>
                <a:gd name="T6" fmla="*/ 104 w 128"/>
                <a:gd name="T7" fmla="*/ 41 h 129"/>
                <a:gd name="T8" fmla="*/ 115 w 128"/>
                <a:gd name="T9" fmla="*/ 25 h 129"/>
                <a:gd name="T10" fmla="*/ 104 w 128"/>
                <a:gd name="T11" fmla="*/ 13 h 129"/>
                <a:gd name="T12" fmla="*/ 88 w 128"/>
                <a:gd name="T13" fmla="*/ 25 h 129"/>
                <a:gd name="T14" fmla="*/ 75 w 128"/>
                <a:gd name="T15" fmla="*/ 19 h 129"/>
                <a:gd name="T16" fmla="*/ 72 w 128"/>
                <a:gd name="T17" fmla="*/ 0 h 129"/>
                <a:gd name="T18" fmla="*/ 56 w 128"/>
                <a:gd name="T19" fmla="*/ 0 h 129"/>
                <a:gd name="T20" fmla="*/ 53 w 128"/>
                <a:gd name="T21" fmla="*/ 19 h 129"/>
                <a:gd name="T22" fmla="*/ 40 w 128"/>
                <a:gd name="T23" fmla="*/ 25 h 129"/>
                <a:gd name="T24" fmla="*/ 25 w 128"/>
                <a:gd name="T25" fmla="*/ 13 h 129"/>
                <a:gd name="T26" fmla="*/ 13 w 128"/>
                <a:gd name="T27" fmla="*/ 25 h 129"/>
                <a:gd name="T28" fmla="*/ 24 w 128"/>
                <a:gd name="T29" fmla="*/ 40 h 129"/>
                <a:gd name="T30" fmla="*/ 19 w 128"/>
                <a:gd name="T31" fmla="*/ 53 h 129"/>
                <a:gd name="T32" fmla="*/ 0 w 128"/>
                <a:gd name="T33" fmla="*/ 56 h 129"/>
                <a:gd name="T34" fmla="*/ 0 w 128"/>
                <a:gd name="T35" fmla="*/ 73 h 129"/>
                <a:gd name="T36" fmla="*/ 19 w 128"/>
                <a:gd name="T37" fmla="*/ 76 h 129"/>
                <a:gd name="T38" fmla="*/ 24 w 128"/>
                <a:gd name="T39" fmla="*/ 89 h 129"/>
                <a:gd name="T40" fmla="*/ 13 w 128"/>
                <a:gd name="T41" fmla="*/ 104 h 129"/>
                <a:gd name="T42" fmla="*/ 24 w 128"/>
                <a:gd name="T43" fmla="*/ 116 h 129"/>
                <a:gd name="T44" fmla="*/ 40 w 128"/>
                <a:gd name="T45" fmla="*/ 105 h 129"/>
                <a:gd name="T46" fmla="*/ 53 w 128"/>
                <a:gd name="T47" fmla="*/ 110 h 129"/>
                <a:gd name="T48" fmla="*/ 56 w 128"/>
                <a:gd name="T49" fmla="*/ 129 h 129"/>
                <a:gd name="T50" fmla="*/ 72 w 128"/>
                <a:gd name="T51" fmla="*/ 129 h 129"/>
                <a:gd name="T52" fmla="*/ 75 w 128"/>
                <a:gd name="T53" fmla="*/ 110 h 129"/>
                <a:gd name="T54" fmla="*/ 88 w 128"/>
                <a:gd name="T55" fmla="*/ 105 h 129"/>
                <a:gd name="T56" fmla="*/ 104 w 128"/>
                <a:gd name="T57" fmla="*/ 116 h 129"/>
                <a:gd name="T58" fmla="*/ 115 w 128"/>
                <a:gd name="T59" fmla="*/ 104 h 129"/>
                <a:gd name="T60" fmla="*/ 104 w 128"/>
                <a:gd name="T61" fmla="*/ 89 h 129"/>
                <a:gd name="T62" fmla="*/ 109 w 128"/>
                <a:gd name="T63" fmla="*/ 76 h 129"/>
                <a:gd name="T64" fmla="*/ 128 w 128"/>
                <a:gd name="T65" fmla="*/ 73 h 129"/>
                <a:gd name="T66" fmla="*/ 64 w 128"/>
                <a:gd name="T67" fmla="*/ 87 h 129"/>
                <a:gd name="T68" fmla="*/ 42 w 128"/>
                <a:gd name="T69" fmla="*/ 65 h 129"/>
                <a:gd name="T70" fmla="*/ 64 w 128"/>
                <a:gd name="T71" fmla="*/ 42 h 129"/>
                <a:gd name="T72" fmla="*/ 87 w 128"/>
                <a:gd name="T73" fmla="*/ 65 h 129"/>
                <a:gd name="T74" fmla="*/ 64 w 128"/>
                <a:gd name="T75" fmla="*/ 8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 h="129">
                  <a:moveTo>
                    <a:pt x="128" y="73"/>
                  </a:moveTo>
                  <a:cubicBezTo>
                    <a:pt x="128" y="56"/>
                    <a:pt x="128" y="56"/>
                    <a:pt x="128" y="56"/>
                  </a:cubicBezTo>
                  <a:cubicBezTo>
                    <a:pt x="109" y="53"/>
                    <a:pt x="109" y="53"/>
                    <a:pt x="109" y="53"/>
                  </a:cubicBezTo>
                  <a:cubicBezTo>
                    <a:pt x="108" y="49"/>
                    <a:pt x="106" y="45"/>
                    <a:pt x="104" y="41"/>
                  </a:cubicBezTo>
                  <a:cubicBezTo>
                    <a:pt x="115" y="25"/>
                    <a:pt x="115" y="25"/>
                    <a:pt x="115" y="25"/>
                  </a:cubicBezTo>
                  <a:cubicBezTo>
                    <a:pt x="104" y="13"/>
                    <a:pt x="104" y="13"/>
                    <a:pt x="104" y="13"/>
                  </a:cubicBezTo>
                  <a:cubicBezTo>
                    <a:pt x="88" y="25"/>
                    <a:pt x="88" y="25"/>
                    <a:pt x="88" y="25"/>
                  </a:cubicBezTo>
                  <a:cubicBezTo>
                    <a:pt x="84" y="22"/>
                    <a:pt x="80" y="21"/>
                    <a:pt x="75" y="19"/>
                  </a:cubicBezTo>
                  <a:cubicBezTo>
                    <a:pt x="72" y="0"/>
                    <a:pt x="72" y="0"/>
                    <a:pt x="72" y="0"/>
                  </a:cubicBezTo>
                  <a:cubicBezTo>
                    <a:pt x="56" y="0"/>
                    <a:pt x="56" y="0"/>
                    <a:pt x="56" y="0"/>
                  </a:cubicBezTo>
                  <a:cubicBezTo>
                    <a:pt x="53" y="19"/>
                    <a:pt x="53" y="19"/>
                    <a:pt x="53" y="19"/>
                  </a:cubicBezTo>
                  <a:cubicBezTo>
                    <a:pt x="48" y="20"/>
                    <a:pt x="44" y="22"/>
                    <a:pt x="40" y="25"/>
                  </a:cubicBezTo>
                  <a:cubicBezTo>
                    <a:pt x="25" y="13"/>
                    <a:pt x="25" y="13"/>
                    <a:pt x="25" y="13"/>
                  </a:cubicBezTo>
                  <a:cubicBezTo>
                    <a:pt x="13" y="25"/>
                    <a:pt x="13" y="25"/>
                    <a:pt x="13" y="25"/>
                  </a:cubicBezTo>
                  <a:cubicBezTo>
                    <a:pt x="24" y="40"/>
                    <a:pt x="24" y="40"/>
                    <a:pt x="24" y="40"/>
                  </a:cubicBezTo>
                  <a:cubicBezTo>
                    <a:pt x="22" y="44"/>
                    <a:pt x="20" y="49"/>
                    <a:pt x="19" y="53"/>
                  </a:cubicBezTo>
                  <a:cubicBezTo>
                    <a:pt x="0" y="56"/>
                    <a:pt x="0" y="56"/>
                    <a:pt x="0" y="56"/>
                  </a:cubicBezTo>
                  <a:cubicBezTo>
                    <a:pt x="0" y="73"/>
                    <a:pt x="0" y="73"/>
                    <a:pt x="0" y="73"/>
                  </a:cubicBezTo>
                  <a:cubicBezTo>
                    <a:pt x="19" y="76"/>
                    <a:pt x="19" y="76"/>
                    <a:pt x="19" y="76"/>
                  </a:cubicBezTo>
                  <a:cubicBezTo>
                    <a:pt x="20" y="80"/>
                    <a:pt x="22" y="85"/>
                    <a:pt x="24" y="89"/>
                  </a:cubicBezTo>
                  <a:cubicBezTo>
                    <a:pt x="13" y="104"/>
                    <a:pt x="13" y="104"/>
                    <a:pt x="13" y="104"/>
                  </a:cubicBezTo>
                  <a:cubicBezTo>
                    <a:pt x="24" y="116"/>
                    <a:pt x="24" y="116"/>
                    <a:pt x="24" y="116"/>
                  </a:cubicBezTo>
                  <a:cubicBezTo>
                    <a:pt x="40" y="105"/>
                    <a:pt x="40" y="105"/>
                    <a:pt x="40" y="105"/>
                  </a:cubicBezTo>
                  <a:cubicBezTo>
                    <a:pt x="44" y="107"/>
                    <a:pt x="48" y="109"/>
                    <a:pt x="53" y="110"/>
                  </a:cubicBezTo>
                  <a:cubicBezTo>
                    <a:pt x="56" y="129"/>
                    <a:pt x="56" y="129"/>
                    <a:pt x="56" y="129"/>
                  </a:cubicBezTo>
                  <a:cubicBezTo>
                    <a:pt x="72" y="129"/>
                    <a:pt x="72" y="129"/>
                    <a:pt x="72" y="129"/>
                  </a:cubicBezTo>
                  <a:cubicBezTo>
                    <a:pt x="75" y="110"/>
                    <a:pt x="75" y="110"/>
                    <a:pt x="75" y="110"/>
                  </a:cubicBezTo>
                  <a:cubicBezTo>
                    <a:pt x="80" y="109"/>
                    <a:pt x="84" y="107"/>
                    <a:pt x="88" y="105"/>
                  </a:cubicBezTo>
                  <a:cubicBezTo>
                    <a:pt x="104" y="116"/>
                    <a:pt x="104" y="116"/>
                    <a:pt x="104" y="116"/>
                  </a:cubicBezTo>
                  <a:cubicBezTo>
                    <a:pt x="115" y="104"/>
                    <a:pt x="115" y="104"/>
                    <a:pt x="115" y="104"/>
                  </a:cubicBezTo>
                  <a:cubicBezTo>
                    <a:pt x="104" y="89"/>
                    <a:pt x="104" y="89"/>
                    <a:pt x="104" y="89"/>
                  </a:cubicBezTo>
                  <a:cubicBezTo>
                    <a:pt x="106" y="85"/>
                    <a:pt x="108" y="80"/>
                    <a:pt x="109" y="76"/>
                  </a:cubicBezTo>
                  <a:lnTo>
                    <a:pt x="128" y="73"/>
                  </a:lnTo>
                  <a:close/>
                  <a:moveTo>
                    <a:pt x="64" y="87"/>
                  </a:moveTo>
                  <a:cubicBezTo>
                    <a:pt x="52" y="87"/>
                    <a:pt x="42" y="77"/>
                    <a:pt x="42" y="65"/>
                  </a:cubicBezTo>
                  <a:cubicBezTo>
                    <a:pt x="42" y="52"/>
                    <a:pt x="52" y="42"/>
                    <a:pt x="64" y="42"/>
                  </a:cubicBezTo>
                  <a:cubicBezTo>
                    <a:pt x="77" y="42"/>
                    <a:pt x="87" y="52"/>
                    <a:pt x="87" y="65"/>
                  </a:cubicBezTo>
                  <a:cubicBezTo>
                    <a:pt x="87" y="77"/>
                    <a:pt x="77" y="87"/>
                    <a:pt x="64"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a:lstStyle>
            <a:p>
              <a:pPr marL="0" marR="0" lvl="0" indent="0" algn="l" defTabSz="932411" rtl="0" eaLnBrk="1" fontAlgn="auto" latinLnBrk="0" hangingPunct="1">
                <a:lnSpc>
                  <a:spcPct val="100000"/>
                </a:lnSpc>
                <a:spcBef>
                  <a:spcPts val="0"/>
                </a:spcBef>
                <a:spcAft>
                  <a:spcPts val="0"/>
                </a:spcAft>
                <a:buClrTx/>
                <a:buSzTx/>
                <a:buFontTx/>
                <a:buNone/>
                <a:tabLst/>
                <a:defRPr/>
              </a:pPr>
              <a:endParaRPr kumimoji="0" lang="en-US" sz="1938" b="0" i="0" u="none" strike="noStrike" kern="1200" cap="none" spc="0" normalizeH="0" baseline="0" noProof="0">
                <a:ln>
                  <a:noFill/>
                </a:ln>
                <a:solidFill>
                  <a:srgbClr val="595959"/>
                </a:solidFill>
                <a:effectLst/>
                <a:uLnTx/>
                <a:uFillTx/>
                <a:latin typeface="Segoe UI"/>
                <a:ea typeface="+mn-ea"/>
                <a:cs typeface="+mn-cs"/>
              </a:endParaRPr>
            </a:p>
          </p:txBody>
        </p:sp>
        <p:sp>
          <p:nvSpPr>
            <p:cNvPr id="100" name="Freeform 99"/>
            <p:cNvSpPr>
              <a:spLocks/>
            </p:cNvSpPr>
            <p:nvPr/>
          </p:nvSpPr>
          <p:spPr bwMode="auto">
            <a:xfrm>
              <a:off x="4287838" y="3171826"/>
              <a:ext cx="206375" cy="31750"/>
            </a:xfrm>
            <a:custGeom>
              <a:avLst/>
              <a:gdLst>
                <a:gd name="T0" fmla="*/ 58 w 65"/>
                <a:gd name="T1" fmla="*/ 0 h 10"/>
                <a:gd name="T2" fmla="*/ 3 w 65"/>
                <a:gd name="T3" fmla="*/ 0 h 10"/>
                <a:gd name="T4" fmla="*/ 0 w 65"/>
                <a:gd name="T5" fmla="*/ 2 h 10"/>
                <a:gd name="T6" fmla="*/ 0 w 65"/>
                <a:gd name="T7" fmla="*/ 8 h 10"/>
                <a:gd name="T8" fmla="*/ 3 w 65"/>
                <a:gd name="T9" fmla="*/ 10 h 10"/>
                <a:gd name="T10" fmla="*/ 65 w 65"/>
                <a:gd name="T11" fmla="*/ 10 h 10"/>
                <a:gd name="T12" fmla="*/ 58 w 6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5" h="10">
                  <a:moveTo>
                    <a:pt x="58" y="0"/>
                  </a:moveTo>
                  <a:cubicBezTo>
                    <a:pt x="3" y="0"/>
                    <a:pt x="3" y="0"/>
                    <a:pt x="3" y="0"/>
                  </a:cubicBezTo>
                  <a:cubicBezTo>
                    <a:pt x="1" y="0"/>
                    <a:pt x="0" y="1"/>
                    <a:pt x="0" y="2"/>
                  </a:cubicBezTo>
                  <a:cubicBezTo>
                    <a:pt x="0" y="8"/>
                    <a:pt x="0" y="8"/>
                    <a:pt x="0" y="8"/>
                  </a:cubicBezTo>
                  <a:cubicBezTo>
                    <a:pt x="0" y="9"/>
                    <a:pt x="1" y="10"/>
                    <a:pt x="3" y="10"/>
                  </a:cubicBezTo>
                  <a:cubicBezTo>
                    <a:pt x="65" y="10"/>
                    <a:pt x="65" y="10"/>
                    <a:pt x="65" y="10"/>
                  </a:cubicBezTo>
                  <a:lnTo>
                    <a:pt x="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a:lstStyle>
            <a:p>
              <a:pPr marL="0" marR="0" lvl="0" indent="0" algn="l" defTabSz="932411" rtl="0" eaLnBrk="1" fontAlgn="auto" latinLnBrk="0" hangingPunct="1">
                <a:lnSpc>
                  <a:spcPct val="100000"/>
                </a:lnSpc>
                <a:spcBef>
                  <a:spcPts val="0"/>
                </a:spcBef>
                <a:spcAft>
                  <a:spcPts val="0"/>
                </a:spcAft>
                <a:buClrTx/>
                <a:buSzTx/>
                <a:buFontTx/>
                <a:buNone/>
                <a:tabLst/>
                <a:defRPr/>
              </a:pPr>
              <a:endParaRPr kumimoji="0" lang="en-US" sz="1938" b="0" i="0" u="none" strike="noStrike" kern="1200" cap="none" spc="0" normalizeH="0" baseline="0" noProof="0">
                <a:ln>
                  <a:noFill/>
                </a:ln>
                <a:solidFill>
                  <a:srgbClr val="595959"/>
                </a:solidFill>
                <a:effectLst/>
                <a:uLnTx/>
                <a:uFillTx/>
                <a:latin typeface="Segoe UI"/>
                <a:ea typeface="+mn-ea"/>
                <a:cs typeface="+mn-cs"/>
              </a:endParaRPr>
            </a:p>
          </p:txBody>
        </p:sp>
      </p:grpSp>
      <p:grpSp>
        <p:nvGrpSpPr>
          <p:cNvPr id="5" name="Group 4"/>
          <p:cNvGrpSpPr/>
          <p:nvPr/>
        </p:nvGrpSpPr>
        <p:grpSpPr>
          <a:xfrm>
            <a:off x="5891688" y="4301978"/>
            <a:ext cx="1916997" cy="1916998"/>
            <a:chOff x="9736852" y="4218009"/>
            <a:chExt cx="1879579" cy="1879580"/>
          </a:xfrm>
        </p:grpSpPr>
        <p:sp>
          <p:nvSpPr>
            <p:cNvPr id="67" name="Rectangle 66"/>
            <p:cNvSpPr/>
            <p:nvPr/>
          </p:nvSpPr>
          <p:spPr bwMode="auto">
            <a:xfrm>
              <a:off x="9736852" y="4218009"/>
              <a:ext cx="1879579" cy="1879580"/>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l" defTabSz="932290" rtl="0" eaLnBrk="1" fontAlgn="base" latinLnBrk="0" hangingPunct="1">
                <a:lnSpc>
                  <a:spcPct val="100000"/>
                </a:lnSpc>
                <a:spcBef>
                  <a:spcPct val="0"/>
                </a:spcBef>
                <a:spcAft>
                  <a:spcPct val="0"/>
                </a:spcAft>
                <a:buClrTx/>
                <a:buSzTx/>
                <a:buFontTx/>
                <a:buNone/>
                <a:tabLst/>
                <a:defRPr/>
              </a:pPr>
              <a:r>
                <a:rPr kumimoji="0" lang="en-US" sz="1428" b="0" i="0" u="none" strike="noStrike" kern="0" cap="none" spc="-51"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Pushing dormant data to Azure</a:t>
              </a:r>
            </a:p>
          </p:txBody>
        </p:sp>
        <p:sp>
          <p:nvSpPr>
            <p:cNvPr id="101" name="Freeform 91"/>
            <p:cNvSpPr>
              <a:spLocks/>
            </p:cNvSpPr>
            <p:nvPr/>
          </p:nvSpPr>
          <p:spPr bwMode="auto">
            <a:xfrm>
              <a:off x="10293056" y="4674545"/>
              <a:ext cx="767171" cy="418078"/>
            </a:xfrm>
            <a:custGeom>
              <a:avLst/>
              <a:gdLst>
                <a:gd name="T0" fmla="*/ 120 w 152"/>
                <a:gd name="T1" fmla="*/ 19 h 82"/>
                <a:gd name="T2" fmla="*/ 152 w 152"/>
                <a:gd name="T3" fmla="*/ 51 h 82"/>
                <a:gd name="T4" fmla="*/ 120 w 152"/>
                <a:gd name="T5" fmla="*/ 82 h 82"/>
                <a:gd name="T6" fmla="*/ 88 w 152"/>
                <a:gd name="T7" fmla="*/ 82 h 82"/>
                <a:gd name="T8" fmla="*/ 88 w 152"/>
                <a:gd name="T9" fmla="*/ 58 h 82"/>
                <a:gd name="T10" fmla="*/ 104 w 152"/>
                <a:gd name="T11" fmla="*/ 58 h 82"/>
                <a:gd name="T12" fmla="*/ 80 w 152"/>
                <a:gd name="T13" fmla="*/ 34 h 82"/>
                <a:gd name="T14" fmla="*/ 56 w 152"/>
                <a:gd name="T15" fmla="*/ 58 h 82"/>
                <a:gd name="T16" fmla="*/ 72 w 152"/>
                <a:gd name="T17" fmla="*/ 58 h 82"/>
                <a:gd name="T18" fmla="*/ 72 w 152"/>
                <a:gd name="T19" fmla="*/ 82 h 82"/>
                <a:gd name="T20" fmla="*/ 16 w 152"/>
                <a:gd name="T21" fmla="*/ 82 h 82"/>
                <a:gd name="T22" fmla="*/ 0 w 152"/>
                <a:gd name="T23" fmla="*/ 66 h 82"/>
                <a:gd name="T24" fmla="*/ 13 w 152"/>
                <a:gd name="T25" fmla="*/ 51 h 82"/>
                <a:gd name="T26" fmla="*/ 13 w 152"/>
                <a:gd name="T27" fmla="*/ 47 h 82"/>
                <a:gd name="T28" fmla="*/ 34 w 152"/>
                <a:gd name="T29" fmla="*/ 25 h 82"/>
                <a:gd name="T30" fmla="*/ 70 w 152"/>
                <a:gd name="T31" fmla="*/ 0 h 82"/>
                <a:gd name="T32" fmla="*/ 105 w 152"/>
                <a:gd name="T33" fmla="*/ 23 h 82"/>
                <a:gd name="T34" fmla="*/ 120 w 152"/>
                <a:gd name="T35" fmla="*/ 1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82">
                  <a:moveTo>
                    <a:pt x="120" y="19"/>
                  </a:moveTo>
                  <a:cubicBezTo>
                    <a:pt x="138" y="19"/>
                    <a:pt x="152" y="33"/>
                    <a:pt x="152" y="51"/>
                  </a:cubicBezTo>
                  <a:cubicBezTo>
                    <a:pt x="152" y="68"/>
                    <a:pt x="138" y="82"/>
                    <a:pt x="120" y="82"/>
                  </a:cubicBezTo>
                  <a:cubicBezTo>
                    <a:pt x="88" y="82"/>
                    <a:pt x="88" y="82"/>
                    <a:pt x="88" y="82"/>
                  </a:cubicBezTo>
                  <a:cubicBezTo>
                    <a:pt x="88" y="58"/>
                    <a:pt x="88" y="58"/>
                    <a:pt x="88" y="58"/>
                  </a:cubicBezTo>
                  <a:cubicBezTo>
                    <a:pt x="104" y="58"/>
                    <a:pt x="104" y="58"/>
                    <a:pt x="104" y="58"/>
                  </a:cubicBezTo>
                  <a:cubicBezTo>
                    <a:pt x="80" y="34"/>
                    <a:pt x="80" y="34"/>
                    <a:pt x="80" y="34"/>
                  </a:cubicBezTo>
                  <a:cubicBezTo>
                    <a:pt x="56" y="58"/>
                    <a:pt x="56" y="58"/>
                    <a:pt x="56" y="58"/>
                  </a:cubicBezTo>
                  <a:cubicBezTo>
                    <a:pt x="72" y="58"/>
                    <a:pt x="72" y="58"/>
                    <a:pt x="72" y="58"/>
                  </a:cubicBezTo>
                  <a:cubicBezTo>
                    <a:pt x="72" y="82"/>
                    <a:pt x="72" y="82"/>
                    <a:pt x="72" y="82"/>
                  </a:cubicBezTo>
                  <a:cubicBezTo>
                    <a:pt x="16" y="82"/>
                    <a:pt x="16" y="82"/>
                    <a:pt x="16" y="82"/>
                  </a:cubicBezTo>
                  <a:cubicBezTo>
                    <a:pt x="7" y="82"/>
                    <a:pt x="0" y="75"/>
                    <a:pt x="0" y="66"/>
                  </a:cubicBezTo>
                  <a:cubicBezTo>
                    <a:pt x="0" y="59"/>
                    <a:pt x="6" y="52"/>
                    <a:pt x="13" y="51"/>
                  </a:cubicBezTo>
                  <a:cubicBezTo>
                    <a:pt x="13" y="47"/>
                    <a:pt x="13" y="47"/>
                    <a:pt x="13" y="47"/>
                  </a:cubicBezTo>
                  <a:cubicBezTo>
                    <a:pt x="13" y="36"/>
                    <a:pt x="22" y="26"/>
                    <a:pt x="34" y="25"/>
                  </a:cubicBezTo>
                  <a:cubicBezTo>
                    <a:pt x="39" y="11"/>
                    <a:pt x="53" y="0"/>
                    <a:pt x="70" y="0"/>
                  </a:cubicBezTo>
                  <a:cubicBezTo>
                    <a:pt x="85" y="0"/>
                    <a:pt x="99" y="10"/>
                    <a:pt x="105" y="23"/>
                  </a:cubicBezTo>
                  <a:cubicBezTo>
                    <a:pt x="109" y="21"/>
                    <a:pt x="115" y="19"/>
                    <a:pt x="120" y="19"/>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spTree>
    <p:extLst>
      <p:ext uri="{BB962C8B-B14F-4D97-AF65-F5344CB8AC3E}">
        <p14:creationId xmlns:p14="http://schemas.microsoft.com/office/powerpoint/2010/main" val="3348001813"/>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466" y="391693"/>
            <a:ext cx="12896017" cy="633954"/>
          </a:xfrm>
        </p:spPr>
        <p:txBody>
          <a:bodyPr/>
          <a:lstStyle/>
          <a:p>
            <a:r>
              <a:rPr lang="en-US" sz="4488" dirty="0"/>
              <a:t>Federal PII, PHI, Security Breaches</a:t>
            </a:r>
          </a:p>
        </p:txBody>
      </p:sp>
      <p:grpSp>
        <p:nvGrpSpPr>
          <p:cNvPr id="59" name="Group 58"/>
          <p:cNvGrpSpPr/>
          <p:nvPr/>
        </p:nvGrpSpPr>
        <p:grpSpPr>
          <a:xfrm>
            <a:off x="8561704" y="2517820"/>
            <a:ext cx="830656" cy="825659"/>
            <a:chOff x="557213" y="4564063"/>
            <a:chExt cx="1530351" cy="1535112"/>
          </a:xfrm>
          <a:solidFill>
            <a:schemeClr val="bg1"/>
          </a:solidFill>
        </p:grpSpPr>
        <p:sp>
          <p:nvSpPr>
            <p:cNvPr id="60" name="Oval 67"/>
            <p:cNvSpPr>
              <a:spLocks noChangeArrowheads="1"/>
            </p:cNvSpPr>
            <p:nvPr/>
          </p:nvSpPr>
          <p:spPr bwMode="auto">
            <a:xfrm>
              <a:off x="874713" y="4826000"/>
              <a:ext cx="573088" cy="2682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1" name="Freeform 68"/>
            <p:cNvSpPr>
              <a:spLocks/>
            </p:cNvSpPr>
            <p:nvPr/>
          </p:nvSpPr>
          <p:spPr bwMode="auto">
            <a:xfrm>
              <a:off x="874713" y="4995863"/>
              <a:ext cx="573088" cy="236537"/>
            </a:xfrm>
            <a:custGeom>
              <a:avLst/>
              <a:gdLst>
                <a:gd name="T0" fmla="*/ 351 w 703"/>
                <a:gd name="T1" fmla="*/ 165 h 290"/>
                <a:gd name="T2" fmla="*/ 0 w 703"/>
                <a:gd name="T3" fmla="*/ 0 h 290"/>
                <a:gd name="T4" fmla="*/ 0 w 703"/>
                <a:gd name="T5" fmla="*/ 126 h 290"/>
                <a:gd name="T6" fmla="*/ 351 w 703"/>
                <a:gd name="T7" fmla="*/ 290 h 290"/>
                <a:gd name="T8" fmla="*/ 703 w 703"/>
                <a:gd name="T9" fmla="*/ 126 h 290"/>
                <a:gd name="T10" fmla="*/ 703 w 703"/>
                <a:gd name="T11" fmla="*/ 0 h 290"/>
                <a:gd name="T12" fmla="*/ 351 w 703"/>
                <a:gd name="T13" fmla="*/ 165 h 290"/>
              </a:gdLst>
              <a:ahLst/>
              <a:cxnLst>
                <a:cxn ang="0">
                  <a:pos x="T0" y="T1"/>
                </a:cxn>
                <a:cxn ang="0">
                  <a:pos x="T2" y="T3"/>
                </a:cxn>
                <a:cxn ang="0">
                  <a:pos x="T4" y="T5"/>
                </a:cxn>
                <a:cxn ang="0">
                  <a:pos x="T6" y="T7"/>
                </a:cxn>
                <a:cxn ang="0">
                  <a:pos x="T8" y="T9"/>
                </a:cxn>
                <a:cxn ang="0">
                  <a:pos x="T10" y="T11"/>
                </a:cxn>
                <a:cxn ang="0">
                  <a:pos x="T12" y="T13"/>
                </a:cxn>
              </a:cxnLst>
              <a:rect l="0" t="0" r="r" b="b"/>
              <a:pathLst>
                <a:path w="703" h="290">
                  <a:moveTo>
                    <a:pt x="351" y="165"/>
                  </a:moveTo>
                  <a:cubicBezTo>
                    <a:pt x="157" y="165"/>
                    <a:pt x="0" y="91"/>
                    <a:pt x="0" y="0"/>
                  </a:cubicBezTo>
                  <a:cubicBezTo>
                    <a:pt x="0" y="38"/>
                    <a:pt x="0" y="63"/>
                    <a:pt x="0" y="126"/>
                  </a:cubicBezTo>
                  <a:cubicBezTo>
                    <a:pt x="0" y="217"/>
                    <a:pt x="157" y="290"/>
                    <a:pt x="351" y="290"/>
                  </a:cubicBezTo>
                  <a:cubicBezTo>
                    <a:pt x="545" y="290"/>
                    <a:pt x="703" y="217"/>
                    <a:pt x="703" y="126"/>
                  </a:cubicBezTo>
                  <a:cubicBezTo>
                    <a:pt x="703" y="92"/>
                    <a:pt x="703" y="58"/>
                    <a:pt x="703" y="0"/>
                  </a:cubicBezTo>
                  <a:cubicBezTo>
                    <a:pt x="703" y="91"/>
                    <a:pt x="545" y="165"/>
                    <a:pt x="351" y="1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2" name="Freeform 69"/>
            <p:cNvSpPr>
              <a:spLocks/>
            </p:cNvSpPr>
            <p:nvPr/>
          </p:nvSpPr>
          <p:spPr bwMode="auto">
            <a:xfrm>
              <a:off x="874713" y="5135563"/>
              <a:ext cx="573088" cy="236537"/>
            </a:xfrm>
            <a:custGeom>
              <a:avLst/>
              <a:gdLst>
                <a:gd name="T0" fmla="*/ 351 w 703"/>
                <a:gd name="T1" fmla="*/ 164 h 290"/>
                <a:gd name="T2" fmla="*/ 150 w 703"/>
                <a:gd name="T3" fmla="*/ 135 h 290"/>
                <a:gd name="T4" fmla="*/ 0 w 703"/>
                <a:gd name="T5" fmla="*/ 0 h 290"/>
                <a:gd name="T6" fmla="*/ 0 w 703"/>
                <a:gd name="T7" fmla="*/ 126 h 290"/>
                <a:gd name="T8" fmla="*/ 351 w 703"/>
                <a:gd name="T9" fmla="*/ 290 h 290"/>
                <a:gd name="T10" fmla="*/ 703 w 703"/>
                <a:gd name="T11" fmla="*/ 126 h 290"/>
                <a:gd name="T12" fmla="*/ 703 w 703"/>
                <a:gd name="T13" fmla="*/ 0 h 290"/>
                <a:gd name="T14" fmla="*/ 351 w 703"/>
                <a:gd name="T15" fmla="*/ 164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3" h="290">
                  <a:moveTo>
                    <a:pt x="351" y="164"/>
                  </a:moveTo>
                  <a:cubicBezTo>
                    <a:pt x="276" y="164"/>
                    <a:pt x="207" y="154"/>
                    <a:pt x="150" y="135"/>
                  </a:cubicBezTo>
                  <a:cubicBezTo>
                    <a:pt x="59" y="105"/>
                    <a:pt x="0" y="56"/>
                    <a:pt x="0" y="0"/>
                  </a:cubicBezTo>
                  <a:cubicBezTo>
                    <a:pt x="0" y="38"/>
                    <a:pt x="0" y="63"/>
                    <a:pt x="0" y="126"/>
                  </a:cubicBezTo>
                  <a:cubicBezTo>
                    <a:pt x="0" y="217"/>
                    <a:pt x="157" y="290"/>
                    <a:pt x="351" y="290"/>
                  </a:cubicBezTo>
                  <a:cubicBezTo>
                    <a:pt x="545" y="290"/>
                    <a:pt x="703" y="217"/>
                    <a:pt x="703" y="126"/>
                  </a:cubicBezTo>
                  <a:cubicBezTo>
                    <a:pt x="703" y="92"/>
                    <a:pt x="703" y="58"/>
                    <a:pt x="703" y="0"/>
                  </a:cubicBezTo>
                  <a:cubicBezTo>
                    <a:pt x="703" y="91"/>
                    <a:pt x="545" y="164"/>
                    <a:pt x="351"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3" name="Freeform 70"/>
            <p:cNvSpPr>
              <a:spLocks/>
            </p:cNvSpPr>
            <p:nvPr/>
          </p:nvSpPr>
          <p:spPr bwMode="auto">
            <a:xfrm>
              <a:off x="874713" y="5275263"/>
              <a:ext cx="573088" cy="234950"/>
            </a:xfrm>
            <a:custGeom>
              <a:avLst/>
              <a:gdLst>
                <a:gd name="T0" fmla="*/ 351 w 703"/>
                <a:gd name="T1" fmla="*/ 164 h 290"/>
                <a:gd name="T2" fmla="*/ 0 w 703"/>
                <a:gd name="T3" fmla="*/ 0 h 290"/>
                <a:gd name="T4" fmla="*/ 0 w 703"/>
                <a:gd name="T5" fmla="*/ 126 h 290"/>
                <a:gd name="T6" fmla="*/ 351 w 703"/>
                <a:gd name="T7" fmla="*/ 290 h 290"/>
                <a:gd name="T8" fmla="*/ 703 w 703"/>
                <a:gd name="T9" fmla="*/ 126 h 290"/>
                <a:gd name="T10" fmla="*/ 703 w 703"/>
                <a:gd name="T11" fmla="*/ 0 h 290"/>
                <a:gd name="T12" fmla="*/ 351 w 703"/>
                <a:gd name="T13" fmla="*/ 164 h 290"/>
              </a:gdLst>
              <a:ahLst/>
              <a:cxnLst>
                <a:cxn ang="0">
                  <a:pos x="T0" y="T1"/>
                </a:cxn>
                <a:cxn ang="0">
                  <a:pos x="T2" y="T3"/>
                </a:cxn>
                <a:cxn ang="0">
                  <a:pos x="T4" y="T5"/>
                </a:cxn>
                <a:cxn ang="0">
                  <a:pos x="T6" y="T7"/>
                </a:cxn>
                <a:cxn ang="0">
                  <a:pos x="T8" y="T9"/>
                </a:cxn>
                <a:cxn ang="0">
                  <a:pos x="T10" y="T11"/>
                </a:cxn>
                <a:cxn ang="0">
                  <a:pos x="T12" y="T13"/>
                </a:cxn>
              </a:cxnLst>
              <a:rect l="0" t="0" r="r" b="b"/>
              <a:pathLst>
                <a:path w="703" h="290">
                  <a:moveTo>
                    <a:pt x="351" y="164"/>
                  </a:moveTo>
                  <a:cubicBezTo>
                    <a:pt x="157" y="164"/>
                    <a:pt x="0" y="91"/>
                    <a:pt x="0" y="0"/>
                  </a:cubicBezTo>
                  <a:cubicBezTo>
                    <a:pt x="0" y="38"/>
                    <a:pt x="0" y="63"/>
                    <a:pt x="0" y="126"/>
                  </a:cubicBezTo>
                  <a:cubicBezTo>
                    <a:pt x="0" y="216"/>
                    <a:pt x="157" y="290"/>
                    <a:pt x="351" y="290"/>
                  </a:cubicBezTo>
                  <a:cubicBezTo>
                    <a:pt x="545" y="290"/>
                    <a:pt x="703" y="216"/>
                    <a:pt x="703" y="126"/>
                  </a:cubicBezTo>
                  <a:cubicBezTo>
                    <a:pt x="703" y="92"/>
                    <a:pt x="703" y="57"/>
                    <a:pt x="703" y="0"/>
                  </a:cubicBezTo>
                  <a:cubicBezTo>
                    <a:pt x="703" y="91"/>
                    <a:pt x="545" y="164"/>
                    <a:pt x="351"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4" name="Freeform 71"/>
            <p:cNvSpPr>
              <a:spLocks noEditPoints="1"/>
            </p:cNvSpPr>
            <p:nvPr/>
          </p:nvSpPr>
          <p:spPr bwMode="auto">
            <a:xfrm>
              <a:off x="557213" y="4564063"/>
              <a:ext cx="1209675" cy="1208087"/>
            </a:xfrm>
            <a:custGeom>
              <a:avLst/>
              <a:gdLst>
                <a:gd name="T0" fmla="*/ 742 w 1484"/>
                <a:gd name="T1" fmla="*/ 0 h 1484"/>
                <a:gd name="T2" fmla="*/ 0 w 1484"/>
                <a:gd name="T3" fmla="*/ 742 h 1484"/>
                <a:gd name="T4" fmla="*/ 742 w 1484"/>
                <a:gd name="T5" fmla="*/ 1484 h 1484"/>
                <a:gd name="T6" fmla="*/ 1484 w 1484"/>
                <a:gd name="T7" fmla="*/ 742 h 1484"/>
                <a:gd name="T8" fmla="*/ 742 w 1484"/>
                <a:gd name="T9" fmla="*/ 0 h 1484"/>
                <a:gd name="T10" fmla="*/ 742 w 1484"/>
                <a:gd name="T11" fmla="*/ 1367 h 1484"/>
                <a:gd name="T12" fmla="*/ 118 w 1484"/>
                <a:gd name="T13" fmla="*/ 742 h 1484"/>
                <a:gd name="T14" fmla="*/ 742 w 1484"/>
                <a:gd name="T15" fmla="*/ 118 h 1484"/>
                <a:gd name="T16" fmla="*/ 1366 w 1484"/>
                <a:gd name="T17" fmla="*/ 742 h 1484"/>
                <a:gd name="T18" fmla="*/ 742 w 1484"/>
                <a:gd name="T19" fmla="*/ 1367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84" h="1484">
                  <a:moveTo>
                    <a:pt x="742" y="0"/>
                  </a:moveTo>
                  <a:cubicBezTo>
                    <a:pt x="332" y="0"/>
                    <a:pt x="0" y="333"/>
                    <a:pt x="0" y="742"/>
                  </a:cubicBezTo>
                  <a:cubicBezTo>
                    <a:pt x="0" y="1152"/>
                    <a:pt x="332" y="1484"/>
                    <a:pt x="742" y="1484"/>
                  </a:cubicBezTo>
                  <a:cubicBezTo>
                    <a:pt x="1152" y="1484"/>
                    <a:pt x="1484" y="1152"/>
                    <a:pt x="1484" y="742"/>
                  </a:cubicBezTo>
                  <a:cubicBezTo>
                    <a:pt x="1484" y="333"/>
                    <a:pt x="1152" y="0"/>
                    <a:pt x="742" y="0"/>
                  </a:cubicBezTo>
                  <a:close/>
                  <a:moveTo>
                    <a:pt x="742" y="1367"/>
                  </a:moveTo>
                  <a:cubicBezTo>
                    <a:pt x="397" y="1367"/>
                    <a:pt x="118" y="1087"/>
                    <a:pt x="118" y="742"/>
                  </a:cubicBezTo>
                  <a:cubicBezTo>
                    <a:pt x="118" y="398"/>
                    <a:pt x="397" y="118"/>
                    <a:pt x="742" y="118"/>
                  </a:cubicBezTo>
                  <a:cubicBezTo>
                    <a:pt x="1087" y="118"/>
                    <a:pt x="1366" y="398"/>
                    <a:pt x="1366" y="742"/>
                  </a:cubicBezTo>
                  <a:cubicBezTo>
                    <a:pt x="1366" y="1087"/>
                    <a:pt x="1087" y="1367"/>
                    <a:pt x="742" y="13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5" name="Freeform 72"/>
            <p:cNvSpPr>
              <a:spLocks/>
            </p:cNvSpPr>
            <p:nvPr/>
          </p:nvSpPr>
          <p:spPr bwMode="auto">
            <a:xfrm>
              <a:off x="1557338" y="5567363"/>
              <a:ext cx="125413" cy="122237"/>
            </a:xfrm>
            <a:custGeom>
              <a:avLst/>
              <a:gdLst>
                <a:gd name="T0" fmla="*/ 59 w 154"/>
                <a:gd name="T1" fmla="*/ 138 h 150"/>
                <a:gd name="T2" fmla="*/ 13 w 154"/>
                <a:gd name="T3" fmla="*/ 135 h 150"/>
                <a:gd name="T4" fmla="*/ 13 w 154"/>
                <a:gd name="T5" fmla="*/ 135 h 150"/>
                <a:gd name="T6" fmla="*/ 13 w 154"/>
                <a:gd name="T7" fmla="*/ 89 h 150"/>
                <a:gd name="T8" fmla="*/ 95 w 154"/>
                <a:gd name="T9" fmla="*/ 12 h 150"/>
                <a:gd name="T10" fmla="*/ 141 w 154"/>
                <a:gd name="T11" fmla="*/ 15 h 150"/>
                <a:gd name="T12" fmla="*/ 141 w 154"/>
                <a:gd name="T13" fmla="*/ 15 h 150"/>
                <a:gd name="T14" fmla="*/ 142 w 154"/>
                <a:gd name="T15" fmla="*/ 61 h 150"/>
                <a:gd name="T16" fmla="*/ 59 w 154"/>
                <a:gd name="T17"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150">
                  <a:moveTo>
                    <a:pt x="59" y="138"/>
                  </a:moveTo>
                  <a:cubicBezTo>
                    <a:pt x="46" y="150"/>
                    <a:pt x="26" y="149"/>
                    <a:pt x="13" y="135"/>
                  </a:cubicBezTo>
                  <a:cubicBezTo>
                    <a:pt x="13" y="135"/>
                    <a:pt x="13" y="135"/>
                    <a:pt x="13" y="135"/>
                  </a:cubicBezTo>
                  <a:cubicBezTo>
                    <a:pt x="0" y="122"/>
                    <a:pt x="0" y="101"/>
                    <a:pt x="13" y="89"/>
                  </a:cubicBezTo>
                  <a:cubicBezTo>
                    <a:pt x="95" y="12"/>
                    <a:pt x="95" y="12"/>
                    <a:pt x="95" y="12"/>
                  </a:cubicBezTo>
                  <a:cubicBezTo>
                    <a:pt x="108" y="0"/>
                    <a:pt x="129" y="1"/>
                    <a:pt x="141" y="15"/>
                  </a:cubicBezTo>
                  <a:cubicBezTo>
                    <a:pt x="141" y="15"/>
                    <a:pt x="141" y="15"/>
                    <a:pt x="141" y="15"/>
                  </a:cubicBezTo>
                  <a:cubicBezTo>
                    <a:pt x="154" y="28"/>
                    <a:pt x="154" y="49"/>
                    <a:pt x="142" y="61"/>
                  </a:cubicBezTo>
                  <a:lnTo>
                    <a:pt x="59"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6" name="Freeform 73"/>
            <p:cNvSpPr>
              <a:spLocks/>
            </p:cNvSpPr>
            <p:nvPr/>
          </p:nvSpPr>
          <p:spPr bwMode="auto">
            <a:xfrm>
              <a:off x="1625601" y="5635625"/>
              <a:ext cx="461963" cy="463550"/>
            </a:xfrm>
            <a:custGeom>
              <a:avLst/>
              <a:gdLst>
                <a:gd name="T0" fmla="*/ 522 w 566"/>
                <a:gd name="T1" fmla="*/ 366 h 569"/>
                <a:gd name="T2" fmla="*/ 522 w 566"/>
                <a:gd name="T3" fmla="*/ 525 h 569"/>
                <a:gd name="T4" fmla="*/ 522 w 566"/>
                <a:gd name="T5" fmla="*/ 525 h 569"/>
                <a:gd name="T6" fmla="*/ 363 w 566"/>
                <a:gd name="T7" fmla="*/ 525 h 569"/>
                <a:gd name="T8" fmla="*/ 44 w 566"/>
                <a:gd name="T9" fmla="*/ 202 h 569"/>
                <a:gd name="T10" fmla="*/ 44 w 566"/>
                <a:gd name="T11" fmla="*/ 43 h 569"/>
                <a:gd name="T12" fmla="*/ 44 w 566"/>
                <a:gd name="T13" fmla="*/ 43 h 569"/>
                <a:gd name="T14" fmla="*/ 203 w 566"/>
                <a:gd name="T15" fmla="*/ 44 h 569"/>
                <a:gd name="T16" fmla="*/ 522 w 566"/>
                <a:gd name="T17" fmla="*/ 366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569">
                  <a:moveTo>
                    <a:pt x="522" y="366"/>
                  </a:moveTo>
                  <a:cubicBezTo>
                    <a:pt x="566" y="410"/>
                    <a:pt x="566" y="482"/>
                    <a:pt x="522" y="525"/>
                  </a:cubicBezTo>
                  <a:cubicBezTo>
                    <a:pt x="522" y="525"/>
                    <a:pt x="522" y="525"/>
                    <a:pt x="522" y="525"/>
                  </a:cubicBezTo>
                  <a:cubicBezTo>
                    <a:pt x="478" y="569"/>
                    <a:pt x="406" y="569"/>
                    <a:pt x="363" y="525"/>
                  </a:cubicBezTo>
                  <a:cubicBezTo>
                    <a:pt x="44" y="202"/>
                    <a:pt x="44" y="202"/>
                    <a:pt x="44" y="202"/>
                  </a:cubicBezTo>
                  <a:cubicBezTo>
                    <a:pt x="0" y="158"/>
                    <a:pt x="0" y="87"/>
                    <a:pt x="44" y="43"/>
                  </a:cubicBezTo>
                  <a:cubicBezTo>
                    <a:pt x="44" y="43"/>
                    <a:pt x="44" y="43"/>
                    <a:pt x="44" y="43"/>
                  </a:cubicBezTo>
                  <a:cubicBezTo>
                    <a:pt x="88" y="0"/>
                    <a:pt x="160" y="0"/>
                    <a:pt x="203" y="44"/>
                  </a:cubicBezTo>
                  <a:lnTo>
                    <a:pt x="522" y="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8" name="Group 67"/>
          <p:cNvGrpSpPr/>
          <p:nvPr/>
        </p:nvGrpSpPr>
        <p:grpSpPr>
          <a:xfrm>
            <a:off x="6622488" y="2588308"/>
            <a:ext cx="591783" cy="483636"/>
            <a:chOff x="8528072" y="2730513"/>
            <a:chExt cx="625482" cy="511176"/>
          </a:xfrm>
          <a:solidFill>
            <a:schemeClr val="bg1"/>
          </a:solidFill>
        </p:grpSpPr>
        <p:sp>
          <p:nvSpPr>
            <p:cNvPr id="69" name="Freeform 286"/>
            <p:cNvSpPr>
              <a:spLocks/>
            </p:cNvSpPr>
            <p:nvPr/>
          </p:nvSpPr>
          <p:spPr bwMode="auto">
            <a:xfrm>
              <a:off x="8528077" y="2873387"/>
              <a:ext cx="625477" cy="368302"/>
            </a:xfrm>
            <a:custGeom>
              <a:avLst/>
              <a:gdLst>
                <a:gd name="T0" fmla="*/ 394 w 394"/>
                <a:gd name="T1" fmla="*/ 198 h 232"/>
                <a:gd name="T2" fmla="*/ 394 w 394"/>
                <a:gd name="T3" fmla="*/ 198 h 232"/>
                <a:gd name="T4" fmla="*/ 394 w 394"/>
                <a:gd name="T5" fmla="*/ 206 h 232"/>
                <a:gd name="T6" fmla="*/ 392 w 394"/>
                <a:gd name="T7" fmla="*/ 212 h 232"/>
                <a:gd name="T8" fmla="*/ 388 w 394"/>
                <a:gd name="T9" fmla="*/ 218 h 232"/>
                <a:gd name="T10" fmla="*/ 384 w 394"/>
                <a:gd name="T11" fmla="*/ 222 h 232"/>
                <a:gd name="T12" fmla="*/ 378 w 394"/>
                <a:gd name="T13" fmla="*/ 226 h 232"/>
                <a:gd name="T14" fmla="*/ 372 w 394"/>
                <a:gd name="T15" fmla="*/ 228 h 232"/>
                <a:gd name="T16" fmla="*/ 366 w 394"/>
                <a:gd name="T17" fmla="*/ 230 h 232"/>
                <a:gd name="T18" fmla="*/ 358 w 394"/>
                <a:gd name="T19" fmla="*/ 232 h 232"/>
                <a:gd name="T20" fmla="*/ 36 w 394"/>
                <a:gd name="T21" fmla="*/ 232 h 232"/>
                <a:gd name="T22" fmla="*/ 36 w 394"/>
                <a:gd name="T23" fmla="*/ 232 h 232"/>
                <a:gd name="T24" fmla="*/ 30 w 394"/>
                <a:gd name="T25" fmla="*/ 230 h 232"/>
                <a:gd name="T26" fmla="*/ 22 w 394"/>
                <a:gd name="T27" fmla="*/ 228 h 232"/>
                <a:gd name="T28" fmla="*/ 16 w 394"/>
                <a:gd name="T29" fmla="*/ 226 h 232"/>
                <a:gd name="T30" fmla="*/ 10 w 394"/>
                <a:gd name="T31" fmla="*/ 222 h 232"/>
                <a:gd name="T32" fmla="*/ 6 w 394"/>
                <a:gd name="T33" fmla="*/ 218 h 232"/>
                <a:gd name="T34" fmla="*/ 4 w 394"/>
                <a:gd name="T35" fmla="*/ 212 h 232"/>
                <a:gd name="T36" fmla="*/ 2 w 394"/>
                <a:gd name="T37" fmla="*/ 206 h 232"/>
                <a:gd name="T38" fmla="*/ 0 w 394"/>
                <a:gd name="T39" fmla="*/ 198 h 232"/>
                <a:gd name="T40" fmla="*/ 0 w 394"/>
                <a:gd name="T41" fmla="*/ 32 h 232"/>
                <a:gd name="T42" fmla="*/ 0 w 394"/>
                <a:gd name="T43" fmla="*/ 32 h 232"/>
                <a:gd name="T44" fmla="*/ 2 w 394"/>
                <a:gd name="T45" fmla="*/ 26 h 232"/>
                <a:gd name="T46" fmla="*/ 4 w 394"/>
                <a:gd name="T47" fmla="*/ 20 h 232"/>
                <a:gd name="T48" fmla="*/ 6 w 394"/>
                <a:gd name="T49" fmla="*/ 14 h 232"/>
                <a:gd name="T50" fmla="*/ 10 w 394"/>
                <a:gd name="T51" fmla="*/ 10 h 232"/>
                <a:gd name="T52" fmla="*/ 16 w 394"/>
                <a:gd name="T53" fmla="*/ 6 h 232"/>
                <a:gd name="T54" fmla="*/ 22 w 394"/>
                <a:gd name="T55" fmla="*/ 2 h 232"/>
                <a:gd name="T56" fmla="*/ 30 w 394"/>
                <a:gd name="T57" fmla="*/ 0 h 232"/>
                <a:gd name="T58" fmla="*/ 36 w 394"/>
                <a:gd name="T59" fmla="*/ 0 h 232"/>
                <a:gd name="T60" fmla="*/ 358 w 394"/>
                <a:gd name="T61" fmla="*/ 0 h 232"/>
                <a:gd name="T62" fmla="*/ 358 w 394"/>
                <a:gd name="T63" fmla="*/ 0 h 232"/>
                <a:gd name="T64" fmla="*/ 366 w 394"/>
                <a:gd name="T65" fmla="*/ 0 h 232"/>
                <a:gd name="T66" fmla="*/ 372 w 394"/>
                <a:gd name="T67" fmla="*/ 2 h 232"/>
                <a:gd name="T68" fmla="*/ 378 w 394"/>
                <a:gd name="T69" fmla="*/ 6 h 232"/>
                <a:gd name="T70" fmla="*/ 384 w 394"/>
                <a:gd name="T71" fmla="*/ 10 h 232"/>
                <a:gd name="T72" fmla="*/ 388 w 394"/>
                <a:gd name="T73" fmla="*/ 14 h 232"/>
                <a:gd name="T74" fmla="*/ 392 w 394"/>
                <a:gd name="T75" fmla="*/ 20 h 232"/>
                <a:gd name="T76" fmla="*/ 394 w 394"/>
                <a:gd name="T77" fmla="*/ 26 h 232"/>
                <a:gd name="T78" fmla="*/ 394 w 394"/>
                <a:gd name="T79" fmla="*/ 32 h 232"/>
                <a:gd name="T80" fmla="*/ 394 w 394"/>
                <a:gd name="T81" fmla="*/ 19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4" h="232">
                  <a:moveTo>
                    <a:pt x="394" y="198"/>
                  </a:moveTo>
                  <a:lnTo>
                    <a:pt x="394" y="198"/>
                  </a:lnTo>
                  <a:lnTo>
                    <a:pt x="394" y="206"/>
                  </a:lnTo>
                  <a:lnTo>
                    <a:pt x="392" y="212"/>
                  </a:lnTo>
                  <a:lnTo>
                    <a:pt x="388" y="218"/>
                  </a:lnTo>
                  <a:lnTo>
                    <a:pt x="384" y="222"/>
                  </a:lnTo>
                  <a:lnTo>
                    <a:pt x="378" y="226"/>
                  </a:lnTo>
                  <a:lnTo>
                    <a:pt x="372" y="228"/>
                  </a:lnTo>
                  <a:lnTo>
                    <a:pt x="366" y="230"/>
                  </a:lnTo>
                  <a:lnTo>
                    <a:pt x="358" y="232"/>
                  </a:lnTo>
                  <a:lnTo>
                    <a:pt x="36" y="232"/>
                  </a:lnTo>
                  <a:lnTo>
                    <a:pt x="36" y="232"/>
                  </a:lnTo>
                  <a:lnTo>
                    <a:pt x="30" y="230"/>
                  </a:lnTo>
                  <a:lnTo>
                    <a:pt x="22" y="228"/>
                  </a:lnTo>
                  <a:lnTo>
                    <a:pt x="16" y="226"/>
                  </a:lnTo>
                  <a:lnTo>
                    <a:pt x="10" y="222"/>
                  </a:lnTo>
                  <a:lnTo>
                    <a:pt x="6" y="218"/>
                  </a:lnTo>
                  <a:lnTo>
                    <a:pt x="4" y="212"/>
                  </a:lnTo>
                  <a:lnTo>
                    <a:pt x="2" y="206"/>
                  </a:lnTo>
                  <a:lnTo>
                    <a:pt x="0" y="198"/>
                  </a:lnTo>
                  <a:lnTo>
                    <a:pt x="0" y="32"/>
                  </a:lnTo>
                  <a:lnTo>
                    <a:pt x="0" y="32"/>
                  </a:lnTo>
                  <a:lnTo>
                    <a:pt x="2" y="26"/>
                  </a:lnTo>
                  <a:lnTo>
                    <a:pt x="4" y="20"/>
                  </a:lnTo>
                  <a:lnTo>
                    <a:pt x="6" y="14"/>
                  </a:lnTo>
                  <a:lnTo>
                    <a:pt x="10" y="10"/>
                  </a:lnTo>
                  <a:lnTo>
                    <a:pt x="16" y="6"/>
                  </a:lnTo>
                  <a:lnTo>
                    <a:pt x="22" y="2"/>
                  </a:lnTo>
                  <a:lnTo>
                    <a:pt x="30" y="0"/>
                  </a:lnTo>
                  <a:lnTo>
                    <a:pt x="36" y="0"/>
                  </a:lnTo>
                  <a:lnTo>
                    <a:pt x="358" y="0"/>
                  </a:lnTo>
                  <a:lnTo>
                    <a:pt x="358" y="0"/>
                  </a:lnTo>
                  <a:lnTo>
                    <a:pt x="366" y="0"/>
                  </a:lnTo>
                  <a:lnTo>
                    <a:pt x="372" y="2"/>
                  </a:lnTo>
                  <a:lnTo>
                    <a:pt x="378" y="6"/>
                  </a:lnTo>
                  <a:lnTo>
                    <a:pt x="384" y="10"/>
                  </a:lnTo>
                  <a:lnTo>
                    <a:pt x="388" y="14"/>
                  </a:lnTo>
                  <a:lnTo>
                    <a:pt x="392" y="20"/>
                  </a:lnTo>
                  <a:lnTo>
                    <a:pt x="394" y="26"/>
                  </a:lnTo>
                  <a:lnTo>
                    <a:pt x="394" y="32"/>
                  </a:lnTo>
                  <a:lnTo>
                    <a:pt x="394"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0" name="Freeform 287"/>
            <p:cNvSpPr>
              <a:spLocks/>
            </p:cNvSpPr>
            <p:nvPr/>
          </p:nvSpPr>
          <p:spPr bwMode="auto">
            <a:xfrm>
              <a:off x="8528072" y="2730513"/>
              <a:ext cx="625477" cy="161926"/>
            </a:xfrm>
            <a:custGeom>
              <a:avLst/>
              <a:gdLst>
                <a:gd name="T0" fmla="*/ 346 w 394"/>
                <a:gd name="T1" fmla="*/ 34 h 102"/>
                <a:gd name="T2" fmla="*/ 190 w 394"/>
                <a:gd name="T3" fmla="*/ 34 h 102"/>
                <a:gd name="T4" fmla="*/ 190 w 394"/>
                <a:gd name="T5" fmla="*/ 34 h 102"/>
                <a:gd name="T6" fmla="*/ 190 w 394"/>
                <a:gd name="T7" fmla="*/ 28 h 102"/>
                <a:gd name="T8" fmla="*/ 188 w 394"/>
                <a:gd name="T9" fmla="*/ 20 h 102"/>
                <a:gd name="T10" fmla="*/ 184 w 394"/>
                <a:gd name="T11" fmla="*/ 14 h 102"/>
                <a:gd name="T12" fmla="*/ 178 w 394"/>
                <a:gd name="T13" fmla="*/ 10 h 102"/>
                <a:gd name="T14" fmla="*/ 172 w 394"/>
                <a:gd name="T15" fmla="*/ 4 h 102"/>
                <a:gd name="T16" fmla="*/ 166 w 394"/>
                <a:gd name="T17" fmla="*/ 2 h 102"/>
                <a:gd name="T18" fmla="*/ 158 w 394"/>
                <a:gd name="T19" fmla="*/ 0 h 102"/>
                <a:gd name="T20" fmla="*/ 150 w 394"/>
                <a:gd name="T21" fmla="*/ 0 h 102"/>
                <a:gd name="T22" fmla="*/ 42 w 394"/>
                <a:gd name="T23" fmla="*/ 0 h 102"/>
                <a:gd name="T24" fmla="*/ 42 w 394"/>
                <a:gd name="T25" fmla="*/ 0 h 102"/>
                <a:gd name="T26" fmla="*/ 34 w 394"/>
                <a:gd name="T27" fmla="*/ 0 h 102"/>
                <a:gd name="T28" fmla="*/ 26 w 394"/>
                <a:gd name="T29" fmla="*/ 2 h 102"/>
                <a:gd name="T30" fmla="*/ 18 w 394"/>
                <a:gd name="T31" fmla="*/ 6 h 102"/>
                <a:gd name="T32" fmla="*/ 12 w 394"/>
                <a:gd name="T33" fmla="*/ 10 h 102"/>
                <a:gd name="T34" fmla="*/ 8 w 394"/>
                <a:gd name="T35" fmla="*/ 16 h 102"/>
                <a:gd name="T36" fmla="*/ 4 w 394"/>
                <a:gd name="T37" fmla="*/ 22 h 102"/>
                <a:gd name="T38" fmla="*/ 2 w 394"/>
                <a:gd name="T39" fmla="*/ 28 h 102"/>
                <a:gd name="T40" fmla="*/ 0 w 394"/>
                <a:gd name="T41" fmla="*/ 36 h 102"/>
                <a:gd name="T42" fmla="*/ 0 w 394"/>
                <a:gd name="T43" fmla="*/ 90 h 102"/>
                <a:gd name="T44" fmla="*/ 0 w 394"/>
                <a:gd name="T45" fmla="*/ 90 h 102"/>
                <a:gd name="T46" fmla="*/ 0 w 394"/>
                <a:gd name="T47" fmla="*/ 86 h 102"/>
                <a:gd name="T48" fmla="*/ 0 w 394"/>
                <a:gd name="T49" fmla="*/ 98 h 102"/>
                <a:gd name="T50" fmla="*/ 0 w 394"/>
                <a:gd name="T51" fmla="*/ 98 h 102"/>
                <a:gd name="T52" fmla="*/ 2 w 394"/>
                <a:gd name="T53" fmla="*/ 92 h 102"/>
                <a:gd name="T54" fmla="*/ 4 w 394"/>
                <a:gd name="T55" fmla="*/ 88 h 102"/>
                <a:gd name="T56" fmla="*/ 12 w 394"/>
                <a:gd name="T57" fmla="*/ 78 h 102"/>
                <a:gd name="T58" fmla="*/ 24 w 394"/>
                <a:gd name="T59" fmla="*/ 72 h 102"/>
                <a:gd name="T60" fmla="*/ 36 w 394"/>
                <a:gd name="T61" fmla="*/ 70 h 102"/>
                <a:gd name="T62" fmla="*/ 38 w 394"/>
                <a:gd name="T63" fmla="*/ 70 h 102"/>
                <a:gd name="T64" fmla="*/ 48 w 394"/>
                <a:gd name="T65" fmla="*/ 40 h 102"/>
                <a:gd name="T66" fmla="*/ 78 w 394"/>
                <a:gd name="T67" fmla="*/ 48 h 102"/>
                <a:gd name="T68" fmla="*/ 88 w 394"/>
                <a:gd name="T69" fmla="*/ 20 h 102"/>
                <a:gd name="T70" fmla="*/ 248 w 394"/>
                <a:gd name="T71" fmla="*/ 70 h 102"/>
                <a:gd name="T72" fmla="*/ 358 w 394"/>
                <a:gd name="T73" fmla="*/ 70 h 102"/>
                <a:gd name="T74" fmla="*/ 358 w 394"/>
                <a:gd name="T75" fmla="*/ 70 h 102"/>
                <a:gd name="T76" fmla="*/ 366 w 394"/>
                <a:gd name="T77" fmla="*/ 70 h 102"/>
                <a:gd name="T78" fmla="*/ 372 w 394"/>
                <a:gd name="T79" fmla="*/ 72 h 102"/>
                <a:gd name="T80" fmla="*/ 378 w 394"/>
                <a:gd name="T81" fmla="*/ 76 h 102"/>
                <a:gd name="T82" fmla="*/ 384 w 394"/>
                <a:gd name="T83" fmla="*/ 80 h 102"/>
                <a:gd name="T84" fmla="*/ 388 w 394"/>
                <a:gd name="T85" fmla="*/ 84 h 102"/>
                <a:gd name="T86" fmla="*/ 392 w 394"/>
                <a:gd name="T87" fmla="*/ 90 h 102"/>
                <a:gd name="T88" fmla="*/ 394 w 394"/>
                <a:gd name="T89" fmla="*/ 96 h 102"/>
                <a:gd name="T90" fmla="*/ 394 w 394"/>
                <a:gd name="T91" fmla="*/ 102 h 102"/>
                <a:gd name="T92" fmla="*/ 394 w 394"/>
                <a:gd name="T93" fmla="*/ 78 h 102"/>
                <a:gd name="T94" fmla="*/ 394 w 394"/>
                <a:gd name="T95" fmla="*/ 78 h 102"/>
                <a:gd name="T96" fmla="*/ 394 w 394"/>
                <a:gd name="T97" fmla="*/ 68 h 102"/>
                <a:gd name="T98" fmla="*/ 392 w 394"/>
                <a:gd name="T99" fmla="*/ 60 h 102"/>
                <a:gd name="T100" fmla="*/ 386 w 394"/>
                <a:gd name="T101" fmla="*/ 54 h 102"/>
                <a:gd name="T102" fmla="*/ 380 w 394"/>
                <a:gd name="T103" fmla="*/ 46 h 102"/>
                <a:gd name="T104" fmla="*/ 374 w 394"/>
                <a:gd name="T105" fmla="*/ 42 h 102"/>
                <a:gd name="T106" fmla="*/ 366 w 394"/>
                <a:gd name="T107" fmla="*/ 38 h 102"/>
                <a:gd name="T108" fmla="*/ 356 w 394"/>
                <a:gd name="T109" fmla="*/ 36 h 102"/>
                <a:gd name="T110" fmla="*/ 346 w 394"/>
                <a:gd name="T111" fmla="*/ 34 h 102"/>
                <a:gd name="T112" fmla="*/ 346 w 394"/>
                <a:gd name="T113" fmla="*/ 3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4" h="102">
                  <a:moveTo>
                    <a:pt x="346" y="34"/>
                  </a:moveTo>
                  <a:lnTo>
                    <a:pt x="190" y="34"/>
                  </a:lnTo>
                  <a:lnTo>
                    <a:pt x="190" y="34"/>
                  </a:lnTo>
                  <a:lnTo>
                    <a:pt x="190" y="28"/>
                  </a:lnTo>
                  <a:lnTo>
                    <a:pt x="188" y="20"/>
                  </a:lnTo>
                  <a:lnTo>
                    <a:pt x="184" y="14"/>
                  </a:lnTo>
                  <a:lnTo>
                    <a:pt x="178" y="10"/>
                  </a:lnTo>
                  <a:lnTo>
                    <a:pt x="172" y="4"/>
                  </a:lnTo>
                  <a:lnTo>
                    <a:pt x="166" y="2"/>
                  </a:lnTo>
                  <a:lnTo>
                    <a:pt x="158" y="0"/>
                  </a:lnTo>
                  <a:lnTo>
                    <a:pt x="150" y="0"/>
                  </a:lnTo>
                  <a:lnTo>
                    <a:pt x="42" y="0"/>
                  </a:lnTo>
                  <a:lnTo>
                    <a:pt x="42" y="0"/>
                  </a:lnTo>
                  <a:lnTo>
                    <a:pt x="34" y="0"/>
                  </a:lnTo>
                  <a:lnTo>
                    <a:pt x="26" y="2"/>
                  </a:lnTo>
                  <a:lnTo>
                    <a:pt x="18" y="6"/>
                  </a:lnTo>
                  <a:lnTo>
                    <a:pt x="12" y="10"/>
                  </a:lnTo>
                  <a:lnTo>
                    <a:pt x="8" y="16"/>
                  </a:lnTo>
                  <a:lnTo>
                    <a:pt x="4" y="22"/>
                  </a:lnTo>
                  <a:lnTo>
                    <a:pt x="2" y="28"/>
                  </a:lnTo>
                  <a:lnTo>
                    <a:pt x="0" y="36"/>
                  </a:lnTo>
                  <a:lnTo>
                    <a:pt x="0" y="90"/>
                  </a:lnTo>
                  <a:lnTo>
                    <a:pt x="0" y="90"/>
                  </a:lnTo>
                  <a:lnTo>
                    <a:pt x="0" y="86"/>
                  </a:lnTo>
                  <a:lnTo>
                    <a:pt x="0" y="98"/>
                  </a:lnTo>
                  <a:lnTo>
                    <a:pt x="0" y="98"/>
                  </a:lnTo>
                  <a:lnTo>
                    <a:pt x="2" y="92"/>
                  </a:lnTo>
                  <a:lnTo>
                    <a:pt x="4" y="88"/>
                  </a:lnTo>
                  <a:lnTo>
                    <a:pt x="12" y="78"/>
                  </a:lnTo>
                  <a:lnTo>
                    <a:pt x="24" y="72"/>
                  </a:lnTo>
                  <a:lnTo>
                    <a:pt x="36" y="70"/>
                  </a:lnTo>
                  <a:lnTo>
                    <a:pt x="38" y="70"/>
                  </a:lnTo>
                  <a:lnTo>
                    <a:pt x="48" y="40"/>
                  </a:lnTo>
                  <a:lnTo>
                    <a:pt x="78" y="48"/>
                  </a:lnTo>
                  <a:lnTo>
                    <a:pt x="88" y="20"/>
                  </a:lnTo>
                  <a:lnTo>
                    <a:pt x="248" y="70"/>
                  </a:lnTo>
                  <a:lnTo>
                    <a:pt x="358" y="70"/>
                  </a:lnTo>
                  <a:lnTo>
                    <a:pt x="358" y="70"/>
                  </a:lnTo>
                  <a:lnTo>
                    <a:pt x="366" y="70"/>
                  </a:lnTo>
                  <a:lnTo>
                    <a:pt x="372" y="72"/>
                  </a:lnTo>
                  <a:lnTo>
                    <a:pt x="378" y="76"/>
                  </a:lnTo>
                  <a:lnTo>
                    <a:pt x="384" y="80"/>
                  </a:lnTo>
                  <a:lnTo>
                    <a:pt x="388" y="84"/>
                  </a:lnTo>
                  <a:lnTo>
                    <a:pt x="392" y="90"/>
                  </a:lnTo>
                  <a:lnTo>
                    <a:pt x="394" y="96"/>
                  </a:lnTo>
                  <a:lnTo>
                    <a:pt x="394" y="102"/>
                  </a:lnTo>
                  <a:lnTo>
                    <a:pt x="394" y="78"/>
                  </a:lnTo>
                  <a:lnTo>
                    <a:pt x="394" y="78"/>
                  </a:lnTo>
                  <a:lnTo>
                    <a:pt x="394" y="68"/>
                  </a:lnTo>
                  <a:lnTo>
                    <a:pt x="392" y="60"/>
                  </a:lnTo>
                  <a:lnTo>
                    <a:pt x="386" y="54"/>
                  </a:lnTo>
                  <a:lnTo>
                    <a:pt x="380" y="46"/>
                  </a:lnTo>
                  <a:lnTo>
                    <a:pt x="374" y="42"/>
                  </a:lnTo>
                  <a:lnTo>
                    <a:pt x="366" y="38"/>
                  </a:lnTo>
                  <a:lnTo>
                    <a:pt x="356" y="36"/>
                  </a:lnTo>
                  <a:lnTo>
                    <a:pt x="346" y="34"/>
                  </a:lnTo>
                  <a:lnTo>
                    <a:pt x="346"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1" name="Freeform 288"/>
            <p:cNvSpPr>
              <a:spLocks noEditPoints="1"/>
            </p:cNvSpPr>
            <p:nvPr/>
          </p:nvSpPr>
          <p:spPr bwMode="auto">
            <a:xfrm>
              <a:off x="8680470" y="2913005"/>
              <a:ext cx="313056" cy="315983"/>
            </a:xfrm>
            <a:custGeom>
              <a:avLst/>
              <a:gdLst>
                <a:gd name="T0" fmla="*/ 172 w 214"/>
                <a:gd name="T1" fmla="*/ 144 h 216"/>
                <a:gd name="T2" fmla="*/ 168 w 214"/>
                <a:gd name="T3" fmla="*/ 140 h 216"/>
                <a:gd name="T4" fmla="*/ 158 w 214"/>
                <a:gd name="T5" fmla="*/ 138 h 216"/>
                <a:gd name="T6" fmla="*/ 146 w 214"/>
                <a:gd name="T7" fmla="*/ 134 h 216"/>
                <a:gd name="T8" fmla="*/ 154 w 214"/>
                <a:gd name="T9" fmla="*/ 122 h 216"/>
                <a:gd name="T10" fmla="*/ 162 w 214"/>
                <a:gd name="T11" fmla="*/ 96 h 216"/>
                <a:gd name="T12" fmla="*/ 164 w 214"/>
                <a:gd name="T13" fmla="*/ 82 h 216"/>
                <a:gd name="T14" fmla="*/ 158 w 214"/>
                <a:gd name="T15" fmla="*/ 50 h 216"/>
                <a:gd name="T16" fmla="*/ 140 w 214"/>
                <a:gd name="T17" fmla="*/ 24 h 216"/>
                <a:gd name="T18" fmla="*/ 114 w 214"/>
                <a:gd name="T19" fmla="*/ 6 h 216"/>
                <a:gd name="T20" fmla="*/ 82 w 214"/>
                <a:gd name="T21" fmla="*/ 0 h 216"/>
                <a:gd name="T22" fmla="*/ 64 w 214"/>
                <a:gd name="T23" fmla="*/ 2 h 216"/>
                <a:gd name="T24" fmla="*/ 36 w 214"/>
                <a:gd name="T25" fmla="*/ 14 h 216"/>
                <a:gd name="T26" fmla="*/ 14 w 214"/>
                <a:gd name="T27" fmla="*/ 36 h 216"/>
                <a:gd name="T28" fmla="*/ 2 w 214"/>
                <a:gd name="T29" fmla="*/ 66 h 216"/>
                <a:gd name="T30" fmla="*/ 0 w 214"/>
                <a:gd name="T31" fmla="*/ 82 h 216"/>
                <a:gd name="T32" fmla="*/ 6 w 214"/>
                <a:gd name="T33" fmla="*/ 114 h 216"/>
                <a:gd name="T34" fmla="*/ 24 w 214"/>
                <a:gd name="T35" fmla="*/ 140 h 216"/>
                <a:gd name="T36" fmla="*/ 50 w 214"/>
                <a:gd name="T37" fmla="*/ 158 h 216"/>
                <a:gd name="T38" fmla="*/ 82 w 214"/>
                <a:gd name="T39" fmla="*/ 164 h 216"/>
                <a:gd name="T40" fmla="*/ 96 w 214"/>
                <a:gd name="T41" fmla="*/ 164 h 216"/>
                <a:gd name="T42" fmla="*/ 122 w 214"/>
                <a:gd name="T43" fmla="*/ 154 h 216"/>
                <a:gd name="T44" fmla="*/ 140 w 214"/>
                <a:gd name="T45" fmla="*/ 154 h 216"/>
                <a:gd name="T46" fmla="*/ 138 w 214"/>
                <a:gd name="T47" fmla="*/ 158 h 216"/>
                <a:gd name="T48" fmla="*/ 140 w 214"/>
                <a:gd name="T49" fmla="*/ 168 h 216"/>
                <a:gd name="T50" fmla="*/ 180 w 214"/>
                <a:gd name="T51" fmla="*/ 210 h 216"/>
                <a:gd name="T52" fmla="*/ 186 w 214"/>
                <a:gd name="T53" fmla="*/ 214 h 216"/>
                <a:gd name="T54" fmla="*/ 198 w 214"/>
                <a:gd name="T55" fmla="*/ 214 h 216"/>
                <a:gd name="T56" fmla="*/ 210 w 214"/>
                <a:gd name="T57" fmla="*/ 204 h 216"/>
                <a:gd name="T58" fmla="*/ 214 w 214"/>
                <a:gd name="T59" fmla="*/ 198 h 216"/>
                <a:gd name="T60" fmla="*/ 214 w 214"/>
                <a:gd name="T61" fmla="*/ 186 h 216"/>
                <a:gd name="T62" fmla="*/ 210 w 214"/>
                <a:gd name="T63" fmla="*/ 182 h 216"/>
                <a:gd name="T64" fmla="*/ 14 w 214"/>
                <a:gd name="T65" fmla="*/ 82 h 216"/>
                <a:gd name="T66" fmla="*/ 20 w 214"/>
                <a:gd name="T67" fmla="*/ 56 h 216"/>
                <a:gd name="T68" fmla="*/ 34 w 214"/>
                <a:gd name="T69" fmla="*/ 34 h 216"/>
                <a:gd name="T70" fmla="*/ 56 w 214"/>
                <a:gd name="T71" fmla="*/ 20 h 216"/>
                <a:gd name="T72" fmla="*/ 82 w 214"/>
                <a:gd name="T73" fmla="*/ 16 h 216"/>
                <a:gd name="T74" fmla="*/ 94 w 214"/>
                <a:gd name="T75" fmla="*/ 16 h 216"/>
                <a:gd name="T76" fmla="*/ 118 w 214"/>
                <a:gd name="T77" fmla="*/ 26 h 216"/>
                <a:gd name="T78" fmla="*/ 138 w 214"/>
                <a:gd name="T79" fmla="*/ 44 h 216"/>
                <a:gd name="T80" fmla="*/ 148 w 214"/>
                <a:gd name="T81" fmla="*/ 68 h 216"/>
                <a:gd name="T82" fmla="*/ 148 w 214"/>
                <a:gd name="T83" fmla="*/ 82 h 216"/>
                <a:gd name="T84" fmla="*/ 144 w 214"/>
                <a:gd name="T85" fmla="*/ 108 h 216"/>
                <a:gd name="T86" fmla="*/ 128 w 214"/>
                <a:gd name="T87" fmla="*/ 130 h 216"/>
                <a:gd name="T88" fmla="*/ 108 w 214"/>
                <a:gd name="T89" fmla="*/ 144 h 216"/>
                <a:gd name="T90" fmla="*/ 82 w 214"/>
                <a:gd name="T91" fmla="*/ 150 h 216"/>
                <a:gd name="T92" fmla="*/ 68 w 214"/>
                <a:gd name="T93" fmla="*/ 148 h 216"/>
                <a:gd name="T94" fmla="*/ 44 w 214"/>
                <a:gd name="T95" fmla="*/ 138 h 216"/>
                <a:gd name="T96" fmla="*/ 26 w 214"/>
                <a:gd name="T97" fmla="*/ 120 h 216"/>
                <a:gd name="T98" fmla="*/ 16 w 214"/>
                <a:gd name="T99" fmla="*/ 96 h 216"/>
                <a:gd name="T100" fmla="*/ 14 w 214"/>
                <a:gd name="T101" fmla="*/ 8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4" h="216">
                  <a:moveTo>
                    <a:pt x="210" y="182"/>
                  </a:moveTo>
                  <a:lnTo>
                    <a:pt x="172" y="144"/>
                  </a:lnTo>
                  <a:lnTo>
                    <a:pt x="172" y="144"/>
                  </a:lnTo>
                  <a:lnTo>
                    <a:pt x="168" y="140"/>
                  </a:lnTo>
                  <a:lnTo>
                    <a:pt x="162" y="138"/>
                  </a:lnTo>
                  <a:lnTo>
                    <a:pt x="158" y="138"/>
                  </a:lnTo>
                  <a:lnTo>
                    <a:pt x="154" y="140"/>
                  </a:lnTo>
                  <a:lnTo>
                    <a:pt x="146" y="134"/>
                  </a:lnTo>
                  <a:lnTo>
                    <a:pt x="146" y="134"/>
                  </a:lnTo>
                  <a:lnTo>
                    <a:pt x="154" y="122"/>
                  </a:lnTo>
                  <a:lnTo>
                    <a:pt x="158" y="110"/>
                  </a:lnTo>
                  <a:lnTo>
                    <a:pt x="162" y="96"/>
                  </a:lnTo>
                  <a:lnTo>
                    <a:pt x="164" y="82"/>
                  </a:lnTo>
                  <a:lnTo>
                    <a:pt x="164" y="82"/>
                  </a:lnTo>
                  <a:lnTo>
                    <a:pt x="162" y="66"/>
                  </a:lnTo>
                  <a:lnTo>
                    <a:pt x="158" y="50"/>
                  </a:lnTo>
                  <a:lnTo>
                    <a:pt x="150" y="36"/>
                  </a:lnTo>
                  <a:lnTo>
                    <a:pt x="140" y="24"/>
                  </a:lnTo>
                  <a:lnTo>
                    <a:pt x="128" y="14"/>
                  </a:lnTo>
                  <a:lnTo>
                    <a:pt x="114" y="6"/>
                  </a:lnTo>
                  <a:lnTo>
                    <a:pt x="98" y="2"/>
                  </a:lnTo>
                  <a:lnTo>
                    <a:pt x="82" y="0"/>
                  </a:lnTo>
                  <a:lnTo>
                    <a:pt x="82" y="0"/>
                  </a:lnTo>
                  <a:lnTo>
                    <a:pt x="64" y="2"/>
                  </a:lnTo>
                  <a:lnTo>
                    <a:pt x="50" y="6"/>
                  </a:lnTo>
                  <a:lnTo>
                    <a:pt x="36" y="14"/>
                  </a:lnTo>
                  <a:lnTo>
                    <a:pt x="24" y="24"/>
                  </a:lnTo>
                  <a:lnTo>
                    <a:pt x="14" y="36"/>
                  </a:lnTo>
                  <a:lnTo>
                    <a:pt x="6" y="50"/>
                  </a:lnTo>
                  <a:lnTo>
                    <a:pt x="2" y="66"/>
                  </a:lnTo>
                  <a:lnTo>
                    <a:pt x="0" y="82"/>
                  </a:lnTo>
                  <a:lnTo>
                    <a:pt x="0" y="82"/>
                  </a:lnTo>
                  <a:lnTo>
                    <a:pt x="2" y="98"/>
                  </a:lnTo>
                  <a:lnTo>
                    <a:pt x="6" y="114"/>
                  </a:lnTo>
                  <a:lnTo>
                    <a:pt x="14" y="128"/>
                  </a:lnTo>
                  <a:lnTo>
                    <a:pt x="24" y="140"/>
                  </a:lnTo>
                  <a:lnTo>
                    <a:pt x="36" y="150"/>
                  </a:lnTo>
                  <a:lnTo>
                    <a:pt x="50" y="158"/>
                  </a:lnTo>
                  <a:lnTo>
                    <a:pt x="64" y="162"/>
                  </a:lnTo>
                  <a:lnTo>
                    <a:pt x="82" y="164"/>
                  </a:lnTo>
                  <a:lnTo>
                    <a:pt x="82" y="164"/>
                  </a:lnTo>
                  <a:lnTo>
                    <a:pt x="96" y="164"/>
                  </a:lnTo>
                  <a:lnTo>
                    <a:pt x="108" y="160"/>
                  </a:lnTo>
                  <a:lnTo>
                    <a:pt x="122" y="154"/>
                  </a:lnTo>
                  <a:lnTo>
                    <a:pt x="132" y="146"/>
                  </a:lnTo>
                  <a:lnTo>
                    <a:pt x="140" y="154"/>
                  </a:lnTo>
                  <a:lnTo>
                    <a:pt x="140" y="154"/>
                  </a:lnTo>
                  <a:lnTo>
                    <a:pt x="138" y="158"/>
                  </a:lnTo>
                  <a:lnTo>
                    <a:pt x="138" y="164"/>
                  </a:lnTo>
                  <a:lnTo>
                    <a:pt x="140" y="168"/>
                  </a:lnTo>
                  <a:lnTo>
                    <a:pt x="142" y="172"/>
                  </a:lnTo>
                  <a:lnTo>
                    <a:pt x="180" y="210"/>
                  </a:lnTo>
                  <a:lnTo>
                    <a:pt x="180" y="210"/>
                  </a:lnTo>
                  <a:lnTo>
                    <a:pt x="186" y="214"/>
                  </a:lnTo>
                  <a:lnTo>
                    <a:pt x="192" y="216"/>
                  </a:lnTo>
                  <a:lnTo>
                    <a:pt x="198" y="214"/>
                  </a:lnTo>
                  <a:lnTo>
                    <a:pt x="202" y="210"/>
                  </a:lnTo>
                  <a:lnTo>
                    <a:pt x="210" y="204"/>
                  </a:lnTo>
                  <a:lnTo>
                    <a:pt x="210" y="204"/>
                  </a:lnTo>
                  <a:lnTo>
                    <a:pt x="214" y="198"/>
                  </a:lnTo>
                  <a:lnTo>
                    <a:pt x="214" y="192"/>
                  </a:lnTo>
                  <a:lnTo>
                    <a:pt x="214" y="186"/>
                  </a:lnTo>
                  <a:lnTo>
                    <a:pt x="210" y="182"/>
                  </a:lnTo>
                  <a:lnTo>
                    <a:pt x="210" y="182"/>
                  </a:lnTo>
                  <a:close/>
                  <a:moveTo>
                    <a:pt x="14" y="82"/>
                  </a:moveTo>
                  <a:lnTo>
                    <a:pt x="14" y="82"/>
                  </a:lnTo>
                  <a:lnTo>
                    <a:pt x="16" y="68"/>
                  </a:lnTo>
                  <a:lnTo>
                    <a:pt x="20" y="56"/>
                  </a:lnTo>
                  <a:lnTo>
                    <a:pt x="26" y="44"/>
                  </a:lnTo>
                  <a:lnTo>
                    <a:pt x="34" y="34"/>
                  </a:lnTo>
                  <a:lnTo>
                    <a:pt x="44" y="26"/>
                  </a:lnTo>
                  <a:lnTo>
                    <a:pt x="56" y="20"/>
                  </a:lnTo>
                  <a:lnTo>
                    <a:pt x="68" y="16"/>
                  </a:lnTo>
                  <a:lnTo>
                    <a:pt x="82" y="16"/>
                  </a:lnTo>
                  <a:lnTo>
                    <a:pt x="82" y="16"/>
                  </a:lnTo>
                  <a:lnTo>
                    <a:pt x="94" y="16"/>
                  </a:lnTo>
                  <a:lnTo>
                    <a:pt x="108" y="20"/>
                  </a:lnTo>
                  <a:lnTo>
                    <a:pt x="118" y="26"/>
                  </a:lnTo>
                  <a:lnTo>
                    <a:pt x="128" y="34"/>
                  </a:lnTo>
                  <a:lnTo>
                    <a:pt x="138" y="44"/>
                  </a:lnTo>
                  <a:lnTo>
                    <a:pt x="144" y="56"/>
                  </a:lnTo>
                  <a:lnTo>
                    <a:pt x="148" y="68"/>
                  </a:lnTo>
                  <a:lnTo>
                    <a:pt x="148" y="82"/>
                  </a:lnTo>
                  <a:lnTo>
                    <a:pt x="148" y="82"/>
                  </a:lnTo>
                  <a:lnTo>
                    <a:pt x="148" y="96"/>
                  </a:lnTo>
                  <a:lnTo>
                    <a:pt x="144" y="108"/>
                  </a:lnTo>
                  <a:lnTo>
                    <a:pt x="138" y="120"/>
                  </a:lnTo>
                  <a:lnTo>
                    <a:pt x="128" y="130"/>
                  </a:lnTo>
                  <a:lnTo>
                    <a:pt x="118" y="138"/>
                  </a:lnTo>
                  <a:lnTo>
                    <a:pt x="108" y="144"/>
                  </a:lnTo>
                  <a:lnTo>
                    <a:pt x="94" y="148"/>
                  </a:lnTo>
                  <a:lnTo>
                    <a:pt x="82" y="150"/>
                  </a:lnTo>
                  <a:lnTo>
                    <a:pt x="82" y="150"/>
                  </a:lnTo>
                  <a:lnTo>
                    <a:pt x="68" y="148"/>
                  </a:lnTo>
                  <a:lnTo>
                    <a:pt x="56" y="144"/>
                  </a:lnTo>
                  <a:lnTo>
                    <a:pt x="44" y="138"/>
                  </a:lnTo>
                  <a:lnTo>
                    <a:pt x="34" y="130"/>
                  </a:lnTo>
                  <a:lnTo>
                    <a:pt x="26" y="120"/>
                  </a:lnTo>
                  <a:lnTo>
                    <a:pt x="20" y="108"/>
                  </a:lnTo>
                  <a:lnTo>
                    <a:pt x="16" y="96"/>
                  </a:lnTo>
                  <a:lnTo>
                    <a:pt x="14" y="82"/>
                  </a:lnTo>
                  <a:lnTo>
                    <a:pt x="14"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2" name="Freeform 289"/>
            <p:cNvSpPr>
              <a:spLocks/>
            </p:cNvSpPr>
            <p:nvPr/>
          </p:nvSpPr>
          <p:spPr bwMode="auto">
            <a:xfrm>
              <a:off x="8731250" y="2984501"/>
              <a:ext cx="114300" cy="107950"/>
            </a:xfrm>
            <a:custGeom>
              <a:avLst/>
              <a:gdLst>
                <a:gd name="T0" fmla="*/ 8 w 72"/>
                <a:gd name="T1" fmla="*/ 2 h 68"/>
                <a:gd name="T2" fmla="*/ 8 w 72"/>
                <a:gd name="T3" fmla="*/ 2 h 68"/>
                <a:gd name="T4" fmla="*/ 8 w 72"/>
                <a:gd name="T5" fmla="*/ 0 h 68"/>
                <a:gd name="T6" fmla="*/ 8 w 72"/>
                <a:gd name="T7" fmla="*/ 0 h 68"/>
                <a:gd name="T8" fmla="*/ 2 w 72"/>
                <a:gd name="T9" fmla="*/ 10 h 68"/>
                <a:gd name="T10" fmla="*/ 0 w 72"/>
                <a:gd name="T11" fmla="*/ 24 h 68"/>
                <a:gd name="T12" fmla="*/ 0 w 72"/>
                <a:gd name="T13" fmla="*/ 24 h 68"/>
                <a:gd name="T14" fmla="*/ 2 w 72"/>
                <a:gd name="T15" fmla="*/ 32 h 68"/>
                <a:gd name="T16" fmla="*/ 4 w 72"/>
                <a:gd name="T17" fmla="*/ 40 h 68"/>
                <a:gd name="T18" fmla="*/ 8 w 72"/>
                <a:gd name="T19" fmla="*/ 48 h 68"/>
                <a:gd name="T20" fmla="*/ 14 w 72"/>
                <a:gd name="T21" fmla="*/ 56 h 68"/>
                <a:gd name="T22" fmla="*/ 20 w 72"/>
                <a:gd name="T23" fmla="*/ 62 h 68"/>
                <a:gd name="T24" fmla="*/ 28 w 72"/>
                <a:gd name="T25" fmla="*/ 66 h 68"/>
                <a:gd name="T26" fmla="*/ 36 w 72"/>
                <a:gd name="T27" fmla="*/ 68 h 68"/>
                <a:gd name="T28" fmla="*/ 46 w 72"/>
                <a:gd name="T29" fmla="*/ 68 h 68"/>
                <a:gd name="T30" fmla="*/ 46 w 72"/>
                <a:gd name="T31" fmla="*/ 68 h 68"/>
                <a:gd name="T32" fmla="*/ 60 w 72"/>
                <a:gd name="T33" fmla="*/ 66 h 68"/>
                <a:gd name="T34" fmla="*/ 72 w 72"/>
                <a:gd name="T35" fmla="*/ 60 h 68"/>
                <a:gd name="T36" fmla="*/ 72 w 72"/>
                <a:gd name="T37" fmla="*/ 60 h 68"/>
                <a:gd name="T38" fmla="*/ 66 w 72"/>
                <a:gd name="T39" fmla="*/ 60 h 68"/>
                <a:gd name="T40" fmla="*/ 66 w 72"/>
                <a:gd name="T41" fmla="*/ 60 h 68"/>
                <a:gd name="T42" fmla="*/ 54 w 72"/>
                <a:gd name="T43" fmla="*/ 60 h 68"/>
                <a:gd name="T44" fmla="*/ 44 w 72"/>
                <a:gd name="T45" fmla="*/ 56 h 68"/>
                <a:gd name="T46" fmla="*/ 34 w 72"/>
                <a:gd name="T47" fmla="*/ 50 h 68"/>
                <a:gd name="T48" fmla="*/ 24 w 72"/>
                <a:gd name="T49" fmla="*/ 44 h 68"/>
                <a:gd name="T50" fmla="*/ 18 w 72"/>
                <a:gd name="T51" fmla="*/ 34 h 68"/>
                <a:gd name="T52" fmla="*/ 12 w 72"/>
                <a:gd name="T53" fmla="*/ 24 h 68"/>
                <a:gd name="T54" fmla="*/ 8 w 72"/>
                <a:gd name="T55" fmla="*/ 14 h 68"/>
                <a:gd name="T56" fmla="*/ 8 w 72"/>
                <a:gd name="T57" fmla="*/ 2 h 68"/>
                <a:gd name="T58" fmla="*/ 8 w 72"/>
                <a:gd name="T59" fmla="*/ 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68">
                  <a:moveTo>
                    <a:pt x="8" y="2"/>
                  </a:moveTo>
                  <a:lnTo>
                    <a:pt x="8" y="2"/>
                  </a:lnTo>
                  <a:lnTo>
                    <a:pt x="8" y="0"/>
                  </a:lnTo>
                  <a:lnTo>
                    <a:pt x="8" y="0"/>
                  </a:lnTo>
                  <a:lnTo>
                    <a:pt x="2" y="10"/>
                  </a:lnTo>
                  <a:lnTo>
                    <a:pt x="0" y="24"/>
                  </a:lnTo>
                  <a:lnTo>
                    <a:pt x="0" y="24"/>
                  </a:lnTo>
                  <a:lnTo>
                    <a:pt x="2" y="32"/>
                  </a:lnTo>
                  <a:lnTo>
                    <a:pt x="4" y="40"/>
                  </a:lnTo>
                  <a:lnTo>
                    <a:pt x="8" y="48"/>
                  </a:lnTo>
                  <a:lnTo>
                    <a:pt x="14" y="56"/>
                  </a:lnTo>
                  <a:lnTo>
                    <a:pt x="20" y="62"/>
                  </a:lnTo>
                  <a:lnTo>
                    <a:pt x="28" y="66"/>
                  </a:lnTo>
                  <a:lnTo>
                    <a:pt x="36" y="68"/>
                  </a:lnTo>
                  <a:lnTo>
                    <a:pt x="46" y="68"/>
                  </a:lnTo>
                  <a:lnTo>
                    <a:pt x="46" y="68"/>
                  </a:lnTo>
                  <a:lnTo>
                    <a:pt x="60" y="66"/>
                  </a:lnTo>
                  <a:lnTo>
                    <a:pt x="72" y="60"/>
                  </a:lnTo>
                  <a:lnTo>
                    <a:pt x="72" y="60"/>
                  </a:lnTo>
                  <a:lnTo>
                    <a:pt x="66" y="60"/>
                  </a:lnTo>
                  <a:lnTo>
                    <a:pt x="66" y="60"/>
                  </a:lnTo>
                  <a:lnTo>
                    <a:pt x="54" y="60"/>
                  </a:lnTo>
                  <a:lnTo>
                    <a:pt x="44" y="56"/>
                  </a:lnTo>
                  <a:lnTo>
                    <a:pt x="34" y="50"/>
                  </a:lnTo>
                  <a:lnTo>
                    <a:pt x="24" y="44"/>
                  </a:lnTo>
                  <a:lnTo>
                    <a:pt x="18" y="34"/>
                  </a:lnTo>
                  <a:lnTo>
                    <a:pt x="12" y="24"/>
                  </a:lnTo>
                  <a:lnTo>
                    <a:pt x="8" y="14"/>
                  </a:lnTo>
                  <a:lnTo>
                    <a:pt x="8" y="2"/>
                  </a:lnTo>
                  <a:lnTo>
                    <a:pt x="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73" name="Group 72"/>
          <p:cNvGrpSpPr/>
          <p:nvPr/>
        </p:nvGrpSpPr>
        <p:grpSpPr>
          <a:xfrm flipH="1">
            <a:off x="10490388" y="4643200"/>
            <a:ext cx="865348" cy="566065"/>
            <a:chOff x="6887925" y="2343796"/>
            <a:chExt cx="2668587" cy="1766887"/>
          </a:xfrm>
          <a:solidFill>
            <a:schemeClr val="bg1"/>
          </a:solidFill>
        </p:grpSpPr>
        <p:sp>
          <p:nvSpPr>
            <p:cNvPr id="74" name="Freeform 36"/>
            <p:cNvSpPr>
              <a:spLocks noEditPoints="1"/>
            </p:cNvSpPr>
            <p:nvPr/>
          </p:nvSpPr>
          <p:spPr bwMode="auto">
            <a:xfrm>
              <a:off x="7494350" y="2343796"/>
              <a:ext cx="728662" cy="1447800"/>
            </a:xfrm>
            <a:custGeom>
              <a:avLst/>
              <a:gdLst>
                <a:gd name="T0" fmla="*/ 293 w 459"/>
                <a:gd name="T1" fmla="*/ 0 h 912"/>
                <a:gd name="T2" fmla="*/ 0 w 459"/>
                <a:gd name="T3" fmla="*/ 47 h 912"/>
                <a:gd name="T4" fmla="*/ 0 w 459"/>
                <a:gd name="T5" fmla="*/ 862 h 912"/>
                <a:gd name="T6" fmla="*/ 286 w 459"/>
                <a:gd name="T7" fmla="*/ 912 h 912"/>
                <a:gd name="T8" fmla="*/ 459 w 459"/>
                <a:gd name="T9" fmla="*/ 836 h 912"/>
                <a:gd name="T10" fmla="*/ 459 w 459"/>
                <a:gd name="T11" fmla="*/ 61 h 912"/>
                <a:gd name="T12" fmla="*/ 293 w 459"/>
                <a:gd name="T13" fmla="*/ 0 h 912"/>
                <a:gd name="T14" fmla="*/ 17 w 459"/>
                <a:gd name="T15" fmla="*/ 378 h 912"/>
                <a:gd name="T16" fmla="*/ 258 w 459"/>
                <a:gd name="T17" fmla="*/ 378 h 912"/>
                <a:gd name="T18" fmla="*/ 258 w 459"/>
                <a:gd name="T19" fmla="*/ 451 h 912"/>
                <a:gd name="T20" fmla="*/ 17 w 459"/>
                <a:gd name="T21" fmla="*/ 444 h 912"/>
                <a:gd name="T22" fmla="*/ 17 w 459"/>
                <a:gd name="T23" fmla="*/ 378 h 912"/>
                <a:gd name="T24" fmla="*/ 258 w 459"/>
                <a:gd name="T25" fmla="*/ 361 h 912"/>
                <a:gd name="T26" fmla="*/ 17 w 459"/>
                <a:gd name="T27" fmla="*/ 361 h 912"/>
                <a:gd name="T28" fmla="*/ 17 w 459"/>
                <a:gd name="T29" fmla="*/ 297 h 912"/>
                <a:gd name="T30" fmla="*/ 258 w 459"/>
                <a:gd name="T31" fmla="*/ 288 h 912"/>
                <a:gd name="T32" fmla="*/ 258 w 459"/>
                <a:gd name="T33" fmla="*/ 361 h 912"/>
                <a:gd name="T34" fmla="*/ 17 w 459"/>
                <a:gd name="T35" fmla="*/ 463 h 912"/>
                <a:gd name="T36" fmla="*/ 258 w 459"/>
                <a:gd name="T37" fmla="*/ 468 h 912"/>
                <a:gd name="T38" fmla="*/ 258 w 459"/>
                <a:gd name="T39" fmla="*/ 536 h 912"/>
                <a:gd name="T40" fmla="*/ 17 w 459"/>
                <a:gd name="T41" fmla="*/ 527 h 912"/>
                <a:gd name="T42" fmla="*/ 17 w 459"/>
                <a:gd name="T43" fmla="*/ 463 h 912"/>
                <a:gd name="T44" fmla="*/ 258 w 459"/>
                <a:gd name="T45" fmla="*/ 269 h 912"/>
                <a:gd name="T46" fmla="*/ 17 w 459"/>
                <a:gd name="T47" fmla="*/ 278 h 912"/>
                <a:gd name="T48" fmla="*/ 17 w 459"/>
                <a:gd name="T49" fmla="*/ 217 h 912"/>
                <a:gd name="T50" fmla="*/ 258 w 459"/>
                <a:gd name="T51" fmla="*/ 198 h 912"/>
                <a:gd name="T52" fmla="*/ 258 w 459"/>
                <a:gd name="T53" fmla="*/ 269 h 912"/>
                <a:gd name="T54" fmla="*/ 258 w 459"/>
                <a:gd name="T55" fmla="*/ 179 h 912"/>
                <a:gd name="T56" fmla="*/ 17 w 459"/>
                <a:gd name="T57" fmla="*/ 198 h 912"/>
                <a:gd name="T58" fmla="*/ 17 w 459"/>
                <a:gd name="T59" fmla="*/ 139 h 912"/>
                <a:gd name="T60" fmla="*/ 258 w 459"/>
                <a:gd name="T61" fmla="*/ 113 h 912"/>
                <a:gd name="T62" fmla="*/ 258 w 459"/>
                <a:gd name="T63" fmla="*/ 179 h 912"/>
                <a:gd name="T64" fmla="*/ 258 w 459"/>
                <a:gd name="T65" fmla="*/ 30 h 912"/>
                <a:gd name="T66" fmla="*/ 258 w 459"/>
                <a:gd name="T67" fmla="*/ 94 h 912"/>
                <a:gd name="T68" fmla="*/ 17 w 459"/>
                <a:gd name="T69" fmla="*/ 120 h 912"/>
                <a:gd name="T70" fmla="*/ 17 w 459"/>
                <a:gd name="T71" fmla="*/ 71 h 912"/>
                <a:gd name="T72" fmla="*/ 258 w 459"/>
                <a:gd name="T73" fmla="*/ 30 h 912"/>
                <a:gd name="T74" fmla="*/ 17 w 459"/>
                <a:gd name="T75" fmla="*/ 836 h 912"/>
                <a:gd name="T76" fmla="*/ 17 w 459"/>
                <a:gd name="T77" fmla="*/ 543 h 912"/>
                <a:gd name="T78" fmla="*/ 258 w 459"/>
                <a:gd name="T79" fmla="*/ 555 h 912"/>
                <a:gd name="T80" fmla="*/ 258 w 459"/>
                <a:gd name="T81" fmla="*/ 872 h 912"/>
                <a:gd name="T82" fmla="*/ 17 w 459"/>
                <a:gd name="T83" fmla="*/ 836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9" h="912">
                  <a:moveTo>
                    <a:pt x="293" y="0"/>
                  </a:moveTo>
                  <a:lnTo>
                    <a:pt x="0" y="47"/>
                  </a:lnTo>
                  <a:lnTo>
                    <a:pt x="0" y="862"/>
                  </a:lnTo>
                  <a:lnTo>
                    <a:pt x="286" y="912"/>
                  </a:lnTo>
                  <a:lnTo>
                    <a:pt x="459" y="836"/>
                  </a:lnTo>
                  <a:lnTo>
                    <a:pt x="459" y="61"/>
                  </a:lnTo>
                  <a:lnTo>
                    <a:pt x="293" y="0"/>
                  </a:lnTo>
                  <a:close/>
                  <a:moveTo>
                    <a:pt x="17" y="378"/>
                  </a:moveTo>
                  <a:lnTo>
                    <a:pt x="258" y="378"/>
                  </a:lnTo>
                  <a:lnTo>
                    <a:pt x="258" y="451"/>
                  </a:lnTo>
                  <a:lnTo>
                    <a:pt x="17" y="444"/>
                  </a:lnTo>
                  <a:lnTo>
                    <a:pt x="17" y="378"/>
                  </a:lnTo>
                  <a:close/>
                  <a:moveTo>
                    <a:pt x="258" y="361"/>
                  </a:moveTo>
                  <a:lnTo>
                    <a:pt x="17" y="361"/>
                  </a:lnTo>
                  <a:lnTo>
                    <a:pt x="17" y="297"/>
                  </a:lnTo>
                  <a:lnTo>
                    <a:pt x="258" y="288"/>
                  </a:lnTo>
                  <a:lnTo>
                    <a:pt x="258" y="361"/>
                  </a:lnTo>
                  <a:close/>
                  <a:moveTo>
                    <a:pt x="17" y="463"/>
                  </a:moveTo>
                  <a:lnTo>
                    <a:pt x="258" y="468"/>
                  </a:lnTo>
                  <a:lnTo>
                    <a:pt x="258" y="536"/>
                  </a:lnTo>
                  <a:lnTo>
                    <a:pt x="17" y="527"/>
                  </a:lnTo>
                  <a:lnTo>
                    <a:pt x="17" y="463"/>
                  </a:lnTo>
                  <a:close/>
                  <a:moveTo>
                    <a:pt x="258" y="269"/>
                  </a:moveTo>
                  <a:lnTo>
                    <a:pt x="17" y="278"/>
                  </a:lnTo>
                  <a:lnTo>
                    <a:pt x="17" y="217"/>
                  </a:lnTo>
                  <a:lnTo>
                    <a:pt x="258" y="198"/>
                  </a:lnTo>
                  <a:lnTo>
                    <a:pt x="258" y="269"/>
                  </a:lnTo>
                  <a:close/>
                  <a:moveTo>
                    <a:pt x="258" y="179"/>
                  </a:moveTo>
                  <a:lnTo>
                    <a:pt x="17" y="198"/>
                  </a:lnTo>
                  <a:lnTo>
                    <a:pt x="17" y="139"/>
                  </a:lnTo>
                  <a:lnTo>
                    <a:pt x="258" y="113"/>
                  </a:lnTo>
                  <a:lnTo>
                    <a:pt x="258" y="179"/>
                  </a:lnTo>
                  <a:close/>
                  <a:moveTo>
                    <a:pt x="258" y="30"/>
                  </a:moveTo>
                  <a:lnTo>
                    <a:pt x="258" y="94"/>
                  </a:lnTo>
                  <a:lnTo>
                    <a:pt x="17" y="120"/>
                  </a:lnTo>
                  <a:lnTo>
                    <a:pt x="17" y="71"/>
                  </a:lnTo>
                  <a:lnTo>
                    <a:pt x="258" y="30"/>
                  </a:lnTo>
                  <a:close/>
                  <a:moveTo>
                    <a:pt x="17" y="836"/>
                  </a:moveTo>
                  <a:lnTo>
                    <a:pt x="17" y="543"/>
                  </a:lnTo>
                  <a:lnTo>
                    <a:pt x="258" y="555"/>
                  </a:lnTo>
                  <a:lnTo>
                    <a:pt x="258" y="872"/>
                  </a:lnTo>
                  <a:lnTo>
                    <a:pt x="17" y="836"/>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5" name="Freeform 37"/>
            <p:cNvSpPr>
              <a:spLocks noEditPoints="1"/>
            </p:cNvSpPr>
            <p:nvPr/>
          </p:nvSpPr>
          <p:spPr bwMode="auto">
            <a:xfrm>
              <a:off x="8022987" y="2512072"/>
              <a:ext cx="533401" cy="1065213"/>
            </a:xfrm>
            <a:custGeom>
              <a:avLst/>
              <a:gdLst>
                <a:gd name="T0" fmla="*/ 215 w 336"/>
                <a:gd name="T1" fmla="*/ 0 h 671"/>
                <a:gd name="T2" fmla="*/ 0 w 336"/>
                <a:gd name="T3" fmla="*/ 33 h 671"/>
                <a:gd name="T4" fmla="*/ 0 w 336"/>
                <a:gd name="T5" fmla="*/ 633 h 671"/>
                <a:gd name="T6" fmla="*/ 211 w 336"/>
                <a:gd name="T7" fmla="*/ 671 h 671"/>
                <a:gd name="T8" fmla="*/ 336 w 336"/>
                <a:gd name="T9" fmla="*/ 612 h 671"/>
                <a:gd name="T10" fmla="*/ 336 w 336"/>
                <a:gd name="T11" fmla="*/ 45 h 671"/>
                <a:gd name="T12" fmla="*/ 215 w 336"/>
                <a:gd name="T13" fmla="*/ 0 h 671"/>
                <a:gd name="T14" fmla="*/ 12 w 336"/>
                <a:gd name="T15" fmla="*/ 279 h 671"/>
                <a:gd name="T16" fmla="*/ 189 w 336"/>
                <a:gd name="T17" fmla="*/ 279 h 671"/>
                <a:gd name="T18" fmla="*/ 189 w 336"/>
                <a:gd name="T19" fmla="*/ 331 h 671"/>
                <a:gd name="T20" fmla="*/ 12 w 336"/>
                <a:gd name="T21" fmla="*/ 326 h 671"/>
                <a:gd name="T22" fmla="*/ 12 w 336"/>
                <a:gd name="T23" fmla="*/ 279 h 671"/>
                <a:gd name="T24" fmla="*/ 189 w 336"/>
                <a:gd name="T25" fmla="*/ 265 h 671"/>
                <a:gd name="T26" fmla="*/ 12 w 336"/>
                <a:gd name="T27" fmla="*/ 265 h 671"/>
                <a:gd name="T28" fmla="*/ 12 w 336"/>
                <a:gd name="T29" fmla="*/ 217 h 671"/>
                <a:gd name="T30" fmla="*/ 189 w 336"/>
                <a:gd name="T31" fmla="*/ 210 h 671"/>
                <a:gd name="T32" fmla="*/ 189 w 336"/>
                <a:gd name="T33" fmla="*/ 265 h 671"/>
                <a:gd name="T34" fmla="*/ 12 w 336"/>
                <a:gd name="T35" fmla="*/ 340 h 671"/>
                <a:gd name="T36" fmla="*/ 189 w 336"/>
                <a:gd name="T37" fmla="*/ 343 h 671"/>
                <a:gd name="T38" fmla="*/ 189 w 336"/>
                <a:gd name="T39" fmla="*/ 392 h 671"/>
                <a:gd name="T40" fmla="*/ 12 w 336"/>
                <a:gd name="T41" fmla="*/ 385 h 671"/>
                <a:gd name="T42" fmla="*/ 12 w 336"/>
                <a:gd name="T43" fmla="*/ 340 h 671"/>
                <a:gd name="T44" fmla="*/ 189 w 336"/>
                <a:gd name="T45" fmla="*/ 198 h 671"/>
                <a:gd name="T46" fmla="*/ 12 w 336"/>
                <a:gd name="T47" fmla="*/ 206 h 671"/>
                <a:gd name="T48" fmla="*/ 12 w 336"/>
                <a:gd name="T49" fmla="*/ 158 h 671"/>
                <a:gd name="T50" fmla="*/ 189 w 336"/>
                <a:gd name="T51" fmla="*/ 144 h 671"/>
                <a:gd name="T52" fmla="*/ 189 w 336"/>
                <a:gd name="T53" fmla="*/ 198 h 671"/>
                <a:gd name="T54" fmla="*/ 189 w 336"/>
                <a:gd name="T55" fmla="*/ 132 h 671"/>
                <a:gd name="T56" fmla="*/ 12 w 336"/>
                <a:gd name="T57" fmla="*/ 144 h 671"/>
                <a:gd name="T58" fmla="*/ 12 w 336"/>
                <a:gd name="T59" fmla="*/ 102 h 671"/>
                <a:gd name="T60" fmla="*/ 189 w 336"/>
                <a:gd name="T61" fmla="*/ 83 h 671"/>
                <a:gd name="T62" fmla="*/ 189 w 336"/>
                <a:gd name="T63" fmla="*/ 132 h 671"/>
                <a:gd name="T64" fmla="*/ 189 w 336"/>
                <a:gd name="T65" fmla="*/ 21 h 671"/>
                <a:gd name="T66" fmla="*/ 189 w 336"/>
                <a:gd name="T67" fmla="*/ 68 h 671"/>
                <a:gd name="T68" fmla="*/ 12 w 336"/>
                <a:gd name="T69" fmla="*/ 87 h 671"/>
                <a:gd name="T70" fmla="*/ 12 w 336"/>
                <a:gd name="T71" fmla="*/ 52 h 671"/>
                <a:gd name="T72" fmla="*/ 189 w 336"/>
                <a:gd name="T73" fmla="*/ 21 h 671"/>
                <a:gd name="T74" fmla="*/ 12 w 336"/>
                <a:gd name="T75" fmla="*/ 612 h 671"/>
                <a:gd name="T76" fmla="*/ 12 w 336"/>
                <a:gd name="T77" fmla="*/ 399 h 671"/>
                <a:gd name="T78" fmla="*/ 189 w 336"/>
                <a:gd name="T79" fmla="*/ 406 h 671"/>
                <a:gd name="T80" fmla="*/ 189 w 336"/>
                <a:gd name="T81" fmla="*/ 640 h 671"/>
                <a:gd name="T82" fmla="*/ 12 w 336"/>
                <a:gd name="T83" fmla="*/ 612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6" h="671">
                  <a:moveTo>
                    <a:pt x="215" y="0"/>
                  </a:moveTo>
                  <a:lnTo>
                    <a:pt x="0" y="33"/>
                  </a:lnTo>
                  <a:lnTo>
                    <a:pt x="0" y="633"/>
                  </a:lnTo>
                  <a:lnTo>
                    <a:pt x="211" y="671"/>
                  </a:lnTo>
                  <a:lnTo>
                    <a:pt x="336" y="612"/>
                  </a:lnTo>
                  <a:lnTo>
                    <a:pt x="336" y="45"/>
                  </a:lnTo>
                  <a:lnTo>
                    <a:pt x="215" y="0"/>
                  </a:lnTo>
                  <a:close/>
                  <a:moveTo>
                    <a:pt x="12" y="279"/>
                  </a:moveTo>
                  <a:lnTo>
                    <a:pt x="189" y="279"/>
                  </a:lnTo>
                  <a:lnTo>
                    <a:pt x="189" y="331"/>
                  </a:lnTo>
                  <a:lnTo>
                    <a:pt x="12" y="326"/>
                  </a:lnTo>
                  <a:lnTo>
                    <a:pt x="12" y="279"/>
                  </a:lnTo>
                  <a:close/>
                  <a:moveTo>
                    <a:pt x="189" y="265"/>
                  </a:moveTo>
                  <a:lnTo>
                    <a:pt x="12" y="265"/>
                  </a:lnTo>
                  <a:lnTo>
                    <a:pt x="12" y="217"/>
                  </a:lnTo>
                  <a:lnTo>
                    <a:pt x="189" y="210"/>
                  </a:lnTo>
                  <a:lnTo>
                    <a:pt x="189" y="265"/>
                  </a:lnTo>
                  <a:close/>
                  <a:moveTo>
                    <a:pt x="12" y="340"/>
                  </a:moveTo>
                  <a:lnTo>
                    <a:pt x="189" y="343"/>
                  </a:lnTo>
                  <a:lnTo>
                    <a:pt x="189" y="392"/>
                  </a:lnTo>
                  <a:lnTo>
                    <a:pt x="12" y="385"/>
                  </a:lnTo>
                  <a:lnTo>
                    <a:pt x="12" y="340"/>
                  </a:lnTo>
                  <a:close/>
                  <a:moveTo>
                    <a:pt x="189" y="198"/>
                  </a:moveTo>
                  <a:lnTo>
                    <a:pt x="12" y="206"/>
                  </a:lnTo>
                  <a:lnTo>
                    <a:pt x="12" y="158"/>
                  </a:lnTo>
                  <a:lnTo>
                    <a:pt x="189" y="144"/>
                  </a:lnTo>
                  <a:lnTo>
                    <a:pt x="189" y="198"/>
                  </a:lnTo>
                  <a:close/>
                  <a:moveTo>
                    <a:pt x="189" y="132"/>
                  </a:moveTo>
                  <a:lnTo>
                    <a:pt x="12" y="144"/>
                  </a:lnTo>
                  <a:lnTo>
                    <a:pt x="12" y="102"/>
                  </a:lnTo>
                  <a:lnTo>
                    <a:pt x="189" y="83"/>
                  </a:lnTo>
                  <a:lnTo>
                    <a:pt x="189" y="132"/>
                  </a:lnTo>
                  <a:close/>
                  <a:moveTo>
                    <a:pt x="189" y="21"/>
                  </a:moveTo>
                  <a:lnTo>
                    <a:pt x="189" y="68"/>
                  </a:lnTo>
                  <a:lnTo>
                    <a:pt x="12" y="87"/>
                  </a:lnTo>
                  <a:lnTo>
                    <a:pt x="12" y="52"/>
                  </a:lnTo>
                  <a:lnTo>
                    <a:pt x="189" y="21"/>
                  </a:lnTo>
                  <a:close/>
                  <a:moveTo>
                    <a:pt x="12" y="612"/>
                  </a:moveTo>
                  <a:lnTo>
                    <a:pt x="12" y="399"/>
                  </a:lnTo>
                  <a:lnTo>
                    <a:pt x="189" y="406"/>
                  </a:lnTo>
                  <a:lnTo>
                    <a:pt x="189" y="640"/>
                  </a:lnTo>
                  <a:lnTo>
                    <a:pt x="12" y="612"/>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6" name="Freeform 38"/>
            <p:cNvSpPr>
              <a:spLocks noEditPoints="1"/>
            </p:cNvSpPr>
            <p:nvPr/>
          </p:nvSpPr>
          <p:spPr bwMode="auto">
            <a:xfrm>
              <a:off x="8440500" y="2661296"/>
              <a:ext cx="377825" cy="762000"/>
            </a:xfrm>
            <a:custGeom>
              <a:avLst/>
              <a:gdLst>
                <a:gd name="T0" fmla="*/ 153 w 238"/>
                <a:gd name="T1" fmla="*/ 0 h 480"/>
                <a:gd name="T2" fmla="*/ 0 w 238"/>
                <a:gd name="T3" fmla="*/ 26 h 480"/>
                <a:gd name="T4" fmla="*/ 0 w 238"/>
                <a:gd name="T5" fmla="*/ 454 h 480"/>
                <a:gd name="T6" fmla="*/ 148 w 238"/>
                <a:gd name="T7" fmla="*/ 480 h 480"/>
                <a:gd name="T8" fmla="*/ 238 w 238"/>
                <a:gd name="T9" fmla="*/ 440 h 480"/>
                <a:gd name="T10" fmla="*/ 238 w 238"/>
                <a:gd name="T11" fmla="*/ 34 h 480"/>
                <a:gd name="T12" fmla="*/ 153 w 238"/>
                <a:gd name="T13" fmla="*/ 0 h 480"/>
                <a:gd name="T14" fmla="*/ 7 w 238"/>
                <a:gd name="T15" fmla="*/ 201 h 480"/>
                <a:gd name="T16" fmla="*/ 134 w 238"/>
                <a:gd name="T17" fmla="*/ 201 h 480"/>
                <a:gd name="T18" fmla="*/ 134 w 238"/>
                <a:gd name="T19" fmla="*/ 237 h 480"/>
                <a:gd name="T20" fmla="*/ 7 w 238"/>
                <a:gd name="T21" fmla="*/ 234 h 480"/>
                <a:gd name="T22" fmla="*/ 7 w 238"/>
                <a:gd name="T23" fmla="*/ 201 h 480"/>
                <a:gd name="T24" fmla="*/ 134 w 238"/>
                <a:gd name="T25" fmla="*/ 190 h 480"/>
                <a:gd name="T26" fmla="*/ 7 w 238"/>
                <a:gd name="T27" fmla="*/ 190 h 480"/>
                <a:gd name="T28" fmla="*/ 7 w 238"/>
                <a:gd name="T29" fmla="*/ 156 h 480"/>
                <a:gd name="T30" fmla="*/ 134 w 238"/>
                <a:gd name="T31" fmla="*/ 152 h 480"/>
                <a:gd name="T32" fmla="*/ 134 w 238"/>
                <a:gd name="T33" fmla="*/ 190 h 480"/>
                <a:gd name="T34" fmla="*/ 7 w 238"/>
                <a:gd name="T35" fmla="*/ 244 h 480"/>
                <a:gd name="T36" fmla="*/ 134 w 238"/>
                <a:gd name="T37" fmla="*/ 246 h 480"/>
                <a:gd name="T38" fmla="*/ 134 w 238"/>
                <a:gd name="T39" fmla="*/ 282 h 480"/>
                <a:gd name="T40" fmla="*/ 7 w 238"/>
                <a:gd name="T41" fmla="*/ 277 h 480"/>
                <a:gd name="T42" fmla="*/ 7 w 238"/>
                <a:gd name="T43" fmla="*/ 244 h 480"/>
                <a:gd name="T44" fmla="*/ 134 w 238"/>
                <a:gd name="T45" fmla="*/ 142 h 480"/>
                <a:gd name="T46" fmla="*/ 7 w 238"/>
                <a:gd name="T47" fmla="*/ 147 h 480"/>
                <a:gd name="T48" fmla="*/ 7 w 238"/>
                <a:gd name="T49" fmla="*/ 116 h 480"/>
                <a:gd name="T50" fmla="*/ 134 w 238"/>
                <a:gd name="T51" fmla="*/ 104 h 480"/>
                <a:gd name="T52" fmla="*/ 134 w 238"/>
                <a:gd name="T53" fmla="*/ 142 h 480"/>
                <a:gd name="T54" fmla="*/ 134 w 238"/>
                <a:gd name="T55" fmla="*/ 95 h 480"/>
                <a:gd name="T56" fmla="*/ 7 w 238"/>
                <a:gd name="T57" fmla="*/ 104 h 480"/>
                <a:gd name="T58" fmla="*/ 7 w 238"/>
                <a:gd name="T59" fmla="*/ 74 h 480"/>
                <a:gd name="T60" fmla="*/ 134 w 238"/>
                <a:gd name="T61" fmla="*/ 62 h 480"/>
                <a:gd name="T62" fmla="*/ 134 w 238"/>
                <a:gd name="T63" fmla="*/ 95 h 480"/>
                <a:gd name="T64" fmla="*/ 134 w 238"/>
                <a:gd name="T65" fmla="*/ 17 h 480"/>
                <a:gd name="T66" fmla="*/ 134 w 238"/>
                <a:gd name="T67" fmla="*/ 50 h 480"/>
                <a:gd name="T68" fmla="*/ 7 w 238"/>
                <a:gd name="T69" fmla="*/ 64 h 480"/>
                <a:gd name="T70" fmla="*/ 7 w 238"/>
                <a:gd name="T71" fmla="*/ 38 h 480"/>
                <a:gd name="T72" fmla="*/ 134 w 238"/>
                <a:gd name="T73" fmla="*/ 17 h 480"/>
                <a:gd name="T74" fmla="*/ 7 w 238"/>
                <a:gd name="T75" fmla="*/ 440 h 480"/>
                <a:gd name="T76" fmla="*/ 7 w 238"/>
                <a:gd name="T77" fmla="*/ 286 h 480"/>
                <a:gd name="T78" fmla="*/ 134 w 238"/>
                <a:gd name="T79" fmla="*/ 291 h 480"/>
                <a:gd name="T80" fmla="*/ 134 w 238"/>
                <a:gd name="T81" fmla="*/ 459 h 480"/>
                <a:gd name="T82" fmla="*/ 7 w 238"/>
                <a:gd name="T83" fmla="*/ 44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8" h="480">
                  <a:moveTo>
                    <a:pt x="153" y="0"/>
                  </a:moveTo>
                  <a:lnTo>
                    <a:pt x="0" y="26"/>
                  </a:lnTo>
                  <a:lnTo>
                    <a:pt x="0" y="454"/>
                  </a:lnTo>
                  <a:lnTo>
                    <a:pt x="148" y="480"/>
                  </a:lnTo>
                  <a:lnTo>
                    <a:pt x="238" y="440"/>
                  </a:lnTo>
                  <a:lnTo>
                    <a:pt x="238" y="34"/>
                  </a:lnTo>
                  <a:lnTo>
                    <a:pt x="153" y="0"/>
                  </a:lnTo>
                  <a:close/>
                  <a:moveTo>
                    <a:pt x="7" y="201"/>
                  </a:moveTo>
                  <a:lnTo>
                    <a:pt x="134" y="201"/>
                  </a:lnTo>
                  <a:lnTo>
                    <a:pt x="134" y="237"/>
                  </a:lnTo>
                  <a:lnTo>
                    <a:pt x="7" y="234"/>
                  </a:lnTo>
                  <a:lnTo>
                    <a:pt x="7" y="201"/>
                  </a:lnTo>
                  <a:close/>
                  <a:moveTo>
                    <a:pt x="134" y="190"/>
                  </a:moveTo>
                  <a:lnTo>
                    <a:pt x="7" y="190"/>
                  </a:lnTo>
                  <a:lnTo>
                    <a:pt x="7" y="156"/>
                  </a:lnTo>
                  <a:lnTo>
                    <a:pt x="134" y="152"/>
                  </a:lnTo>
                  <a:lnTo>
                    <a:pt x="134" y="190"/>
                  </a:lnTo>
                  <a:close/>
                  <a:moveTo>
                    <a:pt x="7" y="244"/>
                  </a:moveTo>
                  <a:lnTo>
                    <a:pt x="134" y="246"/>
                  </a:lnTo>
                  <a:lnTo>
                    <a:pt x="134" y="282"/>
                  </a:lnTo>
                  <a:lnTo>
                    <a:pt x="7" y="277"/>
                  </a:lnTo>
                  <a:lnTo>
                    <a:pt x="7" y="244"/>
                  </a:lnTo>
                  <a:close/>
                  <a:moveTo>
                    <a:pt x="134" y="142"/>
                  </a:moveTo>
                  <a:lnTo>
                    <a:pt x="7" y="147"/>
                  </a:lnTo>
                  <a:lnTo>
                    <a:pt x="7" y="116"/>
                  </a:lnTo>
                  <a:lnTo>
                    <a:pt x="134" y="104"/>
                  </a:lnTo>
                  <a:lnTo>
                    <a:pt x="134" y="142"/>
                  </a:lnTo>
                  <a:close/>
                  <a:moveTo>
                    <a:pt x="134" y="95"/>
                  </a:moveTo>
                  <a:lnTo>
                    <a:pt x="7" y="104"/>
                  </a:lnTo>
                  <a:lnTo>
                    <a:pt x="7" y="74"/>
                  </a:lnTo>
                  <a:lnTo>
                    <a:pt x="134" y="62"/>
                  </a:lnTo>
                  <a:lnTo>
                    <a:pt x="134" y="95"/>
                  </a:lnTo>
                  <a:close/>
                  <a:moveTo>
                    <a:pt x="134" y="17"/>
                  </a:moveTo>
                  <a:lnTo>
                    <a:pt x="134" y="50"/>
                  </a:lnTo>
                  <a:lnTo>
                    <a:pt x="7" y="64"/>
                  </a:lnTo>
                  <a:lnTo>
                    <a:pt x="7" y="38"/>
                  </a:lnTo>
                  <a:lnTo>
                    <a:pt x="134" y="17"/>
                  </a:lnTo>
                  <a:close/>
                  <a:moveTo>
                    <a:pt x="7" y="440"/>
                  </a:moveTo>
                  <a:lnTo>
                    <a:pt x="7" y="286"/>
                  </a:lnTo>
                  <a:lnTo>
                    <a:pt x="134" y="291"/>
                  </a:lnTo>
                  <a:lnTo>
                    <a:pt x="134" y="459"/>
                  </a:lnTo>
                  <a:lnTo>
                    <a:pt x="7" y="44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7" name="Freeform 39"/>
            <p:cNvSpPr>
              <a:spLocks noEditPoints="1"/>
            </p:cNvSpPr>
            <p:nvPr/>
          </p:nvSpPr>
          <p:spPr bwMode="auto">
            <a:xfrm>
              <a:off x="8743712" y="2785121"/>
              <a:ext cx="284162" cy="563562"/>
            </a:xfrm>
            <a:custGeom>
              <a:avLst/>
              <a:gdLst>
                <a:gd name="T0" fmla="*/ 113 w 179"/>
                <a:gd name="T1" fmla="*/ 0 h 355"/>
                <a:gd name="T2" fmla="*/ 0 w 179"/>
                <a:gd name="T3" fmla="*/ 19 h 355"/>
                <a:gd name="T4" fmla="*/ 0 w 179"/>
                <a:gd name="T5" fmla="*/ 336 h 355"/>
                <a:gd name="T6" fmla="*/ 111 w 179"/>
                <a:gd name="T7" fmla="*/ 355 h 355"/>
                <a:gd name="T8" fmla="*/ 179 w 179"/>
                <a:gd name="T9" fmla="*/ 327 h 355"/>
                <a:gd name="T10" fmla="*/ 179 w 179"/>
                <a:gd name="T11" fmla="*/ 24 h 355"/>
                <a:gd name="T12" fmla="*/ 113 w 179"/>
                <a:gd name="T13" fmla="*/ 0 h 355"/>
                <a:gd name="T14" fmla="*/ 7 w 179"/>
                <a:gd name="T15" fmla="*/ 149 h 355"/>
                <a:gd name="T16" fmla="*/ 101 w 179"/>
                <a:gd name="T17" fmla="*/ 149 h 355"/>
                <a:gd name="T18" fmla="*/ 101 w 179"/>
                <a:gd name="T19" fmla="*/ 175 h 355"/>
                <a:gd name="T20" fmla="*/ 7 w 179"/>
                <a:gd name="T21" fmla="*/ 173 h 355"/>
                <a:gd name="T22" fmla="*/ 7 w 179"/>
                <a:gd name="T23" fmla="*/ 149 h 355"/>
                <a:gd name="T24" fmla="*/ 101 w 179"/>
                <a:gd name="T25" fmla="*/ 140 h 355"/>
                <a:gd name="T26" fmla="*/ 7 w 179"/>
                <a:gd name="T27" fmla="*/ 140 h 355"/>
                <a:gd name="T28" fmla="*/ 7 w 179"/>
                <a:gd name="T29" fmla="*/ 116 h 355"/>
                <a:gd name="T30" fmla="*/ 101 w 179"/>
                <a:gd name="T31" fmla="*/ 114 h 355"/>
                <a:gd name="T32" fmla="*/ 101 w 179"/>
                <a:gd name="T33" fmla="*/ 140 h 355"/>
                <a:gd name="T34" fmla="*/ 7 w 179"/>
                <a:gd name="T35" fmla="*/ 180 h 355"/>
                <a:gd name="T36" fmla="*/ 101 w 179"/>
                <a:gd name="T37" fmla="*/ 182 h 355"/>
                <a:gd name="T38" fmla="*/ 101 w 179"/>
                <a:gd name="T39" fmla="*/ 208 h 355"/>
                <a:gd name="T40" fmla="*/ 7 w 179"/>
                <a:gd name="T41" fmla="*/ 206 h 355"/>
                <a:gd name="T42" fmla="*/ 7 w 179"/>
                <a:gd name="T43" fmla="*/ 180 h 355"/>
                <a:gd name="T44" fmla="*/ 101 w 179"/>
                <a:gd name="T45" fmla="*/ 107 h 355"/>
                <a:gd name="T46" fmla="*/ 7 w 179"/>
                <a:gd name="T47" fmla="*/ 109 h 355"/>
                <a:gd name="T48" fmla="*/ 7 w 179"/>
                <a:gd name="T49" fmla="*/ 86 h 355"/>
                <a:gd name="T50" fmla="*/ 101 w 179"/>
                <a:gd name="T51" fmla="*/ 78 h 355"/>
                <a:gd name="T52" fmla="*/ 101 w 179"/>
                <a:gd name="T53" fmla="*/ 107 h 355"/>
                <a:gd name="T54" fmla="*/ 101 w 179"/>
                <a:gd name="T55" fmla="*/ 71 h 355"/>
                <a:gd name="T56" fmla="*/ 7 w 179"/>
                <a:gd name="T57" fmla="*/ 78 h 355"/>
                <a:gd name="T58" fmla="*/ 7 w 179"/>
                <a:gd name="T59" fmla="*/ 55 h 355"/>
                <a:gd name="T60" fmla="*/ 101 w 179"/>
                <a:gd name="T61" fmla="*/ 45 h 355"/>
                <a:gd name="T62" fmla="*/ 101 w 179"/>
                <a:gd name="T63" fmla="*/ 71 h 355"/>
                <a:gd name="T64" fmla="*/ 101 w 179"/>
                <a:gd name="T65" fmla="*/ 12 h 355"/>
                <a:gd name="T66" fmla="*/ 101 w 179"/>
                <a:gd name="T67" fmla="*/ 38 h 355"/>
                <a:gd name="T68" fmla="*/ 7 w 179"/>
                <a:gd name="T69" fmla="*/ 48 h 355"/>
                <a:gd name="T70" fmla="*/ 7 w 179"/>
                <a:gd name="T71" fmla="*/ 29 h 355"/>
                <a:gd name="T72" fmla="*/ 101 w 179"/>
                <a:gd name="T73" fmla="*/ 12 h 355"/>
                <a:gd name="T74" fmla="*/ 7 w 179"/>
                <a:gd name="T75" fmla="*/ 327 h 355"/>
                <a:gd name="T76" fmla="*/ 7 w 179"/>
                <a:gd name="T77" fmla="*/ 213 h 355"/>
                <a:gd name="T78" fmla="*/ 101 w 179"/>
                <a:gd name="T79" fmla="*/ 216 h 355"/>
                <a:gd name="T80" fmla="*/ 101 w 179"/>
                <a:gd name="T81" fmla="*/ 341 h 355"/>
                <a:gd name="T82" fmla="*/ 7 w 179"/>
                <a:gd name="T83" fmla="*/ 32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9" h="355">
                  <a:moveTo>
                    <a:pt x="113" y="0"/>
                  </a:moveTo>
                  <a:lnTo>
                    <a:pt x="0" y="19"/>
                  </a:lnTo>
                  <a:lnTo>
                    <a:pt x="0" y="336"/>
                  </a:lnTo>
                  <a:lnTo>
                    <a:pt x="111" y="355"/>
                  </a:lnTo>
                  <a:lnTo>
                    <a:pt x="179" y="327"/>
                  </a:lnTo>
                  <a:lnTo>
                    <a:pt x="179" y="24"/>
                  </a:lnTo>
                  <a:lnTo>
                    <a:pt x="113" y="0"/>
                  </a:lnTo>
                  <a:close/>
                  <a:moveTo>
                    <a:pt x="7" y="149"/>
                  </a:moveTo>
                  <a:lnTo>
                    <a:pt x="101" y="149"/>
                  </a:lnTo>
                  <a:lnTo>
                    <a:pt x="101" y="175"/>
                  </a:lnTo>
                  <a:lnTo>
                    <a:pt x="7" y="173"/>
                  </a:lnTo>
                  <a:lnTo>
                    <a:pt x="7" y="149"/>
                  </a:lnTo>
                  <a:close/>
                  <a:moveTo>
                    <a:pt x="101" y="140"/>
                  </a:moveTo>
                  <a:lnTo>
                    <a:pt x="7" y="140"/>
                  </a:lnTo>
                  <a:lnTo>
                    <a:pt x="7" y="116"/>
                  </a:lnTo>
                  <a:lnTo>
                    <a:pt x="101" y="114"/>
                  </a:lnTo>
                  <a:lnTo>
                    <a:pt x="101" y="140"/>
                  </a:lnTo>
                  <a:close/>
                  <a:moveTo>
                    <a:pt x="7" y="180"/>
                  </a:moveTo>
                  <a:lnTo>
                    <a:pt x="101" y="182"/>
                  </a:lnTo>
                  <a:lnTo>
                    <a:pt x="101" y="208"/>
                  </a:lnTo>
                  <a:lnTo>
                    <a:pt x="7" y="206"/>
                  </a:lnTo>
                  <a:lnTo>
                    <a:pt x="7" y="180"/>
                  </a:lnTo>
                  <a:close/>
                  <a:moveTo>
                    <a:pt x="101" y="107"/>
                  </a:moveTo>
                  <a:lnTo>
                    <a:pt x="7" y="109"/>
                  </a:lnTo>
                  <a:lnTo>
                    <a:pt x="7" y="86"/>
                  </a:lnTo>
                  <a:lnTo>
                    <a:pt x="101" y="78"/>
                  </a:lnTo>
                  <a:lnTo>
                    <a:pt x="101" y="107"/>
                  </a:lnTo>
                  <a:close/>
                  <a:moveTo>
                    <a:pt x="101" y="71"/>
                  </a:moveTo>
                  <a:lnTo>
                    <a:pt x="7" y="78"/>
                  </a:lnTo>
                  <a:lnTo>
                    <a:pt x="7" y="55"/>
                  </a:lnTo>
                  <a:lnTo>
                    <a:pt x="101" y="45"/>
                  </a:lnTo>
                  <a:lnTo>
                    <a:pt x="101" y="71"/>
                  </a:lnTo>
                  <a:close/>
                  <a:moveTo>
                    <a:pt x="101" y="12"/>
                  </a:moveTo>
                  <a:lnTo>
                    <a:pt x="101" y="38"/>
                  </a:lnTo>
                  <a:lnTo>
                    <a:pt x="7" y="48"/>
                  </a:lnTo>
                  <a:lnTo>
                    <a:pt x="7" y="29"/>
                  </a:lnTo>
                  <a:lnTo>
                    <a:pt x="101" y="12"/>
                  </a:lnTo>
                  <a:close/>
                  <a:moveTo>
                    <a:pt x="7" y="327"/>
                  </a:moveTo>
                  <a:lnTo>
                    <a:pt x="7" y="213"/>
                  </a:lnTo>
                  <a:lnTo>
                    <a:pt x="101" y="216"/>
                  </a:lnTo>
                  <a:lnTo>
                    <a:pt x="101" y="341"/>
                  </a:lnTo>
                  <a:lnTo>
                    <a:pt x="7" y="327"/>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8" name="Freeform 40"/>
            <p:cNvSpPr>
              <a:spLocks/>
            </p:cNvSpPr>
            <p:nvPr/>
          </p:nvSpPr>
          <p:spPr bwMode="auto">
            <a:xfrm>
              <a:off x="6887925" y="2908946"/>
              <a:ext cx="2668587" cy="1201737"/>
            </a:xfrm>
            <a:custGeom>
              <a:avLst/>
              <a:gdLst>
                <a:gd name="T0" fmla="*/ 602 w 712"/>
                <a:gd name="T1" fmla="*/ 222 h 320"/>
                <a:gd name="T2" fmla="*/ 356 w 712"/>
                <a:gd name="T3" fmla="*/ 280 h 320"/>
                <a:gd name="T4" fmla="*/ 51 w 712"/>
                <a:gd name="T5" fmla="*/ 136 h 320"/>
                <a:gd name="T6" fmla="*/ 162 w 712"/>
                <a:gd name="T7" fmla="*/ 24 h 320"/>
                <a:gd name="T8" fmla="*/ 162 w 712"/>
                <a:gd name="T9" fmla="*/ 0 h 320"/>
                <a:gd name="T10" fmla="*/ 0 w 712"/>
                <a:gd name="T11" fmla="*/ 146 h 320"/>
                <a:gd name="T12" fmla="*/ 356 w 712"/>
                <a:gd name="T13" fmla="*/ 320 h 320"/>
                <a:gd name="T14" fmla="*/ 712 w 712"/>
                <a:gd name="T15" fmla="*/ 146 h 320"/>
                <a:gd name="T16" fmla="*/ 571 w 712"/>
                <a:gd name="T17" fmla="*/ 7 h 320"/>
                <a:gd name="T18" fmla="*/ 571 w 712"/>
                <a:gd name="T19" fmla="*/ 33 h 320"/>
                <a:gd name="T20" fmla="*/ 661 w 712"/>
                <a:gd name="T21" fmla="*/ 136 h 320"/>
                <a:gd name="T22" fmla="*/ 602 w 712"/>
                <a:gd name="T23" fmla="*/ 2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2" h="320">
                  <a:moveTo>
                    <a:pt x="602" y="222"/>
                  </a:moveTo>
                  <a:cubicBezTo>
                    <a:pt x="546" y="257"/>
                    <a:pt x="457" y="280"/>
                    <a:pt x="356" y="280"/>
                  </a:cubicBezTo>
                  <a:cubicBezTo>
                    <a:pt x="188" y="280"/>
                    <a:pt x="51" y="216"/>
                    <a:pt x="51" y="136"/>
                  </a:cubicBezTo>
                  <a:cubicBezTo>
                    <a:pt x="51" y="90"/>
                    <a:pt x="94" y="50"/>
                    <a:pt x="162" y="24"/>
                  </a:cubicBezTo>
                  <a:cubicBezTo>
                    <a:pt x="162" y="0"/>
                    <a:pt x="162" y="0"/>
                    <a:pt x="162" y="0"/>
                  </a:cubicBezTo>
                  <a:cubicBezTo>
                    <a:pt x="65" y="31"/>
                    <a:pt x="0" y="85"/>
                    <a:pt x="0" y="146"/>
                  </a:cubicBezTo>
                  <a:cubicBezTo>
                    <a:pt x="0" y="242"/>
                    <a:pt x="160" y="320"/>
                    <a:pt x="356" y="320"/>
                  </a:cubicBezTo>
                  <a:cubicBezTo>
                    <a:pt x="553" y="320"/>
                    <a:pt x="712" y="242"/>
                    <a:pt x="712" y="146"/>
                  </a:cubicBezTo>
                  <a:cubicBezTo>
                    <a:pt x="712" y="89"/>
                    <a:pt x="657" y="39"/>
                    <a:pt x="571" y="7"/>
                  </a:cubicBezTo>
                  <a:cubicBezTo>
                    <a:pt x="571" y="33"/>
                    <a:pt x="571" y="33"/>
                    <a:pt x="571" y="33"/>
                  </a:cubicBezTo>
                  <a:cubicBezTo>
                    <a:pt x="627" y="59"/>
                    <a:pt x="661" y="95"/>
                    <a:pt x="661" y="136"/>
                  </a:cubicBezTo>
                  <a:cubicBezTo>
                    <a:pt x="661" y="168"/>
                    <a:pt x="639" y="198"/>
                    <a:pt x="602" y="222"/>
                  </a:cubicBezTo>
                </a:path>
              </a:pathLst>
            </a:custGeom>
            <a:solidFill>
              <a:schemeClr val="bg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49" name="Group 10"/>
          <p:cNvGrpSpPr>
            <a:grpSpLocks noChangeAspect="1"/>
          </p:cNvGrpSpPr>
          <p:nvPr/>
        </p:nvGrpSpPr>
        <p:grpSpPr bwMode="auto">
          <a:xfrm>
            <a:off x="8582600" y="4555419"/>
            <a:ext cx="580883" cy="705058"/>
            <a:chOff x="2933" y="1540"/>
            <a:chExt cx="828" cy="1005"/>
          </a:xfrm>
          <a:solidFill>
            <a:schemeClr val="bg1"/>
          </a:solidFill>
        </p:grpSpPr>
        <p:sp>
          <p:nvSpPr>
            <p:cNvPr id="50" name="Freeform 11"/>
            <p:cNvSpPr>
              <a:spLocks/>
            </p:cNvSpPr>
            <p:nvPr/>
          </p:nvSpPr>
          <p:spPr bwMode="auto">
            <a:xfrm>
              <a:off x="3168" y="2013"/>
              <a:ext cx="215" cy="28"/>
            </a:xfrm>
            <a:custGeom>
              <a:avLst/>
              <a:gdLst>
                <a:gd name="T0" fmla="*/ 266 w 266"/>
                <a:gd name="T1" fmla="*/ 27 h 35"/>
                <a:gd name="T2" fmla="*/ 255 w 266"/>
                <a:gd name="T3" fmla="*/ 35 h 35"/>
                <a:gd name="T4" fmla="*/ 11 w 266"/>
                <a:gd name="T5" fmla="*/ 35 h 35"/>
                <a:gd name="T6" fmla="*/ 0 w 266"/>
                <a:gd name="T7" fmla="*/ 27 h 35"/>
                <a:gd name="T8" fmla="*/ 0 w 266"/>
                <a:gd name="T9" fmla="*/ 8 h 35"/>
                <a:gd name="T10" fmla="*/ 11 w 266"/>
                <a:gd name="T11" fmla="*/ 0 h 35"/>
                <a:gd name="T12" fmla="*/ 255 w 266"/>
                <a:gd name="T13" fmla="*/ 0 h 35"/>
                <a:gd name="T14" fmla="*/ 266 w 266"/>
                <a:gd name="T15" fmla="*/ 8 h 35"/>
                <a:gd name="T16" fmla="*/ 266 w 266"/>
                <a:gd name="T17"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6" h="35">
                  <a:moveTo>
                    <a:pt x="266" y="27"/>
                  </a:moveTo>
                  <a:cubicBezTo>
                    <a:pt x="266" y="31"/>
                    <a:pt x="261" y="35"/>
                    <a:pt x="255" y="35"/>
                  </a:cubicBezTo>
                  <a:cubicBezTo>
                    <a:pt x="11" y="35"/>
                    <a:pt x="11" y="35"/>
                    <a:pt x="11" y="35"/>
                  </a:cubicBezTo>
                  <a:cubicBezTo>
                    <a:pt x="5" y="35"/>
                    <a:pt x="0" y="31"/>
                    <a:pt x="0" y="27"/>
                  </a:cubicBezTo>
                  <a:cubicBezTo>
                    <a:pt x="0" y="8"/>
                    <a:pt x="0" y="8"/>
                    <a:pt x="0" y="8"/>
                  </a:cubicBezTo>
                  <a:cubicBezTo>
                    <a:pt x="0" y="4"/>
                    <a:pt x="5" y="0"/>
                    <a:pt x="11" y="0"/>
                  </a:cubicBezTo>
                  <a:cubicBezTo>
                    <a:pt x="255" y="0"/>
                    <a:pt x="255" y="0"/>
                    <a:pt x="255" y="0"/>
                  </a:cubicBezTo>
                  <a:cubicBezTo>
                    <a:pt x="261" y="0"/>
                    <a:pt x="266" y="4"/>
                    <a:pt x="266" y="8"/>
                  </a:cubicBezTo>
                  <a:lnTo>
                    <a:pt x="26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1" name="Freeform 12"/>
            <p:cNvSpPr>
              <a:spLocks/>
            </p:cNvSpPr>
            <p:nvPr/>
          </p:nvSpPr>
          <p:spPr bwMode="auto">
            <a:xfrm>
              <a:off x="3168" y="2146"/>
              <a:ext cx="215" cy="28"/>
            </a:xfrm>
            <a:custGeom>
              <a:avLst/>
              <a:gdLst>
                <a:gd name="T0" fmla="*/ 266 w 266"/>
                <a:gd name="T1" fmla="*/ 26 h 34"/>
                <a:gd name="T2" fmla="*/ 255 w 266"/>
                <a:gd name="T3" fmla="*/ 34 h 34"/>
                <a:gd name="T4" fmla="*/ 11 w 266"/>
                <a:gd name="T5" fmla="*/ 34 h 34"/>
                <a:gd name="T6" fmla="*/ 0 w 266"/>
                <a:gd name="T7" fmla="*/ 26 h 34"/>
                <a:gd name="T8" fmla="*/ 0 w 266"/>
                <a:gd name="T9" fmla="*/ 8 h 34"/>
                <a:gd name="T10" fmla="*/ 11 w 266"/>
                <a:gd name="T11" fmla="*/ 0 h 34"/>
                <a:gd name="T12" fmla="*/ 255 w 266"/>
                <a:gd name="T13" fmla="*/ 0 h 34"/>
                <a:gd name="T14" fmla="*/ 266 w 266"/>
                <a:gd name="T15" fmla="*/ 8 h 34"/>
                <a:gd name="T16" fmla="*/ 266 w 266"/>
                <a:gd name="T1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6" h="34">
                  <a:moveTo>
                    <a:pt x="266" y="26"/>
                  </a:moveTo>
                  <a:cubicBezTo>
                    <a:pt x="266" y="31"/>
                    <a:pt x="261" y="34"/>
                    <a:pt x="255" y="34"/>
                  </a:cubicBezTo>
                  <a:cubicBezTo>
                    <a:pt x="11" y="34"/>
                    <a:pt x="11" y="34"/>
                    <a:pt x="11" y="34"/>
                  </a:cubicBezTo>
                  <a:cubicBezTo>
                    <a:pt x="5" y="34"/>
                    <a:pt x="0" y="31"/>
                    <a:pt x="0" y="26"/>
                  </a:cubicBezTo>
                  <a:cubicBezTo>
                    <a:pt x="0" y="8"/>
                    <a:pt x="0" y="8"/>
                    <a:pt x="0" y="8"/>
                  </a:cubicBezTo>
                  <a:cubicBezTo>
                    <a:pt x="0" y="3"/>
                    <a:pt x="5" y="0"/>
                    <a:pt x="11" y="0"/>
                  </a:cubicBezTo>
                  <a:cubicBezTo>
                    <a:pt x="255" y="0"/>
                    <a:pt x="255" y="0"/>
                    <a:pt x="255" y="0"/>
                  </a:cubicBezTo>
                  <a:cubicBezTo>
                    <a:pt x="261" y="0"/>
                    <a:pt x="266" y="3"/>
                    <a:pt x="266" y="8"/>
                  </a:cubicBezTo>
                  <a:lnTo>
                    <a:pt x="26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2" name="Freeform 13"/>
            <p:cNvSpPr>
              <a:spLocks/>
            </p:cNvSpPr>
            <p:nvPr/>
          </p:nvSpPr>
          <p:spPr bwMode="auto">
            <a:xfrm>
              <a:off x="3061" y="2265"/>
              <a:ext cx="57" cy="56"/>
            </a:xfrm>
            <a:custGeom>
              <a:avLst/>
              <a:gdLst>
                <a:gd name="T0" fmla="*/ 70 w 70"/>
                <a:gd name="T1" fmla="*/ 62 h 69"/>
                <a:gd name="T2" fmla="*/ 62 w 70"/>
                <a:gd name="T3" fmla="*/ 69 h 69"/>
                <a:gd name="T4" fmla="*/ 7 w 70"/>
                <a:gd name="T5" fmla="*/ 69 h 69"/>
                <a:gd name="T6" fmla="*/ 0 w 70"/>
                <a:gd name="T7" fmla="*/ 62 h 69"/>
                <a:gd name="T8" fmla="*/ 0 w 70"/>
                <a:gd name="T9" fmla="*/ 7 h 69"/>
                <a:gd name="T10" fmla="*/ 7 w 70"/>
                <a:gd name="T11" fmla="*/ 0 h 69"/>
                <a:gd name="T12" fmla="*/ 62 w 70"/>
                <a:gd name="T13" fmla="*/ 0 h 69"/>
                <a:gd name="T14" fmla="*/ 70 w 70"/>
                <a:gd name="T15" fmla="*/ 7 h 69"/>
                <a:gd name="T16" fmla="*/ 70 w 70"/>
                <a:gd name="T1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69">
                  <a:moveTo>
                    <a:pt x="70" y="62"/>
                  </a:moveTo>
                  <a:cubicBezTo>
                    <a:pt x="70" y="66"/>
                    <a:pt x="66" y="69"/>
                    <a:pt x="62" y="69"/>
                  </a:cubicBezTo>
                  <a:cubicBezTo>
                    <a:pt x="7" y="69"/>
                    <a:pt x="7" y="69"/>
                    <a:pt x="7" y="69"/>
                  </a:cubicBezTo>
                  <a:cubicBezTo>
                    <a:pt x="3" y="69"/>
                    <a:pt x="0" y="66"/>
                    <a:pt x="0" y="62"/>
                  </a:cubicBezTo>
                  <a:cubicBezTo>
                    <a:pt x="0" y="7"/>
                    <a:pt x="0" y="7"/>
                    <a:pt x="0" y="7"/>
                  </a:cubicBezTo>
                  <a:cubicBezTo>
                    <a:pt x="0" y="3"/>
                    <a:pt x="3" y="0"/>
                    <a:pt x="7" y="0"/>
                  </a:cubicBezTo>
                  <a:cubicBezTo>
                    <a:pt x="62" y="0"/>
                    <a:pt x="62" y="0"/>
                    <a:pt x="62" y="0"/>
                  </a:cubicBezTo>
                  <a:cubicBezTo>
                    <a:pt x="66" y="0"/>
                    <a:pt x="70" y="3"/>
                    <a:pt x="70" y="7"/>
                  </a:cubicBezTo>
                  <a:lnTo>
                    <a:pt x="7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3" name="Freeform 14"/>
            <p:cNvSpPr>
              <a:spLocks/>
            </p:cNvSpPr>
            <p:nvPr/>
          </p:nvSpPr>
          <p:spPr bwMode="auto">
            <a:xfrm>
              <a:off x="3061" y="2132"/>
              <a:ext cx="57" cy="56"/>
            </a:xfrm>
            <a:custGeom>
              <a:avLst/>
              <a:gdLst>
                <a:gd name="T0" fmla="*/ 70 w 70"/>
                <a:gd name="T1" fmla="*/ 62 h 70"/>
                <a:gd name="T2" fmla="*/ 62 w 70"/>
                <a:gd name="T3" fmla="*/ 70 h 70"/>
                <a:gd name="T4" fmla="*/ 7 w 70"/>
                <a:gd name="T5" fmla="*/ 70 h 70"/>
                <a:gd name="T6" fmla="*/ 0 w 70"/>
                <a:gd name="T7" fmla="*/ 62 h 70"/>
                <a:gd name="T8" fmla="*/ 0 w 70"/>
                <a:gd name="T9" fmla="*/ 8 h 70"/>
                <a:gd name="T10" fmla="*/ 7 w 70"/>
                <a:gd name="T11" fmla="*/ 0 h 70"/>
                <a:gd name="T12" fmla="*/ 62 w 70"/>
                <a:gd name="T13" fmla="*/ 0 h 70"/>
                <a:gd name="T14" fmla="*/ 70 w 70"/>
                <a:gd name="T15" fmla="*/ 8 h 70"/>
                <a:gd name="T16" fmla="*/ 70 w 70"/>
                <a:gd name="T1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70" y="62"/>
                  </a:moveTo>
                  <a:cubicBezTo>
                    <a:pt x="70" y="67"/>
                    <a:pt x="66" y="70"/>
                    <a:pt x="62" y="70"/>
                  </a:cubicBezTo>
                  <a:cubicBezTo>
                    <a:pt x="7" y="70"/>
                    <a:pt x="7" y="70"/>
                    <a:pt x="7" y="70"/>
                  </a:cubicBezTo>
                  <a:cubicBezTo>
                    <a:pt x="3" y="70"/>
                    <a:pt x="0" y="67"/>
                    <a:pt x="0" y="62"/>
                  </a:cubicBezTo>
                  <a:cubicBezTo>
                    <a:pt x="0" y="8"/>
                    <a:pt x="0" y="8"/>
                    <a:pt x="0" y="8"/>
                  </a:cubicBezTo>
                  <a:cubicBezTo>
                    <a:pt x="0" y="4"/>
                    <a:pt x="3" y="0"/>
                    <a:pt x="7" y="0"/>
                  </a:cubicBezTo>
                  <a:cubicBezTo>
                    <a:pt x="62" y="0"/>
                    <a:pt x="62" y="0"/>
                    <a:pt x="62" y="0"/>
                  </a:cubicBezTo>
                  <a:cubicBezTo>
                    <a:pt x="66" y="0"/>
                    <a:pt x="70" y="4"/>
                    <a:pt x="70" y="8"/>
                  </a:cubicBezTo>
                  <a:lnTo>
                    <a:pt x="7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 name="Freeform 15"/>
            <p:cNvSpPr>
              <a:spLocks/>
            </p:cNvSpPr>
            <p:nvPr/>
          </p:nvSpPr>
          <p:spPr bwMode="auto">
            <a:xfrm>
              <a:off x="3061" y="1999"/>
              <a:ext cx="57" cy="56"/>
            </a:xfrm>
            <a:custGeom>
              <a:avLst/>
              <a:gdLst>
                <a:gd name="T0" fmla="*/ 70 w 70"/>
                <a:gd name="T1" fmla="*/ 62 h 69"/>
                <a:gd name="T2" fmla="*/ 62 w 70"/>
                <a:gd name="T3" fmla="*/ 69 h 69"/>
                <a:gd name="T4" fmla="*/ 7 w 70"/>
                <a:gd name="T5" fmla="*/ 69 h 69"/>
                <a:gd name="T6" fmla="*/ 0 w 70"/>
                <a:gd name="T7" fmla="*/ 62 h 69"/>
                <a:gd name="T8" fmla="*/ 0 w 70"/>
                <a:gd name="T9" fmla="*/ 7 h 69"/>
                <a:gd name="T10" fmla="*/ 7 w 70"/>
                <a:gd name="T11" fmla="*/ 0 h 69"/>
                <a:gd name="T12" fmla="*/ 62 w 70"/>
                <a:gd name="T13" fmla="*/ 0 h 69"/>
                <a:gd name="T14" fmla="*/ 70 w 70"/>
                <a:gd name="T15" fmla="*/ 7 h 69"/>
                <a:gd name="T16" fmla="*/ 70 w 70"/>
                <a:gd name="T17" fmla="*/ 6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69">
                  <a:moveTo>
                    <a:pt x="70" y="62"/>
                  </a:moveTo>
                  <a:cubicBezTo>
                    <a:pt x="70" y="66"/>
                    <a:pt x="66" y="69"/>
                    <a:pt x="62" y="69"/>
                  </a:cubicBezTo>
                  <a:cubicBezTo>
                    <a:pt x="7" y="69"/>
                    <a:pt x="7" y="69"/>
                    <a:pt x="7" y="69"/>
                  </a:cubicBezTo>
                  <a:cubicBezTo>
                    <a:pt x="3" y="69"/>
                    <a:pt x="0" y="66"/>
                    <a:pt x="0" y="62"/>
                  </a:cubicBezTo>
                  <a:cubicBezTo>
                    <a:pt x="0" y="7"/>
                    <a:pt x="0" y="7"/>
                    <a:pt x="0" y="7"/>
                  </a:cubicBezTo>
                  <a:cubicBezTo>
                    <a:pt x="0" y="3"/>
                    <a:pt x="3" y="0"/>
                    <a:pt x="7" y="0"/>
                  </a:cubicBezTo>
                  <a:cubicBezTo>
                    <a:pt x="62" y="0"/>
                    <a:pt x="62" y="0"/>
                    <a:pt x="62" y="0"/>
                  </a:cubicBezTo>
                  <a:cubicBezTo>
                    <a:pt x="66" y="0"/>
                    <a:pt x="70" y="3"/>
                    <a:pt x="70" y="7"/>
                  </a:cubicBezTo>
                  <a:lnTo>
                    <a:pt x="7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5" name="Freeform 16"/>
            <p:cNvSpPr>
              <a:spLocks/>
            </p:cNvSpPr>
            <p:nvPr/>
          </p:nvSpPr>
          <p:spPr bwMode="auto">
            <a:xfrm>
              <a:off x="3168" y="2279"/>
              <a:ext cx="215" cy="28"/>
            </a:xfrm>
            <a:custGeom>
              <a:avLst/>
              <a:gdLst>
                <a:gd name="T0" fmla="*/ 266 w 266"/>
                <a:gd name="T1" fmla="*/ 27 h 35"/>
                <a:gd name="T2" fmla="*/ 255 w 266"/>
                <a:gd name="T3" fmla="*/ 35 h 35"/>
                <a:gd name="T4" fmla="*/ 11 w 266"/>
                <a:gd name="T5" fmla="*/ 35 h 35"/>
                <a:gd name="T6" fmla="*/ 0 w 266"/>
                <a:gd name="T7" fmla="*/ 27 h 35"/>
                <a:gd name="T8" fmla="*/ 0 w 266"/>
                <a:gd name="T9" fmla="*/ 8 h 35"/>
                <a:gd name="T10" fmla="*/ 11 w 266"/>
                <a:gd name="T11" fmla="*/ 0 h 35"/>
                <a:gd name="T12" fmla="*/ 255 w 266"/>
                <a:gd name="T13" fmla="*/ 0 h 35"/>
                <a:gd name="T14" fmla="*/ 266 w 266"/>
                <a:gd name="T15" fmla="*/ 8 h 35"/>
                <a:gd name="T16" fmla="*/ 266 w 266"/>
                <a:gd name="T17"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6" h="35">
                  <a:moveTo>
                    <a:pt x="266" y="27"/>
                  </a:moveTo>
                  <a:cubicBezTo>
                    <a:pt x="266" y="31"/>
                    <a:pt x="261" y="35"/>
                    <a:pt x="255" y="35"/>
                  </a:cubicBezTo>
                  <a:cubicBezTo>
                    <a:pt x="11" y="35"/>
                    <a:pt x="11" y="35"/>
                    <a:pt x="11" y="35"/>
                  </a:cubicBezTo>
                  <a:cubicBezTo>
                    <a:pt x="5" y="35"/>
                    <a:pt x="0" y="31"/>
                    <a:pt x="0" y="27"/>
                  </a:cubicBezTo>
                  <a:cubicBezTo>
                    <a:pt x="0" y="8"/>
                    <a:pt x="0" y="8"/>
                    <a:pt x="0" y="8"/>
                  </a:cubicBezTo>
                  <a:cubicBezTo>
                    <a:pt x="0" y="4"/>
                    <a:pt x="5" y="0"/>
                    <a:pt x="11" y="0"/>
                  </a:cubicBezTo>
                  <a:cubicBezTo>
                    <a:pt x="255" y="0"/>
                    <a:pt x="255" y="0"/>
                    <a:pt x="255" y="0"/>
                  </a:cubicBezTo>
                  <a:cubicBezTo>
                    <a:pt x="261" y="0"/>
                    <a:pt x="266" y="4"/>
                    <a:pt x="266" y="8"/>
                  </a:cubicBezTo>
                  <a:lnTo>
                    <a:pt x="26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6" name="Freeform 17"/>
            <p:cNvSpPr>
              <a:spLocks/>
            </p:cNvSpPr>
            <p:nvPr/>
          </p:nvSpPr>
          <p:spPr bwMode="auto">
            <a:xfrm>
              <a:off x="2933" y="1755"/>
              <a:ext cx="568" cy="726"/>
            </a:xfrm>
            <a:custGeom>
              <a:avLst/>
              <a:gdLst>
                <a:gd name="T0" fmla="*/ 600 w 704"/>
                <a:gd name="T1" fmla="*/ 841 h 900"/>
                <a:gd name="T2" fmla="*/ 58 w 704"/>
                <a:gd name="T3" fmla="*/ 841 h 900"/>
                <a:gd name="T4" fmla="*/ 58 w 704"/>
                <a:gd name="T5" fmla="*/ 59 h 900"/>
                <a:gd name="T6" fmla="*/ 485 w 704"/>
                <a:gd name="T7" fmla="*/ 59 h 900"/>
                <a:gd name="T8" fmla="*/ 485 w 704"/>
                <a:gd name="T9" fmla="*/ 201 h 900"/>
                <a:gd name="T10" fmla="*/ 518 w 704"/>
                <a:gd name="T11" fmla="*/ 234 h 900"/>
                <a:gd name="T12" fmla="*/ 647 w 704"/>
                <a:gd name="T13" fmla="*/ 234 h 900"/>
                <a:gd name="T14" fmla="*/ 647 w 704"/>
                <a:gd name="T15" fmla="*/ 530 h 900"/>
                <a:gd name="T16" fmla="*/ 704 w 704"/>
                <a:gd name="T17" fmla="*/ 444 h 900"/>
                <a:gd name="T18" fmla="*/ 704 w 704"/>
                <a:gd name="T19" fmla="*/ 287 h 900"/>
                <a:gd name="T20" fmla="*/ 704 w 704"/>
                <a:gd name="T21" fmla="*/ 221 h 900"/>
                <a:gd name="T22" fmla="*/ 600 w 704"/>
                <a:gd name="T23" fmla="*/ 95 h 900"/>
                <a:gd name="T24" fmla="*/ 503 w 704"/>
                <a:gd name="T25" fmla="*/ 9 h 900"/>
                <a:gd name="T26" fmla="*/ 444 w 704"/>
                <a:gd name="T27" fmla="*/ 1 h 900"/>
                <a:gd name="T28" fmla="*/ 67 w 704"/>
                <a:gd name="T29" fmla="*/ 1 h 900"/>
                <a:gd name="T30" fmla="*/ 0 w 704"/>
                <a:gd name="T31" fmla="*/ 67 h 900"/>
                <a:gd name="T32" fmla="*/ 0 w 704"/>
                <a:gd name="T33" fmla="*/ 833 h 900"/>
                <a:gd name="T34" fmla="*/ 67 w 704"/>
                <a:gd name="T35" fmla="*/ 900 h 900"/>
                <a:gd name="T36" fmla="*/ 600 w 704"/>
                <a:gd name="T37" fmla="*/ 900 h 900"/>
                <a:gd name="T38" fmla="*/ 600 w 704"/>
                <a:gd name="T39" fmla="*/ 841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4" h="900">
                  <a:moveTo>
                    <a:pt x="600" y="841"/>
                  </a:moveTo>
                  <a:cubicBezTo>
                    <a:pt x="58" y="841"/>
                    <a:pt x="58" y="841"/>
                    <a:pt x="58" y="841"/>
                  </a:cubicBezTo>
                  <a:cubicBezTo>
                    <a:pt x="58" y="59"/>
                    <a:pt x="58" y="59"/>
                    <a:pt x="58" y="59"/>
                  </a:cubicBezTo>
                  <a:cubicBezTo>
                    <a:pt x="485" y="59"/>
                    <a:pt x="485" y="59"/>
                    <a:pt x="485" y="59"/>
                  </a:cubicBezTo>
                  <a:cubicBezTo>
                    <a:pt x="485" y="201"/>
                    <a:pt x="485" y="201"/>
                    <a:pt x="485" y="201"/>
                  </a:cubicBezTo>
                  <a:cubicBezTo>
                    <a:pt x="485" y="220"/>
                    <a:pt x="500" y="234"/>
                    <a:pt x="518" y="234"/>
                  </a:cubicBezTo>
                  <a:cubicBezTo>
                    <a:pt x="647" y="234"/>
                    <a:pt x="647" y="234"/>
                    <a:pt x="647" y="234"/>
                  </a:cubicBezTo>
                  <a:cubicBezTo>
                    <a:pt x="647" y="530"/>
                    <a:pt x="647" y="530"/>
                    <a:pt x="647" y="530"/>
                  </a:cubicBezTo>
                  <a:cubicBezTo>
                    <a:pt x="659" y="497"/>
                    <a:pt x="678" y="467"/>
                    <a:pt x="704" y="444"/>
                  </a:cubicBezTo>
                  <a:cubicBezTo>
                    <a:pt x="704" y="287"/>
                    <a:pt x="704" y="287"/>
                    <a:pt x="704" y="287"/>
                  </a:cubicBezTo>
                  <a:cubicBezTo>
                    <a:pt x="704" y="287"/>
                    <a:pt x="704" y="278"/>
                    <a:pt x="704" y="221"/>
                  </a:cubicBezTo>
                  <a:cubicBezTo>
                    <a:pt x="704" y="192"/>
                    <a:pt x="600" y="95"/>
                    <a:pt x="600" y="95"/>
                  </a:cubicBezTo>
                  <a:cubicBezTo>
                    <a:pt x="600" y="95"/>
                    <a:pt x="531" y="24"/>
                    <a:pt x="503" y="9"/>
                  </a:cubicBezTo>
                  <a:cubicBezTo>
                    <a:pt x="488" y="0"/>
                    <a:pt x="451" y="1"/>
                    <a:pt x="444" y="1"/>
                  </a:cubicBezTo>
                  <a:cubicBezTo>
                    <a:pt x="67" y="1"/>
                    <a:pt x="67" y="1"/>
                    <a:pt x="67" y="1"/>
                  </a:cubicBezTo>
                  <a:cubicBezTo>
                    <a:pt x="30" y="1"/>
                    <a:pt x="0" y="30"/>
                    <a:pt x="0" y="67"/>
                  </a:cubicBezTo>
                  <a:cubicBezTo>
                    <a:pt x="0" y="833"/>
                    <a:pt x="0" y="833"/>
                    <a:pt x="0" y="833"/>
                  </a:cubicBezTo>
                  <a:cubicBezTo>
                    <a:pt x="0" y="870"/>
                    <a:pt x="30" y="900"/>
                    <a:pt x="67" y="900"/>
                  </a:cubicBezTo>
                  <a:cubicBezTo>
                    <a:pt x="600" y="900"/>
                    <a:pt x="600" y="900"/>
                    <a:pt x="600" y="900"/>
                  </a:cubicBezTo>
                  <a:lnTo>
                    <a:pt x="600" y="8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7" name="Freeform 18"/>
            <p:cNvSpPr>
              <a:spLocks/>
            </p:cNvSpPr>
            <p:nvPr/>
          </p:nvSpPr>
          <p:spPr bwMode="auto">
            <a:xfrm>
              <a:off x="3488" y="2108"/>
              <a:ext cx="251" cy="178"/>
            </a:xfrm>
            <a:custGeom>
              <a:avLst/>
              <a:gdLst>
                <a:gd name="T0" fmla="*/ 311 w 311"/>
                <a:gd name="T1" fmla="*/ 220 h 220"/>
                <a:gd name="T2" fmla="*/ 253 w 311"/>
                <a:gd name="T3" fmla="*/ 220 h 220"/>
                <a:gd name="T4" fmla="*/ 253 w 311"/>
                <a:gd name="T5" fmla="*/ 155 h 220"/>
                <a:gd name="T6" fmla="*/ 156 w 311"/>
                <a:gd name="T7" fmla="*/ 58 h 220"/>
                <a:gd name="T8" fmla="*/ 58 w 311"/>
                <a:gd name="T9" fmla="*/ 155 h 220"/>
                <a:gd name="T10" fmla="*/ 58 w 311"/>
                <a:gd name="T11" fmla="*/ 220 h 220"/>
                <a:gd name="T12" fmla="*/ 0 w 311"/>
                <a:gd name="T13" fmla="*/ 220 h 220"/>
                <a:gd name="T14" fmla="*/ 0 w 311"/>
                <a:gd name="T15" fmla="*/ 155 h 220"/>
                <a:gd name="T16" fmla="*/ 156 w 311"/>
                <a:gd name="T17" fmla="*/ 0 h 220"/>
                <a:gd name="T18" fmla="*/ 311 w 311"/>
                <a:gd name="T19" fmla="*/ 155 h 220"/>
                <a:gd name="T20" fmla="*/ 311 w 311"/>
                <a:gd name="T21"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20">
                  <a:moveTo>
                    <a:pt x="311" y="220"/>
                  </a:moveTo>
                  <a:cubicBezTo>
                    <a:pt x="253" y="220"/>
                    <a:pt x="253" y="220"/>
                    <a:pt x="253" y="220"/>
                  </a:cubicBezTo>
                  <a:cubicBezTo>
                    <a:pt x="253" y="155"/>
                    <a:pt x="253" y="155"/>
                    <a:pt x="253" y="155"/>
                  </a:cubicBezTo>
                  <a:cubicBezTo>
                    <a:pt x="253" y="101"/>
                    <a:pt x="211" y="58"/>
                    <a:pt x="156" y="58"/>
                  </a:cubicBezTo>
                  <a:cubicBezTo>
                    <a:pt x="101" y="58"/>
                    <a:pt x="58" y="101"/>
                    <a:pt x="58" y="155"/>
                  </a:cubicBezTo>
                  <a:cubicBezTo>
                    <a:pt x="58" y="220"/>
                    <a:pt x="58" y="220"/>
                    <a:pt x="58" y="220"/>
                  </a:cubicBezTo>
                  <a:cubicBezTo>
                    <a:pt x="0" y="220"/>
                    <a:pt x="0" y="220"/>
                    <a:pt x="0" y="220"/>
                  </a:cubicBezTo>
                  <a:cubicBezTo>
                    <a:pt x="0" y="155"/>
                    <a:pt x="0" y="155"/>
                    <a:pt x="0" y="155"/>
                  </a:cubicBezTo>
                  <a:cubicBezTo>
                    <a:pt x="0" y="68"/>
                    <a:pt x="69" y="0"/>
                    <a:pt x="156" y="0"/>
                  </a:cubicBezTo>
                  <a:cubicBezTo>
                    <a:pt x="243" y="0"/>
                    <a:pt x="311" y="68"/>
                    <a:pt x="311" y="155"/>
                  </a:cubicBezTo>
                  <a:lnTo>
                    <a:pt x="311"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8" name="Freeform 19"/>
            <p:cNvSpPr>
              <a:spLocks noEditPoints="1"/>
            </p:cNvSpPr>
            <p:nvPr/>
          </p:nvSpPr>
          <p:spPr bwMode="auto">
            <a:xfrm>
              <a:off x="3465" y="2304"/>
              <a:ext cx="296" cy="241"/>
            </a:xfrm>
            <a:custGeom>
              <a:avLst/>
              <a:gdLst>
                <a:gd name="T0" fmla="*/ 318 w 367"/>
                <a:gd name="T1" fmla="*/ 0 h 299"/>
                <a:gd name="T2" fmla="*/ 49 w 367"/>
                <a:gd name="T3" fmla="*/ 0 h 299"/>
                <a:gd name="T4" fmla="*/ 0 w 367"/>
                <a:gd name="T5" fmla="*/ 50 h 299"/>
                <a:gd name="T6" fmla="*/ 0 w 367"/>
                <a:gd name="T7" fmla="*/ 249 h 299"/>
                <a:gd name="T8" fmla="*/ 49 w 367"/>
                <a:gd name="T9" fmla="*/ 299 h 299"/>
                <a:gd name="T10" fmla="*/ 318 w 367"/>
                <a:gd name="T11" fmla="*/ 299 h 299"/>
                <a:gd name="T12" fmla="*/ 367 w 367"/>
                <a:gd name="T13" fmla="*/ 249 h 299"/>
                <a:gd name="T14" fmla="*/ 367 w 367"/>
                <a:gd name="T15" fmla="*/ 50 h 299"/>
                <a:gd name="T16" fmla="*/ 318 w 367"/>
                <a:gd name="T17" fmla="*/ 0 h 299"/>
                <a:gd name="T18" fmla="*/ 203 w 367"/>
                <a:gd name="T19" fmla="*/ 133 h 299"/>
                <a:gd name="T20" fmla="*/ 233 w 367"/>
                <a:gd name="T21" fmla="*/ 229 h 299"/>
                <a:gd name="T22" fmla="*/ 140 w 367"/>
                <a:gd name="T23" fmla="*/ 229 h 299"/>
                <a:gd name="T24" fmla="*/ 170 w 367"/>
                <a:gd name="T25" fmla="*/ 133 h 299"/>
                <a:gd name="T26" fmla="*/ 154 w 367"/>
                <a:gd name="T27" fmla="*/ 106 h 299"/>
                <a:gd name="T28" fmla="*/ 186 w 367"/>
                <a:gd name="T29" fmla="*/ 73 h 299"/>
                <a:gd name="T30" fmla="*/ 219 w 367"/>
                <a:gd name="T31" fmla="*/ 106 h 299"/>
                <a:gd name="T32" fmla="*/ 203 w 367"/>
                <a:gd name="T33" fmla="*/ 13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7" h="299">
                  <a:moveTo>
                    <a:pt x="318" y="0"/>
                  </a:moveTo>
                  <a:cubicBezTo>
                    <a:pt x="49" y="0"/>
                    <a:pt x="49" y="0"/>
                    <a:pt x="49" y="0"/>
                  </a:cubicBezTo>
                  <a:cubicBezTo>
                    <a:pt x="18" y="0"/>
                    <a:pt x="0" y="18"/>
                    <a:pt x="0" y="50"/>
                  </a:cubicBezTo>
                  <a:cubicBezTo>
                    <a:pt x="0" y="249"/>
                    <a:pt x="0" y="249"/>
                    <a:pt x="0" y="249"/>
                  </a:cubicBezTo>
                  <a:cubicBezTo>
                    <a:pt x="0" y="281"/>
                    <a:pt x="18" y="299"/>
                    <a:pt x="49" y="299"/>
                  </a:cubicBezTo>
                  <a:cubicBezTo>
                    <a:pt x="318" y="299"/>
                    <a:pt x="318" y="299"/>
                    <a:pt x="318" y="299"/>
                  </a:cubicBezTo>
                  <a:cubicBezTo>
                    <a:pt x="350" y="299"/>
                    <a:pt x="367" y="281"/>
                    <a:pt x="367" y="249"/>
                  </a:cubicBezTo>
                  <a:cubicBezTo>
                    <a:pt x="367" y="50"/>
                    <a:pt x="367" y="50"/>
                    <a:pt x="367" y="50"/>
                  </a:cubicBezTo>
                  <a:cubicBezTo>
                    <a:pt x="367" y="18"/>
                    <a:pt x="350" y="0"/>
                    <a:pt x="318" y="0"/>
                  </a:cubicBezTo>
                  <a:close/>
                  <a:moveTo>
                    <a:pt x="203" y="133"/>
                  </a:moveTo>
                  <a:cubicBezTo>
                    <a:pt x="233" y="229"/>
                    <a:pt x="233" y="229"/>
                    <a:pt x="233" y="229"/>
                  </a:cubicBezTo>
                  <a:cubicBezTo>
                    <a:pt x="140" y="229"/>
                    <a:pt x="140" y="229"/>
                    <a:pt x="140" y="229"/>
                  </a:cubicBezTo>
                  <a:cubicBezTo>
                    <a:pt x="170" y="133"/>
                    <a:pt x="170" y="133"/>
                    <a:pt x="170" y="133"/>
                  </a:cubicBezTo>
                  <a:cubicBezTo>
                    <a:pt x="160" y="128"/>
                    <a:pt x="154" y="118"/>
                    <a:pt x="154" y="106"/>
                  </a:cubicBezTo>
                  <a:cubicBezTo>
                    <a:pt x="154" y="88"/>
                    <a:pt x="168" y="73"/>
                    <a:pt x="186" y="73"/>
                  </a:cubicBezTo>
                  <a:cubicBezTo>
                    <a:pt x="204" y="73"/>
                    <a:pt x="219" y="88"/>
                    <a:pt x="219" y="106"/>
                  </a:cubicBezTo>
                  <a:cubicBezTo>
                    <a:pt x="219" y="118"/>
                    <a:pt x="212" y="128"/>
                    <a:pt x="203"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 name="Oval 20"/>
            <p:cNvSpPr>
              <a:spLocks noChangeArrowheads="1"/>
            </p:cNvSpPr>
            <p:nvPr/>
          </p:nvSpPr>
          <p:spPr bwMode="auto">
            <a:xfrm>
              <a:off x="3650" y="1705"/>
              <a:ext cx="81" cy="8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 name="Oval 21"/>
            <p:cNvSpPr>
              <a:spLocks noChangeArrowheads="1"/>
            </p:cNvSpPr>
            <p:nvPr/>
          </p:nvSpPr>
          <p:spPr bwMode="auto">
            <a:xfrm>
              <a:off x="3650" y="1540"/>
              <a:ext cx="81" cy="8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8" name="Oval 22"/>
            <p:cNvSpPr>
              <a:spLocks noChangeArrowheads="1"/>
            </p:cNvSpPr>
            <p:nvPr/>
          </p:nvSpPr>
          <p:spPr bwMode="auto">
            <a:xfrm>
              <a:off x="3489" y="1621"/>
              <a:ext cx="82" cy="8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9" name="Freeform 23"/>
            <p:cNvSpPr>
              <a:spLocks/>
            </p:cNvSpPr>
            <p:nvPr/>
          </p:nvSpPr>
          <p:spPr bwMode="auto">
            <a:xfrm>
              <a:off x="3511" y="1572"/>
              <a:ext cx="184" cy="181"/>
            </a:xfrm>
            <a:custGeom>
              <a:avLst/>
              <a:gdLst>
                <a:gd name="T0" fmla="*/ 176 w 184"/>
                <a:gd name="T1" fmla="*/ 0 h 181"/>
                <a:gd name="T2" fmla="*/ 183 w 184"/>
                <a:gd name="T3" fmla="*/ 17 h 181"/>
                <a:gd name="T4" fmla="*/ 38 w 184"/>
                <a:gd name="T5" fmla="*/ 90 h 181"/>
                <a:gd name="T6" fmla="*/ 184 w 184"/>
                <a:gd name="T7" fmla="*/ 166 h 181"/>
                <a:gd name="T8" fmla="*/ 175 w 184"/>
                <a:gd name="T9" fmla="*/ 181 h 181"/>
                <a:gd name="T10" fmla="*/ 0 w 184"/>
                <a:gd name="T11" fmla="*/ 89 h 181"/>
                <a:gd name="T12" fmla="*/ 176 w 184"/>
                <a:gd name="T13" fmla="*/ 0 h 181"/>
              </a:gdLst>
              <a:ahLst/>
              <a:cxnLst>
                <a:cxn ang="0">
                  <a:pos x="T0" y="T1"/>
                </a:cxn>
                <a:cxn ang="0">
                  <a:pos x="T2" y="T3"/>
                </a:cxn>
                <a:cxn ang="0">
                  <a:pos x="T4" y="T5"/>
                </a:cxn>
                <a:cxn ang="0">
                  <a:pos x="T6" y="T7"/>
                </a:cxn>
                <a:cxn ang="0">
                  <a:pos x="T8" y="T9"/>
                </a:cxn>
                <a:cxn ang="0">
                  <a:pos x="T10" y="T11"/>
                </a:cxn>
                <a:cxn ang="0">
                  <a:pos x="T12" y="T13"/>
                </a:cxn>
              </a:cxnLst>
              <a:rect l="0" t="0" r="r" b="b"/>
              <a:pathLst>
                <a:path w="184" h="181">
                  <a:moveTo>
                    <a:pt x="176" y="0"/>
                  </a:moveTo>
                  <a:lnTo>
                    <a:pt x="183" y="17"/>
                  </a:lnTo>
                  <a:lnTo>
                    <a:pt x="38" y="90"/>
                  </a:lnTo>
                  <a:lnTo>
                    <a:pt x="184" y="166"/>
                  </a:lnTo>
                  <a:lnTo>
                    <a:pt x="175" y="181"/>
                  </a:lnTo>
                  <a:lnTo>
                    <a:pt x="0" y="89"/>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0" name="Freeform 24"/>
            <p:cNvSpPr>
              <a:spLocks/>
            </p:cNvSpPr>
            <p:nvPr/>
          </p:nvSpPr>
          <p:spPr bwMode="auto">
            <a:xfrm>
              <a:off x="3588" y="1815"/>
              <a:ext cx="47" cy="256"/>
            </a:xfrm>
            <a:custGeom>
              <a:avLst/>
              <a:gdLst>
                <a:gd name="T0" fmla="*/ 0 w 58"/>
                <a:gd name="T1" fmla="*/ 0 h 318"/>
                <a:gd name="T2" fmla="*/ 0 w 58"/>
                <a:gd name="T3" fmla="*/ 318 h 318"/>
                <a:gd name="T4" fmla="*/ 34 w 58"/>
                <a:gd name="T5" fmla="*/ 315 h 318"/>
                <a:gd name="T6" fmla="*/ 58 w 58"/>
                <a:gd name="T7" fmla="*/ 317 h 318"/>
                <a:gd name="T8" fmla="*/ 58 w 58"/>
                <a:gd name="T9" fmla="*/ 47 h 318"/>
                <a:gd name="T10" fmla="*/ 58 w 58"/>
                <a:gd name="T11" fmla="*/ 0 h 318"/>
                <a:gd name="T12" fmla="*/ 0 w 58"/>
                <a:gd name="T13" fmla="*/ 0 h 318"/>
              </a:gdLst>
              <a:ahLst/>
              <a:cxnLst>
                <a:cxn ang="0">
                  <a:pos x="T0" y="T1"/>
                </a:cxn>
                <a:cxn ang="0">
                  <a:pos x="T2" y="T3"/>
                </a:cxn>
                <a:cxn ang="0">
                  <a:pos x="T4" y="T5"/>
                </a:cxn>
                <a:cxn ang="0">
                  <a:pos x="T6" y="T7"/>
                </a:cxn>
                <a:cxn ang="0">
                  <a:pos x="T8" y="T9"/>
                </a:cxn>
                <a:cxn ang="0">
                  <a:pos x="T10" y="T11"/>
                </a:cxn>
                <a:cxn ang="0">
                  <a:pos x="T12" y="T13"/>
                </a:cxn>
              </a:cxnLst>
              <a:rect l="0" t="0" r="r" b="b"/>
              <a:pathLst>
                <a:path w="58" h="318">
                  <a:moveTo>
                    <a:pt x="0" y="0"/>
                  </a:moveTo>
                  <a:cubicBezTo>
                    <a:pt x="0" y="318"/>
                    <a:pt x="0" y="318"/>
                    <a:pt x="0" y="318"/>
                  </a:cubicBezTo>
                  <a:cubicBezTo>
                    <a:pt x="11" y="316"/>
                    <a:pt x="22" y="315"/>
                    <a:pt x="34" y="315"/>
                  </a:cubicBezTo>
                  <a:cubicBezTo>
                    <a:pt x="42" y="315"/>
                    <a:pt x="50" y="316"/>
                    <a:pt x="58" y="317"/>
                  </a:cubicBezTo>
                  <a:cubicBezTo>
                    <a:pt x="58" y="47"/>
                    <a:pt x="58" y="47"/>
                    <a:pt x="58" y="47"/>
                  </a:cubicBezTo>
                  <a:cubicBezTo>
                    <a:pt x="58" y="47"/>
                    <a:pt x="58" y="40"/>
                    <a:pt x="58"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1" name="Freeform 25"/>
            <p:cNvSpPr>
              <a:spLocks/>
            </p:cNvSpPr>
            <p:nvPr/>
          </p:nvSpPr>
          <p:spPr bwMode="auto">
            <a:xfrm>
              <a:off x="3067" y="1622"/>
              <a:ext cx="379" cy="100"/>
            </a:xfrm>
            <a:custGeom>
              <a:avLst/>
              <a:gdLst>
                <a:gd name="T0" fmla="*/ 469 w 469"/>
                <a:gd name="T1" fmla="*/ 1 h 124"/>
                <a:gd name="T2" fmla="*/ 443 w 469"/>
                <a:gd name="T3" fmla="*/ 0 h 124"/>
                <a:gd name="T4" fmla="*/ 67 w 469"/>
                <a:gd name="T5" fmla="*/ 0 h 124"/>
                <a:gd name="T6" fmla="*/ 0 w 469"/>
                <a:gd name="T7" fmla="*/ 66 h 124"/>
                <a:gd name="T8" fmla="*/ 0 w 469"/>
                <a:gd name="T9" fmla="*/ 124 h 124"/>
                <a:gd name="T10" fmla="*/ 57 w 469"/>
                <a:gd name="T11" fmla="*/ 124 h 124"/>
                <a:gd name="T12" fmla="*/ 57 w 469"/>
                <a:gd name="T13" fmla="*/ 58 h 124"/>
                <a:gd name="T14" fmla="*/ 469 w 469"/>
                <a:gd name="T15" fmla="*/ 58 h 124"/>
                <a:gd name="T16" fmla="*/ 469 w 469"/>
                <a:gd name="T17" fmla="*/ 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24">
                  <a:moveTo>
                    <a:pt x="469" y="1"/>
                  </a:moveTo>
                  <a:cubicBezTo>
                    <a:pt x="457" y="0"/>
                    <a:pt x="447" y="0"/>
                    <a:pt x="443" y="0"/>
                  </a:cubicBezTo>
                  <a:cubicBezTo>
                    <a:pt x="67" y="0"/>
                    <a:pt x="67" y="0"/>
                    <a:pt x="67" y="0"/>
                  </a:cubicBezTo>
                  <a:cubicBezTo>
                    <a:pt x="30" y="0"/>
                    <a:pt x="0" y="29"/>
                    <a:pt x="0" y="66"/>
                  </a:cubicBezTo>
                  <a:cubicBezTo>
                    <a:pt x="0" y="124"/>
                    <a:pt x="0" y="124"/>
                    <a:pt x="0" y="124"/>
                  </a:cubicBezTo>
                  <a:cubicBezTo>
                    <a:pt x="57" y="124"/>
                    <a:pt x="57" y="124"/>
                    <a:pt x="57" y="124"/>
                  </a:cubicBezTo>
                  <a:cubicBezTo>
                    <a:pt x="57" y="58"/>
                    <a:pt x="57" y="58"/>
                    <a:pt x="57" y="58"/>
                  </a:cubicBezTo>
                  <a:cubicBezTo>
                    <a:pt x="469" y="58"/>
                    <a:pt x="469" y="58"/>
                    <a:pt x="469" y="58"/>
                  </a:cubicBezTo>
                  <a:lnTo>
                    <a:pt x="46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2" name="Group 91"/>
          <p:cNvGrpSpPr/>
          <p:nvPr/>
        </p:nvGrpSpPr>
        <p:grpSpPr>
          <a:xfrm>
            <a:off x="10586202" y="2525950"/>
            <a:ext cx="607730" cy="608355"/>
            <a:chOff x="4008438" y="2549526"/>
            <a:chExt cx="862013" cy="947738"/>
          </a:xfrm>
          <a:solidFill>
            <a:schemeClr val="bg1"/>
          </a:solidFill>
        </p:grpSpPr>
        <p:sp>
          <p:nvSpPr>
            <p:cNvPr id="93" name="Freeform 92"/>
            <p:cNvSpPr>
              <a:spLocks/>
            </p:cNvSpPr>
            <p:nvPr/>
          </p:nvSpPr>
          <p:spPr bwMode="auto">
            <a:xfrm>
              <a:off x="4151313" y="2828926"/>
              <a:ext cx="85725" cy="88900"/>
            </a:xfrm>
            <a:custGeom>
              <a:avLst/>
              <a:gdLst>
                <a:gd name="T0" fmla="*/ 27 w 27"/>
                <a:gd name="T1" fmla="*/ 25 h 28"/>
                <a:gd name="T2" fmla="*/ 25 w 27"/>
                <a:gd name="T3" fmla="*/ 28 h 28"/>
                <a:gd name="T4" fmla="*/ 3 w 27"/>
                <a:gd name="T5" fmla="*/ 28 h 28"/>
                <a:gd name="T6" fmla="*/ 0 w 27"/>
                <a:gd name="T7" fmla="*/ 25 h 28"/>
                <a:gd name="T8" fmla="*/ 0 w 27"/>
                <a:gd name="T9" fmla="*/ 3 h 28"/>
                <a:gd name="T10" fmla="*/ 3 w 27"/>
                <a:gd name="T11" fmla="*/ 0 h 28"/>
                <a:gd name="T12" fmla="*/ 25 w 27"/>
                <a:gd name="T13" fmla="*/ 0 h 28"/>
                <a:gd name="T14" fmla="*/ 27 w 27"/>
                <a:gd name="T15" fmla="*/ 3 h 28"/>
                <a:gd name="T16" fmla="*/ 27 w 27"/>
                <a:gd name="T17"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8">
                  <a:moveTo>
                    <a:pt x="27" y="25"/>
                  </a:moveTo>
                  <a:cubicBezTo>
                    <a:pt x="27" y="26"/>
                    <a:pt x="26" y="28"/>
                    <a:pt x="25" y="28"/>
                  </a:cubicBezTo>
                  <a:cubicBezTo>
                    <a:pt x="3" y="28"/>
                    <a:pt x="3" y="28"/>
                    <a:pt x="3" y="28"/>
                  </a:cubicBezTo>
                  <a:cubicBezTo>
                    <a:pt x="1" y="28"/>
                    <a:pt x="0" y="26"/>
                    <a:pt x="0" y="25"/>
                  </a:cubicBezTo>
                  <a:cubicBezTo>
                    <a:pt x="0" y="3"/>
                    <a:pt x="0" y="3"/>
                    <a:pt x="0" y="3"/>
                  </a:cubicBezTo>
                  <a:cubicBezTo>
                    <a:pt x="0" y="1"/>
                    <a:pt x="1" y="0"/>
                    <a:pt x="3" y="0"/>
                  </a:cubicBezTo>
                  <a:cubicBezTo>
                    <a:pt x="25" y="0"/>
                    <a:pt x="25" y="0"/>
                    <a:pt x="25" y="0"/>
                  </a:cubicBezTo>
                  <a:cubicBezTo>
                    <a:pt x="26" y="0"/>
                    <a:pt x="27" y="1"/>
                    <a:pt x="27" y="3"/>
                  </a:cubicBezTo>
                  <a:lnTo>
                    <a:pt x="27"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a:lstStyle>
            <a:p>
              <a:pPr marL="0" marR="0" lvl="0" indent="0" algn="l" defTabSz="932411" rtl="0" eaLnBrk="1" fontAlgn="auto" latinLnBrk="0" hangingPunct="1">
                <a:lnSpc>
                  <a:spcPct val="100000"/>
                </a:lnSpc>
                <a:spcBef>
                  <a:spcPts val="0"/>
                </a:spcBef>
                <a:spcAft>
                  <a:spcPts val="0"/>
                </a:spcAft>
                <a:buClrTx/>
                <a:buSzTx/>
                <a:buFontTx/>
                <a:buNone/>
                <a:tabLst/>
                <a:defRPr/>
              </a:pPr>
              <a:endParaRPr kumimoji="0" lang="en-US" sz="1938" b="0" i="0" u="none" strike="noStrike" kern="1200" cap="none" spc="0" normalizeH="0" baseline="0" noProof="0">
                <a:ln>
                  <a:noFill/>
                </a:ln>
                <a:solidFill>
                  <a:srgbClr val="595959"/>
                </a:solidFill>
                <a:effectLst/>
                <a:uLnTx/>
                <a:uFillTx/>
                <a:latin typeface="Segoe UI"/>
                <a:ea typeface="+mn-ea"/>
                <a:cs typeface="+mn-cs"/>
              </a:endParaRPr>
            </a:p>
          </p:txBody>
        </p:sp>
        <p:sp>
          <p:nvSpPr>
            <p:cNvPr id="94" name="Freeform 93"/>
            <p:cNvSpPr>
              <a:spLocks/>
            </p:cNvSpPr>
            <p:nvPr/>
          </p:nvSpPr>
          <p:spPr bwMode="auto">
            <a:xfrm>
              <a:off x="4287838" y="2854326"/>
              <a:ext cx="254000" cy="34925"/>
            </a:xfrm>
            <a:custGeom>
              <a:avLst/>
              <a:gdLst>
                <a:gd name="T0" fmla="*/ 80 w 80"/>
                <a:gd name="T1" fmla="*/ 9 h 11"/>
                <a:gd name="T2" fmla="*/ 77 w 80"/>
                <a:gd name="T3" fmla="*/ 11 h 11"/>
                <a:gd name="T4" fmla="*/ 3 w 80"/>
                <a:gd name="T5" fmla="*/ 11 h 11"/>
                <a:gd name="T6" fmla="*/ 0 w 80"/>
                <a:gd name="T7" fmla="*/ 9 h 11"/>
                <a:gd name="T8" fmla="*/ 0 w 80"/>
                <a:gd name="T9" fmla="*/ 3 h 11"/>
                <a:gd name="T10" fmla="*/ 3 w 80"/>
                <a:gd name="T11" fmla="*/ 0 h 11"/>
                <a:gd name="T12" fmla="*/ 77 w 80"/>
                <a:gd name="T13" fmla="*/ 0 h 11"/>
                <a:gd name="T14" fmla="*/ 80 w 80"/>
                <a:gd name="T15" fmla="*/ 3 h 11"/>
                <a:gd name="T16" fmla="*/ 80 w 80"/>
                <a:gd name="T17"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1">
                  <a:moveTo>
                    <a:pt x="80" y="9"/>
                  </a:moveTo>
                  <a:cubicBezTo>
                    <a:pt x="80" y="10"/>
                    <a:pt x="79" y="11"/>
                    <a:pt x="77" y="11"/>
                  </a:cubicBezTo>
                  <a:cubicBezTo>
                    <a:pt x="3" y="11"/>
                    <a:pt x="3" y="11"/>
                    <a:pt x="3" y="11"/>
                  </a:cubicBezTo>
                  <a:cubicBezTo>
                    <a:pt x="1" y="11"/>
                    <a:pt x="0" y="10"/>
                    <a:pt x="0" y="9"/>
                  </a:cubicBezTo>
                  <a:cubicBezTo>
                    <a:pt x="0" y="3"/>
                    <a:pt x="0" y="3"/>
                    <a:pt x="0" y="3"/>
                  </a:cubicBezTo>
                  <a:cubicBezTo>
                    <a:pt x="0" y="2"/>
                    <a:pt x="1" y="0"/>
                    <a:pt x="3" y="0"/>
                  </a:cubicBezTo>
                  <a:cubicBezTo>
                    <a:pt x="77" y="0"/>
                    <a:pt x="77" y="0"/>
                    <a:pt x="77" y="0"/>
                  </a:cubicBezTo>
                  <a:cubicBezTo>
                    <a:pt x="79" y="0"/>
                    <a:pt x="80" y="2"/>
                    <a:pt x="80" y="3"/>
                  </a:cubicBezTo>
                  <a:lnTo>
                    <a:pt x="8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a:lstStyle>
            <a:p>
              <a:pPr marL="0" marR="0" lvl="0" indent="0" algn="l" defTabSz="932411" rtl="0" eaLnBrk="1" fontAlgn="auto" latinLnBrk="0" hangingPunct="1">
                <a:lnSpc>
                  <a:spcPct val="100000"/>
                </a:lnSpc>
                <a:spcBef>
                  <a:spcPts val="0"/>
                </a:spcBef>
                <a:spcAft>
                  <a:spcPts val="0"/>
                </a:spcAft>
                <a:buClrTx/>
                <a:buSzTx/>
                <a:buFontTx/>
                <a:buNone/>
                <a:tabLst/>
                <a:defRPr/>
              </a:pPr>
              <a:endParaRPr kumimoji="0" lang="en-US" sz="1938" b="0" i="0" u="none" strike="noStrike" kern="1200" cap="none" spc="0" normalizeH="0" baseline="0" noProof="0">
                <a:ln>
                  <a:noFill/>
                </a:ln>
                <a:solidFill>
                  <a:srgbClr val="595959"/>
                </a:solidFill>
                <a:effectLst/>
                <a:uLnTx/>
                <a:uFillTx/>
                <a:latin typeface="Segoe UI"/>
                <a:ea typeface="+mn-ea"/>
                <a:cs typeface="+mn-cs"/>
              </a:endParaRPr>
            </a:p>
          </p:txBody>
        </p:sp>
        <p:sp>
          <p:nvSpPr>
            <p:cNvPr id="95" name="Freeform 94"/>
            <p:cNvSpPr>
              <a:spLocks/>
            </p:cNvSpPr>
            <p:nvPr/>
          </p:nvSpPr>
          <p:spPr bwMode="auto">
            <a:xfrm>
              <a:off x="4151313" y="2984501"/>
              <a:ext cx="85725" cy="88900"/>
            </a:xfrm>
            <a:custGeom>
              <a:avLst/>
              <a:gdLst>
                <a:gd name="T0" fmla="*/ 27 w 27"/>
                <a:gd name="T1" fmla="*/ 25 h 28"/>
                <a:gd name="T2" fmla="*/ 25 w 27"/>
                <a:gd name="T3" fmla="*/ 28 h 28"/>
                <a:gd name="T4" fmla="*/ 3 w 27"/>
                <a:gd name="T5" fmla="*/ 28 h 28"/>
                <a:gd name="T6" fmla="*/ 0 w 27"/>
                <a:gd name="T7" fmla="*/ 25 h 28"/>
                <a:gd name="T8" fmla="*/ 0 w 27"/>
                <a:gd name="T9" fmla="*/ 3 h 28"/>
                <a:gd name="T10" fmla="*/ 3 w 27"/>
                <a:gd name="T11" fmla="*/ 0 h 28"/>
                <a:gd name="T12" fmla="*/ 25 w 27"/>
                <a:gd name="T13" fmla="*/ 0 h 28"/>
                <a:gd name="T14" fmla="*/ 27 w 27"/>
                <a:gd name="T15" fmla="*/ 3 h 28"/>
                <a:gd name="T16" fmla="*/ 27 w 27"/>
                <a:gd name="T17"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8">
                  <a:moveTo>
                    <a:pt x="27" y="25"/>
                  </a:moveTo>
                  <a:cubicBezTo>
                    <a:pt x="27" y="27"/>
                    <a:pt x="26" y="28"/>
                    <a:pt x="25" y="28"/>
                  </a:cubicBezTo>
                  <a:cubicBezTo>
                    <a:pt x="3" y="28"/>
                    <a:pt x="3" y="28"/>
                    <a:pt x="3" y="28"/>
                  </a:cubicBezTo>
                  <a:cubicBezTo>
                    <a:pt x="1" y="28"/>
                    <a:pt x="0" y="27"/>
                    <a:pt x="0" y="25"/>
                  </a:cubicBezTo>
                  <a:cubicBezTo>
                    <a:pt x="0" y="3"/>
                    <a:pt x="0" y="3"/>
                    <a:pt x="0" y="3"/>
                  </a:cubicBezTo>
                  <a:cubicBezTo>
                    <a:pt x="0" y="2"/>
                    <a:pt x="1" y="0"/>
                    <a:pt x="3" y="0"/>
                  </a:cubicBezTo>
                  <a:cubicBezTo>
                    <a:pt x="25" y="0"/>
                    <a:pt x="25" y="0"/>
                    <a:pt x="25" y="0"/>
                  </a:cubicBezTo>
                  <a:cubicBezTo>
                    <a:pt x="26" y="0"/>
                    <a:pt x="27" y="2"/>
                    <a:pt x="27" y="3"/>
                  </a:cubicBezTo>
                  <a:lnTo>
                    <a:pt x="27"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a:lstStyle>
            <a:p>
              <a:pPr marL="0" marR="0" lvl="0" indent="0" algn="l" defTabSz="932411" rtl="0" eaLnBrk="1" fontAlgn="auto" latinLnBrk="0" hangingPunct="1">
                <a:lnSpc>
                  <a:spcPct val="100000"/>
                </a:lnSpc>
                <a:spcBef>
                  <a:spcPts val="0"/>
                </a:spcBef>
                <a:spcAft>
                  <a:spcPts val="0"/>
                </a:spcAft>
                <a:buClrTx/>
                <a:buSzTx/>
                <a:buFontTx/>
                <a:buNone/>
                <a:tabLst/>
                <a:defRPr/>
              </a:pPr>
              <a:endParaRPr kumimoji="0" lang="en-US" sz="1938" b="0" i="0" u="none" strike="noStrike" kern="1200" cap="none" spc="0" normalizeH="0" baseline="0" noProof="0">
                <a:ln>
                  <a:noFill/>
                </a:ln>
                <a:solidFill>
                  <a:srgbClr val="595959"/>
                </a:solidFill>
                <a:effectLst/>
                <a:uLnTx/>
                <a:uFillTx/>
                <a:latin typeface="Segoe UI"/>
                <a:ea typeface="+mn-ea"/>
                <a:cs typeface="+mn-cs"/>
              </a:endParaRPr>
            </a:p>
          </p:txBody>
        </p:sp>
        <p:sp>
          <p:nvSpPr>
            <p:cNvPr id="96" name="Freeform 95"/>
            <p:cNvSpPr>
              <a:spLocks/>
            </p:cNvSpPr>
            <p:nvPr/>
          </p:nvSpPr>
          <p:spPr bwMode="auto">
            <a:xfrm>
              <a:off x="4287838" y="3013076"/>
              <a:ext cx="254000" cy="34925"/>
            </a:xfrm>
            <a:custGeom>
              <a:avLst/>
              <a:gdLst>
                <a:gd name="T0" fmla="*/ 80 w 80"/>
                <a:gd name="T1" fmla="*/ 8 h 11"/>
                <a:gd name="T2" fmla="*/ 77 w 80"/>
                <a:gd name="T3" fmla="*/ 11 h 11"/>
                <a:gd name="T4" fmla="*/ 3 w 80"/>
                <a:gd name="T5" fmla="*/ 11 h 11"/>
                <a:gd name="T6" fmla="*/ 0 w 80"/>
                <a:gd name="T7" fmla="*/ 8 h 11"/>
                <a:gd name="T8" fmla="*/ 0 w 80"/>
                <a:gd name="T9" fmla="*/ 3 h 11"/>
                <a:gd name="T10" fmla="*/ 3 w 80"/>
                <a:gd name="T11" fmla="*/ 0 h 11"/>
                <a:gd name="T12" fmla="*/ 77 w 80"/>
                <a:gd name="T13" fmla="*/ 0 h 11"/>
                <a:gd name="T14" fmla="*/ 80 w 80"/>
                <a:gd name="T15" fmla="*/ 3 h 11"/>
                <a:gd name="T16" fmla="*/ 80 w 80"/>
                <a:gd name="T17"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1">
                  <a:moveTo>
                    <a:pt x="80" y="8"/>
                  </a:moveTo>
                  <a:cubicBezTo>
                    <a:pt x="80" y="10"/>
                    <a:pt x="79" y="11"/>
                    <a:pt x="77" y="11"/>
                  </a:cubicBezTo>
                  <a:cubicBezTo>
                    <a:pt x="3" y="11"/>
                    <a:pt x="3" y="11"/>
                    <a:pt x="3" y="11"/>
                  </a:cubicBezTo>
                  <a:cubicBezTo>
                    <a:pt x="1" y="11"/>
                    <a:pt x="0" y="10"/>
                    <a:pt x="0" y="8"/>
                  </a:cubicBezTo>
                  <a:cubicBezTo>
                    <a:pt x="0" y="3"/>
                    <a:pt x="0" y="3"/>
                    <a:pt x="0" y="3"/>
                  </a:cubicBezTo>
                  <a:cubicBezTo>
                    <a:pt x="0" y="1"/>
                    <a:pt x="1" y="0"/>
                    <a:pt x="3" y="0"/>
                  </a:cubicBezTo>
                  <a:cubicBezTo>
                    <a:pt x="77" y="0"/>
                    <a:pt x="77" y="0"/>
                    <a:pt x="77" y="0"/>
                  </a:cubicBezTo>
                  <a:cubicBezTo>
                    <a:pt x="79" y="0"/>
                    <a:pt x="80" y="1"/>
                    <a:pt x="80" y="3"/>
                  </a:cubicBezTo>
                  <a:lnTo>
                    <a:pt x="8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a:lstStyle>
            <a:p>
              <a:pPr marL="0" marR="0" lvl="0" indent="0" algn="l" defTabSz="932411" rtl="0" eaLnBrk="1" fontAlgn="auto" latinLnBrk="0" hangingPunct="1">
                <a:lnSpc>
                  <a:spcPct val="100000"/>
                </a:lnSpc>
                <a:spcBef>
                  <a:spcPts val="0"/>
                </a:spcBef>
                <a:spcAft>
                  <a:spcPts val="0"/>
                </a:spcAft>
                <a:buClrTx/>
                <a:buSzTx/>
                <a:buFontTx/>
                <a:buNone/>
                <a:tabLst/>
                <a:defRPr/>
              </a:pPr>
              <a:endParaRPr kumimoji="0" lang="en-US" sz="1938" b="0" i="0" u="none" strike="noStrike" kern="1200" cap="none" spc="0" normalizeH="0" baseline="0" noProof="0">
                <a:ln>
                  <a:noFill/>
                </a:ln>
                <a:solidFill>
                  <a:srgbClr val="595959"/>
                </a:solidFill>
                <a:effectLst/>
                <a:uLnTx/>
                <a:uFillTx/>
                <a:latin typeface="Segoe UI"/>
                <a:ea typeface="+mn-ea"/>
                <a:cs typeface="+mn-cs"/>
              </a:endParaRPr>
            </a:p>
          </p:txBody>
        </p:sp>
        <p:sp>
          <p:nvSpPr>
            <p:cNvPr id="97" name="Freeform 96"/>
            <p:cNvSpPr>
              <a:spLocks/>
            </p:cNvSpPr>
            <p:nvPr/>
          </p:nvSpPr>
          <p:spPr bwMode="auto">
            <a:xfrm>
              <a:off x="4151313" y="3143251"/>
              <a:ext cx="85725" cy="90488"/>
            </a:xfrm>
            <a:custGeom>
              <a:avLst/>
              <a:gdLst>
                <a:gd name="T0" fmla="*/ 27 w 27"/>
                <a:gd name="T1" fmla="*/ 25 h 28"/>
                <a:gd name="T2" fmla="*/ 25 w 27"/>
                <a:gd name="T3" fmla="*/ 28 h 28"/>
                <a:gd name="T4" fmla="*/ 3 w 27"/>
                <a:gd name="T5" fmla="*/ 28 h 28"/>
                <a:gd name="T6" fmla="*/ 0 w 27"/>
                <a:gd name="T7" fmla="*/ 25 h 28"/>
                <a:gd name="T8" fmla="*/ 0 w 27"/>
                <a:gd name="T9" fmla="*/ 3 h 28"/>
                <a:gd name="T10" fmla="*/ 3 w 27"/>
                <a:gd name="T11" fmla="*/ 0 h 28"/>
                <a:gd name="T12" fmla="*/ 25 w 27"/>
                <a:gd name="T13" fmla="*/ 0 h 28"/>
                <a:gd name="T14" fmla="*/ 27 w 27"/>
                <a:gd name="T15" fmla="*/ 3 h 28"/>
                <a:gd name="T16" fmla="*/ 27 w 27"/>
                <a:gd name="T17"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8">
                  <a:moveTo>
                    <a:pt x="27" y="25"/>
                  </a:moveTo>
                  <a:cubicBezTo>
                    <a:pt x="27" y="26"/>
                    <a:pt x="26" y="28"/>
                    <a:pt x="25" y="28"/>
                  </a:cubicBezTo>
                  <a:cubicBezTo>
                    <a:pt x="3" y="28"/>
                    <a:pt x="3" y="28"/>
                    <a:pt x="3" y="28"/>
                  </a:cubicBezTo>
                  <a:cubicBezTo>
                    <a:pt x="1" y="28"/>
                    <a:pt x="0" y="26"/>
                    <a:pt x="0" y="25"/>
                  </a:cubicBezTo>
                  <a:cubicBezTo>
                    <a:pt x="0" y="3"/>
                    <a:pt x="0" y="3"/>
                    <a:pt x="0" y="3"/>
                  </a:cubicBezTo>
                  <a:cubicBezTo>
                    <a:pt x="0" y="1"/>
                    <a:pt x="1" y="0"/>
                    <a:pt x="3" y="0"/>
                  </a:cubicBezTo>
                  <a:cubicBezTo>
                    <a:pt x="25" y="0"/>
                    <a:pt x="25" y="0"/>
                    <a:pt x="25" y="0"/>
                  </a:cubicBezTo>
                  <a:cubicBezTo>
                    <a:pt x="26" y="0"/>
                    <a:pt x="27" y="1"/>
                    <a:pt x="27" y="3"/>
                  </a:cubicBezTo>
                  <a:lnTo>
                    <a:pt x="27"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a:lstStyle>
            <a:p>
              <a:pPr marL="0" marR="0" lvl="0" indent="0" algn="l" defTabSz="932411" rtl="0" eaLnBrk="1" fontAlgn="auto" latinLnBrk="0" hangingPunct="1">
                <a:lnSpc>
                  <a:spcPct val="100000"/>
                </a:lnSpc>
                <a:spcBef>
                  <a:spcPts val="0"/>
                </a:spcBef>
                <a:spcAft>
                  <a:spcPts val="0"/>
                </a:spcAft>
                <a:buClrTx/>
                <a:buSzTx/>
                <a:buFontTx/>
                <a:buNone/>
                <a:tabLst/>
                <a:defRPr/>
              </a:pPr>
              <a:endParaRPr kumimoji="0" lang="en-US" sz="1938" b="0" i="0" u="none" strike="noStrike" kern="1200" cap="none" spc="0" normalizeH="0" baseline="0" noProof="0">
                <a:ln>
                  <a:noFill/>
                </a:ln>
                <a:solidFill>
                  <a:srgbClr val="595959"/>
                </a:solidFill>
                <a:effectLst/>
                <a:uLnTx/>
                <a:uFillTx/>
                <a:latin typeface="Segoe UI"/>
                <a:ea typeface="+mn-ea"/>
                <a:cs typeface="+mn-cs"/>
              </a:endParaRPr>
            </a:p>
          </p:txBody>
        </p:sp>
        <p:sp>
          <p:nvSpPr>
            <p:cNvPr id="98" name="Freeform 97"/>
            <p:cNvSpPr>
              <a:spLocks/>
            </p:cNvSpPr>
            <p:nvPr/>
          </p:nvSpPr>
          <p:spPr bwMode="auto">
            <a:xfrm>
              <a:off x="4008438" y="2549526"/>
              <a:ext cx="673100" cy="862013"/>
            </a:xfrm>
            <a:custGeom>
              <a:avLst/>
              <a:gdLst>
                <a:gd name="T0" fmla="*/ 153 w 212"/>
                <a:gd name="T1" fmla="*/ 256 h 271"/>
                <a:gd name="T2" fmla="*/ 152 w 212"/>
                <a:gd name="T3" fmla="*/ 254 h 271"/>
                <a:gd name="T4" fmla="*/ 17 w 212"/>
                <a:gd name="T5" fmla="*/ 254 h 271"/>
                <a:gd name="T6" fmla="*/ 17 w 212"/>
                <a:gd name="T7" fmla="*/ 18 h 271"/>
                <a:gd name="T8" fmla="*/ 146 w 212"/>
                <a:gd name="T9" fmla="*/ 18 h 271"/>
                <a:gd name="T10" fmla="*/ 146 w 212"/>
                <a:gd name="T11" fmla="*/ 61 h 271"/>
                <a:gd name="T12" fmla="*/ 156 w 212"/>
                <a:gd name="T13" fmla="*/ 71 h 271"/>
                <a:gd name="T14" fmla="*/ 195 w 212"/>
                <a:gd name="T15" fmla="*/ 71 h 271"/>
                <a:gd name="T16" fmla="*/ 195 w 212"/>
                <a:gd name="T17" fmla="*/ 157 h 271"/>
                <a:gd name="T18" fmla="*/ 212 w 212"/>
                <a:gd name="T19" fmla="*/ 157 h 271"/>
                <a:gd name="T20" fmla="*/ 212 w 212"/>
                <a:gd name="T21" fmla="*/ 86 h 271"/>
                <a:gd name="T22" fmla="*/ 212 w 212"/>
                <a:gd name="T23" fmla="*/ 67 h 271"/>
                <a:gd name="T24" fmla="*/ 181 w 212"/>
                <a:gd name="T25" fmla="*/ 28 h 271"/>
                <a:gd name="T26" fmla="*/ 152 w 212"/>
                <a:gd name="T27" fmla="*/ 2 h 271"/>
                <a:gd name="T28" fmla="*/ 134 w 212"/>
                <a:gd name="T29" fmla="*/ 0 h 271"/>
                <a:gd name="T30" fmla="*/ 20 w 212"/>
                <a:gd name="T31" fmla="*/ 0 h 271"/>
                <a:gd name="T32" fmla="*/ 0 w 212"/>
                <a:gd name="T33" fmla="*/ 20 h 271"/>
                <a:gd name="T34" fmla="*/ 0 w 212"/>
                <a:gd name="T35" fmla="*/ 251 h 271"/>
                <a:gd name="T36" fmla="*/ 20 w 212"/>
                <a:gd name="T37" fmla="*/ 271 h 271"/>
                <a:gd name="T38" fmla="*/ 144 w 212"/>
                <a:gd name="T39" fmla="*/ 271 h 271"/>
                <a:gd name="T40" fmla="*/ 153 w 212"/>
                <a:gd name="T41" fmla="*/ 256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2" h="271">
                  <a:moveTo>
                    <a:pt x="153" y="256"/>
                  </a:moveTo>
                  <a:cubicBezTo>
                    <a:pt x="152" y="254"/>
                    <a:pt x="152" y="254"/>
                    <a:pt x="152" y="254"/>
                  </a:cubicBezTo>
                  <a:cubicBezTo>
                    <a:pt x="17" y="254"/>
                    <a:pt x="17" y="254"/>
                    <a:pt x="17" y="254"/>
                  </a:cubicBezTo>
                  <a:cubicBezTo>
                    <a:pt x="17" y="18"/>
                    <a:pt x="17" y="18"/>
                    <a:pt x="17" y="18"/>
                  </a:cubicBezTo>
                  <a:cubicBezTo>
                    <a:pt x="146" y="18"/>
                    <a:pt x="146" y="18"/>
                    <a:pt x="146" y="18"/>
                  </a:cubicBezTo>
                  <a:cubicBezTo>
                    <a:pt x="146" y="61"/>
                    <a:pt x="146" y="61"/>
                    <a:pt x="146" y="61"/>
                  </a:cubicBezTo>
                  <a:cubicBezTo>
                    <a:pt x="146" y="66"/>
                    <a:pt x="151" y="71"/>
                    <a:pt x="156" y="71"/>
                  </a:cubicBezTo>
                  <a:cubicBezTo>
                    <a:pt x="195" y="71"/>
                    <a:pt x="195" y="71"/>
                    <a:pt x="195" y="71"/>
                  </a:cubicBezTo>
                  <a:cubicBezTo>
                    <a:pt x="195" y="157"/>
                    <a:pt x="195" y="157"/>
                    <a:pt x="195" y="157"/>
                  </a:cubicBezTo>
                  <a:cubicBezTo>
                    <a:pt x="212" y="157"/>
                    <a:pt x="212" y="157"/>
                    <a:pt x="212" y="157"/>
                  </a:cubicBezTo>
                  <a:cubicBezTo>
                    <a:pt x="212" y="86"/>
                    <a:pt x="212" y="86"/>
                    <a:pt x="212" y="86"/>
                  </a:cubicBezTo>
                  <a:cubicBezTo>
                    <a:pt x="212" y="86"/>
                    <a:pt x="212" y="84"/>
                    <a:pt x="212" y="67"/>
                  </a:cubicBezTo>
                  <a:cubicBezTo>
                    <a:pt x="212" y="58"/>
                    <a:pt x="181" y="28"/>
                    <a:pt x="181" y="28"/>
                  </a:cubicBezTo>
                  <a:cubicBezTo>
                    <a:pt x="181" y="28"/>
                    <a:pt x="160" y="7"/>
                    <a:pt x="152" y="2"/>
                  </a:cubicBezTo>
                  <a:cubicBezTo>
                    <a:pt x="147" y="0"/>
                    <a:pt x="136" y="0"/>
                    <a:pt x="134" y="0"/>
                  </a:cubicBezTo>
                  <a:cubicBezTo>
                    <a:pt x="20" y="0"/>
                    <a:pt x="20" y="0"/>
                    <a:pt x="20" y="0"/>
                  </a:cubicBezTo>
                  <a:cubicBezTo>
                    <a:pt x="9" y="0"/>
                    <a:pt x="0" y="9"/>
                    <a:pt x="0" y="20"/>
                  </a:cubicBezTo>
                  <a:cubicBezTo>
                    <a:pt x="0" y="251"/>
                    <a:pt x="0" y="251"/>
                    <a:pt x="0" y="251"/>
                  </a:cubicBezTo>
                  <a:cubicBezTo>
                    <a:pt x="0" y="262"/>
                    <a:pt x="9" y="271"/>
                    <a:pt x="20" y="271"/>
                  </a:cubicBezTo>
                  <a:cubicBezTo>
                    <a:pt x="144" y="271"/>
                    <a:pt x="144" y="271"/>
                    <a:pt x="144" y="271"/>
                  </a:cubicBezTo>
                  <a:lnTo>
                    <a:pt x="153"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a:lstStyle>
            <a:p>
              <a:pPr marL="0" marR="0" lvl="0" indent="0" algn="l" defTabSz="932411" rtl="0" eaLnBrk="1" fontAlgn="auto" latinLnBrk="0" hangingPunct="1">
                <a:lnSpc>
                  <a:spcPct val="100000"/>
                </a:lnSpc>
                <a:spcBef>
                  <a:spcPts val="0"/>
                </a:spcBef>
                <a:spcAft>
                  <a:spcPts val="0"/>
                </a:spcAft>
                <a:buClrTx/>
                <a:buSzTx/>
                <a:buFontTx/>
                <a:buNone/>
                <a:tabLst/>
                <a:defRPr/>
              </a:pPr>
              <a:endParaRPr kumimoji="0" lang="en-US" sz="1938" b="0" i="0" u="none" strike="noStrike" kern="1200" cap="none" spc="0" normalizeH="0" baseline="0" noProof="0">
                <a:ln>
                  <a:noFill/>
                </a:ln>
                <a:solidFill>
                  <a:srgbClr val="595959"/>
                </a:solidFill>
                <a:effectLst/>
                <a:uLnTx/>
                <a:uFillTx/>
                <a:latin typeface="Segoe UI"/>
                <a:ea typeface="+mn-ea"/>
                <a:cs typeface="+mn-cs"/>
              </a:endParaRPr>
            </a:p>
          </p:txBody>
        </p:sp>
        <p:sp>
          <p:nvSpPr>
            <p:cNvPr id="99" name="Freeform 98"/>
            <p:cNvSpPr>
              <a:spLocks noEditPoints="1"/>
            </p:cNvSpPr>
            <p:nvPr/>
          </p:nvSpPr>
          <p:spPr bwMode="auto">
            <a:xfrm>
              <a:off x="4462463" y="3086101"/>
              <a:ext cx="407988" cy="411163"/>
            </a:xfrm>
            <a:custGeom>
              <a:avLst/>
              <a:gdLst>
                <a:gd name="T0" fmla="*/ 128 w 128"/>
                <a:gd name="T1" fmla="*/ 73 h 129"/>
                <a:gd name="T2" fmla="*/ 128 w 128"/>
                <a:gd name="T3" fmla="*/ 56 h 129"/>
                <a:gd name="T4" fmla="*/ 109 w 128"/>
                <a:gd name="T5" fmla="*/ 53 h 129"/>
                <a:gd name="T6" fmla="*/ 104 w 128"/>
                <a:gd name="T7" fmla="*/ 41 h 129"/>
                <a:gd name="T8" fmla="*/ 115 w 128"/>
                <a:gd name="T9" fmla="*/ 25 h 129"/>
                <a:gd name="T10" fmla="*/ 104 w 128"/>
                <a:gd name="T11" fmla="*/ 13 h 129"/>
                <a:gd name="T12" fmla="*/ 88 w 128"/>
                <a:gd name="T13" fmla="*/ 25 h 129"/>
                <a:gd name="T14" fmla="*/ 75 w 128"/>
                <a:gd name="T15" fmla="*/ 19 h 129"/>
                <a:gd name="T16" fmla="*/ 72 w 128"/>
                <a:gd name="T17" fmla="*/ 0 h 129"/>
                <a:gd name="T18" fmla="*/ 56 w 128"/>
                <a:gd name="T19" fmla="*/ 0 h 129"/>
                <a:gd name="T20" fmla="*/ 53 w 128"/>
                <a:gd name="T21" fmla="*/ 19 h 129"/>
                <a:gd name="T22" fmla="*/ 40 w 128"/>
                <a:gd name="T23" fmla="*/ 25 h 129"/>
                <a:gd name="T24" fmla="*/ 25 w 128"/>
                <a:gd name="T25" fmla="*/ 13 h 129"/>
                <a:gd name="T26" fmla="*/ 13 w 128"/>
                <a:gd name="T27" fmla="*/ 25 h 129"/>
                <a:gd name="T28" fmla="*/ 24 w 128"/>
                <a:gd name="T29" fmla="*/ 40 h 129"/>
                <a:gd name="T30" fmla="*/ 19 w 128"/>
                <a:gd name="T31" fmla="*/ 53 h 129"/>
                <a:gd name="T32" fmla="*/ 0 w 128"/>
                <a:gd name="T33" fmla="*/ 56 h 129"/>
                <a:gd name="T34" fmla="*/ 0 w 128"/>
                <a:gd name="T35" fmla="*/ 73 h 129"/>
                <a:gd name="T36" fmla="*/ 19 w 128"/>
                <a:gd name="T37" fmla="*/ 76 h 129"/>
                <a:gd name="T38" fmla="*/ 24 w 128"/>
                <a:gd name="T39" fmla="*/ 89 h 129"/>
                <a:gd name="T40" fmla="*/ 13 w 128"/>
                <a:gd name="T41" fmla="*/ 104 h 129"/>
                <a:gd name="T42" fmla="*/ 24 w 128"/>
                <a:gd name="T43" fmla="*/ 116 h 129"/>
                <a:gd name="T44" fmla="*/ 40 w 128"/>
                <a:gd name="T45" fmla="*/ 105 h 129"/>
                <a:gd name="T46" fmla="*/ 53 w 128"/>
                <a:gd name="T47" fmla="*/ 110 h 129"/>
                <a:gd name="T48" fmla="*/ 56 w 128"/>
                <a:gd name="T49" fmla="*/ 129 h 129"/>
                <a:gd name="T50" fmla="*/ 72 w 128"/>
                <a:gd name="T51" fmla="*/ 129 h 129"/>
                <a:gd name="T52" fmla="*/ 75 w 128"/>
                <a:gd name="T53" fmla="*/ 110 h 129"/>
                <a:gd name="T54" fmla="*/ 88 w 128"/>
                <a:gd name="T55" fmla="*/ 105 h 129"/>
                <a:gd name="T56" fmla="*/ 104 w 128"/>
                <a:gd name="T57" fmla="*/ 116 h 129"/>
                <a:gd name="T58" fmla="*/ 115 w 128"/>
                <a:gd name="T59" fmla="*/ 104 h 129"/>
                <a:gd name="T60" fmla="*/ 104 w 128"/>
                <a:gd name="T61" fmla="*/ 89 h 129"/>
                <a:gd name="T62" fmla="*/ 109 w 128"/>
                <a:gd name="T63" fmla="*/ 76 h 129"/>
                <a:gd name="T64" fmla="*/ 128 w 128"/>
                <a:gd name="T65" fmla="*/ 73 h 129"/>
                <a:gd name="T66" fmla="*/ 64 w 128"/>
                <a:gd name="T67" fmla="*/ 87 h 129"/>
                <a:gd name="T68" fmla="*/ 42 w 128"/>
                <a:gd name="T69" fmla="*/ 65 h 129"/>
                <a:gd name="T70" fmla="*/ 64 w 128"/>
                <a:gd name="T71" fmla="*/ 42 h 129"/>
                <a:gd name="T72" fmla="*/ 87 w 128"/>
                <a:gd name="T73" fmla="*/ 65 h 129"/>
                <a:gd name="T74" fmla="*/ 64 w 128"/>
                <a:gd name="T75" fmla="*/ 8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 h="129">
                  <a:moveTo>
                    <a:pt x="128" y="73"/>
                  </a:moveTo>
                  <a:cubicBezTo>
                    <a:pt x="128" y="56"/>
                    <a:pt x="128" y="56"/>
                    <a:pt x="128" y="56"/>
                  </a:cubicBezTo>
                  <a:cubicBezTo>
                    <a:pt x="109" y="53"/>
                    <a:pt x="109" y="53"/>
                    <a:pt x="109" y="53"/>
                  </a:cubicBezTo>
                  <a:cubicBezTo>
                    <a:pt x="108" y="49"/>
                    <a:pt x="106" y="45"/>
                    <a:pt x="104" y="41"/>
                  </a:cubicBezTo>
                  <a:cubicBezTo>
                    <a:pt x="115" y="25"/>
                    <a:pt x="115" y="25"/>
                    <a:pt x="115" y="25"/>
                  </a:cubicBezTo>
                  <a:cubicBezTo>
                    <a:pt x="104" y="13"/>
                    <a:pt x="104" y="13"/>
                    <a:pt x="104" y="13"/>
                  </a:cubicBezTo>
                  <a:cubicBezTo>
                    <a:pt x="88" y="25"/>
                    <a:pt x="88" y="25"/>
                    <a:pt x="88" y="25"/>
                  </a:cubicBezTo>
                  <a:cubicBezTo>
                    <a:pt x="84" y="22"/>
                    <a:pt x="80" y="21"/>
                    <a:pt x="75" y="19"/>
                  </a:cubicBezTo>
                  <a:cubicBezTo>
                    <a:pt x="72" y="0"/>
                    <a:pt x="72" y="0"/>
                    <a:pt x="72" y="0"/>
                  </a:cubicBezTo>
                  <a:cubicBezTo>
                    <a:pt x="56" y="0"/>
                    <a:pt x="56" y="0"/>
                    <a:pt x="56" y="0"/>
                  </a:cubicBezTo>
                  <a:cubicBezTo>
                    <a:pt x="53" y="19"/>
                    <a:pt x="53" y="19"/>
                    <a:pt x="53" y="19"/>
                  </a:cubicBezTo>
                  <a:cubicBezTo>
                    <a:pt x="48" y="20"/>
                    <a:pt x="44" y="22"/>
                    <a:pt x="40" y="25"/>
                  </a:cubicBezTo>
                  <a:cubicBezTo>
                    <a:pt x="25" y="13"/>
                    <a:pt x="25" y="13"/>
                    <a:pt x="25" y="13"/>
                  </a:cubicBezTo>
                  <a:cubicBezTo>
                    <a:pt x="13" y="25"/>
                    <a:pt x="13" y="25"/>
                    <a:pt x="13" y="25"/>
                  </a:cubicBezTo>
                  <a:cubicBezTo>
                    <a:pt x="24" y="40"/>
                    <a:pt x="24" y="40"/>
                    <a:pt x="24" y="40"/>
                  </a:cubicBezTo>
                  <a:cubicBezTo>
                    <a:pt x="22" y="44"/>
                    <a:pt x="20" y="49"/>
                    <a:pt x="19" y="53"/>
                  </a:cubicBezTo>
                  <a:cubicBezTo>
                    <a:pt x="0" y="56"/>
                    <a:pt x="0" y="56"/>
                    <a:pt x="0" y="56"/>
                  </a:cubicBezTo>
                  <a:cubicBezTo>
                    <a:pt x="0" y="73"/>
                    <a:pt x="0" y="73"/>
                    <a:pt x="0" y="73"/>
                  </a:cubicBezTo>
                  <a:cubicBezTo>
                    <a:pt x="19" y="76"/>
                    <a:pt x="19" y="76"/>
                    <a:pt x="19" y="76"/>
                  </a:cubicBezTo>
                  <a:cubicBezTo>
                    <a:pt x="20" y="80"/>
                    <a:pt x="22" y="85"/>
                    <a:pt x="24" y="89"/>
                  </a:cubicBezTo>
                  <a:cubicBezTo>
                    <a:pt x="13" y="104"/>
                    <a:pt x="13" y="104"/>
                    <a:pt x="13" y="104"/>
                  </a:cubicBezTo>
                  <a:cubicBezTo>
                    <a:pt x="24" y="116"/>
                    <a:pt x="24" y="116"/>
                    <a:pt x="24" y="116"/>
                  </a:cubicBezTo>
                  <a:cubicBezTo>
                    <a:pt x="40" y="105"/>
                    <a:pt x="40" y="105"/>
                    <a:pt x="40" y="105"/>
                  </a:cubicBezTo>
                  <a:cubicBezTo>
                    <a:pt x="44" y="107"/>
                    <a:pt x="48" y="109"/>
                    <a:pt x="53" y="110"/>
                  </a:cubicBezTo>
                  <a:cubicBezTo>
                    <a:pt x="56" y="129"/>
                    <a:pt x="56" y="129"/>
                    <a:pt x="56" y="129"/>
                  </a:cubicBezTo>
                  <a:cubicBezTo>
                    <a:pt x="72" y="129"/>
                    <a:pt x="72" y="129"/>
                    <a:pt x="72" y="129"/>
                  </a:cubicBezTo>
                  <a:cubicBezTo>
                    <a:pt x="75" y="110"/>
                    <a:pt x="75" y="110"/>
                    <a:pt x="75" y="110"/>
                  </a:cubicBezTo>
                  <a:cubicBezTo>
                    <a:pt x="80" y="109"/>
                    <a:pt x="84" y="107"/>
                    <a:pt x="88" y="105"/>
                  </a:cubicBezTo>
                  <a:cubicBezTo>
                    <a:pt x="104" y="116"/>
                    <a:pt x="104" y="116"/>
                    <a:pt x="104" y="116"/>
                  </a:cubicBezTo>
                  <a:cubicBezTo>
                    <a:pt x="115" y="104"/>
                    <a:pt x="115" y="104"/>
                    <a:pt x="115" y="104"/>
                  </a:cubicBezTo>
                  <a:cubicBezTo>
                    <a:pt x="104" y="89"/>
                    <a:pt x="104" y="89"/>
                    <a:pt x="104" y="89"/>
                  </a:cubicBezTo>
                  <a:cubicBezTo>
                    <a:pt x="106" y="85"/>
                    <a:pt x="108" y="80"/>
                    <a:pt x="109" y="76"/>
                  </a:cubicBezTo>
                  <a:lnTo>
                    <a:pt x="128" y="73"/>
                  </a:lnTo>
                  <a:close/>
                  <a:moveTo>
                    <a:pt x="64" y="87"/>
                  </a:moveTo>
                  <a:cubicBezTo>
                    <a:pt x="52" y="87"/>
                    <a:pt x="42" y="77"/>
                    <a:pt x="42" y="65"/>
                  </a:cubicBezTo>
                  <a:cubicBezTo>
                    <a:pt x="42" y="52"/>
                    <a:pt x="52" y="42"/>
                    <a:pt x="64" y="42"/>
                  </a:cubicBezTo>
                  <a:cubicBezTo>
                    <a:pt x="77" y="42"/>
                    <a:pt x="87" y="52"/>
                    <a:pt x="87" y="65"/>
                  </a:cubicBezTo>
                  <a:cubicBezTo>
                    <a:pt x="87" y="77"/>
                    <a:pt x="77" y="87"/>
                    <a:pt x="64"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a:lstStyle>
            <a:p>
              <a:pPr marL="0" marR="0" lvl="0" indent="0" algn="l" defTabSz="932411" rtl="0" eaLnBrk="1" fontAlgn="auto" latinLnBrk="0" hangingPunct="1">
                <a:lnSpc>
                  <a:spcPct val="100000"/>
                </a:lnSpc>
                <a:spcBef>
                  <a:spcPts val="0"/>
                </a:spcBef>
                <a:spcAft>
                  <a:spcPts val="0"/>
                </a:spcAft>
                <a:buClrTx/>
                <a:buSzTx/>
                <a:buFontTx/>
                <a:buNone/>
                <a:tabLst/>
                <a:defRPr/>
              </a:pPr>
              <a:endParaRPr kumimoji="0" lang="en-US" sz="1938" b="0" i="0" u="none" strike="noStrike" kern="1200" cap="none" spc="0" normalizeH="0" baseline="0" noProof="0">
                <a:ln>
                  <a:noFill/>
                </a:ln>
                <a:solidFill>
                  <a:srgbClr val="595959"/>
                </a:solidFill>
                <a:effectLst/>
                <a:uLnTx/>
                <a:uFillTx/>
                <a:latin typeface="Segoe UI"/>
                <a:ea typeface="+mn-ea"/>
                <a:cs typeface="+mn-cs"/>
              </a:endParaRPr>
            </a:p>
          </p:txBody>
        </p:sp>
        <p:sp>
          <p:nvSpPr>
            <p:cNvPr id="100" name="Freeform 99"/>
            <p:cNvSpPr>
              <a:spLocks/>
            </p:cNvSpPr>
            <p:nvPr/>
          </p:nvSpPr>
          <p:spPr bwMode="auto">
            <a:xfrm>
              <a:off x="4287838" y="3171826"/>
              <a:ext cx="206375" cy="31750"/>
            </a:xfrm>
            <a:custGeom>
              <a:avLst/>
              <a:gdLst>
                <a:gd name="T0" fmla="*/ 58 w 65"/>
                <a:gd name="T1" fmla="*/ 0 h 10"/>
                <a:gd name="T2" fmla="*/ 3 w 65"/>
                <a:gd name="T3" fmla="*/ 0 h 10"/>
                <a:gd name="T4" fmla="*/ 0 w 65"/>
                <a:gd name="T5" fmla="*/ 2 h 10"/>
                <a:gd name="T6" fmla="*/ 0 w 65"/>
                <a:gd name="T7" fmla="*/ 8 h 10"/>
                <a:gd name="T8" fmla="*/ 3 w 65"/>
                <a:gd name="T9" fmla="*/ 10 h 10"/>
                <a:gd name="T10" fmla="*/ 65 w 65"/>
                <a:gd name="T11" fmla="*/ 10 h 10"/>
                <a:gd name="T12" fmla="*/ 58 w 6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5" h="10">
                  <a:moveTo>
                    <a:pt x="58" y="0"/>
                  </a:moveTo>
                  <a:cubicBezTo>
                    <a:pt x="3" y="0"/>
                    <a:pt x="3" y="0"/>
                    <a:pt x="3" y="0"/>
                  </a:cubicBezTo>
                  <a:cubicBezTo>
                    <a:pt x="1" y="0"/>
                    <a:pt x="0" y="1"/>
                    <a:pt x="0" y="2"/>
                  </a:cubicBezTo>
                  <a:cubicBezTo>
                    <a:pt x="0" y="8"/>
                    <a:pt x="0" y="8"/>
                    <a:pt x="0" y="8"/>
                  </a:cubicBezTo>
                  <a:cubicBezTo>
                    <a:pt x="0" y="9"/>
                    <a:pt x="1" y="10"/>
                    <a:pt x="3" y="10"/>
                  </a:cubicBezTo>
                  <a:cubicBezTo>
                    <a:pt x="65" y="10"/>
                    <a:pt x="65" y="10"/>
                    <a:pt x="65" y="10"/>
                  </a:cubicBezTo>
                  <a:lnTo>
                    <a:pt x="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a:lstStyle>
            <a:p>
              <a:pPr marL="0" marR="0" lvl="0" indent="0" algn="l" defTabSz="932411" rtl="0" eaLnBrk="1" fontAlgn="auto" latinLnBrk="0" hangingPunct="1">
                <a:lnSpc>
                  <a:spcPct val="100000"/>
                </a:lnSpc>
                <a:spcBef>
                  <a:spcPts val="0"/>
                </a:spcBef>
                <a:spcAft>
                  <a:spcPts val="0"/>
                </a:spcAft>
                <a:buClrTx/>
                <a:buSzTx/>
                <a:buFontTx/>
                <a:buNone/>
                <a:tabLst/>
                <a:defRPr/>
              </a:pPr>
              <a:endParaRPr kumimoji="0" lang="en-US" sz="1938" b="0" i="0" u="none" strike="noStrike" kern="1200" cap="none" spc="0" normalizeH="0" baseline="0" noProof="0">
                <a:ln>
                  <a:noFill/>
                </a:ln>
                <a:solidFill>
                  <a:srgbClr val="595959"/>
                </a:solidFill>
                <a:effectLst/>
                <a:uLnTx/>
                <a:uFillTx/>
                <a:latin typeface="Segoe UI"/>
                <a:ea typeface="+mn-ea"/>
                <a:cs typeface="+mn-cs"/>
              </a:endParaRPr>
            </a:p>
          </p:txBody>
        </p:sp>
      </p:grpSp>
      <p:pic>
        <p:nvPicPr>
          <p:cNvPr id="79" name="Picture 7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67721" y="1530431"/>
            <a:ext cx="9647653" cy="5424156"/>
          </a:xfrm>
          <a:prstGeom prst="rect">
            <a:avLst/>
          </a:prstGeom>
        </p:spPr>
      </p:pic>
      <p:sp>
        <p:nvSpPr>
          <p:cNvPr id="80" name="Rectangle 79"/>
          <p:cNvSpPr/>
          <p:nvPr/>
        </p:nvSpPr>
        <p:spPr bwMode="auto">
          <a:xfrm>
            <a:off x="530467" y="992214"/>
            <a:ext cx="10484907" cy="515944"/>
          </a:xfrm>
          <a:prstGeom prst="rect">
            <a:avLst/>
          </a:prstGeom>
          <a:solidFill>
            <a:srgbClr val="E02C3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ysClr val="windowText" lastClr="000000"/>
                </a:solidFill>
                <a:effectLst/>
                <a:uLnTx/>
                <a:uFillTx/>
                <a:latin typeface="Segoe UI"/>
                <a:ea typeface="+mn-ea"/>
                <a:cs typeface="+mn-cs"/>
              </a:rPr>
              <a:t>Remove Barriers to Cloud Adoption</a:t>
            </a:r>
          </a:p>
        </p:txBody>
      </p:sp>
    </p:spTree>
    <p:extLst>
      <p:ext uri="{BB962C8B-B14F-4D97-AF65-F5344CB8AC3E}">
        <p14:creationId xmlns:p14="http://schemas.microsoft.com/office/powerpoint/2010/main" val="3359837236"/>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467" y="233152"/>
            <a:ext cx="11373923" cy="633954"/>
          </a:xfrm>
        </p:spPr>
        <p:txBody>
          <a:bodyPr/>
          <a:lstStyle/>
          <a:p>
            <a:r>
              <a:rPr lang="en-US" sz="4488" dirty="0"/>
              <a:t>Compliant Migrations Azure &amp; O365</a:t>
            </a:r>
          </a:p>
        </p:txBody>
      </p:sp>
      <p:sp>
        <p:nvSpPr>
          <p:cNvPr id="3" name="Text Placeholder 2"/>
          <p:cNvSpPr>
            <a:spLocks noGrp="1"/>
          </p:cNvSpPr>
          <p:nvPr>
            <p:ph type="body" sz="quarter" idx="10"/>
          </p:nvPr>
        </p:nvSpPr>
        <p:spPr>
          <a:xfrm>
            <a:off x="317166" y="1121967"/>
            <a:ext cx="4845872" cy="6013674"/>
          </a:xfrm>
        </p:spPr>
        <p:txBody>
          <a:bodyPr/>
          <a:lstStyle/>
          <a:p>
            <a:r>
              <a:rPr lang="en-US" altLang="zh-CN" dirty="0">
                <a:latin typeface="Segoe UI Semilight" panose="020B0402040204020203" pitchFamily="34" charset="0"/>
                <a:cs typeface="Segoe UI Semilight" panose="020B0402040204020203" pitchFamily="34" charset="0"/>
              </a:rPr>
              <a:t>High-speed 10x Faster</a:t>
            </a:r>
          </a:p>
          <a:p>
            <a:pPr marL="176480" lvl="1">
              <a:lnSpc>
                <a:spcPct val="100000"/>
              </a:lnSpc>
              <a:spcBef>
                <a:spcPts val="1224"/>
              </a:spcBef>
              <a:spcAft>
                <a:spcPts val="0"/>
              </a:spcAft>
            </a:pPr>
            <a:r>
              <a:rPr lang="en-US" altLang="zh-CN" dirty="0">
                <a:latin typeface="Segoe UI Light" panose="020B0502040204020203" pitchFamily="34" charset="0"/>
                <a:ea typeface="Segoe UI Symbol" panose="020B0502040204020203" pitchFamily="34" charset="0"/>
                <a:cs typeface="Segoe UI Light" panose="020B0502040204020203" pitchFamily="34" charset="0"/>
              </a:rPr>
              <a:t>Migrate from legacy systems, including previous SharePoint versions, to SharePoint on-premises or Online editions.</a:t>
            </a:r>
          </a:p>
          <a:p>
            <a:pPr marL="176480" lvl="1">
              <a:lnSpc>
                <a:spcPct val="100000"/>
              </a:lnSpc>
              <a:spcBef>
                <a:spcPts val="1224"/>
              </a:spcBef>
              <a:spcAft>
                <a:spcPts val="0"/>
              </a:spcAft>
            </a:pPr>
            <a:r>
              <a:rPr lang="en-US" altLang="zh-CN" dirty="0">
                <a:latin typeface="Segoe UI Light" panose="020B0502040204020203" pitchFamily="34" charset="0"/>
                <a:ea typeface="Segoe UI Symbol" panose="020B0502040204020203" pitchFamily="34" charset="0"/>
                <a:cs typeface="Segoe UI Light" panose="020B0502040204020203" pitchFamily="34" charset="0"/>
              </a:rPr>
              <a:t>Scan for:</a:t>
            </a:r>
          </a:p>
          <a:p>
            <a:pPr marL="526204" lvl="1" indent="-349724">
              <a:lnSpc>
                <a:spcPct val="100000"/>
              </a:lnSpc>
              <a:buFont typeface="Arial" panose="020B0604020202020204" pitchFamily="34" charset="0"/>
              <a:buChar char="•"/>
            </a:pPr>
            <a:r>
              <a:rPr lang="en-US" dirty="0">
                <a:latin typeface="Segoe UI Light" panose="020B0502040204020203" pitchFamily="34" charset="0"/>
                <a:cs typeface="Segoe UI Light" panose="020B0502040204020203" pitchFamily="34" charset="0"/>
              </a:rPr>
              <a:t>PII</a:t>
            </a:r>
          </a:p>
          <a:p>
            <a:pPr marL="526204" lvl="1" indent="-349724">
              <a:lnSpc>
                <a:spcPct val="100000"/>
              </a:lnSpc>
              <a:buFont typeface="Arial" panose="020B0604020202020204" pitchFamily="34" charset="0"/>
              <a:buChar char="•"/>
            </a:pPr>
            <a:r>
              <a:rPr lang="en-US" dirty="0">
                <a:latin typeface="Segoe UI Light" panose="020B0502040204020203" pitchFamily="34" charset="0"/>
                <a:cs typeface="Segoe UI Light" panose="020B0502040204020203" pitchFamily="34" charset="0"/>
              </a:rPr>
              <a:t>PHI</a:t>
            </a:r>
          </a:p>
          <a:p>
            <a:pPr marL="526204" lvl="1" indent="-349724">
              <a:lnSpc>
                <a:spcPct val="100000"/>
              </a:lnSpc>
              <a:buFont typeface="Arial" panose="020B0604020202020204" pitchFamily="34" charset="0"/>
              <a:buChar char="•"/>
            </a:pPr>
            <a:r>
              <a:rPr lang="en-US" dirty="0">
                <a:latin typeface="Segoe UI Light" panose="020B0502040204020203" pitchFamily="34" charset="0"/>
                <a:cs typeface="Segoe UI Light" panose="020B0502040204020203" pitchFamily="34" charset="0"/>
              </a:rPr>
              <a:t>DOD Classification Security Markings</a:t>
            </a:r>
          </a:p>
          <a:p>
            <a:pPr marL="526204" lvl="1" indent="-349724">
              <a:lnSpc>
                <a:spcPct val="100000"/>
              </a:lnSpc>
              <a:buFont typeface="Arial" panose="020B0604020202020204" pitchFamily="34" charset="0"/>
              <a:buChar char="•"/>
            </a:pPr>
            <a:r>
              <a:rPr lang="en-US" dirty="0">
                <a:latin typeface="Segoe UI Light" panose="020B0502040204020203" pitchFamily="34" charset="0"/>
                <a:cs typeface="Segoe UI Light" panose="020B0502040204020203" pitchFamily="34" charset="0"/>
              </a:rPr>
              <a:t>ITAR  </a:t>
            </a:r>
          </a:p>
          <a:p>
            <a:pPr marL="176480" lvl="1">
              <a:lnSpc>
                <a:spcPct val="100000"/>
              </a:lnSpc>
              <a:spcBef>
                <a:spcPts val="1224"/>
              </a:spcBef>
              <a:spcAft>
                <a:spcPts val="0"/>
              </a:spcAft>
            </a:pPr>
            <a:r>
              <a:rPr lang="en-US" altLang="zh-CN" dirty="0">
                <a:latin typeface="Segoe UI Light" panose="020B0502040204020203" pitchFamily="34" charset="0"/>
                <a:ea typeface="Segoe UI Symbol" panose="020B0502040204020203" pitchFamily="34" charset="0"/>
                <a:cs typeface="Segoe UI Light" panose="020B0502040204020203" pitchFamily="34" charset="0"/>
              </a:rPr>
              <a:t>Maintain critical assets and information, including properties, metadata, and security settings</a:t>
            </a:r>
          </a:p>
          <a:p>
            <a:pPr marL="176480" lvl="1">
              <a:lnSpc>
                <a:spcPct val="100000"/>
              </a:lnSpc>
              <a:spcBef>
                <a:spcPts val="1224"/>
              </a:spcBef>
              <a:spcAft>
                <a:spcPts val="0"/>
              </a:spcAft>
            </a:pPr>
            <a:r>
              <a:rPr lang="en-US" altLang="zh-CN" dirty="0">
                <a:latin typeface="Segoe UI Light" panose="020B0502040204020203" pitchFamily="34" charset="0"/>
                <a:ea typeface="Segoe UI Symbol" panose="020B0502040204020203" pitchFamily="34" charset="0"/>
                <a:cs typeface="Segoe UI Light" panose="020B0502040204020203" pitchFamily="34" charset="0"/>
              </a:rPr>
              <a:t>Migrate an individual item or entire instance online or offline for heightened security controls</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99148" y="1476620"/>
            <a:ext cx="6505242" cy="4033249"/>
          </a:xfrm>
          <a:prstGeom prst="rect">
            <a:avLst/>
          </a:prstGeom>
        </p:spPr>
      </p:pic>
    </p:spTree>
    <p:extLst>
      <p:ext uri="{BB962C8B-B14F-4D97-AF65-F5344CB8AC3E}">
        <p14:creationId xmlns:p14="http://schemas.microsoft.com/office/powerpoint/2010/main" val="7813994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animEffect transition="in" filter="fade">
                                      <p:cBhvr>
                                        <p:cTn id="25" dur="500"/>
                                        <p:tgtEl>
                                          <p:spTgt spid="3">
                                            <p:txEl>
                                              <p:pRg st="6" end="6"/>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
                                            <p:txEl>
                                              <p:pRg st="7" end="7"/>
                                            </p:txEl>
                                          </p:spTgt>
                                        </p:tgtEl>
                                        <p:attrNameLst>
                                          <p:attrName>style.visibility</p:attrName>
                                        </p:attrNameLst>
                                      </p:cBhvr>
                                      <p:to>
                                        <p:strVal val="visible"/>
                                      </p:to>
                                    </p:set>
                                    <p:animEffect transition="in" filter="fade">
                                      <p:cBhvr>
                                        <p:cTn id="28" dur="500"/>
                                        <p:tgtEl>
                                          <p:spTgt spid="3">
                                            <p:txEl>
                                              <p:pRg st="7" end="7"/>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animEffect transition="in" filter="fade">
                                      <p:cBhvr>
                                        <p:cTn id="31"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1" name="Rectangle 100"/>
          <p:cNvSpPr/>
          <p:nvPr/>
        </p:nvSpPr>
        <p:spPr bwMode="auto">
          <a:xfrm>
            <a:off x="2558" y="1"/>
            <a:ext cx="12433035" cy="6994525"/>
          </a:xfrm>
          <a:prstGeom prst="rect">
            <a:avLst/>
          </a:prstGeom>
          <a:gradFill flip="none" rotWithShape="1">
            <a:gsLst>
              <a:gs pos="35000">
                <a:schemeClr val="bg1"/>
              </a:gs>
              <a:gs pos="51000">
                <a:srgbClr val="2C2C2C">
                  <a:tint val="23500"/>
                  <a:satMod val="160000"/>
                  <a:alpha val="0"/>
                </a:srgbClr>
              </a:gs>
            </a:gsLst>
            <a:lin ang="15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nvGrpSpPr>
          <p:cNvPr id="21" name="Group 20"/>
          <p:cNvGrpSpPr/>
          <p:nvPr/>
        </p:nvGrpSpPr>
        <p:grpSpPr>
          <a:xfrm>
            <a:off x="989666" y="5468633"/>
            <a:ext cx="3517403" cy="894515"/>
            <a:chOff x="969484" y="5361892"/>
            <a:chExt cx="3448747" cy="877055"/>
          </a:xfrm>
        </p:grpSpPr>
        <p:sp>
          <p:nvSpPr>
            <p:cNvPr id="77" name="Rectangle 76"/>
            <p:cNvSpPr/>
            <p:nvPr/>
          </p:nvSpPr>
          <p:spPr bwMode="auto">
            <a:xfrm>
              <a:off x="969484" y="5361892"/>
              <a:ext cx="3448747" cy="72397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0" rIns="186521" bIns="559562"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zh-CN" sz="1428"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36" name="Group 138"/>
            <p:cNvGrpSpPr>
              <a:grpSpLocks noChangeAspect="1"/>
            </p:cNvGrpSpPr>
            <p:nvPr/>
          </p:nvGrpSpPr>
          <p:grpSpPr bwMode="auto">
            <a:xfrm>
              <a:off x="1253196" y="5516071"/>
              <a:ext cx="465137" cy="469900"/>
              <a:chOff x="5649" y="3372"/>
              <a:chExt cx="293" cy="298"/>
            </a:xfrm>
          </p:grpSpPr>
          <p:sp>
            <p:nvSpPr>
              <p:cNvPr id="37" name="AutoShape 137"/>
              <p:cNvSpPr>
                <a:spLocks noChangeAspect="1" noChangeArrowheads="1" noTextEdit="1"/>
              </p:cNvSpPr>
              <p:nvPr/>
            </p:nvSpPr>
            <p:spPr bwMode="auto">
              <a:xfrm>
                <a:off x="5649" y="3373"/>
                <a:ext cx="293" cy="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 name="Freeform 139"/>
              <p:cNvSpPr>
                <a:spLocks/>
              </p:cNvSpPr>
              <p:nvPr/>
            </p:nvSpPr>
            <p:spPr bwMode="auto">
              <a:xfrm>
                <a:off x="5715" y="3372"/>
                <a:ext cx="22" cy="53"/>
              </a:xfrm>
              <a:custGeom>
                <a:avLst/>
                <a:gdLst>
                  <a:gd name="T0" fmla="*/ 19 w 19"/>
                  <a:gd name="T1" fmla="*/ 36 h 46"/>
                  <a:gd name="T2" fmla="*/ 10 w 19"/>
                  <a:gd name="T3" fmla="*/ 46 h 46"/>
                  <a:gd name="T4" fmla="*/ 10 w 19"/>
                  <a:gd name="T5" fmla="*/ 46 h 46"/>
                  <a:gd name="T6" fmla="*/ 0 w 19"/>
                  <a:gd name="T7" fmla="*/ 36 h 46"/>
                  <a:gd name="T8" fmla="*/ 0 w 19"/>
                  <a:gd name="T9" fmla="*/ 9 h 46"/>
                  <a:gd name="T10" fmla="*/ 10 w 19"/>
                  <a:gd name="T11" fmla="*/ 0 h 46"/>
                  <a:gd name="T12" fmla="*/ 10 w 19"/>
                  <a:gd name="T13" fmla="*/ 0 h 46"/>
                  <a:gd name="T14" fmla="*/ 19 w 19"/>
                  <a:gd name="T15" fmla="*/ 9 h 46"/>
                  <a:gd name="T16" fmla="*/ 19 w 19"/>
                  <a:gd name="T17"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46">
                    <a:moveTo>
                      <a:pt x="19" y="36"/>
                    </a:moveTo>
                    <a:cubicBezTo>
                      <a:pt x="19" y="42"/>
                      <a:pt x="15" y="46"/>
                      <a:pt x="10" y="46"/>
                    </a:cubicBezTo>
                    <a:cubicBezTo>
                      <a:pt x="10" y="46"/>
                      <a:pt x="10" y="46"/>
                      <a:pt x="10" y="46"/>
                    </a:cubicBezTo>
                    <a:cubicBezTo>
                      <a:pt x="4" y="46"/>
                      <a:pt x="0" y="42"/>
                      <a:pt x="0" y="36"/>
                    </a:cubicBezTo>
                    <a:cubicBezTo>
                      <a:pt x="0" y="9"/>
                      <a:pt x="0" y="9"/>
                      <a:pt x="0" y="9"/>
                    </a:cubicBezTo>
                    <a:cubicBezTo>
                      <a:pt x="0" y="4"/>
                      <a:pt x="4" y="0"/>
                      <a:pt x="10" y="0"/>
                    </a:cubicBezTo>
                    <a:cubicBezTo>
                      <a:pt x="10" y="0"/>
                      <a:pt x="10" y="0"/>
                      <a:pt x="10" y="0"/>
                    </a:cubicBezTo>
                    <a:cubicBezTo>
                      <a:pt x="15" y="0"/>
                      <a:pt x="19" y="4"/>
                      <a:pt x="19" y="9"/>
                    </a:cubicBezTo>
                    <a:lnTo>
                      <a:pt x="1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 name="Freeform 140"/>
              <p:cNvSpPr>
                <a:spLocks/>
              </p:cNvSpPr>
              <p:nvPr/>
            </p:nvSpPr>
            <p:spPr bwMode="auto">
              <a:xfrm>
                <a:off x="5833" y="3372"/>
                <a:ext cx="22" cy="53"/>
              </a:xfrm>
              <a:custGeom>
                <a:avLst/>
                <a:gdLst>
                  <a:gd name="T0" fmla="*/ 19 w 19"/>
                  <a:gd name="T1" fmla="*/ 36 h 46"/>
                  <a:gd name="T2" fmla="*/ 9 w 19"/>
                  <a:gd name="T3" fmla="*/ 46 h 46"/>
                  <a:gd name="T4" fmla="*/ 9 w 19"/>
                  <a:gd name="T5" fmla="*/ 46 h 46"/>
                  <a:gd name="T6" fmla="*/ 0 w 19"/>
                  <a:gd name="T7" fmla="*/ 36 h 46"/>
                  <a:gd name="T8" fmla="*/ 0 w 19"/>
                  <a:gd name="T9" fmla="*/ 9 h 46"/>
                  <a:gd name="T10" fmla="*/ 9 w 19"/>
                  <a:gd name="T11" fmla="*/ 0 h 46"/>
                  <a:gd name="T12" fmla="*/ 9 w 19"/>
                  <a:gd name="T13" fmla="*/ 0 h 46"/>
                  <a:gd name="T14" fmla="*/ 19 w 19"/>
                  <a:gd name="T15" fmla="*/ 9 h 46"/>
                  <a:gd name="T16" fmla="*/ 19 w 19"/>
                  <a:gd name="T17"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46">
                    <a:moveTo>
                      <a:pt x="19" y="36"/>
                    </a:moveTo>
                    <a:cubicBezTo>
                      <a:pt x="19" y="42"/>
                      <a:pt x="15" y="46"/>
                      <a:pt x="9" y="46"/>
                    </a:cubicBezTo>
                    <a:cubicBezTo>
                      <a:pt x="9" y="46"/>
                      <a:pt x="9" y="46"/>
                      <a:pt x="9" y="46"/>
                    </a:cubicBezTo>
                    <a:cubicBezTo>
                      <a:pt x="4" y="46"/>
                      <a:pt x="0" y="42"/>
                      <a:pt x="0" y="36"/>
                    </a:cubicBezTo>
                    <a:cubicBezTo>
                      <a:pt x="0" y="9"/>
                      <a:pt x="0" y="9"/>
                      <a:pt x="0" y="9"/>
                    </a:cubicBezTo>
                    <a:cubicBezTo>
                      <a:pt x="0" y="4"/>
                      <a:pt x="4" y="0"/>
                      <a:pt x="9" y="0"/>
                    </a:cubicBezTo>
                    <a:cubicBezTo>
                      <a:pt x="9" y="0"/>
                      <a:pt x="9" y="0"/>
                      <a:pt x="9" y="0"/>
                    </a:cubicBezTo>
                    <a:cubicBezTo>
                      <a:pt x="15" y="0"/>
                      <a:pt x="19" y="4"/>
                      <a:pt x="19" y="9"/>
                    </a:cubicBezTo>
                    <a:lnTo>
                      <a:pt x="1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 name="Rectangle 141"/>
              <p:cNvSpPr>
                <a:spLocks noChangeArrowheads="1"/>
              </p:cNvSpPr>
              <p:nvPr/>
            </p:nvSpPr>
            <p:spPr bwMode="auto">
              <a:xfrm>
                <a:off x="5684" y="3512"/>
                <a:ext cx="38"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 name="Rectangle 142"/>
              <p:cNvSpPr>
                <a:spLocks noChangeArrowheads="1"/>
              </p:cNvSpPr>
              <p:nvPr/>
            </p:nvSpPr>
            <p:spPr bwMode="auto">
              <a:xfrm>
                <a:off x="5737" y="3512"/>
                <a:ext cx="38"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 name="Rectangle 143"/>
              <p:cNvSpPr>
                <a:spLocks noChangeArrowheads="1"/>
              </p:cNvSpPr>
              <p:nvPr/>
            </p:nvSpPr>
            <p:spPr bwMode="auto">
              <a:xfrm>
                <a:off x="5737" y="3461"/>
                <a:ext cx="38" cy="3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 name="Rectangle 144"/>
              <p:cNvSpPr>
                <a:spLocks noChangeArrowheads="1"/>
              </p:cNvSpPr>
              <p:nvPr/>
            </p:nvSpPr>
            <p:spPr bwMode="auto">
              <a:xfrm>
                <a:off x="5791" y="3461"/>
                <a:ext cx="38" cy="3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 name="Rectangle 145"/>
              <p:cNvSpPr>
                <a:spLocks noChangeArrowheads="1"/>
              </p:cNvSpPr>
              <p:nvPr/>
            </p:nvSpPr>
            <p:spPr bwMode="auto">
              <a:xfrm>
                <a:off x="5844" y="3462"/>
                <a:ext cx="37" cy="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 name="Rectangle 146"/>
              <p:cNvSpPr>
                <a:spLocks noChangeArrowheads="1"/>
              </p:cNvSpPr>
              <p:nvPr/>
            </p:nvSpPr>
            <p:spPr bwMode="auto">
              <a:xfrm>
                <a:off x="5684" y="3563"/>
                <a:ext cx="38"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1" name="Rectangle 147"/>
              <p:cNvSpPr>
                <a:spLocks noChangeArrowheads="1"/>
              </p:cNvSpPr>
              <p:nvPr/>
            </p:nvSpPr>
            <p:spPr bwMode="auto">
              <a:xfrm>
                <a:off x="5737" y="3563"/>
                <a:ext cx="38"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2" name="Freeform 148"/>
              <p:cNvSpPr>
                <a:spLocks/>
              </p:cNvSpPr>
              <p:nvPr/>
            </p:nvSpPr>
            <p:spPr bwMode="auto">
              <a:xfrm>
                <a:off x="5649" y="3402"/>
                <a:ext cx="272" cy="232"/>
              </a:xfrm>
              <a:custGeom>
                <a:avLst/>
                <a:gdLst>
                  <a:gd name="T0" fmla="*/ 117 w 234"/>
                  <a:gd name="T1" fmla="*/ 185 h 200"/>
                  <a:gd name="T2" fmla="*/ 17 w 234"/>
                  <a:gd name="T3" fmla="*/ 185 h 200"/>
                  <a:gd name="T4" fmla="*/ 17 w 234"/>
                  <a:gd name="T5" fmla="*/ 36 h 200"/>
                  <a:gd name="T6" fmla="*/ 217 w 234"/>
                  <a:gd name="T7" fmla="*/ 36 h 200"/>
                  <a:gd name="T8" fmla="*/ 217 w 234"/>
                  <a:gd name="T9" fmla="*/ 94 h 200"/>
                  <a:gd name="T10" fmla="*/ 234 w 234"/>
                  <a:gd name="T11" fmla="*/ 102 h 200"/>
                  <a:gd name="T12" fmla="*/ 234 w 234"/>
                  <a:gd name="T13" fmla="*/ 8 h 200"/>
                  <a:gd name="T14" fmla="*/ 226 w 234"/>
                  <a:gd name="T15" fmla="*/ 0 h 200"/>
                  <a:gd name="T16" fmla="*/ 182 w 234"/>
                  <a:gd name="T17" fmla="*/ 0 h 200"/>
                  <a:gd name="T18" fmla="*/ 182 w 234"/>
                  <a:gd name="T19" fmla="*/ 11 h 200"/>
                  <a:gd name="T20" fmla="*/ 167 w 234"/>
                  <a:gd name="T21" fmla="*/ 26 h 200"/>
                  <a:gd name="T22" fmla="*/ 153 w 234"/>
                  <a:gd name="T23" fmla="*/ 11 h 200"/>
                  <a:gd name="T24" fmla="*/ 153 w 234"/>
                  <a:gd name="T25" fmla="*/ 0 h 200"/>
                  <a:gd name="T26" fmla="*/ 81 w 234"/>
                  <a:gd name="T27" fmla="*/ 0 h 200"/>
                  <a:gd name="T28" fmla="*/ 81 w 234"/>
                  <a:gd name="T29" fmla="*/ 11 h 200"/>
                  <a:gd name="T30" fmla="*/ 67 w 234"/>
                  <a:gd name="T31" fmla="*/ 26 h 200"/>
                  <a:gd name="T32" fmla="*/ 52 w 234"/>
                  <a:gd name="T33" fmla="*/ 11 h 200"/>
                  <a:gd name="T34" fmla="*/ 52 w 234"/>
                  <a:gd name="T35" fmla="*/ 0 h 200"/>
                  <a:gd name="T36" fmla="*/ 8 w 234"/>
                  <a:gd name="T37" fmla="*/ 0 h 200"/>
                  <a:gd name="T38" fmla="*/ 0 w 234"/>
                  <a:gd name="T39" fmla="*/ 8 h 200"/>
                  <a:gd name="T40" fmla="*/ 0 w 234"/>
                  <a:gd name="T41" fmla="*/ 192 h 200"/>
                  <a:gd name="T42" fmla="*/ 8 w 234"/>
                  <a:gd name="T43" fmla="*/ 200 h 200"/>
                  <a:gd name="T44" fmla="*/ 122 w 234"/>
                  <a:gd name="T45" fmla="*/ 200 h 200"/>
                  <a:gd name="T46" fmla="*/ 117 w 234"/>
                  <a:gd name="T47" fmla="*/ 18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4" h="200">
                    <a:moveTo>
                      <a:pt x="117" y="185"/>
                    </a:moveTo>
                    <a:cubicBezTo>
                      <a:pt x="17" y="185"/>
                      <a:pt x="17" y="185"/>
                      <a:pt x="17" y="185"/>
                    </a:cubicBezTo>
                    <a:cubicBezTo>
                      <a:pt x="17" y="36"/>
                      <a:pt x="17" y="36"/>
                      <a:pt x="17" y="36"/>
                    </a:cubicBezTo>
                    <a:cubicBezTo>
                      <a:pt x="217" y="36"/>
                      <a:pt x="217" y="36"/>
                      <a:pt x="217" y="36"/>
                    </a:cubicBezTo>
                    <a:cubicBezTo>
                      <a:pt x="217" y="94"/>
                      <a:pt x="217" y="94"/>
                      <a:pt x="217" y="94"/>
                    </a:cubicBezTo>
                    <a:cubicBezTo>
                      <a:pt x="223" y="96"/>
                      <a:pt x="229" y="99"/>
                      <a:pt x="234" y="102"/>
                    </a:cubicBezTo>
                    <a:cubicBezTo>
                      <a:pt x="234" y="8"/>
                      <a:pt x="234" y="8"/>
                      <a:pt x="234" y="8"/>
                    </a:cubicBezTo>
                    <a:cubicBezTo>
                      <a:pt x="234" y="4"/>
                      <a:pt x="231" y="0"/>
                      <a:pt x="226" y="0"/>
                    </a:cubicBezTo>
                    <a:cubicBezTo>
                      <a:pt x="182" y="0"/>
                      <a:pt x="182" y="0"/>
                      <a:pt x="182" y="0"/>
                    </a:cubicBezTo>
                    <a:cubicBezTo>
                      <a:pt x="182" y="11"/>
                      <a:pt x="182" y="11"/>
                      <a:pt x="182" y="11"/>
                    </a:cubicBezTo>
                    <a:cubicBezTo>
                      <a:pt x="182" y="19"/>
                      <a:pt x="175" y="26"/>
                      <a:pt x="167" y="26"/>
                    </a:cubicBezTo>
                    <a:cubicBezTo>
                      <a:pt x="159" y="26"/>
                      <a:pt x="153" y="19"/>
                      <a:pt x="153" y="11"/>
                    </a:cubicBezTo>
                    <a:cubicBezTo>
                      <a:pt x="153" y="0"/>
                      <a:pt x="153" y="0"/>
                      <a:pt x="153" y="0"/>
                    </a:cubicBezTo>
                    <a:cubicBezTo>
                      <a:pt x="81" y="0"/>
                      <a:pt x="81" y="0"/>
                      <a:pt x="81" y="0"/>
                    </a:cubicBezTo>
                    <a:cubicBezTo>
                      <a:pt x="81" y="11"/>
                      <a:pt x="81" y="11"/>
                      <a:pt x="81" y="11"/>
                    </a:cubicBezTo>
                    <a:cubicBezTo>
                      <a:pt x="81" y="19"/>
                      <a:pt x="75" y="26"/>
                      <a:pt x="67" y="26"/>
                    </a:cubicBezTo>
                    <a:cubicBezTo>
                      <a:pt x="59" y="26"/>
                      <a:pt x="52" y="19"/>
                      <a:pt x="52" y="11"/>
                    </a:cubicBezTo>
                    <a:cubicBezTo>
                      <a:pt x="52" y="0"/>
                      <a:pt x="52" y="0"/>
                      <a:pt x="52" y="0"/>
                    </a:cubicBezTo>
                    <a:cubicBezTo>
                      <a:pt x="8" y="0"/>
                      <a:pt x="8" y="0"/>
                      <a:pt x="8" y="0"/>
                    </a:cubicBezTo>
                    <a:cubicBezTo>
                      <a:pt x="4" y="0"/>
                      <a:pt x="0" y="4"/>
                      <a:pt x="0" y="8"/>
                    </a:cubicBezTo>
                    <a:cubicBezTo>
                      <a:pt x="0" y="192"/>
                      <a:pt x="0" y="192"/>
                      <a:pt x="0" y="192"/>
                    </a:cubicBezTo>
                    <a:cubicBezTo>
                      <a:pt x="0" y="196"/>
                      <a:pt x="4" y="200"/>
                      <a:pt x="8" y="200"/>
                    </a:cubicBezTo>
                    <a:cubicBezTo>
                      <a:pt x="122" y="200"/>
                      <a:pt x="122" y="200"/>
                      <a:pt x="122" y="200"/>
                    </a:cubicBezTo>
                    <a:cubicBezTo>
                      <a:pt x="120" y="195"/>
                      <a:pt x="118" y="190"/>
                      <a:pt x="117" y="1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3" name="Freeform 149"/>
              <p:cNvSpPr>
                <a:spLocks/>
              </p:cNvSpPr>
              <p:nvPr/>
            </p:nvSpPr>
            <p:spPr bwMode="auto">
              <a:xfrm>
                <a:off x="5791" y="3512"/>
                <a:ext cx="38" cy="37"/>
              </a:xfrm>
              <a:custGeom>
                <a:avLst/>
                <a:gdLst>
                  <a:gd name="T0" fmla="*/ 33 w 33"/>
                  <a:gd name="T1" fmla="*/ 3 h 32"/>
                  <a:gd name="T2" fmla="*/ 33 w 33"/>
                  <a:gd name="T3" fmla="*/ 0 h 32"/>
                  <a:gd name="T4" fmla="*/ 0 w 33"/>
                  <a:gd name="T5" fmla="*/ 0 h 32"/>
                  <a:gd name="T6" fmla="*/ 0 w 33"/>
                  <a:gd name="T7" fmla="*/ 32 h 32"/>
                  <a:gd name="T8" fmla="*/ 3 w 33"/>
                  <a:gd name="T9" fmla="*/ 32 h 32"/>
                  <a:gd name="T10" fmla="*/ 33 w 33"/>
                  <a:gd name="T11" fmla="*/ 3 h 32"/>
                </a:gdLst>
                <a:ahLst/>
                <a:cxnLst>
                  <a:cxn ang="0">
                    <a:pos x="T0" y="T1"/>
                  </a:cxn>
                  <a:cxn ang="0">
                    <a:pos x="T2" y="T3"/>
                  </a:cxn>
                  <a:cxn ang="0">
                    <a:pos x="T4" y="T5"/>
                  </a:cxn>
                  <a:cxn ang="0">
                    <a:pos x="T6" y="T7"/>
                  </a:cxn>
                  <a:cxn ang="0">
                    <a:pos x="T8" y="T9"/>
                  </a:cxn>
                  <a:cxn ang="0">
                    <a:pos x="T10" y="T11"/>
                  </a:cxn>
                </a:cxnLst>
                <a:rect l="0" t="0" r="r" b="b"/>
                <a:pathLst>
                  <a:path w="33" h="32">
                    <a:moveTo>
                      <a:pt x="33" y="3"/>
                    </a:moveTo>
                    <a:cubicBezTo>
                      <a:pt x="33" y="0"/>
                      <a:pt x="33" y="0"/>
                      <a:pt x="33" y="0"/>
                    </a:cubicBezTo>
                    <a:cubicBezTo>
                      <a:pt x="0" y="0"/>
                      <a:pt x="0" y="0"/>
                      <a:pt x="0" y="0"/>
                    </a:cubicBezTo>
                    <a:cubicBezTo>
                      <a:pt x="0" y="32"/>
                      <a:pt x="0" y="32"/>
                      <a:pt x="0" y="32"/>
                    </a:cubicBezTo>
                    <a:cubicBezTo>
                      <a:pt x="3" y="32"/>
                      <a:pt x="3" y="32"/>
                      <a:pt x="3" y="32"/>
                    </a:cubicBezTo>
                    <a:cubicBezTo>
                      <a:pt x="10" y="20"/>
                      <a:pt x="20" y="10"/>
                      <a:pt x="3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 name="Freeform 150"/>
              <p:cNvSpPr>
                <a:spLocks noEditPoints="1"/>
              </p:cNvSpPr>
              <p:nvPr/>
            </p:nvSpPr>
            <p:spPr bwMode="auto">
              <a:xfrm>
                <a:off x="5801" y="3529"/>
                <a:ext cx="141" cy="141"/>
              </a:xfrm>
              <a:custGeom>
                <a:avLst/>
                <a:gdLst>
                  <a:gd name="T0" fmla="*/ 61 w 121"/>
                  <a:gd name="T1" fmla="*/ 0 h 122"/>
                  <a:gd name="T2" fmla="*/ 0 w 121"/>
                  <a:gd name="T3" fmla="*/ 61 h 122"/>
                  <a:gd name="T4" fmla="*/ 61 w 121"/>
                  <a:gd name="T5" fmla="*/ 122 h 122"/>
                  <a:gd name="T6" fmla="*/ 121 w 121"/>
                  <a:gd name="T7" fmla="*/ 61 h 122"/>
                  <a:gd name="T8" fmla="*/ 61 w 121"/>
                  <a:gd name="T9" fmla="*/ 0 h 122"/>
                  <a:gd name="T10" fmla="*/ 60 w 121"/>
                  <a:gd name="T11" fmla="*/ 105 h 122"/>
                  <a:gd name="T12" fmla="*/ 16 w 121"/>
                  <a:gd name="T13" fmla="*/ 61 h 122"/>
                  <a:gd name="T14" fmla="*/ 60 w 121"/>
                  <a:gd name="T15" fmla="*/ 17 h 122"/>
                  <a:gd name="T16" fmla="*/ 104 w 121"/>
                  <a:gd name="T17" fmla="*/ 61 h 122"/>
                  <a:gd name="T18" fmla="*/ 60 w 121"/>
                  <a:gd name="T19" fmla="*/ 10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2">
                    <a:moveTo>
                      <a:pt x="61" y="0"/>
                    </a:moveTo>
                    <a:cubicBezTo>
                      <a:pt x="27" y="0"/>
                      <a:pt x="0" y="28"/>
                      <a:pt x="0" y="61"/>
                    </a:cubicBezTo>
                    <a:cubicBezTo>
                      <a:pt x="0" y="95"/>
                      <a:pt x="27" y="122"/>
                      <a:pt x="61" y="122"/>
                    </a:cubicBezTo>
                    <a:cubicBezTo>
                      <a:pt x="94" y="122"/>
                      <a:pt x="121" y="95"/>
                      <a:pt x="121" y="61"/>
                    </a:cubicBezTo>
                    <a:cubicBezTo>
                      <a:pt x="121" y="28"/>
                      <a:pt x="94" y="0"/>
                      <a:pt x="61" y="0"/>
                    </a:cubicBezTo>
                    <a:close/>
                    <a:moveTo>
                      <a:pt x="60" y="105"/>
                    </a:moveTo>
                    <a:cubicBezTo>
                      <a:pt x="36" y="105"/>
                      <a:pt x="16" y="85"/>
                      <a:pt x="16" y="61"/>
                    </a:cubicBezTo>
                    <a:cubicBezTo>
                      <a:pt x="16" y="37"/>
                      <a:pt x="36" y="17"/>
                      <a:pt x="60" y="17"/>
                    </a:cubicBezTo>
                    <a:cubicBezTo>
                      <a:pt x="84" y="17"/>
                      <a:pt x="104" y="37"/>
                      <a:pt x="104" y="61"/>
                    </a:cubicBezTo>
                    <a:cubicBezTo>
                      <a:pt x="104" y="85"/>
                      <a:pt x="84" y="105"/>
                      <a:pt x="60" y="105"/>
                    </a:cubicBezTo>
                    <a:close/>
                  </a:path>
                </a:pathLst>
              </a:custGeom>
              <a:solidFill>
                <a:srgbClr val="E31A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5" name="Freeform 151"/>
              <p:cNvSpPr>
                <a:spLocks/>
              </p:cNvSpPr>
              <p:nvPr/>
            </p:nvSpPr>
            <p:spPr bwMode="auto">
              <a:xfrm>
                <a:off x="5862" y="3560"/>
                <a:ext cx="51" cy="51"/>
              </a:xfrm>
              <a:custGeom>
                <a:avLst/>
                <a:gdLst>
                  <a:gd name="T0" fmla="*/ 36 w 44"/>
                  <a:gd name="T1" fmla="*/ 27 h 44"/>
                  <a:gd name="T2" fmla="*/ 17 w 44"/>
                  <a:gd name="T3" fmla="*/ 27 h 44"/>
                  <a:gd name="T4" fmla="*/ 17 w 44"/>
                  <a:gd name="T5" fmla="*/ 9 h 44"/>
                  <a:gd name="T6" fmla="*/ 9 w 44"/>
                  <a:gd name="T7" fmla="*/ 0 h 44"/>
                  <a:gd name="T8" fmla="*/ 0 w 44"/>
                  <a:gd name="T9" fmla="*/ 9 h 44"/>
                  <a:gd name="T10" fmla="*/ 0 w 44"/>
                  <a:gd name="T11" fmla="*/ 35 h 44"/>
                  <a:gd name="T12" fmla="*/ 0 w 44"/>
                  <a:gd name="T13" fmla="*/ 35 h 44"/>
                  <a:gd name="T14" fmla="*/ 0 w 44"/>
                  <a:gd name="T15" fmla="*/ 35 h 44"/>
                  <a:gd name="T16" fmla="*/ 8 w 44"/>
                  <a:gd name="T17" fmla="*/ 44 h 44"/>
                  <a:gd name="T18" fmla="*/ 36 w 44"/>
                  <a:gd name="T19" fmla="*/ 44 h 44"/>
                  <a:gd name="T20" fmla="*/ 44 w 44"/>
                  <a:gd name="T21" fmla="*/ 35 h 44"/>
                  <a:gd name="T22" fmla="*/ 36 w 44"/>
                  <a:gd name="T23"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36" y="27"/>
                    </a:moveTo>
                    <a:cubicBezTo>
                      <a:pt x="17" y="27"/>
                      <a:pt x="17" y="27"/>
                      <a:pt x="17" y="27"/>
                    </a:cubicBezTo>
                    <a:cubicBezTo>
                      <a:pt x="17" y="9"/>
                      <a:pt x="17" y="9"/>
                      <a:pt x="17" y="9"/>
                    </a:cubicBezTo>
                    <a:cubicBezTo>
                      <a:pt x="17" y="4"/>
                      <a:pt x="13" y="0"/>
                      <a:pt x="9" y="0"/>
                    </a:cubicBezTo>
                    <a:cubicBezTo>
                      <a:pt x="4" y="0"/>
                      <a:pt x="0" y="4"/>
                      <a:pt x="0" y="9"/>
                    </a:cubicBezTo>
                    <a:cubicBezTo>
                      <a:pt x="0" y="35"/>
                      <a:pt x="0" y="35"/>
                      <a:pt x="0" y="35"/>
                    </a:cubicBezTo>
                    <a:cubicBezTo>
                      <a:pt x="0" y="35"/>
                      <a:pt x="0" y="35"/>
                      <a:pt x="0" y="35"/>
                    </a:cubicBezTo>
                    <a:cubicBezTo>
                      <a:pt x="0" y="35"/>
                      <a:pt x="0" y="35"/>
                      <a:pt x="0" y="35"/>
                    </a:cubicBezTo>
                    <a:cubicBezTo>
                      <a:pt x="0" y="40"/>
                      <a:pt x="4" y="44"/>
                      <a:pt x="8" y="44"/>
                    </a:cubicBezTo>
                    <a:cubicBezTo>
                      <a:pt x="36" y="44"/>
                      <a:pt x="36" y="44"/>
                      <a:pt x="36" y="44"/>
                    </a:cubicBezTo>
                    <a:cubicBezTo>
                      <a:pt x="40" y="44"/>
                      <a:pt x="44" y="40"/>
                      <a:pt x="44" y="35"/>
                    </a:cubicBezTo>
                    <a:cubicBezTo>
                      <a:pt x="44" y="31"/>
                      <a:pt x="40" y="27"/>
                      <a:pt x="36" y="27"/>
                    </a:cubicBezTo>
                    <a:close/>
                  </a:path>
                </a:pathLst>
              </a:custGeom>
              <a:solidFill>
                <a:srgbClr val="E31A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6" name="TextBox 5"/>
            <p:cNvSpPr txBox="1"/>
            <p:nvPr/>
          </p:nvSpPr>
          <p:spPr>
            <a:xfrm>
              <a:off x="1977753" y="5579728"/>
              <a:ext cx="1971811" cy="659219"/>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zh-CN" sz="1428" b="0" i="0" u="none" strike="noStrike" kern="0" cap="none" spc="0" normalizeH="0" baseline="0" noProof="0" dirty="0">
                  <a:ln>
                    <a:noFill/>
                  </a:ln>
                  <a:solidFill>
                    <a:srgbClr val="FFFFFF"/>
                  </a:solidFill>
                  <a:effectLst/>
                  <a:uLnTx/>
                  <a:uFillTx/>
                  <a:latin typeface="Segoe UI"/>
                  <a:ea typeface="+mn-ea"/>
                  <a:cs typeface="+mn-cs"/>
                </a:rPr>
                <a:t>Plan for the future compliance requirements</a:t>
              </a:r>
              <a:endParaRPr kumimoji="0" lang="zh-CN" altLang="zh-CN" sz="1428"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20" name="Group 19"/>
          <p:cNvGrpSpPr/>
          <p:nvPr/>
        </p:nvGrpSpPr>
        <p:grpSpPr>
          <a:xfrm>
            <a:off x="989666" y="4634722"/>
            <a:ext cx="3517403" cy="738384"/>
            <a:chOff x="969484" y="4544258"/>
            <a:chExt cx="3448747" cy="723972"/>
          </a:xfrm>
        </p:grpSpPr>
        <p:sp>
          <p:nvSpPr>
            <p:cNvPr id="78" name="Rectangle 77"/>
            <p:cNvSpPr/>
            <p:nvPr/>
          </p:nvSpPr>
          <p:spPr bwMode="auto">
            <a:xfrm>
              <a:off x="969484" y="4544258"/>
              <a:ext cx="3448747" cy="72397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0" rIns="186521" bIns="559562"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zh-CN" sz="1428"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9" name="Freeform 5"/>
            <p:cNvSpPr>
              <a:spLocks noEditPoints="1"/>
            </p:cNvSpPr>
            <p:nvPr/>
          </p:nvSpPr>
          <p:spPr bwMode="auto">
            <a:xfrm>
              <a:off x="1240919" y="4627041"/>
              <a:ext cx="405002" cy="527181"/>
            </a:xfrm>
            <a:custGeom>
              <a:avLst/>
              <a:gdLst>
                <a:gd name="T0" fmla="*/ 4 w 110"/>
                <a:gd name="T1" fmla="*/ 16 h 143"/>
                <a:gd name="T2" fmla="*/ 106 w 110"/>
                <a:gd name="T3" fmla="*/ 16 h 143"/>
                <a:gd name="T4" fmla="*/ 110 w 110"/>
                <a:gd name="T5" fmla="*/ 30 h 143"/>
                <a:gd name="T6" fmla="*/ 0 w 110"/>
                <a:gd name="T7" fmla="*/ 30 h 143"/>
                <a:gd name="T8" fmla="*/ 4 w 110"/>
                <a:gd name="T9" fmla="*/ 16 h 143"/>
                <a:gd name="T10" fmla="*/ 46 w 110"/>
                <a:gd name="T11" fmla="*/ 0 h 143"/>
                <a:gd name="T12" fmla="*/ 65 w 110"/>
                <a:gd name="T13" fmla="*/ 0 h 143"/>
                <a:gd name="T14" fmla="*/ 71 w 110"/>
                <a:gd name="T15" fmla="*/ 6 h 143"/>
                <a:gd name="T16" fmla="*/ 65 w 110"/>
                <a:gd name="T17" fmla="*/ 13 h 143"/>
                <a:gd name="T18" fmla="*/ 46 w 110"/>
                <a:gd name="T19" fmla="*/ 13 h 143"/>
                <a:gd name="T20" fmla="*/ 39 w 110"/>
                <a:gd name="T21" fmla="*/ 6 h 143"/>
                <a:gd name="T22" fmla="*/ 46 w 110"/>
                <a:gd name="T23" fmla="*/ 0 h 143"/>
                <a:gd name="T24" fmla="*/ 14 w 110"/>
                <a:gd name="T25" fmla="*/ 35 h 143"/>
                <a:gd name="T26" fmla="*/ 96 w 110"/>
                <a:gd name="T27" fmla="*/ 35 h 143"/>
                <a:gd name="T28" fmla="*/ 103 w 110"/>
                <a:gd name="T29" fmla="*/ 41 h 143"/>
                <a:gd name="T30" fmla="*/ 96 w 110"/>
                <a:gd name="T31" fmla="*/ 136 h 143"/>
                <a:gd name="T32" fmla="*/ 90 w 110"/>
                <a:gd name="T33" fmla="*/ 143 h 143"/>
                <a:gd name="T34" fmla="*/ 20 w 110"/>
                <a:gd name="T35" fmla="*/ 143 h 143"/>
                <a:gd name="T36" fmla="*/ 14 w 110"/>
                <a:gd name="T37" fmla="*/ 136 h 143"/>
                <a:gd name="T38" fmla="*/ 8 w 110"/>
                <a:gd name="T39" fmla="*/ 41 h 143"/>
                <a:gd name="T40" fmla="*/ 14 w 110"/>
                <a:gd name="T41" fmla="*/ 35 h 143"/>
                <a:gd name="T42" fmla="*/ 23 w 110"/>
                <a:gd name="T43" fmla="*/ 48 h 143"/>
                <a:gd name="T44" fmla="*/ 25 w 110"/>
                <a:gd name="T45" fmla="*/ 130 h 143"/>
                <a:gd name="T46" fmla="*/ 36 w 110"/>
                <a:gd name="T47" fmla="*/ 130 h 143"/>
                <a:gd name="T48" fmla="*/ 34 w 110"/>
                <a:gd name="T49" fmla="*/ 48 h 143"/>
                <a:gd name="T50" fmla="*/ 23 w 110"/>
                <a:gd name="T51" fmla="*/ 48 h 143"/>
                <a:gd name="T52" fmla="*/ 49 w 110"/>
                <a:gd name="T53" fmla="*/ 48 h 143"/>
                <a:gd name="T54" fmla="*/ 49 w 110"/>
                <a:gd name="T55" fmla="*/ 130 h 143"/>
                <a:gd name="T56" fmla="*/ 61 w 110"/>
                <a:gd name="T57" fmla="*/ 130 h 143"/>
                <a:gd name="T58" fmla="*/ 61 w 110"/>
                <a:gd name="T59" fmla="*/ 48 h 143"/>
                <a:gd name="T60" fmla="*/ 49 w 110"/>
                <a:gd name="T61" fmla="*/ 48 h 143"/>
                <a:gd name="T62" fmla="*/ 76 w 110"/>
                <a:gd name="T63" fmla="*/ 48 h 143"/>
                <a:gd name="T64" fmla="*/ 74 w 110"/>
                <a:gd name="T65" fmla="*/ 130 h 143"/>
                <a:gd name="T66" fmla="*/ 85 w 110"/>
                <a:gd name="T67" fmla="*/ 130 h 143"/>
                <a:gd name="T68" fmla="*/ 87 w 110"/>
                <a:gd name="T69" fmla="*/ 48 h 143"/>
                <a:gd name="T70" fmla="*/ 76 w 110"/>
                <a:gd name="T71"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0" h="143">
                  <a:moveTo>
                    <a:pt x="4" y="16"/>
                  </a:moveTo>
                  <a:cubicBezTo>
                    <a:pt x="106" y="16"/>
                    <a:pt x="106" y="16"/>
                    <a:pt x="106" y="16"/>
                  </a:cubicBezTo>
                  <a:cubicBezTo>
                    <a:pt x="109" y="16"/>
                    <a:pt x="110" y="30"/>
                    <a:pt x="110" y="30"/>
                  </a:cubicBezTo>
                  <a:cubicBezTo>
                    <a:pt x="0" y="30"/>
                    <a:pt x="0" y="30"/>
                    <a:pt x="0" y="30"/>
                  </a:cubicBezTo>
                  <a:cubicBezTo>
                    <a:pt x="0" y="30"/>
                    <a:pt x="1" y="16"/>
                    <a:pt x="4" y="16"/>
                  </a:cubicBezTo>
                  <a:close/>
                  <a:moveTo>
                    <a:pt x="46" y="0"/>
                  </a:moveTo>
                  <a:cubicBezTo>
                    <a:pt x="65" y="0"/>
                    <a:pt x="65" y="0"/>
                    <a:pt x="65" y="0"/>
                  </a:cubicBezTo>
                  <a:cubicBezTo>
                    <a:pt x="66" y="0"/>
                    <a:pt x="71" y="5"/>
                    <a:pt x="71" y="6"/>
                  </a:cubicBezTo>
                  <a:cubicBezTo>
                    <a:pt x="71" y="8"/>
                    <a:pt x="66" y="13"/>
                    <a:pt x="65" y="13"/>
                  </a:cubicBezTo>
                  <a:cubicBezTo>
                    <a:pt x="46" y="13"/>
                    <a:pt x="46" y="13"/>
                    <a:pt x="46" y="13"/>
                  </a:cubicBezTo>
                  <a:cubicBezTo>
                    <a:pt x="44" y="13"/>
                    <a:pt x="39" y="8"/>
                    <a:pt x="39" y="6"/>
                  </a:cubicBezTo>
                  <a:cubicBezTo>
                    <a:pt x="39" y="5"/>
                    <a:pt x="44" y="0"/>
                    <a:pt x="46" y="0"/>
                  </a:cubicBezTo>
                  <a:close/>
                  <a:moveTo>
                    <a:pt x="14" y="35"/>
                  </a:moveTo>
                  <a:cubicBezTo>
                    <a:pt x="96" y="35"/>
                    <a:pt x="96" y="35"/>
                    <a:pt x="96" y="35"/>
                  </a:cubicBezTo>
                  <a:cubicBezTo>
                    <a:pt x="100" y="35"/>
                    <a:pt x="103" y="38"/>
                    <a:pt x="103" y="41"/>
                  </a:cubicBezTo>
                  <a:cubicBezTo>
                    <a:pt x="96" y="136"/>
                    <a:pt x="96" y="136"/>
                    <a:pt x="96" y="136"/>
                  </a:cubicBezTo>
                  <a:cubicBezTo>
                    <a:pt x="96" y="140"/>
                    <a:pt x="93" y="143"/>
                    <a:pt x="90" y="143"/>
                  </a:cubicBezTo>
                  <a:cubicBezTo>
                    <a:pt x="20" y="143"/>
                    <a:pt x="20" y="143"/>
                    <a:pt x="20" y="143"/>
                  </a:cubicBezTo>
                  <a:cubicBezTo>
                    <a:pt x="17" y="143"/>
                    <a:pt x="14" y="140"/>
                    <a:pt x="14" y="136"/>
                  </a:cubicBezTo>
                  <a:cubicBezTo>
                    <a:pt x="8" y="41"/>
                    <a:pt x="8" y="41"/>
                    <a:pt x="8" y="41"/>
                  </a:cubicBezTo>
                  <a:cubicBezTo>
                    <a:pt x="8" y="38"/>
                    <a:pt x="10" y="35"/>
                    <a:pt x="14" y="35"/>
                  </a:cubicBezTo>
                  <a:close/>
                  <a:moveTo>
                    <a:pt x="23" y="48"/>
                  </a:moveTo>
                  <a:cubicBezTo>
                    <a:pt x="25" y="130"/>
                    <a:pt x="25" y="130"/>
                    <a:pt x="25" y="130"/>
                  </a:cubicBezTo>
                  <a:cubicBezTo>
                    <a:pt x="36" y="130"/>
                    <a:pt x="36" y="130"/>
                    <a:pt x="36" y="130"/>
                  </a:cubicBezTo>
                  <a:cubicBezTo>
                    <a:pt x="34" y="48"/>
                    <a:pt x="34" y="48"/>
                    <a:pt x="34" y="48"/>
                  </a:cubicBezTo>
                  <a:lnTo>
                    <a:pt x="23" y="48"/>
                  </a:lnTo>
                  <a:close/>
                  <a:moveTo>
                    <a:pt x="49" y="48"/>
                  </a:moveTo>
                  <a:cubicBezTo>
                    <a:pt x="49" y="130"/>
                    <a:pt x="49" y="130"/>
                    <a:pt x="49" y="130"/>
                  </a:cubicBezTo>
                  <a:cubicBezTo>
                    <a:pt x="61" y="130"/>
                    <a:pt x="61" y="130"/>
                    <a:pt x="61" y="130"/>
                  </a:cubicBezTo>
                  <a:cubicBezTo>
                    <a:pt x="61" y="48"/>
                    <a:pt x="61" y="48"/>
                    <a:pt x="61" y="48"/>
                  </a:cubicBezTo>
                  <a:lnTo>
                    <a:pt x="49" y="48"/>
                  </a:lnTo>
                  <a:close/>
                  <a:moveTo>
                    <a:pt x="76" y="48"/>
                  </a:moveTo>
                  <a:cubicBezTo>
                    <a:pt x="74" y="130"/>
                    <a:pt x="74" y="130"/>
                    <a:pt x="74" y="130"/>
                  </a:cubicBezTo>
                  <a:cubicBezTo>
                    <a:pt x="85" y="130"/>
                    <a:pt x="85" y="130"/>
                    <a:pt x="85" y="130"/>
                  </a:cubicBezTo>
                  <a:cubicBezTo>
                    <a:pt x="87" y="48"/>
                    <a:pt x="87" y="48"/>
                    <a:pt x="87" y="48"/>
                  </a:cubicBezTo>
                  <a:lnTo>
                    <a:pt x="76" y="48"/>
                  </a:ln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0" name="TextBox 79"/>
            <p:cNvSpPr txBox="1"/>
            <p:nvPr/>
          </p:nvSpPr>
          <p:spPr>
            <a:xfrm>
              <a:off x="1977753" y="4713390"/>
              <a:ext cx="2371741" cy="439479"/>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zh-CN" sz="1428" b="0" i="0" u="none" strike="noStrike" kern="0" cap="none" spc="0" normalizeH="0" baseline="0" noProof="0" dirty="0">
                  <a:ln>
                    <a:noFill/>
                  </a:ln>
                  <a:solidFill>
                    <a:srgbClr val="FFFFFF"/>
                  </a:solidFill>
                  <a:effectLst/>
                  <a:uLnTx/>
                  <a:uFillTx/>
                  <a:latin typeface="Segoe UI"/>
                  <a:ea typeface="+mn-ea"/>
                  <a:cs typeface="+mn-cs"/>
                </a:rPr>
                <a:t>Remove </a:t>
              </a:r>
              <a:r>
                <a:rPr kumimoji="0" lang="en-US" sz="1428" b="0" i="0" u="none" strike="noStrike" kern="0" cap="none" spc="0" normalizeH="0" baseline="0" noProof="0" dirty="0">
                  <a:ln>
                    <a:noFill/>
                  </a:ln>
                  <a:solidFill>
                    <a:srgbClr val="FFFFFF"/>
                  </a:solidFill>
                  <a:effectLst/>
                  <a:uLnTx/>
                  <a:uFillTx/>
                  <a:latin typeface="Segoe UI"/>
                  <a:ea typeface="+mn-ea"/>
                  <a:cs typeface="+mn-cs"/>
                </a:rPr>
                <a:t>ROT - Redundant, Obsolete and Trivial </a:t>
              </a:r>
              <a:endParaRPr kumimoji="0" lang="zh-CN" altLang="zh-CN" sz="1428"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6" name="Group 15"/>
          <p:cNvGrpSpPr/>
          <p:nvPr/>
        </p:nvGrpSpPr>
        <p:grpSpPr>
          <a:xfrm>
            <a:off x="989666" y="3790575"/>
            <a:ext cx="3517403" cy="738384"/>
            <a:chOff x="969484" y="3716588"/>
            <a:chExt cx="3448747" cy="723972"/>
          </a:xfrm>
        </p:grpSpPr>
        <p:sp>
          <p:nvSpPr>
            <p:cNvPr id="75" name="Rectangle 74"/>
            <p:cNvSpPr/>
            <p:nvPr/>
          </p:nvSpPr>
          <p:spPr bwMode="auto">
            <a:xfrm>
              <a:off x="969484" y="3716588"/>
              <a:ext cx="3448747" cy="72397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0" rIns="186521" bIns="559562"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zh-CN" sz="1428"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70" name="Picture 69"/>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250018" y="3828441"/>
              <a:ext cx="386379" cy="482974"/>
            </a:xfrm>
            <a:prstGeom prst="rect">
              <a:avLst/>
            </a:prstGeom>
          </p:spPr>
        </p:pic>
        <p:sp>
          <p:nvSpPr>
            <p:cNvPr id="81" name="TextBox 80"/>
            <p:cNvSpPr txBox="1"/>
            <p:nvPr/>
          </p:nvSpPr>
          <p:spPr>
            <a:xfrm>
              <a:off x="1967719" y="3874921"/>
              <a:ext cx="2371741" cy="439479"/>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zh-CN" sz="1428" b="0" i="0" u="none" strike="noStrike" kern="0" cap="none" spc="0" normalizeH="0" baseline="0" noProof="0" dirty="0">
                  <a:ln>
                    <a:noFill/>
                  </a:ln>
                  <a:solidFill>
                    <a:srgbClr val="FFFFFF"/>
                  </a:solidFill>
                  <a:effectLst/>
                  <a:uLnTx/>
                  <a:uFillTx/>
                  <a:latin typeface="Segoe UI"/>
                  <a:ea typeface="+mn-ea"/>
                  <a:cs typeface="+mn-cs"/>
                </a:rPr>
                <a:t>Take action on content (move, delete, redact, encrypt)</a:t>
              </a:r>
              <a:endParaRPr kumimoji="0" lang="zh-CN" altLang="zh-CN" sz="1428"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0" name="Group 9"/>
          <p:cNvGrpSpPr/>
          <p:nvPr/>
        </p:nvGrpSpPr>
        <p:grpSpPr>
          <a:xfrm>
            <a:off x="989666" y="2956664"/>
            <a:ext cx="3517403" cy="738384"/>
            <a:chOff x="969484" y="2898954"/>
            <a:chExt cx="3448747" cy="723972"/>
          </a:xfrm>
        </p:grpSpPr>
        <p:sp>
          <p:nvSpPr>
            <p:cNvPr id="76" name="Rectangle 75"/>
            <p:cNvSpPr/>
            <p:nvPr/>
          </p:nvSpPr>
          <p:spPr bwMode="auto">
            <a:xfrm>
              <a:off x="969484" y="2898954"/>
              <a:ext cx="3448747" cy="72397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0" rIns="186521" bIns="559562"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zh-CN" sz="1428"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57" name="Group 4"/>
            <p:cNvGrpSpPr>
              <a:grpSpLocks noChangeAspect="1"/>
            </p:cNvGrpSpPr>
            <p:nvPr/>
          </p:nvGrpSpPr>
          <p:grpSpPr bwMode="auto">
            <a:xfrm>
              <a:off x="1232812" y="3000073"/>
              <a:ext cx="447168" cy="524486"/>
              <a:chOff x="4280" y="1827"/>
              <a:chExt cx="561" cy="658"/>
            </a:xfrm>
            <a:solidFill>
              <a:schemeClr val="bg1"/>
            </a:solidFill>
          </p:grpSpPr>
          <p:sp>
            <p:nvSpPr>
              <p:cNvPr id="60" name="Freeform 6"/>
              <p:cNvSpPr>
                <a:spLocks/>
              </p:cNvSpPr>
              <p:nvPr/>
            </p:nvSpPr>
            <p:spPr bwMode="auto">
              <a:xfrm>
                <a:off x="4367" y="2154"/>
                <a:ext cx="193" cy="270"/>
              </a:xfrm>
              <a:custGeom>
                <a:avLst/>
                <a:gdLst>
                  <a:gd name="T0" fmla="*/ 38 w 38"/>
                  <a:gd name="T1" fmla="*/ 0 h 53"/>
                  <a:gd name="T2" fmla="*/ 0 w 38"/>
                  <a:gd name="T3" fmla="*/ 0 h 53"/>
                  <a:gd name="T4" fmla="*/ 38 w 38"/>
                  <a:gd name="T5" fmla="*/ 53 h 53"/>
                  <a:gd name="T6" fmla="*/ 38 w 38"/>
                  <a:gd name="T7" fmla="*/ 0 h 53"/>
                </a:gdLst>
                <a:ahLst/>
                <a:cxnLst>
                  <a:cxn ang="0">
                    <a:pos x="T0" y="T1"/>
                  </a:cxn>
                  <a:cxn ang="0">
                    <a:pos x="T2" y="T3"/>
                  </a:cxn>
                  <a:cxn ang="0">
                    <a:pos x="T4" y="T5"/>
                  </a:cxn>
                  <a:cxn ang="0">
                    <a:pos x="T6" y="T7"/>
                  </a:cxn>
                </a:cxnLst>
                <a:rect l="0" t="0" r="r" b="b"/>
                <a:pathLst>
                  <a:path w="38" h="53">
                    <a:moveTo>
                      <a:pt x="38" y="0"/>
                    </a:moveTo>
                    <a:cubicBezTo>
                      <a:pt x="0" y="0"/>
                      <a:pt x="0" y="0"/>
                      <a:pt x="0" y="0"/>
                    </a:cubicBezTo>
                    <a:cubicBezTo>
                      <a:pt x="7" y="24"/>
                      <a:pt x="19" y="41"/>
                      <a:pt x="38" y="53"/>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1" name="Freeform 7"/>
              <p:cNvSpPr>
                <a:spLocks noEditPoints="1"/>
              </p:cNvSpPr>
              <p:nvPr/>
            </p:nvSpPr>
            <p:spPr bwMode="auto">
              <a:xfrm>
                <a:off x="4280" y="1827"/>
                <a:ext cx="561" cy="658"/>
              </a:xfrm>
              <a:custGeom>
                <a:avLst/>
                <a:gdLst>
                  <a:gd name="T0" fmla="*/ 108 w 110"/>
                  <a:gd name="T1" fmla="*/ 25 h 129"/>
                  <a:gd name="T2" fmla="*/ 104 w 110"/>
                  <a:gd name="T3" fmla="*/ 23 h 129"/>
                  <a:gd name="T4" fmla="*/ 69 w 110"/>
                  <a:gd name="T5" fmla="*/ 5 h 129"/>
                  <a:gd name="T6" fmla="*/ 56 w 110"/>
                  <a:gd name="T7" fmla="*/ 0 h 129"/>
                  <a:gd name="T8" fmla="*/ 55 w 110"/>
                  <a:gd name="T9" fmla="*/ 0 h 129"/>
                  <a:gd name="T10" fmla="*/ 54 w 110"/>
                  <a:gd name="T11" fmla="*/ 0 h 129"/>
                  <a:gd name="T12" fmla="*/ 41 w 110"/>
                  <a:gd name="T13" fmla="*/ 5 h 129"/>
                  <a:gd name="T14" fmla="*/ 5 w 110"/>
                  <a:gd name="T15" fmla="*/ 23 h 129"/>
                  <a:gd name="T16" fmla="*/ 1 w 110"/>
                  <a:gd name="T17" fmla="*/ 25 h 129"/>
                  <a:gd name="T18" fmla="*/ 0 w 110"/>
                  <a:gd name="T19" fmla="*/ 29 h 129"/>
                  <a:gd name="T20" fmla="*/ 52 w 110"/>
                  <a:gd name="T21" fmla="*/ 129 h 129"/>
                  <a:gd name="T22" fmla="*/ 55 w 110"/>
                  <a:gd name="T23" fmla="*/ 129 h 129"/>
                  <a:gd name="T24" fmla="*/ 57 w 110"/>
                  <a:gd name="T25" fmla="*/ 129 h 129"/>
                  <a:gd name="T26" fmla="*/ 110 w 110"/>
                  <a:gd name="T27" fmla="*/ 29 h 129"/>
                  <a:gd name="T28" fmla="*/ 108 w 110"/>
                  <a:gd name="T29" fmla="*/ 25 h 129"/>
                  <a:gd name="T30" fmla="*/ 55 w 110"/>
                  <a:gd name="T31" fmla="*/ 123 h 129"/>
                  <a:gd name="T32" fmla="*/ 6 w 110"/>
                  <a:gd name="T33" fmla="*/ 29 h 129"/>
                  <a:gd name="T34" fmla="*/ 35 w 110"/>
                  <a:gd name="T35" fmla="*/ 17 h 129"/>
                  <a:gd name="T36" fmla="*/ 44 w 110"/>
                  <a:gd name="T37" fmla="*/ 11 h 129"/>
                  <a:gd name="T38" fmla="*/ 55 w 110"/>
                  <a:gd name="T39" fmla="*/ 6 h 129"/>
                  <a:gd name="T40" fmla="*/ 66 w 110"/>
                  <a:gd name="T41" fmla="*/ 11 h 129"/>
                  <a:gd name="T42" fmla="*/ 75 w 110"/>
                  <a:gd name="T43" fmla="*/ 17 h 129"/>
                  <a:gd name="T44" fmla="*/ 103 w 110"/>
                  <a:gd name="T45" fmla="*/ 29 h 129"/>
                  <a:gd name="T46" fmla="*/ 55 w 110"/>
                  <a:gd name="T47" fmla="*/ 1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129">
                    <a:moveTo>
                      <a:pt x="108" y="25"/>
                    </a:moveTo>
                    <a:cubicBezTo>
                      <a:pt x="107" y="23"/>
                      <a:pt x="106" y="23"/>
                      <a:pt x="104" y="23"/>
                    </a:cubicBezTo>
                    <a:cubicBezTo>
                      <a:pt x="93" y="22"/>
                      <a:pt x="78" y="10"/>
                      <a:pt x="69" y="5"/>
                    </a:cubicBezTo>
                    <a:cubicBezTo>
                      <a:pt x="63" y="2"/>
                      <a:pt x="59" y="0"/>
                      <a:pt x="56" y="0"/>
                    </a:cubicBezTo>
                    <a:cubicBezTo>
                      <a:pt x="55" y="0"/>
                      <a:pt x="55" y="0"/>
                      <a:pt x="55" y="0"/>
                    </a:cubicBezTo>
                    <a:cubicBezTo>
                      <a:pt x="55" y="0"/>
                      <a:pt x="54" y="0"/>
                      <a:pt x="54" y="0"/>
                    </a:cubicBezTo>
                    <a:cubicBezTo>
                      <a:pt x="51" y="0"/>
                      <a:pt x="47" y="2"/>
                      <a:pt x="41" y="5"/>
                    </a:cubicBezTo>
                    <a:cubicBezTo>
                      <a:pt x="31" y="10"/>
                      <a:pt x="17" y="22"/>
                      <a:pt x="5" y="23"/>
                    </a:cubicBezTo>
                    <a:cubicBezTo>
                      <a:pt x="4" y="23"/>
                      <a:pt x="2" y="23"/>
                      <a:pt x="1" y="25"/>
                    </a:cubicBezTo>
                    <a:cubicBezTo>
                      <a:pt x="0" y="26"/>
                      <a:pt x="0" y="27"/>
                      <a:pt x="0" y="29"/>
                    </a:cubicBezTo>
                    <a:cubicBezTo>
                      <a:pt x="2" y="79"/>
                      <a:pt x="20" y="110"/>
                      <a:pt x="52" y="129"/>
                    </a:cubicBezTo>
                    <a:cubicBezTo>
                      <a:pt x="53" y="129"/>
                      <a:pt x="54" y="129"/>
                      <a:pt x="55" y="129"/>
                    </a:cubicBezTo>
                    <a:cubicBezTo>
                      <a:pt x="56" y="129"/>
                      <a:pt x="57" y="129"/>
                      <a:pt x="57" y="129"/>
                    </a:cubicBezTo>
                    <a:cubicBezTo>
                      <a:pt x="89" y="110"/>
                      <a:pt x="107" y="79"/>
                      <a:pt x="110" y="29"/>
                    </a:cubicBezTo>
                    <a:cubicBezTo>
                      <a:pt x="110" y="27"/>
                      <a:pt x="109" y="26"/>
                      <a:pt x="108" y="25"/>
                    </a:cubicBezTo>
                    <a:close/>
                    <a:moveTo>
                      <a:pt x="55" y="123"/>
                    </a:moveTo>
                    <a:cubicBezTo>
                      <a:pt x="24" y="105"/>
                      <a:pt x="9" y="75"/>
                      <a:pt x="6" y="29"/>
                    </a:cubicBezTo>
                    <a:cubicBezTo>
                      <a:pt x="16" y="29"/>
                      <a:pt x="26" y="22"/>
                      <a:pt x="35" y="17"/>
                    </a:cubicBezTo>
                    <a:cubicBezTo>
                      <a:pt x="38" y="15"/>
                      <a:pt x="41" y="12"/>
                      <a:pt x="44" y="11"/>
                    </a:cubicBezTo>
                    <a:cubicBezTo>
                      <a:pt x="49" y="9"/>
                      <a:pt x="53" y="7"/>
                      <a:pt x="55" y="6"/>
                    </a:cubicBezTo>
                    <a:cubicBezTo>
                      <a:pt x="57" y="7"/>
                      <a:pt x="61" y="9"/>
                      <a:pt x="66" y="11"/>
                    </a:cubicBezTo>
                    <a:cubicBezTo>
                      <a:pt x="68" y="12"/>
                      <a:pt x="72" y="15"/>
                      <a:pt x="75" y="17"/>
                    </a:cubicBezTo>
                    <a:cubicBezTo>
                      <a:pt x="84" y="22"/>
                      <a:pt x="94" y="29"/>
                      <a:pt x="103" y="29"/>
                    </a:cubicBezTo>
                    <a:cubicBezTo>
                      <a:pt x="101" y="75"/>
                      <a:pt x="85" y="105"/>
                      <a:pt x="55"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2" name="Freeform 8"/>
              <p:cNvSpPr>
                <a:spLocks/>
              </p:cNvSpPr>
              <p:nvPr/>
            </p:nvSpPr>
            <p:spPr bwMode="auto">
              <a:xfrm>
                <a:off x="4560" y="1888"/>
                <a:ext cx="220" cy="266"/>
              </a:xfrm>
              <a:custGeom>
                <a:avLst/>
                <a:gdLst>
                  <a:gd name="T0" fmla="*/ 43 w 43"/>
                  <a:gd name="T1" fmla="*/ 22 h 52"/>
                  <a:gd name="T2" fmla="*/ 17 w 43"/>
                  <a:gd name="T3" fmla="*/ 9 h 52"/>
                  <a:gd name="T4" fmla="*/ 8 w 43"/>
                  <a:gd name="T5" fmla="*/ 4 h 52"/>
                  <a:gd name="T6" fmla="*/ 0 w 43"/>
                  <a:gd name="T7" fmla="*/ 0 h 52"/>
                  <a:gd name="T8" fmla="*/ 0 w 43"/>
                  <a:gd name="T9" fmla="*/ 52 h 52"/>
                  <a:gd name="T10" fmla="*/ 38 w 43"/>
                  <a:gd name="T11" fmla="*/ 52 h 52"/>
                  <a:gd name="T12" fmla="*/ 43 w 43"/>
                  <a:gd name="T13" fmla="*/ 22 h 52"/>
                </a:gdLst>
                <a:ahLst/>
                <a:cxnLst>
                  <a:cxn ang="0">
                    <a:pos x="T0" y="T1"/>
                  </a:cxn>
                  <a:cxn ang="0">
                    <a:pos x="T2" y="T3"/>
                  </a:cxn>
                  <a:cxn ang="0">
                    <a:pos x="T4" y="T5"/>
                  </a:cxn>
                  <a:cxn ang="0">
                    <a:pos x="T6" y="T7"/>
                  </a:cxn>
                  <a:cxn ang="0">
                    <a:pos x="T8" y="T9"/>
                  </a:cxn>
                  <a:cxn ang="0">
                    <a:pos x="T10" y="T11"/>
                  </a:cxn>
                  <a:cxn ang="0">
                    <a:pos x="T12" y="T13"/>
                  </a:cxn>
                </a:cxnLst>
                <a:rect l="0" t="0" r="r" b="b"/>
                <a:pathLst>
                  <a:path w="43" h="52">
                    <a:moveTo>
                      <a:pt x="43" y="22"/>
                    </a:moveTo>
                    <a:cubicBezTo>
                      <a:pt x="34" y="20"/>
                      <a:pt x="25" y="14"/>
                      <a:pt x="17" y="9"/>
                    </a:cubicBezTo>
                    <a:cubicBezTo>
                      <a:pt x="14" y="7"/>
                      <a:pt x="11" y="5"/>
                      <a:pt x="8" y="4"/>
                    </a:cubicBezTo>
                    <a:cubicBezTo>
                      <a:pt x="5" y="2"/>
                      <a:pt x="2" y="0"/>
                      <a:pt x="0" y="0"/>
                    </a:cubicBezTo>
                    <a:cubicBezTo>
                      <a:pt x="0" y="52"/>
                      <a:pt x="0" y="52"/>
                      <a:pt x="0" y="52"/>
                    </a:cubicBezTo>
                    <a:cubicBezTo>
                      <a:pt x="38" y="52"/>
                      <a:pt x="38" y="52"/>
                      <a:pt x="38" y="52"/>
                    </a:cubicBezTo>
                    <a:cubicBezTo>
                      <a:pt x="40" y="43"/>
                      <a:pt x="42" y="33"/>
                      <a:pt x="43" y="22"/>
                    </a:cubicBezTo>
                    <a:close/>
                  </a:path>
                </a:pathLst>
              </a:custGeom>
              <a:solidFill>
                <a:srgbClr val="E31A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82" name="TextBox 81"/>
            <p:cNvSpPr txBox="1"/>
            <p:nvPr/>
          </p:nvSpPr>
          <p:spPr>
            <a:xfrm>
              <a:off x="1936976" y="3068741"/>
              <a:ext cx="2371741" cy="439479"/>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zh-CN" sz="1428" b="0" i="0" u="none" strike="noStrike" kern="0" cap="none" spc="0" normalizeH="0" baseline="0" noProof="0" dirty="0">
                  <a:ln>
                    <a:noFill/>
                  </a:ln>
                  <a:solidFill>
                    <a:srgbClr val="FFFFFF"/>
                  </a:solidFill>
                  <a:effectLst/>
                  <a:uLnTx/>
                  <a:uFillTx/>
                  <a:latin typeface="Segoe UI"/>
                  <a:ea typeface="+mn-ea"/>
                  <a:cs typeface="+mn-cs"/>
                </a:rPr>
                <a:t>Enforce compliance &amp; protect sensitive content</a:t>
              </a:r>
              <a:endParaRPr kumimoji="0" lang="zh-CN" altLang="zh-CN" sz="1428"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5" name="Group 4"/>
          <p:cNvGrpSpPr/>
          <p:nvPr/>
        </p:nvGrpSpPr>
        <p:grpSpPr>
          <a:xfrm>
            <a:off x="989666" y="2080762"/>
            <a:ext cx="3517403" cy="738384"/>
            <a:chOff x="969484" y="2040148"/>
            <a:chExt cx="3448747" cy="723972"/>
          </a:xfrm>
        </p:grpSpPr>
        <p:sp>
          <p:nvSpPr>
            <p:cNvPr id="63" name="Rectangle 62"/>
            <p:cNvSpPr/>
            <p:nvPr/>
          </p:nvSpPr>
          <p:spPr bwMode="auto">
            <a:xfrm>
              <a:off x="969484" y="2040148"/>
              <a:ext cx="3448747" cy="72397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0" rIns="186521" bIns="559562"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zh-CN" sz="1428"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64" name="Group 11"/>
            <p:cNvGrpSpPr>
              <a:grpSpLocks noChangeAspect="1"/>
            </p:cNvGrpSpPr>
            <p:nvPr/>
          </p:nvGrpSpPr>
          <p:grpSpPr bwMode="auto">
            <a:xfrm>
              <a:off x="1259080" y="2166443"/>
              <a:ext cx="462207" cy="464848"/>
              <a:chOff x="773" y="1407"/>
              <a:chExt cx="350" cy="352"/>
            </a:xfrm>
          </p:grpSpPr>
          <p:sp>
            <p:nvSpPr>
              <p:cNvPr id="65" name="AutoShape 10"/>
              <p:cNvSpPr>
                <a:spLocks noChangeAspect="1" noChangeArrowheads="1" noTextEdit="1"/>
              </p:cNvSpPr>
              <p:nvPr/>
            </p:nvSpPr>
            <p:spPr bwMode="auto">
              <a:xfrm>
                <a:off x="773" y="1407"/>
                <a:ext cx="350"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6" name="Freeform 12"/>
              <p:cNvSpPr>
                <a:spLocks/>
              </p:cNvSpPr>
              <p:nvPr/>
            </p:nvSpPr>
            <p:spPr bwMode="auto">
              <a:xfrm>
                <a:off x="876" y="1477"/>
                <a:ext cx="177" cy="176"/>
              </a:xfrm>
              <a:custGeom>
                <a:avLst/>
                <a:gdLst>
                  <a:gd name="T0" fmla="*/ 115 w 229"/>
                  <a:gd name="T1" fmla="*/ 0 h 229"/>
                  <a:gd name="T2" fmla="*/ 0 w 229"/>
                  <a:gd name="T3" fmla="*/ 115 h 229"/>
                  <a:gd name="T4" fmla="*/ 1 w 229"/>
                  <a:gd name="T5" fmla="*/ 124 h 229"/>
                  <a:gd name="T6" fmla="*/ 42 w 229"/>
                  <a:gd name="T7" fmla="*/ 124 h 229"/>
                  <a:gd name="T8" fmla="*/ 42 w 229"/>
                  <a:gd name="T9" fmla="*/ 115 h 229"/>
                  <a:gd name="T10" fmla="*/ 115 w 229"/>
                  <a:gd name="T11" fmla="*/ 42 h 229"/>
                  <a:gd name="T12" fmla="*/ 188 w 229"/>
                  <a:gd name="T13" fmla="*/ 115 h 229"/>
                  <a:gd name="T14" fmla="*/ 115 w 229"/>
                  <a:gd name="T15" fmla="*/ 188 h 229"/>
                  <a:gd name="T16" fmla="*/ 111 w 229"/>
                  <a:gd name="T17" fmla="*/ 188 h 229"/>
                  <a:gd name="T18" fmla="*/ 111 w 229"/>
                  <a:gd name="T19" fmla="*/ 229 h 229"/>
                  <a:gd name="T20" fmla="*/ 115 w 229"/>
                  <a:gd name="T21" fmla="*/ 229 h 229"/>
                  <a:gd name="T22" fmla="*/ 229 w 229"/>
                  <a:gd name="T23" fmla="*/ 115 h 229"/>
                  <a:gd name="T24" fmla="*/ 115 w 229"/>
                  <a:gd name="T25" fmla="*/ 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29">
                    <a:moveTo>
                      <a:pt x="115" y="0"/>
                    </a:moveTo>
                    <a:cubicBezTo>
                      <a:pt x="51" y="0"/>
                      <a:pt x="0" y="52"/>
                      <a:pt x="0" y="115"/>
                    </a:cubicBezTo>
                    <a:cubicBezTo>
                      <a:pt x="0" y="118"/>
                      <a:pt x="0" y="121"/>
                      <a:pt x="1" y="124"/>
                    </a:cubicBezTo>
                    <a:cubicBezTo>
                      <a:pt x="42" y="124"/>
                      <a:pt x="42" y="124"/>
                      <a:pt x="42" y="124"/>
                    </a:cubicBezTo>
                    <a:cubicBezTo>
                      <a:pt x="42" y="121"/>
                      <a:pt x="42" y="118"/>
                      <a:pt x="42" y="115"/>
                    </a:cubicBezTo>
                    <a:cubicBezTo>
                      <a:pt x="42" y="74"/>
                      <a:pt x="74" y="42"/>
                      <a:pt x="115" y="42"/>
                    </a:cubicBezTo>
                    <a:cubicBezTo>
                      <a:pt x="155" y="42"/>
                      <a:pt x="188" y="74"/>
                      <a:pt x="188" y="115"/>
                    </a:cubicBezTo>
                    <a:cubicBezTo>
                      <a:pt x="188" y="155"/>
                      <a:pt x="155" y="188"/>
                      <a:pt x="115" y="188"/>
                    </a:cubicBezTo>
                    <a:cubicBezTo>
                      <a:pt x="113" y="188"/>
                      <a:pt x="112" y="188"/>
                      <a:pt x="111" y="188"/>
                    </a:cubicBezTo>
                    <a:cubicBezTo>
                      <a:pt x="111" y="229"/>
                      <a:pt x="111" y="229"/>
                      <a:pt x="111" y="229"/>
                    </a:cubicBezTo>
                    <a:cubicBezTo>
                      <a:pt x="112" y="229"/>
                      <a:pt x="113" y="229"/>
                      <a:pt x="115" y="229"/>
                    </a:cubicBezTo>
                    <a:cubicBezTo>
                      <a:pt x="178" y="229"/>
                      <a:pt x="229" y="178"/>
                      <a:pt x="229" y="115"/>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7" name="Freeform 13"/>
              <p:cNvSpPr>
                <a:spLocks/>
              </p:cNvSpPr>
              <p:nvPr/>
            </p:nvSpPr>
            <p:spPr bwMode="auto">
              <a:xfrm>
                <a:off x="808" y="1408"/>
                <a:ext cx="315" cy="315"/>
              </a:xfrm>
              <a:custGeom>
                <a:avLst/>
                <a:gdLst>
                  <a:gd name="T0" fmla="*/ 204 w 408"/>
                  <a:gd name="T1" fmla="*/ 0 h 408"/>
                  <a:gd name="T2" fmla="*/ 0 w 408"/>
                  <a:gd name="T3" fmla="*/ 204 h 408"/>
                  <a:gd name="T4" fmla="*/ 0 w 408"/>
                  <a:gd name="T5" fmla="*/ 210 h 408"/>
                  <a:gd name="T6" fmla="*/ 44 w 408"/>
                  <a:gd name="T7" fmla="*/ 210 h 408"/>
                  <a:gd name="T8" fmla="*/ 44 w 408"/>
                  <a:gd name="T9" fmla="*/ 204 h 408"/>
                  <a:gd name="T10" fmla="*/ 204 w 408"/>
                  <a:gd name="T11" fmla="*/ 44 h 408"/>
                  <a:gd name="T12" fmla="*/ 363 w 408"/>
                  <a:gd name="T13" fmla="*/ 204 h 408"/>
                  <a:gd name="T14" fmla="*/ 204 w 408"/>
                  <a:gd name="T15" fmla="*/ 363 h 408"/>
                  <a:gd name="T16" fmla="*/ 199 w 408"/>
                  <a:gd name="T17" fmla="*/ 363 h 408"/>
                  <a:gd name="T18" fmla="*/ 199 w 408"/>
                  <a:gd name="T19" fmla="*/ 408 h 408"/>
                  <a:gd name="T20" fmla="*/ 204 w 408"/>
                  <a:gd name="T21" fmla="*/ 408 h 408"/>
                  <a:gd name="T22" fmla="*/ 408 w 408"/>
                  <a:gd name="T23" fmla="*/ 204 h 408"/>
                  <a:gd name="T24" fmla="*/ 204 w 408"/>
                  <a:gd name="T25"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8" h="408">
                    <a:moveTo>
                      <a:pt x="204" y="0"/>
                    </a:moveTo>
                    <a:cubicBezTo>
                      <a:pt x="91" y="0"/>
                      <a:pt x="0" y="91"/>
                      <a:pt x="0" y="204"/>
                    </a:cubicBezTo>
                    <a:cubicBezTo>
                      <a:pt x="0" y="206"/>
                      <a:pt x="0" y="208"/>
                      <a:pt x="0" y="210"/>
                    </a:cubicBezTo>
                    <a:cubicBezTo>
                      <a:pt x="44" y="210"/>
                      <a:pt x="44" y="210"/>
                      <a:pt x="44" y="210"/>
                    </a:cubicBezTo>
                    <a:cubicBezTo>
                      <a:pt x="44" y="208"/>
                      <a:pt x="44" y="206"/>
                      <a:pt x="44" y="204"/>
                    </a:cubicBezTo>
                    <a:cubicBezTo>
                      <a:pt x="44" y="116"/>
                      <a:pt x="116" y="44"/>
                      <a:pt x="204" y="44"/>
                    </a:cubicBezTo>
                    <a:cubicBezTo>
                      <a:pt x="292" y="44"/>
                      <a:pt x="363" y="116"/>
                      <a:pt x="363" y="204"/>
                    </a:cubicBezTo>
                    <a:cubicBezTo>
                      <a:pt x="363" y="292"/>
                      <a:pt x="292" y="363"/>
                      <a:pt x="204" y="363"/>
                    </a:cubicBezTo>
                    <a:cubicBezTo>
                      <a:pt x="202" y="363"/>
                      <a:pt x="200" y="363"/>
                      <a:pt x="199" y="363"/>
                    </a:cubicBezTo>
                    <a:cubicBezTo>
                      <a:pt x="199" y="408"/>
                      <a:pt x="199" y="408"/>
                      <a:pt x="199" y="408"/>
                    </a:cubicBezTo>
                    <a:cubicBezTo>
                      <a:pt x="200" y="408"/>
                      <a:pt x="202" y="408"/>
                      <a:pt x="204" y="408"/>
                    </a:cubicBezTo>
                    <a:cubicBezTo>
                      <a:pt x="316" y="408"/>
                      <a:pt x="408" y="317"/>
                      <a:pt x="408" y="204"/>
                    </a:cubicBezTo>
                    <a:cubicBezTo>
                      <a:pt x="408" y="91"/>
                      <a:pt x="316"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8" name="Oval 14"/>
              <p:cNvSpPr>
                <a:spLocks noChangeArrowheads="1"/>
              </p:cNvSpPr>
              <p:nvPr/>
            </p:nvSpPr>
            <p:spPr bwMode="auto">
              <a:xfrm>
                <a:off x="941" y="1542"/>
                <a:ext cx="46" cy="45"/>
              </a:xfrm>
              <a:prstGeom prst="ellipse">
                <a:avLst/>
              </a:prstGeom>
              <a:solidFill>
                <a:srgbClr val="E31A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9" name="Freeform 15"/>
              <p:cNvSpPr>
                <a:spLocks/>
              </p:cNvSpPr>
              <p:nvPr/>
            </p:nvSpPr>
            <p:spPr bwMode="auto">
              <a:xfrm>
                <a:off x="772" y="1599"/>
                <a:ext cx="159" cy="159"/>
              </a:xfrm>
              <a:custGeom>
                <a:avLst/>
                <a:gdLst>
                  <a:gd name="T0" fmla="*/ 44 w 159"/>
                  <a:gd name="T1" fmla="*/ 6 h 159"/>
                  <a:gd name="T2" fmla="*/ 159 w 159"/>
                  <a:gd name="T3" fmla="*/ 0 h 159"/>
                  <a:gd name="T4" fmla="*/ 154 w 159"/>
                  <a:gd name="T5" fmla="*/ 118 h 159"/>
                  <a:gd name="T6" fmla="*/ 129 w 159"/>
                  <a:gd name="T7" fmla="*/ 77 h 159"/>
                  <a:gd name="T8" fmla="*/ 50 w 159"/>
                  <a:gd name="T9" fmla="*/ 159 h 159"/>
                  <a:gd name="T10" fmla="*/ 0 w 159"/>
                  <a:gd name="T11" fmla="*/ 111 h 159"/>
                  <a:gd name="T12" fmla="*/ 82 w 159"/>
                  <a:gd name="T13" fmla="*/ 29 h 159"/>
                  <a:gd name="T14" fmla="*/ 44 w 159"/>
                  <a:gd name="T15" fmla="*/ 6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59">
                    <a:moveTo>
                      <a:pt x="44" y="6"/>
                    </a:moveTo>
                    <a:lnTo>
                      <a:pt x="159" y="0"/>
                    </a:lnTo>
                    <a:lnTo>
                      <a:pt x="154" y="118"/>
                    </a:lnTo>
                    <a:lnTo>
                      <a:pt x="129" y="77"/>
                    </a:lnTo>
                    <a:lnTo>
                      <a:pt x="50" y="159"/>
                    </a:lnTo>
                    <a:lnTo>
                      <a:pt x="0" y="111"/>
                    </a:lnTo>
                    <a:lnTo>
                      <a:pt x="82" y="29"/>
                    </a:lnTo>
                    <a:lnTo>
                      <a:pt x="44"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83" name="TextBox 82"/>
            <p:cNvSpPr txBox="1"/>
            <p:nvPr/>
          </p:nvSpPr>
          <p:spPr>
            <a:xfrm>
              <a:off x="1936976" y="2090636"/>
              <a:ext cx="2371741" cy="659219"/>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zh-CN" sz="1428" b="0" i="0" u="none" strike="noStrike" kern="0" cap="none" spc="0" normalizeH="0" baseline="0" noProof="0" dirty="0">
                  <a:ln>
                    <a:noFill/>
                  </a:ln>
                  <a:solidFill>
                    <a:srgbClr val="FFFFFF"/>
                  </a:solidFill>
                  <a:effectLst/>
                  <a:uLnTx/>
                  <a:uFillTx/>
                  <a:latin typeface="Segoe UI"/>
                  <a:ea typeface="+mn-ea"/>
                  <a:cs typeface="+mn-cs"/>
                </a:rPr>
                <a:t>Classify content based on compliance &amp; governance policies</a:t>
              </a:r>
              <a:endParaRPr kumimoji="0" lang="zh-CN" altLang="zh-CN" sz="1428"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2" name="Group 1"/>
          <p:cNvGrpSpPr/>
          <p:nvPr/>
        </p:nvGrpSpPr>
        <p:grpSpPr>
          <a:xfrm>
            <a:off x="989666" y="1246851"/>
            <a:ext cx="3517403" cy="738384"/>
            <a:chOff x="969484" y="1222514"/>
            <a:chExt cx="3448747" cy="723972"/>
          </a:xfrm>
        </p:grpSpPr>
        <p:sp>
          <p:nvSpPr>
            <p:cNvPr id="3" name="Rectangle 2"/>
            <p:cNvSpPr/>
            <p:nvPr/>
          </p:nvSpPr>
          <p:spPr bwMode="auto">
            <a:xfrm>
              <a:off x="969484" y="1222514"/>
              <a:ext cx="3448747" cy="72397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0" rIns="186521" bIns="559562"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zh-CN" sz="1428"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8" name="Freeform 17"/>
            <p:cNvSpPr>
              <a:spLocks noEditPoints="1"/>
            </p:cNvSpPr>
            <p:nvPr/>
          </p:nvSpPr>
          <p:spPr bwMode="auto">
            <a:xfrm>
              <a:off x="1259080" y="1358025"/>
              <a:ext cx="471999" cy="471999"/>
            </a:xfrm>
            <a:custGeom>
              <a:avLst/>
              <a:gdLst>
                <a:gd name="T0" fmla="*/ 84 w 134"/>
                <a:gd name="T1" fmla="*/ 0 h 134"/>
                <a:gd name="T2" fmla="*/ 134 w 134"/>
                <a:gd name="T3" fmla="*/ 50 h 134"/>
                <a:gd name="T4" fmla="*/ 84 w 134"/>
                <a:gd name="T5" fmla="*/ 100 h 134"/>
                <a:gd name="T6" fmla="*/ 58 w 134"/>
                <a:gd name="T7" fmla="*/ 93 h 134"/>
                <a:gd name="T8" fmla="*/ 22 w 134"/>
                <a:gd name="T9" fmla="*/ 129 h 134"/>
                <a:gd name="T10" fmla="*/ 5 w 134"/>
                <a:gd name="T11" fmla="*/ 129 h 134"/>
                <a:gd name="T12" fmla="*/ 5 w 134"/>
                <a:gd name="T13" fmla="*/ 112 h 134"/>
                <a:gd name="T14" fmla="*/ 41 w 134"/>
                <a:gd name="T15" fmla="*/ 76 h 134"/>
                <a:gd name="T16" fmla="*/ 34 w 134"/>
                <a:gd name="T17" fmla="*/ 50 h 134"/>
                <a:gd name="T18" fmla="*/ 84 w 134"/>
                <a:gd name="T19" fmla="*/ 0 h 134"/>
                <a:gd name="T20" fmla="*/ 84 w 134"/>
                <a:gd name="T21" fmla="*/ 16 h 134"/>
                <a:gd name="T22" fmla="*/ 50 w 134"/>
                <a:gd name="T23" fmla="*/ 50 h 134"/>
                <a:gd name="T24" fmla="*/ 84 w 134"/>
                <a:gd name="T25" fmla="*/ 84 h 134"/>
                <a:gd name="T26" fmla="*/ 118 w 134"/>
                <a:gd name="T27" fmla="*/ 50 h 134"/>
                <a:gd name="T28" fmla="*/ 84 w 134"/>
                <a:gd name="T29" fmla="*/ 1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4" h="134">
                  <a:moveTo>
                    <a:pt x="84" y="0"/>
                  </a:moveTo>
                  <a:cubicBezTo>
                    <a:pt x="112" y="0"/>
                    <a:pt x="134" y="22"/>
                    <a:pt x="134" y="50"/>
                  </a:cubicBezTo>
                  <a:cubicBezTo>
                    <a:pt x="134" y="78"/>
                    <a:pt x="112" y="100"/>
                    <a:pt x="84" y="100"/>
                  </a:cubicBezTo>
                  <a:cubicBezTo>
                    <a:pt x="75" y="100"/>
                    <a:pt x="66" y="97"/>
                    <a:pt x="58" y="93"/>
                  </a:cubicBezTo>
                  <a:cubicBezTo>
                    <a:pt x="22" y="129"/>
                    <a:pt x="22" y="129"/>
                    <a:pt x="22" y="129"/>
                  </a:cubicBezTo>
                  <a:cubicBezTo>
                    <a:pt x="17" y="134"/>
                    <a:pt x="10" y="134"/>
                    <a:pt x="5" y="129"/>
                  </a:cubicBezTo>
                  <a:cubicBezTo>
                    <a:pt x="0" y="124"/>
                    <a:pt x="0" y="117"/>
                    <a:pt x="5" y="112"/>
                  </a:cubicBezTo>
                  <a:cubicBezTo>
                    <a:pt x="41" y="76"/>
                    <a:pt x="41" y="76"/>
                    <a:pt x="41" y="76"/>
                  </a:cubicBezTo>
                  <a:cubicBezTo>
                    <a:pt x="37" y="68"/>
                    <a:pt x="34" y="59"/>
                    <a:pt x="34" y="50"/>
                  </a:cubicBezTo>
                  <a:cubicBezTo>
                    <a:pt x="34" y="22"/>
                    <a:pt x="56" y="0"/>
                    <a:pt x="84" y="0"/>
                  </a:cubicBezTo>
                  <a:close/>
                  <a:moveTo>
                    <a:pt x="84" y="16"/>
                  </a:moveTo>
                  <a:cubicBezTo>
                    <a:pt x="65" y="16"/>
                    <a:pt x="50" y="31"/>
                    <a:pt x="50" y="50"/>
                  </a:cubicBezTo>
                  <a:cubicBezTo>
                    <a:pt x="50" y="69"/>
                    <a:pt x="65" y="84"/>
                    <a:pt x="84" y="84"/>
                  </a:cubicBezTo>
                  <a:cubicBezTo>
                    <a:pt x="103" y="84"/>
                    <a:pt x="118" y="69"/>
                    <a:pt x="118" y="50"/>
                  </a:cubicBezTo>
                  <a:cubicBezTo>
                    <a:pt x="118" y="31"/>
                    <a:pt x="103" y="16"/>
                    <a:pt x="84" y="16"/>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4" name="TextBox 83"/>
            <p:cNvSpPr txBox="1"/>
            <p:nvPr/>
          </p:nvSpPr>
          <p:spPr>
            <a:xfrm>
              <a:off x="1977753" y="1486302"/>
              <a:ext cx="2371741" cy="215451"/>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zh-CN" sz="1428" b="0" i="0" u="none" strike="noStrike" kern="0" cap="none" spc="0" normalizeH="0" baseline="0" noProof="0" dirty="0">
                  <a:ln>
                    <a:noFill/>
                  </a:ln>
                  <a:solidFill>
                    <a:srgbClr val="FFFFFF"/>
                  </a:solidFill>
                  <a:effectLst/>
                  <a:uLnTx/>
                  <a:uFillTx/>
                  <a:latin typeface="Segoe UI"/>
                  <a:ea typeface="+mn-ea"/>
                  <a:cs typeface="+mn-cs"/>
                </a:rPr>
                <a:t>Find where content is</a:t>
              </a:r>
              <a:r>
                <a:rPr kumimoji="0" lang="zh-CN" altLang="zh-CN" sz="1428" b="0" i="0" u="none" strike="noStrike" kern="0" cap="none" spc="0" normalizeH="0" baseline="0" noProof="0" dirty="0">
                  <a:ln>
                    <a:noFill/>
                  </a:ln>
                  <a:solidFill>
                    <a:srgbClr val="FFFFFF"/>
                  </a:solidFill>
                  <a:effectLst/>
                  <a:uLnTx/>
                  <a:uFillTx/>
                  <a:latin typeface="Segoe UI"/>
                  <a:ea typeface="+mn-ea"/>
                  <a:cs typeface="+mn-cs"/>
                </a:rPr>
                <a:t> </a:t>
              </a:r>
              <a:r>
                <a:rPr kumimoji="0" lang="en-US" altLang="zh-CN" sz="1428" b="0" i="0" u="none" strike="noStrike" kern="0" cap="none" spc="0" normalizeH="0" baseline="0" noProof="0" dirty="0">
                  <a:ln>
                    <a:noFill/>
                  </a:ln>
                  <a:solidFill>
                    <a:srgbClr val="FFFFFF"/>
                  </a:solidFill>
                  <a:effectLst/>
                  <a:uLnTx/>
                  <a:uFillTx/>
                  <a:latin typeface="Segoe UI"/>
                  <a:ea typeface="+mn-ea"/>
                  <a:cs typeface="+mn-cs"/>
                </a:rPr>
                <a:t> located</a:t>
              </a:r>
              <a:endParaRPr kumimoji="0" lang="zh-CN" altLang="zh-CN" sz="1428"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25" name="Group 24"/>
          <p:cNvGrpSpPr/>
          <p:nvPr/>
        </p:nvGrpSpPr>
        <p:grpSpPr>
          <a:xfrm>
            <a:off x="8104699" y="1246850"/>
            <a:ext cx="3376274" cy="4964798"/>
            <a:chOff x="7945640" y="1222513"/>
            <a:chExt cx="3310373" cy="4867891"/>
          </a:xfrm>
        </p:grpSpPr>
        <p:sp>
          <p:nvSpPr>
            <p:cNvPr id="9" name="Rectangle 8"/>
            <p:cNvSpPr/>
            <p:nvPr/>
          </p:nvSpPr>
          <p:spPr bwMode="auto">
            <a:xfrm>
              <a:off x="7945640" y="1222513"/>
              <a:ext cx="3310373" cy="486789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81" tIns="652822" rIns="652822" bIns="186521" numCol="1" spcCol="0" rtlCol="0" fromWordArt="0" anchor="ctr" anchorCtr="0" forceAA="0" compatLnSpc="1">
              <a:prstTxWarp prst="textNoShape">
                <a:avLst/>
              </a:prstTxWarp>
              <a:noAutofit/>
            </a:bodyPr>
            <a:lstStyle/>
            <a:p>
              <a:pPr marL="0" marR="0" lvl="1" indent="0" algn="ctr" defTabSz="932597" rtl="0" eaLnBrk="1" fontAlgn="auto" latinLnBrk="0" hangingPunct="1">
                <a:lnSpc>
                  <a:spcPct val="100000"/>
                </a:lnSpc>
                <a:spcBef>
                  <a:spcPts val="0"/>
                </a:spcBef>
                <a:spcAft>
                  <a:spcPts val="0"/>
                </a:spcAft>
                <a:buClrTx/>
                <a:buSzTx/>
                <a:buFontTx/>
                <a:buNone/>
                <a:tabLst/>
                <a:defRPr/>
              </a:pPr>
              <a:endParaRPr kumimoji="0" lang="en-US" altLang="zh-CN" sz="1632" b="0" i="0" u="none" strike="noStrike" kern="0" cap="none" spc="0" normalizeH="0" baseline="0" noProof="0" dirty="0">
                <a:ln>
                  <a:noFill/>
                </a:ln>
                <a:solidFill>
                  <a:sysClr val="windowText" lastClr="000000"/>
                </a:solidFill>
                <a:effectLst/>
                <a:uLnTx/>
                <a:uFillTx/>
                <a:latin typeface="Segoe UI"/>
                <a:ea typeface="+mn-ea"/>
                <a:cs typeface="+mn-cs"/>
              </a:endParaRPr>
            </a:p>
            <a:p>
              <a:pPr marL="0" marR="0" lvl="1" indent="0" algn="ctr" defTabSz="932597" rtl="0" eaLnBrk="1" fontAlgn="auto" latinLnBrk="0" hangingPunct="1">
                <a:lnSpc>
                  <a:spcPct val="100000"/>
                </a:lnSpc>
                <a:spcBef>
                  <a:spcPts val="0"/>
                </a:spcBef>
                <a:spcAft>
                  <a:spcPts val="0"/>
                </a:spcAft>
                <a:buClrTx/>
                <a:buSzTx/>
                <a:buFontTx/>
                <a:buNone/>
                <a:tabLst/>
                <a:defRPr/>
              </a:pPr>
              <a:r>
                <a:rPr kumimoji="0" lang="en-US" altLang="zh-CN" sz="1632" b="0" i="0" u="none" strike="noStrike" kern="0" cap="none" spc="0" normalizeH="0" baseline="0" noProof="0" dirty="0">
                  <a:ln>
                    <a:noFill/>
                  </a:ln>
                  <a:solidFill>
                    <a:sysClr val="windowText" lastClr="000000"/>
                  </a:solidFill>
                  <a:effectLst/>
                  <a:uLnTx/>
                  <a:uFillTx/>
                  <a:latin typeface="Segoe UI"/>
                  <a:ea typeface="+mn-ea"/>
                  <a:cs typeface="+mn-cs"/>
                </a:rPr>
                <a:t>Reduce Compliance </a:t>
              </a:r>
              <a:r>
                <a:rPr kumimoji="0" lang="en-US" altLang="zh-CN" sz="1632" b="1" i="0" u="none" strike="noStrike" kern="0" cap="none" spc="0" normalizeH="0" baseline="0" noProof="0" dirty="0">
                  <a:ln>
                    <a:noFill/>
                  </a:ln>
                  <a:solidFill>
                    <a:sysClr val="windowText" lastClr="000000"/>
                  </a:solidFill>
                  <a:effectLst/>
                  <a:uLnTx/>
                  <a:uFillTx/>
                  <a:latin typeface="Segoe UI"/>
                  <a:ea typeface="+mn-ea"/>
                  <a:cs typeface="+mn-cs"/>
                </a:rPr>
                <a:t>Costs</a:t>
              </a:r>
              <a:r>
                <a:rPr kumimoji="0" lang="en-US" altLang="zh-CN" sz="1632" b="0" i="0" u="none" strike="noStrike" kern="0" cap="none" spc="0" normalizeH="0" baseline="0" noProof="0" dirty="0">
                  <a:ln>
                    <a:noFill/>
                  </a:ln>
                  <a:solidFill>
                    <a:sysClr val="windowText" lastClr="000000"/>
                  </a:solidFill>
                  <a:effectLst/>
                  <a:uLnTx/>
                  <a:uFillTx/>
                  <a:latin typeface="Segoe UI"/>
                  <a:ea typeface="+mn-ea"/>
                  <a:cs typeface="+mn-cs"/>
                </a:rPr>
                <a:t>. Increase </a:t>
              </a:r>
              <a:r>
                <a:rPr kumimoji="0" lang="en-US" altLang="zh-CN" sz="1632" b="1" i="0" u="none" strike="noStrike" kern="0" cap="none" spc="0" normalizeH="0" baseline="0" noProof="0" dirty="0">
                  <a:ln>
                    <a:noFill/>
                  </a:ln>
                  <a:solidFill>
                    <a:sysClr val="windowText" lastClr="000000"/>
                  </a:solidFill>
                  <a:effectLst/>
                  <a:uLnTx/>
                  <a:uFillTx/>
                  <a:latin typeface="Segoe UI"/>
                  <a:ea typeface="+mn-ea"/>
                  <a:cs typeface="+mn-cs"/>
                </a:rPr>
                <a:t>Productivity</a:t>
              </a:r>
              <a:r>
                <a:rPr kumimoji="0" lang="en-US" altLang="zh-CN" sz="1632" b="0" i="0" u="none" strike="noStrike" kern="0" cap="none" spc="0" normalizeH="0" baseline="0" noProof="0" dirty="0">
                  <a:ln>
                    <a:noFill/>
                  </a:ln>
                  <a:solidFill>
                    <a:sysClr val="windowText" lastClr="000000"/>
                  </a:solidFill>
                  <a:effectLst/>
                  <a:uLnTx/>
                  <a:uFillTx/>
                  <a:latin typeface="Segoe UI"/>
                  <a:ea typeface="+mn-ea"/>
                  <a:cs typeface="+mn-cs"/>
                </a:rPr>
                <a:t>.</a:t>
              </a:r>
              <a:endParaRPr kumimoji="0" lang="zh-CN" altLang="zh-CN" sz="1632"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71" name="Group 70"/>
            <p:cNvGrpSpPr/>
            <p:nvPr/>
          </p:nvGrpSpPr>
          <p:grpSpPr>
            <a:xfrm>
              <a:off x="9782130" y="2757933"/>
              <a:ext cx="762655" cy="676731"/>
              <a:chOff x="2157413" y="2574610"/>
              <a:chExt cx="1817688" cy="1612900"/>
            </a:xfrm>
            <a:solidFill>
              <a:schemeClr val="bg1"/>
            </a:solidFill>
          </p:grpSpPr>
          <p:sp>
            <p:nvSpPr>
              <p:cNvPr id="72" name="Freeform 5"/>
              <p:cNvSpPr>
                <a:spLocks noEditPoints="1"/>
              </p:cNvSpPr>
              <p:nvPr/>
            </p:nvSpPr>
            <p:spPr bwMode="auto">
              <a:xfrm>
                <a:off x="2779713" y="2574610"/>
                <a:ext cx="1195388" cy="1200150"/>
              </a:xfrm>
              <a:custGeom>
                <a:avLst/>
                <a:gdLst>
                  <a:gd name="T0" fmla="*/ 294 w 317"/>
                  <a:gd name="T1" fmla="*/ 159 h 318"/>
                  <a:gd name="T2" fmla="*/ 293 w 317"/>
                  <a:gd name="T3" fmla="*/ 147 h 318"/>
                  <a:gd name="T4" fmla="*/ 317 w 317"/>
                  <a:gd name="T5" fmla="*/ 134 h 318"/>
                  <a:gd name="T6" fmla="*/ 308 w 317"/>
                  <a:gd name="T7" fmla="*/ 101 h 318"/>
                  <a:gd name="T8" fmla="*/ 281 w 317"/>
                  <a:gd name="T9" fmla="*/ 102 h 318"/>
                  <a:gd name="T10" fmla="*/ 269 w 317"/>
                  <a:gd name="T11" fmla="*/ 81 h 318"/>
                  <a:gd name="T12" fmla="*/ 283 w 317"/>
                  <a:gd name="T13" fmla="*/ 58 h 318"/>
                  <a:gd name="T14" fmla="*/ 259 w 317"/>
                  <a:gd name="T15" fmla="*/ 34 h 318"/>
                  <a:gd name="T16" fmla="*/ 236 w 317"/>
                  <a:gd name="T17" fmla="*/ 48 h 318"/>
                  <a:gd name="T18" fmla="*/ 216 w 317"/>
                  <a:gd name="T19" fmla="*/ 36 h 318"/>
                  <a:gd name="T20" fmla="*/ 216 w 317"/>
                  <a:gd name="T21" fmla="*/ 9 h 318"/>
                  <a:gd name="T22" fmla="*/ 183 w 317"/>
                  <a:gd name="T23" fmla="*/ 0 h 318"/>
                  <a:gd name="T24" fmla="*/ 170 w 317"/>
                  <a:gd name="T25" fmla="*/ 24 h 318"/>
                  <a:gd name="T26" fmla="*/ 158 w 317"/>
                  <a:gd name="T27" fmla="*/ 23 h 318"/>
                  <a:gd name="T28" fmla="*/ 146 w 317"/>
                  <a:gd name="T29" fmla="*/ 24 h 318"/>
                  <a:gd name="T30" fmla="*/ 133 w 317"/>
                  <a:gd name="T31" fmla="*/ 0 h 318"/>
                  <a:gd name="T32" fmla="*/ 100 w 317"/>
                  <a:gd name="T33" fmla="*/ 9 h 318"/>
                  <a:gd name="T34" fmla="*/ 101 w 317"/>
                  <a:gd name="T35" fmla="*/ 36 h 318"/>
                  <a:gd name="T36" fmla="*/ 80 w 317"/>
                  <a:gd name="T37" fmla="*/ 48 h 318"/>
                  <a:gd name="T38" fmla="*/ 57 w 317"/>
                  <a:gd name="T39" fmla="*/ 34 h 318"/>
                  <a:gd name="T40" fmla="*/ 33 w 317"/>
                  <a:gd name="T41" fmla="*/ 58 h 318"/>
                  <a:gd name="T42" fmla="*/ 47 w 317"/>
                  <a:gd name="T43" fmla="*/ 81 h 318"/>
                  <a:gd name="T44" fmla="*/ 35 w 317"/>
                  <a:gd name="T45" fmla="*/ 102 h 318"/>
                  <a:gd name="T46" fmla="*/ 8 w 317"/>
                  <a:gd name="T47" fmla="*/ 101 h 318"/>
                  <a:gd name="T48" fmla="*/ 0 w 317"/>
                  <a:gd name="T49" fmla="*/ 134 h 318"/>
                  <a:gd name="T50" fmla="*/ 23 w 317"/>
                  <a:gd name="T51" fmla="*/ 147 h 318"/>
                  <a:gd name="T52" fmla="*/ 22 w 317"/>
                  <a:gd name="T53" fmla="*/ 159 h 318"/>
                  <a:gd name="T54" fmla="*/ 23 w 317"/>
                  <a:gd name="T55" fmla="*/ 171 h 318"/>
                  <a:gd name="T56" fmla="*/ 0 w 317"/>
                  <a:gd name="T57" fmla="*/ 184 h 318"/>
                  <a:gd name="T58" fmla="*/ 8 w 317"/>
                  <a:gd name="T59" fmla="*/ 217 h 318"/>
                  <a:gd name="T60" fmla="*/ 35 w 317"/>
                  <a:gd name="T61" fmla="*/ 216 h 318"/>
                  <a:gd name="T62" fmla="*/ 47 w 317"/>
                  <a:gd name="T63" fmla="*/ 237 h 318"/>
                  <a:gd name="T64" fmla="*/ 33 w 317"/>
                  <a:gd name="T65" fmla="*/ 260 h 318"/>
                  <a:gd name="T66" fmla="*/ 57 w 317"/>
                  <a:gd name="T67" fmla="*/ 284 h 318"/>
                  <a:gd name="T68" fmla="*/ 80 w 317"/>
                  <a:gd name="T69" fmla="*/ 270 h 318"/>
                  <a:gd name="T70" fmla="*/ 101 w 317"/>
                  <a:gd name="T71" fmla="*/ 282 h 318"/>
                  <a:gd name="T72" fmla="*/ 100 w 317"/>
                  <a:gd name="T73" fmla="*/ 309 h 318"/>
                  <a:gd name="T74" fmla="*/ 133 w 317"/>
                  <a:gd name="T75" fmla="*/ 318 h 318"/>
                  <a:gd name="T76" fmla="*/ 146 w 317"/>
                  <a:gd name="T77" fmla="*/ 294 h 318"/>
                  <a:gd name="T78" fmla="*/ 158 w 317"/>
                  <a:gd name="T79" fmla="*/ 295 h 318"/>
                  <a:gd name="T80" fmla="*/ 170 w 317"/>
                  <a:gd name="T81" fmla="*/ 294 h 318"/>
                  <a:gd name="T82" fmla="*/ 183 w 317"/>
                  <a:gd name="T83" fmla="*/ 318 h 318"/>
                  <a:gd name="T84" fmla="*/ 216 w 317"/>
                  <a:gd name="T85" fmla="*/ 309 h 318"/>
                  <a:gd name="T86" fmla="*/ 216 w 317"/>
                  <a:gd name="T87" fmla="*/ 282 h 318"/>
                  <a:gd name="T88" fmla="*/ 236 w 317"/>
                  <a:gd name="T89" fmla="*/ 270 h 318"/>
                  <a:gd name="T90" fmla="*/ 259 w 317"/>
                  <a:gd name="T91" fmla="*/ 284 h 318"/>
                  <a:gd name="T92" fmla="*/ 283 w 317"/>
                  <a:gd name="T93" fmla="*/ 260 h 318"/>
                  <a:gd name="T94" fmla="*/ 269 w 317"/>
                  <a:gd name="T95" fmla="*/ 237 h 318"/>
                  <a:gd name="T96" fmla="*/ 281 w 317"/>
                  <a:gd name="T97" fmla="*/ 216 h 318"/>
                  <a:gd name="T98" fmla="*/ 308 w 317"/>
                  <a:gd name="T99" fmla="*/ 217 h 318"/>
                  <a:gd name="T100" fmla="*/ 317 w 317"/>
                  <a:gd name="T101" fmla="*/ 184 h 318"/>
                  <a:gd name="T102" fmla="*/ 293 w 317"/>
                  <a:gd name="T103" fmla="*/ 171 h 318"/>
                  <a:gd name="T104" fmla="*/ 294 w 317"/>
                  <a:gd name="T105" fmla="*/ 159 h 318"/>
                  <a:gd name="T106" fmla="*/ 158 w 317"/>
                  <a:gd name="T107" fmla="*/ 248 h 318"/>
                  <a:gd name="T108" fmla="*/ 69 w 317"/>
                  <a:gd name="T109" fmla="*/ 159 h 318"/>
                  <a:gd name="T110" fmla="*/ 158 w 317"/>
                  <a:gd name="T111" fmla="*/ 70 h 318"/>
                  <a:gd name="T112" fmla="*/ 247 w 317"/>
                  <a:gd name="T113" fmla="*/ 159 h 318"/>
                  <a:gd name="T114" fmla="*/ 158 w 317"/>
                  <a:gd name="T115" fmla="*/ 24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7" h="318">
                    <a:moveTo>
                      <a:pt x="294" y="159"/>
                    </a:moveTo>
                    <a:cubicBezTo>
                      <a:pt x="294" y="155"/>
                      <a:pt x="294" y="151"/>
                      <a:pt x="293" y="147"/>
                    </a:cubicBezTo>
                    <a:cubicBezTo>
                      <a:pt x="317" y="134"/>
                      <a:pt x="317" y="134"/>
                      <a:pt x="317" y="134"/>
                    </a:cubicBezTo>
                    <a:cubicBezTo>
                      <a:pt x="315" y="123"/>
                      <a:pt x="312" y="112"/>
                      <a:pt x="308" y="101"/>
                    </a:cubicBezTo>
                    <a:cubicBezTo>
                      <a:pt x="281" y="102"/>
                      <a:pt x="281" y="102"/>
                      <a:pt x="281" y="102"/>
                    </a:cubicBezTo>
                    <a:cubicBezTo>
                      <a:pt x="278" y="94"/>
                      <a:pt x="274" y="88"/>
                      <a:pt x="269" y="81"/>
                    </a:cubicBezTo>
                    <a:cubicBezTo>
                      <a:pt x="283" y="58"/>
                      <a:pt x="283" y="58"/>
                      <a:pt x="283" y="58"/>
                    </a:cubicBezTo>
                    <a:cubicBezTo>
                      <a:pt x="276" y="49"/>
                      <a:pt x="268" y="41"/>
                      <a:pt x="259" y="34"/>
                    </a:cubicBezTo>
                    <a:cubicBezTo>
                      <a:pt x="236" y="48"/>
                      <a:pt x="236" y="48"/>
                      <a:pt x="236" y="48"/>
                    </a:cubicBezTo>
                    <a:cubicBezTo>
                      <a:pt x="230" y="43"/>
                      <a:pt x="223" y="39"/>
                      <a:pt x="216" y="36"/>
                    </a:cubicBezTo>
                    <a:cubicBezTo>
                      <a:pt x="216" y="9"/>
                      <a:pt x="216" y="9"/>
                      <a:pt x="216" y="9"/>
                    </a:cubicBezTo>
                    <a:cubicBezTo>
                      <a:pt x="205" y="5"/>
                      <a:pt x="194" y="2"/>
                      <a:pt x="183" y="0"/>
                    </a:cubicBezTo>
                    <a:cubicBezTo>
                      <a:pt x="170" y="24"/>
                      <a:pt x="170" y="24"/>
                      <a:pt x="170" y="24"/>
                    </a:cubicBezTo>
                    <a:cubicBezTo>
                      <a:pt x="166" y="23"/>
                      <a:pt x="162" y="23"/>
                      <a:pt x="158" y="23"/>
                    </a:cubicBezTo>
                    <a:cubicBezTo>
                      <a:pt x="154" y="23"/>
                      <a:pt x="150" y="23"/>
                      <a:pt x="146" y="24"/>
                    </a:cubicBezTo>
                    <a:cubicBezTo>
                      <a:pt x="133" y="0"/>
                      <a:pt x="133" y="0"/>
                      <a:pt x="133" y="0"/>
                    </a:cubicBezTo>
                    <a:cubicBezTo>
                      <a:pt x="122" y="2"/>
                      <a:pt x="111" y="5"/>
                      <a:pt x="100" y="9"/>
                    </a:cubicBezTo>
                    <a:cubicBezTo>
                      <a:pt x="101" y="36"/>
                      <a:pt x="101" y="36"/>
                      <a:pt x="101" y="36"/>
                    </a:cubicBezTo>
                    <a:cubicBezTo>
                      <a:pt x="94" y="39"/>
                      <a:pt x="87" y="43"/>
                      <a:pt x="80" y="48"/>
                    </a:cubicBezTo>
                    <a:cubicBezTo>
                      <a:pt x="57" y="34"/>
                      <a:pt x="57" y="34"/>
                      <a:pt x="57" y="34"/>
                    </a:cubicBezTo>
                    <a:cubicBezTo>
                      <a:pt x="48" y="41"/>
                      <a:pt x="40" y="49"/>
                      <a:pt x="33" y="58"/>
                    </a:cubicBezTo>
                    <a:cubicBezTo>
                      <a:pt x="47" y="81"/>
                      <a:pt x="47" y="81"/>
                      <a:pt x="47" y="81"/>
                    </a:cubicBezTo>
                    <a:cubicBezTo>
                      <a:pt x="43" y="88"/>
                      <a:pt x="39" y="94"/>
                      <a:pt x="35" y="102"/>
                    </a:cubicBezTo>
                    <a:cubicBezTo>
                      <a:pt x="8" y="101"/>
                      <a:pt x="8" y="101"/>
                      <a:pt x="8" y="101"/>
                    </a:cubicBezTo>
                    <a:cubicBezTo>
                      <a:pt x="4" y="112"/>
                      <a:pt x="1" y="123"/>
                      <a:pt x="0" y="134"/>
                    </a:cubicBezTo>
                    <a:cubicBezTo>
                      <a:pt x="23" y="147"/>
                      <a:pt x="23" y="147"/>
                      <a:pt x="23" y="147"/>
                    </a:cubicBezTo>
                    <a:cubicBezTo>
                      <a:pt x="23" y="151"/>
                      <a:pt x="22" y="155"/>
                      <a:pt x="22" y="159"/>
                    </a:cubicBezTo>
                    <a:cubicBezTo>
                      <a:pt x="22" y="163"/>
                      <a:pt x="23" y="167"/>
                      <a:pt x="23" y="171"/>
                    </a:cubicBezTo>
                    <a:cubicBezTo>
                      <a:pt x="0" y="184"/>
                      <a:pt x="0" y="184"/>
                      <a:pt x="0" y="184"/>
                    </a:cubicBezTo>
                    <a:cubicBezTo>
                      <a:pt x="1" y="195"/>
                      <a:pt x="4" y="206"/>
                      <a:pt x="8" y="217"/>
                    </a:cubicBezTo>
                    <a:cubicBezTo>
                      <a:pt x="35" y="216"/>
                      <a:pt x="35" y="216"/>
                      <a:pt x="35" y="216"/>
                    </a:cubicBezTo>
                    <a:cubicBezTo>
                      <a:pt x="39" y="223"/>
                      <a:pt x="43" y="230"/>
                      <a:pt x="47" y="237"/>
                    </a:cubicBezTo>
                    <a:cubicBezTo>
                      <a:pt x="33" y="260"/>
                      <a:pt x="33" y="260"/>
                      <a:pt x="33" y="260"/>
                    </a:cubicBezTo>
                    <a:cubicBezTo>
                      <a:pt x="40" y="269"/>
                      <a:pt x="48" y="277"/>
                      <a:pt x="57" y="284"/>
                    </a:cubicBezTo>
                    <a:cubicBezTo>
                      <a:pt x="80" y="270"/>
                      <a:pt x="80" y="270"/>
                      <a:pt x="80" y="270"/>
                    </a:cubicBezTo>
                    <a:cubicBezTo>
                      <a:pt x="87" y="275"/>
                      <a:pt x="94" y="279"/>
                      <a:pt x="101" y="282"/>
                    </a:cubicBezTo>
                    <a:cubicBezTo>
                      <a:pt x="100" y="309"/>
                      <a:pt x="100" y="309"/>
                      <a:pt x="100" y="309"/>
                    </a:cubicBezTo>
                    <a:cubicBezTo>
                      <a:pt x="111" y="313"/>
                      <a:pt x="122" y="316"/>
                      <a:pt x="133" y="318"/>
                    </a:cubicBezTo>
                    <a:cubicBezTo>
                      <a:pt x="146" y="294"/>
                      <a:pt x="146" y="294"/>
                      <a:pt x="146" y="294"/>
                    </a:cubicBezTo>
                    <a:cubicBezTo>
                      <a:pt x="150" y="294"/>
                      <a:pt x="154" y="295"/>
                      <a:pt x="158" y="295"/>
                    </a:cubicBezTo>
                    <a:cubicBezTo>
                      <a:pt x="162" y="295"/>
                      <a:pt x="166" y="294"/>
                      <a:pt x="170" y="294"/>
                    </a:cubicBezTo>
                    <a:cubicBezTo>
                      <a:pt x="183" y="318"/>
                      <a:pt x="183" y="318"/>
                      <a:pt x="183" y="318"/>
                    </a:cubicBezTo>
                    <a:cubicBezTo>
                      <a:pt x="194" y="316"/>
                      <a:pt x="205" y="313"/>
                      <a:pt x="216" y="309"/>
                    </a:cubicBezTo>
                    <a:cubicBezTo>
                      <a:pt x="216" y="282"/>
                      <a:pt x="216" y="282"/>
                      <a:pt x="216" y="282"/>
                    </a:cubicBezTo>
                    <a:cubicBezTo>
                      <a:pt x="223" y="279"/>
                      <a:pt x="230" y="275"/>
                      <a:pt x="236" y="270"/>
                    </a:cubicBezTo>
                    <a:cubicBezTo>
                      <a:pt x="259" y="284"/>
                      <a:pt x="259" y="284"/>
                      <a:pt x="259" y="284"/>
                    </a:cubicBezTo>
                    <a:cubicBezTo>
                      <a:pt x="268" y="277"/>
                      <a:pt x="276" y="269"/>
                      <a:pt x="283" y="260"/>
                    </a:cubicBezTo>
                    <a:cubicBezTo>
                      <a:pt x="269" y="237"/>
                      <a:pt x="269" y="237"/>
                      <a:pt x="269" y="237"/>
                    </a:cubicBezTo>
                    <a:cubicBezTo>
                      <a:pt x="274" y="230"/>
                      <a:pt x="278" y="223"/>
                      <a:pt x="281" y="216"/>
                    </a:cubicBezTo>
                    <a:cubicBezTo>
                      <a:pt x="308" y="217"/>
                      <a:pt x="308" y="217"/>
                      <a:pt x="308" y="217"/>
                    </a:cubicBezTo>
                    <a:cubicBezTo>
                      <a:pt x="312" y="206"/>
                      <a:pt x="315" y="195"/>
                      <a:pt x="317" y="184"/>
                    </a:cubicBezTo>
                    <a:cubicBezTo>
                      <a:pt x="293" y="171"/>
                      <a:pt x="293" y="171"/>
                      <a:pt x="293" y="171"/>
                    </a:cubicBezTo>
                    <a:cubicBezTo>
                      <a:pt x="294" y="167"/>
                      <a:pt x="294" y="163"/>
                      <a:pt x="294" y="159"/>
                    </a:cubicBezTo>
                    <a:moveTo>
                      <a:pt x="158" y="248"/>
                    </a:moveTo>
                    <a:cubicBezTo>
                      <a:pt x="109" y="248"/>
                      <a:pt x="69" y="208"/>
                      <a:pt x="69" y="159"/>
                    </a:cubicBezTo>
                    <a:cubicBezTo>
                      <a:pt x="69" y="110"/>
                      <a:pt x="109" y="70"/>
                      <a:pt x="158" y="70"/>
                    </a:cubicBezTo>
                    <a:cubicBezTo>
                      <a:pt x="207" y="70"/>
                      <a:pt x="247" y="110"/>
                      <a:pt x="247" y="159"/>
                    </a:cubicBezTo>
                    <a:cubicBezTo>
                      <a:pt x="247" y="208"/>
                      <a:pt x="207" y="248"/>
                      <a:pt x="158" y="248"/>
                    </a:cubicBez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0000"/>
                  </a:solidFill>
                  <a:effectLst/>
                  <a:uLnTx/>
                  <a:uFillTx/>
                  <a:latin typeface="Segoe UI"/>
                  <a:ea typeface="+mn-ea"/>
                  <a:cs typeface="+mn-cs"/>
                </a:endParaRPr>
              </a:p>
            </p:txBody>
          </p:sp>
          <p:sp>
            <p:nvSpPr>
              <p:cNvPr id="73" name="Freeform 6"/>
              <p:cNvSpPr>
                <a:spLocks noEditPoints="1"/>
              </p:cNvSpPr>
              <p:nvPr/>
            </p:nvSpPr>
            <p:spPr bwMode="auto">
              <a:xfrm>
                <a:off x="2157413" y="3217548"/>
                <a:ext cx="682625" cy="679451"/>
              </a:xfrm>
              <a:custGeom>
                <a:avLst/>
                <a:gdLst>
                  <a:gd name="T0" fmla="*/ 168 w 181"/>
                  <a:gd name="T1" fmla="*/ 90 h 180"/>
                  <a:gd name="T2" fmla="*/ 168 w 181"/>
                  <a:gd name="T3" fmla="*/ 83 h 180"/>
                  <a:gd name="T4" fmla="*/ 181 w 181"/>
                  <a:gd name="T5" fmla="*/ 76 h 180"/>
                  <a:gd name="T6" fmla="*/ 176 w 181"/>
                  <a:gd name="T7" fmla="*/ 57 h 180"/>
                  <a:gd name="T8" fmla="*/ 161 w 181"/>
                  <a:gd name="T9" fmla="*/ 57 h 180"/>
                  <a:gd name="T10" fmla="*/ 154 w 181"/>
                  <a:gd name="T11" fmla="*/ 46 h 180"/>
                  <a:gd name="T12" fmla="*/ 162 w 181"/>
                  <a:gd name="T13" fmla="*/ 33 h 180"/>
                  <a:gd name="T14" fmla="*/ 148 w 181"/>
                  <a:gd name="T15" fmla="*/ 19 h 180"/>
                  <a:gd name="T16" fmla="*/ 135 w 181"/>
                  <a:gd name="T17" fmla="*/ 27 h 180"/>
                  <a:gd name="T18" fmla="*/ 123 w 181"/>
                  <a:gd name="T19" fmla="*/ 20 h 180"/>
                  <a:gd name="T20" fmla="*/ 124 w 181"/>
                  <a:gd name="T21" fmla="*/ 5 h 180"/>
                  <a:gd name="T22" fmla="*/ 105 w 181"/>
                  <a:gd name="T23" fmla="*/ 0 h 180"/>
                  <a:gd name="T24" fmla="*/ 98 w 181"/>
                  <a:gd name="T25" fmla="*/ 13 h 180"/>
                  <a:gd name="T26" fmla="*/ 91 w 181"/>
                  <a:gd name="T27" fmla="*/ 13 h 180"/>
                  <a:gd name="T28" fmla="*/ 84 w 181"/>
                  <a:gd name="T29" fmla="*/ 13 h 180"/>
                  <a:gd name="T30" fmla="*/ 77 w 181"/>
                  <a:gd name="T31" fmla="*/ 0 h 180"/>
                  <a:gd name="T32" fmla="*/ 58 w 181"/>
                  <a:gd name="T33" fmla="*/ 5 h 180"/>
                  <a:gd name="T34" fmla="*/ 58 w 181"/>
                  <a:gd name="T35" fmla="*/ 20 h 180"/>
                  <a:gd name="T36" fmla="*/ 46 w 181"/>
                  <a:gd name="T37" fmla="*/ 27 h 180"/>
                  <a:gd name="T38" fmla="*/ 33 w 181"/>
                  <a:gd name="T39" fmla="*/ 19 h 180"/>
                  <a:gd name="T40" fmla="*/ 20 w 181"/>
                  <a:gd name="T41" fmla="*/ 33 h 180"/>
                  <a:gd name="T42" fmla="*/ 28 w 181"/>
                  <a:gd name="T43" fmla="*/ 46 h 180"/>
                  <a:gd name="T44" fmla="*/ 21 w 181"/>
                  <a:gd name="T45" fmla="*/ 57 h 180"/>
                  <a:gd name="T46" fmla="*/ 5 w 181"/>
                  <a:gd name="T47" fmla="*/ 57 h 180"/>
                  <a:gd name="T48" fmla="*/ 0 w 181"/>
                  <a:gd name="T49" fmla="*/ 76 h 180"/>
                  <a:gd name="T50" fmla="*/ 14 w 181"/>
                  <a:gd name="T51" fmla="*/ 83 h 180"/>
                  <a:gd name="T52" fmla="*/ 14 w 181"/>
                  <a:gd name="T53" fmla="*/ 90 h 180"/>
                  <a:gd name="T54" fmla="*/ 14 w 181"/>
                  <a:gd name="T55" fmla="*/ 97 h 180"/>
                  <a:gd name="T56" fmla="*/ 0 w 181"/>
                  <a:gd name="T57" fmla="*/ 104 h 180"/>
                  <a:gd name="T58" fmla="*/ 5 w 181"/>
                  <a:gd name="T59" fmla="*/ 123 h 180"/>
                  <a:gd name="T60" fmla="*/ 21 w 181"/>
                  <a:gd name="T61" fmla="*/ 123 h 180"/>
                  <a:gd name="T62" fmla="*/ 28 w 181"/>
                  <a:gd name="T63" fmla="*/ 134 h 180"/>
                  <a:gd name="T64" fmla="*/ 20 w 181"/>
                  <a:gd name="T65" fmla="*/ 147 h 180"/>
                  <a:gd name="T66" fmla="*/ 33 w 181"/>
                  <a:gd name="T67" fmla="*/ 161 h 180"/>
                  <a:gd name="T68" fmla="*/ 46 w 181"/>
                  <a:gd name="T69" fmla="*/ 153 h 180"/>
                  <a:gd name="T70" fmla="*/ 58 w 181"/>
                  <a:gd name="T71" fmla="*/ 160 h 180"/>
                  <a:gd name="T72" fmla="*/ 58 w 181"/>
                  <a:gd name="T73" fmla="*/ 175 h 180"/>
                  <a:gd name="T74" fmla="*/ 77 w 181"/>
                  <a:gd name="T75" fmla="*/ 180 h 180"/>
                  <a:gd name="T76" fmla="*/ 84 w 181"/>
                  <a:gd name="T77" fmla="*/ 167 h 180"/>
                  <a:gd name="T78" fmla="*/ 91 w 181"/>
                  <a:gd name="T79" fmla="*/ 167 h 180"/>
                  <a:gd name="T80" fmla="*/ 98 w 181"/>
                  <a:gd name="T81" fmla="*/ 167 h 180"/>
                  <a:gd name="T82" fmla="*/ 105 w 181"/>
                  <a:gd name="T83" fmla="*/ 180 h 180"/>
                  <a:gd name="T84" fmla="*/ 124 w 181"/>
                  <a:gd name="T85" fmla="*/ 175 h 180"/>
                  <a:gd name="T86" fmla="*/ 123 w 181"/>
                  <a:gd name="T87" fmla="*/ 160 h 180"/>
                  <a:gd name="T88" fmla="*/ 135 w 181"/>
                  <a:gd name="T89" fmla="*/ 153 h 180"/>
                  <a:gd name="T90" fmla="*/ 148 w 181"/>
                  <a:gd name="T91" fmla="*/ 161 h 180"/>
                  <a:gd name="T92" fmla="*/ 162 w 181"/>
                  <a:gd name="T93" fmla="*/ 147 h 180"/>
                  <a:gd name="T94" fmla="*/ 154 w 181"/>
                  <a:gd name="T95" fmla="*/ 134 h 180"/>
                  <a:gd name="T96" fmla="*/ 161 w 181"/>
                  <a:gd name="T97" fmla="*/ 123 h 180"/>
                  <a:gd name="T98" fmla="*/ 176 w 181"/>
                  <a:gd name="T99" fmla="*/ 123 h 180"/>
                  <a:gd name="T100" fmla="*/ 181 w 181"/>
                  <a:gd name="T101" fmla="*/ 104 h 180"/>
                  <a:gd name="T102" fmla="*/ 168 w 181"/>
                  <a:gd name="T103" fmla="*/ 97 h 180"/>
                  <a:gd name="T104" fmla="*/ 168 w 181"/>
                  <a:gd name="T105" fmla="*/ 90 h 180"/>
                  <a:gd name="T106" fmla="*/ 91 w 181"/>
                  <a:gd name="T107" fmla="*/ 141 h 180"/>
                  <a:gd name="T108" fmla="*/ 40 w 181"/>
                  <a:gd name="T109" fmla="*/ 90 h 180"/>
                  <a:gd name="T110" fmla="*/ 91 w 181"/>
                  <a:gd name="T111" fmla="*/ 39 h 180"/>
                  <a:gd name="T112" fmla="*/ 141 w 181"/>
                  <a:gd name="T113" fmla="*/ 90 h 180"/>
                  <a:gd name="T114" fmla="*/ 91 w 181"/>
                  <a:gd name="T115" fmla="*/ 14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1" h="180">
                    <a:moveTo>
                      <a:pt x="168" y="90"/>
                    </a:moveTo>
                    <a:cubicBezTo>
                      <a:pt x="168" y="88"/>
                      <a:pt x="168" y="86"/>
                      <a:pt x="168" y="83"/>
                    </a:cubicBezTo>
                    <a:cubicBezTo>
                      <a:pt x="181" y="76"/>
                      <a:pt x="181" y="76"/>
                      <a:pt x="181" y="76"/>
                    </a:cubicBezTo>
                    <a:cubicBezTo>
                      <a:pt x="180" y="69"/>
                      <a:pt x="178" y="63"/>
                      <a:pt x="176" y="57"/>
                    </a:cubicBezTo>
                    <a:cubicBezTo>
                      <a:pt x="161" y="57"/>
                      <a:pt x="161" y="57"/>
                      <a:pt x="161" y="57"/>
                    </a:cubicBezTo>
                    <a:cubicBezTo>
                      <a:pt x="159" y="53"/>
                      <a:pt x="157" y="49"/>
                      <a:pt x="154" y="46"/>
                    </a:cubicBezTo>
                    <a:cubicBezTo>
                      <a:pt x="162" y="33"/>
                      <a:pt x="162" y="33"/>
                      <a:pt x="162" y="33"/>
                    </a:cubicBezTo>
                    <a:cubicBezTo>
                      <a:pt x="158" y="28"/>
                      <a:pt x="153" y="23"/>
                      <a:pt x="148" y="19"/>
                    </a:cubicBezTo>
                    <a:cubicBezTo>
                      <a:pt x="135" y="27"/>
                      <a:pt x="135" y="27"/>
                      <a:pt x="135" y="27"/>
                    </a:cubicBezTo>
                    <a:cubicBezTo>
                      <a:pt x="131" y="24"/>
                      <a:pt x="128" y="22"/>
                      <a:pt x="123" y="20"/>
                    </a:cubicBezTo>
                    <a:cubicBezTo>
                      <a:pt x="124" y="5"/>
                      <a:pt x="124" y="5"/>
                      <a:pt x="124" y="5"/>
                    </a:cubicBezTo>
                    <a:cubicBezTo>
                      <a:pt x="118" y="2"/>
                      <a:pt x="111" y="1"/>
                      <a:pt x="105" y="0"/>
                    </a:cubicBezTo>
                    <a:cubicBezTo>
                      <a:pt x="98" y="13"/>
                      <a:pt x="98" y="13"/>
                      <a:pt x="98" y="13"/>
                    </a:cubicBezTo>
                    <a:cubicBezTo>
                      <a:pt x="95" y="13"/>
                      <a:pt x="93" y="13"/>
                      <a:pt x="91" y="13"/>
                    </a:cubicBezTo>
                    <a:cubicBezTo>
                      <a:pt x="89" y="13"/>
                      <a:pt x="86" y="13"/>
                      <a:pt x="84" y="13"/>
                    </a:cubicBezTo>
                    <a:cubicBezTo>
                      <a:pt x="77" y="0"/>
                      <a:pt x="77" y="0"/>
                      <a:pt x="77" y="0"/>
                    </a:cubicBezTo>
                    <a:cubicBezTo>
                      <a:pt x="70" y="1"/>
                      <a:pt x="64" y="2"/>
                      <a:pt x="58" y="5"/>
                    </a:cubicBezTo>
                    <a:cubicBezTo>
                      <a:pt x="58" y="20"/>
                      <a:pt x="58" y="20"/>
                      <a:pt x="58" y="20"/>
                    </a:cubicBezTo>
                    <a:cubicBezTo>
                      <a:pt x="54" y="22"/>
                      <a:pt x="50" y="24"/>
                      <a:pt x="46" y="27"/>
                    </a:cubicBezTo>
                    <a:cubicBezTo>
                      <a:pt x="33" y="19"/>
                      <a:pt x="33" y="19"/>
                      <a:pt x="33" y="19"/>
                    </a:cubicBezTo>
                    <a:cubicBezTo>
                      <a:pt x="28" y="23"/>
                      <a:pt x="24" y="28"/>
                      <a:pt x="20" y="33"/>
                    </a:cubicBezTo>
                    <a:cubicBezTo>
                      <a:pt x="28" y="46"/>
                      <a:pt x="28" y="46"/>
                      <a:pt x="28" y="46"/>
                    </a:cubicBezTo>
                    <a:cubicBezTo>
                      <a:pt x="25" y="49"/>
                      <a:pt x="23" y="53"/>
                      <a:pt x="21" y="57"/>
                    </a:cubicBezTo>
                    <a:cubicBezTo>
                      <a:pt x="5" y="57"/>
                      <a:pt x="5" y="57"/>
                      <a:pt x="5" y="57"/>
                    </a:cubicBezTo>
                    <a:cubicBezTo>
                      <a:pt x="3" y="63"/>
                      <a:pt x="1" y="69"/>
                      <a:pt x="0" y="76"/>
                    </a:cubicBezTo>
                    <a:cubicBezTo>
                      <a:pt x="14" y="83"/>
                      <a:pt x="14" y="83"/>
                      <a:pt x="14" y="83"/>
                    </a:cubicBezTo>
                    <a:cubicBezTo>
                      <a:pt x="14" y="86"/>
                      <a:pt x="14" y="88"/>
                      <a:pt x="14" y="90"/>
                    </a:cubicBezTo>
                    <a:cubicBezTo>
                      <a:pt x="14" y="92"/>
                      <a:pt x="14" y="95"/>
                      <a:pt x="14" y="97"/>
                    </a:cubicBezTo>
                    <a:cubicBezTo>
                      <a:pt x="0" y="104"/>
                      <a:pt x="0" y="104"/>
                      <a:pt x="0" y="104"/>
                    </a:cubicBezTo>
                    <a:cubicBezTo>
                      <a:pt x="1" y="111"/>
                      <a:pt x="3" y="117"/>
                      <a:pt x="5" y="123"/>
                    </a:cubicBezTo>
                    <a:cubicBezTo>
                      <a:pt x="21" y="123"/>
                      <a:pt x="21" y="123"/>
                      <a:pt x="21" y="123"/>
                    </a:cubicBezTo>
                    <a:cubicBezTo>
                      <a:pt x="23" y="127"/>
                      <a:pt x="25" y="131"/>
                      <a:pt x="28" y="134"/>
                    </a:cubicBezTo>
                    <a:cubicBezTo>
                      <a:pt x="20" y="147"/>
                      <a:pt x="20" y="147"/>
                      <a:pt x="20" y="147"/>
                    </a:cubicBezTo>
                    <a:cubicBezTo>
                      <a:pt x="24" y="153"/>
                      <a:pt x="28" y="157"/>
                      <a:pt x="33" y="161"/>
                    </a:cubicBezTo>
                    <a:cubicBezTo>
                      <a:pt x="46" y="153"/>
                      <a:pt x="46" y="153"/>
                      <a:pt x="46" y="153"/>
                    </a:cubicBezTo>
                    <a:cubicBezTo>
                      <a:pt x="50" y="156"/>
                      <a:pt x="54" y="158"/>
                      <a:pt x="58" y="160"/>
                    </a:cubicBezTo>
                    <a:cubicBezTo>
                      <a:pt x="58" y="175"/>
                      <a:pt x="58" y="175"/>
                      <a:pt x="58" y="175"/>
                    </a:cubicBezTo>
                    <a:cubicBezTo>
                      <a:pt x="64" y="178"/>
                      <a:pt x="70" y="179"/>
                      <a:pt x="77" y="180"/>
                    </a:cubicBezTo>
                    <a:cubicBezTo>
                      <a:pt x="84" y="167"/>
                      <a:pt x="84" y="167"/>
                      <a:pt x="84" y="167"/>
                    </a:cubicBezTo>
                    <a:cubicBezTo>
                      <a:pt x="86" y="167"/>
                      <a:pt x="89" y="167"/>
                      <a:pt x="91" y="167"/>
                    </a:cubicBezTo>
                    <a:cubicBezTo>
                      <a:pt x="93" y="167"/>
                      <a:pt x="95" y="167"/>
                      <a:pt x="98" y="167"/>
                    </a:cubicBezTo>
                    <a:cubicBezTo>
                      <a:pt x="105" y="180"/>
                      <a:pt x="105" y="180"/>
                      <a:pt x="105" y="180"/>
                    </a:cubicBezTo>
                    <a:cubicBezTo>
                      <a:pt x="111" y="179"/>
                      <a:pt x="118" y="178"/>
                      <a:pt x="124" y="175"/>
                    </a:cubicBezTo>
                    <a:cubicBezTo>
                      <a:pt x="123" y="160"/>
                      <a:pt x="123" y="160"/>
                      <a:pt x="123" y="160"/>
                    </a:cubicBezTo>
                    <a:cubicBezTo>
                      <a:pt x="128" y="158"/>
                      <a:pt x="131" y="156"/>
                      <a:pt x="135" y="153"/>
                    </a:cubicBezTo>
                    <a:cubicBezTo>
                      <a:pt x="148" y="161"/>
                      <a:pt x="148" y="161"/>
                      <a:pt x="148" y="161"/>
                    </a:cubicBezTo>
                    <a:cubicBezTo>
                      <a:pt x="153" y="157"/>
                      <a:pt x="158" y="153"/>
                      <a:pt x="162" y="147"/>
                    </a:cubicBezTo>
                    <a:cubicBezTo>
                      <a:pt x="154" y="134"/>
                      <a:pt x="154" y="134"/>
                      <a:pt x="154" y="134"/>
                    </a:cubicBezTo>
                    <a:cubicBezTo>
                      <a:pt x="157" y="131"/>
                      <a:pt x="159" y="127"/>
                      <a:pt x="161" y="123"/>
                    </a:cubicBezTo>
                    <a:cubicBezTo>
                      <a:pt x="176" y="123"/>
                      <a:pt x="176" y="123"/>
                      <a:pt x="176" y="123"/>
                    </a:cubicBezTo>
                    <a:cubicBezTo>
                      <a:pt x="178" y="117"/>
                      <a:pt x="180" y="111"/>
                      <a:pt x="181" y="104"/>
                    </a:cubicBezTo>
                    <a:cubicBezTo>
                      <a:pt x="168" y="97"/>
                      <a:pt x="168" y="97"/>
                      <a:pt x="168" y="97"/>
                    </a:cubicBezTo>
                    <a:cubicBezTo>
                      <a:pt x="168" y="95"/>
                      <a:pt x="168" y="92"/>
                      <a:pt x="168" y="90"/>
                    </a:cubicBezTo>
                    <a:moveTo>
                      <a:pt x="91" y="141"/>
                    </a:moveTo>
                    <a:cubicBezTo>
                      <a:pt x="63" y="141"/>
                      <a:pt x="40" y="118"/>
                      <a:pt x="40" y="90"/>
                    </a:cubicBezTo>
                    <a:cubicBezTo>
                      <a:pt x="40" y="62"/>
                      <a:pt x="63" y="39"/>
                      <a:pt x="91" y="39"/>
                    </a:cubicBezTo>
                    <a:cubicBezTo>
                      <a:pt x="119" y="39"/>
                      <a:pt x="141" y="62"/>
                      <a:pt x="141" y="90"/>
                    </a:cubicBezTo>
                    <a:cubicBezTo>
                      <a:pt x="141" y="118"/>
                      <a:pt x="119" y="141"/>
                      <a:pt x="91" y="141"/>
                    </a:cubicBezTo>
                  </a:path>
                </a:pathLst>
              </a:custGeom>
              <a:solidFill>
                <a:srgbClr val="FF000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0000"/>
                  </a:solidFill>
                  <a:effectLst/>
                  <a:uLnTx/>
                  <a:uFillTx/>
                  <a:latin typeface="Segoe UI"/>
                  <a:ea typeface="+mn-ea"/>
                  <a:cs typeface="+mn-cs"/>
                </a:endParaRPr>
              </a:p>
            </p:txBody>
          </p:sp>
          <p:sp>
            <p:nvSpPr>
              <p:cNvPr id="74" name="Freeform 7"/>
              <p:cNvSpPr>
                <a:spLocks noEditPoints="1"/>
              </p:cNvSpPr>
              <p:nvPr/>
            </p:nvSpPr>
            <p:spPr bwMode="auto">
              <a:xfrm>
                <a:off x="2757488" y="3711260"/>
                <a:ext cx="474662" cy="476250"/>
              </a:xfrm>
              <a:custGeom>
                <a:avLst/>
                <a:gdLst>
                  <a:gd name="T0" fmla="*/ 117 w 126"/>
                  <a:gd name="T1" fmla="*/ 63 h 126"/>
                  <a:gd name="T2" fmla="*/ 116 w 126"/>
                  <a:gd name="T3" fmla="*/ 58 h 126"/>
                  <a:gd name="T4" fmla="*/ 126 w 126"/>
                  <a:gd name="T5" fmla="*/ 53 h 126"/>
                  <a:gd name="T6" fmla="*/ 122 w 126"/>
                  <a:gd name="T7" fmla="*/ 40 h 126"/>
                  <a:gd name="T8" fmla="*/ 112 w 126"/>
                  <a:gd name="T9" fmla="*/ 40 h 126"/>
                  <a:gd name="T10" fmla="*/ 107 w 126"/>
                  <a:gd name="T11" fmla="*/ 32 h 126"/>
                  <a:gd name="T12" fmla="*/ 112 w 126"/>
                  <a:gd name="T13" fmla="*/ 23 h 126"/>
                  <a:gd name="T14" fmla="*/ 103 w 126"/>
                  <a:gd name="T15" fmla="*/ 14 h 126"/>
                  <a:gd name="T16" fmla="*/ 94 w 126"/>
                  <a:gd name="T17" fmla="*/ 19 h 126"/>
                  <a:gd name="T18" fmla="*/ 86 w 126"/>
                  <a:gd name="T19" fmla="*/ 14 h 126"/>
                  <a:gd name="T20" fmla="*/ 86 w 126"/>
                  <a:gd name="T21" fmla="*/ 4 h 126"/>
                  <a:gd name="T22" fmla="*/ 73 w 126"/>
                  <a:gd name="T23" fmla="*/ 0 h 126"/>
                  <a:gd name="T24" fmla="*/ 68 w 126"/>
                  <a:gd name="T25" fmla="*/ 10 h 126"/>
                  <a:gd name="T26" fmla="*/ 63 w 126"/>
                  <a:gd name="T27" fmla="*/ 9 h 126"/>
                  <a:gd name="T28" fmla="*/ 58 w 126"/>
                  <a:gd name="T29" fmla="*/ 10 h 126"/>
                  <a:gd name="T30" fmla="*/ 53 w 126"/>
                  <a:gd name="T31" fmla="*/ 0 h 126"/>
                  <a:gd name="T32" fmla="*/ 40 w 126"/>
                  <a:gd name="T33" fmla="*/ 4 h 126"/>
                  <a:gd name="T34" fmla="*/ 40 w 126"/>
                  <a:gd name="T35" fmla="*/ 14 h 126"/>
                  <a:gd name="T36" fmla="*/ 32 w 126"/>
                  <a:gd name="T37" fmla="*/ 19 h 126"/>
                  <a:gd name="T38" fmla="*/ 23 w 126"/>
                  <a:gd name="T39" fmla="*/ 14 h 126"/>
                  <a:gd name="T40" fmla="*/ 13 w 126"/>
                  <a:gd name="T41" fmla="*/ 23 h 126"/>
                  <a:gd name="T42" fmla="*/ 19 w 126"/>
                  <a:gd name="T43" fmla="*/ 32 h 126"/>
                  <a:gd name="T44" fmla="*/ 14 w 126"/>
                  <a:gd name="T45" fmla="*/ 40 h 126"/>
                  <a:gd name="T46" fmla="*/ 3 w 126"/>
                  <a:gd name="T47" fmla="*/ 40 h 126"/>
                  <a:gd name="T48" fmla="*/ 0 w 126"/>
                  <a:gd name="T49" fmla="*/ 53 h 126"/>
                  <a:gd name="T50" fmla="*/ 9 w 126"/>
                  <a:gd name="T51" fmla="*/ 58 h 126"/>
                  <a:gd name="T52" fmla="*/ 9 w 126"/>
                  <a:gd name="T53" fmla="*/ 63 h 126"/>
                  <a:gd name="T54" fmla="*/ 9 w 126"/>
                  <a:gd name="T55" fmla="*/ 68 h 126"/>
                  <a:gd name="T56" fmla="*/ 0 w 126"/>
                  <a:gd name="T57" fmla="*/ 73 h 126"/>
                  <a:gd name="T58" fmla="*/ 3 w 126"/>
                  <a:gd name="T59" fmla="*/ 86 h 126"/>
                  <a:gd name="T60" fmla="*/ 14 w 126"/>
                  <a:gd name="T61" fmla="*/ 86 h 126"/>
                  <a:gd name="T62" fmla="*/ 19 w 126"/>
                  <a:gd name="T63" fmla="*/ 94 h 126"/>
                  <a:gd name="T64" fmla="*/ 13 w 126"/>
                  <a:gd name="T65" fmla="*/ 103 h 126"/>
                  <a:gd name="T66" fmla="*/ 23 w 126"/>
                  <a:gd name="T67" fmla="*/ 113 h 126"/>
                  <a:gd name="T68" fmla="*/ 32 w 126"/>
                  <a:gd name="T69" fmla="*/ 107 h 126"/>
                  <a:gd name="T70" fmla="*/ 40 w 126"/>
                  <a:gd name="T71" fmla="*/ 112 h 126"/>
                  <a:gd name="T72" fmla="*/ 40 w 126"/>
                  <a:gd name="T73" fmla="*/ 123 h 126"/>
                  <a:gd name="T74" fmla="*/ 53 w 126"/>
                  <a:gd name="T75" fmla="*/ 126 h 126"/>
                  <a:gd name="T76" fmla="*/ 58 w 126"/>
                  <a:gd name="T77" fmla="*/ 117 h 126"/>
                  <a:gd name="T78" fmla="*/ 63 w 126"/>
                  <a:gd name="T79" fmla="*/ 117 h 126"/>
                  <a:gd name="T80" fmla="*/ 68 w 126"/>
                  <a:gd name="T81" fmla="*/ 117 h 126"/>
                  <a:gd name="T82" fmla="*/ 73 w 126"/>
                  <a:gd name="T83" fmla="*/ 126 h 126"/>
                  <a:gd name="T84" fmla="*/ 86 w 126"/>
                  <a:gd name="T85" fmla="*/ 123 h 126"/>
                  <a:gd name="T86" fmla="*/ 86 w 126"/>
                  <a:gd name="T87" fmla="*/ 112 h 126"/>
                  <a:gd name="T88" fmla="*/ 94 w 126"/>
                  <a:gd name="T89" fmla="*/ 107 h 126"/>
                  <a:gd name="T90" fmla="*/ 103 w 126"/>
                  <a:gd name="T91" fmla="*/ 113 h 126"/>
                  <a:gd name="T92" fmla="*/ 112 w 126"/>
                  <a:gd name="T93" fmla="*/ 103 h 126"/>
                  <a:gd name="T94" fmla="*/ 107 w 126"/>
                  <a:gd name="T95" fmla="*/ 94 h 126"/>
                  <a:gd name="T96" fmla="*/ 112 w 126"/>
                  <a:gd name="T97" fmla="*/ 86 h 126"/>
                  <a:gd name="T98" fmla="*/ 122 w 126"/>
                  <a:gd name="T99" fmla="*/ 86 h 126"/>
                  <a:gd name="T100" fmla="*/ 126 w 126"/>
                  <a:gd name="T101" fmla="*/ 73 h 126"/>
                  <a:gd name="T102" fmla="*/ 116 w 126"/>
                  <a:gd name="T103" fmla="*/ 68 h 126"/>
                  <a:gd name="T104" fmla="*/ 117 w 126"/>
                  <a:gd name="T105" fmla="*/ 63 h 126"/>
                  <a:gd name="T106" fmla="*/ 63 w 126"/>
                  <a:gd name="T107" fmla="*/ 99 h 126"/>
                  <a:gd name="T108" fmla="*/ 27 w 126"/>
                  <a:gd name="T109" fmla="*/ 63 h 126"/>
                  <a:gd name="T110" fmla="*/ 63 w 126"/>
                  <a:gd name="T111" fmla="*/ 28 h 126"/>
                  <a:gd name="T112" fmla="*/ 98 w 126"/>
                  <a:gd name="T113" fmla="*/ 63 h 126"/>
                  <a:gd name="T114" fmla="*/ 63 w 126"/>
                  <a:gd name="T115" fmla="*/ 9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 h="126">
                    <a:moveTo>
                      <a:pt x="117" y="63"/>
                    </a:moveTo>
                    <a:cubicBezTo>
                      <a:pt x="117" y="62"/>
                      <a:pt x="117" y="60"/>
                      <a:pt x="116" y="58"/>
                    </a:cubicBezTo>
                    <a:cubicBezTo>
                      <a:pt x="126" y="53"/>
                      <a:pt x="126" y="53"/>
                      <a:pt x="126" y="53"/>
                    </a:cubicBezTo>
                    <a:cubicBezTo>
                      <a:pt x="125" y="49"/>
                      <a:pt x="124" y="44"/>
                      <a:pt x="122" y="40"/>
                    </a:cubicBezTo>
                    <a:cubicBezTo>
                      <a:pt x="112" y="40"/>
                      <a:pt x="112" y="40"/>
                      <a:pt x="112" y="40"/>
                    </a:cubicBezTo>
                    <a:cubicBezTo>
                      <a:pt x="110" y="38"/>
                      <a:pt x="109" y="35"/>
                      <a:pt x="107" y="32"/>
                    </a:cubicBezTo>
                    <a:cubicBezTo>
                      <a:pt x="112" y="23"/>
                      <a:pt x="112" y="23"/>
                      <a:pt x="112" y="23"/>
                    </a:cubicBezTo>
                    <a:cubicBezTo>
                      <a:pt x="110" y="20"/>
                      <a:pt x="106" y="16"/>
                      <a:pt x="103" y="14"/>
                    </a:cubicBezTo>
                    <a:cubicBezTo>
                      <a:pt x="94" y="19"/>
                      <a:pt x="94" y="19"/>
                      <a:pt x="94" y="19"/>
                    </a:cubicBezTo>
                    <a:cubicBezTo>
                      <a:pt x="91" y="17"/>
                      <a:pt x="88" y="16"/>
                      <a:pt x="86" y="14"/>
                    </a:cubicBezTo>
                    <a:cubicBezTo>
                      <a:pt x="86" y="4"/>
                      <a:pt x="86" y="4"/>
                      <a:pt x="86" y="4"/>
                    </a:cubicBezTo>
                    <a:cubicBezTo>
                      <a:pt x="82" y="2"/>
                      <a:pt x="77" y="1"/>
                      <a:pt x="73" y="0"/>
                    </a:cubicBezTo>
                    <a:cubicBezTo>
                      <a:pt x="68" y="10"/>
                      <a:pt x="68" y="10"/>
                      <a:pt x="68" y="10"/>
                    </a:cubicBezTo>
                    <a:cubicBezTo>
                      <a:pt x="66" y="9"/>
                      <a:pt x="64" y="9"/>
                      <a:pt x="63" y="9"/>
                    </a:cubicBezTo>
                    <a:cubicBezTo>
                      <a:pt x="61" y="9"/>
                      <a:pt x="60" y="9"/>
                      <a:pt x="58" y="10"/>
                    </a:cubicBezTo>
                    <a:cubicBezTo>
                      <a:pt x="53" y="0"/>
                      <a:pt x="53" y="0"/>
                      <a:pt x="53" y="0"/>
                    </a:cubicBezTo>
                    <a:cubicBezTo>
                      <a:pt x="48" y="1"/>
                      <a:pt x="44" y="2"/>
                      <a:pt x="40" y="4"/>
                    </a:cubicBezTo>
                    <a:cubicBezTo>
                      <a:pt x="40" y="14"/>
                      <a:pt x="40" y="14"/>
                      <a:pt x="40" y="14"/>
                    </a:cubicBezTo>
                    <a:cubicBezTo>
                      <a:pt x="37" y="16"/>
                      <a:pt x="34" y="17"/>
                      <a:pt x="32" y="19"/>
                    </a:cubicBezTo>
                    <a:cubicBezTo>
                      <a:pt x="23" y="14"/>
                      <a:pt x="23" y="14"/>
                      <a:pt x="23" y="14"/>
                    </a:cubicBezTo>
                    <a:cubicBezTo>
                      <a:pt x="19" y="16"/>
                      <a:pt x="16" y="20"/>
                      <a:pt x="13" y="23"/>
                    </a:cubicBezTo>
                    <a:cubicBezTo>
                      <a:pt x="19" y="32"/>
                      <a:pt x="19" y="32"/>
                      <a:pt x="19" y="32"/>
                    </a:cubicBezTo>
                    <a:cubicBezTo>
                      <a:pt x="17" y="35"/>
                      <a:pt x="15" y="38"/>
                      <a:pt x="14" y="40"/>
                    </a:cubicBezTo>
                    <a:cubicBezTo>
                      <a:pt x="3" y="40"/>
                      <a:pt x="3" y="40"/>
                      <a:pt x="3" y="40"/>
                    </a:cubicBezTo>
                    <a:cubicBezTo>
                      <a:pt x="2" y="44"/>
                      <a:pt x="0" y="49"/>
                      <a:pt x="0" y="53"/>
                    </a:cubicBezTo>
                    <a:cubicBezTo>
                      <a:pt x="9" y="58"/>
                      <a:pt x="9" y="58"/>
                      <a:pt x="9" y="58"/>
                    </a:cubicBezTo>
                    <a:cubicBezTo>
                      <a:pt x="9" y="60"/>
                      <a:pt x="9" y="62"/>
                      <a:pt x="9" y="63"/>
                    </a:cubicBezTo>
                    <a:cubicBezTo>
                      <a:pt x="9" y="65"/>
                      <a:pt x="9" y="66"/>
                      <a:pt x="9" y="68"/>
                    </a:cubicBezTo>
                    <a:cubicBezTo>
                      <a:pt x="0" y="73"/>
                      <a:pt x="0" y="73"/>
                      <a:pt x="0" y="73"/>
                    </a:cubicBezTo>
                    <a:cubicBezTo>
                      <a:pt x="0" y="78"/>
                      <a:pt x="2" y="82"/>
                      <a:pt x="3" y="86"/>
                    </a:cubicBezTo>
                    <a:cubicBezTo>
                      <a:pt x="14" y="86"/>
                      <a:pt x="14" y="86"/>
                      <a:pt x="14" y="86"/>
                    </a:cubicBezTo>
                    <a:cubicBezTo>
                      <a:pt x="15" y="89"/>
                      <a:pt x="17" y="92"/>
                      <a:pt x="19" y="94"/>
                    </a:cubicBezTo>
                    <a:cubicBezTo>
                      <a:pt x="13" y="103"/>
                      <a:pt x="13" y="103"/>
                      <a:pt x="13" y="103"/>
                    </a:cubicBezTo>
                    <a:cubicBezTo>
                      <a:pt x="16" y="107"/>
                      <a:pt x="19" y="110"/>
                      <a:pt x="23" y="113"/>
                    </a:cubicBezTo>
                    <a:cubicBezTo>
                      <a:pt x="32" y="107"/>
                      <a:pt x="32" y="107"/>
                      <a:pt x="32" y="107"/>
                    </a:cubicBezTo>
                    <a:cubicBezTo>
                      <a:pt x="34" y="109"/>
                      <a:pt x="37" y="111"/>
                      <a:pt x="40" y="112"/>
                    </a:cubicBezTo>
                    <a:cubicBezTo>
                      <a:pt x="40" y="123"/>
                      <a:pt x="40" y="123"/>
                      <a:pt x="40" y="123"/>
                    </a:cubicBezTo>
                    <a:cubicBezTo>
                      <a:pt x="44" y="124"/>
                      <a:pt x="48" y="125"/>
                      <a:pt x="53" y="126"/>
                    </a:cubicBezTo>
                    <a:cubicBezTo>
                      <a:pt x="58" y="117"/>
                      <a:pt x="58" y="117"/>
                      <a:pt x="58" y="117"/>
                    </a:cubicBezTo>
                    <a:cubicBezTo>
                      <a:pt x="60" y="117"/>
                      <a:pt x="61" y="117"/>
                      <a:pt x="63" y="117"/>
                    </a:cubicBezTo>
                    <a:cubicBezTo>
                      <a:pt x="64" y="117"/>
                      <a:pt x="66" y="117"/>
                      <a:pt x="68" y="117"/>
                    </a:cubicBezTo>
                    <a:cubicBezTo>
                      <a:pt x="73" y="126"/>
                      <a:pt x="73" y="126"/>
                      <a:pt x="73" y="126"/>
                    </a:cubicBezTo>
                    <a:cubicBezTo>
                      <a:pt x="77" y="125"/>
                      <a:pt x="82" y="124"/>
                      <a:pt x="86" y="123"/>
                    </a:cubicBezTo>
                    <a:cubicBezTo>
                      <a:pt x="86" y="112"/>
                      <a:pt x="86" y="112"/>
                      <a:pt x="86" y="112"/>
                    </a:cubicBezTo>
                    <a:cubicBezTo>
                      <a:pt x="88" y="111"/>
                      <a:pt x="91" y="109"/>
                      <a:pt x="94" y="107"/>
                    </a:cubicBezTo>
                    <a:cubicBezTo>
                      <a:pt x="103" y="113"/>
                      <a:pt x="103" y="113"/>
                      <a:pt x="103" y="113"/>
                    </a:cubicBezTo>
                    <a:cubicBezTo>
                      <a:pt x="106" y="110"/>
                      <a:pt x="110" y="107"/>
                      <a:pt x="112" y="103"/>
                    </a:cubicBezTo>
                    <a:cubicBezTo>
                      <a:pt x="107" y="94"/>
                      <a:pt x="107" y="94"/>
                      <a:pt x="107" y="94"/>
                    </a:cubicBezTo>
                    <a:cubicBezTo>
                      <a:pt x="109" y="92"/>
                      <a:pt x="110" y="89"/>
                      <a:pt x="112" y="86"/>
                    </a:cubicBezTo>
                    <a:cubicBezTo>
                      <a:pt x="122" y="86"/>
                      <a:pt x="122" y="86"/>
                      <a:pt x="122" y="86"/>
                    </a:cubicBezTo>
                    <a:cubicBezTo>
                      <a:pt x="124" y="82"/>
                      <a:pt x="125" y="78"/>
                      <a:pt x="126" y="73"/>
                    </a:cubicBezTo>
                    <a:cubicBezTo>
                      <a:pt x="116" y="68"/>
                      <a:pt x="116" y="68"/>
                      <a:pt x="116" y="68"/>
                    </a:cubicBezTo>
                    <a:cubicBezTo>
                      <a:pt x="117" y="66"/>
                      <a:pt x="117" y="65"/>
                      <a:pt x="117" y="63"/>
                    </a:cubicBezTo>
                    <a:moveTo>
                      <a:pt x="63" y="99"/>
                    </a:moveTo>
                    <a:cubicBezTo>
                      <a:pt x="43" y="99"/>
                      <a:pt x="27" y="83"/>
                      <a:pt x="27" y="63"/>
                    </a:cubicBezTo>
                    <a:cubicBezTo>
                      <a:pt x="27" y="44"/>
                      <a:pt x="43" y="28"/>
                      <a:pt x="63" y="28"/>
                    </a:cubicBezTo>
                    <a:cubicBezTo>
                      <a:pt x="82" y="28"/>
                      <a:pt x="98" y="44"/>
                      <a:pt x="98" y="63"/>
                    </a:cubicBezTo>
                    <a:cubicBezTo>
                      <a:pt x="98" y="83"/>
                      <a:pt x="82" y="99"/>
                      <a:pt x="63" y="99"/>
                    </a:cubicBez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0000"/>
                  </a:solidFill>
                  <a:effectLst/>
                  <a:uLnTx/>
                  <a:uFillTx/>
                  <a:latin typeface="Segoe UI"/>
                  <a:ea typeface="+mn-ea"/>
                  <a:cs typeface="+mn-cs"/>
                </a:endParaRPr>
              </a:p>
            </p:txBody>
          </p:sp>
        </p:grpSp>
        <p:grpSp>
          <p:nvGrpSpPr>
            <p:cNvPr id="15" name="Group 14"/>
            <p:cNvGrpSpPr/>
            <p:nvPr/>
          </p:nvGrpSpPr>
          <p:grpSpPr>
            <a:xfrm>
              <a:off x="8733125" y="2786343"/>
              <a:ext cx="1033446" cy="622907"/>
              <a:chOff x="8519109" y="2698285"/>
              <a:chExt cx="1130090" cy="681159"/>
            </a:xfrm>
          </p:grpSpPr>
          <p:pic>
            <p:nvPicPr>
              <p:cNvPr id="13" name="Picture 12"/>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519109" y="2698285"/>
                <a:ext cx="672516" cy="617617"/>
              </a:xfrm>
              <a:prstGeom prst="rect">
                <a:avLst/>
              </a:prstGeom>
            </p:spPr>
          </p:pic>
          <p:sp>
            <p:nvSpPr>
              <p:cNvPr id="14" name="TextBox 13"/>
              <p:cNvSpPr txBox="1"/>
              <p:nvPr/>
            </p:nvSpPr>
            <p:spPr>
              <a:xfrm>
                <a:off x="9201150" y="3036154"/>
                <a:ext cx="448049" cy="343290"/>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zh-CN" sz="2040" b="1" i="0" u="none" strike="noStrike" kern="0" cap="none" spc="0" normalizeH="0" baseline="0" noProof="0" dirty="0">
                    <a:ln>
                      <a:noFill/>
                    </a:ln>
                    <a:solidFill>
                      <a:srgbClr val="FFFFFF"/>
                    </a:solidFill>
                    <a:effectLst/>
                    <a:uLnTx/>
                    <a:uFillTx/>
                    <a:latin typeface="StempelSchneidler" pitchFamily="50" charset="0"/>
                    <a:ea typeface="+mn-ea"/>
                    <a:cs typeface="+mn-cs"/>
                  </a:rPr>
                  <a:t>$</a:t>
                </a:r>
                <a:endParaRPr kumimoji="0" lang="zh-CN" altLang="en-US" sz="2040" b="1" i="0" u="none" strike="noStrike" kern="0" cap="none" spc="0" normalizeH="0" baseline="0" noProof="0" dirty="0" err="1">
                  <a:ln>
                    <a:noFill/>
                  </a:ln>
                  <a:solidFill>
                    <a:srgbClr val="FFFFFF"/>
                  </a:solidFill>
                  <a:effectLst/>
                  <a:uLnTx/>
                  <a:uFillTx/>
                  <a:latin typeface="StempelSchneidler" pitchFamily="50" charset="0"/>
                  <a:ea typeface="+mn-ea"/>
                  <a:cs typeface="+mn-cs"/>
                </a:endParaRPr>
              </a:p>
            </p:txBody>
          </p:sp>
        </p:grpSp>
      </p:grpSp>
      <p:grpSp>
        <p:nvGrpSpPr>
          <p:cNvPr id="22" name="Group 21"/>
          <p:cNvGrpSpPr/>
          <p:nvPr/>
        </p:nvGrpSpPr>
        <p:grpSpPr>
          <a:xfrm>
            <a:off x="4616695" y="1235863"/>
            <a:ext cx="3376274" cy="1583813"/>
            <a:chOff x="4525718" y="1211740"/>
            <a:chExt cx="3310373" cy="1552899"/>
          </a:xfrm>
        </p:grpSpPr>
        <p:sp>
          <p:nvSpPr>
            <p:cNvPr id="8" name="Rectangle 7"/>
            <p:cNvSpPr/>
            <p:nvPr/>
          </p:nvSpPr>
          <p:spPr bwMode="auto">
            <a:xfrm>
              <a:off x="4525718" y="1211740"/>
              <a:ext cx="3310373" cy="1552899"/>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2384" tIns="186521" rIns="186521" bIns="186521" numCol="1" spcCol="0" rtlCol="0" fromWordArt="0" anchor="ctr"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zh-CN" sz="1428" b="1" i="0" u="none" strike="noStrike" kern="0" cap="none" spc="0" normalizeH="0" baseline="0" noProof="0" dirty="0">
                  <a:ln>
                    <a:noFill/>
                  </a:ln>
                  <a:solidFill>
                    <a:sysClr val="windowText" lastClr="000000"/>
                  </a:solidFill>
                  <a:effectLst/>
                  <a:uLnTx/>
                  <a:uFillTx/>
                  <a:latin typeface="Segoe UI"/>
                  <a:ea typeface="+mn-ea"/>
                  <a:cs typeface="+mn-cs"/>
                </a:rPr>
                <a:t>Users:</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zh-CN" sz="1428" b="0" i="0" u="none" strike="noStrike" kern="0" cap="none" spc="0" normalizeH="0" baseline="0" noProof="0" dirty="0">
                  <a:ln>
                    <a:noFill/>
                  </a:ln>
                  <a:solidFill>
                    <a:sysClr val="windowText" lastClr="000000"/>
                  </a:solidFill>
                  <a:effectLst/>
                  <a:uLnTx/>
                  <a:uFillTx/>
                  <a:latin typeface="Segoe UI"/>
                  <a:ea typeface="+mn-ea"/>
                  <a:cs typeface="+mn-cs"/>
                </a:rPr>
                <a:t>Access to Compliance-trimmed Information</a:t>
              </a:r>
              <a:endParaRPr kumimoji="0" lang="zh-CN" altLang="zh-CN" sz="1428"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85" name="Group 25"/>
            <p:cNvGrpSpPr>
              <a:grpSpLocks noChangeAspect="1"/>
            </p:cNvGrpSpPr>
            <p:nvPr/>
          </p:nvGrpSpPr>
          <p:grpSpPr bwMode="auto">
            <a:xfrm>
              <a:off x="4863944" y="1727472"/>
              <a:ext cx="623533" cy="624111"/>
              <a:chOff x="1682" y="0"/>
              <a:chExt cx="4316" cy="4320"/>
            </a:xfrm>
          </p:grpSpPr>
          <p:sp>
            <p:nvSpPr>
              <p:cNvPr id="86" name="AutoShape 24"/>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 name="Freeform 26"/>
              <p:cNvSpPr>
                <a:spLocks/>
              </p:cNvSpPr>
              <p:nvPr/>
            </p:nvSpPr>
            <p:spPr bwMode="auto">
              <a:xfrm>
                <a:off x="1682" y="0"/>
                <a:ext cx="4316" cy="4320"/>
              </a:xfrm>
              <a:custGeom>
                <a:avLst/>
                <a:gdLst>
                  <a:gd name="T0" fmla="*/ 2310 w 4316"/>
                  <a:gd name="T1" fmla="*/ 0 h 4320"/>
                  <a:gd name="T2" fmla="*/ 2549 w 4316"/>
                  <a:gd name="T3" fmla="*/ 41 h 4320"/>
                  <a:gd name="T4" fmla="*/ 2750 w 4316"/>
                  <a:gd name="T5" fmla="*/ 85 h 4320"/>
                  <a:gd name="T6" fmla="*/ 2904 w 4316"/>
                  <a:gd name="T7" fmla="*/ 133 h 4320"/>
                  <a:gd name="T8" fmla="*/ 3096 w 4316"/>
                  <a:gd name="T9" fmla="*/ 214 h 4320"/>
                  <a:gd name="T10" fmla="*/ 3277 w 4316"/>
                  <a:gd name="T11" fmla="*/ 312 h 4320"/>
                  <a:gd name="T12" fmla="*/ 3447 w 4316"/>
                  <a:gd name="T13" fmla="*/ 425 h 4320"/>
                  <a:gd name="T14" fmla="*/ 3603 w 4316"/>
                  <a:gd name="T15" fmla="*/ 553 h 4320"/>
                  <a:gd name="T16" fmla="*/ 3745 w 4316"/>
                  <a:gd name="T17" fmla="*/ 693 h 4320"/>
                  <a:gd name="T18" fmla="*/ 3874 w 4316"/>
                  <a:gd name="T19" fmla="*/ 845 h 4320"/>
                  <a:gd name="T20" fmla="*/ 3987 w 4316"/>
                  <a:gd name="T21" fmla="*/ 1007 h 4320"/>
                  <a:gd name="T22" fmla="*/ 4085 w 4316"/>
                  <a:gd name="T23" fmla="*/ 1181 h 4320"/>
                  <a:gd name="T24" fmla="*/ 4166 w 4316"/>
                  <a:gd name="T25" fmla="*/ 1362 h 4320"/>
                  <a:gd name="T26" fmla="*/ 4231 w 4316"/>
                  <a:gd name="T27" fmla="*/ 1551 h 4320"/>
                  <a:gd name="T28" fmla="*/ 4277 w 4316"/>
                  <a:gd name="T29" fmla="*/ 1747 h 4320"/>
                  <a:gd name="T30" fmla="*/ 4307 w 4316"/>
                  <a:gd name="T31" fmla="*/ 1948 h 4320"/>
                  <a:gd name="T32" fmla="*/ 4316 w 4316"/>
                  <a:gd name="T33" fmla="*/ 2154 h 4320"/>
                  <a:gd name="T34" fmla="*/ 4307 w 4316"/>
                  <a:gd name="T35" fmla="*/ 2362 h 4320"/>
                  <a:gd name="T36" fmla="*/ 4277 w 4316"/>
                  <a:gd name="T37" fmla="*/ 2573 h 4320"/>
                  <a:gd name="T38" fmla="*/ 4222 w 4316"/>
                  <a:gd name="T39" fmla="*/ 2795 h 4320"/>
                  <a:gd name="T40" fmla="*/ 4096 w 4316"/>
                  <a:gd name="T41" fmla="*/ 3117 h 4320"/>
                  <a:gd name="T42" fmla="*/ 3919 w 4316"/>
                  <a:gd name="T43" fmla="*/ 3412 h 4320"/>
                  <a:gd name="T44" fmla="*/ 3699 w 4316"/>
                  <a:gd name="T45" fmla="*/ 3675 h 4320"/>
                  <a:gd name="T46" fmla="*/ 3438 w 4316"/>
                  <a:gd name="T47" fmla="*/ 3900 h 4320"/>
                  <a:gd name="T48" fmla="*/ 3140 w 4316"/>
                  <a:gd name="T49" fmla="*/ 4083 h 4320"/>
                  <a:gd name="T50" fmla="*/ 2813 w 4316"/>
                  <a:gd name="T51" fmla="*/ 4218 h 4320"/>
                  <a:gd name="T52" fmla="*/ 2460 w 4316"/>
                  <a:gd name="T53" fmla="*/ 4298 h 4320"/>
                  <a:gd name="T54" fmla="*/ 2207 w 4316"/>
                  <a:gd name="T55" fmla="*/ 4320 h 4320"/>
                  <a:gd name="T56" fmla="*/ 1939 w 4316"/>
                  <a:gd name="T57" fmla="*/ 4311 h 4320"/>
                  <a:gd name="T58" fmla="*/ 1678 w 4316"/>
                  <a:gd name="T59" fmla="*/ 4268 h 4320"/>
                  <a:gd name="T60" fmla="*/ 1425 w 4316"/>
                  <a:gd name="T61" fmla="*/ 4194 h 4320"/>
                  <a:gd name="T62" fmla="*/ 1240 w 4316"/>
                  <a:gd name="T63" fmla="*/ 4113 h 4320"/>
                  <a:gd name="T64" fmla="*/ 1006 w 4316"/>
                  <a:gd name="T65" fmla="*/ 3982 h 4320"/>
                  <a:gd name="T66" fmla="*/ 793 w 4316"/>
                  <a:gd name="T67" fmla="*/ 3832 h 4320"/>
                  <a:gd name="T68" fmla="*/ 606 w 4316"/>
                  <a:gd name="T69" fmla="*/ 3664 h 4320"/>
                  <a:gd name="T70" fmla="*/ 442 w 4316"/>
                  <a:gd name="T71" fmla="*/ 3475 h 4320"/>
                  <a:gd name="T72" fmla="*/ 303 w 4316"/>
                  <a:gd name="T73" fmla="*/ 3270 h 4320"/>
                  <a:gd name="T74" fmla="*/ 189 w 4316"/>
                  <a:gd name="T75" fmla="*/ 3045 h 4320"/>
                  <a:gd name="T76" fmla="*/ 98 w 4316"/>
                  <a:gd name="T77" fmla="*/ 2801 h 4320"/>
                  <a:gd name="T78" fmla="*/ 33 w 4316"/>
                  <a:gd name="T79" fmla="*/ 2540 h 4320"/>
                  <a:gd name="T80" fmla="*/ 0 w 4316"/>
                  <a:gd name="T81" fmla="*/ 2311 h 4320"/>
                  <a:gd name="T82" fmla="*/ 4 w 4316"/>
                  <a:gd name="T83" fmla="*/ 1989 h 4320"/>
                  <a:gd name="T84" fmla="*/ 18 w 4316"/>
                  <a:gd name="T85" fmla="*/ 1871 h 4320"/>
                  <a:gd name="T86" fmla="*/ 52 w 4316"/>
                  <a:gd name="T87" fmla="*/ 1675 h 4320"/>
                  <a:gd name="T88" fmla="*/ 105 w 4316"/>
                  <a:gd name="T89" fmla="*/ 1483 h 4320"/>
                  <a:gd name="T90" fmla="*/ 177 w 4316"/>
                  <a:gd name="T91" fmla="*/ 1298 h 4320"/>
                  <a:gd name="T92" fmla="*/ 251 w 4316"/>
                  <a:gd name="T93" fmla="*/ 1148 h 4320"/>
                  <a:gd name="T94" fmla="*/ 388 w 4316"/>
                  <a:gd name="T95" fmla="*/ 924 h 4320"/>
                  <a:gd name="T96" fmla="*/ 543 w 4316"/>
                  <a:gd name="T97" fmla="*/ 725 h 4320"/>
                  <a:gd name="T98" fmla="*/ 715 w 4316"/>
                  <a:gd name="T99" fmla="*/ 549 h 4320"/>
                  <a:gd name="T100" fmla="*/ 906 w 4316"/>
                  <a:gd name="T101" fmla="*/ 396 h 4320"/>
                  <a:gd name="T102" fmla="*/ 1115 w 4316"/>
                  <a:gd name="T103" fmla="*/ 268 h 4320"/>
                  <a:gd name="T104" fmla="*/ 1340 w 4316"/>
                  <a:gd name="T105" fmla="*/ 161 h 4320"/>
                  <a:gd name="T106" fmla="*/ 1584 w 4316"/>
                  <a:gd name="T107" fmla="*/ 79 h 4320"/>
                  <a:gd name="T108" fmla="*/ 1778 w 4316"/>
                  <a:gd name="T109" fmla="*/ 35 h 4320"/>
                  <a:gd name="T110" fmla="*/ 2007 w 4316"/>
                  <a:gd name="T111" fmla="*/ 0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16" h="4320">
                    <a:moveTo>
                      <a:pt x="2007" y="0"/>
                    </a:moveTo>
                    <a:lnTo>
                      <a:pt x="2007" y="0"/>
                    </a:lnTo>
                    <a:lnTo>
                      <a:pt x="2310" y="0"/>
                    </a:lnTo>
                    <a:lnTo>
                      <a:pt x="2310" y="0"/>
                    </a:lnTo>
                    <a:lnTo>
                      <a:pt x="2342" y="9"/>
                    </a:lnTo>
                    <a:lnTo>
                      <a:pt x="2342" y="9"/>
                    </a:lnTo>
                    <a:lnTo>
                      <a:pt x="2445" y="26"/>
                    </a:lnTo>
                    <a:lnTo>
                      <a:pt x="2549" y="41"/>
                    </a:lnTo>
                    <a:lnTo>
                      <a:pt x="2599" y="50"/>
                    </a:lnTo>
                    <a:lnTo>
                      <a:pt x="2651" y="59"/>
                    </a:lnTo>
                    <a:lnTo>
                      <a:pt x="2701" y="70"/>
                    </a:lnTo>
                    <a:lnTo>
                      <a:pt x="2750" y="85"/>
                    </a:lnTo>
                    <a:lnTo>
                      <a:pt x="2750" y="85"/>
                    </a:lnTo>
                    <a:lnTo>
                      <a:pt x="2802" y="100"/>
                    </a:lnTo>
                    <a:lnTo>
                      <a:pt x="2852" y="116"/>
                    </a:lnTo>
                    <a:lnTo>
                      <a:pt x="2904" y="133"/>
                    </a:lnTo>
                    <a:lnTo>
                      <a:pt x="2952" y="153"/>
                    </a:lnTo>
                    <a:lnTo>
                      <a:pt x="3002" y="172"/>
                    </a:lnTo>
                    <a:lnTo>
                      <a:pt x="3050" y="194"/>
                    </a:lnTo>
                    <a:lnTo>
                      <a:pt x="3096" y="214"/>
                    </a:lnTo>
                    <a:lnTo>
                      <a:pt x="3142" y="238"/>
                    </a:lnTo>
                    <a:lnTo>
                      <a:pt x="3188" y="262"/>
                    </a:lnTo>
                    <a:lnTo>
                      <a:pt x="3233" y="287"/>
                    </a:lnTo>
                    <a:lnTo>
                      <a:pt x="3277" y="312"/>
                    </a:lnTo>
                    <a:lnTo>
                      <a:pt x="3322" y="340"/>
                    </a:lnTo>
                    <a:lnTo>
                      <a:pt x="3364" y="368"/>
                    </a:lnTo>
                    <a:lnTo>
                      <a:pt x="3405" y="396"/>
                    </a:lnTo>
                    <a:lnTo>
                      <a:pt x="3447" y="425"/>
                    </a:lnTo>
                    <a:lnTo>
                      <a:pt x="3488" y="457"/>
                    </a:lnTo>
                    <a:lnTo>
                      <a:pt x="3527" y="488"/>
                    </a:lnTo>
                    <a:lnTo>
                      <a:pt x="3566" y="519"/>
                    </a:lnTo>
                    <a:lnTo>
                      <a:pt x="3603" y="553"/>
                    </a:lnTo>
                    <a:lnTo>
                      <a:pt x="3639" y="586"/>
                    </a:lnTo>
                    <a:lnTo>
                      <a:pt x="3676" y="621"/>
                    </a:lnTo>
                    <a:lnTo>
                      <a:pt x="3712" y="656"/>
                    </a:lnTo>
                    <a:lnTo>
                      <a:pt x="3745" y="693"/>
                    </a:lnTo>
                    <a:lnTo>
                      <a:pt x="3778" y="730"/>
                    </a:lnTo>
                    <a:lnTo>
                      <a:pt x="3811" y="767"/>
                    </a:lnTo>
                    <a:lnTo>
                      <a:pt x="3843" y="806"/>
                    </a:lnTo>
                    <a:lnTo>
                      <a:pt x="3874" y="845"/>
                    </a:lnTo>
                    <a:lnTo>
                      <a:pt x="3904" y="885"/>
                    </a:lnTo>
                    <a:lnTo>
                      <a:pt x="3932" y="926"/>
                    </a:lnTo>
                    <a:lnTo>
                      <a:pt x="3959" y="967"/>
                    </a:lnTo>
                    <a:lnTo>
                      <a:pt x="3987" y="1007"/>
                    </a:lnTo>
                    <a:lnTo>
                      <a:pt x="4013" y="1050"/>
                    </a:lnTo>
                    <a:lnTo>
                      <a:pt x="4037" y="1092"/>
                    </a:lnTo>
                    <a:lnTo>
                      <a:pt x="4061" y="1137"/>
                    </a:lnTo>
                    <a:lnTo>
                      <a:pt x="4085" y="1181"/>
                    </a:lnTo>
                    <a:lnTo>
                      <a:pt x="4107" y="1226"/>
                    </a:lnTo>
                    <a:lnTo>
                      <a:pt x="4127" y="1270"/>
                    </a:lnTo>
                    <a:lnTo>
                      <a:pt x="4148" y="1316"/>
                    </a:lnTo>
                    <a:lnTo>
                      <a:pt x="4166" y="1362"/>
                    </a:lnTo>
                    <a:lnTo>
                      <a:pt x="4183" y="1409"/>
                    </a:lnTo>
                    <a:lnTo>
                      <a:pt x="4200" y="1457"/>
                    </a:lnTo>
                    <a:lnTo>
                      <a:pt x="4216" y="1503"/>
                    </a:lnTo>
                    <a:lnTo>
                      <a:pt x="4231" y="1551"/>
                    </a:lnTo>
                    <a:lnTo>
                      <a:pt x="4244" y="1599"/>
                    </a:lnTo>
                    <a:lnTo>
                      <a:pt x="4257" y="1649"/>
                    </a:lnTo>
                    <a:lnTo>
                      <a:pt x="4268" y="1697"/>
                    </a:lnTo>
                    <a:lnTo>
                      <a:pt x="4277" y="1747"/>
                    </a:lnTo>
                    <a:lnTo>
                      <a:pt x="4286" y="1797"/>
                    </a:lnTo>
                    <a:lnTo>
                      <a:pt x="4294" y="1847"/>
                    </a:lnTo>
                    <a:lnTo>
                      <a:pt x="4301" y="1897"/>
                    </a:lnTo>
                    <a:lnTo>
                      <a:pt x="4307" y="1948"/>
                    </a:lnTo>
                    <a:lnTo>
                      <a:pt x="4310" y="1998"/>
                    </a:lnTo>
                    <a:lnTo>
                      <a:pt x="4314" y="2050"/>
                    </a:lnTo>
                    <a:lnTo>
                      <a:pt x="4316" y="2102"/>
                    </a:lnTo>
                    <a:lnTo>
                      <a:pt x="4316" y="2154"/>
                    </a:lnTo>
                    <a:lnTo>
                      <a:pt x="4316" y="2205"/>
                    </a:lnTo>
                    <a:lnTo>
                      <a:pt x="4314" y="2257"/>
                    </a:lnTo>
                    <a:lnTo>
                      <a:pt x="4310" y="2309"/>
                    </a:lnTo>
                    <a:lnTo>
                      <a:pt x="4307" y="2362"/>
                    </a:lnTo>
                    <a:lnTo>
                      <a:pt x="4301" y="2414"/>
                    </a:lnTo>
                    <a:lnTo>
                      <a:pt x="4294" y="2468"/>
                    </a:lnTo>
                    <a:lnTo>
                      <a:pt x="4286" y="2520"/>
                    </a:lnTo>
                    <a:lnTo>
                      <a:pt x="4277" y="2573"/>
                    </a:lnTo>
                    <a:lnTo>
                      <a:pt x="4266" y="2625"/>
                    </a:lnTo>
                    <a:lnTo>
                      <a:pt x="4266" y="2625"/>
                    </a:lnTo>
                    <a:lnTo>
                      <a:pt x="4246" y="2710"/>
                    </a:lnTo>
                    <a:lnTo>
                      <a:pt x="4222" y="2795"/>
                    </a:lnTo>
                    <a:lnTo>
                      <a:pt x="4196" y="2878"/>
                    </a:lnTo>
                    <a:lnTo>
                      <a:pt x="4166" y="2958"/>
                    </a:lnTo>
                    <a:lnTo>
                      <a:pt x="4131" y="3039"/>
                    </a:lnTo>
                    <a:lnTo>
                      <a:pt x="4096" y="3117"/>
                    </a:lnTo>
                    <a:lnTo>
                      <a:pt x="4055" y="3192"/>
                    </a:lnTo>
                    <a:lnTo>
                      <a:pt x="4013" y="3268"/>
                    </a:lnTo>
                    <a:lnTo>
                      <a:pt x="3969" y="3340"/>
                    </a:lnTo>
                    <a:lnTo>
                      <a:pt x="3919" y="3412"/>
                    </a:lnTo>
                    <a:lnTo>
                      <a:pt x="3869" y="3481"/>
                    </a:lnTo>
                    <a:lnTo>
                      <a:pt x="3813" y="3547"/>
                    </a:lnTo>
                    <a:lnTo>
                      <a:pt x="3758" y="3612"/>
                    </a:lnTo>
                    <a:lnTo>
                      <a:pt x="3699" y="3675"/>
                    </a:lnTo>
                    <a:lnTo>
                      <a:pt x="3636" y="3736"/>
                    </a:lnTo>
                    <a:lnTo>
                      <a:pt x="3573" y="3793"/>
                    </a:lnTo>
                    <a:lnTo>
                      <a:pt x="3506" y="3849"/>
                    </a:lnTo>
                    <a:lnTo>
                      <a:pt x="3438" y="3900"/>
                    </a:lnTo>
                    <a:lnTo>
                      <a:pt x="3366" y="3950"/>
                    </a:lnTo>
                    <a:lnTo>
                      <a:pt x="3294" y="3998"/>
                    </a:lnTo>
                    <a:lnTo>
                      <a:pt x="3218" y="4043"/>
                    </a:lnTo>
                    <a:lnTo>
                      <a:pt x="3140" y="4083"/>
                    </a:lnTo>
                    <a:lnTo>
                      <a:pt x="3061" y="4122"/>
                    </a:lnTo>
                    <a:lnTo>
                      <a:pt x="2980" y="4157"/>
                    </a:lnTo>
                    <a:lnTo>
                      <a:pt x="2898" y="4189"/>
                    </a:lnTo>
                    <a:lnTo>
                      <a:pt x="2813" y="4218"/>
                    </a:lnTo>
                    <a:lnTo>
                      <a:pt x="2726" y="4244"/>
                    </a:lnTo>
                    <a:lnTo>
                      <a:pt x="2640" y="4266"/>
                    </a:lnTo>
                    <a:lnTo>
                      <a:pt x="2551" y="4283"/>
                    </a:lnTo>
                    <a:lnTo>
                      <a:pt x="2460" y="4298"/>
                    </a:lnTo>
                    <a:lnTo>
                      <a:pt x="2368" y="4309"/>
                    </a:lnTo>
                    <a:lnTo>
                      <a:pt x="2274" y="4316"/>
                    </a:lnTo>
                    <a:lnTo>
                      <a:pt x="2274" y="4316"/>
                    </a:lnTo>
                    <a:lnTo>
                      <a:pt x="2207" y="4320"/>
                    </a:lnTo>
                    <a:lnTo>
                      <a:pt x="2139" y="4320"/>
                    </a:lnTo>
                    <a:lnTo>
                      <a:pt x="2072" y="4318"/>
                    </a:lnTo>
                    <a:lnTo>
                      <a:pt x="2006" y="4316"/>
                    </a:lnTo>
                    <a:lnTo>
                      <a:pt x="1939" y="4311"/>
                    </a:lnTo>
                    <a:lnTo>
                      <a:pt x="1874" y="4303"/>
                    </a:lnTo>
                    <a:lnTo>
                      <a:pt x="1810" y="4294"/>
                    </a:lnTo>
                    <a:lnTo>
                      <a:pt x="1743" y="4283"/>
                    </a:lnTo>
                    <a:lnTo>
                      <a:pt x="1678" y="4268"/>
                    </a:lnTo>
                    <a:lnTo>
                      <a:pt x="1615" y="4253"/>
                    </a:lnTo>
                    <a:lnTo>
                      <a:pt x="1551" y="4235"/>
                    </a:lnTo>
                    <a:lnTo>
                      <a:pt x="1488" y="4216"/>
                    </a:lnTo>
                    <a:lnTo>
                      <a:pt x="1425" y="4194"/>
                    </a:lnTo>
                    <a:lnTo>
                      <a:pt x="1364" y="4168"/>
                    </a:lnTo>
                    <a:lnTo>
                      <a:pt x="1301" y="4143"/>
                    </a:lnTo>
                    <a:lnTo>
                      <a:pt x="1240" y="4113"/>
                    </a:lnTo>
                    <a:lnTo>
                      <a:pt x="1240" y="4113"/>
                    </a:lnTo>
                    <a:lnTo>
                      <a:pt x="1179" y="4083"/>
                    </a:lnTo>
                    <a:lnTo>
                      <a:pt x="1120" y="4050"/>
                    </a:lnTo>
                    <a:lnTo>
                      <a:pt x="1061" y="4017"/>
                    </a:lnTo>
                    <a:lnTo>
                      <a:pt x="1006" y="3982"/>
                    </a:lnTo>
                    <a:lnTo>
                      <a:pt x="950" y="3947"/>
                    </a:lnTo>
                    <a:lnTo>
                      <a:pt x="896" y="3910"/>
                    </a:lnTo>
                    <a:lnTo>
                      <a:pt x="843" y="3871"/>
                    </a:lnTo>
                    <a:lnTo>
                      <a:pt x="793" y="3832"/>
                    </a:lnTo>
                    <a:lnTo>
                      <a:pt x="743" y="3791"/>
                    </a:lnTo>
                    <a:lnTo>
                      <a:pt x="697" y="3751"/>
                    </a:lnTo>
                    <a:lnTo>
                      <a:pt x="651" y="3708"/>
                    </a:lnTo>
                    <a:lnTo>
                      <a:pt x="606" y="3664"/>
                    </a:lnTo>
                    <a:lnTo>
                      <a:pt x="562" y="3618"/>
                    </a:lnTo>
                    <a:lnTo>
                      <a:pt x="521" y="3571"/>
                    </a:lnTo>
                    <a:lnTo>
                      <a:pt x="481" y="3525"/>
                    </a:lnTo>
                    <a:lnTo>
                      <a:pt x="442" y="3475"/>
                    </a:lnTo>
                    <a:lnTo>
                      <a:pt x="405" y="3427"/>
                    </a:lnTo>
                    <a:lnTo>
                      <a:pt x="370" y="3375"/>
                    </a:lnTo>
                    <a:lnTo>
                      <a:pt x="336" y="3324"/>
                    </a:lnTo>
                    <a:lnTo>
                      <a:pt x="303" y="3270"/>
                    </a:lnTo>
                    <a:lnTo>
                      <a:pt x="272" y="3215"/>
                    </a:lnTo>
                    <a:lnTo>
                      <a:pt x="242" y="3159"/>
                    </a:lnTo>
                    <a:lnTo>
                      <a:pt x="214" y="3104"/>
                    </a:lnTo>
                    <a:lnTo>
                      <a:pt x="189" y="3045"/>
                    </a:lnTo>
                    <a:lnTo>
                      <a:pt x="165" y="2985"/>
                    </a:lnTo>
                    <a:lnTo>
                      <a:pt x="140" y="2926"/>
                    </a:lnTo>
                    <a:lnTo>
                      <a:pt x="118" y="2863"/>
                    </a:lnTo>
                    <a:lnTo>
                      <a:pt x="98" y="2801"/>
                    </a:lnTo>
                    <a:lnTo>
                      <a:pt x="79" y="2738"/>
                    </a:lnTo>
                    <a:lnTo>
                      <a:pt x="63" y="2673"/>
                    </a:lnTo>
                    <a:lnTo>
                      <a:pt x="48" y="2606"/>
                    </a:lnTo>
                    <a:lnTo>
                      <a:pt x="33" y="2540"/>
                    </a:lnTo>
                    <a:lnTo>
                      <a:pt x="33" y="2540"/>
                    </a:lnTo>
                    <a:lnTo>
                      <a:pt x="24" y="2483"/>
                    </a:lnTo>
                    <a:lnTo>
                      <a:pt x="15" y="2425"/>
                    </a:lnTo>
                    <a:lnTo>
                      <a:pt x="0" y="2311"/>
                    </a:lnTo>
                    <a:lnTo>
                      <a:pt x="0" y="2311"/>
                    </a:lnTo>
                    <a:lnTo>
                      <a:pt x="0" y="2007"/>
                    </a:lnTo>
                    <a:lnTo>
                      <a:pt x="0" y="2007"/>
                    </a:lnTo>
                    <a:lnTo>
                      <a:pt x="4" y="1989"/>
                    </a:lnTo>
                    <a:lnTo>
                      <a:pt x="7" y="1972"/>
                    </a:lnTo>
                    <a:lnTo>
                      <a:pt x="7" y="1972"/>
                    </a:lnTo>
                    <a:lnTo>
                      <a:pt x="11" y="1921"/>
                    </a:lnTo>
                    <a:lnTo>
                      <a:pt x="18" y="1871"/>
                    </a:lnTo>
                    <a:lnTo>
                      <a:pt x="24" y="1823"/>
                    </a:lnTo>
                    <a:lnTo>
                      <a:pt x="33" y="1773"/>
                    </a:lnTo>
                    <a:lnTo>
                      <a:pt x="41" y="1723"/>
                    </a:lnTo>
                    <a:lnTo>
                      <a:pt x="52" y="1675"/>
                    </a:lnTo>
                    <a:lnTo>
                      <a:pt x="63" y="1627"/>
                    </a:lnTo>
                    <a:lnTo>
                      <a:pt x="76" y="1579"/>
                    </a:lnTo>
                    <a:lnTo>
                      <a:pt x="89" y="1531"/>
                    </a:lnTo>
                    <a:lnTo>
                      <a:pt x="105" y="1483"/>
                    </a:lnTo>
                    <a:lnTo>
                      <a:pt x="120" y="1436"/>
                    </a:lnTo>
                    <a:lnTo>
                      <a:pt x="139" y="1390"/>
                    </a:lnTo>
                    <a:lnTo>
                      <a:pt x="157" y="1344"/>
                    </a:lnTo>
                    <a:lnTo>
                      <a:pt x="177" y="1298"/>
                    </a:lnTo>
                    <a:lnTo>
                      <a:pt x="198" y="1251"/>
                    </a:lnTo>
                    <a:lnTo>
                      <a:pt x="220" y="1207"/>
                    </a:lnTo>
                    <a:lnTo>
                      <a:pt x="220" y="1207"/>
                    </a:lnTo>
                    <a:lnTo>
                      <a:pt x="251" y="1148"/>
                    </a:lnTo>
                    <a:lnTo>
                      <a:pt x="285" y="1091"/>
                    </a:lnTo>
                    <a:lnTo>
                      <a:pt x="318" y="1033"/>
                    </a:lnTo>
                    <a:lnTo>
                      <a:pt x="353" y="978"/>
                    </a:lnTo>
                    <a:lnTo>
                      <a:pt x="388" y="924"/>
                    </a:lnTo>
                    <a:lnTo>
                      <a:pt x="425" y="873"/>
                    </a:lnTo>
                    <a:lnTo>
                      <a:pt x="464" y="823"/>
                    </a:lnTo>
                    <a:lnTo>
                      <a:pt x="503" y="773"/>
                    </a:lnTo>
                    <a:lnTo>
                      <a:pt x="543" y="725"/>
                    </a:lnTo>
                    <a:lnTo>
                      <a:pt x="584" y="678"/>
                    </a:lnTo>
                    <a:lnTo>
                      <a:pt x="628" y="634"/>
                    </a:lnTo>
                    <a:lnTo>
                      <a:pt x="671" y="592"/>
                    </a:lnTo>
                    <a:lnTo>
                      <a:pt x="715" y="549"/>
                    </a:lnTo>
                    <a:lnTo>
                      <a:pt x="762" y="508"/>
                    </a:lnTo>
                    <a:lnTo>
                      <a:pt x="810" y="470"/>
                    </a:lnTo>
                    <a:lnTo>
                      <a:pt x="858" y="433"/>
                    </a:lnTo>
                    <a:lnTo>
                      <a:pt x="906" y="396"/>
                    </a:lnTo>
                    <a:lnTo>
                      <a:pt x="957" y="362"/>
                    </a:lnTo>
                    <a:lnTo>
                      <a:pt x="1007" y="329"/>
                    </a:lnTo>
                    <a:lnTo>
                      <a:pt x="1061" y="298"/>
                    </a:lnTo>
                    <a:lnTo>
                      <a:pt x="1115" y="268"/>
                    </a:lnTo>
                    <a:lnTo>
                      <a:pt x="1168" y="238"/>
                    </a:lnTo>
                    <a:lnTo>
                      <a:pt x="1225" y="211"/>
                    </a:lnTo>
                    <a:lnTo>
                      <a:pt x="1283" y="187"/>
                    </a:lnTo>
                    <a:lnTo>
                      <a:pt x="1340" y="161"/>
                    </a:lnTo>
                    <a:lnTo>
                      <a:pt x="1399" y="139"/>
                    </a:lnTo>
                    <a:lnTo>
                      <a:pt x="1460" y="118"/>
                    </a:lnTo>
                    <a:lnTo>
                      <a:pt x="1521" y="98"/>
                    </a:lnTo>
                    <a:lnTo>
                      <a:pt x="1584" y="79"/>
                    </a:lnTo>
                    <a:lnTo>
                      <a:pt x="1647" y="63"/>
                    </a:lnTo>
                    <a:lnTo>
                      <a:pt x="1712" y="48"/>
                    </a:lnTo>
                    <a:lnTo>
                      <a:pt x="1778" y="35"/>
                    </a:lnTo>
                    <a:lnTo>
                      <a:pt x="1778" y="35"/>
                    </a:lnTo>
                    <a:lnTo>
                      <a:pt x="1835" y="24"/>
                    </a:lnTo>
                    <a:lnTo>
                      <a:pt x="1893" y="17"/>
                    </a:lnTo>
                    <a:lnTo>
                      <a:pt x="2007" y="0"/>
                    </a:lnTo>
                    <a:lnTo>
                      <a:pt x="2007"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8" name="Freeform 27"/>
              <p:cNvSpPr>
                <a:spLocks/>
              </p:cNvSpPr>
              <p:nvPr/>
            </p:nvSpPr>
            <p:spPr bwMode="auto">
              <a:xfrm>
                <a:off x="3345" y="1673"/>
                <a:ext cx="1074" cy="1758"/>
              </a:xfrm>
              <a:custGeom>
                <a:avLst/>
                <a:gdLst>
                  <a:gd name="T0" fmla="*/ 0 w 1074"/>
                  <a:gd name="T1" fmla="*/ 1758 h 1758"/>
                  <a:gd name="T2" fmla="*/ 0 w 1074"/>
                  <a:gd name="T3" fmla="*/ 1758 h 1758"/>
                  <a:gd name="T4" fmla="*/ 0 w 1074"/>
                  <a:gd name="T5" fmla="*/ 1567 h 1758"/>
                  <a:gd name="T6" fmla="*/ 0 w 1074"/>
                  <a:gd name="T7" fmla="*/ 1567 h 1758"/>
                  <a:gd name="T8" fmla="*/ 290 w 1074"/>
                  <a:gd name="T9" fmla="*/ 1567 h 1758"/>
                  <a:gd name="T10" fmla="*/ 290 w 1074"/>
                  <a:gd name="T11" fmla="*/ 1567 h 1758"/>
                  <a:gd name="T12" fmla="*/ 290 w 1074"/>
                  <a:gd name="T13" fmla="*/ 194 h 1758"/>
                  <a:gd name="T14" fmla="*/ 290 w 1074"/>
                  <a:gd name="T15" fmla="*/ 194 h 1758"/>
                  <a:gd name="T16" fmla="*/ 2 w 1074"/>
                  <a:gd name="T17" fmla="*/ 194 h 1758"/>
                  <a:gd name="T18" fmla="*/ 2 w 1074"/>
                  <a:gd name="T19" fmla="*/ 194 h 1758"/>
                  <a:gd name="T20" fmla="*/ 2 w 1074"/>
                  <a:gd name="T21" fmla="*/ 0 h 1758"/>
                  <a:gd name="T22" fmla="*/ 2 w 1074"/>
                  <a:gd name="T23" fmla="*/ 0 h 1758"/>
                  <a:gd name="T24" fmla="*/ 782 w 1074"/>
                  <a:gd name="T25" fmla="*/ 0 h 1758"/>
                  <a:gd name="T26" fmla="*/ 782 w 1074"/>
                  <a:gd name="T27" fmla="*/ 0 h 1758"/>
                  <a:gd name="T28" fmla="*/ 782 w 1074"/>
                  <a:gd name="T29" fmla="*/ 1566 h 1758"/>
                  <a:gd name="T30" fmla="*/ 782 w 1074"/>
                  <a:gd name="T31" fmla="*/ 1566 h 1758"/>
                  <a:gd name="T32" fmla="*/ 1074 w 1074"/>
                  <a:gd name="T33" fmla="*/ 1566 h 1758"/>
                  <a:gd name="T34" fmla="*/ 1074 w 1074"/>
                  <a:gd name="T35" fmla="*/ 1566 h 1758"/>
                  <a:gd name="T36" fmla="*/ 1074 w 1074"/>
                  <a:gd name="T37" fmla="*/ 1758 h 1758"/>
                  <a:gd name="T38" fmla="*/ 1074 w 1074"/>
                  <a:gd name="T39" fmla="*/ 1758 h 1758"/>
                  <a:gd name="T40" fmla="*/ 0 w 1074"/>
                  <a:gd name="T41" fmla="*/ 1758 h 1758"/>
                  <a:gd name="T42" fmla="*/ 0 w 1074"/>
                  <a:gd name="T43" fmla="*/ 1758 h 1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74" h="1758">
                    <a:moveTo>
                      <a:pt x="0" y="1758"/>
                    </a:moveTo>
                    <a:lnTo>
                      <a:pt x="0" y="1758"/>
                    </a:lnTo>
                    <a:lnTo>
                      <a:pt x="0" y="1567"/>
                    </a:lnTo>
                    <a:lnTo>
                      <a:pt x="0" y="1567"/>
                    </a:lnTo>
                    <a:lnTo>
                      <a:pt x="290" y="1567"/>
                    </a:lnTo>
                    <a:lnTo>
                      <a:pt x="290" y="1567"/>
                    </a:lnTo>
                    <a:lnTo>
                      <a:pt x="290" y="194"/>
                    </a:lnTo>
                    <a:lnTo>
                      <a:pt x="290" y="194"/>
                    </a:lnTo>
                    <a:lnTo>
                      <a:pt x="2" y="194"/>
                    </a:lnTo>
                    <a:lnTo>
                      <a:pt x="2" y="194"/>
                    </a:lnTo>
                    <a:lnTo>
                      <a:pt x="2" y="0"/>
                    </a:lnTo>
                    <a:lnTo>
                      <a:pt x="2" y="0"/>
                    </a:lnTo>
                    <a:lnTo>
                      <a:pt x="782" y="0"/>
                    </a:lnTo>
                    <a:lnTo>
                      <a:pt x="782" y="0"/>
                    </a:lnTo>
                    <a:lnTo>
                      <a:pt x="782" y="1566"/>
                    </a:lnTo>
                    <a:lnTo>
                      <a:pt x="782" y="1566"/>
                    </a:lnTo>
                    <a:lnTo>
                      <a:pt x="1074" y="1566"/>
                    </a:lnTo>
                    <a:lnTo>
                      <a:pt x="1074" y="1566"/>
                    </a:lnTo>
                    <a:lnTo>
                      <a:pt x="1074" y="1758"/>
                    </a:lnTo>
                    <a:lnTo>
                      <a:pt x="1074" y="1758"/>
                    </a:lnTo>
                    <a:lnTo>
                      <a:pt x="0" y="1758"/>
                    </a:lnTo>
                    <a:lnTo>
                      <a:pt x="0" y="1758"/>
                    </a:lnTo>
                    <a:close/>
                  </a:path>
                </a:pathLst>
              </a:custGeom>
              <a:solidFill>
                <a:srgbClr val="E31A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9" name="Freeform 28"/>
              <p:cNvSpPr>
                <a:spLocks/>
              </p:cNvSpPr>
              <p:nvPr/>
            </p:nvSpPr>
            <p:spPr bwMode="auto">
              <a:xfrm>
                <a:off x="3637" y="983"/>
                <a:ext cx="490" cy="487"/>
              </a:xfrm>
              <a:custGeom>
                <a:avLst/>
                <a:gdLst>
                  <a:gd name="T0" fmla="*/ 244 w 490"/>
                  <a:gd name="T1" fmla="*/ 487 h 487"/>
                  <a:gd name="T2" fmla="*/ 194 w 490"/>
                  <a:gd name="T3" fmla="*/ 483 h 487"/>
                  <a:gd name="T4" fmla="*/ 148 w 490"/>
                  <a:gd name="T5" fmla="*/ 468 h 487"/>
                  <a:gd name="T6" fmla="*/ 105 w 490"/>
                  <a:gd name="T7" fmla="*/ 446 h 487"/>
                  <a:gd name="T8" fmla="*/ 70 w 490"/>
                  <a:gd name="T9" fmla="*/ 416 h 487"/>
                  <a:gd name="T10" fmla="*/ 41 w 490"/>
                  <a:gd name="T11" fmla="*/ 379 h 487"/>
                  <a:gd name="T12" fmla="*/ 18 w 490"/>
                  <a:gd name="T13" fmla="*/ 337 h 487"/>
                  <a:gd name="T14" fmla="*/ 5 w 490"/>
                  <a:gd name="T15" fmla="*/ 291 h 487"/>
                  <a:gd name="T16" fmla="*/ 0 w 490"/>
                  <a:gd name="T17" fmla="*/ 241 h 487"/>
                  <a:gd name="T18" fmla="*/ 2 w 490"/>
                  <a:gd name="T19" fmla="*/ 215 h 487"/>
                  <a:gd name="T20" fmla="*/ 13 w 490"/>
                  <a:gd name="T21" fmla="*/ 169 h 487"/>
                  <a:gd name="T22" fmla="*/ 31 w 490"/>
                  <a:gd name="T23" fmla="*/ 126 h 487"/>
                  <a:gd name="T24" fmla="*/ 57 w 490"/>
                  <a:gd name="T25" fmla="*/ 87 h 487"/>
                  <a:gd name="T26" fmla="*/ 90 w 490"/>
                  <a:gd name="T27" fmla="*/ 54 h 487"/>
                  <a:gd name="T28" fmla="*/ 129 w 490"/>
                  <a:gd name="T29" fmla="*/ 28 h 487"/>
                  <a:gd name="T30" fmla="*/ 174 w 490"/>
                  <a:gd name="T31" fmla="*/ 12 h 487"/>
                  <a:gd name="T32" fmla="*/ 222 w 490"/>
                  <a:gd name="T33" fmla="*/ 2 h 487"/>
                  <a:gd name="T34" fmla="*/ 248 w 490"/>
                  <a:gd name="T35" fmla="*/ 0 h 487"/>
                  <a:gd name="T36" fmla="*/ 296 w 490"/>
                  <a:gd name="T37" fmla="*/ 6 h 487"/>
                  <a:gd name="T38" fmla="*/ 342 w 490"/>
                  <a:gd name="T39" fmla="*/ 21 h 487"/>
                  <a:gd name="T40" fmla="*/ 382 w 490"/>
                  <a:gd name="T41" fmla="*/ 43 h 487"/>
                  <a:gd name="T42" fmla="*/ 419 w 490"/>
                  <a:gd name="T43" fmla="*/ 74 h 487"/>
                  <a:gd name="T44" fmla="*/ 449 w 490"/>
                  <a:gd name="T45" fmla="*/ 109 h 487"/>
                  <a:gd name="T46" fmla="*/ 471 w 490"/>
                  <a:gd name="T47" fmla="*/ 152 h 487"/>
                  <a:gd name="T48" fmla="*/ 484 w 490"/>
                  <a:gd name="T49" fmla="*/ 196 h 487"/>
                  <a:gd name="T50" fmla="*/ 490 w 490"/>
                  <a:gd name="T51" fmla="*/ 246 h 487"/>
                  <a:gd name="T52" fmla="*/ 488 w 490"/>
                  <a:gd name="T53" fmla="*/ 270 h 487"/>
                  <a:gd name="T54" fmla="*/ 479 w 490"/>
                  <a:gd name="T55" fmla="*/ 318 h 487"/>
                  <a:gd name="T56" fmla="*/ 458 w 490"/>
                  <a:gd name="T57" fmla="*/ 361 h 487"/>
                  <a:gd name="T58" fmla="*/ 432 w 490"/>
                  <a:gd name="T59" fmla="*/ 400 h 487"/>
                  <a:gd name="T60" fmla="*/ 399 w 490"/>
                  <a:gd name="T61" fmla="*/ 433 h 487"/>
                  <a:gd name="T62" fmla="*/ 360 w 490"/>
                  <a:gd name="T63" fmla="*/ 459 h 487"/>
                  <a:gd name="T64" fmla="*/ 316 w 490"/>
                  <a:gd name="T65" fmla="*/ 477 h 487"/>
                  <a:gd name="T66" fmla="*/ 268 w 490"/>
                  <a:gd name="T67" fmla="*/ 487 h 487"/>
                  <a:gd name="T68" fmla="*/ 244 w 490"/>
                  <a:gd name="T69" fmla="*/ 487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0" h="487">
                    <a:moveTo>
                      <a:pt x="244" y="487"/>
                    </a:moveTo>
                    <a:lnTo>
                      <a:pt x="244" y="487"/>
                    </a:lnTo>
                    <a:lnTo>
                      <a:pt x="218" y="487"/>
                    </a:lnTo>
                    <a:lnTo>
                      <a:pt x="194" y="483"/>
                    </a:lnTo>
                    <a:lnTo>
                      <a:pt x="170" y="475"/>
                    </a:lnTo>
                    <a:lnTo>
                      <a:pt x="148" y="468"/>
                    </a:lnTo>
                    <a:lnTo>
                      <a:pt x="126" y="457"/>
                    </a:lnTo>
                    <a:lnTo>
                      <a:pt x="105" y="446"/>
                    </a:lnTo>
                    <a:lnTo>
                      <a:pt x="87" y="431"/>
                    </a:lnTo>
                    <a:lnTo>
                      <a:pt x="70" y="416"/>
                    </a:lnTo>
                    <a:lnTo>
                      <a:pt x="55" y="398"/>
                    </a:lnTo>
                    <a:lnTo>
                      <a:pt x="41" y="379"/>
                    </a:lnTo>
                    <a:lnTo>
                      <a:pt x="29" y="359"/>
                    </a:lnTo>
                    <a:lnTo>
                      <a:pt x="18" y="337"/>
                    </a:lnTo>
                    <a:lnTo>
                      <a:pt x="11" y="315"/>
                    </a:lnTo>
                    <a:lnTo>
                      <a:pt x="5" y="291"/>
                    </a:lnTo>
                    <a:lnTo>
                      <a:pt x="2" y="267"/>
                    </a:lnTo>
                    <a:lnTo>
                      <a:pt x="0" y="241"/>
                    </a:lnTo>
                    <a:lnTo>
                      <a:pt x="0" y="241"/>
                    </a:lnTo>
                    <a:lnTo>
                      <a:pt x="2" y="215"/>
                    </a:lnTo>
                    <a:lnTo>
                      <a:pt x="5" y="191"/>
                    </a:lnTo>
                    <a:lnTo>
                      <a:pt x="13" y="169"/>
                    </a:lnTo>
                    <a:lnTo>
                      <a:pt x="20" y="146"/>
                    </a:lnTo>
                    <a:lnTo>
                      <a:pt x="31" y="126"/>
                    </a:lnTo>
                    <a:lnTo>
                      <a:pt x="42" y="106"/>
                    </a:lnTo>
                    <a:lnTo>
                      <a:pt x="57" y="87"/>
                    </a:lnTo>
                    <a:lnTo>
                      <a:pt x="74" y="71"/>
                    </a:lnTo>
                    <a:lnTo>
                      <a:pt x="90" y="54"/>
                    </a:lnTo>
                    <a:lnTo>
                      <a:pt x="109" y="41"/>
                    </a:lnTo>
                    <a:lnTo>
                      <a:pt x="129" y="28"/>
                    </a:lnTo>
                    <a:lnTo>
                      <a:pt x="151" y="19"/>
                    </a:lnTo>
                    <a:lnTo>
                      <a:pt x="174" y="12"/>
                    </a:lnTo>
                    <a:lnTo>
                      <a:pt x="198" y="6"/>
                    </a:lnTo>
                    <a:lnTo>
                      <a:pt x="222" y="2"/>
                    </a:lnTo>
                    <a:lnTo>
                      <a:pt x="248" y="0"/>
                    </a:lnTo>
                    <a:lnTo>
                      <a:pt x="248" y="0"/>
                    </a:lnTo>
                    <a:lnTo>
                      <a:pt x="272" y="2"/>
                    </a:lnTo>
                    <a:lnTo>
                      <a:pt x="296" y="6"/>
                    </a:lnTo>
                    <a:lnTo>
                      <a:pt x="320" y="12"/>
                    </a:lnTo>
                    <a:lnTo>
                      <a:pt x="342" y="21"/>
                    </a:lnTo>
                    <a:lnTo>
                      <a:pt x="364" y="32"/>
                    </a:lnTo>
                    <a:lnTo>
                      <a:pt x="382" y="43"/>
                    </a:lnTo>
                    <a:lnTo>
                      <a:pt x="403" y="58"/>
                    </a:lnTo>
                    <a:lnTo>
                      <a:pt x="419" y="74"/>
                    </a:lnTo>
                    <a:lnTo>
                      <a:pt x="434" y="91"/>
                    </a:lnTo>
                    <a:lnTo>
                      <a:pt x="449" y="109"/>
                    </a:lnTo>
                    <a:lnTo>
                      <a:pt x="460" y="130"/>
                    </a:lnTo>
                    <a:lnTo>
                      <a:pt x="471" y="152"/>
                    </a:lnTo>
                    <a:lnTo>
                      <a:pt x="479" y="174"/>
                    </a:lnTo>
                    <a:lnTo>
                      <a:pt x="484" y="196"/>
                    </a:lnTo>
                    <a:lnTo>
                      <a:pt x="488" y="220"/>
                    </a:lnTo>
                    <a:lnTo>
                      <a:pt x="490" y="246"/>
                    </a:lnTo>
                    <a:lnTo>
                      <a:pt x="490" y="246"/>
                    </a:lnTo>
                    <a:lnTo>
                      <a:pt x="488" y="270"/>
                    </a:lnTo>
                    <a:lnTo>
                      <a:pt x="484" y="294"/>
                    </a:lnTo>
                    <a:lnTo>
                      <a:pt x="479" y="318"/>
                    </a:lnTo>
                    <a:lnTo>
                      <a:pt x="469" y="341"/>
                    </a:lnTo>
                    <a:lnTo>
                      <a:pt x="458" y="361"/>
                    </a:lnTo>
                    <a:lnTo>
                      <a:pt x="447" y="381"/>
                    </a:lnTo>
                    <a:lnTo>
                      <a:pt x="432" y="400"/>
                    </a:lnTo>
                    <a:lnTo>
                      <a:pt x="418" y="416"/>
                    </a:lnTo>
                    <a:lnTo>
                      <a:pt x="399" y="433"/>
                    </a:lnTo>
                    <a:lnTo>
                      <a:pt x="381" y="446"/>
                    </a:lnTo>
                    <a:lnTo>
                      <a:pt x="360" y="459"/>
                    </a:lnTo>
                    <a:lnTo>
                      <a:pt x="338" y="468"/>
                    </a:lnTo>
                    <a:lnTo>
                      <a:pt x="316" y="477"/>
                    </a:lnTo>
                    <a:lnTo>
                      <a:pt x="294" y="483"/>
                    </a:lnTo>
                    <a:lnTo>
                      <a:pt x="268" y="487"/>
                    </a:lnTo>
                    <a:lnTo>
                      <a:pt x="244" y="487"/>
                    </a:lnTo>
                    <a:lnTo>
                      <a:pt x="244" y="487"/>
                    </a:lnTo>
                    <a:close/>
                  </a:path>
                </a:pathLst>
              </a:custGeom>
              <a:solidFill>
                <a:srgbClr val="E31A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23" name="Group 22"/>
          <p:cNvGrpSpPr/>
          <p:nvPr/>
        </p:nvGrpSpPr>
        <p:grpSpPr>
          <a:xfrm>
            <a:off x="4616695" y="2935487"/>
            <a:ext cx="3376274" cy="1587526"/>
            <a:chOff x="4525718" y="2878190"/>
            <a:chExt cx="3310373" cy="1556539"/>
          </a:xfrm>
        </p:grpSpPr>
        <p:sp>
          <p:nvSpPr>
            <p:cNvPr id="11" name="Rectangle 10"/>
            <p:cNvSpPr/>
            <p:nvPr/>
          </p:nvSpPr>
          <p:spPr bwMode="auto">
            <a:xfrm>
              <a:off x="4525718" y="2878190"/>
              <a:ext cx="3310373" cy="1556539"/>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2384" tIns="186521" rIns="186521" bIns="186521" numCol="1" spcCol="0" rtlCol="0" fromWordArt="0" anchor="ctr"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zh-CN" sz="1428" b="1" i="0" u="none" strike="noStrike" kern="0" cap="none" spc="0" normalizeH="0" baseline="0" noProof="0" dirty="0">
                  <a:ln>
                    <a:noFill/>
                  </a:ln>
                  <a:solidFill>
                    <a:sysClr val="windowText" lastClr="000000"/>
                  </a:solidFill>
                  <a:effectLst/>
                  <a:uLnTx/>
                  <a:uFillTx/>
                  <a:latin typeface="Segoe UI"/>
                  <a:ea typeface="+mn-ea"/>
                  <a:cs typeface="+mn-cs"/>
                </a:rPr>
                <a:t>IT Admins: </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zh-CN" sz="1428" b="0" i="0" u="none" strike="noStrike" kern="0" cap="none" spc="0" normalizeH="0" baseline="0" noProof="0" dirty="0">
                  <a:ln>
                    <a:noFill/>
                  </a:ln>
                  <a:solidFill>
                    <a:sysClr val="windowText" lastClr="000000"/>
                  </a:solidFill>
                  <a:effectLst/>
                  <a:uLnTx/>
                  <a:uFillTx/>
                  <a:latin typeface="Segoe UI"/>
                  <a:ea typeface="+mn-ea"/>
                  <a:cs typeface="+mn-cs"/>
                </a:rPr>
                <a:t>Automated Compliance Enforcement</a:t>
              </a:r>
              <a:endParaRPr kumimoji="0" lang="zh-CN" altLang="zh-CN" sz="1428"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90" name="Group 89"/>
            <p:cNvGrpSpPr/>
            <p:nvPr/>
          </p:nvGrpSpPr>
          <p:grpSpPr>
            <a:xfrm>
              <a:off x="4881375" y="3340119"/>
              <a:ext cx="653662" cy="611740"/>
              <a:chOff x="4414841" y="3278746"/>
              <a:chExt cx="656873" cy="614745"/>
            </a:xfrm>
          </p:grpSpPr>
          <p:sp>
            <p:nvSpPr>
              <p:cNvPr id="91" name="Freeform 90"/>
              <p:cNvSpPr>
                <a:spLocks/>
              </p:cNvSpPr>
              <p:nvPr/>
            </p:nvSpPr>
            <p:spPr bwMode="auto">
              <a:xfrm>
                <a:off x="4499095" y="3572076"/>
                <a:ext cx="304253" cy="290210"/>
              </a:xfrm>
              <a:custGeom>
                <a:avLst/>
                <a:gdLst>
                  <a:gd name="T0" fmla="*/ 20 w 195"/>
                  <a:gd name="T1" fmla="*/ 114 h 186"/>
                  <a:gd name="T2" fmla="*/ 0 w 195"/>
                  <a:gd name="T3" fmla="*/ 186 h 186"/>
                  <a:gd name="T4" fmla="*/ 73 w 195"/>
                  <a:gd name="T5" fmla="*/ 164 h 186"/>
                  <a:gd name="T6" fmla="*/ 75 w 195"/>
                  <a:gd name="T7" fmla="*/ 130 h 186"/>
                  <a:gd name="T8" fmla="*/ 195 w 195"/>
                  <a:gd name="T9" fmla="*/ 14 h 186"/>
                  <a:gd name="T10" fmla="*/ 167 w 195"/>
                  <a:gd name="T11" fmla="*/ 0 h 186"/>
                  <a:gd name="T12" fmla="*/ 54 w 195"/>
                  <a:gd name="T13" fmla="*/ 112 h 186"/>
                  <a:gd name="T14" fmla="*/ 20 w 195"/>
                  <a:gd name="T15" fmla="*/ 114 h 1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186">
                    <a:moveTo>
                      <a:pt x="20" y="114"/>
                    </a:moveTo>
                    <a:lnTo>
                      <a:pt x="0" y="186"/>
                    </a:lnTo>
                    <a:lnTo>
                      <a:pt x="73" y="164"/>
                    </a:lnTo>
                    <a:lnTo>
                      <a:pt x="75" y="130"/>
                    </a:lnTo>
                    <a:lnTo>
                      <a:pt x="195" y="14"/>
                    </a:lnTo>
                    <a:lnTo>
                      <a:pt x="167" y="0"/>
                    </a:lnTo>
                    <a:lnTo>
                      <a:pt x="54" y="112"/>
                    </a:lnTo>
                    <a:lnTo>
                      <a:pt x="20" y="114"/>
                    </a:lnTo>
                    <a:close/>
                  </a:path>
                </a:pathLst>
              </a:custGeom>
              <a:solidFill>
                <a:srgbClr val="E31A22"/>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a:lstStyle>
              <a:p>
                <a:pPr marL="0" marR="0" lvl="0" indent="0" algn="l" defTabSz="932411" rtl="0" eaLnBrk="1" fontAlgn="auto" latinLnBrk="0" hangingPunct="1">
                  <a:lnSpc>
                    <a:spcPct val="100000"/>
                  </a:lnSpc>
                  <a:spcBef>
                    <a:spcPts val="0"/>
                  </a:spcBef>
                  <a:spcAft>
                    <a:spcPts val="0"/>
                  </a:spcAft>
                  <a:buClrTx/>
                  <a:buSzTx/>
                  <a:buFontTx/>
                  <a:buNone/>
                  <a:tabLst/>
                  <a:defRPr/>
                </a:pPr>
                <a:endParaRPr kumimoji="0" lang="en-US" sz="1938" b="0" i="0" u="none" strike="noStrike" kern="1200" cap="none" spc="0" normalizeH="0" baseline="0" noProof="0">
                  <a:ln>
                    <a:noFill/>
                  </a:ln>
                  <a:solidFill>
                    <a:srgbClr val="595959"/>
                  </a:solidFill>
                  <a:effectLst/>
                  <a:uLnTx/>
                  <a:uFillTx/>
                  <a:latin typeface="Segoe UI"/>
                  <a:ea typeface="+mn-ea"/>
                  <a:cs typeface="+mn-cs"/>
                </a:endParaRPr>
              </a:p>
            </p:txBody>
          </p:sp>
          <p:sp>
            <p:nvSpPr>
              <p:cNvPr id="92" name="Freeform 91"/>
              <p:cNvSpPr>
                <a:spLocks/>
              </p:cNvSpPr>
              <p:nvPr/>
            </p:nvSpPr>
            <p:spPr bwMode="auto">
              <a:xfrm>
                <a:off x="4734696" y="3338036"/>
                <a:ext cx="283969" cy="283969"/>
              </a:xfrm>
              <a:custGeom>
                <a:avLst/>
                <a:gdLst>
                  <a:gd name="T0" fmla="*/ 27 w 91"/>
                  <a:gd name="T1" fmla="*/ 90 h 91"/>
                  <a:gd name="T2" fmla="*/ 23 w 91"/>
                  <a:gd name="T3" fmla="*/ 90 h 91"/>
                  <a:gd name="T4" fmla="*/ 1 w 91"/>
                  <a:gd name="T5" fmla="*/ 68 h 91"/>
                  <a:gd name="T6" fmla="*/ 1 w 91"/>
                  <a:gd name="T7" fmla="*/ 64 h 91"/>
                  <a:gd name="T8" fmla="*/ 64 w 91"/>
                  <a:gd name="T9" fmla="*/ 1 h 91"/>
                  <a:gd name="T10" fmla="*/ 69 w 91"/>
                  <a:gd name="T11" fmla="*/ 1 h 91"/>
                  <a:gd name="T12" fmla="*/ 90 w 91"/>
                  <a:gd name="T13" fmla="*/ 22 h 91"/>
                  <a:gd name="T14" fmla="*/ 90 w 91"/>
                  <a:gd name="T15" fmla="*/ 27 h 91"/>
                  <a:gd name="T16" fmla="*/ 27 w 91"/>
                  <a:gd name="T17" fmla="*/ 9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91">
                    <a:moveTo>
                      <a:pt x="27" y="90"/>
                    </a:moveTo>
                    <a:cubicBezTo>
                      <a:pt x="26" y="91"/>
                      <a:pt x="24" y="91"/>
                      <a:pt x="23" y="90"/>
                    </a:cubicBezTo>
                    <a:cubicBezTo>
                      <a:pt x="1" y="68"/>
                      <a:pt x="1" y="68"/>
                      <a:pt x="1" y="68"/>
                    </a:cubicBezTo>
                    <a:cubicBezTo>
                      <a:pt x="0" y="67"/>
                      <a:pt x="0" y="65"/>
                      <a:pt x="1" y="64"/>
                    </a:cubicBezTo>
                    <a:cubicBezTo>
                      <a:pt x="64" y="1"/>
                      <a:pt x="64" y="1"/>
                      <a:pt x="64" y="1"/>
                    </a:cubicBezTo>
                    <a:cubicBezTo>
                      <a:pt x="65" y="0"/>
                      <a:pt x="67" y="0"/>
                      <a:pt x="69" y="1"/>
                    </a:cubicBezTo>
                    <a:cubicBezTo>
                      <a:pt x="90" y="22"/>
                      <a:pt x="90" y="22"/>
                      <a:pt x="90" y="22"/>
                    </a:cubicBezTo>
                    <a:cubicBezTo>
                      <a:pt x="91" y="24"/>
                      <a:pt x="91" y="26"/>
                      <a:pt x="90" y="27"/>
                    </a:cubicBezTo>
                    <a:lnTo>
                      <a:pt x="27" y="90"/>
                    </a:lnTo>
                    <a:close/>
                  </a:path>
                </a:pathLst>
              </a:custGeom>
              <a:solidFill>
                <a:srgbClr val="E31A22"/>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a:lstStyle>
              <a:p>
                <a:pPr marL="0" marR="0" lvl="0" indent="0" algn="l" defTabSz="932411" rtl="0" eaLnBrk="1" fontAlgn="auto" latinLnBrk="0" hangingPunct="1">
                  <a:lnSpc>
                    <a:spcPct val="100000"/>
                  </a:lnSpc>
                  <a:spcBef>
                    <a:spcPts val="0"/>
                  </a:spcBef>
                  <a:spcAft>
                    <a:spcPts val="0"/>
                  </a:spcAft>
                  <a:buClrTx/>
                  <a:buSzTx/>
                  <a:buFontTx/>
                  <a:buNone/>
                  <a:tabLst/>
                  <a:defRPr/>
                </a:pPr>
                <a:endParaRPr kumimoji="0" lang="en-US" sz="1938" b="0" i="0" u="none" strike="noStrike" kern="1200" cap="none" spc="0" normalizeH="0" baseline="0" noProof="0">
                  <a:ln>
                    <a:noFill/>
                  </a:ln>
                  <a:solidFill>
                    <a:srgbClr val="595959"/>
                  </a:solidFill>
                  <a:effectLst/>
                  <a:uLnTx/>
                  <a:uFillTx/>
                  <a:latin typeface="Segoe UI"/>
                  <a:ea typeface="+mn-ea"/>
                  <a:cs typeface="+mn-cs"/>
                </a:endParaRPr>
              </a:p>
            </p:txBody>
          </p:sp>
          <p:sp>
            <p:nvSpPr>
              <p:cNvPr id="93" name="Freeform 92"/>
              <p:cNvSpPr>
                <a:spLocks/>
              </p:cNvSpPr>
              <p:nvPr/>
            </p:nvSpPr>
            <p:spPr bwMode="auto">
              <a:xfrm>
                <a:off x="4414841" y="3278746"/>
                <a:ext cx="376025" cy="333897"/>
              </a:xfrm>
              <a:custGeom>
                <a:avLst/>
                <a:gdLst>
                  <a:gd name="T0" fmla="*/ 78 w 120"/>
                  <a:gd name="T1" fmla="*/ 105 h 107"/>
                  <a:gd name="T2" fmla="*/ 91 w 120"/>
                  <a:gd name="T3" fmla="*/ 94 h 107"/>
                  <a:gd name="T4" fmla="*/ 91 w 120"/>
                  <a:gd name="T5" fmla="*/ 77 h 107"/>
                  <a:gd name="T6" fmla="*/ 118 w 120"/>
                  <a:gd name="T7" fmla="*/ 50 h 107"/>
                  <a:gd name="T8" fmla="*/ 59 w 120"/>
                  <a:gd name="T9" fmla="*/ 0 h 107"/>
                  <a:gd name="T10" fmla="*/ 85 w 120"/>
                  <a:gd name="T11" fmla="*/ 30 h 107"/>
                  <a:gd name="T12" fmla="*/ 79 w 120"/>
                  <a:gd name="T13" fmla="*/ 64 h 107"/>
                  <a:gd name="T14" fmla="*/ 45 w 120"/>
                  <a:gd name="T15" fmla="*/ 75 h 107"/>
                  <a:gd name="T16" fmla="*/ 15 w 120"/>
                  <a:gd name="T17" fmla="*/ 44 h 107"/>
                  <a:gd name="T18" fmla="*/ 78 w 120"/>
                  <a:gd name="T19" fmla="*/ 10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07">
                    <a:moveTo>
                      <a:pt x="78" y="105"/>
                    </a:moveTo>
                    <a:cubicBezTo>
                      <a:pt x="91" y="94"/>
                      <a:pt x="91" y="94"/>
                      <a:pt x="91" y="94"/>
                    </a:cubicBezTo>
                    <a:cubicBezTo>
                      <a:pt x="91" y="77"/>
                      <a:pt x="91" y="77"/>
                      <a:pt x="91" y="77"/>
                    </a:cubicBezTo>
                    <a:cubicBezTo>
                      <a:pt x="118" y="50"/>
                      <a:pt x="118" y="50"/>
                      <a:pt x="118" y="50"/>
                    </a:cubicBezTo>
                    <a:cubicBezTo>
                      <a:pt x="118" y="50"/>
                      <a:pt x="120" y="1"/>
                      <a:pt x="59" y="0"/>
                    </a:cubicBezTo>
                    <a:cubicBezTo>
                      <a:pt x="79" y="23"/>
                      <a:pt x="85" y="30"/>
                      <a:pt x="85" y="30"/>
                    </a:cubicBezTo>
                    <a:cubicBezTo>
                      <a:pt x="79" y="64"/>
                      <a:pt x="79" y="64"/>
                      <a:pt x="79" y="64"/>
                    </a:cubicBezTo>
                    <a:cubicBezTo>
                      <a:pt x="45" y="75"/>
                      <a:pt x="45" y="75"/>
                      <a:pt x="45" y="75"/>
                    </a:cubicBezTo>
                    <a:cubicBezTo>
                      <a:pt x="15" y="44"/>
                      <a:pt x="15" y="44"/>
                      <a:pt x="15" y="44"/>
                    </a:cubicBezTo>
                    <a:cubicBezTo>
                      <a:pt x="15" y="44"/>
                      <a:pt x="0" y="107"/>
                      <a:pt x="78" y="105"/>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a:lstStyle>
              <a:p>
                <a:pPr marL="0" marR="0" lvl="0" indent="0" algn="l" defTabSz="932411" rtl="0" eaLnBrk="1" fontAlgn="auto" latinLnBrk="0" hangingPunct="1">
                  <a:lnSpc>
                    <a:spcPct val="100000"/>
                  </a:lnSpc>
                  <a:spcBef>
                    <a:spcPts val="0"/>
                  </a:spcBef>
                  <a:spcAft>
                    <a:spcPts val="0"/>
                  </a:spcAft>
                  <a:buClrTx/>
                  <a:buSzTx/>
                  <a:buFontTx/>
                  <a:buNone/>
                  <a:tabLst/>
                  <a:defRPr/>
                </a:pPr>
                <a:endParaRPr kumimoji="0" lang="en-US" sz="1938" b="0" i="0" u="none" strike="noStrike" kern="1200" cap="none" spc="0" normalizeH="0" baseline="0" noProof="0">
                  <a:ln>
                    <a:noFill/>
                  </a:ln>
                  <a:solidFill>
                    <a:srgbClr val="595959"/>
                  </a:solidFill>
                  <a:effectLst/>
                  <a:uLnTx/>
                  <a:uFillTx/>
                  <a:latin typeface="Segoe UI"/>
                  <a:ea typeface="+mn-ea"/>
                  <a:cs typeface="+mn-cs"/>
                </a:endParaRPr>
              </a:p>
            </p:txBody>
          </p:sp>
          <p:sp>
            <p:nvSpPr>
              <p:cNvPr id="94" name="Freeform 93"/>
              <p:cNvSpPr>
                <a:spLocks/>
              </p:cNvSpPr>
              <p:nvPr/>
            </p:nvSpPr>
            <p:spPr bwMode="auto">
              <a:xfrm>
                <a:off x="4756540" y="3600161"/>
                <a:ext cx="315174" cy="293330"/>
              </a:xfrm>
              <a:custGeom>
                <a:avLst/>
                <a:gdLst>
                  <a:gd name="T0" fmla="*/ 94 w 101"/>
                  <a:gd name="T1" fmla="*/ 50 h 94"/>
                  <a:gd name="T2" fmla="*/ 45 w 101"/>
                  <a:gd name="T3" fmla="*/ 0 h 94"/>
                  <a:gd name="T4" fmla="*/ 28 w 101"/>
                  <a:gd name="T5" fmla="*/ 17 h 94"/>
                  <a:gd name="T6" fmla="*/ 11 w 101"/>
                  <a:gd name="T7" fmla="*/ 19 h 94"/>
                  <a:gd name="T8" fmla="*/ 0 w 101"/>
                  <a:gd name="T9" fmla="*/ 29 h 94"/>
                  <a:gd name="T10" fmla="*/ 4 w 101"/>
                  <a:gd name="T11" fmla="*/ 34 h 94"/>
                  <a:gd name="T12" fmla="*/ 57 w 101"/>
                  <a:gd name="T13" fmla="*/ 87 h 94"/>
                  <a:gd name="T14" fmla="*/ 81 w 101"/>
                  <a:gd name="T15" fmla="*/ 87 h 94"/>
                  <a:gd name="T16" fmla="*/ 94 w 101"/>
                  <a:gd name="T17" fmla="*/ 74 h 94"/>
                  <a:gd name="T18" fmla="*/ 94 w 101"/>
                  <a:gd name="T19" fmla="*/ 5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94">
                    <a:moveTo>
                      <a:pt x="94" y="50"/>
                    </a:moveTo>
                    <a:cubicBezTo>
                      <a:pt x="45" y="0"/>
                      <a:pt x="45" y="0"/>
                      <a:pt x="45" y="0"/>
                    </a:cubicBezTo>
                    <a:cubicBezTo>
                      <a:pt x="28" y="17"/>
                      <a:pt x="28" y="17"/>
                      <a:pt x="28" y="17"/>
                    </a:cubicBezTo>
                    <a:cubicBezTo>
                      <a:pt x="11" y="19"/>
                      <a:pt x="11" y="19"/>
                      <a:pt x="11" y="19"/>
                    </a:cubicBezTo>
                    <a:cubicBezTo>
                      <a:pt x="0" y="29"/>
                      <a:pt x="0" y="29"/>
                      <a:pt x="0" y="29"/>
                    </a:cubicBezTo>
                    <a:cubicBezTo>
                      <a:pt x="2" y="32"/>
                      <a:pt x="3" y="32"/>
                      <a:pt x="4" y="34"/>
                    </a:cubicBezTo>
                    <a:cubicBezTo>
                      <a:pt x="57" y="87"/>
                      <a:pt x="57" y="87"/>
                      <a:pt x="57" y="87"/>
                    </a:cubicBezTo>
                    <a:cubicBezTo>
                      <a:pt x="63" y="94"/>
                      <a:pt x="74" y="94"/>
                      <a:pt x="81" y="87"/>
                    </a:cubicBezTo>
                    <a:cubicBezTo>
                      <a:pt x="94" y="74"/>
                      <a:pt x="94" y="74"/>
                      <a:pt x="94" y="74"/>
                    </a:cubicBezTo>
                    <a:cubicBezTo>
                      <a:pt x="101" y="68"/>
                      <a:pt x="101" y="57"/>
                      <a:pt x="94" y="50"/>
                    </a:cubicBez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a:lstStyle>
              <a:p>
                <a:pPr marL="0" marR="0" lvl="0" indent="0" algn="l" defTabSz="932411" rtl="0" eaLnBrk="1" fontAlgn="auto" latinLnBrk="0" hangingPunct="1">
                  <a:lnSpc>
                    <a:spcPct val="100000"/>
                  </a:lnSpc>
                  <a:spcBef>
                    <a:spcPts val="0"/>
                  </a:spcBef>
                  <a:spcAft>
                    <a:spcPts val="0"/>
                  </a:spcAft>
                  <a:buClrTx/>
                  <a:buSzTx/>
                  <a:buFontTx/>
                  <a:buNone/>
                  <a:tabLst/>
                  <a:defRPr/>
                </a:pPr>
                <a:endParaRPr kumimoji="0" lang="en-US" sz="1938" b="0" i="0" u="none" strike="noStrike" kern="1200" cap="none" spc="0" normalizeH="0" baseline="0" noProof="0">
                  <a:ln>
                    <a:noFill/>
                  </a:ln>
                  <a:solidFill>
                    <a:srgbClr val="595959"/>
                  </a:solidFill>
                  <a:effectLst/>
                  <a:uLnTx/>
                  <a:uFillTx/>
                  <a:latin typeface="Segoe UI"/>
                  <a:ea typeface="+mn-ea"/>
                  <a:cs typeface="+mn-cs"/>
                </a:endParaRPr>
              </a:p>
            </p:txBody>
          </p:sp>
        </p:grpSp>
      </p:grpSp>
      <p:grpSp>
        <p:nvGrpSpPr>
          <p:cNvPr id="24" name="Group 23"/>
          <p:cNvGrpSpPr/>
          <p:nvPr/>
        </p:nvGrpSpPr>
        <p:grpSpPr>
          <a:xfrm>
            <a:off x="4616695" y="4620758"/>
            <a:ext cx="3376274" cy="1590891"/>
            <a:chOff x="4525718" y="4530566"/>
            <a:chExt cx="3310373" cy="1559839"/>
          </a:xfrm>
        </p:grpSpPr>
        <p:sp>
          <p:nvSpPr>
            <p:cNvPr id="12" name="Rectangle 11"/>
            <p:cNvSpPr/>
            <p:nvPr/>
          </p:nvSpPr>
          <p:spPr bwMode="auto">
            <a:xfrm>
              <a:off x="4525718" y="4530566"/>
              <a:ext cx="3310373" cy="1559839"/>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2384" tIns="186521" rIns="186521" bIns="186521" numCol="1" spcCol="0" rtlCol="0" fromWordArt="0" anchor="ctr"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zh-CN" sz="1428" b="1" i="0" u="none" strike="noStrike" kern="0" cap="none" spc="0" normalizeH="0" baseline="0" noProof="0" dirty="0">
                  <a:ln>
                    <a:noFill/>
                  </a:ln>
                  <a:solidFill>
                    <a:sysClr val="windowText" lastClr="000000"/>
                  </a:solidFill>
                  <a:effectLst/>
                  <a:uLnTx/>
                  <a:uFillTx/>
                  <a:latin typeface="Segoe UI"/>
                  <a:ea typeface="+mn-ea"/>
                  <a:cs typeface="+mn-cs"/>
                </a:rPr>
                <a:t>Leadership:</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zh-CN" sz="1428" b="0" i="0" u="none" strike="noStrike" kern="0" cap="none" spc="0" normalizeH="0" baseline="0" noProof="0" dirty="0">
                  <a:ln>
                    <a:noFill/>
                  </a:ln>
                  <a:solidFill>
                    <a:sysClr val="windowText" lastClr="000000"/>
                  </a:solidFill>
                  <a:effectLst/>
                  <a:uLnTx/>
                  <a:uFillTx/>
                  <a:latin typeface="Segoe UI"/>
                  <a:ea typeface="+mn-ea"/>
                  <a:cs typeface="+mn-cs"/>
                </a:rPr>
                <a:t>Lower Compliance Risks</a:t>
              </a:r>
              <a:endParaRPr kumimoji="0" lang="zh-CN" altLang="zh-CN" sz="1428"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95" name="Group 31"/>
            <p:cNvGrpSpPr>
              <a:grpSpLocks noChangeAspect="1"/>
            </p:cNvGrpSpPr>
            <p:nvPr/>
          </p:nvGrpSpPr>
          <p:grpSpPr bwMode="auto">
            <a:xfrm>
              <a:off x="4997468" y="5086916"/>
              <a:ext cx="527842" cy="565265"/>
              <a:chOff x="1823" y="0"/>
              <a:chExt cx="4034" cy="4320"/>
            </a:xfrm>
          </p:grpSpPr>
          <p:sp>
            <p:nvSpPr>
              <p:cNvPr id="96" name="AutoShape 30"/>
              <p:cNvSpPr>
                <a:spLocks noChangeAspect="1" noChangeArrowheads="1" noTextEdit="1"/>
              </p:cNvSpPr>
              <p:nvPr/>
            </p:nvSpPr>
            <p:spPr bwMode="auto">
              <a:xfrm>
                <a:off x="1823" y="0"/>
                <a:ext cx="4034"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7" name="Freeform 32"/>
              <p:cNvSpPr>
                <a:spLocks/>
              </p:cNvSpPr>
              <p:nvPr/>
            </p:nvSpPr>
            <p:spPr bwMode="auto">
              <a:xfrm>
                <a:off x="1823" y="0"/>
                <a:ext cx="1008" cy="4318"/>
              </a:xfrm>
              <a:custGeom>
                <a:avLst/>
                <a:gdLst>
                  <a:gd name="T0" fmla="*/ 1008 w 1008"/>
                  <a:gd name="T1" fmla="*/ 4318 h 4318"/>
                  <a:gd name="T2" fmla="*/ 1008 w 1008"/>
                  <a:gd name="T3" fmla="*/ 4318 h 4318"/>
                  <a:gd name="T4" fmla="*/ 0 w 1008"/>
                  <a:gd name="T5" fmla="*/ 4318 h 4318"/>
                  <a:gd name="T6" fmla="*/ 0 w 1008"/>
                  <a:gd name="T7" fmla="*/ 4318 h 4318"/>
                  <a:gd name="T8" fmla="*/ 0 w 1008"/>
                  <a:gd name="T9" fmla="*/ 0 h 4318"/>
                  <a:gd name="T10" fmla="*/ 0 w 1008"/>
                  <a:gd name="T11" fmla="*/ 0 h 4318"/>
                  <a:gd name="T12" fmla="*/ 1008 w 1008"/>
                  <a:gd name="T13" fmla="*/ 0 h 4318"/>
                  <a:gd name="T14" fmla="*/ 1008 w 1008"/>
                  <a:gd name="T15" fmla="*/ 0 h 4318"/>
                  <a:gd name="T16" fmla="*/ 1008 w 1008"/>
                  <a:gd name="T17" fmla="*/ 4318 h 4318"/>
                  <a:gd name="T18" fmla="*/ 1008 w 1008"/>
                  <a:gd name="T19" fmla="*/ 4318 h 4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8" h="4318">
                    <a:moveTo>
                      <a:pt x="1008" y="4318"/>
                    </a:moveTo>
                    <a:lnTo>
                      <a:pt x="1008" y="4318"/>
                    </a:lnTo>
                    <a:lnTo>
                      <a:pt x="0" y="4318"/>
                    </a:lnTo>
                    <a:lnTo>
                      <a:pt x="0" y="4318"/>
                    </a:lnTo>
                    <a:lnTo>
                      <a:pt x="0" y="0"/>
                    </a:lnTo>
                    <a:lnTo>
                      <a:pt x="0" y="0"/>
                    </a:lnTo>
                    <a:lnTo>
                      <a:pt x="1008" y="0"/>
                    </a:lnTo>
                    <a:lnTo>
                      <a:pt x="1008" y="0"/>
                    </a:lnTo>
                    <a:lnTo>
                      <a:pt x="1008" y="4318"/>
                    </a:lnTo>
                    <a:lnTo>
                      <a:pt x="1008" y="43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8" name="Freeform 33"/>
              <p:cNvSpPr>
                <a:spLocks/>
              </p:cNvSpPr>
              <p:nvPr/>
            </p:nvSpPr>
            <p:spPr bwMode="auto">
              <a:xfrm>
                <a:off x="3117" y="1446"/>
                <a:ext cx="1006" cy="2874"/>
              </a:xfrm>
              <a:custGeom>
                <a:avLst/>
                <a:gdLst>
                  <a:gd name="T0" fmla="*/ 1006 w 1006"/>
                  <a:gd name="T1" fmla="*/ 2874 h 2874"/>
                  <a:gd name="T2" fmla="*/ 1006 w 1006"/>
                  <a:gd name="T3" fmla="*/ 2874 h 2874"/>
                  <a:gd name="T4" fmla="*/ 0 w 1006"/>
                  <a:gd name="T5" fmla="*/ 2874 h 2874"/>
                  <a:gd name="T6" fmla="*/ 0 w 1006"/>
                  <a:gd name="T7" fmla="*/ 2874 h 2874"/>
                  <a:gd name="T8" fmla="*/ 0 w 1006"/>
                  <a:gd name="T9" fmla="*/ 0 h 2874"/>
                  <a:gd name="T10" fmla="*/ 0 w 1006"/>
                  <a:gd name="T11" fmla="*/ 0 h 2874"/>
                  <a:gd name="T12" fmla="*/ 1006 w 1006"/>
                  <a:gd name="T13" fmla="*/ 0 h 2874"/>
                  <a:gd name="T14" fmla="*/ 1006 w 1006"/>
                  <a:gd name="T15" fmla="*/ 0 h 2874"/>
                  <a:gd name="T16" fmla="*/ 1006 w 1006"/>
                  <a:gd name="T17" fmla="*/ 2874 h 2874"/>
                  <a:gd name="T18" fmla="*/ 1006 w 1006"/>
                  <a:gd name="T19" fmla="*/ 2874 h 2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6" h="2874">
                    <a:moveTo>
                      <a:pt x="1006" y="2874"/>
                    </a:moveTo>
                    <a:lnTo>
                      <a:pt x="1006" y="2874"/>
                    </a:lnTo>
                    <a:lnTo>
                      <a:pt x="0" y="2874"/>
                    </a:lnTo>
                    <a:lnTo>
                      <a:pt x="0" y="2874"/>
                    </a:lnTo>
                    <a:lnTo>
                      <a:pt x="0" y="0"/>
                    </a:lnTo>
                    <a:lnTo>
                      <a:pt x="0" y="0"/>
                    </a:lnTo>
                    <a:lnTo>
                      <a:pt x="1006" y="0"/>
                    </a:lnTo>
                    <a:lnTo>
                      <a:pt x="1006" y="0"/>
                    </a:lnTo>
                    <a:lnTo>
                      <a:pt x="1006" y="2874"/>
                    </a:lnTo>
                    <a:lnTo>
                      <a:pt x="1006" y="287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9" name="Freeform 34"/>
              <p:cNvSpPr>
                <a:spLocks/>
              </p:cNvSpPr>
              <p:nvPr/>
            </p:nvSpPr>
            <p:spPr bwMode="auto">
              <a:xfrm>
                <a:off x="3432" y="7"/>
                <a:ext cx="2425" cy="2430"/>
              </a:xfrm>
              <a:custGeom>
                <a:avLst/>
                <a:gdLst>
                  <a:gd name="T0" fmla="*/ 1513 w 2425"/>
                  <a:gd name="T1" fmla="*/ 2430 h 2430"/>
                  <a:gd name="T2" fmla="*/ 1513 w 2425"/>
                  <a:gd name="T3" fmla="*/ 2430 h 2430"/>
                  <a:gd name="T4" fmla="*/ 1820 w 2425"/>
                  <a:gd name="T5" fmla="*/ 2128 h 2430"/>
                  <a:gd name="T6" fmla="*/ 1820 w 2425"/>
                  <a:gd name="T7" fmla="*/ 2128 h 2430"/>
                  <a:gd name="T8" fmla="*/ 0 w 2425"/>
                  <a:gd name="T9" fmla="*/ 311 h 2430"/>
                  <a:gd name="T10" fmla="*/ 0 w 2425"/>
                  <a:gd name="T11" fmla="*/ 311 h 2430"/>
                  <a:gd name="T12" fmla="*/ 311 w 2425"/>
                  <a:gd name="T13" fmla="*/ 0 h 2430"/>
                  <a:gd name="T14" fmla="*/ 311 w 2425"/>
                  <a:gd name="T15" fmla="*/ 0 h 2430"/>
                  <a:gd name="T16" fmla="*/ 2114 w 2425"/>
                  <a:gd name="T17" fmla="*/ 1804 h 2430"/>
                  <a:gd name="T18" fmla="*/ 2114 w 2425"/>
                  <a:gd name="T19" fmla="*/ 1804 h 2430"/>
                  <a:gd name="T20" fmla="*/ 2407 w 2425"/>
                  <a:gd name="T21" fmla="*/ 1503 h 2430"/>
                  <a:gd name="T22" fmla="*/ 2407 w 2425"/>
                  <a:gd name="T23" fmla="*/ 1503 h 2430"/>
                  <a:gd name="T24" fmla="*/ 2425 w 2425"/>
                  <a:gd name="T25" fmla="*/ 1516 h 2430"/>
                  <a:gd name="T26" fmla="*/ 2425 w 2425"/>
                  <a:gd name="T27" fmla="*/ 1516 h 2430"/>
                  <a:gd name="T28" fmla="*/ 2425 w 2425"/>
                  <a:gd name="T29" fmla="*/ 2430 h 2430"/>
                  <a:gd name="T30" fmla="*/ 2425 w 2425"/>
                  <a:gd name="T31" fmla="*/ 2430 h 2430"/>
                  <a:gd name="T32" fmla="*/ 1513 w 2425"/>
                  <a:gd name="T33" fmla="*/ 2430 h 2430"/>
                  <a:gd name="T34" fmla="*/ 1513 w 2425"/>
                  <a:gd name="T35" fmla="*/ 2430 h 2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25" h="2430">
                    <a:moveTo>
                      <a:pt x="1513" y="2430"/>
                    </a:moveTo>
                    <a:lnTo>
                      <a:pt x="1513" y="2430"/>
                    </a:lnTo>
                    <a:lnTo>
                      <a:pt x="1820" y="2128"/>
                    </a:lnTo>
                    <a:lnTo>
                      <a:pt x="1820" y="2128"/>
                    </a:lnTo>
                    <a:lnTo>
                      <a:pt x="0" y="311"/>
                    </a:lnTo>
                    <a:lnTo>
                      <a:pt x="0" y="311"/>
                    </a:lnTo>
                    <a:lnTo>
                      <a:pt x="311" y="0"/>
                    </a:lnTo>
                    <a:lnTo>
                      <a:pt x="311" y="0"/>
                    </a:lnTo>
                    <a:lnTo>
                      <a:pt x="2114" y="1804"/>
                    </a:lnTo>
                    <a:lnTo>
                      <a:pt x="2114" y="1804"/>
                    </a:lnTo>
                    <a:lnTo>
                      <a:pt x="2407" y="1503"/>
                    </a:lnTo>
                    <a:lnTo>
                      <a:pt x="2407" y="1503"/>
                    </a:lnTo>
                    <a:lnTo>
                      <a:pt x="2425" y="1516"/>
                    </a:lnTo>
                    <a:lnTo>
                      <a:pt x="2425" y="1516"/>
                    </a:lnTo>
                    <a:lnTo>
                      <a:pt x="2425" y="2430"/>
                    </a:lnTo>
                    <a:lnTo>
                      <a:pt x="2425" y="2430"/>
                    </a:lnTo>
                    <a:lnTo>
                      <a:pt x="1513" y="2430"/>
                    </a:lnTo>
                    <a:lnTo>
                      <a:pt x="1513" y="2430"/>
                    </a:lnTo>
                    <a:close/>
                  </a:path>
                </a:pathLst>
              </a:custGeom>
              <a:solidFill>
                <a:srgbClr val="E31A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0" name="Freeform 35"/>
              <p:cNvSpPr>
                <a:spLocks/>
              </p:cNvSpPr>
              <p:nvPr/>
            </p:nvSpPr>
            <p:spPr bwMode="auto">
              <a:xfrm>
                <a:off x="4403" y="2880"/>
                <a:ext cx="1007" cy="1438"/>
              </a:xfrm>
              <a:custGeom>
                <a:avLst/>
                <a:gdLst>
                  <a:gd name="T0" fmla="*/ 1007 w 1007"/>
                  <a:gd name="T1" fmla="*/ 1438 h 1438"/>
                  <a:gd name="T2" fmla="*/ 1007 w 1007"/>
                  <a:gd name="T3" fmla="*/ 1438 h 1438"/>
                  <a:gd name="T4" fmla="*/ 0 w 1007"/>
                  <a:gd name="T5" fmla="*/ 1438 h 1438"/>
                  <a:gd name="T6" fmla="*/ 0 w 1007"/>
                  <a:gd name="T7" fmla="*/ 1438 h 1438"/>
                  <a:gd name="T8" fmla="*/ 0 w 1007"/>
                  <a:gd name="T9" fmla="*/ 0 h 1438"/>
                  <a:gd name="T10" fmla="*/ 0 w 1007"/>
                  <a:gd name="T11" fmla="*/ 0 h 1438"/>
                  <a:gd name="T12" fmla="*/ 1007 w 1007"/>
                  <a:gd name="T13" fmla="*/ 0 h 1438"/>
                  <a:gd name="T14" fmla="*/ 1007 w 1007"/>
                  <a:gd name="T15" fmla="*/ 0 h 1438"/>
                  <a:gd name="T16" fmla="*/ 1007 w 1007"/>
                  <a:gd name="T17" fmla="*/ 1438 h 1438"/>
                  <a:gd name="T18" fmla="*/ 1007 w 1007"/>
                  <a:gd name="T19" fmla="*/ 1438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7" h="1438">
                    <a:moveTo>
                      <a:pt x="1007" y="1438"/>
                    </a:moveTo>
                    <a:lnTo>
                      <a:pt x="1007" y="1438"/>
                    </a:lnTo>
                    <a:lnTo>
                      <a:pt x="0" y="1438"/>
                    </a:lnTo>
                    <a:lnTo>
                      <a:pt x="0" y="1438"/>
                    </a:lnTo>
                    <a:lnTo>
                      <a:pt x="0" y="0"/>
                    </a:lnTo>
                    <a:lnTo>
                      <a:pt x="0" y="0"/>
                    </a:lnTo>
                    <a:lnTo>
                      <a:pt x="1007" y="0"/>
                    </a:lnTo>
                    <a:lnTo>
                      <a:pt x="1007" y="0"/>
                    </a:lnTo>
                    <a:lnTo>
                      <a:pt x="1007" y="1438"/>
                    </a:lnTo>
                    <a:lnTo>
                      <a:pt x="1007" y="14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
        <p:nvSpPr>
          <p:cNvPr id="7" name="Right Arrow 6"/>
          <p:cNvSpPr/>
          <p:nvPr/>
        </p:nvSpPr>
        <p:spPr bwMode="auto">
          <a:xfrm>
            <a:off x="4295422" y="3521379"/>
            <a:ext cx="642545" cy="393266"/>
          </a:xfrm>
          <a:prstGeom prst="rightArrow">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86521" rIns="186521" bIns="559562" numCol="1" spcCol="0" rtlCol="0" fromWordArt="0" anchor="b"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zh-CN" altLang="en-US" sz="142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 name="Right Arrow 16"/>
          <p:cNvSpPr/>
          <p:nvPr/>
        </p:nvSpPr>
        <p:spPr bwMode="auto">
          <a:xfrm>
            <a:off x="7747612" y="3521379"/>
            <a:ext cx="642545" cy="393266"/>
          </a:xfrm>
          <a:prstGeom prst="rightArrow">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86521" rIns="186521" bIns="559562" numCol="1" spcCol="0" rtlCol="0" fromWordArt="0" anchor="b"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zh-CN" altLang="en-US" sz="142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3" name="Title 2"/>
          <p:cNvSpPr txBox="1">
            <a:spLocks/>
          </p:cNvSpPr>
          <p:nvPr/>
        </p:nvSpPr>
        <p:spPr>
          <a:xfrm>
            <a:off x="531277" y="233153"/>
            <a:ext cx="11373923" cy="777893"/>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kumimoji="0" lang="en-US" sz="5400" b="0" i="0" u="none" strike="noStrike" kern="1200" cap="none" spc="-100" normalizeH="0" baseline="0" noProof="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Light"/>
                <a:ea typeface="+mn-ea"/>
                <a:cs typeface="Segoe UI Light"/>
              </a:defRPr>
            </a:lvl1pPr>
          </a:lstStyle>
          <a:p>
            <a:pPr marL="0" marR="0" lvl="0" indent="0" algn="ctr" defTabSz="932559" rtl="0" eaLnBrk="1" fontAlgn="auto" latinLnBrk="0" hangingPunct="1">
              <a:lnSpc>
                <a:spcPct val="90000"/>
              </a:lnSpc>
              <a:spcBef>
                <a:spcPct val="0"/>
              </a:spcBef>
              <a:spcAft>
                <a:spcPts val="0"/>
              </a:spcAft>
              <a:buClrTx/>
              <a:buSzTx/>
              <a:buFontTx/>
              <a:buNone/>
              <a:tabLst/>
              <a:defRPr/>
            </a:pPr>
            <a:r>
              <a:rPr kumimoji="0" lang="en-US" sz="5507" b="1" i="0" u="none" strike="noStrike" kern="1200" cap="none" spc="-102" normalizeH="0" baseline="0" noProof="0" dirty="0">
                <a:ln w="3175">
                  <a:noFill/>
                </a:ln>
                <a:solidFill>
                  <a:srgbClr val="595959">
                    <a:lumMod val="50000"/>
                  </a:srgbClr>
                </a:solidFill>
                <a:effectLst/>
                <a:uLnTx/>
                <a:uFillTx/>
                <a:latin typeface="Segoe UI Light"/>
                <a:ea typeface="+mn-ea"/>
                <a:cs typeface="Segoe UI Light"/>
              </a:rPr>
              <a:t>AvePoint Complaint Migration </a:t>
            </a:r>
            <a:endParaRPr kumimoji="0" lang="en-US" sz="5507" b="0" i="0" u="none" strike="noStrike" kern="1200" cap="none" spc="-102" normalizeH="0" baseline="0" noProof="0" dirty="0">
              <a:ln w="3175">
                <a:noFill/>
              </a:ln>
              <a:solidFill>
                <a:srgbClr val="595959">
                  <a:lumMod val="50000"/>
                </a:srgbClr>
              </a:solidFill>
              <a:effectLst/>
              <a:uLnTx/>
              <a:uFillTx/>
              <a:latin typeface="Segoe UI Light"/>
              <a:ea typeface="+mn-ea"/>
              <a:cs typeface="Segoe UI Light"/>
            </a:endParaRPr>
          </a:p>
        </p:txBody>
      </p:sp>
    </p:spTree>
    <p:extLst>
      <p:ext uri="{BB962C8B-B14F-4D97-AF65-F5344CB8AC3E}">
        <p14:creationId xmlns:p14="http://schemas.microsoft.com/office/powerpoint/2010/main" val="2604875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75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750"/>
                                        <p:tgtEl>
                                          <p:spTgt spid="22"/>
                                        </p:tgtEl>
                                      </p:cBhvr>
                                    </p:animEffect>
                                  </p:childTnLst>
                                </p:cTn>
                              </p:par>
                              <p:par>
                                <p:cTn id="11" presetID="10" presetClass="entr" presetSubtype="0" fill="hold"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750"/>
                                        <p:tgtEl>
                                          <p:spTgt spid="23"/>
                                        </p:tgtEl>
                                      </p:cBhvr>
                                    </p:animEffect>
                                  </p:childTnLst>
                                </p:cTn>
                              </p:par>
                              <p:par>
                                <p:cTn id="14" presetID="10" presetClass="entr" presetSubtype="0" fill="hold"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750"/>
                                        <p:tgtEl>
                                          <p:spTgt spid="24"/>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750"/>
                                        <p:tgtEl>
                                          <p:spTgt spid="17"/>
                                        </p:tgtEl>
                                      </p:cBhvr>
                                    </p:animEffect>
                                  </p:childTnLst>
                                </p:cTn>
                              </p:par>
                              <p:par>
                                <p:cTn id="22" presetID="10" presetClass="entr" presetSubtype="0" fill="hold" nodeType="withEffect">
                                  <p:stCondLst>
                                    <p:cond delay="0"/>
                                  </p:stCondLst>
                                  <p:childTnLst>
                                    <p:set>
                                      <p:cBhvr>
                                        <p:cTn id="23" dur="1" fill="hold">
                                          <p:stCondLst>
                                            <p:cond delay="0"/>
                                          </p:stCondLst>
                                        </p:cTn>
                                        <p:tgtEl>
                                          <p:spTgt spid="25"/>
                                        </p:tgtEl>
                                        <p:attrNameLst>
                                          <p:attrName>style.visibility</p:attrName>
                                        </p:attrNameLst>
                                      </p:cBhvr>
                                      <p:to>
                                        <p:strVal val="visible"/>
                                      </p:to>
                                    </p:set>
                                    <p:animEffect transition="in" filter="fade">
                                      <p:cBhvr>
                                        <p:cTn id="24" dur="7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7" grpId="0"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467" y="233152"/>
            <a:ext cx="11373923" cy="1239004"/>
          </a:xfrm>
        </p:spPr>
        <p:txBody>
          <a:bodyPr/>
          <a:lstStyle/>
          <a:p>
            <a:r>
              <a:rPr lang="en-US" dirty="0"/>
              <a:t>Azure </a:t>
            </a:r>
            <a:r>
              <a:rPr lang="en-US" dirty="0" err="1"/>
              <a:t>Gov</a:t>
            </a:r>
            <a:r>
              <a:rPr lang="en-US" dirty="0"/>
              <a:t> Marketplace Offering: </a:t>
            </a:r>
            <a:br>
              <a:rPr lang="en-US" dirty="0"/>
            </a:br>
            <a:r>
              <a:rPr lang="en-US" sz="3264" dirty="0" err="1"/>
              <a:t>DocAve</a:t>
            </a:r>
            <a:r>
              <a:rPr lang="en-US" sz="3264" dirty="0"/>
              <a:t>, Compliance Guardian &amp; Governance Automation</a:t>
            </a:r>
          </a:p>
        </p:txBody>
      </p:sp>
      <p:sp>
        <p:nvSpPr>
          <p:cNvPr id="4" name="Text Placeholder 3"/>
          <p:cNvSpPr>
            <a:spLocks noGrp="1"/>
          </p:cNvSpPr>
          <p:nvPr>
            <p:ph type="body" sz="quarter" idx="10"/>
          </p:nvPr>
        </p:nvSpPr>
        <p:spPr>
          <a:xfrm>
            <a:off x="611728" y="1689676"/>
            <a:ext cx="6611612" cy="3980770"/>
          </a:xfrm>
        </p:spPr>
        <p:txBody>
          <a:bodyPr/>
          <a:lstStyle/>
          <a:p>
            <a:pPr>
              <a:spcAft>
                <a:spcPts val="0"/>
              </a:spcAft>
            </a:pPr>
            <a:r>
              <a:rPr lang="en-US" dirty="0"/>
              <a:t>Fast &amp; Flexible Migration</a:t>
            </a:r>
          </a:p>
          <a:p>
            <a:pPr lvl="1">
              <a:spcAft>
                <a:spcPts val="1224"/>
              </a:spcAft>
            </a:pPr>
            <a:r>
              <a:rPr lang="en-US" dirty="0"/>
              <a:t>From File Shares, SharePoint, Lotus Notes, </a:t>
            </a:r>
            <a:r>
              <a:rPr lang="en-US" dirty="0" err="1"/>
              <a:t>Livelink</a:t>
            </a:r>
            <a:r>
              <a:rPr lang="en-US" dirty="0"/>
              <a:t>, and more</a:t>
            </a:r>
          </a:p>
          <a:p>
            <a:pPr>
              <a:spcAft>
                <a:spcPts val="0"/>
              </a:spcAft>
            </a:pPr>
            <a:r>
              <a:rPr lang="en-US" dirty="0"/>
              <a:t>Collaboration with Confidence</a:t>
            </a:r>
          </a:p>
          <a:p>
            <a:pPr lvl="1">
              <a:spcAft>
                <a:spcPts val="1224"/>
              </a:spcAft>
            </a:pPr>
            <a:r>
              <a:rPr lang="en-US" dirty="0"/>
              <a:t>Implement and enforce information governance policies</a:t>
            </a:r>
          </a:p>
          <a:p>
            <a:pPr>
              <a:spcAft>
                <a:spcPts val="0"/>
              </a:spcAft>
            </a:pPr>
            <a:r>
              <a:rPr lang="en-US" dirty="0"/>
              <a:t>Seamless Hybrid Management</a:t>
            </a:r>
          </a:p>
          <a:p>
            <a:pPr lvl="1">
              <a:spcAft>
                <a:spcPts val="0"/>
              </a:spcAft>
            </a:pPr>
            <a:r>
              <a:rPr lang="en-US" dirty="0"/>
              <a:t>One platform. Total control. </a:t>
            </a:r>
            <a:endParaRPr lang="en-GB" dirty="0"/>
          </a:p>
          <a:p>
            <a:endParaRPr lang="en-GB" dirty="0"/>
          </a:p>
        </p:txBody>
      </p:sp>
      <p:grpSp>
        <p:nvGrpSpPr>
          <p:cNvPr id="5" name="Group 4"/>
          <p:cNvGrpSpPr/>
          <p:nvPr/>
        </p:nvGrpSpPr>
        <p:grpSpPr>
          <a:xfrm>
            <a:off x="7606357" y="5456014"/>
            <a:ext cx="4507166" cy="1118276"/>
            <a:chOff x="6506929" y="5000866"/>
            <a:chExt cx="3537693" cy="863248"/>
          </a:xfrm>
        </p:grpSpPr>
        <p:sp>
          <p:nvSpPr>
            <p:cNvPr id="32" name="Rectangle 31"/>
            <p:cNvSpPr/>
            <p:nvPr/>
          </p:nvSpPr>
          <p:spPr bwMode="auto">
            <a:xfrm>
              <a:off x="6506929" y="5000866"/>
              <a:ext cx="3537693" cy="863248"/>
            </a:xfrm>
            <a:prstGeom prst="rect">
              <a:avLst/>
            </a:prstGeom>
            <a:solidFill>
              <a:srgbClr val="E31A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b"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n Azure</a:t>
              </a:r>
            </a:p>
          </p:txBody>
        </p:sp>
        <p:pic>
          <p:nvPicPr>
            <p:cNvPr id="31" name="Picture 92" descr="D:\2014\0806\DocAve Online0.emf"/>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r="30892" b="-3276"/>
            <a:stretch/>
          </p:blipFill>
          <p:spPr bwMode="auto">
            <a:xfrm>
              <a:off x="6861629" y="5024910"/>
              <a:ext cx="2742558" cy="768262"/>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Freeform 29"/>
          <p:cNvSpPr>
            <a:spLocks/>
          </p:cNvSpPr>
          <p:nvPr/>
        </p:nvSpPr>
        <p:spPr bwMode="auto">
          <a:xfrm>
            <a:off x="12122500" y="4544906"/>
            <a:ext cx="27633" cy="27633"/>
          </a:xfrm>
          <a:custGeom>
            <a:avLst/>
            <a:gdLst>
              <a:gd name="T0" fmla="*/ 0 w 4"/>
              <a:gd name="T1" fmla="*/ 0 h 4"/>
              <a:gd name="T2" fmla="*/ 4 w 4"/>
              <a:gd name="T3" fmla="*/ 4 h 4"/>
              <a:gd name="T4" fmla="*/ 4 w 4"/>
              <a:gd name="T5" fmla="*/ 4 h 4"/>
              <a:gd name="T6" fmla="*/ 0 w 4"/>
              <a:gd name="T7" fmla="*/ 0 h 4"/>
            </a:gdLst>
            <a:ahLst/>
            <a:cxnLst>
              <a:cxn ang="0">
                <a:pos x="T0" y="T1"/>
              </a:cxn>
              <a:cxn ang="0">
                <a:pos x="T2" y="T3"/>
              </a:cxn>
              <a:cxn ang="0">
                <a:pos x="T4" y="T5"/>
              </a:cxn>
              <a:cxn ang="0">
                <a:pos x="T6" y="T7"/>
              </a:cxn>
            </a:cxnLst>
            <a:rect l="0" t="0" r="r" b="b"/>
            <a:pathLst>
              <a:path w="4" h="4">
                <a:moveTo>
                  <a:pt x="0" y="0"/>
                </a:moveTo>
                <a:cubicBezTo>
                  <a:pt x="2" y="0"/>
                  <a:pt x="4" y="2"/>
                  <a:pt x="4" y="4"/>
                </a:cubicBezTo>
                <a:cubicBezTo>
                  <a:pt x="4" y="4"/>
                  <a:pt x="4" y="4"/>
                  <a:pt x="4" y="4"/>
                </a:cubicBezTo>
                <a:cubicBezTo>
                  <a:pt x="4" y="2"/>
                  <a:pt x="2"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 name="Freeform 32"/>
          <p:cNvSpPr>
            <a:spLocks/>
          </p:cNvSpPr>
          <p:nvPr/>
        </p:nvSpPr>
        <p:spPr bwMode="auto">
          <a:xfrm>
            <a:off x="12114823" y="4551047"/>
            <a:ext cx="21493" cy="27633"/>
          </a:xfrm>
          <a:custGeom>
            <a:avLst/>
            <a:gdLst>
              <a:gd name="T0" fmla="*/ 0 w 3"/>
              <a:gd name="T1" fmla="*/ 0 h 4"/>
              <a:gd name="T2" fmla="*/ 3 w 3"/>
              <a:gd name="T3" fmla="*/ 4 h 4"/>
              <a:gd name="T4" fmla="*/ 3 w 3"/>
              <a:gd name="T5" fmla="*/ 4 h 4"/>
              <a:gd name="T6" fmla="*/ 0 w 3"/>
              <a:gd name="T7" fmla="*/ 0 h 4"/>
            </a:gdLst>
            <a:ahLst/>
            <a:cxnLst>
              <a:cxn ang="0">
                <a:pos x="T0" y="T1"/>
              </a:cxn>
              <a:cxn ang="0">
                <a:pos x="T2" y="T3"/>
              </a:cxn>
              <a:cxn ang="0">
                <a:pos x="T4" y="T5"/>
              </a:cxn>
              <a:cxn ang="0">
                <a:pos x="T6" y="T7"/>
              </a:cxn>
            </a:cxnLst>
            <a:rect l="0" t="0" r="r" b="b"/>
            <a:pathLst>
              <a:path w="3" h="4">
                <a:moveTo>
                  <a:pt x="0" y="0"/>
                </a:moveTo>
                <a:cubicBezTo>
                  <a:pt x="2" y="0"/>
                  <a:pt x="3" y="2"/>
                  <a:pt x="3" y="4"/>
                </a:cubicBezTo>
                <a:cubicBezTo>
                  <a:pt x="3" y="4"/>
                  <a:pt x="3" y="4"/>
                  <a:pt x="3" y="4"/>
                </a:cubicBezTo>
                <a:cubicBezTo>
                  <a:pt x="3" y="2"/>
                  <a:pt x="2"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zh-CN" alt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41" name="Group 40"/>
          <p:cNvGrpSpPr/>
          <p:nvPr/>
        </p:nvGrpSpPr>
        <p:grpSpPr>
          <a:xfrm>
            <a:off x="7606355" y="1689675"/>
            <a:ext cx="2209654" cy="1771946"/>
            <a:chOff x="1162891" y="3644139"/>
            <a:chExt cx="2603808" cy="2231329"/>
          </a:xfrm>
        </p:grpSpPr>
        <p:sp>
          <p:nvSpPr>
            <p:cNvPr id="60" name="Rectangle 59"/>
            <p:cNvSpPr/>
            <p:nvPr/>
          </p:nvSpPr>
          <p:spPr bwMode="auto">
            <a:xfrm>
              <a:off x="1162891" y="3644139"/>
              <a:ext cx="2603808" cy="2231329"/>
            </a:xfrm>
            <a:prstGeom prst="rect">
              <a:avLst/>
            </a:prstGeom>
            <a:solidFill>
              <a:srgbClr val="4343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30" rIns="0" bIns="0" numCol="1" spcCol="0" rtlCol="0" fromWordArt="0" anchor="b" anchorCtr="0" forceAA="0" compatLnSpc="1">
              <a:prstTxWarp prst="textNoShape">
                <a:avLst/>
              </a:prstTxWarp>
              <a:noAutofit/>
            </a:bodyPr>
            <a:lstStyle/>
            <a:p>
              <a:pPr marL="0" marR="0" lvl="1" indent="0" algn="ctr" defTabSz="932290" rtl="0" eaLnBrk="1" fontAlgn="base" latinLnBrk="0" hangingPunct="1">
                <a:lnSpc>
                  <a:spcPct val="100000"/>
                </a:lnSpc>
                <a:spcBef>
                  <a:spcPct val="0"/>
                </a:spcBef>
                <a:spcAft>
                  <a:spcPct val="0"/>
                </a:spcAft>
                <a:buClrTx/>
                <a:buSzTx/>
                <a:buFontTx/>
                <a:buNone/>
                <a:tabLst/>
                <a:defRPr/>
              </a:pPr>
              <a:r>
                <a:rPr kumimoji="0" lang="en-US" sz="1836" b="0" i="0" u="none" strike="noStrike" kern="0" cap="none" spc="-51"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Migration &amp; Integration</a:t>
              </a:r>
            </a:p>
          </p:txBody>
        </p:sp>
        <p:grpSp>
          <p:nvGrpSpPr>
            <p:cNvPr id="61" name="Group 60"/>
            <p:cNvGrpSpPr>
              <a:grpSpLocks noChangeAspect="1"/>
            </p:cNvGrpSpPr>
            <p:nvPr/>
          </p:nvGrpSpPr>
          <p:grpSpPr>
            <a:xfrm>
              <a:off x="1687991" y="3873752"/>
              <a:ext cx="1491824" cy="1188723"/>
              <a:chOff x="3281822" y="-1237561"/>
              <a:chExt cx="500064" cy="398464"/>
            </a:xfrm>
            <a:solidFill>
              <a:schemeClr val="bg1"/>
            </a:solidFill>
          </p:grpSpPr>
          <p:sp>
            <p:nvSpPr>
              <p:cNvPr id="62" name="Freeform 61"/>
              <p:cNvSpPr>
                <a:spLocks/>
              </p:cNvSpPr>
              <p:nvPr/>
            </p:nvSpPr>
            <p:spPr bwMode="auto">
              <a:xfrm>
                <a:off x="3526298" y="-1237561"/>
                <a:ext cx="255588" cy="354013"/>
              </a:xfrm>
              <a:custGeom>
                <a:avLst/>
                <a:gdLst>
                  <a:gd name="T0" fmla="*/ 68 w 68"/>
                  <a:gd name="T1" fmla="*/ 39 h 94"/>
                  <a:gd name="T2" fmla="*/ 68 w 68"/>
                  <a:gd name="T3" fmla="*/ 6 h 94"/>
                  <a:gd name="T4" fmla="*/ 68 w 68"/>
                  <a:gd name="T5" fmla="*/ 6 h 94"/>
                  <a:gd name="T6" fmla="*/ 67 w 68"/>
                  <a:gd name="T7" fmla="*/ 3 h 94"/>
                  <a:gd name="T8" fmla="*/ 67 w 68"/>
                  <a:gd name="T9" fmla="*/ 2 h 94"/>
                  <a:gd name="T10" fmla="*/ 67 w 68"/>
                  <a:gd name="T11" fmla="*/ 2 h 94"/>
                  <a:gd name="T12" fmla="*/ 67 w 68"/>
                  <a:gd name="T13" fmla="*/ 2 h 94"/>
                  <a:gd name="T14" fmla="*/ 66 w 68"/>
                  <a:gd name="T15" fmla="*/ 1 h 94"/>
                  <a:gd name="T16" fmla="*/ 63 w 68"/>
                  <a:gd name="T17" fmla="*/ 0 h 94"/>
                  <a:gd name="T18" fmla="*/ 62 w 68"/>
                  <a:gd name="T19" fmla="*/ 0 h 94"/>
                  <a:gd name="T20" fmla="*/ 29 w 68"/>
                  <a:gd name="T21" fmla="*/ 0 h 94"/>
                  <a:gd name="T22" fmla="*/ 28 w 68"/>
                  <a:gd name="T23" fmla="*/ 0 h 94"/>
                  <a:gd name="T24" fmla="*/ 28 w 68"/>
                  <a:gd name="T25" fmla="*/ 0 h 94"/>
                  <a:gd name="T26" fmla="*/ 6 w 68"/>
                  <a:gd name="T27" fmla="*/ 0 h 94"/>
                  <a:gd name="T28" fmla="*/ 2 w 68"/>
                  <a:gd name="T29" fmla="*/ 2 h 94"/>
                  <a:gd name="T30" fmla="*/ 0 w 68"/>
                  <a:gd name="T31" fmla="*/ 6 h 94"/>
                  <a:gd name="T32" fmla="*/ 2 w 68"/>
                  <a:gd name="T33" fmla="*/ 10 h 94"/>
                  <a:gd name="T34" fmla="*/ 13 w 68"/>
                  <a:gd name="T35" fmla="*/ 21 h 94"/>
                  <a:gd name="T36" fmla="*/ 17 w 68"/>
                  <a:gd name="T37" fmla="*/ 21 h 94"/>
                  <a:gd name="T38" fmla="*/ 18 w 68"/>
                  <a:gd name="T39" fmla="*/ 20 h 94"/>
                  <a:gd name="T40" fmla="*/ 17 w 68"/>
                  <a:gd name="T41" fmla="*/ 16 h 94"/>
                  <a:gd name="T42" fmla="*/ 9 w 68"/>
                  <a:gd name="T43" fmla="*/ 7 h 94"/>
                  <a:gd name="T44" fmla="*/ 62 w 68"/>
                  <a:gd name="T45" fmla="*/ 7 h 94"/>
                  <a:gd name="T46" fmla="*/ 62 w 68"/>
                  <a:gd name="T47" fmla="*/ 39 h 94"/>
                  <a:gd name="T48" fmla="*/ 62 w 68"/>
                  <a:gd name="T49" fmla="*/ 60 h 94"/>
                  <a:gd name="T50" fmla="*/ 53 w 68"/>
                  <a:gd name="T51" fmla="*/ 51 h 94"/>
                  <a:gd name="T52" fmla="*/ 50 w 68"/>
                  <a:gd name="T53" fmla="*/ 50 h 94"/>
                  <a:gd name="T54" fmla="*/ 48 w 68"/>
                  <a:gd name="T55" fmla="*/ 51 h 94"/>
                  <a:gd name="T56" fmla="*/ 14 w 68"/>
                  <a:gd name="T57" fmla="*/ 85 h 94"/>
                  <a:gd name="T58" fmla="*/ 11 w 68"/>
                  <a:gd name="T59" fmla="*/ 88 h 94"/>
                  <a:gd name="T60" fmla="*/ 11 w 68"/>
                  <a:gd name="T61" fmla="*/ 93 h 94"/>
                  <a:gd name="T62" fmla="*/ 16 w 68"/>
                  <a:gd name="T63" fmla="*/ 93 h 94"/>
                  <a:gd name="T64" fmla="*/ 50 w 68"/>
                  <a:gd name="T65" fmla="*/ 58 h 94"/>
                  <a:gd name="T66" fmla="*/ 58 w 68"/>
                  <a:gd name="T67" fmla="*/ 66 h 94"/>
                  <a:gd name="T68" fmla="*/ 63 w 68"/>
                  <a:gd name="T69" fmla="*/ 68 h 94"/>
                  <a:gd name="T70" fmla="*/ 67 w 68"/>
                  <a:gd name="T71" fmla="*/ 66 h 94"/>
                  <a:gd name="T72" fmla="*/ 68 w 68"/>
                  <a:gd name="T73" fmla="*/ 62 h 94"/>
                  <a:gd name="T74" fmla="*/ 68 w 68"/>
                  <a:gd name="T75" fmla="*/ 40 h 94"/>
                  <a:gd name="T76" fmla="*/ 68 w 68"/>
                  <a:gd name="T77"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94">
                    <a:moveTo>
                      <a:pt x="68" y="39"/>
                    </a:moveTo>
                    <a:cubicBezTo>
                      <a:pt x="68" y="6"/>
                      <a:pt x="68" y="6"/>
                      <a:pt x="68" y="6"/>
                    </a:cubicBezTo>
                    <a:cubicBezTo>
                      <a:pt x="68" y="6"/>
                      <a:pt x="68" y="6"/>
                      <a:pt x="68" y="6"/>
                    </a:cubicBezTo>
                    <a:cubicBezTo>
                      <a:pt x="68" y="4"/>
                      <a:pt x="68" y="3"/>
                      <a:pt x="67" y="3"/>
                    </a:cubicBezTo>
                    <a:cubicBezTo>
                      <a:pt x="67" y="2"/>
                      <a:pt x="67" y="2"/>
                      <a:pt x="67" y="2"/>
                    </a:cubicBezTo>
                    <a:cubicBezTo>
                      <a:pt x="67" y="2"/>
                      <a:pt x="67" y="2"/>
                      <a:pt x="67" y="2"/>
                    </a:cubicBezTo>
                    <a:cubicBezTo>
                      <a:pt x="67" y="2"/>
                      <a:pt x="67" y="2"/>
                      <a:pt x="67" y="2"/>
                    </a:cubicBezTo>
                    <a:cubicBezTo>
                      <a:pt x="66" y="2"/>
                      <a:pt x="66" y="2"/>
                      <a:pt x="66" y="1"/>
                    </a:cubicBezTo>
                    <a:cubicBezTo>
                      <a:pt x="65" y="1"/>
                      <a:pt x="64" y="0"/>
                      <a:pt x="63" y="0"/>
                    </a:cubicBezTo>
                    <a:cubicBezTo>
                      <a:pt x="63" y="0"/>
                      <a:pt x="63" y="0"/>
                      <a:pt x="62" y="0"/>
                    </a:cubicBezTo>
                    <a:cubicBezTo>
                      <a:pt x="29" y="0"/>
                      <a:pt x="29" y="0"/>
                      <a:pt x="29" y="0"/>
                    </a:cubicBezTo>
                    <a:cubicBezTo>
                      <a:pt x="28" y="0"/>
                      <a:pt x="28" y="0"/>
                      <a:pt x="28" y="0"/>
                    </a:cubicBezTo>
                    <a:cubicBezTo>
                      <a:pt x="28" y="0"/>
                      <a:pt x="28" y="0"/>
                      <a:pt x="28" y="0"/>
                    </a:cubicBezTo>
                    <a:cubicBezTo>
                      <a:pt x="6" y="0"/>
                      <a:pt x="6" y="0"/>
                      <a:pt x="6" y="0"/>
                    </a:cubicBezTo>
                    <a:cubicBezTo>
                      <a:pt x="5" y="0"/>
                      <a:pt x="3" y="1"/>
                      <a:pt x="2" y="2"/>
                    </a:cubicBezTo>
                    <a:cubicBezTo>
                      <a:pt x="1" y="3"/>
                      <a:pt x="0" y="4"/>
                      <a:pt x="0" y="6"/>
                    </a:cubicBezTo>
                    <a:cubicBezTo>
                      <a:pt x="0" y="8"/>
                      <a:pt x="1" y="9"/>
                      <a:pt x="2" y="10"/>
                    </a:cubicBezTo>
                    <a:cubicBezTo>
                      <a:pt x="13" y="21"/>
                      <a:pt x="13" y="21"/>
                      <a:pt x="13" y="21"/>
                    </a:cubicBezTo>
                    <a:cubicBezTo>
                      <a:pt x="14" y="22"/>
                      <a:pt x="16" y="22"/>
                      <a:pt x="17" y="21"/>
                    </a:cubicBezTo>
                    <a:cubicBezTo>
                      <a:pt x="18" y="20"/>
                      <a:pt x="18" y="20"/>
                      <a:pt x="18" y="20"/>
                    </a:cubicBezTo>
                    <a:cubicBezTo>
                      <a:pt x="19" y="18"/>
                      <a:pt x="19" y="17"/>
                      <a:pt x="17" y="16"/>
                    </a:cubicBezTo>
                    <a:cubicBezTo>
                      <a:pt x="9" y="7"/>
                      <a:pt x="9" y="7"/>
                      <a:pt x="9" y="7"/>
                    </a:cubicBezTo>
                    <a:cubicBezTo>
                      <a:pt x="62" y="7"/>
                      <a:pt x="62" y="7"/>
                      <a:pt x="62" y="7"/>
                    </a:cubicBezTo>
                    <a:cubicBezTo>
                      <a:pt x="62" y="39"/>
                      <a:pt x="62" y="39"/>
                      <a:pt x="62" y="39"/>
                    </a:cubicBezTo>
                    <a:cubicBezTo>
                      <a:pt x="62" y="60"/>
                      <a:pt x="62" y="60"/>
                      <a:pt x="62" y="60"/>
                    </a:cubicBezTo>
                    <a:cubicBezTo>
                      <a:pt x="59" y="57"/>
                      <a:pt x="53" y="51"/>
                      <a:pt x="53" y="51"/>
                    </a:cubicBezTo>
                    <a:cubicBezTo>
                      <a:pt x="52" y="50"/>
                      <a:pt x="51" y="50"/>
                      <a:pt x="50" y="50"/>
                    </a:cubicBezTo>
                    <a:cubicBezTo>
                      <a:pt x="49" y="50"/>
                      <a:pt x="49" y="50"/>
                      <a:pt x="48" y="51"/>
                    </a:cubicBezTo>
                    <a:cubicBezTo>
                      <a:pt x="14" y="85"/>
                      <a:pt x="14" y="85"/>
                      <a:pt x="14" y="85"/>
                    </a:cubicBezTo>
                    <a:cubicBezTo>
                      <a:pt x="11" y="88"/>
                      <a:pt x="11" y="88"/>
                      <a:pt x="11" y="88"/>
                    </a:cubicBezTo>
                    <a:cubicBezTo>
                      <a:pt x="9" y="90"/>
                      <a:pt x="9" y="92"/>
                      <a:pt x="11" y="93"/>
                    </a:cubicBezTo>
                    <a:cubicBezTo>
                      <a:pt x="12" y="94"/>
                      <a:pt x="14" y="94"/>
                      <a:pt x="16" y="93"/>
                    </a:cubicBezTo>
                    <a:cubicBezTo>
                      <a:pt x="50" y="58"/>
                      <a:pt x="50" y="58"/>
                      <a:pt x="50" y="58"/>
                    </a:cubicBezTo>
                    <a:cubicBezTo>
                      <a:pt x="58" y="66"/>
                      <a:pt x="58" y="66"/>
                      <a:pt x="58" y="66"/>
                    </a:cubicBezTo>
                    <a:cubicBezTo>
                      <a:pt x="60" y="67"/>
                      <a:pt x="61" y="68"/>
                      <a:pt x="63" y="68"/>
                    </a:cubicBezTo>
                    <a:cubicBezTo>
                      <a:pt x="64" y="68"/>
                      <a:pt x="66" y="67"/>
                      <a:pt x="67" y="66"/>
                    </a:cubicBezTo>
                    <a:cubicBezTo>
                      <a:pt x="68" y="65"/>
                      <a:pt x="68" y="64"/>
                      <a:pt x="68" y="62"/>
                    </a:cubicBezTo>
                    <a:cubicBezTo>
                      <a:pt x="68" y="40"/>
                      <a:pt x="68" y="40"/>
                      <a:pt x="68" y="40"/>
                    </a:cubicBezTo>
                    <a:lnTo>
                      <a:pt x="6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95959"/>
                  </a:solidFill>
                  <a:effectLst/>
                  <a:uLnTx/>
                  <a:uFillTx/>
                  <a:latin typeface="Segoe UI"/>
                  <a:ea typeface="+mn-ea"/>
                  <a:cs typeface="+mn-cs"/>
                </a:endParaRPr>
              </a:p>
            </p:txBody>
          </p:sp>
          <p:sp>
            <p:nvSpPr>
              <p:cNvPr id="63" name="Freeform 62"/>
              <p:cNvSpPr>
                <a:spLocks/>
              </p:cNvSpPr>
              <p:nvPr/>
            </p:nvSpPr>
            <p:spPr bwMode="auto">
              <a:xfrm>
                <a:off x="3281822" y="-1169297"/>
                <a:ext cx="322263" cy="330200"/>
              </a:xfrm>
              <a:custGeom>
                <a:avLst/>
                <a:gdLst>
                  <a:gd name="T0" fmla="*/ 85 w 86"/>
                  <a:gd name="T1" fmla="*/ 31 h 88"/>
                  <a:gd name="T2" fmla="*/ 84 w 86"/>
                  <a:gd name="T3" fmla="*/ 28 h 88"/>
                  <a:gd name="T4" fmla="*/ 72 w 86"/>
                  <a:gd name="T5" fmla="*/ 16 h 88"/>
                  <a:gd name="T6" fmla="*/ 59 w 86"/>
                  <a:gd name="T7" fmla="*/ 3 h 88"/>
                  <a:gd name="T8" fmla="*/ 48 w 86"/>
                  <a:gd name="T9" fmla="*/ 3 h 88"/>
                  <a:gd name="T10" fmla="*/ 16 w 86"/>
                  <a:gd name="T11" fmla="*/ 36 h 88"/>
                  <a:gd name="T12" fmla="*/ 5 w 86"/>
                  <a:gd name="T13" fmla="*/ 25 h 88"/>
                  <a:gd name="T14" fmla="*/ 1 w 86"/>
                  <a:gd name="T15" fmla="*/ 25 h 88"/>
                  <a:gd name="T16" fmla="*/ 0 w 86"/>
                  <a:gd name="T17" fmla="*/ 26 h 88"/>
                  <a:gd name="T18" fmla="*/ 0 w 86"/>
                  <a:gd name="T19" fmla="*/ 85 h 88"/>
                  <a:gd name="T20" fmla="*/ 1 w 86"/>
                  <a:gd name="T21" fmla="*/ 87 h 88"/>
                  <a:gd name="T22" fmla="*/ 3 w 86"/>
                  <a:gd name="T23" fmla="*/ 88 h 88"/>
                  <a:gd name="T24" fmla="*/ 62 w 86"/>
                  <a:gd name="T25" fmla="*/ 88 h 88"/>
                  <a:gd name="T26" fmla="*/ 64 w 86"/>
                  <a:gd name="T27" fmla="*/ 87 h 88"/>
                  <a:gd name="T28" fmla="*/ 64 w 86"/>
                  <a:gd name="T29" fmla="*/ 84 h 88"/>
                  <a:gd name="T30" fmla="*/ 64 w 86"/>
                  <a:gd name="T31" fmla="*/ 84 h 88"/>
                  <a:gd name="T32" fmla="*/ 51 w 86"/>
                  <a:gd name="T33" fmla="*/ 71 h 88"/>
                  <a:gd name="T34" fmla="*/ 84 w 86"/>
                  <a:gd name="T35" fmla="*/ 38 h 88"/>
                  <a:gd name="T36" fmla="*/ 84 w 86"/>
                  <a:gd name="T37" fmla="*/ 37 h 88"/>
                  <a:gd name="T38" fmla="*/ 85 w 86"/>
                  <a:gd name="T39" fmla="*/ 3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88">
                    <a:moveTo>
                      <a:pt x="85" y="31"/>
                    </a:moveTo>
                    <a:cubicBezTo>
                      <a:pt x="85" y="30"/>
                      <a:pt x="85" y="28"/>
                      <a:pt x="84" y="28"/>
                    </a:cubicBezTo>
                    <a:cubicBezTo>
                      <a:pt x="72" y="16"/>
                      <a:pt x="72" y="16"/>
                      <a:pt x="72" y="16"/>
                    </a:cubicBezTo>
                    <a:cubicBezTo>
                      <a:pt x="59" y="3"/>
                      <a:pt x="59" y="3"/>
                      <a:pt x="59" y="3"/>
                    </a:cubicBezTo>
                    <a:cubicBezTo>
                      <a:pt x="56" y="0"/>
                      <a:pt x="51" y="0"/>
                      <a:pt x="48" y="3"/>
                    </a:cubicBezTo>
                    <a:cubicBezTo>
                      <a:pt x="16" y="36"/>
                      <a:pt x="16" y="36"/>
                      <a:pt x="16" y="36"/>
                    </a:cubicBezTo>
                    <a:cubicBezTo>
                      <a:pt x="5" y="25"/>
                      <a:pt x="5" y="25"/>
                      <a:pt x="5" y="25"/>
                    </a:cubicBezTo>
                    <a:cubicBezTo>
                      <a:pt x="4" y="24"/>
                      <a:pt x="2" y="24"/>
                      <a:pt x="1" y="25"/>
                    </a:cubicBezTo>
                    <a:cubicBezTo>
                      <a:pt x="1" y="25"/>
                      <a:pt x="0" y="26"/>
                      <a:pt x="0" y="26"/>
                    </a:cubicBezTo>
                    <a:cubicBezTo>
                      <a:pt x="0" y="85"/>
                      <a:pt x="0" y="85"/>
                      <a:pt x="0" y="85"/>
                    </a:cubicBezTo>
                    <a:cubicBezTo>
                      <a:pt x="1" y="86"/>
                      <a:pt x="1" y="87"/>
                      <a:pt x="1" y="87"/>
                    </a:cubicBezTo>
                    <a:cubicBezTo>
                      <a:pt x="2" y="88"/>
                      <a:pt x="2" y="88"/>
                      <a:pt x="3" y="88"/>
                    </a:cubicBezTo>
                    <a:cubicBezTo>
                      <a:pt x="62" y="88"/>
                      <a:pt x="62" y="88"/>
                      <a:pt x="62" y="88"/>
                    </a:cubicBezTo>
                    <a:cubicBezTo>
                      <a:pt x="63" y="88"/>
                      <a:pt x="63" y="88"/>
                      <a:pt x="64" y="87"/>
                    </a:cubicBezTo>
                    <a:cubicBezTo>
                      <a:pt x="65" y="86"/>
                      <a:pt x="65" y="85"/>
                      <a:pt x="64" y="84"/>
                    </a:cubicBezTo>
                    <a:cubicBezTo>
                      <a:pt x="64" y="84"/>
                      <a:pt x="64" y="84"/>
                      <a:pt x="64" y="84"/>
                    </a:cubicBezTo>
                    <a:cubicBezTo>
                      <a:pt x="51" y="71"/>
                      <a:pt x="51" y="71"/>
                      <a:pt x="51" y="71"/>
                    </a:cubicBezTo>
                    <a:cubicBezTo>
                      <a:pt x="84" y="38"/>
                      <a:pt x="84" y="38"/>
                      <a:pt x="84" y="38"/>
                    </a:cubicBezTo>
                    <a:cubicBezTo>
                      <a:pt x="84" y="38"/>
                      <a:pt x="84" y="37"/>
                      <a:pt x="84" y="37"/>
                    </a:cubicBezTo>
                    <a:cubicBezTo>
                      <a:pt x="86" y="35"/>
                      <a:pt x="86" y="33"/>
                      <a:pt x="85" y="31"/>
                    </a:cubicBezTo>
                  </a:path>
                </a:pathLst>
              </a:custGeom>
              <a:solidFill>
                <a:srgbClr val="E31A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95959"/>
                  </a:solidFill>
                  <a:effectLst/>
                  <a:uLnTx/>
                  <a:uFillTx/>
                  <a:latin typeface="Segoe UI"/>
                  <a:ea typeface="+mn-ea"/>
                  <a:cs typeface="+mn-cs"/>
                </a:endParaRPr>
              </a:p>
            </p:txBody>
          </p:sp>
        </p:grpSp>
      </p:grpSp>
      <p:grpSp>
        <p:nvGrpSpPr>
          <p:cNvPr id="42" name="Group 41"/>
          <p:cNvGrpSpPr/>
          <p:nvPr/>
        </p:nvGrpSpPr>
        <p:grpSpPr>
          <a:xfrm>
            <a:off x="9903868" y="3571132"/>
            <a:ext cx="2209654" cy="1771946"/>
            <a:chOff x="8652390" y="3488890"/>
            <a:chExt cx="2603808" cy="2231330"/>
          </a:xfrm>
        </p:grpSpPr>
        <p:sp>
          <p:nvSpPr>
            <p:cNvPr id="50" name="Rectangle 49"/>
            <p:cNvSpPr/>
            <p:nvPr/>
          </p:nvSpPr>
          <p:spPr bwMode="auto">
            <a:xfrm>
              <a:off x="8652390" y="3488890"/>
              <a:ext cx="2603808" cy="2231330"/>
            </a:xfrm>
            <a:prstGeom prst="rect">
              <a:avLst/>
            </a:prstGeom>
            <a:solidFill>
              <a:srgbClr val="4343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30" rIns="0" bIns="186521" numCol="1" spcCol="0" rtlCol="0" fromWordArt="0" anchor="b" anchorCtr="0" forceAA="0" compatLnSpc="1">
              <a:prstTxWarp prst="textNoShape">
                <a:avLst/>
              </a:prstTxWarp>
              <a:noAutofit/>
            </a:bodyPr>
            <a:lstStyle/>
            <a:p>
              <a:pPr marL="0" marR="0" lvl="1" indent="0" algn="ctr" defTabSz="932290" rtl="0" eaLnBrk="1" fontAlgn="base" latinLnBrk="0" hangingPunct="1">
                <a:lnSpc>
                  <a:spcPct val="100000"/>
                </a:lnSpc>
                <a:spcBef>
                  <a:spcPct val="0"/>
                </a:spcBef>
                <a:spcAft>
                  <a:spcPct val="0"/>
                </a:spcAft>
                <a:buClrTx/>
                <a:buSzTx/>
                <a:buFontTx/>
                <a:buNone/>
                <a:tabLst/>
                <a:defRPr/>
              </a:pPr>
              <a:r>
                <a:rPr kumimoji="0" lang="en-US" sz="1836" b="0" i="0" u="none" strike="noStrike" kern="0" cap="none" spc="-51"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Data Protection</a:t>
              </a:r>
            </a:p>
          </p:txBody>
        </p:sp>
        <p:grpSp>
          <p:nvGrpSpPr>
            <p:cNvPr id="51" name="Group 50"/>
            <p:cNvGrpSpPr>
              <a:grpSpLocks noChangeAspect="1"/>
            </p:cNvGrpSpPr>
            <p:nvPr/>
          </p:nvGrpSpPr>
          <p:grpSpPr>
            <a:xfrm>
              <a:off x="9495037" y="3758030"/>
              <a:ext cx="1027204" cy="1188720"/>
              <a:chOff x="8261350" y="15875"/>
              <a:chExt cx="1797050" cy="2079625"/>
            </a:xfrm>
            <a:solidFill>
              <a:schemeClr val="bg1"/>
            </a:solidFill>
          </p:grpSpPr>
          <p:sp>
            <p:nvSpPr>
              <p:cNvPr id="52" name="Freeform 35"/>
              <p:cNvSpPr>
                <a:spLocks noEditPoints="1"/>
              </p:cNvSpPr>
              <p:nvPr/>
            </p:nvSpPr>
            <p:spPr bwMode="auto">
              <a:xfrm>
                <a:off x="8426450" y="206375"/>
                <a:ext cx="1466850" cy="1697038"/>
              </a:xfrm>
              <a:custGeom>
                <a:avLst/>
                <a:gdLst>
                  <a:gd name="T0" fmla="*/ 621 w 631"/>
                  <a:gd name="T1" fmla="*/ 112 h 729"/>
                  <a:gd name="T2" fmla="*/ 620 w 631"/>
                  <a:gd name="T3" fmla="*/ 106 h 729"/>
                  <a:gd name="T4" fmla="*/ 613 w 631"/>
                  <a:gd name="T5" fmla="*/ 100 h 729"/>
                  <a:gd name="T6" fmla="*/ 607 w 631"/>
                  <a:gd name="T7" fmla="*/ 100 h 729"/>
                  <a:gd name="T8" fmla="*/ 518 w 631"/>
                  <a:gd name="T9" fmla="*/ 64 h 729"/>
                  <a:gd name="T10" fmla="*/ 504 w 631"/>
                  <a:gd name="T11" fmla="*/ 16 h 729"/>
                  <a:gd name="T12" fmla="*/ 504 w 631"/>
                  <a:gd name="T13" fmla="*/ 14 h 729"/>
                  <a:gd name="T14" fmla="*/ 504 w 631"/>
                  <a:gd name="T15" fmla="*/ 14 h 729"/>
                  <a:gd name="T16" fmla="*/ 504 w 631"/>
                  <a:gd name="T17" fmla="*/ 7 h 729"/>
                  <a:gd name="T18" fmla="*/ 502 w 631"/>
                  <a:gd name="T19" fmla="*/ 2 h 729"/>
                  <a:gd name="T20" fmla="*/ 497 w 631"/>
                  <a:gd name="T21" fmla="*/ 0 h 729"/>
                  <a:gd name="T22" fmla="*/ 490 w 631"/>
                  <a:gd name="T23" fmla="*/ 0 h 729"/>
                  <a:gd name="T24" fmla="*/ 141 w 631"/>
                  <a:gd name="T25" fmla="*/ 0 h 729"/>
                  <a:gd name="T26" fmla="*/ 134 w 631"/>
                  <a:gd name="T27" fmla="*/ 0 h 729"/>
                  <a:gd name="T28" fmla="*/ 129 w 631"/>
                  <a:gd name="T29" fmla="*/ 2 h 729"/>
                  <a:gd name="T30" fmla="*/ 127 w 631"/>
                  <a:gd name="T31" fmla="*/ 7 h 729"/>
                  <a:gd name="T32" fmla="*/ 127 w 631"/>
                  <a:gd name="T33" fmla="*/ 14 h 729"/>
                  <a:gd name="T34" fmla="*/ 127 w 631"/>
                  <a:gd name="T35" fmla="*/ 16 h 729"/>
                  <a:gd name="T36" fmla="*/ 113 w 631"/>
                  <a:gd name="T37" fmla="*/ 64 h 729"/>
                  <a:gd name="T38" fmla="*/ 24 w 631"/>
                  <a:gd name="T39" fmla="*/ 100 h 729"/>
                  <a:gd name="T40" fmla="*/ 18 w 631"/>
                  <a:gd name="T41" fmla="*/ 100 h 729"/>
                  <a:gd name="T42" fmla="*/ 11 w 631"/>
                  <a:gd name="T43" fmla="*/ 106 h 729"/>
                  <a:gd name="T44" fmla="*/ 10 w 631"/>
                  <a:gd name="T45" fmla="*/ 112 h 729"/>
                  <a:gd name="T46" fmla="*/ 0 w 631"/>
                  <a:gd name="T47" fmla="*/ 241 h 729"/>
                  <a:gd name="T48" fmla="*/ 312 w 631"/>
                  <a:gd name="T49" fmla="*/ 728 h 729"/>
                  <a:gd name="T50" fmla="*/ 314 w 631"/>
                  <a:gd name="T51" fmla="*/ 729 h 729"/>
                  <a:gd name="T52" fmla="*/ 316 w 631"/>
                  <a:gd name="T53" fmla="*/ 729 h 729"/>
                  <a:gd name="T54" fmla="*/ 319 w 631"/>
                  <a:gd name="T55" fmla="*/ 729 h 729"/>
                  <a:gd name="T56" fmla="*/ 321 w 631"/>
                  <a:gd name="T57" fmla="*/ 728 h 729"/>
                  <a:gd name="T58" fmla="*/ 631 w 631"/>
                  <a:gd name="T59" fmla="*/ 244 h 729"/>
                  <a:gd name="T60" fmla="*/ 621 w 631"/>
                  <a:gd name="T61" fmla="*/ 112 h 729"/>
                  <a:gd name="T62" fmla="*/ 148 w 631"/>
                  <a:gd name="T63" fmla="*/ 21 h 729"/>
                  <a:gd name="T64" fmla="*/ 483 w 631"/>
                  <a:gd name="T65" fmla="*/ 21 h 729"/>
                  <a:gd name="T66" fmla="*/ 501 w 631"/>
                  <a:gd name="T67" fmla="*/ 76 h 729"/>
                  <a:gd name="T68" fmla="*/ 601 w 631"/>
                  <a:gd name="T69" fmla="*/ 121 h 729"/>
                  <a:gd name="T70" fmla="*/ 610 w 631"/>
                  <a:gd name="T71" fmla="*/ 244 h 729"/>
                  <a:gd name="T72" fmla="*/ 316 w 631"/>
                  <a:gd name="T73" fmla="*/ 708 h 729"/>
                  <a:gd name="T74" fmla="*/ 21 w 631"/>
                  <a:gd name="T75" fmla="*/ 241 h 729"/>
                  <a:gd name="T76" fmla="*/ 30 w 631"/>
                  <a:gd name="T77" fmla="*/ 121 h 729"/>
                  <a:gd name="T78" fmla="*/ 130 w 631"/>
                  <a:gd name="T79" fmla="*/ 76 h 729"/>
                  <a:gd name="T80" fmla="*/ 148 w 631"/>
                  <a:gd name="T81" fmla="*/ 21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1" h="729">
                    <a:moveTo>
                      <a:pt x="621" y="112"/>
                    </a:moveTo>
                    <a:cubicBezTo>
                      <a:pt x="620" y="106"/>
                      <a:pt x="620" y="106"/>
                      <a:pt x="620" y="106"/>
                    </a:cubicBezTo>
                    <a:cubicBezTo>
                      <a:pt x="619" y="103"/>
                      <a:pt x="617" y="100"/>
                      <a:pt x="613" y="100"/>
                    </a:cubicBezTo>
                    <a:cubicBezTo>
                      <a:pt x="607" y="100"/>
                      <a:pt x="607" y="100"/>
                      <a:pt x="607" y="100"/>
                    </a:cubicBezTo>
                    <a:cubicBezTo>
                      <a:pt x="565" y="100"/>
                      <a:pt x="535" y="88"/>
                      <a:pt x="518" y="64"/>
                    </a:cubicBezTo>
                    <a:cubicBezTo>
                      <a:pt x="505" y="44"/>
                      <a:pt x="504" y="22"/>
                      <a:pt x="504" y="16"/>
                    </a:cubicBezTo>
                    <a:cubicBezTo>
                      <a:pt x="504" y="14"/>
                      <a:pt x="504" y="14"/>
                      <a:pt x="504" y="14"/>
                    </a:cubicBezTo>
                    <a:cubicBezTo>
                      <a:pt x="504" y="14"/>
                      <a:pt x="504" y="14"/>
                      <a:pt x="504" y="14"/>
                    </a:cubicBezTo>
                    <a:cubicBezTo>
                      <a:pt x="504" y="7"/>
                      <a:pt x="504" y="7"/>
                      <a:pt x="504" y="7"/>
                    </a:cubicBezTo>
                    <a:cubicBezTo>
                      <a:pt x="504" y="6"/>
                      <a:pt x="504" y="4"/>
                      <a:pt x="502" y="2"/>
                    </a:cubicBezTo>
                    <a:cubicBezTo>
                      <a:pt x="501" y="1"/>
                      <a:pt x="499" y="0"/>
                      <a:pt x="497" y="0"/>
                    </a:cubicBezTo>
                    <a:cubicBezTo>
                      <a:pt x="490" y="0"/>
                      <a:pt x="490" y="0"/>
                      <a:pt x="490" y="0"/>
                    </a:cubicBezTo>
                    <a:cubicBezTo>
                      <a:pt x="141" y="0"/>
                      <a:pt x="141" y="0"/>
                      <a:pt x="141" y="0"/>
                    </a:cubicBezTo>
                    <a:cubicBezTo>
                      <a:pt x="134" y="0"/>
                      <a:pt x="134" y="0"/>
                      <a:pt x="134" y="0"/>
                    </a:cubicBezTo>
                    <a:cubicBezTo>
                      <a:pt x="132" y="0"/>
                      <a:pt x="130" y="1"/>
                      <a:pt x="129" y="2"/>
                    </a:cubicBezTo>
                    <a:cubicBezTo>
                      <a:pt x="128" y="4"/>
                      <a:pt x="127" y="6"/>
                      <a:pt x="127" y="7"/>
                    </a:cubicBezTo>
                    <a:cubicBezTo>
                      <a:pt x="127" y="14"/>
                      <a:pt x="127" y="14"/>
                      <a:pt x="127" y="14"/>
                    </a:cubicBezTo>
                    <a:cubicBezTo>
                      <a:pt x="127" y="16"/>
                      <a:pt x="127" y="16"/>
                      <a:pt x="127" y="16"/>
                    </a:cubicBezTo>
                    <a:cubicBezTo>
                      <a:pt x="127" y="24"/>
                      <a:pt x="126" y="45"/>
                      <a:pt x="113" y="64"/>
                    </a:cubicBezTo>
                    <a:cubicBezTo>
                      <a:pt x="96" y="88"/>
                      <a:pt x="66" y="100"/>
                      <a:pt x="24" y="100"/>
                    </a:cubicBezTo>
                    <a:cubicBezTo>
                      <a:pt x="18" y="100"/>
                      <a:pt x="18" y="100"/>
                      <a:pt x="18" y="100"/>
                    </a:cubicBezTo>
                    <a:cubicBezTo>
                      <a:pt x="15" y="100"/>
                      <a:pt x="12" y="103"/>
                      <a:pt x="11" y="106"/>
                    </a:cubicBezTo>
                    <a:cubicBezTo>
                      <a:pt x="10" y="112"/>
                      <a:pt x="10" y="112"/>
                      <a:pt x="10" y="112"/>
                    </a:cubicBezTo>
                    <a:cubicBezTo>
                      <a:pt x="4" y="154"/>
                      <a:pt x="0" y="199"/>
                      <a:pt x="0" y="241"/>
                    </a:cubicBezTo>
                    <a:cubicBezTo>
                      <a:pt x="0" y="417"/>
                      <a:pt x="55" y="644"/>
                      <a:pt x="312" y="728"/>
                    </a:cubicBezTo>
                    <a:cubicBezTo>
                      <a:pt x="314" y="729"/>
                      <a:pt x="314" y="729"/>
                      <a:pt x="314" y="729"/>
                    </a:cubicBezTo>
                    <a:cubicBezTo>
                      <a:pt x="315" y="729"/>
                      <a:pt x="316" y="729"/>
                      <a:pt x="316" y="729"/>
                    </a:cubicBezTo>
                    <a:cubicBezTo>
                      <a:pt x="317" y="729"/>
                      <a:pt x="318" y="729"/>
                      <a:pt x="319" y="729"/>
                    </a:cubicBezTo>
                    <a:cubicBezTo>
                      <a:pt x="321" y="728"/>
                      <a:pt x="321" y="728"/>
                      <a:pt x="321" y="728"/>
                    </a:cubicBezTo>
                    <a:cubicBezTo>
                      <a:pt x="577" y="644"/>
                      <a:pt x="631" y="419"/>
                      <a:pt x="631" y="244"/>
                    </a:cubicBezTo>
                    <a:cubicBezTo>
                      <a:pt x="631" y="200"/>
                      <a:pt x="628" y="156"/>
                      <a:pt x="621" y="112"/>
                    </a:cubicBezTo>
                    <a:close/>
                    <a:moveTo>
                      <a:pt x="148" y="21"/>
                    </a:moveTo>
                    <a:cubicBezTo>
                      <a:pt x="483" y="21"/>
                      <a:pt x="483" y="21"/>
                      <a:pt x="483" y="21"/>
                    </a:cubicBezTo>
                    <a:cubicBezTo>
                      <a:pt x="484" y="33"/>
                      <a:pt x="487" y="55"/>
                      <a:pt x="501" y="76"/>
                    </a:cubicBezTo>
                    <a:cubicBezTo>
                      <a:pt x="515" y="96"/>
                      <a:pt x="544" y="119"/>
                      <a:pt x="601" y="121"/>
                    </a:cubicBezTo>
                    <a:cubicBezTo>
                      <a:pt x="607" y="161"/>
                      <a:pt x="610" y="204"/>
                      <a:pt x="610" y="244"/>
                    </a:cubicBezTo>
                    <a:cubicBezTo>
                      <a:pt x="610" y="411"/>
                      <a:pt x="559" y="627"/>
                      <a:pt x="316" y="708"/>
                    </a:cubicBezTo>
                    <a:cubicBezTo>
                      <a:pt x="73" y="627"/>
                      <a:pt x="21" y="409"/>
                      <a:pt x="21" y="241"/>
                    </a:cubicBezTo>
                    <a:cubicBezTo>
                      <a:pt x="21" y="192"/>
                      <a:pt x="26" y="150"/>
                      <a:pt x="30" y="121"/>
                    </a:cubicBezTo>
                    <a:cubicBezTo>
                      <a:pt x="87" y="119"/>
                      <a:pt x="116" y="96"/>
                      <a:pt x="130" y="76"/>
                    </a:cubicBezTo>
                    <a:cubicBezTo>
                      <a:pt x="145" y="55"/>
                      <a:pt x="147" y="33"/>
                      <a:pt x="148"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53" name="Group 52"/>
              <p:cNvGrpSpPr/>
              <p:nvPr/>
            </p:nvGrpSpPr>
            <p:grpSpPr>
              <a:xfrm>
                <a:off x="8261350" y="15875"/>
                <a:ext cx="1797050" cy="2079625"/>
                <a:chOff x="8261350" y="15875"/>
                <a:chExt cx="1797050" cy="2079625"/>
              </a:xfrm>
              <a:grpFill/>
            </p:grpSpPr>
            <p:sp>
              <p:nvSpPr>
                <p:cNvPr id="54" name="Freeform 37"/>
                <p:cNvSpPr>
                  <a:spLocks/>
                </p:cNvSpPr>
                <p:nvPr/>
              </p:nvSpPr>
              <p:spPr bwMode="auto">
                <a:xfrm>
                  <a:off x="8521700" y="255588"/>
                  <a:ext cx="727075" cy="1044575"/>
                </a:xfrm>
                <a:custGeom>
                  <a:avLst/>
                  <a:gdLst>
                    <a:gd name="T0" fmla="*/ 263 w 313"/>
                    <a:gd name="T1" fmla="*/ 0 h 449"/>
                    <a:gd name="T2" fmla="*/ 261 w 313"/>
                    <a:gd name="T3" fmla="*/ 0 h 449"/>
                    <a:gd name="T4" fmla="*/ 209 w 313"/>
                    <a:gd name="T5" fmla="*/ 0 h 449"/>
                    <a:gd name="T6" fmla="*/ 0 w 313"/>
                    <a:gd name="T7" fmla="*/ 337 h 449"/>
                    <a:gd name="T8" fmla="*/ 11 w 313"/>
                    <a:gd name="T9" fmla="*/ 390 h 449"/>
                    <a:gd name="T10" fmla="*/ 32 w 313"/>
                    <a:gd name="T11" fmla="*/ 449 h 449"/>
                    <a:gd name="T12" fmla="*/ 313 w 313"/>
                    <a:gd name="T13" fmla="*/ 0 h 449"/>
                    <a:gd name="T14" fmla="*/ 263 w 313"/>
                    <a:gd name="T15" fmla="*/ 0 h 4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 h="449">
                      <a:moveTo>
                        <a:pt x="263" y="0"/>
                      </a:moveTo>
                      <a:cubicBezTo>
                        <a:pt x="261" y="0"/>
                        <a:pt x="261" y="0"/>
                        <a:pt x="261" y="0"/>
                      </a:cubicBezTo>
                      <a:cubicBezTo>
                        <a:pt x="209" y="0"/>
                        <a:pt x="209" y="0"/>
                        <a:pt x="209" y="0"/>
                      </a:cubicBezTo>
                      <a:cubicBezTo>
                        <a:pt x="0" y="337"/>
                        <a:pt x="0" y="337"/>
                        <a:pt x="0" y="337"/>
                      </a:cubicBezTo>
                      <a:cubicBezTo>
                        <a:pt x="3" y="358"/>
                        <a:pt x="7" y="377"/>
                        <a:pt x="11" y="390"/>
                      </a:cubicBezTo>
                      <a:cubicBezTo>
                        <a:pt x="18" y="410"/>
                        <a:pt x="24" y="430"/>
                        <a:pt x="32" y="449"/>
                      </a:cubicBezTo>
                      <a:cubicBezTo>
                        <a:pt x="313" y="0"/>
                        <a:pt x="313" y="0"/>
                        <a:pt x="313" y="0"/>
                      </a:cubicBezTo>
                      <a:lnTo>
                        <a:pt x="263" y="0"/>
                      </a:lnTo>
                      <a:close/>
                    </a:path>
                  </a:pathLst>
                </a:custGeom>
                <a:solidFill>
                  <a:srgbClr val="E31A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5" name="Freeform 38"/>
                <p:cNvSpPr>
                  <a:spLocks/>
                </p:cNvSpPr>
                <p:nvPr/>
              </p:nvSpPr>
              <p:spPr bwMode="auto">
                <a:xfrm>
                  <a:off x="8693150" y="255588"/>
                  <a:ext cx="914400" cy="1393825"/>
                </a:xfrm>
                <a:custGeom>
                  <a:avLst/>
                  <a:gdLst>
                    <a:gd name="T0" fmla="*/ 388 w 393"/>
                    <a:gd name="T1" fmla="*/ 64 h 599"/>
                    <a:gd name="T2" fmla="*/ 386 w 393"/>
                    <a:gd name="T3" fmla="*/ 62 h 599"/>
                    <a:gd name="T4" fmla="*/ 383 w 393"/>
                    <a:gd name="T5" fmla="*/ 59 h 599"/>
                    <a:gd name="T6" fmla="*/ 381 w 393"/>
                    <a:gd name="T7" fmla="*/ 57 h 599"/>
                    <a:gd name="T8" fmla="*/ 378 w 393"/>
                    <a:gd name="T9" fmla="*/ 54 h 599"/>
                    <a:gd name="T10" fmla="*/ 376 w 393"/>
                    <a:gd name="T11" fmla="*/ 50 h 599"/>
                    <a:gd name="T12" fmla="*/ 375 w 393"/>
                    <a:gd name="T13" fmla="*/ 49 h 599"/>
                    <a:gd name="T14" fmla="*/ 372 w 393"/>
                    <a:gd name="T15" fmla="*/ 45 h 599"/>
                    <a:gd name="T16" fmla="*/ 352 w 393"/>
                    <a:gd name="T17" fmla="*/ 0 h 599"/>
                    <a:gd name="T18" fmla="*/ 332 w 393"/>
                    <a:gd name="T19" fmla="*/ 0 h 599"/>
                    <a:gd name="T20" fmla="*/ 0 w 393"/>
                    <a:gd name="T21" fmla="*/ 530 h 599"/>
                    <a:gd name="T22" fmla="*/ 59 w 393"/>
                    <a:gd name="T23" fmla="*/ 599 h 599"/>
                    <a:gd name="T24" fmla="*/ 393 w 393"/>
                    <a:gd name="T25" fmla="*/ 69 h 599"/>
                    <a:gd name="T26" fmla="*/ 388 w 393"/>
                    <a:gd name="T27" fmla="*/ 6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3" h="599">
                      <a:moveTo>
                        <a:pt x="388" y="64"/>
                      </a:moveTo>
                      <a:cubicBezTo>
                        <a:pt x="387" y="64"/>
                        <a:pt x="387" y="63"/>
                        <a:pt x="386" y="62"/>
                      </a:cubicBezTo>
                      <a:cubicBezTo>
                        <a:pt x="385" y="61"/>
                        <a:pt x="384" y="60"/>
                        <a:pt x="383" y="59"/>
                      </a:cubicBezTo>
                      <a:cubicBezTo>
                        <a:pt x="382" y="58"/>
                        <a:pt x="382" y="57"/>
                        <a:pt x="381" y="57"/>
                      </a:cubicBezTo>
                      <a:cubicBezTo>
                        <a:pt x="380" y="55"/>
                        <a:pt x="379" y="55"/>
                        <a:pt x="378" y="54"/>
                      </a:cubicBezTo>
                      <a:cubicBezTo>
                        <a:pt x="378" y="52"/>
                        <a:pt x="377" y="51"/>
                        <a:pt x="376" y="50"/>
                      </a:cubicBezTo>
                      <a:cubicBezTo>
                        <a:pt x="376" y="50"/>
                        <a:pt x="376" y="49"/>
                        <a:pt x="375" y="49"/>
                      </a:cubicBezTo>
                      <a:cubicBezTo>
                        <a:pt x="374" y="48"/>
                        <a:pt x="373" y="46"/>
                        <a:pt x="372" y="45"/>
                      </a:cubicBezTo>
                      <a:cubicBezTo>
                        <a:pt x="364" y="33"/>
                        <a:pt x="357" y="15"/>
                        <a:pt x="352" y="0"/>
                      </a:cubicBezTo>
                      <a:cubicBezTo>
                        <a:pt x="332" y="0"/>
                        <a:pt x="332" y="0"/>
                        <a:pt x="332" y="0"/>
                      </a:cubicBezTo>
                      <a:cubicBezTo>
                        <a:pt x="0" y="530"/>
                        <a:pt x="0" y="530"/>
                        <a:pt x="0" y="530"/>
                      </a:cubicBezTo>
                      <a:cubicBezTo>
                        <a:pt x="16" y="555"/>
                        <a:pt x="36" y="578"/>
                        <a:pt x="59" y="599"/>
                      </a:cubicBezTo>
                      <a:cubicBezTo>
                        <a:pt x="393" y="69"/>
                        <a:pt x="393" y="69"/>
                        <a:pt x="393" y="69"/>
                      </a:cubicBezTo>
                      <a:cubicBezTo>
                        <a:pt x="391" y="68"/>
                        <a:pt x="390" y="66"/>
                        <a:pt x="388"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56" name="Group 55"/>
                <p:cNvGrpSpPr/>
                <p:nvPr/>
              </p:nvGrpSpPr>
              <p:grpSpPr>
                <a:xfrm>
                  <a:off x="8261350" y="15875"/>
                  <a:ext cx="1797050" cy="2079625"/>
                  <a:chOff x="8261350" y="15875"/>
                  <a:chExt cx="1797050" cy="2079625"/>
                </a:xfrm>
                <a:grpFill/>
              </p:grpSpPr>
              <p:sp>
                <p:nvSpPr>
                  <p:cNvPr id="57" name="Freeform 34"/>
                  <p:cNvSpPr>
                    <a:spLocks noEditPoints="1"/>
                  </p:cNvSpPr>
                  <p:nvPr/>
                </p:nvSpPr>
                <p:spPr bwMode="auto">
                  <a:xfrm>
                    <a:off x="8261350" y="15875"/>
                    <a:ext cx="1797050" cy="2079625"/>
                  </a:xfrm>
                  <a:custGeom>
                    <a:avLst/>
                    <a:gdLst>
                      <a:gd name="T0" fmla="*/ 761 w 773"/>
                      <a:gd name="T1" fmla="*/ 137 h 894"/>
                      <a:gd name="T2" fmla="*/ 760 w 773"/>
                      <a:gd name="T3" fmla="*/ 130 h 894"/>
                      <a:gd name="T4" fmla="*/ 752 w 773"/>
                      <a:gd name="T5" fmla="*/ 123 h 894"/>
                      <a:gd name="T6" fmla="*/ 744 w 773"/>
                      <a:gd name="T7" fmla="*/ 123 h 894"/>
                      <a:gd name="T8" fmla="*/ 635 w 773"/>
                      <a:gd name="T9" fmla="*/ 78 h 894"/>
                      <a:gd name="T10" fmla="*/ 618 w 773"/>
                      <a:gd name="T11" fmla="*/ 19 h 894"/>
                      <a:gd name="T12" fmla="*/ 618 w 773"/>
                      <a:gd name="T13" fmla="*/ 17 h 894"/>
                      <a:gd name="T14" fmla="*/ 618 w 773"/>
                      <a:gd name="T15" fmla="*/ 17 h 894"/>
                      <a:gd name="T16" fmla="*/ 618 w 773"/>
                      <a:gd name="T17" fmla="*/ 9 h 894"/>
                      <a:gd name="T18" fmla="*/ 616 w 773"/>
                      <a:gd name="T19" fmla="*/ 2 h 894"/>
                      <a:gd name="T20" fmla="*/ 609 w 773"/>
                      <a:gd name="T21" fmla="*/ 0 h 894"/>
                      <a:gd name="T22" fmla="*/ 600 w 773"/>
                      <a:gd name="T23" fmla="*/ 0 h 894"/>
                      <a:gd name="T24" fmla="*/ 173 w 773"/>
                      <a:gd name="T25" fmla="*/ 0 h 894"/>
                      <a:gd name="T26" fmla="*/ 164 w 773"/>
                      <a:gd name="T27" fmla="*/ 0 h 894"/>
                      <a:gd name="T28" fmla="*/ 158 w 773"/>
                      <a:gd name="T29" fmla="*/ 2 h 894"/>
                      <a:gd name="T30" fmla="*/ 155 w 773"/>
                      <a:gd name="T31" fmla="*/ 9 h 894"/>
                      <a:gd name="T32" fmla="*/ 156 w 773"/>
                      <a:gd name="T33" fmla="*/ 17 h 894"/>
                      <a:gd name="T34" fmla="*/ 156 w 773"/>
                      <a:gd name="T35" fmla="*/ 19 h 894"/>
                      <a:gd name="T36" fmla="*/ 138 w 773"/>
                      <a:gd name="T37" fmla="*/ 78 h 894"/>
                      <a:gd name="T38" fmla="*/ 29 w 773"/>
                      <a:gd name="T39" fmla="*/ 123 h 894"/>
                      <a:gd name="T40" fmla="*/ 22 w 773"/>
                      <a:gd name="T41" fmla="*/ 123 h 894"/>
                      <a:gd name="T42" fmla="*/ 13 w 773"/>
                      <a:gd name="T43" fmla="*/ 130 h 894"/>
                      <a:gd name="T44" fmla="*/ 12 w 773"/>
                      <a:gd name="T45" fmla="*/ 137 h 894"/>
                      <a:gd name="T46" fmla="*/ 0 w 773"/>
                      <a:gd name="T47" fmla="*/ 295 h 894"/>
                      <a:gd name="T48" fmla="*/ 383 w 773"/>
                      <a:gd name="T49" fmla="*/ 893 h 894"/>
                      <a:gd name="T50" fmla="*/ 385 w 773"/>
                      <a:gd name="T51" fmla="*/ 893 h 894"/>
                      <a:gd name="T52" fmla="*/ 388 w 773"/>
                      <a:gd name="T53" fmla="*/ 894 h 894"/>
                      <a:gd name="T54" fmla="*/ 390 w 773"/>
                      <a:gd name="T55" fmla="*/ 893 h 894"/>
                      <a:gd name="T56" fmla="*/ 393 w 773"/>
                      <a:gd name="T57" fmla="*/ 893 h 894"/>
                      <a:gd name="T58" fmla="*/ 773 w 773"/>
                      <a:gd name="T59" fmla="*/ 299 h 894"/>
                      <a:gd name="T60" fmla="*/ 761 w 773"/>
                      <a:gd name="T61" fmla="*/ 137 h 894"/>
                      <a:gd name="T62" fmla="*/ 181 w 773"/>
                      <a:gd name="T63" fmla="*/ 25 h 894"/>
                      <a:gd name="T64" fmla="*/ 592 w 773"/>
                      <a:gd name="T65" fmla="*/ 25 h 894"/>
                      <a:gd name="T66" fmla="*/ 614 w 773"/>
                      <a:gd name="T67" fmla="*/ 92 h 894"/>
                      <a:gd name="T68" fmla="*/ 737 w 773"/>
                      <a:gd name="T69" fmla="*/ 148 h 894"/>
                      <a:gd name="T70" fmla="*/ 748 w 773"/>
                      <a:gd name="T71" fmla="*/ 299 h 894"/>
                      <a:gd name="T72" fmla="*/ 388 w 773"/>
                      <a:gd name="T73" fmla="*/ 868 h 894"/>
                      <a:gd name="T74" fmla="*/ 25 w 773"/>
                      <a:gd name="T75" fmla="*/ 295 h 894"/>
                      <a:gd name="T76" fmla="*/ 36 w 773"/>
                      <a:gd name="T77" fmla="*/ 148 h 894"/>
                      <a:gd name="T78" fmla="*/ 159 w 773"/>
                      <a:gd name="T79" fmla="*/ 92 h 894"/>
                      <a:gd name="T80" fmla="*/ 181 w 773"/>
                      <a:gd name="T81" fmla="*/ 25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3" h="894">
                        <a:moveTo>
                          <a:pt x="761" y="137"/>
                        </a:moveTo>
                        <a:cubicBezTo>
                          <a:pt x="760" y="130"/>
                          <a:pt x="760" y="130"/>
                          <a:pt x="760" y="130"/>
                        </a:cubicBezTo>
                        <a:cubicBezTo>
                          <a:pt x="759" y="126"/>
                          <a:pt x="756" y="123"/>
                          <a:pt x="752" y="123"/>
                        </a:cubicBezTo>
                        <a:cubicBezTo>
                          <a:pt x="744" y="123"/>
                          <a:pt x="744" y="123"/>
                          <a:pt x="744" y="123"/>
                        </a:cubicBezTo>
                        <a:cubicBezTo>
                          <a:pt x="693" y="122"/>
                          <a:pt x="656" y="107"/>
                          <a:pt x="635" y="78"/>
                        </a:cubicBezTo>
                        <a:cubicBezTo>
                          <a:pt x="618" y="54"/>
                          <a:pt x="618" y="27"/>
                          <a:pt x="618" y="19"/>
                        </a:cubicBezTo>
                        <a:cubicBezTo>
                          <a:pt x="618" y="17"/>
                          <a:pt x="618" y="17"/>
                          <a:pt x="618" y="17"/>
                        </a:cubicBezTo>
                        <a:cubicBezTo>
                          <a:pt x="618" y="17"/>
                          <a:pt x="618" y="17"/>
                          <a:pt x="618" y="17"/>
                        </a:cubicBezTo>
                        <a:cubicBezTo>
                          <a:pt x="618" y="9"/>
                          <a:pt x="618" y="9"/>
                          <a:pt x="618" y="9"/>
                        </a:cubicBezTo>
                        <a:cubicBezTo>
                          <a:pt x="618" y="6"/>
                          <a:pt x="617" y="4"/>
                          <a:pt x="616" y="2"/>
                        </a:cubicBezTo>
                        <a:cubicBezTo>
                          <a:pt x="614" y="0"/>
                          <a:pt x="612" y="0"/>
                          <a:pt x="609" y="0"/>
                        </a:cubicBezTo>
                        <a:cubicBezTo>
                          <a:pt x="600" y="0"/>
                          <a:pt x="600" y="0"/>
                          <a:pt x="600" y="0"/>
                        </a:cubicBezTo>
                        <a:cubicBezTo>
                          <a:pt x="173" y="0"/>
                          <a:pt x="173" y="0"/>
                          <a:pt x="173" y="0"/>
                        </a:cubicBezTo>
                        <a:cubicBezTo>
                          <a:pt x="164" y="0"/>
                          <a:pt x="164" y="0"/>
                          <a:pt x="164" y="0"/>
                        </a:cubicBezTo>
                        <a:cubicBezTo>
                          <a:pt x="162" y="0"/>
                          <a:pt x="159" y="0"/>
                          <a:pt x="158" y="2"/>
                        </a:cubicBezTo>
                        <a:cubicBezTo>
                          <a:pt x="156" y="4"/>
                          <a:pt x="155" y="6"/>
                          <a:pt x="155" y="9"/>
                        </a:cubicBezTo>
                        <a:cubicBezTo>
                          <a:pt x="156" y="17"/>
                          <a:pt x="156" y="17"/>
                          <a:pt x="156" y="17"/>
                        </a:cubicBezTo>
                        <a:cubicBezTo>
                          <a:pt x="156" y="19"/>
                          <a:pt x="156" y="19"/>
                          <a:pt x="156" y="19"/>
                        </a:cubicBezTo>
                        <a:cubicBezTo>
                          <a:pt x="156" y="29"/>
                          <a:pt x="154" y="54"/>
                          <a:pt x="138" y="78"/>
                        </a:cubicBezTo>
                        <a:cubicBezTo>
                          <a:pt x="117" y="107"/>
                          <a:pt x="81" y="122"/>
                          <a:pt x="29" y="123"/>
                        </a:cubicBezTo>
                        <a:cubicBezTo>
                          <a:pt x="22" y="123"/>
                          <a:pt x="22" y="123"/>
                          <a:pt x="22" y="123"/>
                        </a:cubicBezTo>
                        <a:cubicBezTo>
                          <a:pt x="18" y="123"/>
                          <a:pt x="14" y="126"/>
                          <a:pt x="13" y="130"/>
                        </a:cubicBezTo>
                        <a:cubicBezTo>
                          <a:pt x="12" y="137"/>
                          <a:pt x="12" y="137"/>
                          <a:pt x="12" y="137"/>
                        </a:cubicBezTo>
                        <a:cubicBezTo>
                          <a:pt x="4" y="188"/>
                          <a:pt x="0" y="243"/>
                          <a:pt x="0" y="295"/>
                        </a:cubicBezTo>
                        <a:cubicBezTo>
                          <a:pt x="0" y="511"/>
                          <a:pt x="66" y="789"/>
                          <a:pt x="383" y="893"/>
                        </a:cubicBezTo>
                        <a:cubicBezTo>
                          <a:pt x="385" y="893"/>
                          <a:pt x="385" y="893"/>
                          <a:pt x="385" y="893"/>
                        </a:cubicBezTo>
                        <a:cubicBezTo>
                          <a:pt x="386" y="894"/>
                          <a:pt x="387" y="894"/>
                          <a:pt x="388" y="894"/>
                        </a:cubicBezTo>
                        <a:cubicBezTo>
                          <a:pt x="389" y="894"/>
                          <a:pt x="390" y="894"/>
                          <a:pt x="390" y="893"/>
                        </a:cubicBezTo>
                        <a:cubicBezTo>
                          <a:pt x="393" y="893"/>
                          <a:pt x="393" y="893"/>
                          <a:pt x="393" y="893"/>
                        </a:cubicBezTo>
                        <a:cubicBezTo>
                          <a:pt x="707" y="790"/>
                          <a:pt x="773" y="513"/>
                          <a:pt x="773" y="299"/>
                        </a:cubicBezTo>
                        <a:cubicBezTo>
                          <a:pt x="773" y="245"/>
                          <a:pt x="769" y="190"/>
                          <a:pt x="761" y="137"/>
                        </a:cubicBezTo>
                        <a:close/>
                        <a:moveTo>
                          <a:pt x="181" y="25"/>
                        </a:moveTo>
                        <a:cubicBezTo>
                          <a:pt x="592" y="25"/>
                          <a:pt x="592" y="25"/>
                          <a:pt x="592" y="25"/>
                        </a:cubicBezTo>
                        <a:cubicBezTo>
                          <a:pt x="593" y="40"/>
                          <a:pt x="597" y="67"/>
                          <a:pt x="614" y="92"/>
                        </a:cubicBezTo>
                        <a:cubicBezTo>
                          <a:pt x="631" y="117"/>
                          <a:pt x="666" y="146"/>
                          <a:pt x="737" y="148"/>
                        </a:cubicBezTo>
                        <a:cubicBezTo>
                          <a:pt x="744" y="197"/>
                          <a:pt x="748" y="249"/>
                          <a:pt x="748" y="299"/>
                        </a:cubicBezTo>
                        <a:cubicBezTo>
                          <a:pt x="748" y="504"/>
                          <a:pt x="685" y="769"/>
                          <a:pt x="388" y="868"/>
                        </a:cubicBezTo>
                        <a:cubicBezTo>
                          <a:pt x="88" y="768"/>
                          <a:pt x="25" y="501"/>
                          <a:pt x="25" y="295"/>
                        </a:cubicBezTo>
                        <a:cubicBezTo>
                          <a:pt x="25" y="235"/>
                          <a:pt x="31" y="183"/>
                          <a:pt x="36" y="148"/>
                        </a:cubicBezTo>
                        <a:cubicBezTo>
                          <a:pt x="107" y="146"/>
                          <a:pt x="142" y="117"/>
                          <a:pt x="159" y="92"/>
                        </a:cubicBezTo>
                        <a:cubicBezTo>
                          <a:pt x="176" y="67"/>
                          <a:pt x="180" y="40"/>
                          <a:pt x="181"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8" name="Freeform 36"/>
                  <p:cNvSpPr>
                    <a:spLocks noEditPoints="1"/>
                  </p:cNvSpPr>
                  <p:nvPr/>
                </p:nvSpPr>
                <p:spPr bwMode="auto">
                  <a:xfrm>
                    <a:off x="8458200" y="225425"/>
                    <a:ext cx="1403350" cy="1655763"/>
                  </a:xfrm>
                  <a:custGeom>
                    <a:avLst/>
                    <a:gdLst>
                      <a:gd name="T0" fmla="*/ 486 w 603"/>
                      <a:gd name="T1" fmla="*/ 49 h 712"/>
                      <a:gd name="T2" fmla="*/ 139 w 603"/>
                      <a:gd name="T3" fmla="*/ 0 h 712"/>
                      <a:gd name="T4" fmla="*/ 6 w 603"/>
                      <a:gd name="T5" fmla="*/ 111 h 712"/>
                      <a:gd name="T6" fmla="*/ 303 w 603"/>
                      <a:gd name="T7" fmla="*/ 712 h 712"/>
                      <a:gd name="T8" fmla="*/ 596 w 603"/>
                      <a:gd name="T9" fmla="*/ 111 h 712"/>
                      <a:gd name="T10" fmla="*/ 75 w 603"/>
                      <a:gd name="T11" fmla="*/ 498 h 712"/>
                      <a:gd name="T12" fmla="*/ 16 w 603"/>
                      <a:gd name="T13" fmla="*/ 246 h 712"/>
                      <a:gd name="T14" fmla="*/ 16 w 603"/>
                      <a:gd name="T15" fmla="*/ 225 h 712"/>
                      <a:gd name="T16" fmla="*/ 16 w 603"/>
                      <a:gd name="T17" fmla="*/ 221 h 712"/>
                      <a:gd name="T18" fmla="*/ 16 w 603"/>
                      <a:gd name="T19" fmla="*/ 221 h 712"/>
                      <a:gd name="T20" fmla="*/ 16 w 603"/>
                      <a:gd name="T21" fmla="*/ 220 h 712"/>
                      <a:gd name="T22" fmla="*/ 16 w 603"/>
                      <a:gd name="T23" fmla="*/ 220 h 712"/>
                      <a:gd name="T24" fmla="*/ 21 w 603"/>
                      <a:gd name="T25" fmla="*/ 125 h 712"/>
                      <a:gd name="T26" fmla="*/ 151 w 603"/>
                      <a:gd name="T27" fmla="*/ 16 h 712"/>
                      <a:gd name="T28" fmla="*/ 287 w 603"/>
                      <a:gd name="T29" fmla="*/ 16 h 712"/>
                      <a:gd name="T30" fmla="*/ 452 w 603"/>
                      <a:gd name="T31" fmla="*/ 16 h 712"/>
                      <a:gd name="T32" fmla="*/ 476 w 603"/>
                      <a:gd name="T33" fmla="*/ 62 h 712"/>
                      <a:gd name="T34" fmla="*/ 479 w 603"/>
                      <a:gd name="T35" fmla="*/ 66 h 712"/>
                      <a:gd name="T36" fmla="*/ 484 w 603"/>
                      <a:gd name="T37" fmla="*/ 71 h 712"/>
                      <a:gd name="T38" fmla="*/ 489 w 603"/>
                      <a:gd name="T39" fmla="*/ 77 h 712"/>
                      <a:gd name="T40" fmla="*/ 496 w 603"/>
                      <a:gd name="T41" fmla="*/ 83 h 712"/>
                      <a:gd name="T42" fmla="*/ 503 w 603"/>
                      <a:gd name="T43" fmla="*/ 89 h 712"/>
                      <a:gd name="T44" fmla="*/ 510 w 603"/>
                      <a:gd name="T45" fmla="*/ 95 h 712"/>
                      <a:gd name="T46" fmla="*/ 517 w 603"/>
                      <a:gd name="T47" fmla="*/ 100 h 712"/>
                      <a:gd name="T48" fmla="*/ 525 w 603"/>
                      <a:gd name="T49" fmla="*/ 104 h 712"/>
                      <a:gd name="T50" fmla="*/ 534 w 603"/>
                      <a:gd name="T51" fmla="*/ 109 h 712"/>
                      <a:gd name="T52" fmla="*/ 588 w 603"/>
                      <a:gd name="T53" fmla="*/ 202 h 712"/>
                      <a:gd name="T54" fmla="*/ 588 w 603"/>
                      <a:gd name="T55" fmla="*/ 221 h 712"/>
                      <a:gd name="T56" fmla="*/ 588 w 603"/>
                      <a:gd name="T57" fmla="*/ 222 h 712"/>
                      <a:gd name="T58" fmla="*/ 588 w 603"/>
                      <a:gd name="T59" fmla="*/ 238 h 712"/>
                      <a:gd name="T60" fmla="*/ 587 w 603"/>
                      <a:gd name="T61" fmla="*/ 255 h 712"/>
                      <a:gd name="T62" fmla="*/ 586 w 603"/>
                      <a:gd name="T63" fmla="*/ 272 h 712"/>
                      <a:gd name="T64" fmla="*/ 585 w 603"/>
                      <a:gd name="T65" fmla="*/ 289 h 712"/>
                      <a:gd name="T66" fmla="*/ 584 w 603"/>
                      <a:gd name="T67" fmla="*/ 307 h 712"/>
                      <a:gd name="T68" fmla="*/ 581 w 603"/>
                      <a:gd name="T69" fmla="*/ 324 h 712"/>
                      <a:gd name="T70" fmla="*/ 579 w 603"/>
                      <a:gd name="T71" fmla="*/ 341 h 712"/>
                      <a:gd name="T72" fmla="*/ 576 w 603"/>
                      <a:gd name="T73" fmla="*/ 359 h 712"/>
                      <a:gd name="T74" fmla="*/ 576 w 603"/>
                      <a:gd name="T75" fmla="*/ 359 h 712"/>
                      <a:gd name="T76" fmla="*/ 343 w 603"/>
                      <a:gd name="T77" fmla="*/ 679 h 712"/>
                      <a:gd name="T78" fmla="*/ 303 w 603"/>
                      <a:gd name="T79" fmla="*/ 696 h 712"/>
                      <a:gd name="T80" fmla="*/ 283 w 603"/>
                      <a:gd name="T81" fmla="*/ 688 h 712"/>
                      <a:gd name="T82" fmla="*/ 265 w 603"/>
                      <a:gd name="T83" fmla="*/ 680 h 712"/>
                      <a:gd name="T84" fmla="*/ 190 w 603"/>
                      <a:gd name="T85" fmla="*/ 635 h 712"/>
                      <a:gd name="T86" fmla="*/ 75 w 603"/>
                      <a:gd name="T87" fmla="*/ 49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03" h="712">
                        <a:moveTo>
                          <a:pt x="596" y="111"/>
                        </a:moveTo>
                        <a:cubicBezTo>
                          <a:pt x="536" y="103"/>
                          <a:pt x="503" y="74"/>
                          <a:pt x="486" y="49"/>
                        </a:cubicBezTo>
                        <a:cubicBezTo>
                          <a:pt x="474" y="32"/>
                          <a:pt x="468" y="15"/>
                          <a:pt x="464" y="0"/>
                        </a:cubicBezTo>
                        <a:cubicBezTo>
                          <a:pt x="139" y="0"/>
                          <a:pt x="139" y="0"/>
                          <a:pt x="139" y="0"/>
                        </a:cubicBezTo>
                        <a:cubicBezTo>
                          <a:pt x="135" y="15"/>
                          <a:pt x="129" y="32"/>
                          <a:pt x="117" y="49"/>
                        </a:cubicBezTo>
                        <a:cubicBezTo>
                          <a:pt x="100" y="74"/>
                          <a:pt x="67" y="103"/>
                          <a:pt x="6" y="111"/>
                        </a:cubicBezTo>
                        <a:cubicBezTo>
                          <a:pt x="3" y="140"/>
                          <a:pt x="0" y="177"/>
                          <a:pt x="0" y="218"/>
                        </a:cubicBezTo>
                        <a:cubicBezTo>
                          <a:pt x="0" y="395"/>
                          <a:pt x="53" y="624"/>
                          <a:pt x="303" y="712"/>
                        </a:cubicBezTo>
                        <a:cubicBezTo>
                          <a:pt x="551" y="624"/>
                          <a:pt x="603" y="398"/>
                          <a:pt x="603" y="221"/>
                        </a:cubicBezTo>
                        <a:cubicBezTo>
                          <a:pt x="603" y="185"/>
                          <a:pt x="601" y="148"/>
                          <a:pt x="596" y="111"/>
                        </a:cubicBezTo>
                        <a:close/>
                        <a:moveTo>
                          <a:pt x="75" y="498"/>
                        </a:moveTo>
                        <a:cubicBezTo>
                          <a:pt x="75" y="498"/>
                          <a:pt x="92" y="529"/>
                          <a:pt x="75" y="498"/>
                        </a:cubicBezTo>
                        <a:cubicBezTo>
                          <a:pt x="59" y="468"/>
                          <a:pt x="48" y="434"/>
                          <a:pt x="38" y="400"/>
                        </a:cubicBezTo>
                        <a:cubicBezTo>
                          <a:pt x="28" y="367"/>
                          <a:pt x="18" y="296"/>
                          <a:pt x="16" y="246"/>
                        </a:cubicBezTo>
                        <a:cubicBezTo>
                          <a:pt x="16" y="246"/>
                          <a:pt x="16" y="246"/>
                          <a:pt x="16" y="245"/>
                        </a:cubicBezTo>
                        <a:cubicBezTo>
                          <a:pt x="16" y="239"/>
                          <a:pt x="16" y="232"/>
                          <a:pt x="16" y="225"/>
                        </a:cubicBezTo>
                        <a:cubicBezTo>
                          <a:pt x="16" y="224"/>
                          <a:pt x="16" y="222"/>
                          <a:pt x="16" y="221"/>
                        </a:cubicBezTo>
                        <a:cubicBezTo>
                          <a:pt x="16" y="221"/>
                          <a:pt x="16" y="221"/>
                          <a:pt x="16" y="221"/>
                        </a:cubicBezTo>
                        <a:cubicBezTo>
                          <a:pt x="16" y="221"/>
                          <a:pt x="16" y="221"/>
                          <a:pt x="16" y="221"/>
                        </a:cubicBezTo>
                        <a:cubicBezTo>
                          <a:pt x="16" y="221"/>
                          <a:pt x="16" y="221"/>
                          <a:pt x="16" y="221"/>
                        </a:cubicBezTo>
                        <a:cubicBezTo>
                          <a:pt x="16" y="220"/>
                          <a:pt x="16" y="220"/>
                          <a:pt x="16" y="220"/>
                        </a:cubicBezTo>
                        <a:cubicBezTo>
                          <a:pt x="16" y="220"/>
                          <a:pt x="16" y="220"/>
                          <a:pt x="16" y="220"/>
                        </a:cubicBezTo>
                        <a:cubicBezTo>
                          <a:pt x="16" y="219"/>
                          <a:pt x="16" y="219"/>
                          <a:pt x="16" y="219"/>
                        </a:cubicBezTo>
                        <a:cubicBezTo>
                          <a:pt x="16" y="219"/>
                          <a:pt x="16" y="219"/>
                          <a:pt x="16" y="220"/>
                        </a:cubicBezTo>
                        <a:cubicBezTo>
                          <a:pt x="16" y="219"/>
                          <a:pt x="16" y="218"/>
                          <a:pt x="16" y="218"/>
                        </a:cubicBezTo>
                        <a:cubicBezTo>
                          <a:pt x="16" y="187"/>
                          <a:pt x="17" y="156"/>
                          <a:pt x="21" y="125"/>
                        </a:cubicBezTo>
                        <a:cubicBezTo>
                          <a:pt x="80" y="113"/>
                          <a:pt x="113" y="82"/>
                          <a:pt x="130" y="57"/>
                        </a:cubicBezTo>
                        <a:cubicBezTo>
                          <a:pt x="139" y="45"/>
                          <a:pt x="146" y="31"/>
                          <a:pt x="151" y="16"/>
                        </a:cubicBezTo>
                        <a:cubicBezTo>
                          <a:pt x="186" y="16"/>
                          <a:pt x="186" y="16"/>
                          <a:pt x="186" y="16"/>
                        </a:cubicBezTo>
                        <a:cubicBezTo>
                          <a:pt x="287" y="16"/>
                          <a:pt x="287" y="16"/>
                          <a:pt x="287" y="16"/>
                        </a:cubicBezTo>
                        <a:cubicBezTo>
                          <a:pt x="289" y="16"/>
                          <a:pt x="289" y="16"/>
                          <a:pt x="289" y="16"/>
                        </a:cubicBezTo>
                        <a:cubicBezTo>
                          <a:pt x="452" y="16"/>
                          <a:pt x="452" y="16"/>
                          <a:pt x="452" y="16"/>
                        </a:cubicBezTo>
                        <a:cubicBezTo>
                          <a:pt x="457" y="31"/>
                          <a:pt x="464" y="45"/>
                          <a:pt x="473" y="58"/>
                        </a:cubicBezTo>
                        <a:cubicBezTo>
                          <a:pt x="474" y="59"/>
                          <a:pt x="475" y="60"/>
                          <a:pt x="476" y="62"/>
                        </a:cubicBezTo>
                        <a:cubicBezTo>
                          <a:pt x="476" y="62"/>
                          <a:pt x="476" y="62"/>
                          <a:pt x="477" y="62"/>
                        </a:cubicBezTo>
                        <a:cubicBezTo>
                          <a:pt x="477" y="64"/>
                          <a:pt x="478" y="65"/>
                          <a:pt x="479" y="66"/>
                        </a:cubicBezTo>
                        <a:cubicBezTo>
                          <a:pt x="480" y="67"/>
                          <a:pt x="481" y="68"/>
                          <a:pt x="482" y="69"/>
                        </a:cubicBezTo>
                        <a:cubicBezTo>
                          <a:pt x="483" y="70"/>
                          <a:pt x="483" y="70"/>
                          <a:pt x="484" y="71"/>
                        </a:cubicBezTo>
                        <a:cubicBezTo>
                          <a:pt x="485" y="72"/>
                          <a:pt x="486" y="74"/>
                          <a:pt x="487" y="75"/>
                        </a:cubicBezTo>
                        <a:cubicBezTo>
                          <a:pt x="487" y="75"/>
                          <a:pt x="488" y="76"/>
                          <a:pt x="489" y="77"/>
                        </a:cubicBezTo>
                        <a:cubicBezTo>
                          <a:pt x="490" y="78"/>
                          <a:pt x="492" y="80"/>
                          <a:pt x="494" y="82"/>
                        </a:cubicBezTo>
                        <a:cubicBezTo>
                          <a:pt x="494" y="82"/>
                          <a:pt x="495" y="83"/>
                          <a:pt x="496" y="83"/>
                        </a:cubicBezTo>
                        <a:cubicBezTo>
                          <a:pt x="497" y="85"/>
                          <a:pt x="499" y="86"/>
                          <a:pt x="500" y="87"/>
                        </a:cubicBezTo>
                        <a:cubicBezTo>
                          <a:pt x="501" y="88"/>
                          <a:pt x="502" y="89"/>
                          <a:pt x="503" y="89"/>
                        </a:cubicBezTo>
                        <a:cubicBezTo>
                          <a:pt x="504" y="90"/>
                          <a:pt x="506" y="91"/>
                          <a:pt x="507" y="93"/>
                        </a:cubicBezTo>
                        <a:cubicBezTo>
                          <a:pt x="508" y="93"/>
                          <a:pt x="509" y="94"/>
                          <a:pt x="510" y="95"/>
                        </a:cubicBezTo>
                        <a:cubicBezTo>
                          <a:pt x="511" y="96"/>
                          <a:pt x="513" y="97"/>
                          <a:pt x="514" y="98"/>
                        </a:cubicBezTo>
                        <a:cubicBezTo>
                          <a:pt x="515" y="99"/>
                          <a:pt x="516" y="99"/>
                          <a:pt x="517" y="100"/>
                        </a:cubicBezTo>
                        <a:cubicBezTo>
                          <a:pt x="519" y="101"/>
                          <a:pt x="521" y="102"/>
                          <a:pt x="523" y="103"/>
                        </a:cubicBezTo>
                        <a:cubicBezTo>
                          <a:pt x="524" y="104"/>
                          <a:pt x="525" y="104"/>
                          <a:pt x="525" y="104"/>
                        </a:cubicBezTo>
                        <a:cubicBezTo>
                          <a:pt x="528" y="106"/>
                          <a:pt x="531" y="107"/>
                          <a:pt x="534" y="109"/>
                        </a:cubicBezTo>
                        <a:cubicBezTo>
                          <a:pt x="534" y="109"/>
                          <a:pt x="534" y="109"/>
                          <a:pt x="534" y="109"/>
                        </a:cubicBezTo>
                        <a:cubicBezTo>
                          <a:pt x="548" y="116"/>
                          <a:pt x="564" y="121"/>
                          <a:pt x="583" y="125"/>
                        </a:cubicBezTo>
                        <a:cubicBezTo>
                          <a:pt x="586" y="150"/>
                          <a:pt x="587" y="176"/>
                          <a:pt x="588" y="202"/>
                        </a:cubicBezTo>
                        <a:cubicBezTo>
                          <a:pt x="588" y="208"/>
                          <a:pt x="588" y="215"/>
                          <a:pt x="588" y="221"/>
                        </a:cubicBezTo>
                        <a:cubicBezTo>
                          <a:pt x="588" y="221"/>
                          <a:pt x="588" y="221"/>
                          <a:pt x="588" y="221"/>
                        </a:cubicBezTo>
                        <a:cubicBezTo>
                          <a:pt x="588" y="222"/>
                          <a:pt x="588" y="222"/>
                          <a:pt x="588" y="222"/>
                        </a:cubicBezTo>
                        <a:cubicBezTo>
                          <a:pt x="588" y="222"/>
                          <a:pt x="588" y="222"/>
                          <a:pt x="588" y="222"/>
                        </a:cubicBezTo>
                        <a:cubicBezTo>
                          <a:pt x="588" y="224"/>
                          <a:pt x="588" y="226"/>
                          <a:pt x="588" y="228"/>
                        </a:cubicBezTo>
                        <a:cubicBezTo>
                          <a:pt x="588" y="232"/>
                          <a:pt x="588" y="235"/>
                          <a:pt x="588" y="238"/>
                        </a:cubicBezTo>
                        <a:cubicBezTo>
                          <a:pt x="588" y="240"/>
                          <a:pt x="588" y="242"/>
                          <a:pt x="588" y="243"/>
                        </a:cubicBezTo>
                        <a:cubicBezTo>
                          <a:pt x="587" y="247"/>
                          <a:pt x="587" y="251"/>
                          <a:pt x="587" y="255"/>
                        </a:cubicBezTo>
                        <a:cubicBezTo>
                          <a:pt x="587" y="256"/>
                          <a:pt x="587" y="257"/>
                          <a:pt x="587" y="258"/>
                        </a:cubicBezTo>
                        <a:cubicBezTo>
                          <a:pt x="587" y="263"/>
                          <a:pt x="587" y="267"/>
                          <a:pt x="586" y="272"/>
                        </a:cubicBezTo>
                        <a:cubicBezTo>
                          <a:pt x="586" y="273"/>
                          <a:pt x="586" y="273"/>
                          <a:pt x="586" y="274"/>
                        </a:cubicBezTo>
                        <a:cubicBezTo>
                          <a:pt x="586" y="279"/>
                          <a:pt x="586" y="284"/>
                          <a:pt x="585" y="289"/>
                        </a:cubicBezTo>
                        <a:cubicBezTo>
                          <a:pt x="585" y="289"/>
                          <a:pt x="585" y="290"/>
                          <a:pt x="585" y="290"/>
                        </a:cubicBezTo>
                        <a:cubicBezTo>
                          <a:pt x="585" y="296"/>
                          <a:pt x="584" y="301"/>
                          <a:pt x="584" y="307"/>
                        </a:cubicBezTo>
                        <a:cubicBezTo>
                          <a:pt x="583" y="307"/>
                          <a:pt x="583" y="307"/>
                          <a:pt x="583" y="307"/>
                        </a:cubicBezTo>
                        <a:cubicBezTo>
                          <a:pt x="583" y="312"/>
                          <a:pt x="582" y="318"/>
                          <a:pt x="581" y="324"/>
                        </a:cubicBezTo>
                        <a:cubicBezTo>
                          <a:pt x="581" y="324"/>
                          <a:pt x="581" y="324"/>
                          <a:pt x="581" y="324"/>
                        </a:cubicBezTo>
                        <a:cubicBezTo>
                          <a:pt x="581" y="330"/>
                          <a:pt x="580" y="336"/>
                          <a:pt x="579" y="341"/>
                        </a:cubicBezTo>
                        <a:cubicBezTo>
                          <a:pt x="579" y="342"/>
                          <a:pt x="579" y="342"/>
                          <a:pt x="579" y="342"/>
                        </a:cubicBezTo>
                        <a:cubicBezTo>
                          <a:pt x="578" y="347"/>
                          <a:pt x="577" y="353"/>
                          <a:pt x="576" y="359"/>
                        </a:cubicBezTo>
                        <a:cubicBezTo>
                          <a:pt x="576" y="359"/>
                          <a:pt x="576" y="359"/>
                          <a:pt x="576" y="359"/>
                        </a:cubicBezTo>
                        <a:cubicBezTo>
                          <a:pt x="576" y="359"/>
                          <a:pt x="576" y="359"/>
                          <a:pt x="576" y="359"/>
                        </a:cubicBezTo>
                        <a:cubicBezTo>
                          <a:pt x="552" y="483"/>
                          <a:pt x="489" y="610"/>
                          <a:pt x="343" y="679"/>
                        </a:cubicBezTo>
                        <a:cubicBezTo>
                          <a:pt x="343" y="679"/>
                          <a:pt x="343" y="679"/>
                          <a:pt x="343" y="679"/>
                        </a:cubicBezTo>
                        <a:cubicBezTo>
                          <a:pt x="336" y="682"/>
                          <a:pt x="330" y="685"/>
                          <a:pt x="324" y="687"/>
                        </a:cubicBezTo>
                        <a:cubicBezTo>
                          <a:pt x="317" y="690"/>
                          <a:pt x="310" y="693"/>
                          <a:pt x="303" y="696"/>
                        </a:cubicBezTo>
                        <a:cubicBezTo>
                          <a:pt x="302" y="695"/>
                          <a:pt x="302" y="695"/>
                          <a:pt x="302" y="695"/>
                        </a:cubicBezTo>
                        <a:cubicBezTo>
                          <a:pt x="296" y="693"/>
                          <a:pt x="289" y="690"/>
                          <a:pt x="283" y="688"/>
                        </a:cubicBezTo>
                        <a:cubicBezTo>
                          <a:pt x="277" y="685"/>
                          <a:pt x="271" y="683"/>
                          <a:pt x="265" y="680"/>
                        </a:cubicBezTo>
                        <a:cubicBezTo>
                          <a:pt x="265" y="680"/>
                          <a:pt x="265" y="680"/>
                          <a:pt x="265" y="680"/>
                        </a:cubicBezTo>
                        <a:cubicBezTo>
                          <a:pt x="237" y="667"/>
                          <a:pt x="213" y="652"/>
                          <a:pt x="190" y="635"/>
                        </a:cubicBezTo>
                        <a:cubicBezTo>
                          <a:pt x="190" y="635"/>
                          <a:pt x="190" y="635"/>
                          <a:pt x="190" y="635"/>
                        </a:cubicBezTo>
                        <a:cubicBezTo>
                          <a:pt x="139" y="597"/>
                          <a:pt x="102" y="550"/>
                          <a:pt x="75" y="498"/>
                        </a:cubicBezTo>
                        <a:cubicBezTo>
                          <a:pt x="75" y="498"/>
                          <a:pt x="75" y="498"/>
                          <a:pt x="75" y="498"/>
                        </a:cubicBezTo>
                        <a:cubicBezTo>
                          <a:pt x="75" y="498"/>
                          <a:pt x="75" y="498"/>
                          <a:pt x="75" y="49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9" name="Freeform 39"/>
                  <p:cNvSpPr>
                    <a:spLocks/>
                  </p:cNvSpPr>
                  <p:nvPr/>
                </p:nvSpPr>
                <p:spPr bwMode="auto">
                  <a:xfrm>
                    <a:off x="8977313" y="500063"/>
                    <a:ext cx="849313" cy="1344613"/>
                  </a:xfrm>
                  <a:custGeom>
                    <a:avLst/>
                    <a:gdLst>
                      <a:gd name="T0" fmla="*/ 365 w 365"/>
                      <a:gd name="T1" fmla="*/ 121 h 578"/>
                      <a:gd name="T2" fmla="*/ 365 w 365"/>
                      <a:gd name="T3" fmla="*/ 111 h 578"/>
                      <a:gd name="T4" fmla="*/ 365 w 365"/>
                      <a:gd name="T5" fmla="*/ 105 h 578"/>
                      <a:gd name="T6" fmla="*/ 365 w 365"/>
                      <a:gd name="T7" fmla="*/ 105 h 578"/>
                      <a:gd name="T8" fmla="*/ 365 w 365"/>
                      <a:gd name="T9" fmla="*/ 104 h 578"/>
                      <a:gd name="T10" fmla="*/ 365 w 365"/>
                      <a:gd name="T11" fmla="*/ 103 h 578"/>
                      <a:gd name="T12" fmla="*/ 365 w 365"/>
                      <a:gd name="T13" fmla="*/ 85 h 578"/>
                      <a:gd name="T14" fmla="*/ 360 w 365"/>
                      <a:gd name="T15" fmla="*/ 5 h 578"/>
                      <a:gd name="T16" fmla="*/ 340 w 365"/>
                      <a:gd name="T17" fmla="*/ 0 h 578"/>
                      <a:gd name="T18" fmla="*/ 0 w 365"/>
                      <a:gd name="T19" fmla="*/ 540 h 578"/>
                      <a:gd name="T20" fmla="*/ 43 w 365"/>
                      <a:gd name="T21" fmla="*/ 562 h 578"/>
                      <a:gd name="T22" fmla="*/ 43 w 365"/>
                      <a:gd name="T23" fmla="*/ 563 h 578"/>
                      <a:gd name="T24" fmla="*/ 60 w 365"/>
                      <a:gd name="T25" fmla="*/ 571 h 578"/>
                      <a:gd name="T26" fmla="*/ 79 w 365"/>
                      <a:gd name="T27" fmla="*/ 578 h 578"/>
                      <a:gd name="T28" fmla="*/ 365 w 365"/>
                      <a:gd name="T29" fmla="*/ 126 h 578"/>
                      <a:gd name="T30" fmla="*/ 365 w 365"/>
                      <a:gd name="T31" fmla="*/ 126 h 578"/>
                      <a:gd name="T32" fmla="*/ 365 w 365"/>
                      <a:gd name="T33" fmla="*/ 121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5" h="578">
                        <a:moveTo>
                          <a:pt x="365" y="121"/>
                        </a:moveTo>
                        <a:cubicBezTo>
                          <a:pt x="365" y="117"/>
                          <a:pt x="365" y="114"/>
                          <a:pt x="365" y="111"/>
                        </a:cubicBezTo>
                        <a:cubicBezTo>
                          <a:pt x="365" y="109"/>
                          <a:pt x="365" y="107"/>
                          <a:pt x="365" y="105"/>
                        </a:cubicBezTo>
                        <a:cubicBezTo>
                          <a:pt x="365" y="105"/>
                          <a:pt x="365" y="105"/>
                          <a:pt x="365" y="105"/>
                        </a:cubicBezTo>
                        <a:cubicBezTo>
                          <a:pt x="365" y="105"/>
                          <a:pt x="365" y="104"/>
                          <a:pt x="365" y="104"/>
                        </a:cubicBezTo>
                        <a:cubicBezTo>
                          <a:pt x="365" y="104"/>
                          <a:pt x="365" y="103"/>
                          <a:pt x="365" y="103"/>
                        </a:cubicBezTo>
                        <a:cubicBezTo>
                          <a:pt x="365" y="97"/>
                          <a:pt x="365" y="91"/>
                          <a:pt x="365" y="85"/>
                        </a:cubicBezTo>
                        <a:cubicBezTo>
                          <a:pt x="364" y="59"/>
                          <a:pt x="363" y="31"/>
                          <a:pt x="360" y="5"/>
                        </a:cubicBezTo>
                        <a:cubicBezTo>
                          <a:pt x="353" y="4"/>
                          <a:pt x="347" y="2"/>
                          <a:pt x="340" y="0"/>
                        </a:cubicBezTo>
                        <a:cubicBezTo>
                          <a:pt x="0" y="540"/>
                          <a:pt x="0" y="540"/>
                          <a:pt x="0" y="540"/>
                        </a:cubicBezTo>
                        <a:cubicBezTo>
                          <a:pt x="14" y="548"/>
                          <a:pt x="28" y="555"/>
                          <a:pt x="43" y="562"/>
                        </a:cubicBezTo>
                        <a:cubicBezTo>
                          <a:pt x="43" y="563"/>
                          <a:pt x="43" y="563"/>
                          <a:pt x="43" y="563"/>
                        </a:cubicBezTo>
                        <a:cubicBezTo>
                          <a:pt x="49" y="565"/>
                          <a:pt x="54" y="568"/>
                          <a:pt x="60" y="571"/>
                        </a:cubicBezTo>
                        <a:cubicBezTo>
                          <a:pt x="67" y="573"/>
                          <a:pt x="73" y="576"/>
                          <a:pt x="79" y="578"/>
                        </a:cubicBezTo>
                        <a:cubicBezTo>
                          <a:pt x="365" y="126"/>
                          <a:pt x="365" y="126"/>
                          <a:pt x="365" y="126"/>
                        </a:cubicBezTo>
                        <a:cubicBezTo>
                          <a:pt x="365" y="126"/>
                          <a:pt x="365" y="126"/>
                          <a:pt x="365" y="126"/>
                        </a:cubicBezTo>
                        <a:cubicBezTo>
                          <a:pt x="365" y="124"/>
                          <a:pt x="365" y="122"/>
                          <a:pt x="365" y="121"/>
                        </a:cubicBezTo>
                        <a:close/>
                      </a:path>
                    </a:pathLst>
                  </a:custGeom>
                  <a:solidFill>
                    <a:srgbClr val="E31A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grpSp>
      <p:grpSp>
        <p:nvGrpSpPr>
          <p:cNvPr id="43" name="Group 42"/>
          <p:cNvGrpSpPr/>
          <p:nvPr/>
        </p:nvGrpSpPr>
        <p:grpSpPr>
          <a:xfrm>
            <a:off x="9903868" y="1692321"/>
            <a:ext cx="2209654" cy="1771946"/>
            <a:chOff x="4869927" y="3385642"/>
            <a:chExt cx="2603808" cy="2231329"/>
          </a:xfrm>
        </p:grpSpPr>
        <p:sp>
          <p:nvSpPr>
            <p:cNvPr id="44" name="Rectangle 43"/>
            <p:cNvSpPr/>
            <p:nvPr/>
          </p:nvSpPr>
          <p:spPr bwMode="auto">
            <a:xfrm>
              <a:off x="4869927" y="3385642"/>
              <a:ext cx="2603808" cy="2231329"/>
            </a:xfrm>
            <a:prstGeom prst="rect">
              <a:avLst/>
            </a:prstGeom>
            <a:solidFill>
              <a:srgbClr val="4343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30" rIns="0" bIns="186521" numCol="1" spcCol="0" rtlCol="0" fromWordArt="0" anchor="b" anchorCtr="0" forceAA="0" compatLnSpc="1">
              <a:prstTxWarp prst="textNoShape">
                <a:avLst/>
              </a:prstTxWarp>
              <a:noAutofit/>
            </a:bodyPr>
            <a:lstStyle/>
            <a:p>
              <a:pPr marL="0" marR="0" lvl="1" indent="0" algn="ctr" defTabSz="932290" rtl="0" eaLnBrk="1" fontAlgn="base" latinLnBrk="0" hangingPunct="1">
                <a:lnSpc>
                  <a:spcPct val="100000"/>
                </a:lnSpc>
                <a:spcBef>
                  <a:spcPct val="0"/>
                </a:spcBef>
                <a:spcAft>
                  <a:spcPct val="0"/>
                </a:spcAft>
                <a:buClrTx/>
                <a:buSzTx/>
                <a:buFontTx/>
                <a:buNone/>
                <a:tabLst/>
                <a:defRPr/>
              </a:pPr>
              <a:r>
                <a:rPr kumimoji="0" lang="en-US" sz="1836" b="0" i="0" u="none" strike="noStrike" kern="0" cap="none" spc="-51"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Administration</a:t>
              </a:r>
            </a:p>
          </p:txBody>
        </p:sp>
        <p:grpSp>
          <p:nvGrpSpPr>
            <p:cNvPr id="45" name="Group 44"/>
            <p:cNvGrpSpPr>
              <a:grpSpLocks noChangeAspect="1"/>
            </p:cNvGrpSpPr>
            <p:nvPr/>
          </p:nvGrpSpPr>
          <p:grpSpPr>
            <a:xfrm>
              <a:off x="5730198" y="3740050"/>
              <a:ext cx="925642" cy="1188720"/>
              <a:chOff x="1636715" y="3324225"/>
              <a:chExt cx="1809748" cy="2324101"/>
            </a:xfrm>
            <a:solidFill>
              <a:srgbClr val="545656"/>
            </a:solidFill>
          </p:grpSpPr>
          <p:sp>
            <p:nvSpPr>
              <p:cNvPr id="46" name="Freeform 40"/>
              <p:cNvSpPr>
                <a:spLocks/>
              </p:cNvSpPr>
              <p:nvPr/>
            </p:nvSpPr>
            <p:spPr bwMode="auto">
              <a:xfrm>
                <a:off x="1636715" y="4398962"/>
                <a:ext cx="819149" cy="1220787"/>
              </a:xfrm>
              <a:custGeom>
                <a:avLst/>
                <a:gdLst>
                  <a:gd name="T0" fmla="*/ 53 w 352"/>
                  <a:gd name="T1" fmla="*/ 0 h 525"/>
                  <a:gd name="T2" fmla="*/ 190 w 352"/>
                  <a:gd name="T3" fmla="*/ 0 h 525"/>
                  <a:gd name="T4" fmla="*/ 347 w 352"/>
                  <a:gd name="T5" fmla="*/ 511 h 525"/>
                  <a:gd name="T6" fmla="*/ 335 w 352"/>
                  <a:gd name="T7" fmla="*/ 525 h 525"/>
                  <a:gd name="T8" fmla="*/ 21 w 352"/>
                  <a:gd name="T9" fmla="*/ 525 h 525"/>
                  <a:gd name="T10" fmla="*/ 1 w 352"/>
                  <a:gd name="T11" fmla="*/ 514 h 525"/>
                  <a:gd name="T12" fmla="*/ 44 w 352"/>
                  <a:gd name="T13" fmla="*/ 18 h 525"/>
                  <a:gd name="T14" fmla="*/ 53 w 352"/>
                  <a:gd name="T15" fmla="*/ 0 h 5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2" h="525">
                    <a:moveTo>
                      <a:pt x="53" y="0"/>
                    </a:moveTo>
                    <a:cubicBezTo>
                      <a:pt x="190" y="0"/>
                      <a:pt x="190" y="0"/>
                      <a:pt x="190" y="0"/>
                    </a:cubicBezTo>
                    <a:cubicBezTo>
                      <a:pt x="347" y="511"/>
                      <a:pt x="347" y="511"/>
                      <a:pt x="347" y="511"/>
                    </a:cubicBezTo>
                    <a:cubicBezTo>
                      <a:pt x="347" y="511"/>
                      <a:pt x="352" y="523"/>
                      <a:pt x="335" y="525"/>
                    </a:cubicBezTo>
                    <a:cubicBezTo>
                      <a:pt x="21" y="525"/>
                      <a:pt x="21" y="525"/>
                      <a:pt x="21" y="525"/>
                    </a:cubicBezTo>
                    <a:cubicBezTo>
                      <a:pt x="21" y="525"/>
                      <a:pt x="2" y="522"/>
                      <a:pt x="1" y="514"/>
                    </a:cubicBezTo>
                    <a:cubicBezTo>
                      <a:pt x="0" y="505"/>
                      <a:pt x="44" y="18"/>
                      <a:pt x="44" y="18"/>
                    </a:cubicBezTo>
                    <a:cubicBezTo>
                      <a:pt x="44" y="18"/>
                      <a:pt x="42" y="7"/>
                      <a:pt x="5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7" name="Freeform 41"/>
              <p:cNvSpPr>
                <a:spLocks/>
              </p:cNvSpPr>
              <p:nvPr/>
            </p:nvSpPr>
            <p:spPr bwMode="auto">
              <a:xfrm>
                <a:off x="2336800" y="4503738"/>
                <a:ext cx="406400" cy="906463"/>
              </a:xfrm>
              <a:custGeom>
                <a:avLst/>
                <a:gdLst>
                  <a:gd name="T0" fmla="*/ 130 w 256"/>
                  <a:gd name="T1" fmla="*/ 0 h 571"/>
                  <a:gd name="T2" fmla="*/ 0 w 256"/>
                  <a:gd name="T3" fmla="*/ 94 h 571"/>
                  <a:gd name="T4" fmla="*/ 107 w 256"/>
                  <a:gd name="T5" fmla="*/ 204 h 571"/>
                  <a:gd name="T6" fmla="*/ 64 w 256"/>
                  <a:gd name="T7" fmla="*/ 378 h 571"/>
                  <a:gd name="T8" fmla="*/ 130 w 256"/>
                  <a:gd name="T9" fmla="*/ 571 h 571"/>
                  <a:gd name="T10" fmla="*/ 195 w 256"/>
                  <a:gd name="T11" fmla="*/ 375 h 571"/>
                  <a:gd name="T12" fmla="*/ 155 w 256"/>
                  <a:gd name="T13" fmla="*/ 204 h 571"/>
                  <a:gd name="T14" fmla="*/ 256 w 256"/>
                  <a:gd name="T15" fmla="*/ 95 h 571"/>
                  <a:gd name="T16" fmla="*/ 130 w 256"/>
                  <a:gd name="T17" fmla="*/ 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571">
                    <a:moveTo>
                      <a:pt x="130" y="0"/>
                    </a:moveTo>
                    <a:lnTo>
                      <a:pt x="0" y="94"/>
                    </a:lnTo>
                    <a:lnTo>
                      <a:pt x="107" y="204"/>
                    </a:lnTo>
                    <a:lnTo>
                      <a:pt x="64" y="378"/>
                    </a:lnTo>
                    <a:lnTo>
                      <a:pt x="130" y="571"/>
                    </a:lnTo>
                    <a:lnTo>
                      <a:pt x="195" y="375"/>
                    </a:lnTo>
                    <a:lnTo>
                      <a:pt x="155" y="204"/>
                    </a:lnTo>
                    <a:lnTo>
                      <a:pt x="256" y="95"/>
                    </a:lnTo>
                    <a:lnTo>
                      <a:pt x="130" y="0"/>
                    </a:lnTo>
                    <a:close/>
                  </a:path>
                </a:pathLst>
              </a:custGeom>
              <a:solidFill>
                <a:srgbClr val="E31A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8" name="Oval 42"/>
              <p:cNvSpPr>
                <a:spLocks noChangeArrowheads="1"/>
              </p:cNvSpPr>
              <p:nvPr/>
            </p:nvSpPr>
            <p:spPr bwMode="auto">
              <a:xfrm>
                <a:off x="2030412" y="3324225"/>
                <a:ext cx="1020763" cy="101917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9" name="Freeform 43"/>
              <p:cNvSpPr>
                <a:spLocks noEditPoints="1"/>
              </p:cNvSpPr>
              <p:nvPr/>
            </p:nvSpPr>
            <p:spPr bwMode="auto">
              <a:xfrm>
                <a:off x="2627314" y="4424364"/>
                <a:ext cx="819149" cy="1223962"/>
              </a:xfrm>
              <a:custGeom>
                <a:avLst/>
                <a:gdLst>
                  <a:gd name="T0" fmla="*/ 309 w 352"/>
                  <a:gd name="T1" fmla="*/ 19 h 526"/>
                  <a:gd name="T2" fmla="*/ 300 w 352"/>
                  <a:gd name="T3" fmla="*/ 0 h 526"/>
                  <a:gd name="T4" fmla="*/ 162 w 352"/>
                  <a:gd name="T5" fmla="*/ 0 h 526"/>
                  <a:gd name="T6" fmla="*/ 5 w 352"/>
                  <a:gd name="T7" fmla="*/ 512 h 526"/>
                  <a:gd name="T8" fmla="*/ 18 w 352"/>
                  <a:gd name="T9" fmla="*/ 526 h 526"/>
                  <a:gd name="T10" fmla="*/ 332 w 352"/>
                  <a:gd name="T11" fmla="*/ 526 h 526"/>
                  <a:gd name="T12" fmla="*/ 351 w 352"/>
                  <a:gd name="T13" fmla="*/ 514 h 526"/>
                  <a:gd name="T14" fmla="*/ 309 w 352"/>
                  <a:gd name="T15" fmla="*/ 19 h 526"/>
                  <a:gd name="T16" fmla="*/ 285 w 352"/>
                  <a:gd name="T17" fmla="*/ 284 h 526"/>
                  <a:gd name="T18" fmla="*/ 268 w 352"/>
                  <a:gd name="T19" fmla="*/ 301 h 526"/>
                  <a:gd name="T20" fmla="*/ 151 w 352"/>
                  <a:gd name="T21" fmla="*/ 301 h 526"/>
                  <a:gd name="T22" fmla="*/ 133 w 352"/>
                  <a:gd name="T23" fmla="*/ 284 h 526"/>
                  <a:gd name="T24" fmla="*/ 133 w 352"/>
                  <a:gd name="T25" fmla="*/ 283 h 526"/>
                  <a:gd name="T26" fmla="*/ 151 w 352"/>
                  <a:gd name="T27" fmla="*/ 265 h 526"/>
                  <a:gd name="T28" fmla="*/ 195 w 352"/>
                  <a:gd name="T29" fmla="*/ 265 h 526"/>
                  <a:gd name="T30" fmla="*/ 195 w 352"/>
                  <a:gd name="T31" fmla="*/ 233 h 526"/>
                  <a:gd name="T32" fmla="*/ 209 w 352"/>
                  <a:gd name="T33" fmla="*/ 218 h 526"/>
                  <a:gd name="T34" fmla="*/ 224 w 352"/>
                  <a:gd name="T35" fmla="*/ 233 h 526"/>
                  <a:gd name="T36" fmla="*/ 224 w 352"/>
                  <a:gd name="T37" fmla="*/ 265 h 526"/>
                  <a:gd name="T38" fmla="*/ 268 w 352"/>
                  <a:gd name="T39" fmla="*/ 265 h 526"/>
                  <a:gd name="T40" fmla="*/ 285 w 352"/>
                  <a:gd name="T41" fmla="*/ 283 h 526"/>
                  <a:gd name="T42" fmla="*/ 285 w 352"/>
                  <a:gd name="T43" fmla="*/ 284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2" h="526">
                    <a:moveTo>
                      <a:pt x="309" y="19"/>
                    </a:moveTo>
                    <a:cubicBezTo>
                      <a:pt x="309" y="19"/>
                      <a:pt x="310" y="8"/>
                      <a:pt x="300" y="0"/>
                    </a:cubicBezTo>
                    <a:cubicBezTo>
                      <a:pt x="162" y="0"/>
                      <a:pt x="162" y="0"/>
                      <a:pt x="162" y="0"/>
                    </a:cubicBezTo>
                    <a:cubicBezTo>
                      <a:pt x="5" y="512"/>
                      <a:pt x="5" y="512"/>
                      <a:pt x="5" y="512"/>
                    </a:cubicBezTo>
                    <a:cubicBezTo>
                      <a:pt x="5" y="512"/>
                      <a:pt x="0" y="523"/>
                      <a:pt x="18" y="526"/>
                    </a:cubicBezTo>
                    <a:cubicBezTo>
                      <a:pt x="332" y="526"/>
                      <a:pt x="332" y="526"/>
                      <a:pt x="332" y="526"/>
                    </a:cubicBezTo>
                    <a:cubicBezTo>
                      <a:pt x="332" y="526"/>
                      <a:pt x="350" y="522"/>
                      <a:pt x="351" y="514"/>
                    </a:cubicBezTo>
                    <a:cubicBezTo>
                      <a:pt x="352" y="506"/>
                      <a:pt x="309" y="19"/>
                      <a:pt x="309" y="19"/>
                    </a:cubicBezTo>
                    <a:close/>
                    <a:moveTo>
                      <a:pt x="285" y="284"/>
                    </a:moveTo>
                    <a:cubicBezTo>
                      <a:pt x="285" y="293"/>
                      <a:pt x="277" y="301"/>
                      <a:pt x="268" y="301"/>
                    </a:cubicBezTo>
                    <a:cubicBezTo>
                      <a:pt x="151" y="301"/>
                      <a:pt x="151" y="301"/>
                      <a:pt x="151" y="301"/>
                    </a:cubicBezTo>
                    <a:cubicBezTo>
                      <a:pt x="141" y="301"/>
                      <a:pt x="133" y="293"/>
                      <a:pt x="133" y="284"/>
                    </a:cubicBezTo>
                    <a:cubicBezTo>
                      <a:pt x="133" y="283"/>
                      <a:pt x="133" y="283"/>
                      <a:pt x="133" y="283"/>
                    </a:cubicBezTo>
                    <a:cubicBezTo>
                      <a:pt x="133" y="273"/>
                      <a:pt x="141" y="265"/>
                      <a:pt x="151" y="265"/>
                    </a:cubicBezTo>
                    <a:cubicBezTo>
                      <a:pt x="195" y="265"/>
                      <a:pt x="195" y="265"/>
                      <a:pt x="195" y="265"/>
                    </a:cubicBezTo>
                    <a:cubicBezTo>
                      <a:pt x="195" y="233"/>
                      <a:pt x="195" y="233"/>
                      <a:pt x="195" y="233"/>
                    </a:cubicBezTo>
                    <a:cubicBezTo>
                      <a:pt x="195" y="225"/>
                      <a:pt x="201" y="218"/>
                      <a:pt x="209" y="218"/>
                    </a:cubicBezTo>
                    <a:cubicBezTo>
                      <a:pt x="217" y="218"/>
                      <a:pt x="224" y="225"/>
                      <a:pt x="224" y="233"/>
                    </a:cubicBezTo>
                    <a:cubicBezTo>
                      <a:pt x="224" y="265"/>
                      <a:pt x="224" y="265"/>
                      <a:pt x="224" y="265"/>
                    </a:cubicBezTo>
                    <a:cubicBezTo>
                      <a:pt x="268" y="265"/>
                      <a:pt x="268" y="265"/>
                      <a:pt x="268" y="265"/>
                    </a:cubicBezTo>
                    <a:cubicBezTo>
                      <a:pt x="277" y="265"/>
                      <a:pt x="285" y="273"/>
                      <a:pt x="285" y="283"/>
                    </a:cubicBezTo>
                    <a:lnTo>
                      <a:pt x="285" y="2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6" name="Group 5"/>
          <p:cNvGrpSpPr/>
          <p:nvPr/>
        </p:nvGrpSpPr>
        <p:grpSpPr>
          <a:xfrm>
            <a:off x="7606355" y="3571132"/>
            <a:ext cx="2209654" cy="1771946"/>
            <a:chOff x="6741182" y="3127858"/>
            <a:chExt cx="2468880" cy="2115702"/>
          </a:xfrm>
        </p:grpSpPr>
        <p:sp>
          <p:nvSpPr>
            <p:cNvPr id="65" name="Rectangle 64"/>
            <p:cNvSpPr/>
            <p:nvPr/>
          </p:nvSpPr>
          <p:spPr bwMode="auto">
            <a:xfrm>
              <a:off x="6741182" y="3127858"/>
              <a:ext cx="2468880" cy="2115702"/>
            </a:xfrm>
            <a:prstGeom prst="rect">
              <a:avLst/>
            </a:prstGeom>
            <a:solidFill>
              <a:srgbClr val="4343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30" rIns="0" bIns="186521" numCol="1" spcCol="0" rtlCol="0" fromWordArt="0" anchor="b" anchorCtr="0" forceAA="0" compatLnSpc="1">
              <a:prstTxWarp prst="textNoShape">
                <a:avLst/>
              </a:prstTxWarp>
              <a:noAutofit/>
            </a:bodyPr>
            <a:lstStyle/>
            <a:p>
              <a:pPr marL="0" marR="0" lvl="1" indent="0" algn="ctr" defTabSz="932290" rtl="0" eaLnBrk="1" fontAlgn="base" latinLnBrk="0" hangingPunct="1">
                <a:lnSpc>
                  <a:spcPct val="100000"/>
                </a:lnSpc>
                <a:spcBef>
                  <a:spcPct val="0"/>
                </a:spcBef>
                <a:spcAft>
                  <a:spcPct val="0"/>
                </a:spcAft>
                <a:buClrTx/>
                <a:buSzTx/>
                <a:buFontTx/>
                <a:buNone/>
                <a:tabLst/>
                <a:defRPr/>
              </a:pPr>
              <a:r>
                <a:rPr kumimoji="0" lang="en-US" sz="1836" b="0" i="0" u="none" strike="noStrike" kern="0" cap="none" spc="-51"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Policy Enforcement</a:t>
              </a:r>
            </a:p>
          </p:txBody>
        </p:sp>
        <p:pic>
          <p:nvPicPr>
            <p:cNvPr id="75" name="Picture 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69156" y="3240760"/>
              <a:ext cx="1002173" cy="1150822"/>
            </a:xfrm>
            <a:prstGeom prst="rect">
              <a:avLst/>
            </a:prstGeom>
            <a:noFill/>
          </p:spPr>
        </p:pic>
      </p:grpSp>
    </p:spTree>
    <p:extLst>
      <p:ext uri="{BB962C8B-B14F-4D97-AF65-F5344CB8AC3E}">
        <p14:creationId xmlns:p14="http://schemas.microsoft.com/office/powerpoint/2010/main" val="3191675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82" y="-1"/>
            <a:ext cx="12417350" cy="6994525"/>
          </a:xfrm>
          <a:prstGeom prst="rect">
            <a:avLst/>
          </a:prstGeom>
        </p:spPr>
      </p:pic>
      <p:sp>
        <p:nvSpPr>
          <p:cNvPr id="8" name="TextBox 7"/>
          <p:cNvSpPr txBox="1"/>
          <p:nvPr/>
        </p:nvSpPr>
        <p:spPr>
          <a:xfrm>
            <a:off x="630401" y="519046"/>
            <a:ext cx="6255772" cy="2014999"/>
          </a:xfrm>
          <a:prstGeom prst="rect">
            <a:avLst/>
          </a:prstGeom>
          <a:noFill/>
        </p:spPr>
        <p:txBody>
          <a:bodyPr wrap="none" rtlCol="0">
            <a:spAutoFit/>
          </a:bodyPr>
          <a:lstStyle/>
          <a:p>
            <a:pPr defTabSz="932597"/>
            <a:r>
              <a:rPr lang="en-US" sz="6119" dirty="0">
                <a:solidFill>
                  <a:prstClr val="white"/>
                </a:solidFill>
                <a:latin typeface="Segoe UI" panose="020B0502040204020203" pitchFamily="34" charset="0"/>
                <a:cs typeface="Segoe UI" panose="020B0502040204020203" pitchFamily="34" charset="0"/>
              </a:rPr>
              <a:t>Intelligent Cloud </a:t>
            </a:r>
          </a:p>
          <a:p>
            <a:pPr defTabSz="932597"/>
            <a:r>
              <a:rPr lang="en-US" sz="6119" dirty="0">
                <a:solidFill>
                  <a:prstClr val="white"/>
                </a:solidFill>
                <a:latin typeface="Segoe UI" panose="020B0502040204020203" pitchFamily="34" charset="0"/>
                <a:cs typeface="Segoe UI" panose="020B0502040204020203" pitchFamily="34" charset="0"/>
              </a:rPr>
              <a:t>and Analytics</a:t>
            </a:r>
          </a:p>
        </p:txBody>
      </p:sp>
      <p:sp>
        <p:nvSpPr>
          <p:cNvPr id="9" name="TextBox 8"/>
          <p:cNvSpPr txBox="1"/>
          <p:nvPr/>
        </p:nvSpPr>
        <p:spPr>
          <a:xfrm>
            <a:off x="630400" y="4993277"/>
            <a:ext cx="6724070" cy="1887214"/>
          </a:xfrm>
          <a:prstGeom prst="rect">
            <a:avLst/>
          </a:prstGeom>
          <a:noFill/>
        </p:spPr>
        <p:txBody>
          <a:bodyPr wrap="square" rtlCol="0">
            <a:spAutoFit/>
          </a:bodyPr>
          <a:lstStyle/>
          <a:p>
            <a:pPr defTabSz="932597"/>
            <a:r>
              <a:rPr lang="en-US" sz="3264" dirty="0">
                <a:solidFill>
                  <a:prstClr val="white"/>
                </a:solidFill>
                <a:latin typeface="Segoe UI" panose="020B0502040204020203" pitchFamily="34" charset="0"/>
                <a:cs typeface="Segoe UI" panose="020B0502040204020203" pitchFamily="34" charset="0"/>
              </a:rPr>
              <a:t>Jeff Bednarczyk </a:t>
            </a:r>
            <a:br>
              <a:rPr lang="en-US" sz="3264" dirty="0">
                <a:solidFill>
                  <a:prstClr val="black"/>
                </a:solidFill>
                <a:latin typeface="Segoe UI" panose="020B0502040204020203" pitchFamily="34" charset="0"/>
                <a:cs typeface="Segoe UI" panose="020B0502040204020203" pitchFamily="34" charset="0"/>
              </a:rPr>
            </a:br>
            <a:r>
              <a:rPr lang="en-US" sz="2448" dirty="0">
                <a:solidFill>
                  <a:prstClr val="white">
                    <a:lumMod val="85000"/>
                  </a:prstClr>
                </a:solidFill>
                <a:latin typeface="Segoe UI" panose="020B0502040204020203" pitchFamily="34" charset="0"/>
                <a:cs typeface="Segoe UI" panose="020B0502040204020203" pitchFamily="34" charset="0"/>
              </a:rPr>
              <a:t>Principal Solution Specialist-  App Plat</a:t>
            </a:r>
          </a:p>
          <a:p>
            <a:pPr defTabSz="932597"/>
            <a:r>
              <a:rPr lang="en-US" sz="3264" dirty="0">
                <a:solidFill>
                  <a:prstClr val="white"/>
                </a:solidFill>
                <a:latin typeface="Segoe UI" panose="020B0502040204020203" pitchFamily="34" charset="0"/>
                <a:cs typeface="Segoe UI" panose="020B0502040204020203" pitchFamily="34" charset="0"/>
              </a:rPr>
              <a:t>Ken Hausman</a:t>
            </a:r>
          </a:p>
          <a:p>
            <a:pPr defTabSz="932597"/>
            <a:r>
              <a:rPr lang="en-US" sz="2448" dirty="0">
                <a:solidFill>
                  <a:prstClr val="white">
                    <a:lumMod val="85000"/>
                  </a:prstClr>
                </a:solidFill>
                <a:latin typeface="Segoe UI" panose="020B0502040204020203" pitchFamily="34" charset="0"/>
                <a:cs typeface="Segoe UI" panose="020B0502040204020203" pitchFamily="34" charset="0"/>
              </a:rPr>
              <a:t>Data Platform Solution Architect</a:t>
            </a:r>
          </a:p>
        </p:txBody>
      </p:sp>
    </p:spTree>
    <p:extLst>
      <p:ext uri="{BB962C8B-B14F-4D97-AF65-F5344CB8AC3E}">
        <p14:creationId xmlns:p14="http://schemas.microsoft.com/office/powerpoint/2010/main" val="1313397097"/>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1670" y="6661173"/>
            <a:ext cx="11373923" cy="288137"/>
          </a:xfrm>
        </p:spPr>
        <p:txBody>
          <a:bodyPr/>
          <a:lstStyle/>
          <a:p>
            <a:r>
              <a:rPr lang="en-US" sz="2040" dirty="0"/>
              <a:t>https://azure.microsoft.com/en-us/marketplace/partners/avepoint/avepoint-compliance-guardian</a:t>
            </a:r>
            <a:endParaRPr lang="en-US" dirty="0"/>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61670" y="995937"/>
            <a:ext cx="9846735" cy="5536084"/>
          </a:xfrm>
          <a:prstGeom prst="rect">
            <a:avLst/>
          </a:prstGeom>
        </p:spPr>
      </p:pic>
      <p:sp>
        <p:nvSpPr>
          <p:cNvPr id="5" name="Title 2"/>
          <p:cNvSpPr txBox="1">
            <a:spLocks/>
          </p:cNvSpPr>
          <p:nvPr/>
        </p:nvSpPr>
        <p:spPr>
          <a:xfrm>
            <a:off x="530466" y="233152"/>
            <a:ext cx="11778152" cy="777893"/>
          </a:xfrm>
          <a:prstGeom prst="rect">
            <a:avLst/>
          </a:prstGeom>
        </p:spPr>
        <p:txBody>
          <a:bodyPr vert="horz" wrap="square" lIns="0" tIns="0" rIns="0" bIns="0" rtlCol="0" anchor="t">
            <a:spAutoFit/>
          </a:bodyPr>
          <a:lstStyle>
            <a:lvl1pPr algn="l" defTabSz="914340" rtl="0" eaLnBrk="1" latinLnBrk="0" hangingPunct="1">
              <a:lnSpc>
                <a:spcPct val="90000"/>
              </a:lnSpc>
              <a:spcBef>
                <a:spcPct val="0"/>
              </a:spcBef>
              <a:buNone/>
              <a:defRPr kumimoji="0" lang="en-US" sz="5400" b="0" i="0" u="none" strike="noStrike" kern="1200" cap="none" spc="-100" normalizeH="0" baseline="0" noProof="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panose="020B0502040204020203" pitchFamily="34" charset="0"/>
                <a:ea typeface="+mn-ea"/>
                <a:cs typeface="Segoe UI" panose="020B0502040204020203" pitchFamily="34" charset="0"/>
              </a:defRPr>
            </a:lvl1pPr>
          </a:lstStyle>
          <a:p>
            <a:pPr marL="0" marR="0" lvl="0" indent="0" algn="l" defTabSz="932535" rtl="0" eaLnBrk="1" fontAlgn="auto" latinLnBrk="0" hangingPunct="1">
              <a:lnSpc>
                <a:spcPct val="90000"/>
              </a:lnSpc>
              <a:spcBef>
                <a:spcPct val="0"/>
              </a:spcBef>
              <a:spcAft>
                <a:spcPts val="0"/>
              </a:spcAft>
              <a:buClrTx/>
              <a:buSzTx/>
              <a:buFontTx/>
              <a:buNone/>
              <a:tabLst/>
              <a:defRPr/>
            </a:pPr>
            <a:r>
              <a:rPr kumimoji="0" lang="en-US" sz="5507" b="0" i="0" u="none" strike="noStrike" kern="1200" cap="none" spc="-102"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panose="020B0502040204020203" pitchFamily="34" charset="0"/>
                <a:ea typeface="+mn-ea"/>
                <a:cs typeface="Segoe UI" panose="020B0502040204020203" pitchFamily="34" charset="0"/>
              </a:rPr>
              <a:t>AvePoint Azure </a:t>
            </a:r>
            <a:r>
              <a:rPr kumimoji="0" lang="en-US" sz="5507" b="0" i="0" u="none" strike="noStrike" kern="1200" cap="none" spc="-102" normalizeH="0" baseline="0" noProof="0" dirty="0" err="1">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panose="020B0502040204020203" pitchFamily="34" charset="0"/>
                <a:ea typeface="+mn-ea"/>
                <a:cs typeface="Segoe UI" panose="020B0502040204020203" pitchFamily="34" charset="0"/>
              </a:rPr>
              <a:t>Gov</a:t>
            </a:r>
            <a:r>
              <a:rPr kumimoji="0" lang="en-US" sz="5507" b="0" i="0" u="none" strike="noStrike" kern="1200" cap="none" spc="-102"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panose="020B0502040204020203" pitchFamily="34" charset="0"/>
                <a:ea typeface="+mn-ea"/>
                <a:cs typeface="Segoe UI" panose="020B0502040204020203" pitchFamily="34" charset="0"/>
              </a:rPr>
              <a:t> Marketplace</a:t>
            </a:r>
          </a:p>
        </p:txBody>
      </p:sp>
    </p:spTree>
    <p:extLst>
      <p:ext uri="{BB962C8B-B14F-4D97-AF65-F5344CB8AC3E}">
        <p14:creationId xmlns:p14="http://schemas.microsoft.com/office/powerpoint/2010/main" val="1010622474"/>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661475" y="1048806"/>
            <a:ext cx="11074665" cy="259298"/>
          </a:xfrm>
          <a:prstGeom prst="rect">
            <a:avLst/>
          </a:prstGeom>
          <a:noFill/>
        </p:spPr>
        <p:txBody>
          <a:bodyPr wrap="square" lIns="0" tIns="0" rIns="0" bIns="0" rtlCol="0" anchor="t" anchorCtr="0">
            <a:spAutoFit/>
          </a:bodyPr>
          <a:lstStyle/>
          <a:p>
            <a:pPr marL="0" marR="0" lvl="0" indent="0" algn="ctr" defTabSz="783248" rtl="0" eaLnBrk="1" fontAlgn="auto" latinLnBrk="0" hangingPunct="1">
              <a:lnSpc>
                <a:spcPct val="90000"/>
              </a:lnSpc>
              <a:spcBef>
                <a:spcPts val="0"/>
              </a:spcBef>
              <a:spcAft>
                <a:spcPts val="612"/>
              </a:spcAft>
              <a:buClrTx/>
              <a:buSzTx/>
              <a:buFontTx/>
              <a:buNone/>
              <a:tabLst/>
              <a:defRPr/>
            </a:pPr>
            <a:r>
              <a:rPr kumimoji="0" lang="en-US" sz="1836" b="1" i="0" u="none" strike="noStrike" kern="0" cap="none" spc="0" normalizeH="0" baseline="0" noProof="0" dirty="0">
                <a:ln>
                  <a:noFill/>
                </a:ln>
                <a:solidFill>
                  <a:srgbClr val="FFFFFF">
                    <a:lumMod val="50000"/>
                  </a:srgbClr>
                </a:solidFill>
                <a:effectLst/>
                <a:uLnTx/>
                <a:uFillTx/>
                <a:latin typeface="Segoe UI"/>
                <a:ea typeface="+mn-ea"/>
                <a:cs typeface="Arial" panose="020B0604020202020204" pitchFamily="34" charset="0"/>
              </a:rPr>
              <a:t>For Customers</a:t>
            </a:r>
          </a:p>
        </p:txBody>
      </p:sp>
      <p:sp>
        <p:nvSpPr>
          <p:cNvPr id="22" name="Rectangle 21"/>
          <p:cNvSpPr/>
          <p:nvPr/>
        </p:nvSpPr>
        <p:spPr bwMode="auto">
          <a:xfrm rot="5400000">
            <a:off x="4703620" y="-1203748"/>
            <a:ext cx="3030962" cy="12432986"/>
          </a:xfrm>
          <a:prstGeom prst="rect">
            <a:avLst/>
          </a:prstGeom>
          <a:solidFill>
            <a:srgbClr val="E31A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B2B2B2"/>
              </a:solidFill>
              <a:effectLst/>
              <a:uLnTx/>
              <a:uFillTx/>
              <a:latin typeface="Segoe UI"/>
              <a:ea typeface="Segoe UI" pitchFamily="34" charset="0"/>
              <a:cs typeface="Segoe UI" pitchFamily="34" charset="0"/>
            </a:endParaRPr>
          </a:p>
        </p:txBody>
      </p:sp>
      <p:sp>
        <p:nvSpPr>
          <p:cNvPr id="31" name="TextBox 30"/>
          <p:cNvSpPr txBox="1"/>
          <p:nvPr/>
        </p:nvSpPr>
        <p:spPr>
          <a:xfrm>
            <a:off x="661475" y="3742211"/>
            <a:ext cx="11074665" cy="262531"/>
          </a:xfrm>
          <a:prstGeom prst="rect">
            <a:avLst/>
          </a:prstGeom>
          <a:noFill/>
        </p:spPr>
        <p:txBody>
          <a:bodyPr wrap="square" lIns="0" tIns="0" rIns="0" bIns="0" rtlCol="0" anchor="t" anchorCtr="0">
            <a:spAutoFit/>
          </a:bodyPr>
          <a:lstStyle/>
          <a:p>
            <a:pPr marL="0" marR="0" lvl="0" indent="0" algn="ctr" defTabSz="932563" rtl="0" eaLnBrk="1" fontAlgn="auto" latinLnBrk="0" hangingPunct="1">
              <a:lnSpc>
                <a:spcPct val="90000"/>
              </a:lnSpc>
              <a:spcBef>
                <a:spcPts val="0"/>
              </a:spcBef>
              <a:spcAft>
                <a:spcPts val="612"/>
              </a:spcAft>
              <a:buClrTx/>
              <a:buSzTx/>
              <a:buFontTx/>
              <a:buNone/>
              <a:tabLst/>
              <a:defRPr/>
            </a:pPr>
            <a:r>
              <a:rPr kumimoji="0" lang="en-US" sz="1836" b="1" i="0" u="none" strike="noStrike" kern="0" cap="none" spc="0" normalizeH="0" baseline="0" noProof="0" dirty="0">
                <a:ln>
                  <a:noFill/>
                </a:ln>
                <a:solidFill>
                  <a:srgbClr val="FFFFFF"/>
                </a:solidFill>
                <a:effectLst/>
                <a:uLnTx/>
                <a:uFillTx/>
                <a:latin typeface="Segoe UI"/>
                <a:ea typeface="+mn-ea"/>
                <a:cs typeface="Arial" panose="020B0604020202020204" pitchFamily="34" charset="0"/>
              </a:rPr>
              <a:t>For Microsoft Field</a:t>
            </a:r>
          </a:p>
        </p:txBody>
      </p:sp>
      <p:grpSp>
        <p:nvGrpSpPr>
          <p:cNvPr id="45" name="Group 44"/>
          <p:cNvGrpSpPr/>
          <p:nvPr/>
        </p:nvGrpSpPr>
        <p:grpSpPr>
          <a:xfrm>
            <a:off x="2852068" y="4466768"/>
            <a:ext cx="284402" cy="304012"/>
            <a:chOff x="1954568" y="2743200"/>
            <a:chExt cx="518746" cy="518746"/>
          </a:xfrm>
          <a:solidFill>
            <a:schemeClr val="tx1">
              <a:lumMod val="20000"/>
              <a:lumOff val="80000"/>
            </a:schemeClr>
          </a:solidFill>
        </p:grpSpPr>
        <p:sp>
          <p:nvSpPr>
            <p:cNvPr id="46" name="Rectangle 45"/>
            <p:cNvSpPr/>
            <p:nvPr/>
          </p:nvSpPr>
          <p:spPr bwMode="auto">
            <a:xfrm>
              <a:off x="2124575" y="2743200"/>
              <a:ext cx="178732" cy="5187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ectangle 46"/>
            <p:cNvSpPr/>
            <p:nvPr/>
          </p:nvSpPr>
          <p:spPr bwMode="auto">
            <a:xfrm rot="16200000">
              <a:off x="2124575" y="2743201"/>
              <a:ext cx="178732" cy="5187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8" name="Group 47"/>
          <p:cNvGrpSpPr/>
          <p:nvPr/>
        </p:nvGrpSpPr>
        <p:grpSpPr>
          <a:xfrm>
            <a:off x="5845876" y="4466768"/>
            <a:ext cx="284402" cy="304012"/>
            <a:chOff x="1954568" y="2743200"/>
            <a:chExt cx="518746" cy="518746"/>
          </a:xfrm>
          <a:solidFill>
            <a:schemeClr val="tx1">
              <a:lumMod val="20000"/>
              <a:lumOff val="80000"/>
            </a:schemeClr>
          </a:solidFill>
        </p:grpSpPr>
        <p:sp>
          <p:nvSpPr>
            <p:cNvPr id="49" name="Rectangle 48"/>
            <p:cNvSpPr/>
            <p:nvPr/>
          </p:nvSpPr>
          <p:spPr bwMode="auto">
            <a:xfrm>
              <a:off x="2124575" y="2743200"/>
              <a:ext cx="178732" cy="5187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p:cNvSpPr/>
            <p:nvPr/>
          </p:nvSpPr>
          <p:spPr bwMode="auto">
            <a:xfrm rot="16200000">
              <a:off x="2124575" y="2743201"/>
              <a:ext cx="178732" cy="5187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4" name="Group 53"/>
          <p:cNvGrpSpPr/>
          <p:nvPr/>
        </p:nvGrpSpPr>
        <p:grpSpPr>
          <a:xfrm>
            <a:off x="8683659" y="4513344"/>
            <a:ext cx="218650" cy="210861"/>
            <a:chOff x="6614703" y="2693262"/>
            <a:chExt cx="290146" cy="245037"/>
          </a:xfrm>
          <a:solidFill>
            <a:schemeClr val="tx1">
              <a:lumMod val="20000"/>
              <a:lumOff val="80000"/>
            </a:schemeClr>
          </a:solidFill>
        </p:grpSpPr>
        <p:sp>
          <p:nvSpPr>
            <p:cNvPr id="56" name="Rectangle 55"/>
            <p:cNvSpPr/>
            <p:nvPr/>
          </p:nvSpPr>
          <p:spPr bwMode="auto">
            <a:xfrm rot="16200000">
              <a:off x="6709791" y="2598174"/>
              <a:ext cx="99969" cy="2901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Rectangle 56"/>
            <p:cNvSpPr/>
            <p:nvPr/>
          </p:nvSpPr>
          <p:spPr bwMode="auto">
            <a:xfrm rot="16200000">
              <a:off x="6709791" y="2743242"/>
              <a:ext cx="99969" cy="2901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3" name="TextBox 52"/>
          <p:cNvSpPr txBox="1"/>
          <p:nvPr/>
        </p:nvSpPr>
        <p:spPr>
          <a:xfrm>
            <a:off x="3347316" y="5034160"/>
            <a:ext cx="2558013" cy="755723"/>
          </a:xfrm>
          <a:prstGeom prst="rect">
            <a:avLst/>
          </a:prstGeom>
          <a:noFill/>
        </p:spPr>
        <p:txBody>
          <a:bodyPr wrap="square" lIns="0" tIns="0" rIns="0" bIns="0" rtlCol="0" anchor="t" anchorCtr="0">
            <a:spAutoFit/>
          </a:bodyPr>
          <a:lstStyle/>
          <a:p>
            <a:pPr marL="0" marR="0" lvl="0" indent="0" algn="l" defTabSz="932563" rtl="0" eaLnBrk="1" fontAlgn="auto" latinLnBrk="0" hangingPunct="1">
              <a:lnSpc>
                <a:spcPct val="90000"/>
              </a:lnSpc>
              <a:spcBef>
                <a:spcPts val="0"/>
              </a:spcBef>
              <a:spcAft>
                <a:spcPts val="612"/>
              </a:spcAft>
              <a:buClrTx/>
              <a:buSzTx/>
              <a:buFontTx/>
              <a:buNone/>
              <a:tabLst/>
              <a:defRPr/>
            </a:pPr>
            <a:r>
              <a:rPr kumimoji="0" lang="en-US" sz="1428" b="1" i="0" u="none" strike="noStrike" kern="0" cap="none" spc="0" normalizeH="0" baseline="0" noProof="0" dirty="0">
                <a:ln>
                  <a:noFill/>
                </a:ln>
                <a:solidFill>
                  <a:srgbClr val="FFFFFF"/>
                </a:solidFill>
                <a:effectLst/>
                <a:uLnTx/>
                <a:uFillTx/>
                <a:latin typeface="Segoe UI"/>
                <a:ea typeface="+mn-ea"/>
                <a:cs typeface="Arial" panose="020B0604020202020204" pitchFamily="34" charset="0"/>
              </a:rPr>
              <a:t>End-to-end risk management</a:t>
            </a:r>
          </a:p>
          <a:p>
            <a:pPr marL="0" marR="0" lvl="0" indent="0" algn="l" defTabSz="932563" rtl="0" eaLnBrk="1" fontAlgn="auto" latinLnBrk="0" hangingPunct="1">
              <a:lnSpc>
                <a:spcPct val="90000"/>
              </a:lnSpc>
              <a:spcBef>
                <a:spcPts val="0"/>
              </a:spcBef>
              <a:spcAft>
                <a:spcPts val="612"/>
              </a:spcAft>
              <a:buClrTx/>
              <a:buSzTx/>
              <a:buFontTx/>
              <a:buNone/>
              <a:tabLst/>
              <a:defRPr/>
            </a:pPr>
            <a:r>
              <a:rPr kumimoji="0" lang="en-US" sz="1122" b="0" i="0" u="none" strike="noStrike" kern="0" cap="none" spc="0" normalizeH="0" baseline="0" noProof="0" dirty="0">
                <a:ln>
                  <a:noFill/>
                </a:ln>
                <a:solidFill>
                  <a:srgbClr val="FFFFFF"/>
                </a:solidFill>
                <a:effectLst/>
                <a:uLnTx/>
                <a:uFillTx/>
                <a:latin typeface="Segoe UI"/>
                <a:ea typeface="+mn-ea"/>
                <a:cs typeface="Arial" panose="020B0604020202020204" pitchFamily="34" charset="0"/>
              </a:rPr>
              <a:t>Amplify compliance benefits with Compliance Guardian's monitoring and management capabilities</a:t>
            </a:r>
          </a:p>
        </p:txBody>
      </p:sp>
      <p:sp>
        <p:nvSpPr>
          <p:cNvPr id="63" name="TextBox 62"/>
          <p:cNvSpPr txBox="1"/>
          <p:nvPr/>
        </p:nvSpPr>
        <p:spPr>
          <a:xfrm>
            <a:off x="9151629" y="2212064"/>
            <a:ext cx="2370367" cy="1063910"/>
          </a:xfrm>
          <a:prstGeom prst="rect">
            <a:avLst/>
          </a:prstGeom>
          <a:noFill/>
        </p:spPr>
        <p:txBody>
          <a:bodyPr wrap="square" lIns="0" tIns="0" rIns="0" bIns="0" rtlCol="0" anchor="t" anchorCtr="0">
            <a:noAutofit/>
          </a:bodyPr>
          <a:lstStyle/>
          <a:p>
            <a:pPr marL="0" marR="0" lvl="0" indent="0" algn="l" defTabSz="932563" rtl="0" eaLnBrk="1" fontAlgn="auto" latinLnBrk="0" hangingPunct="1">
              <a:lnSpc>
                <a:spcPct val="90000"/>
              </a:lnSpc>
              <a:spcBef>
                <a:spcPts val="0"/>
              </a:spcBef>
              <a:spcAft>
                <a:spcPts val="612"/>
              </a:spcAft>
              <a:buClrTx/>
              <a:buSzTx/>
              <a:buFontTx/>
              <a:buNone/>
              <a:tabLst/>
              <a:defRPr/>
            </a:pPr>
            <a:r>
              <a:rPr kumimoji="0" lang="en-US" sz="1428" b="1" i="0" u="none" strike="noStrike" kern="0" cap="none" spc="-51"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Segoe UI" panose="020B0502040204020203" pitchFamily="34" charset="0"/>
              </a:rPr>
              <a:t>Employing data governance</a:t>
            </a:r>
          </a:p>
          <a:p>
            <a:pPr marL="0" marR="0" lvl="0" indent="0" algn="l" defTabSz="932563" rtl="0" eaLnBrk="1" fontAlgn="auto" latinLnBrk="0" hangingPunct="1">
              <a:lnSpc>
                <a:spcPct val="90000"/>
              </a:lnSpc>
              <a:spcBef>
                <a:spcPts val="0"/>
              </a:spcBef>
              <a:spcAft>
                <a:spcPts val="612"/>
              </a:spcAft>
              <a:buClrTx/>
              <a:buSzTx/>
              <a:buFontTx/>
              <a:buNone/>
              <a:tabLst/>
              <a:defRPr/>
            </a:pPr>
            <a:r>
              <a:rPr kumimoji="0" lang="en-US" sz="1122" b="0" i="0" u="none" strike="noStrike" kern="0" cap="none" spc="0" normalizeH="0" baseline="0" noProof="0" dirty="0">
                <a:ln>
                  <a:noFill/>
                </a:ln>
                <a:solidFill>
                  <a:srgbClr val="53565A"/>
                </a:solidFill>
                <a:effectLst/>
                <a:uLnTx/>
                <a:uFillTx/>
                <a:latin typeface="Segoe UI"/>
                <a:ea typeface="+mn-ea"/>
                <a:cs typeface="+mn-cs"/>
              </a:rPr>
              <a:t>Utilize integrated governance capabilities, and fast, automated, </a:t>
            </a:r>
            <a:br>
              <a:rPr kumimoji="0" lang="en-US" sz="1122" b="0" i="0" u="none" strike="noStrike" kern="0" cap="none" spc="0" normalizeH="0" baseline="0" noProof="0" dirty="0">
                <a:ln>
                  <a:noFill/>
                </a:ln>
                <a:solidFill>
                  <a:srgbClr val="53565A"/>
                </a:solidFill>
                <a:effectLst/>
                <a:uLnTx/>
                <a:uFillTx/>
                <a:latin typeface="Segoe UI"/>
                <a:ea typeface="+mn-ea"/>
                <a:cs typeface="+mn-cs"/>
              </a:rPr>
            </a:br>
            <a:r>
              <a:rPr kumimoji="0" lang="en-US" sz="1122" b="0" i="0" u="none" strike="noStrike" kern="0" cap="none" spc="0" normalizeH="0" baseline="0" noProof="0" dirty="0">
                <a:ln>
                  <a:noFill/>
                </a:ln>
                <a:solidFill>
                  <a:srgbClr val="53565A"/>
                </a:solidFill>
                <a:effectLst/>
                <a:uLnTx/>
                <a:uFillTx/>
                <a:latin typeface="Segoe UI"/>
                <a:ea typeface="+mn-ea"/>
                <a:cs typeface="+mn-cs"/>
              </a:rPr>
              <a:t>and seamless migration to Office 365</a:t>
            </a:r>
          </a:p>
        </p:txBody>
      </p:sp>
      <p:grpSp>
        <p:nvGrpSpPr>
          <p:cNvPr id="37" name="Group 36"/>
          <p:cNvGrpSpPr/>
          <p:nvPr/>
        </p:nvGrpSpPr>
        <p:grpSpPr>
          <a:xfrm>
            <a:off x="9151629" y="1568406"/>
            <a:ext cx="610543" cy="541757"/>
            <a:chOff x="2157412" y="2706685"/>
            <a:chExt cx="1817687" cy="1612903"/>
          </a:xfrm>
          <a:solidFill>
            <a:srgbClr val="E31A22"/>
          </a:solidFill>
        </p:grpSpPr>
        <p:sp>
          <p:nvSpPr>
            <p:cNvPr id="38" name="Freeform 5"/>
            <p:cNvSpPr>
              <a:spLocks noEditPoints="1"/>
            </p:cNvSpPr>
            <p:nvPr/>
          </p:nvSpPr>
          <p:spPr bwMode="auto">
            <a:xfrm>
              <a:off x="2779711" y="2706685"/>
              <a:ext cx="1195388" cy="1200149"/>
            </a:xfrm>
            <a:custGeom>
              <a:avLst/>
              <a:gdLst>
                <a:gd name="T0" fmla="*/ 294 w 317"/>
                <a:gd name="T1" fmla="*/ 159 h 318"/>
                <a:gd name="T2" fmla="*/ 293 w 317"/>
                <a:gd name="T3" fmla="*/ 147 h 318"/>
                <a:gd name="T4" fmla="*/ 317 w 317"/>
                <a:gd name="T5" fmla="*/ 134 h 318"/>
                <a:gd name="T6" fmla="*/ 308 w 317"/>
                <a:gd name="T7" fmla="*/ 101 h 318"/>
                <a:gd name="T8" fmla="*/ 281 w 317"/>
                <a:gd name="T9" fmla="*/ 102 h 318"/>
                <a:gd name="T10" fmla="*/ 269 w 317"/>
                <a:gd name="T11" fmla="*/ 81 h 318"/>
                <a:gd name="T12" fmla="*/ 283 w 317"/>
                <a:gd name="T13" fmla="*/ 58 h 318"/>
                <a:gd name="T14" fmla="*/ 259 w 317"/>
                <a:gd name="T15" fmla="*/ 34 h 318"/>
                <a:gd name="T16" fmla="*/ 236 w 317"/>
                <a:gd name="T17" fmla="*/ 48 h 318"/>
                <a:gd name="T18" fmla="*/ 216 w 317"/>
                <a:gd name="T19" fmla="*/ 36 h 318"/>
                <a:gd name="T20" fmla="*/ 216 w 317"/>
                <a:gd name="T21" fmla="*/ 9 h 318"/>
                <a:gd name="T22" fmla="*/ 183 w 317"/>
                <a:gd name="T23" fmla="*/ 0 h 318"/>
                <a:gd name="T24" fmla="*/ 170 w 317"/>
                <a:gd name="T25" fmla="*/ 24 h 318"/>
                <a:gd name="T26" fmla="*/ 158 w 317"/>
                <a:gd name="T27" fmla="*/ 23 h 318"/>
                <a:gd name="T28" fmla="*/ 146 w 317"/>
                <a:gd name="T29" fmla="*/ 24 h 318"/>
                <a:gd name="T30" fmla="*/ 133 w 317"/>
                <a:gd name="T31" fmla="*/ 0 h 318"/>
                <a:gd name="T32" fmla="*/ 100 w 317"/>
                <a:gd name="T33" fmla="*/ 9 h 318"/>
                <a:gd name="T34" fmla="*/ 101 w 317"/>
                <a:gd name="T35" fmla="*/ 36 h 318"/>
                <a:gd name="T36" fmla="*/ 80 w 317"/>
                <a:gd name="T37" fmla="*/ 48 h 318"/>
                <a:gd name="T38" fmla="*/ 57 w 317"/>
                <a:gd name="T39" fmla="*/ 34 h 318"/>
                <a:gd name="T40" fmla="*/ 33 w 317"/>
                <a:gd name="T41" fmla="*/ 58 h 318"/>
                <a:gd name="T42" fmla="*/ 47 w 317"/>
                <a:gd name="T43" fmla="*/ 81 h 318"/>
                <a:gd name="T44" fmla="*/ 35 w 317"/>
                <a:gd name="T45" fmla="*/ 102 h 318"/>
                <a:gd name="T46" fmla="*/ 8 w 317"/>
                <a:gd name="T47" fmla="*/ 101 h 318"/>
                <a:gd name="T48" fmla="*/ 0 w 317"/>
                <a:gd name="T49" fmla="*/ 134 h 318"/>
                <a:gd name="T50" fmla="*/ 23 w 317"/>
                <a:gd name="T51" fmla="*/ 147 h 318"/>
                <a:gd name="T52" fmla="*/ 22 w 317"/>
                <a:gd name="T53" fmla="*/ 159 h 318"/>
                <a:gd name="T54" fmla="*/ 23 w 317"/>
                <a:gd name="T55" fmla="*/ 171 h 318"/>
                <a:gd name="T56" fmla="*/ 0 w 317"/>
                <a:gd name="T57" fmla="*/ 184 h 318"/>
                <a:gd name="T58" fmla="*/ 8 w 317"/>
                <a:gd name="T59" fmla="*/ 217 h 318"/>
                <a:gd name="T60" fmla="*/ 35 w 317"/>
                <a:gd name="T61" fmla="*/ 216 h 318"/>
                <a:gd name="T62" fmla="*/ 47 w 317"/>
                <a:gd name="T63" fmla="*/ 237 h 318"/>
                <a:gd name="T64" fmla="*/ 33 w 317"/>
                <a:gd name="T65" fmla="*/ 260 h 318"/>
                <a:gd name="T66" fmla="*/ 57 w 317"/>
                <a:gd name="T67" fmla="*/ 284 h 318"/>
                <a:gd name="T68" fmla="*/ 80 w 317"/>
                <a:gd name="T69" fmla="*/ 270 h 318"/>
                <a:gd name="T70" fmla="*/ 101 w 317"/>
                <a:gd name="T71" fmla="*/ 282 h 318"/>
                <a:gd name="T72" fmla="*/ 100 w 317"/>
                <a:gd name="T73" fmla="*/ 309 h 318"/>
                <a:gd name="T74" fmla="*/ 133 w 317"/>
                <a:gd name="T75" fmla="*/ 318 h 318"/>
                <a:gd name="T76" fmla="*/ 146 w 317"/>
                <a:gd name="T77" fmla="*/ 294 h 318"/>
                <a:gd name="T78" fmla="*/ 158 w 317"/>
                <a:gd name="T79" fmla="*/ 295 h 318"/>
                <a:gd name="T80" fmla="*/ 170 w 317"/>
                <a:gd name="T81" fmla="*/ 294 h 318"/>
                <a:gd name="T82" fmla="*/ 183 w 317"/>
                <a:gd name="T83" fmla="*/ 318 h 318"/>
                <a:gd name="T84" fmla="*/ 216 w 317"/>
                <a:gd name="T85" fmla="*/ 309 h 318"/>
                <a:gd name="T86" fmla="*/ 216 w 317"/>
                <a:gd name="T87" fmla="*/ 282 h 318"/>
                <a:gd name="T88" fmla="*/ 236 w 317"/>
                <a:gd name="T89" fmla="*/ 270 h 318"/>
                <a:gd name="T90" fmla="*/ 259 w 317"/>
                <a:gd name="T91" fmla="*/ 284 h 318"/>
                <a:gd name="T92" fmla="*/ 283 w 317"/>
                <a:gd name="T93" fmla="*/ 260 h 318"/>
                <a:gd name="T94" fmla="*/ 269 w 317"/>
                <a:gd name="T95" fmla="*/ 237 h 318"/>
                <a:gd name="T96" fmla="*/ 281 w 317"/>
                <a:gd name="T97" fmla="*/ 216 h 318"/>
                <a:gd name="T98" fmla="*/ 308 w 317"/>
                <a:gd name="T99" fmla="*/ 217 h 318"/>
                <a:gd name="T100" fmla="*/ 317 w 317"/>
                <a:gd name="T101" fmla="*/ 184 h 318"/>
                <a:gd name="T102" fmla="*/ 293 w 317"/>
                <a:gd name="T103" fmla="*/ 171 h 318"/>
                <a:gd name="T104" fmla="*/ 294 w 317"/>
                <a:gd name="T105" fmla="*/ 159 h 318"/>
                <a:gd name="T106" fmla="*/ 158 w 317"/>
                <a:gd name="T107" fmla="*/ 248 h 318"/>
                <a:gd name="T108" fmla="*/ 69 w 317"/>
                <a:gd name="T109" fmla="*/ 159 h 318"/>
                <a:gd name="T110" fmla="*/ 158 w 317"/>
                <a:gd name="T111" fmla="*/ 70 h 318"/>
                <a:gd name="T112" fmla="*/ 247 w 317"/>
                <a:gd name="T113" fmla="*/ 159 h 318"/>
                <a:gd name="T114" fmla="*/ 158 w 317"/>
                <a:gd name="T115" fmla="*/ 24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7" h="318">
                  <a:moveTo>
                    <a:pt x="294" y="159"/>
                  </a:moveTo>
                  <a:cubicBezTo>
                    <a:pt x="294" y="155"/>
                    <a:pt x="294" y="151"/>
                    <a:pt x="293" y="147"/>
                  </a:cubicBezTo>
                  <a:cubicBezTo>
                    <a:pt x="317" y="134"/>
                    <a:pt x="317" y="134"/>
                    <a:pt x="317" y="134"/>
                  </a:cubicBezTo>
                  <a:cubicBezTo>
                    <a:pt x="315" y="123"/>
                    <a:pt x="312" y="112"/>
                    <a:pt x="308" y="101"/>
                  </a:cubicBezTo>
                  <a:cubicBezTo>
                    <a:pt x="281" y="102"/>
                    <a:pt x="281" y="102"/>
                    <a:pt x="281" y="102"/>
                  </a:cubicBezTo>
                  <a:cubicBezTo>
                    <a:pt x="278" y="94"/>
                    <a:pt x="274" y="88"/>
                    <a:pt x="269" y="81"/>
                  </a:cubicBezTo>
                  <a:cubicBezTo>
                    <a:pt x="283" y="58"/>
                    <a:pt x="283" y="58"/>
                    <a:pt x="283" y="58"/>
                  </a:cubicBezTo>
                  <a:cubicBezTo>
                    <a:pt x="276" y="49"/>
                    <a:pt x="268" y="41"/>
                    <a:pt x="259" y="34"/>
                  </a:cubicBezTo>
                  <a:cubicBezTo>
                    <a:pt x="236" y="48"/>
                    <a:pt x="236" y="48"/>
                    <a:pt x="236" y="48"/>
                  </a:cubicBezTo>
                  <a:cubicBezTo>
                    <a:pt x="230" y="43"/>
                    <a:pt x="223" y="39"/>
                    <a:pt x="216" y="36"/>
                  </a:cubicBezTo>
                  <a:cubicBezTo>
                    <a:pt x="216" y="9"/>
                    <a:pt x="216" y="9"/>
                    <a:pt x="216" y="9"/>
                  </a:cubicBezTo>
                  <a:cubicBezTo>
                    <a:pt x="205" y="5"/>
                    <a:pt x="194" y="2"/>
                    <a:pt x="183" y="0"/>
                  </a:cubicBezTo>
                  <a:cubicBezTo>
                    <a:pt x="170" y="24"/>
                    <a:pt x="170" y="24"/>
                    <a:pt x="170" y="24"/>
                  </a:cubicBezTo>
                  <a:cubicBezTo>
                    <a:pt x="166" y="23"/>
                    <a:pt x="162" y="23"/>
                    <a:pt x="158" y="23"/>
                  </a:cubicBezTo>
                  <a:cubicBezTo>
                    <a:pt x="154" y="23"/>
                    <a:pt x="150" y="23"/>
                    <a:pt x="146" y="24"/>
                  </a:cubicBezTo>
                  <a:cubicBezTo>
                    <a:pt x="133" y="0"/>
                    <a:pt x="133" y="0"/>
                    <a:pt x="133" y="0"/>
                  </a:cubicBezTo>
                  <a:cubicBezTo>
                    <a:pt x="122" y="2"/>
                    <a:pt x="111" y="5"/>
                    <a:pt x="100" y="9"/>
                  </a:cubicBezTo>
                  <a:cubicBezTo>
                    <a:pt x="101" y="36"/>
                    <a:pt x="101" y="36"/>
                    <a:pt x="101" y="36"/>
                  </a:cubicBezTo>
                  <a:cubicBezTo>
                    <a:pt x="94" y="39"/>
                    <a:pt x="87" y="43"/>
                    <a:pt x="80" y="48"/>
                  </a:cubicBezTo>
                  <a:cubicBezTo>
                    <a:pt x="57" y="34"/>
                    <a:pt x="57" y="34"/>
                    <a:pt x="57" y="34"/>
                  </a:cubicBezTo>
                  <a:cubicBezTo>
                    <a:pt x="48" y="41"/>
                    <a:pt x="40" y="49"/>
                    <a:pt x="33" y="58"/>
                  </a:cubicBezTo>
                  <a:cubicBezTo>
                    <a:pt x="47" y="81"/>
                    <a:pt x="47" y="81"/>
                    <a:pt x="47" y="81"/>
                  </a:cubicBezTo>
                  <a:cubicBezTo>
                    <a:pt x="43" y="88"/>
                    <a:pt x="39" y="94"/>
                    <a:pt x="35" y="102"/>
                  </a:cubicBezTo>
                  <a:cubicBezTo>
                    <a:pt x="8" y="101"/>
                    <a:pt x="8" y="101"/>
                    <a:pt x="8" y="101"/>
                  </a:cubicBezTo>
                  <a:cubicBezTo>
                    <a:pt x="4" y="112"/>
                    <a:pt x="1" y="123"/>
                    <a:pt x="0" y="134"/>
                  </a:cubicBezTo>
                  <a:cubicBezTo>
                    <a:pt x="23" y="147"/>
                    <a:pt x="23" y="147"/>
                    <a:pt x="23" y="147"/>
                  </a:cubicBezTo>
                  <a:cubicBezTo>
                    <a:pt x="23" y="151"/>
                    <a:pt x="22" y="155"/>
                    <a:pt x="22" y="159"/>
                  </a:cubicBezTo>
                  <a:cubicBezTo>
                    <a:pt x="22" y="163"/>
                    <a:pt x="23" y="167"/>
                    <a:pt x="23" y="171"/>
                  </a:cubicBezTo>
                  <a:cubicBezTo>
                    <a:pt x="0" y="184"/>
                    <a:pt x="0" y="184"/>
                    <a:pt x="0" y="184"/>
                  </a:cubicBezTo>
                  <a:cubicBezTo>
                    <a:pt x="1" y="195"/>
                    <a:pt x="4" y="206"/>
                    <a:pt x="8" y="217"/>
                  </a:cubicBezTo>
                  <a:cubicBezTo>
                    <a:pt x="35" y="216"/>
                    <a:pt x="35" y="216"/>
                    <a:pt x="35" y="216"/>
                  </a:cubicBezTo>
                  <a:cubicBezTo>
                    <a:pt x="39" y="223"/>
                    <a:pt x="43" y="230"/>
                    <a:pt x="47" y="237"/>
                  </a:cubicBezTo>
                  <a:cubicBezTo>
                    <a:pt x="33" y="260"/>
                    <a:pt x="33" y="260"/>
                    <a:pt x="33" y="260"/>
                  </a:cubicBezTo>
                  <a:cubicBezTo>
                    <a:pt x="40" y="269"/>
                    <a:pt x="48" y="277"/>
                    <a:pt x="57" y="284"/>
                  </a:cubicBezTo>
                  <a:cubicBezTo>
                    <a:pt x="80" y="270"/>
                    <a:pt x="80" y="270"/>
                    <a:pt x="80" y="270"/>
                  </a:cubicBezTo>
                  <a:cubicBezTo>
                    <a:pt x="87" y="275"/>
                    <a:pt x="94" y="279"/>
                    <a:pt x="101" y="282"/>
                  </a:cubicBezTo>
                  <a:cubicBezTo>
                    <a:pt x="100" y="309"/>
                    <a:pt x="100" y="309"/>
                    <a:pt x="100" y="309"/>
                  </a:cubicBezTo>
                  <a:cubicBezTo>
                    <a:pt x="111" y="313"/>
                    <a:pt x="122" y="316"/>
                    <a:pt x="133" y="318"/>
                  </a:cubicBezTo>
                  <a:cubicBezTo>
                    <a:pt x="146" y="294"/>
                    <a:pt x="146" y="294"/>
                    <a:pt x="146" y="294"/>
                  </a:cubicBezTo>
                  <a:cubicBezTo>
                    <a:pt x="150" y="294"/>
                    <a:pt x="154" y="295"/>
                    <a:pt x="158" y="295"/>
                  </a:cubicBezTo>
                  <a:cubicBezTo>
                    <a:pt x="162" y="295"/>
                    <a:pt x="166" y="294"/>
                    <a:pt x="170" y="294"/>
                  </a:cubicBezTo>
                  <a:cubicBezTo>
                    <a:pt x="183" y="318"/>
                    <a:pt x="183" y="318"/>
                    <a:pt x="183" y="318"/>
                  </a:cubicBezTo>
                  <a:cubicBezTo>
                    <a:pt x="194" y="316"/>
                    <a:pt x="205" y="313"/>
                    <a:pt x="216" y="309"/>
                  </a:cubicBezTo>
                  <a:cubicBezTo>
                    <a:pt x="216" y="282"/>
                    <a:pt x="216" y="282"/>
                    <a:pt x="216" y="282"/>
                  </a:cubicBezTo>
                  <a:cubicBezTo>
                    <a:pt x="223" y="279"/>
                    <a:pt x="230" y="275"/>
                    <a:pt x="236" y="270"/>
                  </a:cubicBezTo>
                  <a:cubicBezTo>
                    <a:pt x="259" y="284"/>
                    <a:pt x="259" y="284"/>
                    <a:pt x="259" y="284"/>
                  </a:cubicBezTo>
                  <a:cubicBezTo>
                    <a:pt x="268" y="277"/>
                    <a:pt x="276" y="269"/>
                    <a:pt x="283" y="260"/>
                  </a:cubicBezTo>
                  <a:cubicBezTo>
                    <a:pt x="269" y="237"/>
                    <a:pt x="269" y="237"/>
                    <a:pt x="269" y="237"/>
                  </a:cubicBezTo>
                  <a:cubicBezTo>
                    <a:pt x="274" y="230"/>
                    <a:pt x="278" y="223"/>
                    <a:pt x="281" y="216"/>
                  </a:cubicBezTo>
                  <a:cubicBezTo>
                    <a:pt x="308" y="217"/>
                    <a:pt x="308" y="217"/>
                    <a:pt x="308" y="217"/>
                  </a:cubicBezTo>
                  <a:cubicBezTo>
                    <a:pt x="312" y="206"/>
                    <a:pt x="315" y="195"/>
                    <a:pt x="317" y="184"/>
                  </a:cubicBezTo>
                  <a:cubicBezTo>
                    <a:pt x="293" y="171"/>
                    <a:pt x="293" y="171"/>
                    <a:pt x="293" y="171"/>
                  </a:cubicBezTo>
                  <a:cubicBezTo>
                    <a:pt x="294" y="167"/>
                    <a:pt x="294" y="163"/>
                    <a:pt x="294" y="159"/>
                  </a:cubicBezTo>
                  <a:moveTo>
                    <a:pt x="158" y="248"/>
                  </a:moveTo>
                  <a:cubicBezTo>
                    <a:pt x="109" y="248"/>
                    <a:pt x="69" y="208"/>
                    <a:pt x="69" y="159"/>
                  </a:cubicBezTo>
                  <a:cubicBezTo>
                    <a:pt x="69" y="110"/>
                    <a:pt x="109" y="70"/>
                    <a:pt x="158" y="70"/>
                  </a:cubicBezTo>
                  <a:cubicBezTo>
                    <a:pt x="207" y="70"/>
                    <a:pt x="247" y="110"/>
                    <a:pt x="247" y="159"/>
                  </a:cubicBezTo>
                  <a:cubicBezTo>
                    <a:pt x="247" y="208"/>
                    <a:pt x="207" y="248"/>
                    <a:pt x="158" y="248"/>
                  </a:cubicBez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0000"/>
                </a:solidFill>
                <a:effectLst/>
                <a:uLnTx/>
                <a:uFillTx/>
                <a:latin typeface="Segoe UI"/>
                <a:ea typeface="+mn-ea"/>
                <a:cs typeface="+mn-cs"/>
              </a:endParaRPr>
            </a:p>
          </p:txBody>
        </p:sp>
        <p:sp>
          <p:nvSpPr>
            <p:cNvPr id="42" name="Freeform 6"/>
            <p:cNvSpPr>
              <a:spLocks noEditPoints="1"/>
            </p:cNvSpPr>
            <p:nvPr/>
          </p:nvSpPr>
          <p:spPr bwMode="auto">
            <a:xfrm>
              <a:off x="2157412" y="3349624"/>
              <a:ext cx="682624" cy="679451"/>
            </a:xfrm>
            <a:custGeom>
              <a:avLst/>
              <a:gdLst>
                <a:gd name="T0" fmla="*/ 168 w 181"/>
                <a:gd name="T1" fmla="*/ 90 h 180"/>
                <a:gd name="T2" fmla="*/ 168 w 181"/>
                <a:gd name="T3" fmla="*/ 83 h 180"/>
                <a:gd name="T4" fmla="*/ 181 w 181"/>
                <a:gd name="T5" fmla="*/ 76 h 180"/>
                <a:gd name="T6" fmla="*/ 176 w 181"/>
                <a:gd name="T7" fmla="*/ 57 h 180"/>
                <a:gd name="T8" fmla="*/ 161 w 181"/>
                <a:gd name="T9" fmla="*/ 57 h 180"/>
                <a:gd name="T10" fmla="*/ 154 w 181"/>
                <a:gd name="T11" fmla="*/ 46 h 180"/>
                <a:gd name="T12" fmla="*/ 162 w 181"/>
                <a:gd name="T13" fmla="*/ 33 h 180"/>
                <a:gd name="T14" fmla="*/ 148 w 181"/>
                <a:gd name="T15" fmla="*/ 19 h 180"/>
                <a:gd name="T16" fmla="*/ 135 w 181"/>
                <a:gd name="T17" fmla="*/ 27 h 180"/>
                <a:gd name="T18" fmla="*/ 123 w 181"/>
                <a:gd name="T19" fmla="*/ 20 h 180"/>
                <a:gd name="T20" fmla="*/ 124 w 181"/>
                <a:gd name="T21" fmla="*/ 5 h 180"/>
                <a:gd name="T22" fmla="*/ 105 w 181"/>
                <a:gd name="T23" fmla="*/ 0 h 180"/>
                <a:gd name="T24" fmla="*/ 98 w 181"/>
                <a:gd name="T25" fmla="*/ 13 h 180"/>
                <a:gd name="T26" fmla="*/ 91 w 181"/>
                <a:gd name="T27" fmla="*/ 13 h 180"/>
                <a:gd name="T28" fmla="*/ 84 w 181"/>
                <a:gd name="T29" fmla="*/ 13 h 180"/>
                <a:gd name="T30" fmla="*/ 77 w 181"/>
                <a:gd name="T31" fmla="*/ 0 h 180"/>
                <a:gd name="T32" fmla="*/ 58 w 181"/>
                <a:gd name="T33" fmla="*/ 5 h 180"/>
                <a:gd name="T34" fmla="*/ 58 w 181"/>
                <a:gd name="T35" fmla="*/ 20 h 180"/>
                <a:gd name="T36" fmla="*/ 46 w 181"/>
                <a:gd name="T37" fmla="*/ 27 h 180"/>
                <a:gd name="T38" fmla="*/ 33 w 181"/>
                <a:gd name="T39" fmla="*/ 19 h 180"/>
                <a:gd name="T40" fmla="*/ 20 w 181"/>
                <a:gd name="T41" fmla="*/ 33 h 180"/>
                <a:gd name="T42" fmla="*/ 28 w 181"/>
                <a:gd name="T43" fmla="*/ 46 h 180"/>
                <a:gd name="T44" fmla="*/ 21 w 181"/>
                <a:gd name="T45" fmla="*/ 57 h 180"/>
                <a:gd name="T46" fmla="*/ 5 w 181"/>
                <a:gd name="T47" fmla="*/ 57 h 180"/>
                <a:gd name="T48" fmla="*/ 0 w 181"/>
                <a:gd name="T49" fmla="*/ 76 h 180"/>
                <a:gd name="T50" fmla="*/ 14 w 181"/>
                <a:gd name="T51" fmla="*/ 83 h 180"/>
                <a:gd name="T52" fmla="*/ 14 w 181"/>
                <a:gd name="T53" fmla="*/ 90 h 180"/>
                <a:gd name="T54" fmla="*/ 14 w 181"/>
                <a:gd name="T55" fmla="*/ 97 h 180"/>
                <a:gd name="T56" fmla="*/ 0 w 181"/>
                <a:gd name="T57" fmla="*/ 104 h 180"/>
                <a:gd name="T58" fmla="*/ 5 w 181"/>
                <a:gd name="T59" fmla="*/ 123 h 180"/>
                <a:gd name="T60" fmla="*/ 21 w 181"/>
                <a:gd name="T61" fmla="*/ 123 h 180"/>
                <a:gd name="T62" fmla="*/ 28 w 181"/>
                <a:gd name="T63" fmla="*/ 134 h 180"/>
                <a:gd name="T64" fmla="*/ 20 w 181"/>
                <a:gd name="T65" fmla="*/ 147 h 180"/>
                <a:gd name="T66" fmla="*/ 33 w 181"/>
                <a:gd name="T67" fmla="*/ 161 h 180"/>
                <a:gd name="T68" fmla="*/ 46 w 181"/>
                <a:gd name="T69" fmla="*/ 153 h 180"/>
                <a:gd name="T70" fmla="*/ 58 w 181"/>
                <a:gd name="T71" fmla="*/ 160 h 180"/>
                <a:gd name="T72" fmla="*/ 58 w 181"/>
                <a:gd name="T73" fmla="*/ 175 h 180"/>
                <a:gd name="T74" fmla="*/ 77 w 181"/>
                <a:gd name="T75" fmla="*/ 180 h 180"/>
                <a:gd name="T76" fmla="*/ 84 w 181"/>
                <a:gd name="T77" fmla="*/ 167 h 180"/>
                <a:gd name="T78" fmla="*/ 91 w 181"/>
                <a:gd name="T79" fmla="*/ 167 h 180"/>
                <a:gd name="T80" fmla="*/ 98 w 181"/>
                <a:gd name="T81" fmla="*/ 167 h 180"/>
                <a:gd name="T82" fmla="*/ 105 w 181"/>
                <a:gd name="T83" fmla="*/ 180 h 180"/>
                <a:gd name="T84" fmla="*/ 124 w 181"/>
                <a:gd name="T85" fmla="*/ 175 h 180"/>
                <a:gd name="T86" fmla="*/ 123 w 181"/>
                <a:gd name="T87" fmla="*/ 160 h 180"/>
                <a:gd name="T88" fmla="*/ 135 w 181"/>
                <a:gd name="T89" fmla="*/ 153 h 180"/>
                <a:gd name="T90" fmla="*/ 148 w 181"/>
                <a:gd name="T91" fmla="*/ 161 h 180"/>
                <a:gd name="T92" fmla="*/ 162 w 181"/>
                <a:gd name="T93" fmla="*/ 147 h 180"/>
                <a:gd name="T94" fmla="*/ 154 w 181"/>
                <a:gd name="T95" fmla="*/ 134 h 180"/>
                <a:gd name="T96" fmla="*/ 161 w 181"/>
                <a:gd name="T97" fmla="*/ 123 h 180"/>
                <a:gd name="T98" fmla="*/ 176 w 181"/>
                <a:gd name="T99" fmla="*/ 123 h 180"/>
                <a:gd name="T100" fmla="*/ 181 w 181"/>
                <a:gd name="T101" fmla="*/ 104 h 180"/>
                <a:gd name="T102" fmla="*/ 168 w 181"/>
                <a:gd name="T103" fmla="*/ 97 h 180"/>
                <a:gd name="T104" fmla="*/ 168 w 181"/>
                <a:gd name="T105" fmla="*/ 90 h 180"/>
                <a:gd name="T106" fmla="*/ 91 w 181"/>
                <a:gd name="T107" fmla="*/ 141 h 180"/>
                <a:gd name="T108" fmla="*/ 40 w 181"/>
                <a:gd name="T109" fmla="*/ 90 h 180"/>
                <a:gd name="T110" fmla="*/ 91 w 181"/>
                <a:gd name="T111" fmla="*/ 39 h 180"/>
                <a:gd name="T112" fmla="*/ 141 w 181"/>
                <a:gd name="T113" fmla="*/ 90 h 180"/>
                <a:gd name="T114" fmla="*/ 91 w 181"/>
                <a:gd name="T115" fmla="*/ 14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1" h="180">
                  <a:moveTo>
                    <a:pt x="168" y="90"/>
                  </a:moveTo>
                  <a:cubicBezTo>
                    <a:pt x="168" y="88"/>
                    <a:pt x="168" y="86"/>
                    <a:pt x="168" y="83"/>
                  </a:cubicBezTo>
                  <a:cubicBezTo>
                    <a:pt x="181" y="76"/>
                    <a:pt x="181" y="76"/>
                    <a:pt x="181" y="76"/>
                  </a:cubicBezTo>
                  <a:cubicBezTo>
                    <a:pt x="180" y="69"/>
                    <a:pt x="178" y="63"/>
                    <a:pt x="176" y="57"/>
                  </a:cubicBezTo>
                  <a:cubicBezTo>
                    <a:pt x="161" y="57"/>
                    <a:pt x="161" y="57"/>
                    <a:pt x="161" y="57"/>
                  </a:cubicBezTo>
                  <a:cubicBezTo>
                    <a:pt x="159" y="53"/>
                    <a:pt x="157" y="49"/>
                    <a:pt x="154" y="46"/>
                  </a:cubicBezTo>
                  <a:cubicBezTo>
                    <a:pt x="162" y="33"/>
                    <a:pt x="162" y="33"/>
                    <a:pt x="162" y="33"/>
                  </a:cubicBezTo>
                  <a:cubicBezTo>
                    <a:pt x="158" y="28"/>
                    <a:pt x="153" y="23"/>
                    <a:pt x="148" y="19"/>
                  </a:cubicBezTo>
                  <a:cubicBezTo>
                    <a:pt x="135" y="27"/>
                    <a:pt x="135" y="27"/>
                    <a:pt x="135" y="27"/>
                  </a:cubicBezTo>
                  <a:cubicBezTo>
                    <a:pt x="131" y="24"/>
                    <a:pt x="128" y="22"/>
                    <a:pt x="123" y="20"/>
                  </a:cubicBezTo>
                  <a:cubicBezTo>
                    <a:pt x="124" y="5"/>
                    <a:pt x="124" y="5"/>
                    <a:pt x="124" y="5"/>
                  </a:cubicBezTo>
                  <a:cubicBezTo>
                    <a:pt x="118" y="2"/>
                    <a:pt x="111" y="1"/>
                    <a:pt x="105" y="0"/>
                  </a:cubicBezTo>
                  <a:cubicBezTo>
                    <a:pt x="98" y="13"/>
                    <a:pt x="98" y="13"/>
                    <a:pt x="98" y="13"/>
                  </a:cubicBezTo>
                  <a:cubicBezTo>
                    <a:pt x="95" y="13"/>
                    <a:pt x="93" y="13"/>
                    <a:pt x="91" y="13"/>
                  </a:cubicBezTo>
                  <a:cubicBezTo>
                    <a:pt x="89" y="13"/>
                    <a:pt x="86" y="13"/>
                    <a:pt x="84" y="13"/>
                  </a:cubicBezTo>
                  <a:cubicBezTo>
                    <a:pt x="77" y="0"/>
                    <a:pt x="77" y="0"/>
                    <a:pt x="77" y="0"/>
                  </a:cubicBezTo>
                  <a:cubicBezTo>
                    <a:pt x="70" y="1"/>
                    <a:pt x="64" y="2"/>
                    <a:pt x="58" y="5"/>
                  </a:cubicBezTo>
                  <a:cubicBezTo>
                    <a:pt x="58" y="20"/>
                    <a:pt x="58" y="20"/>
                    <a:pt x="58" y="20"/>
                  </a:cubicBezTo>
                  <a:cubicBezTo>
                    <a:pt x="54" y="22"/>
                    <a:pt x="50" y="24"/>
                    <a:pt x="46" y="27"/>
                  </a:cubicBezTo>
                  <a:cubicBezTo>
                    <a:pt x="33" y="19"/>
                    <a:pt x="33" y="19"/>
                    <a:pt x="33" y="19"/>
                  </a:cubicBezTo>
                  <a:cubicBezTo>
                    <a:pt x="28" y="23"/>
                    <a:pt x="24" y="28"/>
                    <a:pt x="20" y="33"/>
                  </a:cubicBezTo>
                  <a:cubicBezTo>
                    <a:pt x="28" y="46"/>
                    <a:pt x="28" y="46"/>
                    <a:pt x="28" y="46"/>
                  </a:cubicBezTo>
                  <a:cubicBezTo>
                    <a:pt x="25" y="49"/>
                    <a:pt x="23" y="53"/>
                    <a:pt x="21" y="57"/>
                  </a:cubicBezTo>
                  <a:cubicBezTo>
                    <a:pt x="5" y="57"/>
                    <a:pt x="5" y="57"/>
                    <a:pt x="5" y="57"/>
                  </a:cubicBezTo>
                  <a:cubicBezTo>
                    <a:pt x="3" y="63"/>
                    <a:pt x="1" y="69"/>
                    <a:pt x="0" y="76"/>
                  </a:cubicBezTo>
                  <a:cubicBezTo>
                    <a:pt x="14" y="83"/>
                    <a:pt x="14" y="83"/>
                    <a:pt x="14" y="83"/>
                  </a:cubicBezTo>
                  <a:cubicBezTo>
                    <a:pt x="14" y="86"/>
                    <a:pt x="14" y="88"/>
                    <a:pt x="14" y="90"/>
                  </a:cubicBezTo>
                  <a:cubicBezTo>
                    <a:pt x="14" y="92"/>
                    <a:pt x="14" y="95"/>
                    <a:pt x="14" y="97"/>
                  </a:cubicBezTo>
                  <a:cubicBezTo>
                    <a:pt x="0" y="104"/>
                    <a:pt x="0" y="104"/>
                    <a:pt x="0" y="104"/>
                  </a:cubicBezTo>
                  <a:cubicBezTo>
                    <a:pt x="1" y="111"/>
                    <a:pt x="3" y="117"/>
                    <a:pt x="5" y="123"/>
                  </a:cubicBezTo>
                  <a:cubicBezTo>
                    <a:pt x="21" y="123"/>
                    <a:pt x="21" y="123"/>
                    <a:pt x="21" y="123"/>
                  </a:cubicBezTo>
                  <a:cubicBezTo>
                    <a:pt x="23" y="127"/>
                    <a:pt x="25" y="131"/>
                    <a:pt x="28" y="134"/>
                  </a:cubicBezTo>
                  <a:cubicBezTo>
                    <a:pt x="20" y="147"/>
                    <a:pt x="20" y="147"/>
                    <a:pt x="20" y="147"/>
                  </a:cubicBezTo>
                  <a:cubicBezTo>
                    <a:pt x="24" y="153"/>
                    <a:pt x="28" y="157"/>
                    <a:pt x="33" y="161"/>
                  </a:cubicBezTo>
                  <a:cubicBezTo>
                    <a:pt x="46" y="153"/>
                    <a:pt x="46" y="153"/>
                    <a:pt x="46" y="153"/>
                  </a:cubicBezTo>
                  <a:cubicBezTo>
                    <a:pt x="50" y="156"/>
                    <a:pt x="54" y="158"/>
                    <a:pt x="58" y="160"/>
                  </a:cubicBezTo>
                  <a:cubicBezTo>
                    <a:pt x="58" y="175"/>
                    <a:pt x="58" y="175"/>
                    <a:pt x="58" y="175"/>
                  </a:cubicBezTo>
                  <a:cubicBezTo>
                    <a:pt x="64" y="178"/>
                    <a:pt x="70" y="179"/>
                    <a:pt x="77" y="180"/>
                  </a:cubicBezTo>
                  <a:cubicBezTo>
                    <a:pt x="84" y="167"/>
                    <a:pt x="84" y="167"/>
                    <a:pt x="84" y="167"/>
                  </a:cubicBezTo>
                  <a:cubicBezTo>
                    <a:pt x="86" y="167"/>
                    <a:pt x="89" y="167"/>
                    <a:pt x="91" y="167"/>
                  </a:cubicBezTo>
                  <a:cubicBezTo>
                    <a:pt x="93" y="167"/>
                    <a:pt x="95" y="167"/>
                    <a:pt x="98" y="167"/>
                  </a:cubicBezTo>
                  <a:cubicBezTo>
                    <a:pt x="105" y="180"/>
                    <a:pt x="105" y="180"/>
                    <a:pt x="105" y="180"/>
                  </a:cubicBezTo>
                  <a:cubicBezTo>
                    <a:pt x="111" y="179"/>
                    <a:pt x="118" y="178"/>
                    <a:pt x="124" y="175"/>
                  </a:cubicBezTo>
                  <a:cubicBezTo>
                    <a:pt x="123" y="160"/>
                    <a:pt x="123" y="160"/>
                    <a:pt x="123" y="160"/>
                  </a:cubicBezTo>
                  <a:cubicBezTo>
                    <a:pt x="128" y="158"/>
                    <a:pt x="131" y="156"/>
                    <a:pt x="135" y="153"/>
                  </a:cubicBezTo>
                  <a:cubicBezTo>
                    <a:pt x="148" y="161"/>
                    <a:pt x="148" y="161"/>
                    <a:pt x="148" y="161"/>
                  </a:cubicBezTo>
                  <a:cubicBezTo>
                    <a:pt x="153" y="157"/>
                    <a:pt x="158" y="153"/>
                    <a:pt x="162" y="147"/>
                  </a:cubicBezTo>
                  <a:cubicBezTo>
                    <a:pt x="154" y="134"/>
                    <a:pt x="154" y="134"/>
                    <a:pt x="154" y="134"/>
                  </a:cubicBezTo>
                  <a:cubicBezTo>
                    <a:pt x="157" y="131"/>
                    <a:pt x="159" y="127"/>
                    <a:pt x="161" y="123"/>
                  </a:cubicBezTo>
                  <a:cubicBezTo>
                    <a:pt x="176" y="123"/>
                    <a:pt x="176" y="123"/>
                    <a:pt x="176" y="123"/>
                  </a:cubicBezTo>
                  <a:cubicBezTo>
                    <a:pt x="178" y="117"/>
                    <a:pt x="180" y="111"/>
                    <a:pt x="181" y="104"/>
                  </a:cubicBezTo>
                  <a:cubicBezTo>
                    <a:pt x="168" y="97"/>
                    <a:pt x="168" y="97"/>
                    <a:pt x="168" y="97"/>
                  </a:cubicBezTo>
                  <a:cubicBezTo>
                    <a:pt x="168" y="95"/>
                    <a:pt x="168" y="92"/>
                    <a:pt x="168" y="90"/>
                  </a:cubicBezTo>
                  <a:moveTo>
                    <a:pt x="91" y="141"/>
                  </a:moveTo>
                  <a:cubicBezTo>
                    <a:pt x="63" y="141"/>
                    <a:pt x="40" y="118"/>
                    <a:pt x="40" y="90"/>
                  </a:cubicBezTo>
                  <a:cubicBezTo>
                    <a:pt x="40" y="62"/>
                    <a:pt x="63" y="39"/>
                    <a:pt x="91" y="39"/>
                  </a:cubicBezTo>
                  <a:cubicBezTo>
                    <a:pt x="119" y="39"/>
                    <a:pt x="141" y="62"/>
                    <a:pt x="141" y="90"/>
                  </a:cubicBezTo>
                  <a:cubicBezTo>
                    <a:pt x="141" y="118"/>
                    <a:pt x="119" y="141"/>
                    <a:pt x="91" y="141"/>
                  </a:cubicBez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0000"/>
                </a:solidFill>
                <a:effectLst/>
                <a:uLnTx/>
                <a:uFillTx/>
                <a:latin typeface="Segoe UI"/>
                <a:ea typeface="+mn-ea"/>
                <a:cs typeface="+mn-cs"/>
              </a:endParaRPr>
            </a:p>
          </p:txBody>
        </p:sp>
        <p:sp>
          <p:nvSpPr>
            <p:cNvPr id="59" name="Freeform 7"/>
            <p:cNvSpPr>
              <a:spLocks noEditPoints="1"/>
            </p:cNvSpPr>
            <p:nvPr/>
          </p:nvSpPr>
          <p:spPr bwMode="auto">
            <a:xfrm>
              <a:off x="2757488" y="3843339"/>
              <a:ext cx="474662" cy="476249"/>
            </a:xfrm>
            <a:custGeom>
              <a:avLst/>
              <a:gdLst>
                <a:gd name="T0" fmla="*/ 117 w 126"/>
                <a:gd name="T1" fmla="*/ 63 h 126"/>
                <a:gd name="T2" fmla="*/ 116 w 126"/>
                <a:gd name="T3" fmla="*/ 58 h 126"/>
                <a:gd name="T4" fmla="*/ 126 w 126"/>
                <a:gd name="T5" fmla="*/ 53 h 126"/>
                <a:gd name="T6" fmla="*/ 122 w 126"/>
                <a:gd name="T7" fmla="*/ 40 h 126"/>
                <a:gd name="T8" fmla="*/ 112 w 126"/>
                <a:gd name="T9" fmla="*/ 40 h 126"/>
                <a:gd name="T10" fmla="*/ 107 w 126"/>
                <a:gd name="T11" fmla="*/ 32 h 126"/>
                <a:gd name="T12" fmla="*/ 112 w 126"/>
                <a:gd name="T13" fmla="*/ 23 h 126"/>
                <a:gd name="T14" fmla="*/ 103 w 126"/>
                <a:gd name="T15" fmla="*/ 14 h 126"/>
                <a:gd name="T16" fmla="*/ 94 w 126"/>
                <a:gd name="T17" fmla="*/ 19 h 126"/>
                <a:gd name="T18" fmla="*/ 86 w 126"/>
                <a:gd name="T19" fmla="*/ 14 h 126"/>
                <a:gd name="T20" fmla="*/ 86 w 126"/>
                <a:gd name="T21" fmla="*/ 4 h 126"/>
                <a:gd name="T22" fmla="*/ 73 w 126"/>
                <a:gd name="T23" fmla="*/ 0 h 126"/>
                <a:gd name="T24" fmla="*/ 68 w 126"/>
                <a:gd name="T25" fmla="*/ 10 h 126"/>
                <a:gd name="T26" fmla="*/ 63 w 126"/>
                <a:gd name="T27" fmla="*/ 9 h 126"/>
                <a:gd name="T28" fmla="*/ 58 w 126"/>
                <a:gd name="T29" fmla="*/ 10 h 126"/>
                <a:gd name="T30" fmla="*/ 53 w 126"/>
                <a:gd name="T31" fmla="*/ 0 h 126"/>
                <a:gd name="T32" fmla="*/ 40 w 126"/>
                <a:gd name="T33" fmla="*/ 4 h 126"/>
                <a:gd name="T34" fmla="*/ 40 w 126"/>
                <a:gd name="T35" fmla="*/ 14 h 126"/>
                <a:gd name="T36" fmla="*/ 32 w 126"/>
                <a:gd name="T37" fmla="*/ 19 h 126"/>
                <a:gd name="T38" fmla="*/ 23 w 126"/>
                <a:gd name="T39" fmla="*/ 14 h 126"/>
                <a:gd name="T40" fmla="*/ 13 w 126"/>
                <a:gd name="T41" fmla="*/ 23 h 126"/>
                <a:gd name="T42" fmla="*/ 19 w 126"/>
                <a:gd name="T43" fmla="*/ 32 h 126"/>
                <a:gd name="T44" fmla="*/ 14 w 126"/>
                <a:gd name="T45" fmla="*/ 40 h 126"/>
                <a:gd name="T46" fmla="*/ 3 w 126"/>
                <a:gd name="T47" fmla="*/ 40 h 126"/>
                <a:gd name="T48" fmla="*/ 0 w 126"/>
                <a:gd name="T49" fmla="*/ 53 h 126"/>
                <a:gd name="T50" fmla="*/ 9 w 126"/>
                <a:gd name="T51" fmla="*/ 58 h 126"/>
                <a:gd name="T52" fmla="*/ 9 w 126"/>
                <a:gd name="T53" fmla="*/ 63 h 126"/>
                <a:gd name="T54" fmla="*/ 9 w 126"/>
                <a:gd name="T55" fmla="*/ 68 h 126"/>
                <a:gd name="T56" fmla="*/ 0 w 126"/>
                <a:gd name="T57" fmla="*/ 73 h 126"/>
                <a:gd name="T58" fmla="*/ 3 w 126"/>
                <a:gd name="T59" fmla="*/ 86 h 126"/>
                <a:gd name="T60" fmla="*/ 14 w 126"/>
                <a:gd name="T61" fmla="*/ 86 h 126"/>
                <a:gd name="T62" fmla="*/ 19 w 126"/>
                <a:gd name="T63" fmla="*/ 94 h 126"/>
                <a:gd name="T64" fmla="*/ 13 w 126"/>
                <a:gd name="T65" fmla="*/ 103 h 126"/>
                <a:gd name="T66" fmla="*/ 23 w 126"/>
                <a:gd name="T67" fmla="*/ 113 h 126"/>
                <a:gd name="T68" fmla="*/ 32 w 126"/>
                <a:gd name="T69" fmla="*/ 107 h 126"/>
                <a:gd name="T70" fmla="*/ 40 w 126"/>
                <a:gd name="T71" fmla="*/ 112 h 126"/>
                <a:gd name="T72" fmla="*/ 40 w 126"/>
                <a:gd name="T73" fmla="*/ 123 h 126"/>
                <a:gd name="T74" fmla="*/ 53 w 126"/>
                <a:gd name="T75" fmla="*/ 126 h 126"/>
                <a:gd name="T76" fmla="*/ 58 w 126"/>
                <a:gd name="T77" fmla="*/ 117 h 126"/>
                <a:gd name="T78" fmla="*/ 63 w 126"/>
                <a:gd name="T79" fmla="*/ 117 h 126"/>
                <a:gd name="T80" fmla="*/ 68 w 126"/>
                <a:gd name="T81" fmla="*/ 117 h 126"/>
                <a:gd name="T82" fmla="*/ 73 w 126"/>
                <a:gd name="T83" fmla="*/ 126 h 126"/>
                <a:gd name="T84" fmla="*/ 86 w 126"/>
                <a:gd name="T85" fmla="*/ 123 h 126"/>
                <a:gd name="T86" fmla="*/ 86 w 126"/>
                <a:gd name="T87" fmla="*/ 112 h 126"/>
                <a:gd name="T88" fmla="*/ 94 w 126"/>
                <a:gd name="T89" fmla="*/ 107 h 126"/>
                <a:gd name="T90" fmla="*/ 103 w 126"/>
                <a:gd name="T91" fmla="*/ 113 h 126"/>
                <a:gd name="T92" fmla="*/ 112 w 126"/>
                <a:gd name="T93" fmla="*/ 103 h 126"/>
                <a:gd name="T94" fmla="*/ 107 w 126"/>
                <a:gd name="T95" fmla="*/ 94 h 126"/>
                <a:gd name="T96" fmla="*/ 112 w 126"/>
                <a:gd name="T97" fmla="*/ 86 h 126"/>
                <a:gd name="T98" fmla="*/ 122 w 126"/>
                <a:gd name="T99" fmla="*/ 86 h 126"/>
                <a:gd name="T100" fmla="*/ 126 w 126"/>
                <a:gd name="T101" fmla="*/ 73 h 126"/>
                <a:gd name="T102" fmla="*/ 116 w 126"/>
                <a:gd name="T103" fmla="*/ 68 h 126"/>
                <a:gd name="T104" fmla="*/ 117 w 126"/>
                <a:gd name="T105" fmla="*/ 63 h 126"/>
                <a:gd name="T106" fmla="*/ 63 w 126"/>
                <a:gd name="T107" fmla="*/ 99 h 126"/>
                <a:gd name="T108" fmla="*/ 27 w 126"/>
                <a:gd name="T109" fmla="*/ 63 h 126"/>
                <a:gd name="T110" fmla="*/ 63 w 126"/>
                <a:gd name="T111" fmla="*/ 28 h 126"/>
                <a:gd name="T112" fmla="*/ 98 w 126"/>
                <a:gd name="T113" fmla="*/ 63 h 126"/>
                <a:gd name="T114" fmla="*/ 63 w 126"/>
                <a:gd name="T115" fmla="*/ 9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 h="126">
                  <a:moveTo>
                    <a:pt x="117" y="63"/>
                  </a:moveTo>
                  <a:cubicBezTo>
                    <a:pt x="117" y="62"/>
                    <a:pt x="117" y="60"/>
                    <a:pt x="116" y="58"/>
                  </a:cubicBezTo>
                  <a:cubicBezTo>
                    <a:pt x="126" y="53"/>
                    <a:pt x="126" y="53"/>
                    <a:pt x="126" y="53"/>
                  </a:cubicBezTo>
                  <a:cubicBezTo>
                    <a:pt x="125" y="49"/>
                    <a:pt x="124" y="44"/>
                    <a:pt x="122" y="40"/>
                  </a:cubicBezTo>
                  <a:cubicBezTo>
                    <a:pt x="112" y="40"/>
                    <a:pt x="112" y="40"/>
                    <a:pt x="112" y="40"/>
                  </a:cubicBezTo>
                  <a:cubicBezTo>
                    <a:pt x="110" y="38"/>
                    <a:pt x="109" y="35"/>
                    <a:pt x="107" y="32"/>
                  </a:cubicBezTo>
                  <a:cubicBezTo>
                    <a:pt x="112" y="23"/>
                    <a:pt x="112" y="23"/>
                    <a:pt x="112" y="23"/>
                  </a:cubicBezTo>
                  <a:cubicBezTo>
                    <a:pt x="110" y="20"/>
                    <a:pt x="106" y="16"/>
                    <a:pt x="103" y="14"/>
                  </a:cubicBezTo>
                  <a:cubicBezTo>
                    <a:pt x="94" y="19"/>
                    <a:pt x="94" y="19"/>
                    <a:pt x="94" y="19"/>
                  </a:cubicBezTo>
                  <a:cubicBezTo>
                    <a:pt x="91" y="17"/>
                    <a:pt x="88" y="16"/>
                    <a:pt x="86" y="14"/>
                  </a:cubicBezTo>
                  <a:cubicBezTo>
                    <a:pt x="86" y="4"/>
                    <a:pt x="86" y="4"/>
                    <a:pt x="86" y="4"/>
                  </a:cubicBezTo>
                  <a:cubicBezTo>
                    <a:pt x="82" y="2"/>
                    <a:pt x="77" y="1"/>
                    <a:pt x="73" y="0"/>
                  </a:cubicBezTo>
                  <a:cubicBezTo>
                    <a:pt x="68" y="10"/>
                    <a:pt x="68" y="10"/>
                    <a:pt x="68" y="10"/>
                  </a:cubicBezTo>
                  <a:cubicBezTo>
                    <a:pt x="66" y="9"/>
                    <a:pt x="64" y="9"/>
                    <a:pt x="63" y="9"/>
                  </a:cubicBezTo>
                  <a:cubicBezTo>
                    <a:pt x="61" y="9"/>
                    <a:pt x="60" y="9"/>
                    <a:pt x="58" y="10"/>
                  </a:cubicBezTo>
                  <a:cubicBezTo>
                    <a:pt x="53" y="0"/>
                    <a:pt x="53" y="0"/>
                    <a:pt x="53" y="0"/>
                  </a:cubicBezTo>
                  <a:cubicBezTo>
                    <a:pt x="48" y="1"/>
                    <a:pt x="44" y="2"/>
                    <a:pt x="40" y="4"/>
                  </a:cubicBezTo>
                  <a:cubicBezTo>
                    <a:pt x="40" y="14"/>
                    <a:pt x="40" y="14"/>
                    <a:pt x="40" y="14"/>
                  </a:cubicBezTo>
                  <a:cubicBezTo>
                    <a:pt x="37" y="16"/>
                    <a:pt x="34" y="17"/>
                    <a:pt x="32" y="19"/>
                  </a:cubicBezTo>
                  <a:cubicBezTo>
                    <a:pt x="23" y="14"/>
                    <a:pt x="23" y="14"/>
                    <a:pt x="23" y="14"/>
                  </a:cubicBezTo>
                  <a:cubicBezTo>
                    <a:pt x="19" y="16"/>
                    <a:pt x="16" y="20"/>
                    <a:pt x="13" y="23"/>
                  </a:cubicBezTo>
                  <a:cubicBezTo>
                    <a:pt x="19" y="32"/>
                    <a:pt x="19" y="32"/>
                    <a:pt x="19" y="32"/>
                  </a:cubicBezTo>
                  <a:cubicBezTo>
                    <a:pt x="17" y="35"/>
                    <a:pt x="15" y="38"/>
                    <a:pt x="14" y="40"/>
                  </a:cubicBezTo>
                  <a:cubicBezTo>
                    <a:pt x="3" y="40"/>
                    <a:pt x="3" y="40"/>
                    <a:pt x="3" y="40"/>
                  </a:cubicBezTo>
                  <a:cubicBezTo>
                    <a:pt x="2" y="44"/>
                    <a:pt x="0" y="49"/>
                    <a:pt x="0" y="53"/>
                  </a:cubicBezTo>
                  <a:cubicBezTo>
                    <a:pt x="9" y="58"/>
                    <a:pt x="9" y="58"/>
                    <a:pt x="9" y="58"/>
                  </a:cubicBezTo>
                  <a:cubicBezTo>
                    <a:pt x="9" y="60"/>
                    <a:pt x="9" y="62"/>
                    <a:pt x="9" y="63"/>
                  </a:cubicBezTo>
                  <a:cubicBezTo>
                    <a:pt x="9" y="65"/>
                    <a:pt x="9" y="66"/>
                    <a:pt x="9" y="68"/>
                  </a:cubicBezTo>
                  <a:cubicBezTo>
                    <a:pt x="0" y="73"/>
                    <a:pt x="0" y="73"/>
                    <a:pt x="0" y="73"/>
                  </a:cubicBezTo>
                  <a:cubicBezTo>
                    <a:pt x="0" y="78"/>
                    <a:pt x="2" y="82"/>
                    <a:pt x="3" y="86"/>
                  </a:cubicBezTo>
                  <a:cubicBezTo>
                    <a:pt x="14" y="86"/>
                    <a:pt x="14" y="86"/>
                    <a:pt x="14" y="86"/>
                  </a:cubicBezTo>
                  <a:cubicBezTo>
                    <a:pt x="15" y="89"/>
                    <a:pt x="17" y="92"/>
                    <a:pt x="19" y="94"/>
                  </a:cubicBezTo>
                  <a:cubicBezTo>
                    <a:pt x="13" y="103"/>
                    <a:pt x="13" y="103"/>
                    <a:pt x="13" y="103"/>
                  </a:cubicBezTo>
                  <a:cubicBezTo>
                    <a:pt x="16" y="107"/>
                    <a:pt x="19" y="110"/>
                    <a:pt x="23" y="113"/>
                  </a:cubicBezTo>
                  <a:cubicBezTo>
                    <a:pt x="32" y="107"/>
                    <a:pt x="32" y="107"/>
                    <a:pt x="32" y="107"/>
                  </a:cubicBezTo>
                  <a:cubicBezTo>
                    <a:pt x="34" y="109"/>
                    <a:pt x="37" y="111"/>
                    <a:pt x="40" y="112"/>
                  </a:cubicBezTo>
                  <a:cubicBezTo>
                    <a:pt x="40" y="123"/>
                    <a:pt x="40" y="123"/>
                    <a:pt x="40" y="123"/>
                  </a:cubicBezTo>
                  <a:cubicBezTo>
                    <a:pt x="44" y="124"/>
                    <a:pt x="48" y="125"/>
                    <a:pt x="53" y="126"/>
                  </a:cubicBezTo>
                  <a:cubicBezTo>
                    <a:pt x="58" y="117"/>
                    <a:pt x="58" y="117"/>
                    <a:pt x="58" y="117"/>
                  </a:cubicBezTo>
                  <a:cubicBezTo>
                    <a:pt x="60" y="117"/>
                    <a:pt x="61" y="117"/>
                    <a:pt x="63" y="117"/>
                  </a:cubicBezTo>
                  <a:cubicBezTo>
                    <a:pt x="64" y="117"/>
                    <a:pt x="66" y="117"/>
                    <a:pt x="68" y="117"/>
                  </a:cubicBezTo>
                  <a:cubicBezTo>
                    <a:pt x="73" y="126"/>
                    <a:pt x="73" y="126"/>
                    <a:pt x="73" y="126"/>
                  </a:cubicBezTo>
                  <a:cubicBezTo>
                    <a:pt x="77" y="125"/>
                    <a:pt x="82" y="124"/>
                    <a:pt x="86" y="123"/>
                  </a:cubicBezTo>
                  <a:cubicBezTo>
                    <a:pt x="86" y="112"/>
                    <a:pt x="86" y="112"/>
                    <a:pt x="86" y="112"/>
                  </a:cubicBezTo>
                  <a:cubicBezTo>
                    <a:pt x="88" y="111"/>
                    <a:pt x="91" y="109"/>
                    <a:pt x="94" y="107"/>
                  </a:cubicBezTo>
                  <a:cubicBezTo>
                    <a:pt x="103" y="113"/>
                    <a:pt x="103" y="113"/>
                    <a:pt x="103" y="113"/>
                  </a:cubicBezTo>
                  <a:cubicBezTo>
                    <a:pt x="106" y="110"/>
                    <a:pt x="110" y="107"/>
                    <a:pt x="112" y="103"/>
                  </a:cubicBezTo>
                  <a:cubicBezTo>
                    <a:pt x="107" y="94"/>
                    <a:pt x="107" y="94"/>
                    <a:pt x="107" y="94"/>
                  </a:cubicBezTo>
                  <a:cubicBezTo>
                    <a:pt x="109" y="92"/>
                    <a:pt x="110" y="89"/>
                    <a:pt x="112" y="86"/>
                  </a:cubicBezTo>
                  <a:cubicBezTo>
                    <a:pt x="122" y="86"/>
                    <a:pt x="122" y="86"/>
                    <a:pt x="122" y="86"/>
                  </a:cubicBezTo>
                  <a:cubicBezTo>
                    <a:pt x="124" y="82"/>
                    <a:pt x="125" y="78"/>
                    <a:pt x="126" y="73"/>
                  </a:cubicBezTo>
                  <a:cubicBezTo>
                    <a:pt x="116" y="68"/>
                    <a:pt x="116" y="68"/>
                    <a:pt x="116" y="68"/>
                  </a:cubicBezTo>
                  <a:cubicBezTo>
                    <a:pt x="117" y="66"/>
                    <a:pt x="117" y="65"/>
                    <a:pt x="117" y="63"/>
                  </a:cubicBezTo>
                  <a:moveTo>
                    <a:pt x="63" y="99"/>
                  </a:moveTo>
                  <a:cubicBezTo>
                    <a:pt x="43" y="99"/>
                    <a:pt x="27" y="83"/>
                    <a:pt x="27" y="63"/>
                  </a:cubicBezTo>
                  <a:cubicBezTo>
                    <a:pt x="27" y="44"/>
                    <a:pt x="43" y="28"/>
                    <a:pt x="63" y="28"/>
                  </a:cubicBezTo>
                  <a:cubicBezTo>
                    <a:pt x="82" y="28"/>
                    <a:pt x="98" y="44"/>
                    <a:pt x="98" y="63"/>
                  </a:cubicBezTo>
                  <a:cubicBezTo>
                    <a:pt x="98" y="83"/>
                    <a:pt x="82" y="99"/>
                    <a:pt x="63" y="99"/>
                  </a:cubicBez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0000"/>
                </a:solidFill>
                <a:effectLst/>
                <a:uLnTx/>
                <a:uFillTx/>
                <a:latin typeface="Segoe UI"/>
                <a:ea typeface="+mn-ea"/>
                <a:cs typeface="+mn-cs"/>
              </a:endParaRPr>
            </a:p>
          </p:txBody>
        </p:sp>
      </p:grpSp>
      <p:sp>
        <p:nvSpPr>
          <p:cNvPr id="65" name="TextBox 64"/>
          <p:cNvSpPr txBox="1"/>
          <p:nvPr/>
        </p:nvSpPr>
        <p:spPr>
          <a:xfrm>
            <a:off x="3466510" y="2212063"/>
            <a:ext cx="2299843" cy="1115928"/>
          </a:xfrm>
          <a:prstGeom prst="rect">
            <a:avLst/>
          </a:prstGeom>
          <a:noFill/>
        </p:spPr>
        <p:txBody>
          <a:bodyPr wrap="square" lIns="0" tIns="0" rIns="0" bIns="0" rtlCol="0" anchor="t" anchorCtr="0">
            <a:spAutoFit/>
          </a:bodyPr>
          <a:lstStyle/>
          <a:p>
            <a:pPr marL="0" marR="0" lvl="0" indent="0" algn="l" defTabSz="932563" rtl="0" eaLnBrk="1" fontAlgn="auto" latinLnBrk="0" hangingPunct="1">
              <a:lnSpc>
                <a:spcPct val="90000"/>
              </a:lnSpc>
              <a:spcBef>
                <a:spcPts val="0"/>
              </a:spcBef>
              <a:spcAft>
                <a:spcPts val="612"/>
              </a:spcAft>
              <a:buClrTx/>
              <a:buSzTx/>
              <a:buFontTx/>
              <a:buNone/>
              <a:tabLst/>
              <a:defRPr/>
            </a:pPr>
            <a:r>
              <a:rPr kumimoji="0" lang="en-US" sz="1428" b="1" i="0" u="none" strike="noStrike" kern="0" cap="none" spc="-51"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Segoe UI" panose="020B0502040204020203" pitchFamily="34" charset="0"/>
              </a:rPr>
              <a:t>Securing business </a:t>
            </a:r>
            <a:br>
              <a:rPr kumimoji="0" lang="en-US" sz="1428" b="1" i="0" u="none" strike="noStrike" kern="0" cap="none" spc="-51"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Segoe UI" panose="020B0502040204020203" pitchFamily="34" charset="0"/>
              </a:rPr>
            </a:br>
            <a:r>
              <a:rPr kumimoji="0" lang="en-US" sz="1428" b="1" i="0" u="none" strike="noStrike" kern="0" cap="none" spc="-51"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Segoe UI" panose="020B0502040204020203" pitchFamily="34" charset="0"/>
              </a:rPr>
              <a:t>critical data</a:t>
            </a:r>
          </a:p>
          <a:p>
            <a:pPr marL="0" marR="0" lvl="0" indent="0" algn="l" defTabSz="932563" rtl="0" eaLnBrk="1" fontAlgn="auto" latinLnBrk="0" hangingPunct="1">
              <a:lnSpc>
                <a:spcPct val="90000"/>
              </a:lnSpc>
              <a:spcBef>
                <a:spcPts val="0"/>
              </a:spcBef>
              <a:spcAft>
                <a:spcPts val="612"/>
              </a:spcAft>
              <a:buClrTx/>
              <a:buSzTx/>
              <a:buFontTx/>
              <a:buNone/>
              <a:tabLst/>
              <a:defRPr/>
            </a:pPr>
            <a:r>
              <a:rPr kumimoji="0" lang="en-US" sz="1122" b="0" i="0" u="none" strike="noStrike" kern="0" cap="none" spc="0" normalizeH="0" baseline="0" noProof="0" dirty="0">
                <a:ln>
                  <a:noFill/>
                </a:ln>
                <a:solidFill>
                  <a:srgbClr val="53565A"/>
                </a:solidFill>
                <a:effectLst/>
                <a:uLnTx/>
                <a:uFillTx/>
                <a:latin typeface="Segoe UI"/>
                <a:ea typeface="+mn-ea"/>
                <a:cs typeface="+mn-cs"/>
              </a:rPr>
              <a:t>Minimize risks and threats with detailed, granular risk-level reports </a:t>
            </a:r>
            <a:br>
              <a:rPr kumimoji="0" lang="en-US" sz="1122" b="0" i="0" u="none" strike="noStrike" kern="0" cap="none" spc="0" normalizeH="0" baseline="0" noProof="0" dirty="0">
                <a:ln>
                  <a:noFill/>
                </a:ln>
                <a:solidFill>
                  <a:srgbClr val="53565A"/>
                </a:solidFill>
                <a:effectLst/>
                <a:uLnTx/>
                <a:uFillTx/>
                <a:latin typeface="Segoe UI"/>
                <a:ea typeface="+mn-ea"/>
                <a:cs typeface="+mn-cs"/>
              </a:rPr>
            </a:br>
            <a:r>
              <a:rPr kumimoji="0" lang="en-US" sz="1122" b="0" i="0" u="none" strike="noStrike" kern="0" cap="none" spc="0" normalizeH="0" baseline="0" noProof="0" dirty="0">
                <a:ln>
                  <a:noFill/>
                </a:ln>
                <a:solidFill>
                  <a:srgbClr val="53565A"/>
                </a:solidFill>
                <a:effectLst/>
                <a:uLnTx/>
                <a:uFillTx/>
                <a:latin typeface="Segoe UI"/>
                <a:ea typeface="+mn-ea"/>
                <a:cs typeface="+mn-cs"/>
              </a:rPr>
              <a:t>of content containing privacy and sensitive information</a:t>
            </a:r>
          </a:p>
        </p:txBody>
      </p:sp>
      <p:sp>
        <p:nvSpPr>
          <p:cNvPr id="62" name="Freeform 45"/>
          <p:cNvSpPr>
            <a:spLocks noEditPoints="1"/>
          </p:cNvSpPr>
          <p:nvPr/>
        </p:nvSpPr>
        <p:spPr bwMode="auto">
          <a:xfrm>
            <a:off x="3466509" y="1597982"/>
            <a:ext cx="510890" cy="512181"/>
          </a:xfrm>
          <a:custGeom>
            <a:avLst/>
            <a:gdLst>
              <a:gd name="T0" fmla="*/ 149 w 164"/>
              <a:gd name="T1" fmla="*/ 19 h 165"/>
              <a:gd name="T2" fmla="*/ 155 w 164"/>
              <a:gd name="T3" fmla="*/ 18 h 165"/>
              <a:gd name="T4" fmla="*/ 159 w 164"/>
              <a:gd name="T5" fmla="*/ 19 h 165"/>
              <a:gd name="T6" fmla="*/ 162 w 164"/>
              <a:gd name="T7" fmla="*/ 22 h 165"/>
              <a:gd name="T8" fmla="*/ 164 w 164"/>
              <a:gd name="T9" fmla="*/ 26 h 165"/>
              <a:gd name="T10" fmla="*/ 164 w 164"/>
              <a:gd name="T11" fmla="*/ 30 h 165"/>
              <a:gd name="T12" fmla="*/ 163 w 164"/>
              <a:gd name="T13" fmla="*/ 56 h 165"/>
              <a:gd name="T14" fmla="*/ 158 w 164"/>
              <a:gd name="T15" fmla="*/ 79 h 165"/>
              <a:gd name="T16" fmla="*/ 152 w 164"/>
              <a:gd name="T17" fmla="*/ 99 h 165"/>
              <a:gd name="T18" fmla="*/ 143 w 164"/>
              <a:gd name="T19" fmla="*/ 115 h 165"/>
              <a:gd name="T20" fmla="*/ 133 w 164"/>
              <a:gd name="T21" fmla="*/ 129 h 165"/>
              <a:gd name="T22" fmla="*/ 123 w 164"/>
              <a:gd name="T23" fmla="*/ 140 h 165"/>
              <a:gd name="T24" fmla="*/ 82 w 164"/>
              <a:gd name="T25" fmla="*/ 165 h 165"/>
              <a:gd name="T26" fmla="*/ 41 w 164"/>
              <a:gd name="T27" fmla="*/ 140 h 165"/>
              <a:gd name="T28" fmla="*/ 26 w 164"/>
              <a:gd name="T29" fmla="*/ 122 h 165"/>
              <a:gd name="T30" fmla="*/ 12 w 164"/>
              <a:gd name="T31" fmla="*/ 99 h 165"/>
              <a:gd name="T32" fmla="*/ 3 w 164"/>
              <a:gd name="T33" fmla="*/ 68 h 165"/>
              <a:gd name="T34" fmla="*/ 0 w 164"/>
              <a:gd name="T35" fmla="*/ 30 h 165"/>
              <a:gd name="T36" fmla="*/ 0 w 164"/>
              <a:gd name="T37" fmla="*/ 26 h 165"/>
              <a:gd name="T38" fmla="*/ 2 w 164"/>
              <a:gd name="T39" fmla="*/ 22 h 165"/>
              <a:gd name="T40" fmla="*/ 5 w 164"/>
              <a:gd name="T41" fmla="*/ 19 h 165"/>
              <a:gd name="T42" fmla="*/ 10 w 164"/>
              <a:gd name="T43" fmla="*/ 18 h 165"/>
              <a:gd name="T44" fmla="*/ 15 w 164"/>
              <a:gd name="T45" fmla="*/ 19 h 165"/>
              <a:gd name="T46" fmla="*/ 26 w 164"/>
              <a:gd name="T47" fmla="*/ 23 h 165"/>
              <a:gd name="T48" fmla="*/ 36 w 164"/>
              <a:gd name="T49" fmla="*/ 24 h 165"/>
              <a:gd name="T50" fmla="*/ 46 w 164"/>
              <a:gd name="T51" fmla="*/ 22 h 165"/>
              <a:gd name="T52" fmla="*/ 55 w 164"/>
              <a:gd name="T53" fmla="*/ 18 h 165"/>
              <a:gd name="T54" fmla="*/ 62 w 164"/>
              <a:gd name="T55" fmla="*/ 12 h 165"/>
              <a:gd name="T56" fmla="*/ 69 w 164"/>
              <a:gd name="T57" fmla="*/ 6 h 165"/>
              <a:gd name="T58" fmla="*/ 75 w 164"/>
              <a:gd name="T59" fmla="*/ 2 h 165"/>
              <a:gd name="T60" fmla="*/ 82 w 164"/>
              <a:gd name="T61" fmla="*/ 0 h 165"/>
              <a:gd name="T62" fmla="*/ 89 w 164"/>
              <a:gd name="T63" fmla="*/ 2 h 165"/>
              <a:gd name="T64" fmla="*/ 95 w 164"/>
              <a:gd name="T65" fmla="*/ 6 h 165"/>
              <a:gd name="T66" fmla="*/ 102 w 164"/>
              <a:gd name="T67" fmla="*/ 12 h 165"/>
              <a:gd name="T68" fmla="*/ 109 w 164"/>
              <a:gd name="T69" fmla="*/ 18 h 165"/>
              <a:gd name="T70" fmla="*/ 118 w 164"/>
              <a:gd name="T71" fmla="*/ 22 h 165"/>
              <a:gd name="T72" fmla="*/ 128 w 164"/>
              <a:gd name="T73" fmla="*/ 24 h 165"/>
              <a:gd name="T74" fmla="*/ 138 w 164"/>
              <a:gd name="T75" fmla="*/ 23 h 165"/>
              <a:gd name="T76" fmla="*/ 149 w 164"/>
              <a:gd name="T77" fmla="*/ 19 h 165"/>
              <a:gd name="T78" fmla="*/ 90 w 164"/>
              <a:gd name="T79" fmla="*/ 103 h 165"/>
              <a:gd name="T80" fmla="*/ 94 w 164"/>
              <a:gd name="T81" fmla="*/ 41 h 165"/>
              <a:gd name="T82" fmla="*/ 70 w 164"/>
              <a:gd name="T83" fmla="*/ 41 h 165"/>
              <a:gd name="T84" fmla="*/ 74 w 164"/>
              <a:gd name="T85" fmla="*/ 103 h 165"/>
              <a:gd name="T86" fmla="*/ 90 w 164"/>
              <a:gd name="T87" fmla="*/ 103 h 165"/>
              <a:gd name="T88" fmla="*/ 82 w 164"/>
              <a:gd name="T89" fmla="*/ 117 h 165"/>
              <a:gd name="T90" fmla="*/ 70 w 164"/>
              <a:gd name="T91" fmla="*/ 131 h 165"/>
              <a:gd name="T92" fmla="*/ 82 w 164"/>
              <a:gd name="T93" fmla="*/ 145 h 165"/>
              <a:gd name="T94" fmla="*/ 94 w 164"/>
              <a:gd name="T95" fmla="*/ 131 h 165"/>
              <a:gd name="T96" fmla="*/ 82 w 164"/>
              <a:gd name="T97" fmla="*/ 11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4" h="165">
                <a:moveTo>
                  <a:pt x="149" y="19"/>
                </a:moveTo>
                <a:cubicBezTo>
                  <a:pt x="151" y="18"/>
                  <a:pt x="153" y="18"/>
                  <a:pt x="155" y="18"/>
                </a:cubicBezTo>
                <a:cubicBezTo>
                  <a:pt x="156" y="18"/>
                  <a:pt x="158" y="18"/>
                  <a:pt x="159" y="19"/>
                </a:cubicBezTo>
                <a:cubicBezTo>
                  <a:pt x="160" y="19"/>
                  <a:pt x="161" y="20"/>
                  <a:pt x="162" y="22"/>
                </a:cubicBezTo>
                <a:cubicBezTo>
                  <a:pt x="164" y="26"/>
                  <a:pt x="164" y="26"/>
                  <a:pt x="164" y="26"/>
                </a:cubicBezTo>
                <a:cubicBezTo>
                  <a:pt x="164" y="30"/>
                  <a:pt x="164" y="30"/>
                  <a:pt x="164" y="30"/>
                </a:cubicBezTo>
                <a:cubicBezTo>
                  <a:pt x="164" y="39"/>
                  <a:pt x="164" y="48"/>
                  <a:pt x="163" y="56"/>
                </a:cubicBezTo>
                <a:cubicBezTo>
                  <a:pt x="162" y="64"/>
                  <a:pt x="160" y="72"/>
                  <a:pt x="158" y="79"/>
                </a:cubicBezTo>
                <a:cubicBezTo>
                  <a:pt x="156" y="86"/>
                  <a:pt x="154" y="93"/>
                  <a:pt x="152" y="99"/>
                </a:cubicBezTo>
                <a:cubicBezTo>
                  <a:pt x="149" y="104"/>
                  <a:pt x="146" y="110"/>
                  <a:pt x="143" y="115"/>
                </a:cubicBezTo>
                <a:cubicBezTo>
                  <a:pt x="140" y="120"/>
                  <a:pt x="137" y="124"/>
                  <a:pt x="133" y="129"/>
                </a:cubicBezTo>
                <a:cubicBezTo>
                  <a:pt x="130" y="133"/>
                  <a:pt x="127" y="136"/>
                  <a:pt x="123" y="140"/>
                </a:cubicBezTo>
                <a:cubicBezTo>
                  <a:pt x="111" y="151"/>
                  <a:pt x="97" y="160"/>
                  <a:pt x="82" y="165"/>
                </a:cubicBezTo>
                <a:cubicBezTo>
                  <a:pt x="67" y="160"/>
                  <a:pt x="53" y="151"/>
                  <a:pt x="41" y="140"/>
                </a:cubicBezTo>
                <a:cubicBezTo>
                  <a:pt x="36" y="135"/>
                  <a:pt x="31" y="129"/>
                  <a:pt x="26" y="122"/>
                </a:cubicBezTo>
                <a:cubicBezTo>
                  <a:pt x="21" y="115"/>
                  <a:pt x="16" y="107"/>
                  <a:pt x="12" y="99"/>
                </a:cubicBezTo>
                <a:cubicBezTo>
                  <a:pt x="9" y="90"/>
                  <a:pt x="5" y="79"/>
                  <a:pt x="3" y="68"/>
                </a:cubicBezTo>
                <a:cubicBezTo>
                  <a:pt x="1" y="57"/>
                  <a:pt x="0" y="44"/>
                  <a:pt x="0" y="30"/>
                </a:cubicBezTo>
                <a:cubicBezTo>
                  <a:pt x="0" y="26"/>
                  <a:pt x="0" y="26"/>
                  <a:pt x="0" y="26"/>
                </a:cubicBezTo>
                <a:cubicBezTo>
                  <a:pt x="2" y="22"/>
                  <a:pt x="2" y="22"/>
                  <a:pt x="2" y="22"/>
                </a:cubicBezTo>
                <a:cubicBezTo>
                  <a:pt x="3" y="20"/>
                  <a:pt x="4" y="19"/>
                  <a:pt x="5" y="19"/>
                </a:cubicBezTo>
                <a:cubicBezTo>
                  <a:pt x="7" y="18"/>
                  <a:pt x="8" y="18"/>
                  <a:pt x="10" y="18"/>
                </a:cubicBezTo>
                <a:cubicBezTo>
                  <a:pt x="11" y="18"/>
                  <a:pt x="13" y="18"/>
                  <a:pt x="15" y="19"/>
                </a:cubicBezTo>
                <a:cubicBezTo>
                  <a:pt x="19" y="21"/>
                  <a:pt x="23" y="22"/>
                  <a:pt x="26" y="23"/>
                </a:cubicBezTo>
                <a:cubicBezTo>
                  <a:pt x="30" y="24"/>
                  <a:pt x="33" y="24"/>
                  <a:pt x="36" y="24"/>
                </a:cubicBezTo>
                <a:cubicBezTo>
                  <a:pt x="40" y="24"/>
                  <a:pt x="43" y="24"/>
                  <a:pt x="46" y="22"/>
                </a:cubicBezTo>
                <a:cubicBezTo>
                  <a:pt x="50" y="21"/>
                  <a:pt x="52" y="20"/>
                  <a:pt x="55" y="18"/>
                </a:cubicBezTo>
                <a:cubicBezTo>
                  <a:pt x="62" y="12"/>
                  <a:pt x="62" y="12"/>
                  <a:pt x="62" y="12"/>
                </a:cubicBezTo>
                <a:cubicBezTo>
                  <a:pt x="69" y="6"/>
                  <a:pt x="69" y="6"/>
                  <a:pt x="69" y="6"/>
                </a:cubicBezTo>
                <a:cubicBezTo>
                  <a:pt x="75" y="2"/>
                  <a:pt x="75" y="2"/>
                  <a:pt x="75" y="2"/>
                </a:cubicBezTo>
                <a:cubicBezTo>
                  <a:pt x="77" y="1"/>
                  <a:pt x="80" y="0"/>
                  <a:pt x="82" y="0"/>
                </a:cubicBezTo>
                <a:cubicBezTo>
                  <a:pt x="84" y="0"/>
                  <a:pt x="87" y="1"/>
                  <a:pt x="89" y="2"/>
                </a:cubicBezTo>
                <a:cubicBezTo>
                  <a:pt x="95" y="6"/>
                  <a:pt x="95" y="6"/>
                  <a:pt x="95" y="6"/>
                </a:cubicBezTo>
                <a:cubicBezTo>
                  <a:pt x="102" y="12"/>
                  <a:pt x="102" y="12"/>
                  <a:pt x="102" y="12"/>
                </a:cubicBezTo>
                <a:cubicBezTo>
                  <a:pt x="109" y="18"/>
                  <a:pt x="109" y="18"/>
                  <a:pt x="109" y="18"/>
                </a:cubicBezTo>
                <a:cubicBezTo>
                  <a:pt x="112" y="20"/>
                  <a:pt x="115" y="21"/>
                  <a:pt x="118" y="22"/>
                </a:cubicBezTo>
                <a:cubicBezTo>
                  <a:pt x="121" y="24"/>
                  <a:pt x="124" y="24"/>
                  <a:pt x="128" y="24"/>
                </a:cubicBezTo>
                <a:cubicBezTo>
                  <a:pt x="131" y="24"/>
                  <a:pt x="135" y="24"/>
                  <a:pt x="138" y="23"/>
                </a:cubicBezTo>
                <a:cubicBezTo>
                  <a:pt x="141" y="22"/>
                  <a:pt x="145" y="21"/>
                  <a:pt x="149" y="19"/>
                </a:cubicBezTo>
                <a:close/>
                <a:moveTo>
                  <a:pt x="90" y="103"/>
                </a:moveTo>
                <a:cubicBezTo>
                  <a:pt x="94" y="41"/>
                  <a:pt x="94" y="41"/>
                  <a:pt x="94" y="41"/>
                </a:cubicBezTo>
                <a:cubicBezTo>
                  <a:pt x="70" y="41"/>
                  <a:pt x="70" y="41"/>
                  <a:pt x="70" y="41"/>
                </a:cubicBezTo>
                <a:cubicBezTo>
                  <a:pt x="74" y="103"/>
                  <a:pt x="74" y="103"/>
                  <a:pt x="74" y="103"/>
                </a:cubicBezTo>
                <a:lnTo>
                  <a:pt x="90" y="103"/>
                </a:lnTo>
                <a:close/>
                <a:moveTo>
                  <a:pt x="82" y="117"/>
                </a:moveTo>
                <a:cubicBezTo>
                  <a:pt x="74" y="117"/>
                  <a:pt x="70" y="123"/>
                  <a:pt x="70" y="131"/>
                </a:cubicBezTo>
                <a:cubicBezTo>
                  <a:pt x="70" y="139"/>
                  <a:pt x="74" y="145"/>
                  <a:pt x="82" y="145"/>
                </a:cubicBezTo>
                <a:cubicBezTo>
                  <a:pt x="90" y="145"/>
                  <a:pt x="94" y="139"/>
                  <a:pt x="94" y="131"/>
                </a:cubicBezTo>
                <a:cubicBezTo>
                  <a:pt x="94" y="123"/>
                  <a:pt x="90" y="117"/>
                  <a:pt x="82" y="117"/>
                </a:cubicBezTo>
                <a:close/>
              </a:path>
            </a:pathLst>
          </a:custGeom>
          <a:solidFill>
            <a:srgbClr val="E31A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60" name="TextBox 59"/>
          <p:cNvSpPr txBox="1"/>
          <p:nvPr/>
        </p:nvSpPr>
        <p:spPr>
          <a:xfrm>
            <a:off x="6504525" y="2212064"/>
            <a:ext cx="2250552" cy="914244"/>
          </a:xfrm>
          <a:prstGeom prst="rect">
            <a:avLst/>
          </a:prstGeom>
          <a:noFill/>
        </p:spPr>
        <p:txBody>
          <a:bodyPr wrap="square" lIns="0" tIns="0" rIns="0" bIns="0" rtlCol="0" anchor="t" anchorCtr="0">
            <a:spAutoFit/>
          </a:bodyPr>
          <a:lstStyle/>
          <a:p>
            <a:pPr marL="0" marR="0" lvl="0" indent="0" algn="l" defTabSz="932563" rtl="0" eaLnBrk="1" fontAlgn="auto" latinLnBrk="0" hangingPunct="1">
              <a:lnSpc>
                <a:spcPct val="90000"/>
              </a:lnSpc>
              <a:spcBef>
                <a:spcPts val="0"/>
              </a:spcBef>
              <a:spcAft>
                <a:spcPts val="612"/>
              </a:spcAft>
              <a:buClrTx/>
              <a:buSzTx/>
              <a:buFontTx/>
              <a:buNone/>
              <a:tabLst/>
              <a:defRPr/>
            </a:pPr>
            <a:r>
              <a:rPr kumimoji="0" lang="en-US" sz="1428" b="1" i="0" u="none" strike="noStrike" kern="0" cap="none" spc="-51"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Segoe UI" panose="020B0502040204020203" pitchFamily="34" charset="0"/>
              </a:rPr>
              <a:t>Ensuring compliance</a:t>
            </a:r>
          </a:p>
          <a:p>
            <a:pPr marL="0" marR="0" lvl="0" indent="0" algn="l" defTabSz="932563" rtl="0" eaLnBrk="1" fontAlgn="auto" latinLnBrk="0" hangingPunct="1">
              <a:lnSpc>
                <a:spcPct val="90000"/>
              </a:lnSpc>
              <a:spcBef>
                <a:spcPts val="0"/>
              </a:spcBef>
              <a:spcAft>
                <a:spcPts val="612"/>
              </a:spcAft>
              <a:buClrTx/>
              <a:buSzTx/>
              <a:buFontTx/>
              <a:buNone/>
              <a:tabLst/>
              <a:defRPr/>
            </a:pPr>
            <a:r>
              <a:rPr kumimoji="0" lang="en-US" sz="1122" b="0" i="0" u="none" strike="noStrike" kern="0" cap="none" spc="0" normalizeH="0" baseline="0" noProof="0" dirty="0">
                <a:ln>
                  <a:noFill/>
                </a:ln>
                <a:solidFill>
                  <a:srgbClr val="53565A"/>
                </a:solidFill>
                <a:effectLst/>
                <a:uLnTx/>
                <a:uFillTx/>
                <a:latin typeface="Segoe UI"/>
                <a:ea typeface="+mn-ea"/>
                <a:cs typeface="+mn-cs"/>
              </a:rPr>
              <a:t>Track all user and group activity </a:t>
            </a:r>
            <a:br>
              <a:rPr kumimoji="0" lang="en-US" sz="1122" b="0" i="0" u="none" strike="noStrike" kern="0" cap="none" spc="0" normalizeH="0" baseline="0" noProof="0" dirty="0">
                <a:ln>
                  <a:noFill/>
                </a:ln>
                <a:solidFill>
                  <a:srgbClr val="53565A"/>
                </a:solidFill>
                <a:effectLst/>
                <a:uLnTx/>
                <a:uFillTx/>
                <a:latin typeface="Segoe UI"/>
                <a:ea typeface="+mn-ea"/>
                <a:cs typeface="+mn-cs"/>
              </a:rPr>
            </a:br>
            <a:r>
              <a:rPr kumimoji="0" lang="en-US" sz="1122" b="0" i="0" u="none" strike="noStrike" kern="0" cap="none" spc="0" normalizeH="0" baseline="0" noProof="0" dirty="0">
                <a:ln>
                  <a:noFill/>
                </a:ln>
                <a:solidFill>
                  <a:srgbClr val="53565A"/>
                </a:solidFill>
                <a:effectLst/>
                <a:uLnTx/>
                <a:uFillTx/>
                <a:latin typeface="Segoe UI"/>
                <a:ea typeface="+mn-ea"/>
                <a:cs typeface="+mn-cs"/>
              </a:rPr>
              <a:t>to determine origin of compliance infractions and users who have accessed the content</a:t>
            </a:r>
          </a:p>
        </p:txBody>
      </p:sp>
      <p:sp>
        <p:nvSpPr>
          <p:cNvPr id="67" name="Freeform 246"/>
          <p:cNvSpPr>
            <a:spLocks noEditPoints="1"/>
          </p:cNvSpPr>
          <p:nvPr/>
        </p:nvSpPr>
        <p:spPr bwMode="auto">
          <a:xfrm>
            <a:off x="6538377" y="1608849"/>
            <a:ext cx="355098" cy="501314"/>
          </a:xfrm>
          <a:custGeom>
            <a:avLst/>
            <a:gdLst>
              <a:gd name="T0" fmla="*/ 246 w 272"/>
              <a:gd name="T1" fmla="*/ 160 h 384"/>
              <a:gd name="T2" fmla="*/ 246 w 272"/>
              <a:gd name="T3" fmla="*/ 110 h 384"/>
              <a:gd name="T4" fmla="*/ 238 w 272"/>
              <a:gd name="T5" fmla="*/ 66 h 384"/>
              <a:gd name="T6" fmla="*/ 214 w 272"/>
              <a:gd name="T7" fmla="*/ 32 h 384"/>
              <a:gd name="T8" fmla="*/ 180 w 272"/>
              <a:gd name="T9" fmla="*/ 8 h 384"/>
              <a:gd name="T10" fmla="*/ 138 w 272"/>
              <a:gd name="T11" fmla="*/ 0 h 384"/>
              <a:gd name="T12" fmla="*/ 134 w 272"/>
              <a:gd name="T13" fmla="*/ 0 h 384"/>
              <a:gd name="T14" fmla="*/ 92 w 272"/>
              <a:gd name="T15" fmla="*/ 8 h 384"/>
              <a:gd name="T16" fmla="*/ 58 w 272"/>
              <a:gd name="T17" fmla="*/ 32 h 384"/>
              <a:gd name="T18" fmla="*/ 34 w 272"/>
              <a:gd name="T19" fmla="*/ 66 h 384"/>
              <a:gd name="T20" fmla="*/ 26 w 272"/>
              <a:gd name="T21" fmla="*/ 110 h 384"/>
              <a:gd name="T22" fmla="*/ 20 w 272"/>
              <a:gd name="T23" fmla="*/ 160 h 384"/>
              <a:gd name="T24" fmla="*/ 12 w 272"/>
              <a:gd name="T25" fmla="*/ 162 h 384"/>
              <a:gd name="T26" fmla="*/ 0 w 272"/>
              <a:gd name="T27" fmla="*/ 172 h 384"/>
              <a:gd name="T28" fmla="*/ 0 w 272"/>
              <a:gd name="T29" fmla="*/ 364 h 384"/>
              <a:gd name="T30" fmla="*/ 0 w 272"/>
              <a:gd name="T31" fmla="*/ 372 h 384"/>
              <a:gd name="T32" fmla="*/ 12 w 272"/>
              <a:gd name="T33" fmla="*/ 382 h 384"/>
              <a:gd name="T34" fmla="*/ 252 w 272"/>
              <a:gd name="T35" fmla="*/ 384 h 384"/>
              <a:gd name="T36" fmla="*/ 260 w 272"/>
              <a:gd name="T37" fmla="*/ 382 h 384"/>
              <a:gd name="T38" fmla="*/ 270 w 272"/>
              <a:gd name="T39" fmla="*/ 372 h 384"/>
              <a:gd name="T40" fmla="*/ 272 w 272"/>
              <a:gd name="T41" fmla="*/ 180 h 384"/>
              <a:gd name="T42" fmla="*/ 270 w 272"/>
              <a:gd name="T43" fmla="*/ 172 h 384"/>
              <a:gd name="T44" fmla="*/ 260 w 272"/>
              <a:gd name="T45" fmla="*/ 162 h 384"/>
              <a:gd name="T46" fmla="*/ 252 w 272"/>
              <a:gd name="T47" fmla="*/ 160 h 384"/>
              <a:gd name="T48" fmla="*/ 168 w 272"/>
              <a:gd name="T49" fmla="*/ 346 h 384"/>
              <a:gd name="T50" fmla="*/ 162 w 272"/>
              <a:gd name="T51" fmla="*/ 348 h 384"/>
              <a:gd name="T52" fmla="*/ 110 w 272"/>
              <a:gd name="T53" fmla="*/ 348 h 384"/>
              <a:gd name="T54" fmla="*/ 104 w 272"/>
              <a:gd name="T55" fmla="*/ 346 h 384"/>
              <a:gd name="T56" fmla="*/ 102 w 272"/>
              <a:gd name="T57" fmla="*/ 342 h 384"/>
              <a:gd name="T58" fmla="*/ 116 w 272"/>
              <a:gd name="T59" fmla="*/ 272 h 384"/>
              <a:gd name="T60" fmla="*/ 110 w 272"/>
              <a:gd name="T61" fmla="*/ 268 h 384"/>
              <a:gd name="T62" fmla="*/ 102 w 272"/>
              <a:gd name="T63" fmla="*/ 254 h 384"/>
              <a:gd name="T64" fmla="*/ 102 w 272"/>
              <a:gd name="T65" fmla="*/ 246 h 384"/>
              <a:gd name="T66" fmla="*/ 104 w 272"/>
              <a:gd name="T67" fmla="*/ 232 h 384"/>
              <a:gd name="T68" fmla="*/ 112 w 272"/>
              <a:gd name="T69" fmla="*/ 222 h 384"/>
              <a:gd name="T70" fmla="*/ 122 w 272"/>
              <a:gd name="T71" fmla="*/ 214 h 384"/>
              <a:gd name="T72" fmla="*/ 136 w 272"/>
              <a:gd name="T73" fmla="*/ 212 h 384"/>
              <a:gd name="T74" fmla="*/ 142 w 272"/>
              <a:gd name="T75" fmla="*/ 212 h 384"/>
              <a:gd name="T76" fmla="*/ 154 w 272"/>
              <a:gd name="T77" fmla="*/ 218 h 384"/>
              <a:gd name="T78" fmla="*/ 164 w 272"/>
              <a:gd name="T79" fmla="*/ 226 h 384"/>
              <a:gd name="T80" fmla="*/ 168 w 272"/>
              <a:gd name="T81" fmla="*/ 238 h 384"/>
              <a:gd name="T82" fmla="*/ 170 w 272"/>
              <a:gd name="T83" fmla="*/ 246 h 384"/>
              <a:gd name="T84" fmla="*/ 166 w 272"/>
              <a:gd name="T85" fmla="*/ 260 h 384"/>
              <a:gd name="T86" fmla="*/ 156 w 272"/>
              <a:gd name="T87" fmla="*/ 272 h 384"/>
              <a:gd name="T88" fmla="*/ 170 w 272"/>
              <a:gd name="T89" fmla="*/ 338 h 384"/>
              <a:gd name="T90" fmla="*/ 168 w 272"/>
              <a:gd name="T91" fmla="*/ 346 h 384"/>
              <a:gd name="T92" fmla="*/ 212 w 272"/>
              <a:gd name="T93" fmla="*/ 160 h 384"/>
              <a:gd name="T94" fmla="*/ 60 w 272"/>
              <a:gd name="T95" fmla="*/ 110 h 384"/>
              <a:gd name="T96" fmla="*/ 62 w 272"/>
              <a:gd name="T97" fmla="*/ 94 h 384"/>
              <a:gd name="T98" fmla="*/ 72 w 272"/>
              <a:gd name="T99" fmla="*/ 68 h 384"/>
              <a:gd name="T100" fmla="*/ 92 w 272"/>
              <a:gd name="T101" fmla="*/ 48 h 384"/>
              <a:gd name="T102" fmla="*/ 120 w 272"/>
              <a:gd name="T103" fmla="*/ 36 h 384"/>
              <a:gd name="T104" fmla="*/ 138 w 272"/>
              <a:gd name="T105" fmla="*/ 36 h 384"/>
              <a:gd name="T106" fmla="*/ 152 w 272"/>
              <a:gd name="T107" fmla="*/ 36 h 384"/>
              <a:gd name="T108" fmla="*/ 178 w 272"/>
              <a:gd name="T109" fmla="*/ 48 h 384"/>
              <a:gd name="T110" fmla="*/ 198 w 272"/>
              <a:gd name="T111" fmla="*/ 68 h 384"/>
              <a:gd name="T112" fmla="*/ 210 w 272"/>
              <a:gd name="T113" fmla="*/ 94 h 384"/>
              <a:gd name="T114" fmla="*/ 212 w 272"/>
              <a:gd name="T115" fmla="*/ 16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2" h="384">
                <a:moveTo>
                  <a:pt x="252" y="160"/>
                </a:moveTo>
                <a:lnTo>
                  <a:pt x="246" y="160"/>
                </a:lnTo>
                <a:lnTo>
                  <a:pt x="246" y="110"/>
                </a:lnTo>
                <a:lnTo>
                  <a:pt x="246" y="110"/>
                </a:lnTo>
                <a:lnTo>
                  <a:pt x="244" y="88"/>
                </a:lnTo>
                <a:lnTo>
                  <a:pt x="238" y="66"/>
                </a:lnTo>
                <a:lnTo>
                  <a:pt x="228" y="48"/>
                </a:lnTo>
                <a:lnTo>
                  <a:pt x="214" y="32"/>
                </a:lnTo>
                <a:lnTo>
                  <a:pt x="198" y="18"/>
                </a:lnTo>
                <a:lnTo>
                  <a:pt x="180" y="8"/>
                </a:lnTo>
                <a:lnTo>
                  <a:pt x="160" y="2"/>
                </a:lnTo>
                <a:lnTo>
                  <a:pt x="138" y="0"/>
                </a:lnTo>
                <a:lnTo>
                  <a:pt x="134" y="0"/>
                </a:lnTo>
                <a:lnTo>
                  <a:pt x="134" y="0"/>
                </a:lnTo>
                <a:lnTo>
                  <a:pt x="112" y="2"/>
                </a:lnTo>
                <a:lnTo>
                  <a:pt x="92" y="8"/>
                </a:lnTo>
                <a:lnTo>
                  <a:pt x="74" y="18"/>
                </a:lnTo>
                <a:lnTo>
                  <a:pt x="58" y="32"/>
                </a:lnTo>
                <a:lnTo>
                  <a:pt x="44" y="48"/>
                </a:lnTo>
                <a:lnTo>
                  <a:pt x="34" y="66"/>
                </a:lnTo>
                <a:lnTo>
                  <a:pt x="28" y="88"/>
                </a:lnTo>
                <a:lnTo>
                  <a:pt x="26" y="110"/>
                </a:lnTo>
                <a:lnTo>
                  <a:pt x="26" y="160"/>
                </a:lnTo>
                <a:lnTo>
                  <a:pt x="20" y="160"/>
                </a:lnTo>
                <a:lnTo>
                  <a:pt x="20" y="160"/>
                </a:lnTo>
                <a:lnTo>
                  <a:pt x="12" y="162"/>
                </a:lnTo>
                <a:lnTo>
                  <a:pt x="6" y="166"/>
                </a:lnTo>
                <a:lnTo>
                  <a:pt x="0" y="172"/>
                </a:lnTo>
                <a:lnTo>
                  <a:pt x="0" y="180"/>
                </a:lnTo>
                <a:lnTo>
                  <a:pt x="0" y="364"/>
                </a:lnTo>
                <a:lnTo>
                  <a:pt x="0" y="364"/>
                </a:lnTo>
                <a:lnTo>
                  <a:pt x="0" y="372"/>
                </a:lnTo>
                <a:lnTo>
                  <a:pt x="6" y="378"/>
                </a:lnTo>
                <a:lnTo>
                  <a:pt x="12" y="382"/>
                </a:lnTo>
                <a:lnTo>
                  <a:pt x="20" y="384"/>
                </a:lnTo>
                <a:lnTo>
                  <a:pt x="252" y="384"/>
                </a:lnTo>
                <a:lnTo>
                  <a:pt x="252" y="384"/>
                </a:lnTo>
                <a:lnTo>
                  <a:pt x="260" y="382"/>
                </a:lnTo>
                <a:lnTo>
                  <a:pt x="266" y="378"/>
                </a:lnTo>
                <a:lnTo>
                  <a:pt x="270" y="372"/>
                </a:lnTo>
                <a:lnTo>
                  <a:pt x="272" y="364"/>
                </a:lnTo>
                <a:lnTo>
                  <a:pt x="272" y="180"/>
                </a:lnTo>
                <a:lnTo>
                  <a:pt x="272" y="180"/>
                </a:lnTo>
                <a:lnTo>
                  <a:pt x="270" y="172"/>
                </a:lnTo>
                <a:lnTo>
                  <a:pt x="266" y="166"/>
                </a:lnTo>
                <a:lnTo>
                  <a:pt x="260" y="162"/>
                </a:lnTo>
                <a:lnTo>
                  <a:pt x="252" y="160"/>
                </a:lnTo>
                <a:lnTo>
                  <a:pt x="252" y="160"/>
                </a:lnTo>
                <a:close/>
                <a:moveTo>
                  <a:pt x="168" y="346"/>
                </a:moveTo>
                <a:lnTo>
                  <a:pt x="168" y="346"/>
                </a:lnTo>
                <a:lnTo>
                  <a:pt x="166" y="348"/>
                </a:lnTo>
                <a:lnTo>
                  <a:pt x="162" y="348"/>
                </a:lnTo>
                <a:lnTo>
                  <a:pt x="110" y="348"/>
                </a:lnTo>
                <a:lnTo>
                  <a:pt x="110" y="348"/>
                </a:lnTo>
                <a:lnTo>
                  <a:pt x="106" y="348"/>
                </a:lnTo>
                <a:lnTo>
                  <a:pt x="104" y="346"/>
                </a:lnTo>
                <a:lnTo>
                  <a:pt x="104" y="346"/>
                </a:lnTo>
                <a:lnTo>
                  <a:pt x="102" y="342"/>
                </a:lnTo>
                <a:lnTo>
                  <a:pt x="102" y="338"/>
                </a:lnTo>
                <a:lnTo>
                  <a:pt x="116" y="272"/>
                </a:lnTo>
                <a:lnTo>
                  <a:pt x="116" y="272"/>
                </a:lnTo>
                <a:lnTo>
                  <a:pt x="110" y="268"/>
                </a:lnTo>
                <a:lnTo>
                  <a:pt x="106" y="260"/>
                </a:lnTo>
                <a:lnTo>
                  <a:pt x="102" y="254"/>
                </a:lnTo>
                <a:lnTo>
                  <a:pt x="102" y="246"/>
                </a:lnTo>
                <a:lnTo>
                  <a:pt x="102" y="246"/>
                </a:lnTo>
                <a:lnTo>
                  <a:pt x="102" y="238"/>
                </a:lnTo>
                <a:lnTo>
                  <a:pt x="104" y="232"/>
                </a:lnTo>
                <a:lnTo>
                  <a:pt x="108" y="226"/>
                </a:lnTo>
                <a:lnTo>
                  <a:pt x="112" y="222"/>
                </a:lnTo>
                <a:lnTo>
                  <a:pt x="116" y="218"/>
                </a:lnTo>
                <a:lnTo>
                  <a:pt x="122" y="214"/>
                </a:lnTo>
                <a:lnTo>
                  <a:pt x="128" y="212"/>
                </a:lnTo>
                <a:lnTo>
                  <a:pt x="136" y="212"/>
                </a:lnTo>
                <a:lnTo>
                  <a:pt x="136" y="212"/>
                </a:lnTo>
                <a:lnTo>
                  <a:pt x="142" y="212"/>
                </a:lnTo>
                <a:lnTo>
                  <a:pt x="148" y="214"/>
                </a:lnTo>
                <a:lnTo>
                  <a:pt x="154" y="218"/>
                </a:lnTo>
                <a:lnTo>
                  <a:pt x="160" y="222"/>
                </a:lnTo>
                <a:lnTo>
                  <a:pt x="164" y="226"/>
                </a:lnTo>
                <a:lnTo>
                  <a:pt x="166" y="232"/>
                </a:lnTo>
                <a:lnTo>
                  <a:pt x="168" y="238"/>
                </a:lnTo>
                <a:lnTo>
                  <a:pt x="170" y="246"/>
                </a:lnTo>
                <a:lnTo>
                  <a:pt x="170" y="246"/>
                </a:lnTo>
                <a:lnTo>
                  <a:pt x="168" y="254"/>
                </a:lnTo>
                <a:lnTo>
                  <a:pt x="166" y="260"/>
                </a:lnTo>
                <a:lnTo>
                  <a:pt x="162" y="268"/>
                </a:lnTo>
                <a:lnTo>
                  <a:pt x="156" y="272"/>
                </a:lnTo>
                <a:lnTo>
                  <a:pt x="170" y="338"/>
                </a:lnTo>
                <a:lnTo>
                  <a:pt x="170" y="338"/>
                </a:lnTo>
                <a:lnTo>
                  <a:pt x="170" y="342"/>
                </a:lnTo>
                <a:lnTo>
                  <a:pt x="168" y="346"/>
                </a:lnTo>
                <a:lnTo>
                  <a:pt x="168" y="346"/>
                </a:lnTo>
                <a:close/>
                <a:moveTo>
                  <a:pt x="212" y="160"/>
                </a:moveTo>
                <a:lnTo>
                  <a:pt x="60" y="160"/>
                </a:lnTo>
                <a:lnTo>
                  <a:pt x="60" y="110"/>
                </a:lnTo>
                <a:lnTo>
                  <a:pt x="60" y="110"/>
                </a:lnTo>
                <a:lnTo>
                  <a:pt x="62" y="94"/>
                </a:lnTo>
                <a:lnTo>
                  <a:pt x="66" y="80"/>
                </a:lnTo>
                <a:lnTo>
                  <a:pt x="72" y="68"/>
                </a:lnTo>
                <a:lnTo>
                  <a:pt x="82" y="56"/>
                </a:lnTo>
                <a:lnTo>
                  <a:pt x="92" y="48"/>
                </a:lnTo>
                <a:lnTo>
                  <a:pt x="106" y="40"/>
                </a:lnTo>
                <a:lnTo>
                  <a:pt x="120" y="36"/>
                </a:lnTo>
                <a:lnTo>
                  <a:pt x="134" y="36"/>
                </a:lnTo>
                <a:lnTo>
                  <a:pt x="138" y="36"/>
                </a:lnTo>
                <a:lnTo>
                  <a:pt x="138" y="36"/>
                </a:lnTo>
                <a:lnTo>
                  <a:pt x="152" y="36"/>
                </a:lnTo>
                <a:lnTo>
                  <a:pt x="166" y="40"/>
                </a:lnTo>
                <a:lnTo>
                  <a:pt x="178" y="48"/>
                </a:lnTo>
                <a:lnTo>
                  <a:pt x="190" y="56"/>
                </a:lnTo>
                <a:lnTo>
                  <a:pt x="198" y="68"/>
                </a:lnTo>
                <a:lnTo>
                  <a:pt x="206" y="80"/>
                </a:lnTo>
                <a:lnTo>
                  <a:pt x="210" y="94"/>
                </a:lnTo>
                <a:lnTo>
                  <a:pt x="212" y="110"/>
                </a:lnTo>
                <a:lnTo>
                  <a:pt x="212" y="160"/>
                </a:lnTo>
                <a:close/>
              </a:path>
            </a:pathLst>
          </a:custGeom>
          <a:solidFill>
            <a:srgbClr val="E31A22"/>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3" name="TextBox 42"/>
          <p:cNvSpPr txBox="1"/>
          <p:nvPr/>
        </p:nvSpPr>
        <p:spPr>
          <a:xfrm>
            <a:off x="661477" y="2212064"/>
            <a:ext cx="2283797" cy="813010"/>
          </a:xfrm>
          <a:prstGeom prst="rect">
            <a:avLst/>
          </a:prstGeom>
          <a:noFill/>
        </p:spPr>
        <p:txBody>
          <a:bodyPr wrap="square" lIns="0" tIns="0" rIns="0" bIns="0" rtlCol="0" anchor="t" anchorCtr="0">
            <a:spAutoFit/>
          </a:bodyPr>
          <a:lstStyle/>
          <a:p>
            <a:pPr marL="0" marR="0" lvl="0" indent="0" algn="l" defTabSz="932563" rtl="0" eaLnBrk="1" fontAlgn="auto" latinLnBrk="0" hangingPunct="1">
              <a:lnSpc>
                <a:spcPct val="90000"/>
              </a:lnSpc>
              <a:spcBef>
                <a:spcPts val="0"/>
              </a:spcBef>
              <a:spcAft>
                <a:spcPts val="612"/>
              </a:spcAft>
              <a:buClrTx/>
              <a:buSzTx/>
              <a:buFontTx/>
              <a:buNone/>
              <a:tabLst/>
              <a:defRPr/>
            </a:pPr>
            <a:r>
              <a:rPr kumimoji="0" lang="en-US" sz="1428" b="1" i="0" u="none" strike="noStrike" kern="0" cap="none" spc="-51"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Segoe UI" panose="020B0502040204020203" pitchFamily="34" charset="0"/>
              </a:rPr>
              <a:t>Simplifying data discovery and classification</a:t>
            </a:r>
          </a:p>
          <a:p>
            <a:pPr marL="0" marR="0" lvl="0" indent="0" algn="l" defTabSz="932563" rtl="0" eaLnBrk="1" fontAlgn="auto" latinLnBrk="0" hangingPunct="1">
              <a:lnSpc>
                <a:spcPct val="90000"/>
              </a:lnSpc>
              <a:spcBef>
                <a:spcPts val="0"/>
              </a:spcBef>
              <a:spcAft>
                <a:spcPts val="612"/>
              </a:spcAft>
              <a:buClrTx/>
              <a:buSzTx/>
              <a:buFontTx/>
              <a:buNone/>
              <a:tabLst/>
              <a:defRPr/>
            </a:pPr>
            <a:r>
              <a:rPr kumimoji="0" lang="en-US" sz="1122" b="0" i="0" u="none" strike="noStrike" kern="0" cap="none" spc="0" normalizeH="0" baseline="0" noProof="0" dirty="0">
                <a:ln>
                  <a:noFill/>
                </a:ln>
                <a:solidFill>
                  <a:srgbClr val="53565A"/>
                </a:solidFill>
                <a:effectLst/>
                <a:uLnTx/>
                <a:uFillTx/>
                <a:latin typeface="Segoe UI"/>
                <a:ea typeface="+mn-ea"/>
                <a:cs typeface="+mn-cs"/>
              </a:rPr>
              <a:t>Save time, money, and reduce the </a:t>
            </a:r>
            <a:br>
              <a:rPr kumimoji="0" lang="en-US" sz="1122" b="0" i="0" u="none" strike="noStrike" kern="0" cap="none" spc="0" normalizeH="0" baseline="0" noProof="0" dirty="0">
                <a:ln>
                  <a:noFill/>
                </a:ln>
                <a:solidFill>
                  <a:srgbClr val="53565A"/>
                </a:solidFill>
                <a:effectLst/>
                <a:uLnTx/>
                <a:uFillTx/>
                <a:latin typeface="Segoe UI"/>
                <a:ea typeface="+mn-ea"/>
                <a:cs typeface="+mn-cs"/>
              </a:rPr>
            </a:br>
            <a:r>
              <a:rPr kumimoji="0" lang="en-US" sz="1122" b="0" i="0" u="none" strike="noStrike" kern="0" cap="none" spc="0" normalizeH="0" baseline="0" noProof="0" dirty="0">
                <a:ln>
                  <a:noFill/>
                </a:ln>
                <a:solidFill>
                  <a:srgbClr val="53565A"/>
                </a:solidFill>
                <a:effectLst/>
                <a:uLnTx/>
                <a:uFillTx/>
                <a:latin typeface="Segoe UI"/>
                <a:ea typeface="+mn-ea"/>
                <a:cs typeface="+mn-cs"/>
              </a:rPr>
              <a:t>end user burden on IT</a:t>
            </a:r>
          </a:p>
        </p:txBody>
      </p:sp>
      <p:grpSp>
        <p:nvGrpSpPr>
          <p:cNvPr id="68" name="Group 67"/>
          <p:cNvGrpSpPr/>
          <p:nvPr/>
        </p:nvGrpSpPr>
        <p:grpSpPr>
          <a:xfrm>
            <a:off x="690325" y="1604456"/>
            <a:ext cx="618791" cy="505708"/>
            <a:chOff x="8528072" y="2730513"/>
            <a:chExt cx="625482" cy="511176"/>
          </a:xfrm>
        </p:grpSpPr>
        <p:sp>
          <p:nvSpPr>
            <p:cNvPr id="69" name="Freeform 286"/>
            <p:cNvSpPr>
              <a:spLocks/>
            </p:cNvSpPr>
            <p:nvPr/>
          </p:nvSpPr>
          <p:spPr bwMode="auto">
            <a:xfrm>
              <a:off x="8528077" y="2873387"/>
              <a:ext cx="625477" cy="368302"/>
            </a:xfrm>
            <a:custGeom>
              <a:avLst/>
              <a:gdLst>
                <a:gd name="T0" fmla="*/ 394 w 394"/>
                <a:gd name="T1" fmla="*/ 198 h 232"/>
                <a:gd name="T2" fmla="*/ 394 w 394"/>
                <a:gd name="T3" fmla="*/ 198 h 232"/>
                <a:gd name="T4" fmla="*/ 394 w 394"/>
                <a:gd name="T5" fmla="*/ 206 h 232"/>
                <a:gd name="T6" fmla="*/ 392 w 394"/>
                <a:gd name="T7" fmla="*/ 212 h 232"/>
                <a:gd name="T8" fmla="*/ 388 w 394"/>
                <a:gd name="T9" fmla="*/ 218 h 232"/>
                <a:gd name="T10" fmla="*/ 384 w 394"/>
                <a:gd name="T11" fmla="*/ 222 h 232"/>
                <a:gd name="T12" fmla="*/ 378 w 394"/>
                <a:gd name="T13" fmla="*/ 226 h 232"/>
                <a:gd name="T14" fmla="*/ 372 w 394"/>
                <a:gd name="T15" fmla="*/ 228 h 232"/>
                <a:gd name="T16" fmla="*/ 366 w 394"/>
                <a:gd name="T17" fmla="*/ 230 h 232"/>
                <a:gd name="T18" fmla="*/ 358 w 394"/>
                <a:gd name="T19" fmla="*/ 232 h 232"/>
                <a:gd name="T20" fmla="*/ 36 w 394"/>
                <a:gd name="T21" fmla="*/ 232 h 232"/>
                <a:gd name="T22" fmla="*/ 36 w 394"/>
                <a:gd name="T23" fmla="*/ 232 h 232"/>
                <a:gd name="T24" fmla="*/ 30 w 394"/>
                <a:gd name="T25" fmla="*/ 230 h 232"/>
                <a:gd name="T26" fmla="*/ 22 w 394"/>
                <a:gd name="T27" fmla="*/ 228 h 232"/>
                <a:gd name="T28" fmla="*/ 16 w 394"/>
                <a:gd name="T29" fmla="*/ 226 h 232"/>
                <a:gd name="T30" fmla="*/ 10 w 394"/>
                <a:gd name="T31" fmla="*/ 222 h 232"/>
                <a:gd name="T32" fmla="*/ 6 w 394"/>
                <a:gd name="T33" fmla="*/ 218 h 232"/>
                <a:gd name="T34" fmla="*/ 4 w 394"/>
                <a:gd name="T35" fmla="*/ 212 h 232"/>
                <a:gd name="T36" fmla="*/ 2 w 394"/>
                <a:gd name="T37" fmla="*/ 206 h 232"/>
                <a:gd name="T38" fmla="*/ 0 w 394"/>
                <a:gd name="T39" fmla="*/ 198 h 232"/>
                <a:gd name="T40" fmla="*/ 0 w 394"/>
                <a:gd name="T41" fmla="*/ 32 h 232"/>
                <a:gd name="T42" fmla="*/ 0 w 394"/>
                <a:gd name="T43" fmla="*/ 32 h 232"/>
                <a:gd name="T44" fmla="*/ 2 w 394"/>
                <a:gd name="T45" fmla="*/ 26 h 232"/>
                <a:gd name="T46" fmla="*/ 4 w 394"/>
                <a:gd name="T47" fmla="*/ 20 h 232"/>
                <a:gd name="T48" fmla="*/ 6 w 394"/>
                <a:gd name="T49" fmla="*/ 14 h 232"/>
                <a:gd name="T50" fmla="*/ 10 w 394"/>
                <a:gd name="T51" fmla="*/ 10 h 232"/>
                <a:gd name="T52" fmla="*/ 16 w 394"/>
                <a:gd name="T53" fmla="*/ 6 h 232"/>
                <a:gd name="T54" fmla="*/ 22 w 394"/>
                <a:gd name="T55" fmla="*/ 2 h 232"/>
                <a:gd name="T56" fmla="*/ 30 w 394"/>
                <a:gd name="T57" fmla="*/ 0 h 232"/>
                <a:gd name="T58" fmla="*/ 36 w 394"/>
                <a:gd name="T59" fmla="*/ 0 h 232"/>
                <a:gd name="T60" fmla="*/ 358 w 394"/>
                <a:gd name="T61" fmla="*/ 0 h 232"/>
                <a:gd name="T62" fmla="*/ 358 w 394"/>
                <a:gd name="T63" fmla="*/ 0 h 232"/>
                <a:gd name="T64" fmla="*/ 366 w 394"/>
                <a:gd name="T65" fmla="*/ 0 h 232"/>
                <a:gd name="T66" fmla="*/ 372 w 394"/>
                <a:gd name="T67" fmla="*/ 2 h 232"/>
                <a:gd name="T68" fmla="*/ 378 w 394"/>
                <a:gd name="T69" fmla="*/ 6 h 232"/>
                <a:gd name="T70" fmla="*/ 384 w 394"/>
                <a:gd name="T71" fmla="*/ 10 h 232"/>
                <a:gd name="T72" fmla="*/ 388 w 394"/>
                <a:gd name="T73" fmla="*/ 14 h 232"/>
                <a:gd name="T74" fmla="*/ 392 w 394"/>
                <a:gd name="T75" fmla="*/ 20 h 232"/>
                <a:gd name="T76" fmla="*/ 394 w 394"/>
                <a:gd name="T77" fmla="*/ 26 h 232"/>
                <a:gd name="T78" fmla="*/ 394 w 394"/>
                <a:gd name="T79" fmla="*/ 32 h 232"/>
                <a:gd name="T80" fmla="*/ 394 w 394"/>
                <a:gd name="T81" fmla="*/ 19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4" h="232">
                  <a:moveTo>
                    <a:pt x="394" y="198"/>
                  </a:moveTo>
                  <a:lnTo>
                    <a:pt x="394" y="198"/>
                  </a:lnTo>
                  <a:lnTo>
                    <a:pt x="394" y="206"/>
                  </a:lnTo>
                  <a:lnTo>
                    <a:pt x="392" y="212"/>
                  </a:lnTo>
                  <a:lnTo>
                    <a:pt x="388" y="218"/>
                  </a:lnTo>
                  <a:lnTo>
                    <a:pt x="384" y="222"/>
                  </a:lnTo>
                  <a:lnTo>
                    <a:pt x="378" y="226"/>
                  </a:lnTo>
                  <a:lnTo>
                    <a:pt x="372" y="228"/>
                  </a:lnTo>
                  <a:lnTo>
                    <a:pt x="366" y="230"/>
                  </a:lnTo>
                  <a:lnTo>
                    <a:pt x="358" y="232"/>
                  </a:lnTo>
                  <a:lnTo>
                    <a:pt x="36" y="232"/>
                  </a:lnTo>
                  <a:lnTo>
                    <a:pt x="36" y="232"/>
                  </a:lnTo>
                  <a:lnTo>
                    <a:pt x="30" y="230"/>
                  </a:lnTo>
                  <a:lnTo>
                    <a:pt x="22" y="228"/>
                  </a:lnTo>
                  <a:lnTo>
                    <a:pt x="16" y="226"/>
                  </a:lnTo>
                  <a:lnTo>
                    <a:pt x="10" y="222"/>
                  </a:lnTo>
                  <a:lnTo>
                    <a:pt x="6" y="218"/>
                  </a:lnTo>
                  <a:lnTo>
                    <a:pt x="4" y="212"/>
                  </a:lnTo>
                  <a:lnTo>
                    <a:pt x="2" y="206"/>
                  </a:lnTo>
                  <a:lnTo>
                    <a:pt x="0" y="198"/>
                  </a:lnTo>
                  <a:lnTo>
                    <a:pt x="0" y="32"/>
                  </a:lnTo>
                  <a:lnTo>
                    <a:pt x="0" y="32"/>
                  </a:lnTo>
                  <a:lnTo>
                    <a:pt x="2" y="26"/>
                  </a:lnTo>
                  <a:lnTo>
                    <a:pt x="4" y="20"/>
                  </a:lnTo>
                  <a:lnTo>
                    <a:pt x="6" y="14"/>
                  </a:lnTo>
                  <a:lnTo>
                    <a:pt x="10" y="10"/>
                  </a:lnTo>
                  <a:lnTo>
                    <a:pt x="16" y="6"/>
                  </a:lnTo>
                  <a:lnTo>
                    <a:pt x="22" y="2"/>
                  </a:lnTo>
                  <a:lnTo>
                    <a:pt x="30" y="0"/>
                  </a:lnTo>
                  <a:lnTo>
                    <a:pt x="36" y="0"/>
                  </a:lnTo>
                  <a:lnTo>
                    <a:pt x="358" y="0"/>
                  </a:lnTo>
                  <a:lnTo>
                    <a:pt x="358" y="0"/>
                  </a:lnTo>
                  <a:lnTo>
                    <a:pt x="366" y="0"/>
                  </a:lnTo>
                  <a:lnTo>
                    <a:pt x="372" y="2"/>
                  </a:lnTo>
                  <a:lnTo>
                    <a:pt x="378" y="6"/>
                  </a:lnTo>
                  <a:lnTo>
                    <a:pt x="384" y="10"/>
                  </a:lnTo>
                  <a:lnTo>
                    <a:pt x="388" y="14"/>
                  </a:lnTo>
                  <a:lnTo>
                    <a:pt x="392" y="20"/>
                  </a:lnTo>
                  <a:lnTo>
                    <a:pt x="394" y="26"/>
                  </a:lnTo>
                  <a:lnTo>
                    <a:pt x="394" y="32"/>
                  </a:lnTo>
                  <a:lnTo>
                    <a:pt x="394" y="198"/>
                  </a:lnTo>
                  <a:close/>
                </a:path>
              </a:pathLst>
            </a:custGeom>
            <a:solidFill>
              <a:srgbClr val="E31A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70" name="Freeform 287"/>
            <p:cNvSpPr>
              <a:spLocks/>
            </p:cNvSpPr>
            <p:nvPr/>
          </p:nvSpPr>
          <p:spPr bwMode="auto">
            <a:xfrm>
              <a:off x="8528072" y="2730513"/>
              <a:ext cx="625477" cy="161926"/>
            </a:xfrm>
            <a:custGeom>
              <a:avLst/>
              <a:gdLst>
                <a:gd name="T0" fmla="*/ 346 w 394"/>
                <a:gd name="T1" fmla="*/ 34 h 102"/>
                <a:gd name="T2" fmla="*/ 190 w 394"/>
                <a:gd name="T3" fmla="*/ 34 h 102"/>
                <a:gd name="T4" fmla="*/ 190 w 394"/>
                <a:gd name="T5" fmla="*/ 34 h 102"/>
                <a:gd name="T6" fmla="*/ 190 w 394"/>
                <a:gd name="T7" fmla="*/ 28 h 102"/>
                <a:gd name="T8" fmla="*/ 188 w 394"/>
                <a:gd name="T9" fmla="*/ 20 h 102"/>
                <a:gd name="T10" fmla="*/ 184 w 394"/>
                <a:gd name="T11" fmla="*/ 14 h 102"/>
                <a:gd name="T12" fmla="*/ 178 w 394"/>
                <a:gd name="T13" fmla="*/ 10 h 102"/>
                <a:gd name="T14" fmla="*/ 172 w 394"/>
                <a:gd name="T15" fmla="*/ 4 h 102"/>
                <a:gd name="T16" fmla="*/ 166 w 394"/>
                <a:gd name="T17" fmla="*/ 2 h 102"/>
                <a:gd name="T18" fmla="*/ 158 w 394"/>
                <a:gd name="T19" fmla="*/ 0 h 102"/>
                <a:gd name="T20" fmla="*/ 150 w 394"/>
                <a:gd name="T21" fmla="*/ 0 h 102"/>
                <a:gd name="T22" fmla="*/ 42 w 394"/>
                <a:gd name="T23" fmla="*/ 0 h 102"/>
                <a:gd name="T24" fmla="*/ 42 w 394"/>
                <a:gd name="T25" fmla="*/ 0 h 102"/>
                <a:gd name="T26" fmla="*/ 34 w 394"/>
                <a:gd name="T27" fmla="*/ 0 h 102"/>
                <a:gd name="T28" fmla="*/ 26 w 394"/>
                <a:gd name="T29" fmla="*/ 2 h 102"/>
                <a:gd name="T30" fmla="*/ 18 w 394"/>
                <a:gd name="T31" fmla="*/ 6 h 102"/>
                <a:gd name="T32" fmla="*/ 12 w 394"/>
                <a:gd name="T33" fmla="*/ 10 h 102"/>
                <a:gd name="T34" fmla="*/ 8 w 394"/>
                <a:gd name="T35" fmla="*/ 16 h 102"/>
                <a:gd name="T36" fmla="*/ 4 w 394"/>
                <a:gd name="T37" fmla="*/ 22 h 102"/>
                <a:gd name="T38" fmla="*/ 2 w 394"/>
                <a:gd name="T39" fmla="*/ 28 h 102"/>
                <a:gd name="T40" fmla="*/ 0 w 394"/>
                <a:gd name="T41" fmla="*/ 36 h 102"/>
                <a:gd name="T42" fmla="*/ 0 w 394"/>
                <a:gd name="T43" fmla="*/ 90 h 102"/>
                <a:gd name="T44" fmla="*/ 0 w 394"/>
                <a:gd name="T45" fmla="*/ 90 h 102"/>
                <a:gd name="T46" fmla="*/ 0 w 394"/>
                <a:gd name="T47" fmla="*/ 86 h 102"/>
                <a:gd name="T48" fmla="*/ 0 w 394"/>
                <a:gd name="T49" fmla="*/ 98 h 102"/>
                <a:gd name="T50" fmla="*/ 0 w 394"/>
                <a:gd name="T51" fmla="*/ 98 h 102"/>
                <a:gd name="T52" fmla="*/ 2 w 394"/>
                <a:gd name="T53" fmla="*/ 92 h 102"/>
                <a:gd name="T54" fmla="*/ 4 w 394"/>
                <a:gd name="T55" fmla="*/ 88 h 102"/>
                <a:gd name="T56" fmla="*/ 12 w 394"/>
                <a:gd name="T57" fmla="*/ 78 h 102"/>
                <a:gd name="T58" fmla="*/ 24 w 394"/>
                <a:gd name="T59" fmla="*/ 72 h 102"/>
                <a:gd name="T60" fmla="*/ 36 w 394"/>
                <a:gd name="T61" fmla="*/ 70 h 102"/>
                <a:gd name="T62" fmla="*/ 38 w 394"/>
                <a:gd name="T63" fmla="*/ 70 h 102"/>
                <a:gd name="T64" fmla="*/ 48 w 394"/>
                <a:gd name="T65" fmla="*/ 40 h 102"/>
                <a:gd name="T66" fmla="*/ 78 w 394"/>
                <a:gd name="T67" fmla="*/ 48 h 102"/>
                <a:gd name="T68" fmla="*/ 88 w 394"/>
                <a:gd name="T69" fmla="*/ 20 h 102"/>
                <a:gd name="T70" fmla="*/ 248 w 394"/>
                <a:gd name="T71" fmla="*/ 70 h 102"/>
                <a:gd name="T72" fmla="*/ 358 w 394"/>
                <a:gd name="T73" fmla="*/ 70 h 102"/>
                <a:gd name="T74" fmla="*/ 358 w 394"/>
                <a:gd name="T75" fmla="*/ 70 h 102"/>
                <a:gd name="T76" fmla="*/ 366 w 394"/>
                <a:gd name="T77" fmla="*/ 70 h 102"/>
                <a:gd name="T78" fmla="*/ 372 w 394"/>
                <a:gd name="T79" fmla="*/ 72 h 102"/>
                <a:gd name="T80" fmla="*/ 378 w 394"/>
                <a:gd name="T81" fmla="*/ 76 h 102"/>
                <a:gd name="T82" fmla="*/ 384 w 394"/>
                <a:gd name="T83" fmla="*/ 80 h 102"/>
                <a:gd name="T84" fmla="*/ 388 w 394"/>
                <a:gd name="T85" fmla="*/ 84 h 102"/>
                <a:gd name="T86" fmla="*/ 392 w 394"/>
                <a:gd name="T87" fmla="*/ 90 h 102"/>
                <a:gd name="T88" fmla="*/ 394 w 394"/>
                <a:gd name="T89" fmla="*/ 96 h 102"/>
                <a:gd name="T90" fmla="*/ 394 w 394"/>
                <a:gd name="T91" fmla="*/ 102 h 102"/>
                <a:gd name="T92" fmla="*/ 394 w 394"/>
                <a:gd name="T93" fmla="*/ 78 h 102"/>
                <a:gd name="T94" fmla="*/ 394 w 394"/>
                <a:gd name="T95" fmla="*/ 78 h 102"/>
                <a:gd name="T96" fmla="*/ 394 w 394"/>
                <a:gd name="T97" fmla="*/ 68 h 102"/>
                <a:gd name="T98" fmla="*/ 392 w 394"/>
                <a:gd name="T99" fmla="*/ 60 h 102"/>
                <a:gd name="T100" fmla="*/ 386 w 394"/>
                <a:gd name="T101" fmla="*/ 54 h 102"/>
                <a:gd name="T102" fmla="*/ 380 w 394"/>
                <a:gd name="T103" fmla="*/ 46 h 102"/>
                <a:gd name="T104" fmla="*/ 374 w 394"/>
                <a:gd name="T105" fmla="*/ 42 h 102"/>
                <a:gd name="T106" fmla="*/ 366 w 394"/>
                <a:gd name="T107" fmla="*/ 38 h 102"/>
                <a:gd name="T108" fmla="*/ 356 w 394"/>
                <a:gd name="T109" fmla="*/ 36 h 102"/>
                <a:gd name="T110" fmla="*/ 346 w 394"/>
                <a:gd name="T111" fmla="*/ 34 h 102"/>
                <a:gd name="T112" fmla="*/ 346 w 394"/>
                <a:gd name="T113" fmla="*/ 3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4" h="102">
                  <a:moveTo>
                    <a:pt x="346" y="34"/>
                  </a:moveTo>
                  <a:lnTo>
                    <a:pt x="190" y="34"/>
                  </a:lnTo>
                  <a:lnTo>
                    <a:pt x="190" y="34"/>
                  </a:lnTo>
                  <a:lnTo>
                    <a:pt x="190" y="28"/>
                  </a:lnTo>
                  <a:lnTo>
                    <a:pt x="188" y="20"/>
                  </a:lnTo>
                  <a:lnTo>
                    <a:pt x="184" y="14"/>
                  </a:lnTo>
                  <a:lnTo>
                    <a:pt x="178" y="10"/>
                  </a:lnTo>
                  <a:lnTo>
                    <a:pt x="172" y="4"/>
                  </a:lnTo>
                  <a:lnTo>
                    <a:pt x="166" y="2"/>
                  </a:lnTo>
                  <a:lnTo>
                    <a:pt x="158" y="0"/>
                  </a:lnTo>
                  <a:lnTo>
                    <a:pt x="150" y="0"/>
                  </a:lnTo>
                  <a:lnTo>
                    <a:pt x="42" y="0"/>
                  </a:lnTo>
                  <a:lnTo>
                    <a:pt x="42" y="0"/>
                  </a:lnTo>
                  <a:lnTo>
                    <a:pt x="34" y="0"/>
                  </a:lnTo>
                  <a:lnTo>
                    <a:pt x="26" y="2"/>
                  </a:lnTo>
                  <a:lnTo>
                    <a:pt x="18" y="6"/>
                  </a:lnTo>
                  <a:lnTo>
                    <a:pt x="12" y="10"/>
                  </a:lnTo>
                  <a:lnTo>
                    <a:pt x="8" y="16"/>
                  </a:lnTo>
                  <a:lnTo>
                    <a:pt x="4" y="22"/>
                  </a:lnTo>
                  <a:lnTo>
                    <a:pt x="2" y="28"/>
                  </a:lnTo>
                  <a:lnTo>
                    <a:pt x="0" y="36"/>
                  </a:lnTo>
                  <a:lnTo>
                    <a:pt x="0" y="90"/>
                  </a:lnTo>
                  <a:lnTo>
                    <a:pt x="0" y="90"/>
                  </a:lnTo>
                  <a:lnTo>
                    <a:pt x="0" y="86"/>
                  </a:lnTo>
                  <a:lnTo>
                    <a:pt x="0" y="98"/>
                  </a:lnTo>
                  <a:lnTo>
                    <a:pt x="0" y="98"/>
                  </a:lnTo>
                  <a:lnTo>
                    <a:pt x="2" y="92"/>
                  </a:lnTo>
                  <a:lnTo>
                    <a:pt x="4" y="88"/>
                  </a:lnTo>
                  <a:lnTo>
                    <a:pt x="12" y="78"/>
                  </a:lnTo>
                  <a:lnTo>
                    <a:pt x="24" y="72"/>
                  </a:lnTo>
                  <a:lnTo>
                    <a:pt x="36" y="70"/>
                  </a:lnTo>
                  <a:lnTo>
                    <a:pt x="38" y="70"/>
                  </a:lnTo>
                  <a:lnTo>
                    <a:pt x="48" y="40"/>
                  </a:lnTo>
                  <a:lnTo>
                    <a:pt x="78" y="48"/>
                  </a:lnTo>
                  <a:lnTo>
                    <a:pt x="88" y="20"/>
                  </a:lnTo>
                  <a:lnTo>
                    <a:pt x="248" y="70"/>
                  </a:lnTo>
                  <a:lnTo>
                    <a:pt x="358" y="70"/>
                  </a:lnTo>
                  <a:lnTo>
                    <a:pt x="358" y="70"/>
                  </a:lnTo>
                  <a:lnTo>
                    <a:pt x="366" y="70"/>
                  </a:lnTo>
                  <a:lnTo>
                    <a:pt x="372" y="72"/>
                  </a:lnTo>
                  <a:lnTo>
                    <a:pt x="378" y="76"/>
                  </a:lnTo>
                  <a:lnTo>
                    <a:pt x="384" y="80"/>
                  </a:lnTo>
                  <a:lnTo>
                    <a:pt x="388" y="84"/>
                  </a:lnTo>
                  <a:lnTo>
                    <a:pt x="392" y="90"/>
                  </a:lnTo>
                  <a:lnTo>
                    <a:pt x="394" y="96"/>
                  </a:lnTo>
                  <a:lnTo>
                    <a:pt x="394" y="102"/>
                  </a:lnTo>
                  <a:lnTo>
                    <a:pt x="394" y="78"/>
                  </a:lnTo>
                  <a:lnTo>
                    <a:pt x="394" y="78"/>
                  </a:lnTo>
                  <a:lnTo>
                    <a:pt x="394" y="68"/>
                  </a:lnTo>
                  <a:lnTo>
                    <a:pt x="392" y="60"/>
                  </a:lnTo>
                  <a:lnTo>
                    <a:pt x="386" y="54"/>
                  </a:lnTo>
                  <a:lnTo>
                    <a:pt x="380" y="46"/>
                  </a:lnTo>
                  <a:lnTo>
                    <a:pt x="374" y="42"/>
                  </a:lnTo>
                  <a:lnTo>
                    <a:pt x="366" y="38"/>
                  </a:lnTo>
                  <a:lnTo>
                    <a:pt x="356" y="36"/>
                  </a:lnTo>
                  <a:lnTo>
                    <a:pt x="346" y="34"/>
                  </a:lnTo>
                  <a:lnTo>
                    <a:pt x="346" y="34"/>
                  </a:lnTo>
                  <a:close/>
                </a:path>
              </a:pathLst>
            </a:custGeom>
            <a:solidFill>
              <a:srgbClr val="E31A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71" name="Freeform 288"/>
            <p:cNvSpPr>
              <a:spLocks noEditPoints="1"/>
            </p:cNvSpPr>
            <p:nvPr/>
          </p:nvSpPr>
          <p:spPr bwMode="auto">
            <a:xfrm>
              <a:off x="8680470" y="2913005"/>
              <a:ext cx="313056" cy="315983"/>
            </a:xfrm>
            <a:custGeom>
              <a:avLst/>
              <a:gdLst>
                <a:gd name="T0" fmla="*/ 172 w 214"/>
                <a:gd name="T1" fmla="*/ 144 h 216"/>
                <a:gd name="T2" fmla="*/ 168 w 214"/>
                <a:gd name="T3" fmla="*/ 140 h 216"/>
                <a:gd name="T4" fmla="*/ 158 w 214"/>
                <a:gd name="T5" fmla="*/ 138 h 216"/>
                <a:gd name="T6" fmla="*/ 146 w 214"/>
                <a:gd name="T7" fmla="*/ 134 h 216"/>
                <a:gd name="T8" fmla="*/ 154 w 214"/>
                <a:gd name="T9" fmla="*/ 122 h 216"/>
                <a:gd name="T10" fmla="*/ 162 w 214"/>
                <a:gd name="T11" fmla="*/ 96 h 216"/>
                <a:gd name="T12" fmla="*/ 164 w 214"/>
                <a:gd name="T13" fmla="*/ 82 h 216"/>
                <a:gd name="T14" fmla="*/ 158 w 214"/>
                <a:gd name="T15" fmla="*/ 50 h 216"/>
                <a:gd name="T16" fmla="*/ 140 w 214"/>
                <a:gd name="T17" fmla="*/ 24 h 216"/>
                <a:gd name="T18" fmla="*/ 114 w 214"/>
                <a:gd name="T19" fmla="*/ 6 h 216"/>
                <a:gd name="T20" fmla="*/ 82 w 214"/>
                <a:gd name="T21" fmla="*/ 0 h 216"/>
                <a:gd name="T22" fmla="*/ 64 w 214"/>
                <a:gd name="T23" fmla="*/ 2 h 216"/>
                <a:gd name="T24" fmla="*/ 36 w 214"/>
                <a:gd name="T25" fmla="*/ 14 h 216"/>
                <a:gd name="T26" fmla="*/ 14 w 214"/>
                <a:gd name="T27" fmla="*/ 36 h 216"/>
                <a:gd name="T28" fmla="*/ 2 w 214"/>
                <a:gd name="T29" fmla="*/ 66 h 216"/>
                <a:gd name="T30" fmla="*/ 0 w 214"/>
                <a:gd name="T31" fmla="*/ 82 h 216"/>
                <a:gd name="T32" fmla="*/ 6 w 214"/>
                <a:gd name="T33" fmla="*/ 114 h 216"/>
                <a:gd name="T34" fmla="*/ 24 w 214"/>
                <a:gd name="T35" fmla="*/ 140 h 216"/>
                <a:gd name="T36" fmla="*/ 50 w 214"/>
                <a:gd name="T37" fmla="*/ 158 h 216"/>
                <a:gd name="T38" fmla="*/ 82 w 214"/>
                <a:gd name="T39" fmla="*/ 164 h 216"/>
                <a:gd name="T40" fmla="*/ 96 w 214"/>
                <a:gd name="T41" fmla="*/ 164 h 216"/>
                <a:gd name="T42" fmla="*/ 122 w 214"/>
                <a:gd name="T43" fmla="*/ 154 h 216"/>
                <a:gd name="T44" fmla="*/ 140 w 214"/>
                <a:gd name="T45" fmla="*/ 154 h 216"/>
                <a:gd name="T46" fmla="*/ 138 w 214"/>
                <a:gd name="T47" fmla="*/ 158 h 216"/>
                <a:gd name="T48" fmla="*/ 140 w 214"/>
                <a:gd name="T49" fmla="*/ 168 h 216"/>
                <a:gd name="T50" fmla="*/ 180 w 214"/>
                <a:gd name="T51" fmla="*/ 210 h 216"/>
                <a:gd name="T52" fmla="*/ 186 w 214"/>
                <a:gd name="T53" fmla="*/ 214 h 216"/>
                <a:gd name="T54" fmla="*/ 198 w 214"/>
                <a:gd name="T55" fmla="*/ 214 h 216"/>
                <a:gd name="T56" fmla="*/ 210 w 214"/>
                <a:gd name="T57" fmla="*/ 204 h 216"/>
                <a:gd name="T58" fmla="*/ 214 w 214"/>
                <a:gd name="T59" fmla="*/ 198 h 216"/>
                <a:gd name="T60" fmla="*/ 214 w 214"/>
                <a:gd name="T61" fmla="*/ 186 h 216"/>
                <a:gd name="T62" fmla="*/ 210 w 214"/>
                <a:gd name="T63" fmla="*/ 182 h 216"/>
                <a:gd name="T64" fmla="*/ 14 w 214"/>
                <a:gd name="T65" fmla="*/ 82 h 216"/>
                <a:gd name="T66" fmla="*/ 20 w 214"/>
                <a:gd name="T67" fmla="*/ 56 h 216"/>
                <a:gd name="T68" fmla="*/ 34 w 214"/>
                <a:gd name="T69" fmla="*/ 34 h 216"/>
                <a:gd name="T70" fmla="*/ 56 w 214"/>
                <a:gd name="T71" fmla="*/ 20 h 216"/>
                <a:gd name="T72" fmla="*/ 82 w 214"/>
                <a:gd name="T73" fmla="*/ 16 h 216"/>
                <a:gd name="T74" fmla="*/ 94 w 214"/>
                <a:gd name="T75" fmla="*/ 16 h 216"/>
                <a:gd name="T76" fmla="*/ 118 w 214"/>
                <a:gd name="T77" fmla="*/ 26 h 216"/>
                <a:gd name="T78" fmla="*/ 138 w 214"/>
                <a:gd name="T79" fmla="*/ 44 h 216"/>
                <a:gd name="T80" fmla="*/ 148 w 214"/>
                <a:gd name="T81" fmla="*/ 68 h 216"/>
                <a:gd name="T82" fmla="*/ 148 w 214"/>
                <a:gd name="T83" fmla="*/ 82 h 216"/>
                <a:gd name="T84" fmla="*/ 144 w 214"/>
                <a:gd name="T85" fmla="*/ 108 h 216"/>
                <a:gd name="T86" fmla="*/ 128 w 214"/>
                <a:gd name="T87" fmla="*/ 130 h 216"/>
                <a:gd name="T88" fmla="*/ 108 w 214"/>
                <a:gd name="T89" fmla="*/ 144 h 216"/>
                <a:gd name="T90" fmla="*/ 82 w 214"/>
                <a:gd name="T91" fmla="*/ 150 h 216"/>
                <a:gd name="T92" fmla="*/ 68 w 214"/>
                <a:gd name="T93" fmla="*/ 148 h 216"/>
                <a:gd name="T94" fmla="*/ 44 w 214"/>
                <a:gd name="T95" fmla="*/ 138 h 216"/>
                <a:gd name="T96" fmla="*/ 26 w 214"/>
                <a:gd name="T97" fmla="*/ 120 h 216"/>
                <a:gd name="T98" fmla="*/ 16 w 214"/>
                <a:gd name="T99" fmla="*/ 96 h 216"/>
                <a:gd name="T100" fmla="*/ 14 w 214"/>
                <a:gd name="T101" fmla="*/ 8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4" h="216">
                  <a:moveTo>
                    <a:pt x="210" y="182"/>
                  </a:moveTo>
                  <a:lnTo>
                    <a:pt x="172" y="144"/>
                  </a:lnTo>
                  <a:lnTo>
                    <a:pt x="172" y="144"/>
                  </a:lnTo>
                  <a:lnTo>
                    <a:pt x="168" y="140"/>
                  </a:lnTo>
                  <a:lnTo>
                    <a:pt x="162" y="138"/>
                  </a:lnTo>
                  <a:lnTo>
                    <a:pt x="158" y="138"/>
                  </a:lnTo>
                  <a:lnTo>
                    <a:pt x="154" y="140"/>
                  </a:lnTo>
                  <a:lnTo>
                    <a:pt x="146" y="134"/>
                  </a:lnTo>
                  <a:lnTo>
                    <a:pt x="146" y="134"/>
                  </a:lnTo>
                  <a:lnTo>
                    <a:pt x="154" y="122"/>
                  </a:lnTo>
                  <a:lnTo>
                    <a:pt x="158" y="110"/>
                  </a:lnTo>
                  <a:lnTo>
                    <a:pt x="162" y="96"/>
                  </a:lnTo>
                  <a:lnTo>
                    <a:pt x="164" y="82"/>
                  </a:lnTo>
                  <a:lnTo>
                    <a:pt x="164" y="82"/>
                  </a:lnTo>
                  <a:lnTo>
                    <a:pt x="162" y="66"/>
                  </a:lnTo>
                  <a:lnTo>
                    <a:pt x="158" y="50"/>
                  </a:lnTo>
                  <a:lnTo>
                    <a:pt x="150" y="36"/>
                  </a:lnTo>
                  <a:lnTo>
                    <a:pt x="140" y="24"/>
                  </a:lnTo>
                  <a:lnTo>
                    <a:pt x="128" y="14"/>
                  </a:lnTo>
                  <a:lnTo>
                    <a:pt x="114" y="6"/>
                  </a:lnTo>
                  <a:lnTo>
                    <a:pt x="98" y="2"/>
                  </a:lnTo>
                  <a:lnTo>
                    <a:pt x="82" y="0"/>
                  </a:lnTo>
                  <a:lnTo>
                    <a:pt x="82" y="0"/>
                  </a:lnTo>
                  <a:lnTo>
                    <a:pt x="64" y="2"/>
                  </a:lnTo>
                  <a:lnTo>
                    <a:pt x="50" y="6"/>
                  </a:lnTo>
                  <a:lnTo>
                    <a:pt x="36" y="14"/>
                  </a:lnTo>
                  <a:lnTo>
                    <a:pt x="24" y="24"/>
                  </a:lnTo>
                  <a:lnTo>
                    <a:pt x="14" y="36"/>
                  </a:lnTo>
                  <a:lnTo>
                    <a:pt x="6" y="50"/>
                  </a:lnTo>
                  <a:lnTo>
                    <a:pt x="2" y="66"/>
                  </a:lnTo>
                  <a:lnTo>
                    <a:pt x="0" y="82"/>
                  </a:lnTo>
                  <a:lnTo>
                    <a:pt x="0" y="82"/>
                  </a:lnTo>
                  <a:lnTo>
                    <a:pt x="2" y="98"/>
                  </a:lnTo>
                  <a:lnTo>
                    <a:pt x="6" y="114"/>
                  </a:lnTo>
                  <a:lnTo>
                    <a:pt x="14" y="128"/>
                  </a:lnTo>
                  <a:lnTo>
                    <a:pt x="24" y="140"/>
                  </a:lnTo>
                  <a:lnTo>
                    <a:pt x="36" y="150"/>
                  </a:lnTo>
                  <a:lnTo>
                    <a:pt x="50" y="158"/>
                  </a:lnTo>
                  <a:lnTo>
                    <a:pt x="64" y="162"/>
                  </a:lnTo>
                  <a:lnTo>
                    <a:pt x="82" y="164"/>
                  </a:lnTo>
                  <a:lnTo>
                    <a:pt x="82" y="164"/>
                  </a:lnTo>
                  <a:lnTo>
                    <a:pt x="96" y="164"/>
                  </a:lnTo>
                  <a:lnTo>
                    <a:pt x="108" y="160"/>
                  </a:lnTo>
                  <a:lnTo>
                    <a:pt x="122" y="154"/>
                  </a:lnTo>
                  <a:lnTo>
                    <a:pt x="132" y="146"/>
                  </a:lnTo>
                  <a:lnTo>
                    <a:pt x="140" y="154"/>
                  </a:lnTo>
                  <a:lnTo>
                    <a:pt x="140" y="154"/>
                  </a:lnTo>
                  <a:lnTo>
                    <a:pt x="138" y="158"/>
                  </a:lnTo>
                  <a:lnTo>
                    <a:pt x="138" y="164"/>
                  </a:lnTo>
                  <a:lnTo>
                    <a:pt x="140" y="168"/>
                  </a:lnTo>
                  <a:lnTo>
                    <a:pt x="142" y="172"/>
                  </a:lnTo>
                  <a:lnTo>
                    <a:pt x="180" y="210"/>
                  </a:lnTo>
                  <a:lnTo>
                    <a:pt x="180" y="210"/>
                  </a:lnTo>
                  <a:lnTo>
                    <a:pt x="186" y="214"/>
                  </a:lnTo>
                  <a:lnTo>
                    <a:pt x="192" y="216"/>
                  </a:lnTo>
                  <a:lnTo>
                    <a:pt x="198" y="214"/>
                  </a:lnTo>
                  <a:lnTo>
                    <a:pt x="202" y="210"/>
                  </a:lnTo>
                  <a:lnTo>
                    <a:pt x="210" y="204"/>
                  </a:lnTo>
                  <a:lnTo>
                    <a:pt x="210" y="204"/>
                  </a:lnTo>
                  <a:lnTo>
                    <a:pt x="214" y="198"/>
                  </a:lnTo>
                  <a:lnTo>
                    <a:pt x="214" y="192"/>
                  </a:lnTo>
                  <a:lnTo>
                    <a:pt x="214" y="186"/>
                  </a:lnTo>
                  <a:lnTo>
                    <a:pt x="210" y="182"/>
                  </a:lnTo>
                  <a:lnTo>
                    <a:pt x="210" y="182"/>
                  </a:lnTo>
                  <a:close/>
                  <a:moveTo>
                    <a:pt x="14" y="82"/>
                  </a:moveTo>
                  <a:lnTo>
                    <a:pt x="14" y="82"/>
                  </a:lnTo>
                  <a:lnTo>
                    <a:pt x="16" y="68"/>
                  </a:lnTo>
                  <a:lnTo>
                    <a:pt x="20" y="56"/>
                  </a:lnTo>
                  <a:lnTo>
                    <a:pt x="26" y="44"/>
                  </a:lnTo>
                  <a:lnTo>
                    <a:pt x="34" y="34"/>
                  </a:lnTo>
                  <a:lnTo>
                    <a:pt x="44" y="26"/>
                  </a:lnTo>
                  <a:lnTo>
                    <a:pt x="56" y="20"/>
                  </a:lnTo>
                  <a:lnTo>
                    <a:pt x="68" y="16"/>
                  </a:lnTo>
                  <a:lnTo>
                    <a:pt x="82" y="16"/>
                  </a:lnTo>
                  <a:lnTo>
                    <a:pt x="82" y="16"/>
                  </a:lnTo>
                  <a:lnTo>
                    <a:pt x="94" y="16"/>
                  </a:lnTo>
                  <a:lnTo>
                    <a:pt x="108" y="20"/>
                  </a:lnTo>
                  <a:lnTo>
                    <a:pt x="118" y="26"/>
                  </a:lnTo>
                  <a:lnTo>
                    <a:pt x="128" y="34"/>
                  </a:lnTo>
                  <a:lnTo>
                    <a:pt x="138" y="44"/>
                  </a:lnTo>
                  <a:lnTo>
                    <a:pt x="144" y="56"/>
                  </a:lnTo>
                  <a:lnTo>
                    <a:pt x="148" y="68"/>
                  </a:lnTo>
                  <a:lnTo>
                    <a:pt x="148" y="82"/>
                  </a:lnTo>
                  <a:lnTo>
                    <a:pt x="148" y="82"/>
                  </a:lnTo>
                  <a:lnTo>
                    <a:pt x="148" y="96"/>
                  </a:lnTo>
                  <a:lnTo>
                    <a:pt x="144" y="108"/>
                  </a:lnTo>
                  <a:lnTo>
                    <a:pt x="138" y="120"/>
                  </a:lnTo>
                  <a:lnTo>
                    <a:pt x="128" y="130"/>
                  </a:lnTo>
                  <a:lnTo>
                    <a:pt x="118" y="138"/>
                  </a:lnTo>
                  <a:lnTo>
                    <a:pt x="108" y="144"/>
                  </a:lnTo>
                  <a:lnTo>
                    <a:pt x="94" y="148"/>
                  </a:lnTo>
                  <a:lnTo>
                    <a:pt x="82" y="150"/>
                  </a:lnTo>
                  <a:lnTo>
                    <a:pt x="82" y="150"/>
                  </a:lnTo>
                  <a:lnTo>
                    <a:pt x="68" y="148"/>
                  </a:lnTo>
                  <a:lnTo>
                    <a:pt x="56" y="144"/>
                  </a:lnTo>
                  <a:lnTo>
                    <a:pt x="44" y="138"/>
                  </a:lnTo>
                  <a:lnTo>
                    <a:pt x="34" y="130"/>
                  </a:lnTo>
                  <a:lnTo>
                    <a:pt x="26" y="120"/>
                  </a:lnTo>
                  <a:lnTo>
                    <a:pt x="20" y="108"/>
                  </a:lnTo>
                  <a:lnTo>
                    <a:pt x="16" y="96"/>
                  </a:lnTo>
                  <a:lnTo>
                    <a:pt x="14" y="82"/>
                  </a:lnTo>
                  <a:lnTo>
                    <a:pt x="14"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72" name="Freeform 289"/>
            <p:cNvSpPr>
              <a:spLocks/>
            </p:cNvSpPr>
            <p:nvPr/>
          </p:nvSpPr>
          <p:spPr bwMode="auto">
            <a:xfrm>
              <a:off x="8731250" y="2984501"/>
              <a:ext cx="114300" cy="107950"/>
            </a:xfrm>
            <a:custGeom>
              <a:avLst/>
              <a:gdLst>
                <a:gd name="T0" fmla="*/ 8 w 72"/>
                <a:gd name="T1" fmla="*/ 2 h 68"/>
                <a:gd name="T2" fmla="*/ 8 w 72"/>
                <a:gd name="T3" fmla="*/ 2 h 68"/>
                <a:gd name="T4" fmla="*/ 8 w 72"/>
                <a:gd name="T5" fmla="*/ 0 h 68"/>
                <a:gd name="T6" fmla="*/ 8 w 72"/>
                <a:gd name="T7" fmla="*/ 0 h 68"/>
                <a:gd name="T8" fmla="*/ 2 w 72"/>
                <a:gd name="T9" fmla="*/ 10 h 68"/>
                <a:gd name="T10" fmla="*/ 0 w 72"/>
                <a:gd name="T11" fmla="*/ 24 h 68"/>
                <a:gd name="T12" fmla="*/ 0 w 72"/>
                <a:gd name="T13" fmla="*/ 24 h 68"/>
                <a:gd name="T14" fmla="*/ 2 w 72"/>
                <a:gd name="T15" fmla="*/ 32 h 68"/>
                <a:gd name="T16" fmla="*/ 4 w 72"/>
                <a:gd name="T17" fmla="*/ 40 h 68"/>
                <a:gd name="T18" fmla="*/ 8 w 72"/>
                <a:gd name="T19" fmla="*/ 48 h 68"/>
                <a:gd name="T20" fmla="*/ 14 w 72"/>
                <a:gd name="T21" fmla="*/ 56 h 68"/>
                <a:gd name="T22" fmla="*/ 20 w 72"/>
                <a:gd name="T23" fmla="*/ 62 h 68"/>
                <a:gd name="T24" fmla="*/ 28 w 72"/>
                <a:gd name="T25" fmla="*/ 66 h 68"/>
                <a:gd name="T26" fmla="*/ 36 w 72"/>
                <a:gd name="T27" fmla="*/ 68 h 68"/>
                <a:gd name="T28" fmla="*/ 46 w 72"/>
                <a:gd name="T29" fmla="*/ 68 h 68"/>
                <a:gd name="T30" fmla="*/ 46 w 72"/>
                <a:gd name="T31" fmla="*/ 68 h 68"/>
                <a:gd name="T32" fmla="*/ 60 w 72"/>
                <a:gd name="T33" fmla="*/ 66 h 68"/>
                <a:gd name="T34" fmla="*/ 72 w 72"/>
                <a:gd name="T35" fmla="*/ 60 h 68"/>
                <a:gd name="T36" fmla="*/ 72 w 72"/>
                <a:gd name="T37" fmla="*/ 60 h 68"/>
                <a:gd name="T38" fmla="*/ 66 w 72"/>
                <a:gd name="T39" fmla="*/ 60 h 68"/>
                <a:gd name="T40" fmla="*/ 66 w 72"/>
                <a:gd name="T41" fmla="*/ 60 h 68"/>
                <a:gd name="T42" fmla="*/ 54 w 72"/>
                <a:gd name="T43" fmla="*/ 60 h 68"/>
                <a:gd name="T44" fmla="*/ 44 w 72"/>
                <a:gd name="T45" fmla="*/ 56 h 68"/>
                <a:gd name="T46" fmla="*/ 34 w 72"/>
                <a:gd name="T47" fmla="*/ 50 h 68"/>
                <a:gd name="T48" fmla="*/ 24 w 72"/>
                <a:gd name="T49" fmla="*/ 44 h 68"/>
                <a:gd name="T50" fmla="*/ 18 w 72"/>
                <a:gd name="T51" fmla="*/ 34 h 68"/>
                <a:gd name="T52" fmla="*/ 12 w 72"/>
                <a:gd name="T53" fmla="*/ 24 h 68"/>
                <a:gd name="T54" fmla="*/ 8 w 72"/>
                <a:gd name="T55" fmla="*/ 14 h 68"/>
                <a:gd name="T56" fmla="*/ 8 w 72"/>
                <a:gd name="T57" fmla="*/ 2 h 68"/>
                <a:gd name="T58" fmla="*/ 8 w 72"/>
                <a:gd name="T59" fmla="*/ 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68">
                  <a:moveTo>
                    <a:pt x="8" y="2"/>
                  </a:moveTo>
                  <a:lnTo>
                    <a:pt x="8" y="2"/>
                  </a:lnTo>
                  <a:lnTo>
                    <a:pt x="8" y="0"/>
                  </a:lnTo>
                  <a:lnTo>
                    <a:pt x="8" y="0"/>
                  </a:lnTo>
                  <a:lnTo>
                    <a:pt x="2" y="10"/>
                  </a:lnTo>
                  <a:lnTo>
                    <a:pt x="0" y="24"/>
                  </a:lnTo>
                  <a:lnTo>
                    <a:pt x="0" y="24"/>
                  </a:lnTo>
                  <a:lnTo>
                    <a:pt x="2" y="32"/>
                  </a:lnTo>
                  <a:lnTo>
                    <a:pt x="4" y="40"/>
                  </a:lnTo>
                  <a:lnTo>
                    <a:pt x="8" y="48"/>
                  </a:lnTo>
                  <a:lnTo>
                    <a:pt x="14" y="56"/>
                  </a:lnTo>
                  <a:lnTo>
                    <a:pt x="20" y="62"/>
                  </a:lnTo>
                  <a:lnTo>
                    <a:pt x="28" y="66"/>
                  </a:lnTo>
                  <a:lnTo>
                    <a:pt x="36" y="68"/>
                  </a:lnTo>
                  <a:lnTo>
                    <a:pt x="46" y="68"/>
                  </a:lnTo>
                  <a:lnTo>
                    <a:pt x="46" y="68"/>
                  </a:lnTo>
                  <a:lnTo>
                    <a:pt x="60" y="66"/>
                  </a:lnTo>
                  <a:lnTo>
                    <a:pt x="72" y="60"/>
                  </a:lnTo>
                  <a:lnTo>
                    <a:pt x="72" y="60"/>
                  </a:lnTo>
                  <a:lnTo>
                    <a:pt x="66" y="60"/>
                  </a:lnTo>
                  <a:lnTo>
                    <a:pt x="66" y="60"/>
                  </a:lnTo>
                  <a:lnTo>
                    <a:pt x="54" y="60"/>
                  </a:lnTo>
                  <a:lnTo>
                    <a:pt x="44" y="56"/>
                  </a:lnTo>
                  <a:lnTo>
                    <a:pt x="34" y="50"/>
                  </a:lnTo>
                  <a:lnTo>
                    <a:pt x="24" y="44"/>
                  </a:lnTo>
                  <a:lnTo>
                    <a:pt x="18" y="34"/>
                  </a:lnTo>
                  <a:lnTo>
                    <a:pt x="12" y="24"/>
                  </a:lnTo>
                  <a:lnTo>
                    <a:pt x="8" y="14"/>
                  </a:lnTo>
                  <a:lnTo>
                    <a:pt x="8" y="2"/>
                  </a:lnTo>
                  <a:lnTo>
                    <a:pt x="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58" name="TextBox 57"/>
          <p:cNvSpPr txBox="1"/>
          <p:nvPr/>
        </p:nvSpPr>
        <p:spPr>
          <a:xfrm>
            <a:off x="9216532" y="5034160"/>
            <a:ext cx="2519609" cy="755723"/>
          </a:xfrm>
          <a:prstGeom prst="rect">
            <a:avLst/>
          </a:prstGeom>
          <a:noFill/>
        </p:spPr>
        <p:txBody>
          <a:bodyPr wrap="square" lIns="0" tIns="0" rIns="0" bIns="0" rtlCol="0" anchor="t" anchorCtr="0">
            <a:spAutoFit/>
          </a:bodyPr>
          <a:lstStyle/>
          <a:p>
            <a:pPr marL="0" marR="0" lvl="0" indent="0" algn="l" defTabSz="932563" rtl="0" eaLnBrk="1" fontAlgn="auto" latinLnBrk="0" hangingPunct="1">
              <a:lnSpc>
                <a:spcPct val="90000"/>
              </a:lnSpc>
              <a:spcBef>
                <a:spcPts val="0"/>
              </a:spcBef>
              <a:spcAft>
                <a:spcPts val="612"/>
              </a:spcAft>
              <a:buClrTx/>
              <a:buSzTx/>
              <a:buFontTx/>
              <a:buNone/>
              <a:tabLst/>
              <a:defRPr/>
            </a:pPr>
            <a:r>
              <a:rPr kumimoji="0" lang="en-US" sz="1428" b="1" i="0" u="none" strike="noStrike" kern="0" cap="none" spc="0" normalizeH="0" baseline="0" noProof="0" dirty="0">
                <a:ln>
                  <a:noFill/>
                </a:ln>
                <a:solidFill>
                  <a:srgbClr val="FFFFFF"/>
                </a:solidFill>
                <a:effectLst/>
                <a:uLnTx/>
                <a:uFillTx/>
                <a:latin typeface="Segoe UI"/>
                <a:ea typeface="+mn-ea"/>
                <a:cs typeface="Arial" panose="020B0604020202020204" pitchFamily="34" charset="0"/>
              </a:rPr>
              <a:t>Accelerated sales pipeline</a:t>
            </a:r>
            <a:endParaRPr kumimoji="0" lang="en-US" sz="1224" b="0" i="0" u="none" strike="noStrike" kern="0" cap="none" spc="0" normalizeH="0" baseline="0" noProof="0" dirty="0">
              <a:ln>
                <a:noFill/>
              </a:ln>
              <a:solidFill>
                <a:srgbClr val="FFFFFF"/>
              </a:solidFill>
              <a:effectLst/>
              <a:uLnTx/>
              <a:uFillTx/>
              <a:latin typeface="Segoe UI"/>
              <a:ea typeface="+mn-ea"/>
              <a:cs typeface="Arial" panose="020B0604020202020204" pitchFamily="34" charset="0"/>
            </a:endParaRPr>
          </a:p>
          <a:p>
            <a:pPr marL="0" marR="0" lvl="0" indent="0" algn="l" defTabSz="932563" rtl="0" eaLnBrk="1" fontAlgn="auto" latinLnBrk="0" hangingPunct="1">
              <a:lnSpc>
                <a:spcPct val="90000"/>
              </a:lnSpc>
              <a:spcBef>
                <a:spcPts val="0"/>
              </a:spcBef>
              <a:spcAft>
                <a:spcPts val="612"/>
              </a:spcAft>
              <a:buClrTx/>
              <a:buSzTx/>
              <a:buFontTx/>
              <a:buNone/>
              <a:tabLst/>
              <a:defRPr/>
            </a:pPr>
            <a:r>
              <a:rPr kumimoji="0" lang="en-US" sz="1122" b="0" i="0" u="none" strike="noStrike" kern="0" cap="none" spc="0" normalizeH="0" baseline="0" noProof="0" dirty="0">
                <a:ln>
                  <a:noFill/>
                </a:ln>
                <a:solidFill>
                  <a:srgbClr val="FFFFFF"/>
                </a:solidFill>
                <a:effectLst/>
                <a:uLnTx/>
                <a:uFillTx/>
                <a:latin typeface="Segoe UI"/>
                <a:ea typeface="+mn-ea"/>
                <a:cs typeface="Arial" panose="020B0604020202020204" pitchFamily="34" charset="0"/>
              </a:rPr>
              <a:t>Support the Azure scorecard metrics and retire quota faster through AvePoint Compliance Guardian</a:t>
            </a:r>
          </a:p>
        </p:txBody>
      </p:sp>
      <p:sp>
        <p:nvSpPr>
          <p:cNvPr id="73" name="Freeform 17"/>
          <p:cNvSpPr>
            <a:spLocks noEditPoints="1"/>
          </p:cNvSpPr>
          <p:nvPr/>
        </p:nvSpPr>
        <p:spPr bwMode="auto">
          <a:xfrm>
            <a:off x="9183394" y="4310153"/>
            <a:ext cx="629223" cy="554281"/>
          </a:xfrm>
          <a:custGeom>
            <a:avLst/>
            <a:gdLst>
              <a:gd name="T0" fmla="*/ 177 w 212"/>
              <a:gd name="T1" fmla="*/ 57 h 187"/>
              <a:gd name="T2" fmla="*/ 161 w 212"/>
              <a:gd name="T3" fmla="*/ 41 h 187"/>
              <a:gd name="T4" fmla="*/ 161 w 212"/>
              <a:gd name="T5" fmla="*/ 6 h 187"/>
              <a:gd name="T6" fmla="*/ 196 w 212"/>
              <a:gd name="T7" fmla="*/ 6 h 187"/>
              <a:gd name="T8" fmla="*/ 212 w 212"/>
              <a:gd name="T9" fmla="*/ 22 h 187"/>
              <a:gd name="T10" fmla="*/ 189 w 212"/>
              <a:gd name="T11" fmla="*/ 22 h 187"/>
              <a:gd name="T12" fmla="*/ 209 w 212"/>
              <a:gd name="T13" fmla="*/ 82 h 187"/>
              <a:gd name="T14" fmla="*/ 104 w 212"/>
              <a:gd name="T15" fmla="*/ 187 h 187"/>
              <a:gd name="T16" fmla="*/ 0 w 212"/>
              <a:gd name="T17" fmla="*/ 82 h 187"/>
              <a:gd name="T18" fmla="*/ 87 w 212"/>
              <a:gd name="T19" fmla="*/ 171 h 187"/>
              <a:gd name="T20" fmla="*/ 104 w 212"/>
              <a:gd name="T21" fmla="*/ 171 h 187"/>
              <a:gd name="T22" fmla="*/ 193 w 212"/>
              <a:gd name="T23" fmla="*/ 82 h 187"/>
              <a:gd name="T24" fmla="*/ 177 w 212"/>
              <a:gd name="T25" fmla="*/ 32 h 187"/>
              <a:gd name="T26" fmla="*/ 177 w 212"/>
              <a:gd name="T27" fmla="*/ 57 h 187"/>
              <a:gd name="T28" fmla="*/ 167 w 212"/>
              <a:gd name="T29" fmla="*/ 89 h 187"/>
              <a:gd name="T30" fmla="*/ 104 w 212"/>
              <a:gd name="T31" fmla="*/ 152 h 187"/>
              <a:gd name="T32" fmla="*/ 41 w 212"/>
              <a:gd name="T33" fmla="*/ 89 h 187"/>
              <a:gd name="T34" fmla="*/ 98 w 212"/>
              <a:gd name="T35" fmla="*/ 26 h 187"/>
              <a:gd name="T36" fmla="*/ 98 w 212"/>
              <a:gd name="T37" fmla="*/ 19 h 187"/>
              <a:gd name="T38" fmla="*/ 79 w 212"/>
              <a:gd name="T39" fmla="*/ 19 h 187"/>
              <a:gd name="T40" fmla="*/ 79 w 212"/>
              <a:gd name="T41" fmla="*/ 0 h 187"/>
              <a:gd name="T42" fmla="*/ 129 w 212"/>
              <a:gd name="T43" fmla="*/ 0 h 187"/>
              <a:gd name="T44" fmla="*/ 129 w 212"/>
              <a:gd name="T45" fmla="*/ 19 h 187"/>
              <a:gd name="T46" fmla="*/ 110 w 212"/>
              <a:gd name="T47" fmla="*/ 19 h 187"/>
              <a:gd name="T48" fmla="*/ 110 w 212"/>
              <a:gd name="T49" fmla="*/ 26 h 187"/>
              <a:gd name="T50" fmla="*/ 130 w 212"/>
              <a:gd name="T51" fmla="*/ 31 h 187"/>
              <a:gd name="T52" fmla="*/ 144 w 212"/>
              <a:gd name="T53" fmla="*/ 40 h 187"/>
              <a:gd name="T54" fmla="*/ 153 w 212"/>
              <a:gd name="T55" fmla="*/ 49 h 187"/>
              <a:gd name="T56" fmla="*/ 162 w 212"/>
              <a:gd name="T57" fmla="*/ 62 h 187"/>
              <a:gd name="T58" fmla="*/ 167 w 212"/>
              <a:gd name="T59" fmla="*/ 89 h 187"/>
              <a:gd name="T60" fmla="*/ 57 w 212"/>
              <a:gd name="T61" fmla="*/ 82 h 187"/>
              <a:gd name="T62" fmla="*/ 72 w 212"/>
              <a:gd name="T63" fmla="*/ 82 h 187"/>
              <a:gd name="T64" fmla="*/ 72 w 212"/>
              <a:gd name="T65" fmla="*/ 95 h 187"/>
              <a:gd name="T66" fmla="*/ 57 w 212"/>
              <a:gd name="T67" fmla="*/ 95 h 187"/>
              <a:gd name="T68" fmla="*/ 98 w 212"/>
              <a:gd name="T69" fmla="*/ 136 h 187"/>
              <a:gd name="T70" fmla="*/ 98 w 212"/>
              <a:gd name="T71" fmla="*/ 120 h 187"/>
              <a:gd name="T72" fmla="*/ 110 w 212"/>
              <a:gd name="T73" fmla="*/ 120 h 187"/>
              <a:gd name="T74" fmla="*/ 110 w 212"/>
              <a:gd name="T75" fmla="*/ 136 h 187"/>
              <a:gd name="T76" fmla="*/ 151 w 212"/>
              <a:gd name="T77" fmla="*/ 95 h 187"/>
              <a:gd name="T78" fmla="*/ 136 w 212"/>
              <a:gd name="T79" fmla="*/ 95 h 187"/>
              <a:gd name="T80" fmla="*/ 136 w 212"/>
              <a:gd name="T81" fmla="*/ 82 h 187"/>
              <a:gd name="T82" fmla="*/ 151 w 212"/>
              <a:gd name="T83" fmla="*/ 82 h 187"/>
              <a:gd name="T84" fmla="*/ 110 w 212"/>
              <a:gd name="T85" fmla="*/ 42 h 187"/>
              <a:gd name="T86" fmla="*/ 110 w 212"/>
              <a:gd name="T87" fmla="*/ 57 h 187"/>
              <a:gd name="T88" fmla="*/ 98 w 212"/>
              <a:gd name="T89" fmla="*/ 57 h 187"/>
              <a:gd name="T90" fmla="*/ 98 w 212"/>
              <a:gd name="T91" fmla="*/ 42 h 187"/>
              <a:gd name="T92" fmla="*/ 57 w 212"/>
              <a:gd name="T93" fmla="*/ 82 h 187"/>
              <a:gd name="T94" fmla="*/ 104 w 212"/>
              <a:gd name="T95" fmla="*/ 76 h 187"/>
              <a:gd name="T96" fmla="*/ 117 w 212"/>
              <a:gd name="T97" fmla="*/ 89 h 187"/>
              <a:gd name="T98" fmla="*/ 104 w 212"/>
              <a:gd name="T99" fmla="*/ 101 h 187"/>
              <a:gd name="T100" fmla="*/ 79 w 212"/>
              <a:gd name="T101" fmla="*/ 120 h 187"/>
              <a:gd name="T102" fmla="*/ 91 w 212"/>
              <a:gd name="T103" fmla="*/ 89 h 187"/>
              <a:gd name="T104" fmla="*/ 104 w 212"/>
              <a:gd name="T105" fmla="*/ 7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2" h="187">
                <a:moveTo>
                  <a:pt x="177" y="57"/>
                </a:moveTo>
                <a:cubicBezTo>
                  <a:pt x="161" y="41"/>
                  <a:pt x="161" y="41"/>
                  <a:pt x="161" y="41"/>
                </a:cubicBezTo>
                <a:cubicBezTo>
                  <a:pt x="161" y="6"/>
                  <a:pt x="161" y="6"/>
                  <a:pt x="161" y="6"/>
                </a:cubicBezTo>
                <a:cubicBezTo>
                  <a:pt x="196" y="6"/>
                  <a:pt x="196" y="6"/>
                  <a:pt x="196" y="6"/>
                </a:cubicBezTo>
                <a:cubicBezTo>
                  <a:pt x="212" y="22"/>
                  <a:pt x="212" y="22"/>
                  <a:pt x="212" y="22"/>
                </a:cubicBezTo>
                <a:cubicBezTo>
                  <a:pt x="189" y="22"/>
                  <a:pt x="189" y="22"/>
                  <a:pt x="189" y="22"/>
                </a:cubicBezTo>
                <a:cubicBezTo>
                  <a:pt x="201" y="39"/>
                  <a:pt x="209" y="60"/>
                  <a:pt x="209" y="82"/>
                </a:cubicBezTo>
                <a:cubicBezTo>
                  <a:pt x="209" y="140"/>
                  <a:pt x="162" y="187"/>
                  <a:pt x="104" y="187"/>
                </a:cubicBezTo>
                <a:cubicBezTo>
                  <a:pt x="46" y="187"/>
                  <a:pt x="0" y="140"/>
                  <a:pt x="0" y="82"/>
                </a:cubicBezTo>
                <a:cubicBezTo>
                  <a:pt x="0" y="131"/>
                  <a:pt x="38" y="171"/>
                  <a:pt x="87" y="171"/>
                </a:cubicBezTo>
                <a:cubicBezTo>
                  <a:pt x="104" y="171"/>
                  <a:pt x="104" y="171"/>
                  <a:pt x="104" y="171"/>
                </a:cubicBezTo>
                <a:cubicBezTo>
                  <a:pt x="153" y="171"/>
                  <a:pt x="193" y="131"/>
                  <a:pt x="193" y="82"/>
                </a:cubicBezTo>
                <a:cubicBezTo>
                  <a:pt x="193" y="64"/>
                  <a:pt x="187" y="46"/>
                  <a:pt x="177" y="32"/>
                </a:cubicBezTo>
                <a:lnTo>
                  <a:pt x="177" y="57"/>
                </a:lnTo>
                <a:close/>
                <a:moveTo>
                  <a:pt x="167" y="89"/>
                </a:moveTo>
                <a:cubicBezTo>
                  <a:pt x="167" y="124"/>
                  <a:pt x="139" y="152"/>
                  <a:pt x="104" y="152"/>
                </a:cubicBezTo>
                <a:cubicBezTo>
                  <a:pt x="69" y="152"/>
                  <a:pt x="41" y="124"/>
                  <a:pt x="41" y="89"/>
                </a:cubicBezTo>
                <a:cubicBezTo>
                  <a:pt x="41" y="56"/>
                  <a:pt x="66" y="29"/>
                  <a:pt x="98" y="26"/>
                </a:cubicBezTo>
                <a:cubicBezTo>
                  <a:pt x="98" y="19"/>
                  <a:pt x="98" y="19"/>
                  <a:pt x="98" y="19"/>
                </a:cubicBezTo>
                <a:cubicBezTo>
                  <a:pt x="79" y="19"/>
                  <a:pt x="79" y="19"/>
                  <a:pt x="79" y="19"/>
                </a:cubicBezTo>
                <a:cubicBezTo>
                  <a:pt x="79" y="0"/>
                  <a:pt x="79" y="0"/>
                  <a:pt x="79" y="0"/>
                </a:cubicBezTo>
                <a:cubicBezTo>
                  <a:pt x="129" y="0"/>
                  <a:pt x="129" y="0"/>
                  <a:pt x="129" y="0"/>
                </a:cubicBezTo>
                <a:cubicBezTo>
                  <a:pt x="129" y="19"/>
                  <a:pt x="129" y="19"/>
                  <a:pt x="129" y="19"/>
                </a:cubicBezTo>
                <a:cubicBezTo>
                  <a:pt x="110" y="19"/>
                  <a:pt x="110" y="19"/>
                  <a:pt x="110" y="19"/>
                </a:cubicBezTo>
                <a:cubicBezTo>
                  <a:pt x="110" y="26"/>
                  <a:pt x="110" y="26"/>
                  <a:pt x="110" y="26"/>
                </a:cubicBezTo>
                <a:cubicBezTo>
                  <a:pt x="117" y="26"/>
                  <a:pt x="124" y="28"/>
                  <a:pt x="130" y="31"/>
                </a:cubicBezTo>
                <a:cubicBezTo>
                  <a:pt x="135" y="33"/>
                  <a:pt x="140" y="36"/>
                  <a:pt x="144" y="40"/>
                </a:cubicBezTo>
                <a:cubicBezTo>
                  <a:pt x="147" y="42"/>
                  <a:pt x="150" y="45"/>
                  <a:pt x="153" y="49"/>
                </a:cubicBezTo>
                <a:cubicBezTo>
                  <a:pt x="156" y="53"/>
                  <a:pt x="159" y="57"/>
                  <a:pt x="162" y="62"/>
                </a:cubicBezTo>
                <a:cubicBezTo>
                  <a:pt x="165" y="70"/>
                  <a:pt x="167" y="79"/>
                  <a:pt x="167" y="89"/>
                </a:cubicBezTo>
                <a:close/>
                <a:moveTo>
                  <a:pt x="57" y="82"/>
                </a:moveTo>
                <a:cubicBezTo>
                  <a:pt x="72" y="82"/>
                  <a:pt x="72" y="82"/>
                  <a:pt x="72" y="82"/>
                </a:cubicBezTo>
                <a:cubicBezTo>
                  <a:pt x="72" y="95"/>
                  <a:pt x="72" y="95"/>
                  <a:pt x="72" y="95"/>
                </a:cubicBezTo>
                <a:cubicBezTo>
                  <a:pt x="57" y="95"/>
                  <a:pt x="57" y="95"/>
                  <a:pt x="57" y="95"/>
                </a:cubicBezTo>
                <a:cubicBezTo>
                  <a:pt x="60" y="116"/>
                  <a:pt x="77" y="133"/>
                  <a:pt x="98" y="136"/>
                </a:cubicBezTo>
                <a:cubicBezTo>
                  <a:pt x="98" y="120"/>
                  <a:pt x="98" y="120"/>
                  <a:pt x="98" y="120"/>
                </a:cubicBezTo>
                <a:cubicBezTo>
                  <a:pt x="110" y="120"/>
                  <a:pt x="110" y="120"/>
                  <a:pt x="110" y="120"/>
                </a:cubicBezTo>
                <a:cubicBezTo>
                  <a:pt x="110" y="136"/>
                  <a:pt x="110" y="136"/>
                  <a:pt x="110" y="136"/>
                </a:cubicBezTo>
                <a:cubicBezTo>
                  <a:pt x="132" y="133"/>
                  <a:pt x="148" y="116"/>
                  <a:pt x="151" y="95"/>
                </a:cubicBezTo>
                <a:cubicBezTo>
                  <a:pt x="136" y="95"/>
                  <a:pt x="136" y="95"/>
                  <a:pt x="136" y="95"/>
                </a:cubicBezTo>
                <a:cubicBezTo>
                  <a:pt x="136" y="82"/>
                  <a:pt x="136" y="82"/>
                  <a:pt x="136" y="82"/>
                </a:cubicBezTo>
                <a:cubicBezTo>
                  <a:pt x="151" y="82"/>
                  <a:pt x="151" y="82"/>
                  <a:pt x="151" y="82"/>
                </a:cubicBezTo>
                <a:cubicBezTo>
                  <a:pt x="148" y="61"/>
                  <a:pt x="132" y="44"/>
                  <a:pt x="110" y="42"/>
                </a:cubicBezTo>
                <a:cubicBezTo>
                  <a:pt x="110" y="57"/>
                  <a:pt x="110" y="57"/>
                  <a:pt x="110" y="57"/>
                </a:cubicBezTo>
                <a:cubicBezTo>
                  <a:pt x="98" y="57"/>
                  <a:pt x="98" y="57"/>
                  <a:pt x="98" y="57"/>
                </a:cubicBezTo>
                <a:cubicBezTo>
                  <a:pt x="98" y="42"/>
                  <a:pt x="98" y="42"/>
                  <a:pt x="98" y="42"/>
                </a:cubicBezTo>
                <a:cubicBezTo>
                  <a:pt x="77" y="44"/>
                  <a:pt x="60" y="61"/>
                  <a:pt x="57" y="82"/>
                </a:cubicBezTo>
                <a:close/>
                <a:moveTo>
                  <a:pt x="104" y="76"/>
                </a:moveTo>
                <a:cubicBezTo>
                  <a:pt x="111" y="76"/>
                  <a:pt x="117" y="82"/>
                  <a:pt x="117" y="89"/>
                </a:cubicBezTo>
                <a:cubicBezTo>
                  <a:pt x="117" y="96"/>
                  <a:pt x="111" y="101"/>
                  <a:pt x="104" y="101"/>
                </a:cubicBezTo>
                <a:cubicBezTo>
                  <a:pt x="79" y="120"/>
                  <a:pt x="79" y="120"/>
                  <a:pt x="79" y="120"/>
                </a:cubicBezTo>
                <a:cubicBezTo>
                  <a:pt x="91" y="89"/>
                  <a:pt x="91" y="89"/>
                  <a:pt x="91" y="89"/>
                </a:cubicBezTo>
                <a:cubicBezTo>
                  <a:pt x="91" y="82"/>
                  <a:pt x="97" y="76"/>
                  <a:pt x="104" y="76"/>
                </a:cubicBezTo>
                <a:close/>
              </a:path>
            </a:pathLst>
          </a:custGeom>
          <a:solidFill>
            <a:schemeClr val="bg1">
              <a:lumMod val="75000"/>
            </a:schemeClr>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1" name="TextBox 50"/>
          <p:cNvSpPr txBox="1"/>
          <p:nvPr/>
        </p:nvSpPr>
        <p:spPr>
          <a:xfrm>
            <a:off x="674615" y="5034161"/>
            <a:ext cx="2461856" cy="597202"/>
          </a:xfrm>
          <a:prstGeom prst="rect">
            <a:avLst/>
          </a:prstGeom>
          <a:noFill/>
        </p:spPr>
        <p:txBody>
          <a:bodyPr wrap="square" lIns="0" tIns="0" rIns="0" bIns="0" rtlCol="0" anchor="t" anchorCtr="0">
            <a:spAutoFit/>
          </a:bodyPr>
          <a:lstStyle/>
          <a:p>
            <a:pPr marL="0" marR="0" lvl="0" indent="0" algn="l" defTabSz="932563" rtl="0" eaLnBrk="1" fontAlgn="auto" latinLnBrk="0" hangingPunct="1">
              <a:lnSpc>
                <a:spcPct val="90000"/>
              </a:lnSpc>
              <a:spcBef>
                <a:spcPts val="0"/>
              </a:spcBef>
              <a:spcAft>
                <a:spcPts val="612"/>
              </a:spcAft>
              <a:buClrTx/>
              <a:buSzTx/>
              <a:buFontTx/>
              <a:buNone/>
              <a:tabLst/>
              <a:defRPr/>
            </a:pPr>
            <a:r>
              <a:rPr kumimoji="0" lang="en-US" sz="1428" b="1" i="0" u="none" strike="noStrike" kern="0" cap="none" spc="0" normalizeH="0" baseline="0" noProof="0" dirty="0">
                <a:ln>
                  <a:noFill/>
                </a:ln>
                <a:solidFill>
                  <a:srgbClr val="FFFFFF"/>
                </a:solidFill>
                <a:effectLst/>
                <a:uLnTx/>
                <a:uFillTx/>
                <a:latin typeface="Segoe UI"/>
                <a:ea typeface="+mn-ea"/>
                <a:cs typeface="Arial" panose="020B0604020202020204" pitchFamily="34" charset="0"/>
              </a:rPr>
              <a:t>Remove Azure blockers</a:t>
            </a:r>
          </a:p>
          <a:p>
            <a:pPr marL="0" marR="0" lvl="0" indent="0" algn="l" defTabSz="932563" rtl="0" eaLnBrk="1" fontAlgn="auto" latinLnBrk="0" hangingPunct="1">
              <a:lnSpc>
                <a:spcPct val="90000"/>
              </a:lnSpc>
              <a:spcBef>
                <a:spcPts val="0"/>
              </a:spcBef>
              <a:spcAft>
                <a:spcPts val="612"/>
              </a:spcAft>
              <a:buClrTx/>
              <a:buSzTx/>
              <a:buFontTx/>
              <a:buNone/>
              <a:tabLst/>
              <a:defRPr/>
            </a:pPr>
            <a:r>
              <a:rPr kumimoji="0" lang="en-US" sz="1122" b="0" i="0" u="none" strike="noStrike" kern="0" cap="none" spc="0" normalizeH="0" baseline="0" noProof="0" dirty="0">
                <a:ln>
                  <a:noFill/>
                </a:ln>
                <a:solidFill>
                  <a:srgbClr val="FFFFFF"/>
                </a:solidFill>
                <a:effectLst/>
                <a:uLnTx/>
                <a:uFillTx/>
                <a:latin typeface="Segoe UI"/>
                <a:ea typeface="+mn-ea"/>
                <a:cs typeface="Arial" panose="020B0604020202020204" pitchFamily="34" charset="0"/>
              </a:rPr>
              <a:t>Accelerate active usage of Office 365, including migration scenarios</a:t>
            </a:r>
          </a:p>
        </p:txBody>
      </p:sp>
      <p:sp>
        <p:nvSpPr>
          <p:cNvPr id="74" name="Freeform 25"/>
          <p:cNvSpPr>
            <a:spLocks noEditPoints="1"/>
          </p:cNvSpPr>
          <p:nvPr/>
        </p:nvSpPr>
        <p:spPr bwMode="auto">
          <a:xfrm>
            <a:off x="665769" y="4407033"/>
            <a:ext cx="560919" cy="530352"/>
          </a:xfrm>
          <a:custGeom>
            <a:avLst/>
            <a:gdLst>
              <a:gd name="T0" fmla="*/ 152 w 152"/>
              <a:gd name="T1" fmla="*/ 32 h 144"/>
              <a:gd name="T2" fmla="*/ 152 w 152"/>
              <a:gd name="T3" fmla="*/ 100 h 144"/>
              <a:gd name="T4" fmla="*/ 144 w 152"/>
              <a:gd name="T5" fmla="*/ 100 h 144"/>
              <a:gd name="T6" fmla="*/ 144 w 152"/>
              <a:gd name="T7" fmla="*/ 40 h 144"/>
              <a:gd name="T8" fmla="*/ 92 w 152"/>
              <a:gd name="T9" fmla="*/ 40 h 144"/>
              <a:gd name="T10" fmla="*/ 92 w 152"/>
              <a:gd name="T11" fmla="*/ 32 h 144"/>
              <a:gd name="T12" fmla="*/ 152 w 152"/>
              <a:gd name="T13" fmla="*/ 32 h 144"/>
              <a:gd name="T14" fmla="*/ 140 w 152"/>
              <a:gd name="T15" fmla="*/ 116 h 144"/>
              <a:gd name="T16" fmla="*/ 92 w 152"/>
              <a:gd name="T17" fmla="*/ 116 h 144"/>
              <a:gd name="T18" fmla="*/ 92 w 152"/>
              <a:gd name="T19" fmla="*/ 72 h 144"/>
              <a:gd name="T20" fmla="*/ 106 w 152"/>
              <a:gd name="T21" fmla="*/ 83 h 144"/>
              <a:gd name="T22" fmla="*/ 140 w 152"/>
              <a:gd name="T23" fmla="*/ 54 h 144"/>
              <a:gd name="T24" fmla="*/ 140 w 152"/>
              <a:gd name="T25" fmla="*/ 116 h 144"/>
              <a:gd name="T26" fmla="*/ 140 w 152"/>
              <a:gd name="T27" fmla="*/ 44 h 144"/>
              <a:gd name="T28" fmla="*/ 140 w 152"/>
              <a:gd name="T29" fmla="*/ 47 h 144"/>
              <a:gd name="T30" fmla="*/ 106 w 152"/>
              <a:gd name="T31" fmla="*/ 75 h 144"/>
              <a:gd name="T32" fmla="*/ 92 w 152"/>
              <a:gd name="T33" fmla="*/ 64 h 144"/>
              <a:gd name="T34" fmla="*/ 92 w 152"/>
              <a:gd name="T35" fmla="*/ 44 h 144"/>
              <a:gd name="T36" fmla="*/ 140 w 152"/>
              <a:gd name="T37" fmla="*/ 44 h 144"/>
              <a:gd name="T38" fmla="*/ 0 w 152"/>
              <a:gd name="T39" fmla="*/ 14 h 144"/>
              <a:gd name="T40" fmla="*/ 88 w 152"/>
              <a:gd name="T41" fmla="*/ 0 h 144"/>
              <a:gd name="T42" fmla="*/ 88 w 152"/>
              <a:gd name="T43" fmla="*/ 144 h 144"/>
              <a:gd name="T44" fmla="*/ 0 w 152"/>
              <a:gd name="T45" fmla="*/ 130 h 144"/>
              <a:gd name="T46" fmla="*/ 0 w 152"/>
              <a:gd name="T47" fmla="*/ 14 h 144"/>
              <a:gd name="T48" fmla="*/ 43 w 152"/>
              <a:gd name="T49" fmla="*/ 98 h 144"/>
              <a:gd name="T50" fmla="*/ 58 w 152"/>
              <a:gd name="T51" fmla="*/ 92 h 144"/>
              <a:gd name="T52" fmla="*/ 60 w 152"/>
              <a:gd name="T53" fmla="*/ 59 h 144"/>
              <a:gd name="T54" fmla="*/ 48 w 152"/>
              <a:gd name="T55" fmla="*/ 49 h 144"/>
              <a:gd name="T56" fmla="*/ 35 w 152"/>
              <a:gd name="T57" fmla="*/ 51 h 144"/>
              <a:gd name="T58" fmla="*/ 25 w 152"/>
              <a:gd name="T59" fmla="*/ 83 h 144"/>
              <a:gd name="T60" fmla="*/ 43 w 152"/>
              <a:gd name="T61" fmla="*/ 98 h 144"/>
              <a:gd name="T62" fmla="*/ 43 w 152"/>
              <a:gd name="T63" fmla="*/ 58 h 144"/>
              <a:gd name="T64" fmla="*/ 51 w 152"/>
              <a:gd name="T65" fmla="*/ 85 h 144"/>
              <a:gd name="T66" fmla="*/ 48 w 152"/>
              <a:gd name="T67" fmla="*/ 88 h 144"/>
              <a:gd name="T68" fmla="*/ 43 w 152"/>
              <a:gd name="T69" fmla="*/ 89 h 144"/>
              <a:gd name="T70" fmla="*/ 39 w 152"/>
              <a:gd name="T71" fmla="*/ 88 h 144"/>
              <a:gd name="T72" fmla="*/ 36 w 152"/>
              <a:gd name="T73" fmla="*/ 85 h 144"/>
              <a:gd name="T74" fmla="*/ 43 w 152"/>
              <a:gd name="T75" fmla="*/ 5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2" h="144">
                <a:moveTo>
                  <a:pt x="152" y="32"/>
                </a:moveTo>
                <a:cubicBezTo>
                  <a:pt x="152" y="100"/>
                  <a:pt x="152" y="100"/>
                  <a:pt x="152" y="100"/>
                </a:cubicBezTo>
                <a:cubicBezTo>
                  <a:pt x="144" y="100"/>
                  <a:pt x="144" y="100"/>
                  <a:pt x="144" y="100"/>
                </a:cubicBezTo>
                <a:cubicBezTo>
                  <a:pt x="144" y="40"/>
                  <a:pt x="144" y="40"/>
                  <a:pt x="144" y="40"/>
                </a:cubicBezTo>
                <a:cubicBezTo>
                  <a:pt x="92" y="40"/>
                  <a:pt x="92" y="40"/>
                  <a:pt x="92" y="40"/>
                </a:cubicBezTo>
                <a:cubicBezTo>
                  <a:pt x="92" y="32"/>
                  <a:pt x="92" y="32"/>
                  <a:pt x="92" y="32"/>
                </a:cubicBezTo>
                <a:lnTo>
                  <a:pt x="152" y="32"/>
                </a:lnTo>
                <a:close/>
                <a:moveTo>
                  <a:pt x="140" y="116"/>
                </a:moveTo>
                <a:cubicBezTo>
                  <a:pt x="92" y="116"/>
                  <a:pt x="92" y="116"/>
                  <a:pt x="92" y="116"/>
                </a:cubicBezTo>
                <a:cubicBezTo>
                  <a:pt x="92" y="72"/>
                  <a:pt x="92" y="72"/>
                  <a:pt x="92" y="72"/>
                </a:cubicBezTo>
                <a:cubicBezTo>
                  <a:pt x="106" y="83"/>
                  <a:pt x="106" y="83"/>
                  <a:pt x="106" y="83"/>
                </a:cubicBezTo>
                <a:cubicBezTo>
                  <a:pt x="140" y="54"/>
                  <a:pt x="140" y="54"/>
                  <a:pt x="140" y="54"/>
                </a:cubicBezTo>
                <a:lnTo>
                  <a:pt x="140" y="116"/>
                </a:lnTo>
                <a:close/>
                <a:moveTo>
                  <a:pt x="140" y="44"/>
                </a:moveTo>
                <a:cubicBezTo>
                  <a:pt x="140" y="47"/>
                  <a:pt x="140" y="47"/>
                  <a:pt x="140" y="47"/>
                </a:cubicBezTo>
                <a:cubicBezTo>
                  <a:pt x="106" y="75"/>
                  <a:pt x="106" y="75"/>
                  <a:pt x="106" y="75"/>
                </a:cubicBezTo>
                <a:cubicBezTo>
                  <a:pt x="92" y="64"/>
                  <a:pt x="92" y="64"/>
                  <a:pt x="92" y="64"/>
                </a:cubicBezTo>
                <a:cubicBezTo>
                  <a:pt x="92" y="44"/>
                  <a:pt x="92" y="44"/>
                  <a:pt x="92" y="44"/>
                </a:cubicBezTo>
                <a:lnTo>
                  <a:pt x="140" y="44"/>
                </a:lnTo>
                <a:close/>
                <a:moveTo>
                  <a:pt x="0" y="14"/>
                </a:moveTo>
                <a:cubicBezTo>
                  <a:pt x="88" y="0"/>
                  <a:pt x="88" y="0"/>
                  <a:pt x="88" y="0"/>
                </a:cubicBezTo>
                <a:cubicBezTo>
                  <a:pt x="88" y="144"/>
                  <a:pt x="88" y="144"/>
                  <a:pt x="88" y="144"/>
                </a:cubicBezTo>
                <a:cubicBezTo>
                  <a:pt x="0" y="130"/>
                  <a:pt x="0" y="130"/>
                  <a:pt x="0" y="130"/>
                </a:cubicBezTo>
                <a:lnTo>
                  <a:pt x="0" y="14"/>
                </a:lnTo>
                <a:close/>
                <a:moveTo>
                  <a:pt x="43" y="98"/>
                </a:moveTo>
                <a:cubicBezTo>
                  <a:pt x="48" y="98"/>
                  <a:pt x="54" y="96"/>
                  <a:pt x="58" y="92"/>
                </a:cubicBezTo>
                <a:cubicBezTo>
                  <a:pt x="65" y="83"/>
                  <a:pt x="65" y="69"/>
                  <a:pt x="60" y="59"/>
                </a:cubicBezTo>
                <a:cubicBezTo>
                  <a:pt x="58" y="54"/>
                  <a:pt x="53" y="50"/>
                  <a:pt x="48" y="49"/>
                </a:cubicBezTo>
                <a:cubicBezTo>
                  <a:pt x="44" y="49"/>
                  <a:pt x="39" y="49"/>
                  <a:pt x="35" y="51"/>
                </a:cubicBezTo>
                <a:cubicBezTo>
                  <a:pt x="25" y="56"/>
                  <a:pt x="21" y="73"/>
                  <a:pt x="25" y="83"/>
                </a:cubicBezTo>
                <a:cubicBezTo>
                  <a:pt x="27" y="91"/>
                  <a:pt x="35" y="98"/>
                  <a:pt x="43" y="98"/>
                </a:cubicBezTo>
                <a:close/>
                <a:moveTo>
                  <a:pt x="43" y="58"/>
                </a:moveTo>
                <a:cubicBezTo>
                  <a:pt x="53" y="58"/>
                  <a:pt x="56" y="78"/>
                  <a:pt x="51" y="85"/>
                </a:cubicBezTo>
                <a:cubicBezTo>
                  <a:pt x="50" y="86"/>
                  <a:pt x="49" y="87"/>
                  <a:pt x="48" y="88"/>
                </a:cubicBezTo>
                <a:cubicBezTo>
                  <a:pt x="46" y="89"/>
                  <a:pt x="45" y="89"/>
                  <a:pt x="43" y="89"/>
                </a:cubicBezTo>
                <a:cubicBezTo>
                  <a:pt x="42" y="89"/>
                  <a:pt x="40" y="89"/>
                  <a:pt x="39" y="88"/>
                </a:cubicBezTo>
                <a:cubicBezTo>
                  <a:pt x="38" y="87"/>
                  <a:pt x="37" y="86"/>
                  <a:pt x="36" y="85"/>
                </a:cubicBezTo>
                <a:cubicBezTo>
                  <a:pt x="31" y="77"/>
                  <a:pt x="34" y="59"/>
                  <a:pt x="43" y="58"/>
                </a:cubicBezTo>
                <a:close/>
              </a:path>
            </a:pathLst>
          </a:custGeom>
          <a:solidFill>
            <a:schemeClr val="bg1">
              <a:lumMod val="75000"/>
            </a:schemeClr>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2" name="TextBox 51"/>
          <p:cNvSpPr txBox="1"/>
          <p:nvPr/>
        </p:nvSpPr>
        <p:spPr>
          <a:xfrm>
            <a:off x="6307372" y="5034161"/>
            <a:ext cx="2507117" cy="792718"/>
          </a:xfrm>
          <a:prstGeom prst="rect">
            <a:avLst/>
          </a:prstGeom>
          <a:noFill/>
        </p:spPr>
        <p:txBody>
          <a:bodyPr wrap="square" lIns="0" tIns="0" rIns="0" bIns="0" rtlCol="0" anchor="t" anchorCtr="0">
            <a:spAutoFit/>
          </a:bodyPr>
          <a:lstStyle/>
          <a:p>
            <a:pPr marL="0" marR="0" lvl="0" indent="0" algn="l" defTabSz="932563" rtl="0" eaLnBrk="1" fontAlgn="auto" latinLnBrk="0" hangingPunct="1">
              <a:lnSpc>
                <a:spcPct val="90000"/>
              </a:lnSpc>
              <a:spcBef>
                <a:spcPts val="0"/>
              </a:spcBef>
              <a:spcAft>
                <a:spcPts val="612"/>
              </a:spcAft>
              <a:buClrTx/>
              <a:buSzTx/>
              <a:buFontTx/>
              <a:buNone/>
              <a:tabLst/>
              <a:defRPr/>
            </a:pPr>
            <a:r>
              <a:rPr kumimoji="0" lang="en-US" sz="1428" b="1" i="0" u="none" strike="noStrike" kern="0" cap="none" spc="0" normalizeH="0" baseline="0" noProof="0" dirty="0">
                <a:ln>
                  <a:noFill/>
                </a:ln>
                <a:solidFill>
                  <a:srgbClr val="FFFFFF"/>
                </a:solidFill>
                <a:effectLst/>
                <a:uLnTx/>
                <a:uFillTx/>
                <a:latin typeface="Segoe UI"/>
                <a:ea typeface="+mn-ea"/>
                <a:cs typeface="Arial" panose="020B0604020202020204" pitchFamily="34" charset="0"/>
              </a:rPr>
              <a:t>Drive Azure consumption</a:t>
            </a:r>
          </a:p>
          <a:p>
            <a:pPr marL="0" marR="0" lvl="0" indent="0" algn="l" defTabSz="932597" rtl="0" eaLnBrk="1" fontAlgn="auto" latinLnBrk="0" hangingPunct="1">
              <a:lnSpc>
                <a:spcPct val="100000"/>
              </a:lnSpc>
              <a:spcBef>
                <a:spcPts val="0"/>
              </a:spcBef>
              <a:spcAft>
                <a:spcPts val="612"/>
              </a:spcAft>
              <a:buClrTx/>
              <a:buSzTx/>
              <a:buFontTx/>
              <a:buNone/>
              <a:tabLst/>
              <a:defRPr/>
            </a:pPr>
            <a:r>
              <a:rPr kumimoji="0" lang="en-US" sz="1122" b="0" i="0" u="none" strike="noStrike" kern="0" cap="none" spc="0" normalizeH="0" baseline="0" noProof="0" dirty="0">
                <a:ln>
                  <a:noFill/>
                </a:ln>
                <a:solidFill>
                  <a:srgbClr val="FFFFFF"/>
                </a:solidFill>
                <a:effectLst/>
                <a:uLnTx/>
                <a:uFillTx/>
                <a:latin typeface="Segoe UI"/>
                <a:ea typeface="+mn-ea"/>
                <a:cs typeface="Arial" panose="020B0604020202020204" pitchFamily="34" charset="0"/>
              </a:rPr>
              <a:t>Support Office 365 with solutions that leverage and consume Azure, such as Compliance Guardian running in VMs**</a:t>
            </a:r>
          </a:p>
        </p:txBody>
      </p:sp>
      <p:sp>
        <p:nvSpPr>
          <p:cNvPr id="76" name="Freeform 33"/>
          <p:cNvSpPr>
            <a:spLocks/>
          </p:cNvSpPr>
          <p:nvPr/>
        </p:nvSpPr>
        <p:spPr bwMode="auto">
          <a:xfrm>
            <a:off x="6335717" y="4410062"/>
            <a:ext cx="679892" cy="468699"/>
          </a:xfrm>
          <a:custGeom>
            <a:avLst/>
            <a:gdLst>
              <a:gd name="T0" fmla="*/ 152 w 152"/>
              <a:gd name="T1" fmla="*/ 73 h 104"/>
              <a:gd name="T2" fmla="*/ 122 w 152"/>
              <a:gd name="T3" fmla="*/ 104 h 104"/>
              <a:gd name="T4" fmla="*/ 30 w 152"/>
              <a:gd name="T5" fmla="*/ 104 h 104"/>
              <a:gd name="T6" fmla="*/ 0 w 152"/>
              <a:gd name="T7" fmla="*/ 73 h 104"/>
              <a:gd name="T8" fmla="*/ 25 w 152"/>
              <a:gd name="T9" fmla="*/ 44 h 104"/>
              <a:gd name="T10" fmla="*/ 25 w 152"/>
              <a:gd name="T11" fmla="*/ 41 h 104"/>
              <a:gd name="T12" fmla="*/ 44 w 152"/>
              <a:gd name="T13" fmla="*/ 21 h 104"/>
              <a:gd name="T14" fmla="*/ 56 w 152"/>
              <a:gd name="T15" fmla="*/ 26 h 104"/>
              <a:gd name="T16" fmla="*/ 91 w 152"/>
              <a:gd name="T17" fmla="*/ 0 h 104"/>
              <a:gd name="T18" fmla="*/ 128 w 152"/>
              <a:gd name="T19" fmla="*/ 41 h 104"/>
              <a:gd name="T20" fmla="*/ 128 w 152"/>
              <a:gd name="T21" fmla="*/ 44 h 104"/>
              <a:gd name="T22" fmla="*/ 152 w 152"/>
              <a:gd name="T23" fmla="*/ 7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2" h="104">
                <a:moveTo>
                  <a:pt x="152" y="73"/>
                </a:moveTo>
                <a:cubicBezTo>
                  <a:pt x="152" y="90"/>
                  <a:pt x="139" y="104"/>
                  <a:pt x="122" y="104"/>
                </a:cubicBezTo>
                <a:cubicBezTo>
                  <a:pt x="30" y="104"/>
                  <a:pt x="30" y="104"/>
                  <a:pt x="30" y="104"/>
                </a:cubicBezTo>
                <a:cubicBezTo>
                  <a:pt x="13" y="104"/>
                  <a:pt x="0" y="90"/>
                  <a:pt x="0" y="73"/>
                </a:cubicBezTo>
                <a:cubicBezTo>
                  <a:pt x="0" y="58"/>
                  <a:pt x="11" y="46"/>
                  <a:pt x="25" y="44"/>
                </a:cubicBezTo>
                <a:cubicBezTo>
                  <a:pt x="25" y="43"/>
                  <a:pt x="25" y="42"/>
                  <a:pt x="25" y="41"/>
                </a:cubicBezTo>
                <a:cubicBezTo>
                  <a:pt x="25" y="30"/>
                  <a:pt x="33" y="21"/>
                  <a:pt x="44" y="21"/>
                </a:cubicBezTo>
                <a:cubicBezTo>
                  <a:pt x="48" y="21"/>
                  <a:pt x="53" y="23"/>
                  <a:pt x="56" y="26"/>
                </a:cubicBezTo>
                <a:cubicBezTo>
                  <a:pt x="62" y="13"/>
                  <a:pt x="69" y="0"/>
                  <a:pt x="91" y="0"/>
                </a:cubicBezTo>
                <a:cubicBezTo>
                  <a:pt x="116" y="0"/>
                  <a:pt x="128" y="20"/>
                  <a:pt x="128" y="41"/>
                </a:cubicBezTo>
                <a:cubicBezTo>
                  <a:pt x="128" y="42"/>
                  <a:pt x="128" y="43"/>
                  <a:pt x="128" y="44"/>
                </a:cubicBezTo>
                <a:cubicBezTo>
                  <a:pt x="142" y="47"/>
                  <a:pt x="152" y="59"/>
                  <a:pt x="152" y="73"/>
                </a:cubicBezTo>
                <a:close/>
              </a:path>
            </a:pathLst>
          </a:custGeom>
          <a:solidFill>
            <a:schemeClr val="bg1">
              <a:lumMod val="75000"/>
            </a:schemeClr>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77" name="Group 76"/>
          <p:cNvGrpSpPr/>
          <p:nvPr/>
        </p:nvGrpSpPr>
        <p:grpSpPr>
          <a:xfrm>
            <a:off x="3371804" y="4407033"/>
            <a:ext cx="458915" cy="457401"/>
            <a:chOff x="2386013" y="5195888"/>
            <a:chExt cx="962025" cy="958850"/>
          </a:xfrm>
          <a:solidFill>
            <a:srgbClr val="929292"/>
          </a:solidFill>
        </p:grpSpPr>
        <p:sp>
          <p:nvSpPr>
            <p:cNvPr id="78" name="Freeform 63"/>
            <p:cNvSpPr>
              <a:spLocks/>
            </p:cNvSpPr>
            <p:nvPr/>
          </p:nvSpPr>
          <p:spPr bwMode="auto">
            <a:xfrm>
              <a:off x="2735263" y="5195888"/>
              <a:ext cx="612775" cy="657225"/>
            </a:xfrm>
            <a:custGeom>
              <a:avLst/>
              <a:gdLst>
                <a:gd name="T0" fmla="*/ 110 w 386"/>
                <a:gd name="T1" fmla="*/ 414 h 414"/>
                <a:gd name="T2" fmla="*/ 82 w 386"/>
                <a:gd name="T3" fmla="*/ 412 h 414"/>
                <a:gd name="T4" fmla="*/ 56 w 386"/>
                <a:gd name="T5" fmla="*/ 404 h 414"/>
                <a:gd name="T6" fmla="*/ 32 w 386"/>
                <a:gd name="T7" fmla="*/ 392 h 414"/>
                <a:gd name="T8" fmla="*/ 12 w 386"/>
                <a:gd name="T9" fmla="*/ 374 h 414"/>
                <a:gd name="T10" fmla="*/ 6 w 386"/>
                <a:gd name="T11" fmla="*/ 368 h 414"/>
                <a:gd name="T12" fmla="*/ 0 w 386"/>
                <a:gd name="T13" fmla="*/ 354 h 414"/>
                <a:gd name="T14" fmla="*/ 0 w 386"/>
                <a:gd name="T15" fmla="*/ 340 h 414"/>
                <a:gd name="T16" fmla="*/ 6 w 386"/>
                <a:gd name="T17" fmla="*/ 326 h 414"/>
                <a:gd name="T18" fmla="*/ 12 w 386"/>
                <a:gd name="T19" fmla="*/ 320 h 414"/>
                <a:gd name="T20" fmla="*/ 24 w 386"/>
                <a:gd name="T21" fmla="*/ 310 h 414"/>
                <a:gd name="T22" fmla="*/ 38 w 386"/>
                <a:gd name="T23" fmla="*/ 308 h 414"/>
                <a:gd name="T24" fmla="*/ 52 w 386"/>
                <a:gd name="T25" fmla="*/ 310 h 414"/>
                <a:gd name="T26" fmla="*/ 66 w 386"/>
                <a:gd name="T27" fmla="*/ 320 h 414"/>
                <a:gd name="T28" fmla="*/ 76 w 386"/>
                <a:gd name="T29" fmla="*/ 328 h 414"/>
                <a:gd name="T30" fmla="*/ 100 w 386"/>
                <a:gd name="T31" fmla="*/ 336 h 414"/>
                <a:gd name="T32" fmla="*/ 128 w 386"/>
                <a:gd name="T33" fmla="*/ 334 h 414"/>
                <a:gd name="T34" fmla="*/ 154 w 386"/>
                <a:gd name="T35" fmla="*/ 322 h 414"/>
                <a:gd name="T36" fmla="*/ 284 w 386"/>
                <a:gd name="T37" fmla="*/ 194 h 414"/>
                <a:gd name="T38" fmla="*/ 294 w 386"/>
                <a:gd name="T39" fmla="*/ 182 h 414"/>
                <a:gd name="T40" fmla="*/ 308 w 386"/>
                <a:gd name="T41" fmla="*/ 154 h 414"/>
                <a:gd name="T42" fmla="*/ 310 w 386"/>
                <a:gd name="T43" fmla="*/ 138 h 414"/>
                <a:gd name="T44" fmla="*/ 306 w 386"/>
                <a:gd name="T45" fmla="*/ 118 h 414"/>
                <a:gd name="T46" fmla="*/ 290 w 386"/>
                <a:gd name="T47" fmla="*/ 94 h 414"/>
                <a:gd name="T48" fmla="*/ 278 w 386"/>
                <a:gd name="T49" fmla="*/ 84 h 414"/>
                <a:gd name="T50" fmla="*/ 254 w 386"/>
                <a:gd name="T51" fmla="*/ 76 h 414"/>
                <a:gd name="T52" fmla="*/ 242 w 386"/>
                <a:gd name="T53" fmla="*/ 76 h 414"/>
                <a:gd name="T54" fmla="*/ 214 w 386"/>
                <a:gd name="T55" fmla="*/ 82 h 414"/>
                <a:gd name="T56" fmla="*/ 190 w 386"/>
                <a:gd name="T57" fmla="*/ 100 h 414"/>
                <a:gd name="T58" fmla="*/ 122 w 386"/>
                <a:gd name="T59" fmla="*/ 168 h 414"/>
                <a:gd name="T60" fmla="*/ 102 w 386"/>
                <a:gd name="T61" fmla="*/ 158 h 414"/>
                <a:gd name="T62" fmla="*/ 74 w 386"/>
                <a:gd name="T63" fmla="*/ 150 h 414"/>
                <a:gd name="T64" fmla="*/ 44 w 386"/>
                <a:gd name="T65" fmla="*/ 150 h 414"/>
                <a:gd name="T66" fmla="*/ 24 w 386"/>
                <a:gd name="T67" fmla="*/ 158 h 414"/>
                <a:gd name="T68" fmla="*/ 136 w 386"/>
                <a:gd name="T69" fmla="*/ 46 h 414"/>
                <a:gd name="T70" fmla="*/ 158 w 386"/>
                <a:gd name="T71" fmla="*/ 28 h 414"/>
                <a:gd name="T72" fmla="*/ 184 w 386"/>
                <a:gd name="T73" fmla="*/ 12 h 414"/>
                <a:gd name="T74" fmla="*/ 210 w 386"/>
                <a:gd name="T75" fmla="*/ 4 h 414"/>
                <a:gd name="T76" fmla="*/ 240 w 386"/>
                <a:gd name="T77" fmla="*/ 0 h 414"/>
                <a:gd name="T78" fmla="*/ 254 w 386"/>
                <a:gd name="T79" fmla="*/ 0 h 414"/>
                <a:gd name="T80" fmla="*/ 282 w 386"/>
                <a:gd name="T81" fmla="*/ 4 h 414"/>
                <a:gd name="T82" fmla="*/ 310 w 386"/>
                <a:gd name="T83" fmla="*/ 14 h 414"/>
                <a:gd name="T84" fmla="*/ 334 w 386"/>
                <a:gd name="T85" fmla="*/ 30 h 414"/>
                <a:gd name="T86" fmla="*/ 344 w 386"/>
                <a:gd name="T87" fmla="*/ 40 h 414"/>
                <a:gd name="T88" fmla="*/ 362 w 386"/>
                <a:gd name="T89" fmla="*/ 62 h 414"/>
                <a:gd name="T90" fmla="*/ 376 w 386"/>
                <a:gd name="T91" fmla="*/ 86 h 414"/>
                <a:gd name="T92" fmla="*/ 382 w 386"/>
                <a:gd name="T93" fmla="*/ 112 h 414"/>
                <a:gd name="T94" fmla="*/ 386 w 386"/>
                <a:gd name="T95" fmla="*/ 138 h 414"/>
                <a:gd name="T96" fmla="*/ 384 w 386"/>
                <a:gd name="T97" fmla="*/ 154 h 414"/>
                <a:gd name="T98" fmla="*/ 378 w 386"/>
                <a:gd name="T99" fmla="*/ 184 h 414"/>
                <a:gd name="T100" fmla="*/ 366 w 386"/>
                <a:gd name="T101" fmla="*/ 212 h 414"/>
                <a:gd name="T102" fmla="*/ 348 w 386"/>
                <a:gd name="T103" fmla="*/ 238 h 414"/>
                <a:gd name="T104" fmla="*/ 220 w 386"/>
                <a:gd name="T105" fmla="*/ 368 h 414"/>
                <a:gd name="T106" fmla="*/ 208 w 386"/>
                <a:gd name="T107" fmla="*/ 378 h 414"/>
                <a:gd name="T108" fmla="*/ 182 w 386"/>
                <a:gd name="T109" fmla="*/ 396 h 414"/>
                <a:gd name="T110" fmla="*/ 154 w 386"/>
                <a:gd name="T111" fmla="*/ 408 h 414"/>
                <a:gd name="T112" fmla="*/ 124 w 386"/>
                <a:gd name="T113" fmla="*/ 412 h 414"/>
                <a:gd name="T114" fmla="*/ 110 w 386"/>
                <a:gd name="T115"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86" h="414">
                  <a:moveTo>
                    <a:pt x="110" y="414"/>
                  </a:moveTo>
                  <a:lnTo>
                    <a:pt x="110" y="414"/>
                  </a:lnTo>
                  <a:lnTo>
                    <a:pt x="96" y="412"/>
                  </a:lnTo>
                  <a:lnTo>
                    <a:pt x="82" y="412"/>
                  </a:lnTo>
                  <a:lnTo>
                    <a:pt x="70" y="408"/>
                  </a:lnTo>
                  <a:lnTo>
                    <a:pt x="56" y="404"/>
                  </a:lnTo>
                  <a:lnTo>
                    <a:pt x="44" y="398"/>
                  </a:lnTo>
                  <a:lnTo>
                    <a:pt x="32" y="392"/>
                  </a:lnTo>
                  <a:lnTo>
                    <a:pt x="22" y="382"/>
                  </a:lnTo>
                  <a:lnTo>
                    <a:pt x="12" y="374"/>
                  </a:lnTo>
                  <a:lnTo>
                    <a:pt x="12" y="374"/>
                  </a:lnTo>
                  <a:lnTo>
                    <a:pt x="6" y="368"/>
                  </a:lnTo>
                  <a:lnTo>
                    <a:pt x="2" y="360"/>
                  </a:lnTo>
                  <a:lnTo>
                    <a:pt x="0" y="354"/>
                  </a:lnTo>
                  <a:lnTo>
                    <a:pt x="0" y="346"/>
                  </a:lnTo>
                  <a:lnTo>
                    <a:pt x="0" y="340"/>
                  </a:lnTo>
                  <a:lnTo>
                    <a:pt x="2" y="332"/>
                  </a:lnTo>
                  <a:lnTo>
                    <a:pt x="6" y="326"/>
                  </a:lnTo>
                  <a:lnTo>
                    <a:pt x="12" y="320"/>
                  </a:lnTo>
                  <a:lnTo>
                    <a:pt x="12" y="320"/>
                  </a:lnTo>
                  <a:lnTo>
                    <a:pt x="18" y="314"/>
                  </a:lnTo>
                  <a:lnTo>
                    <a:pt x="24" y="310"/>
                  </a:lnTo>
                  <a:lnTo>
                    <a:pt x="30" y="308"/>
                  </a:lnTo>
                  <a:lnTo>
                    <a:pt x="38" y="308"/>
                  </a:lnTo>
                  <a:lnTo>
                    <a:pt x="46" y="308"/>
                  </a:lnTo>
                  <a:lnTo>
                    <a:pt x="52" y="310"/>
                  </a:lnTo>
                  <a:lnTo>
                    <a:pt x="60" y="314"/>
                  </a:lnTo>
                  <a:lnTo>
                    <a:pt x="66" y="320"/>
                  </a:lnTo>
                  <a:lnTo>
                    <a:pt x="66" y="320"/>
                  </a:lnTo>
                  <a:lnTo>
                    <a:pt x="76" y="328"/>
                  </a:lnTo>
                  <a:lnTo>
                    <a:pt x="88" y="334"/>
                  </a:lnTo>
                  <a:lnTo>
                    <a:pt x="100" y="336"/>
                  </a:lnTo>
                  <a:lnTo>
                    <a:pt x="114" y="338"/>
                  </a:lnTo>
                  <a:lnTo>
                    <a:pt x="128" y="334"/>
                  </a:lnTo>
                  <a:lnTo>
                    <a:pt x="142" y="330"/>
                  </a:lnTo>
                  <a:lnTo>
                    <a:pt x="154" y="322"/>
                  </a:lnTo>
                  <a:lnTo>
                    <a:pt x="166" y="312"/>
                  </a:lnTo>
                  <a:lnTo>
                    <a:pt x="284" y="194"/>
                  </a:lnTo>
                  <a:lnTo>
                    <a:pt x="284" y="194"/>
                  </a:lnTo>
                  <a:lnTo>
                    <a:pt x="294" y="182"/>
                  </a:lnTo>
                  <a:lnTo>
                    <a:pt x="302" y="168"/>
                  </a:lnTo>
                  <a:lnTo>
                    <a:pt x="308" y="154"/>
                  </a:lnTo>
                  <a:lnTo>
                    <a:pt x="310" y="138"/>
                  </a:lnTo>
                  <a:lnTo>
                    <a:pt x="310" y="138"/>
                  </a:lnTo>
                  <a:lnTo>
                    <a:pt x="308" y="128"/>
                  </a:lnTo>
                  <a:lnTo>
                    <a:pt x="306" y="118"/>
                  </a:lnTo>
                  <a:lnTo>
                    <a:pt x="300" y="106"/>
                  </a:lnTo>
                  <a:lnTo>
                    <a:pt x="290" y="94"/>
                  </a:lnTo>
                  <a:lnTo>
                    <a:pt x="290" y="94"/>
                  </a:lnTo>
                  <a:lnTo>
                    <a:pt x="278" y="84"/>
                  </a:lnTo>
                  <a:lnTo>
                    <a:pt x="266" y="78"/>
                  </a:lnTo>
                  <a:lnTo>
                    <a:pt x="254" y="76"/>
                  </a:lnTo>
                  <a:lnTo>
                    <a:pt x="242" y="76"/>
                  </a:lnTo>
                  <a:lnTo>
                    <a:pt x="242" y="76"/>
                  </a:lnTo>
                  <a:lnTo>
                    <a:pt x="228" y="78"/>
                  </a:lnTo>
                  <a:lnTo>
                    <a:pt x="214" y="82"/>
                  </a:lnTo>
                  <a:lnTo>
                    <a:pt x="202" y="90"/>
                  </a:lnTo>
                  <a:lnTo>
                    <a:pt x="190" y="100"/>
                  </a:lnTo>
                  <a:lnTo>
                    <a:pt x="122" y="168"/>
                  </a:lnTo>
                  <a:lnTo>
                    <a:pt x="122" y="168"/>
                  </a:lnTo>
                  <a:lnTo>
                    <a:pt x="114" y="162"/>
                  </a:lnTo>
                  <a:lnTo>
                    <a:pt x="102" y="158"/>
                  </a:lnTo>
                  <a:lnTo>
                    <a:pt x="88" y="154"/>
                  </a:lnTo>
                  <a:lnTo>
                    <a:pt x="74" y="150"/>
                  </a:lnTo>
                  <a:lnTo>
                    <a:pt x="58" y="150"/>
                  </a:lnTo>
                  <a:lnTo>
                    <a:pt x="44" y="150"/>
                  </a:lnTo>
                  <a:lnTo>
                    <a:pt x="32" y="152"/>
                  </a:lnTo>
                  <a:lnTo>
                    <a:pt x="24" y="158"/>
                  </a:lnTo>
                  <a:lnTo>
                    <a:pt x="136" y="46"/>
                  </a:lnTo>
                  <a:lnTo>
                    <a:pt x="136" y="46"/>
                  </a:lnTo>
                  <a:lnTo>
                    <a:pt x="146" y="36"/>
                  </a:lnTo>
                  <a:lnTo>
                    <a:pt x="158" y="28"/>
                  </a:lnTo>
                  <a:lnTo>
                    <a:pt x="170" y="20"/>
                  </a:lnTo>
                  <a:lnTo>
                    <a:pt x="184" y="12"/>
                  </a:lnTo>
                  <a:lnTo>
                    <a:pt x="196" y="8"/>
                  </a:lnTo>
                  <a:lnTo>
                    <a:pt x="210" y="4"/>
                  </a:lnTo>
                  <a:lnTo>
                    <a:pt x="224" y="0"/>
                  </a:lnTo>
                  <a:lnTo>
                    <a:pt x="240" y="0"/>
                  </a:lnTo>
                  <a:lnTo>
                    <a:pt x="240" y="0"/>
                  </a:lnTo>
                  <a:lnTo>
                    <a:pt x="254" y="0"/>
                  </a:lnTo>
                  <a:lnTo>
                    <a:pt x="268" y="0"/>
                  </a:lnTo>
                  <a:lnTo>
                    <a:pt x="282" y="4"/>
                  </a:lnTo>
                  <a:lnTo>
                    <a:pt x="296" y="8"/>
                  </a:lnTo>
                  <a:lnTo>
                    <a:pt x="310" y="14"/>
                  </a:lnTo>
                  <a:lnTo>
                    <a:pt x="322" y="22"/>
                  </a:lnTo>
                  <a:lnTo>
                    <a:pt x="334" y="30"/>
                  </a:lnTo>
                  <a:lnTo>
                    <a:pt x="344" y="40"/>
                  </a:lnTo>
                  <a:lnTo>
                    <a:pt x="344" y="40"/>
                  </a:lnTo>
                  <a:lnTo>
                    <a:pt x="354" y="50"/>
                  </a:lnTo>
                  <a:lnTo>
                    <a:pt x="362" y="62"/>
                  </a:lnTo>
                  <a:lnTo>
                    <a:pt x="370" y="72"/>
                  </a:lnTo>
                  <a:lnTo>
                    <a:pt x="376" y="86"/>
                  </a:lnTo>
                  <a:lnTo>
                    <a:pt x="380" y="98"/>
                  </a:lnTo>
                  <a:lnTo>
                    <a:pt x="382" y="112"/>
                  </a:lnTo>
                  <a:lnTo>
                    <a:pt x="384" y="124"/>
                  </a:lnTo>
                  <a:lnTo>
                    <a:pt x="386" y="138"/>
                  </a:lnTo>
                  <a:lnTo>
                    <a:pt x="386" y="138"/>
                  </a:lnTo>
                  <a:lnTo>
                    <a:pt x="384" y="154"/>
                  </a:lnTo>
                  <a:lnTo>
                    <a:pt x="382" y="168"/>
                  </a:lnTo>
                  <a:lnTo>
                    <a:pt x="378" y="184"/>
                  </a:lnTo>
                  <a:lnTo>
                    <a:pt x="374" y="198"/>
                  </a:lnTo>
                  <a:lnTo>
                    <a:pt x="366" y="212"/>
                  </a:lnTo>
                  <a:lnTo>
                    <a:pt x="358" y="224"/>
                  </a:lnTo>
                  <a:lnTo>
                    <a:pt x="348" y="238"/>
                  </a:lnTo>
                  <a:lnTo>
                    <a:pt x="338" y="250"/>
                  </a:lnTo>
                  <a:lnTo>
                    <a:pt x="220" y="368"/>
                  </a:lnTo>
                  <a:lnTo>
                    <a:pt x="220" y="368"/>
                  </a:lnTo>
                  <a:lnTo>
                    <a:pt x="208" y="378"/>
                  </a:lnTo>
                  <a:lnTo>
                    <a:pt x="196" y="388"/>
                  </a:lnTo>
                  <a:lnTo>
                    <a:pt x="182" y="396"/>
                  </a:lnTo>
                  <a:lnTo>
                    <a:pt x="168" y="402"/>
                  </a:lnTo>
                  <a:lnTo>
                    <a:pt x="154" y="408"/>
                  </a:lnTo>
                  <a:lnTo>
                    <a:pt x="140" y="410"/>
                  </a:lnTo>
                  <a:lnTo>
                    <a:pt x="124" y="412"/>
                  </a:lnTo>
                  <a:lnTo>
                    <a:pt x="110" y="414"/>
                  </a:lnTo>
                  <a:lnTo>
                    <a:pt x="110" y="414"/>
                  </a:lnTo>
                  <a:close/>
                </a:path>
              </a:pathLst>
            </a:custGeom>
            <a:solidFill>
              <a:schemeClr val="bg1">
                <a:lumMod val="75000"/>
              </a:schemeClr>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79" name="Freeform 64"/>
            <p:cNvSpPr>
              <a:spLocks/>
            </p:cNvSpPr>
            <p:nvPr/>
          </p:nvSpPr>
          <p:spPr bwMode="auto">
            <a:xfrm>
              <a:off x="2386013" y="5497513"/>
              <a:ext cx="612775" cy="657225"/>
            </a:xfrm>
            <a:custGeom>
              <a:avLst/>
              <a:gdLst>
                <a:gd name="T0" fmla="*/ 276 w 386"/>
                <a:gd name="T1" fmla="*/ 0 h 414"/>
                <a:gd name="T2" fmla="*/ 304 w 386"/>
                <a:gd name="T3" fmla="*/ 2 h 414"/>
                <a:gd name="T4" fmla="*/ 330 w 386"/>
                <a:gd name="T5" fmla="*/ 10 h 414"/>
                <a:gd name="T6" fmla="*/ 354 w 386"/>
                <a:gd name="T7" fmla="*/ 22 h 414"/>
                <a:gd name="T8" fmla="*/ 376 w 386"/>
                <a:gd name="T9" fmla="*/ 40 h 414"/>
                <a:gd name="T10" fmla="*/ 380 w 386"/>
                <a:gd name="T11" fmla="*/ 46 h 414"/>
                <a:gd name="T12" fmla="*/ 386 w 386"/>
                <a:gd name="T13" fmla="*/ 60 h 414"/>
                <a:gd name="T14" fmla="*/ 386 w 386"/>
                <a:gd name="T15" fmla="*/ 74 h 414"/>
                <a:gd name="T16" fmla="*/ 380 w 386"/>
                <a:gd name="T17" fmla="*/ 88 h 414"/>
                <a:gd name="T18" fmla="*/ 376 w 386"/>
                <a:gd name="T19" fmla="*/ 94 h 414"/>
                <a:gd name="T20" fmla="*/ 362 w 386"/>
                <a:gd name="T21" fmla="*/ 102 h 414"/>
                <a:gd name="T22" fmla="*/ 348 w 386"/>
                <a:gd name="T23" fmla="*/ 104 h 414"/>
                <a:gd name="T24" fmla="*/ 334 w 386"/>
                <a:gd name="T25" fmla="*/ 102 h 414"/>
                <a:gd name="T26" fmla="*/ 322 w 386"/>
                <a:gd name="T27" fmla="*/ 94 h 414"/>
                <a:gd name="T28" fmla="*/ 310 w 386"/>
                <a:gd name="T29" fmla="*/ 86 h 414"/>
                <a:gd name="T30" fmla="*/ 286 w 386"/>
                <a:gd name="T31" fmla="*/ 76 h 414"/>
                <a:gd name="T32" fmla="*/ 258 w 386"/>
                <a:gd name="T33" fmla="*/ 78 h 414"/>
                <a:gd name="T34" fmla="*/ 232 w 386"/>
                <a:gd name="T35" fmla="*/ 90 h 414"/>
                <a:gd name="T36" fmla="*/ 102 w 386"/>
                <a:gd name="T37" fmla="*/ 218 h 414"/>
                <a:gd name="T38" fmla="*/ 92 w 386"/>
                <a:gd name="T39" fmla="*/ 230 h 414"/>
                <a:gd name="T40" fmla="*/ 78 w 386"/>
                <a:gd name="T41" fmla="*/ 260 h 414"/>
                <a:gd name="T42" fmla="*/ 78 w 386"/>
                <a:gd name="T43" fmla="*/ 274 h 414"/>
                <a:gd name="T44" fmla="*/ 80 w 386"/>
                <a:gd name="T45" fmla="*/ 296 h 414"/>
                <a:gd name="T46" fmla="*/ 96 w 386"/>
                <a:gd name="T47" fmla="*/ 318 h 414"/>
                <a:gd name="T48" fmla="*/ 108 w 386"/>
                <a:gd name="T49" fmla="*/ 328 h 414"/>
                <a:gd name="T50" fmla="*/ 132 w 386"/>
                <a:gd name="T51" fmla="*/ 336 h 414"/>
                <a:gd name="T52" fmla="*/ 144 w 386"/>
                <a:gd name="T53" fmla="*/ 338 h 414"/>
                <a:gd name="T54" fmla="*/ 172 w 386"/>
                <a:gd name="T55" fmla="*/ 330 h 414"/>
                <a:gd name="T56" fmla="*/ 196 w 386"/>
                <a:gd name="T57" fmla="*/ 312 h 414"/>
                <a:gd name="T58" fmla="*/ 264 w 386"/>
                <a:gd name="T59" fmla="*/ 244 h 414"/>
                <a:gd name="T60" fmla="*/ 284 w 386"/>
                <a:gd name="T61" fmla="*/ 256 h 414"/>
                <a:gd name="T62" fmla="*/ 312 w 386"/>
                <a:gd name="T63" fmla="*/ 262 h 414"/>
                <a:gd name="T64" fmla="*/ 342 w 386"/>
                <a:gd name="T65" fmla="*/ 262 h 414"/>
                <a:gd name="T66" fmla="*/ 362 w 386"/>
                <a:gd name="T67" fmla="*/ 254 h 414"/>
                <a:gd name="T68" fmla="*/ 250 w 386"/>
                <a:gd name="T69" fmla="*/ 366 h 414"/>
                <a:gd name="T70" fmla="*/ 228 w 386"/>
                <a:gd name="T71" fmla="*/ 386 h 414"/>
                <a:gd name="T72" fmla="*/ 202 w 386"/>
                <a:gd name="T73" fmla="*/ 400 h 414"/>
                <a:gd name="T74" fmla="*/ 176 w 386"/>
                <a:gd name="T75" fmla="*/ 410 h 414"/>
                <a:gd name="T76" fmla="*/ 148 w 386"/>
                <a:gd name="T77" fmla="*/ 414 h 414"/>
                <a:gd name="T78" fmla="*/ 132 w 386"/>
                <a:gd name="T79" fmla="*/ 414 h 414"/>
                <a:gd name="T80" fmla="*/ 104 w 386"/>
                <a:gd name="T81" fmla="*/ 410 h 414"/>
                <a:gd name="T82" fmla="*/ 76 w 386"/>
                <a:gd name="T83" fmla="*/ 398 h 414"/>
                <a:gd name="T84" fmla="*/ 52 w 386"/>
                <a:gd name="T85" fmla="*/ 382 h 414"/>
                <a:gd name="T86" fmla="*/ 42 w 386"/>
                <a:gd name="T87" fmla="*/ 374 h 414"/>
                <a:gd name="T88" fmla="*/ 24 w 386"/>
                <a:gd name="T89" fmla="*/ 352 h 414"/>
                <a:gd name="T90" fmla="*/ 12 w 386"/>
                <a:gd name="T91" fmla="*/ 328 h 414"/>
                <a:gd name="T92" fmla="*/ 4 w 386"/>
                <a:gd name="T93" fmla="*/ 302 h 414"/>
                <a:gd name="T94" fmla="*/ 0 w 386"/>
                <a:gd name="T95" fmla="*/ 274 h 414"/>
                <a:gd name="T96" fmla="*/ 2 w 386"/>
                <a:gd name="T97" fmla="*/ 260 h 414"/>
                <a:gd name="T98" fmla="*/ 8 w 386"/>
                <a:gd name="T99" fmla="*/ 230 h 414"/>
                <a:gd name="T100" fmla="*/ 20 w 386"/>
                <a:gd name="T101" fmla="*/ 202 h 414"/>
                <a:gd name="T102" fmla="*/ 38 w 386"/>
                <a:gd name="T103" fmla="*/ 176 h 414"/>
                <a:gd name="T104" fmla="*/ 166 w 386"/>
                <a:gd name="T105" fmla="*/ 46 h 414"/>
                <a:gd name="T106" fmla="*/ 178 w 386"/>
                <a:gd name="T107" fmla="*/ 34 h 414"/>
                <a:gd name="T108" fmla="*/ 204 w 386"/>
                <a:gd name="T109" fmla="*/ 18 h 414"/>
                <a:gd name="T110" fmla="*/ 232 w 386"/>
                <a:gd name="T111" fmla="*/ 6 h 414"/>
                <a:gd name="T112" fmla="*/ 262 w 386"/>
                <a:gd name="T113" fmla="*/ 0 h 414"/>
                <a:gd name="T114" fmla="*/ 276 w 386"/>
                <a:gd name="T115"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86" h="414">
                  <a:moveTo>
                    <a:pt x="276" y="0"/>
                  </a:moveTo>
                  <a:lnTo>
                    <a:pt x="276" y="0"/>
                  </a:lnTo>
                  <a:lnTo>
                    <a:pt x="290" y="0"/>
                  </a:lnTo>
                  <a:lnTo>
                    <a:pt x="304" y="2"/>
                  </a:lnTo>
                  <a:lnTo>
                    <a:pt x="316" y="4"/>
                  </a:lnTo>
                  <a:lnTo>
                    <a:pt x="330" y="10"/>
                  </a:lnTo>
                  <a:lnTo>
                    <a:pt x="342" y="14"/>
                  </a:lnTo>
                  <a:lnTo>
                    <a:pt x="354" y="22"/>
                  </a:lnTo>
                  <a:lnTo>
                    <a:pt x="364" y="30"/>
                  </a:lnTo>
                  <a:lnTo>
                    <a:pt x="376" y="40"/>
                  </a:lnTo>
                  <a:lnTo>
                    <a:pt x="376" y="40"/>
                  </a:lnTo>
                  <a:lnTo>
                    <a:pt x="380" y="46"/>
                  </a:lnTo>
                  <a:lnTo>
                    <a:pt x="384" y="52"/>
                  </a:lnTo>
                  <a:lnTo>
                    <a:pt x="386" y="60"/>
                  </a:lnTo>
                  <a:lnTo>
                    <a:pt x="386" y="66"/>
                  </a:lnTo>
                  <a:lnTo>
                    <a:pt x="386" y="74"/>
                  </a:lnTo>
                  <a:lnTo>
                    <a:pt x="384" y="80"/>
                  </a:lnTo>
                  <a:lnTo>
                    <a:pt x="380" y="88"/>
                  </a:lnTo>
                  <a:lnTo>
                    <a:pt x="376" y="94"/>
                  </a:lnTo>
                  <a:lnTo>
                    <a:pt x="376" y="94"/>
                  </a:lnTo>
                  <a:lnTo>
                    <a:pt x="370" y="98"/>
                  </a:lnTo>
                  <a:lnTo>
                    <a:pt x="362" y="102"/>
                  </a:lnTo>
                  <a:lnTo>
                    <a:pt x="356" y="104"/>
                  </a:lnTo>
                  <a:lnTo>
                    <a:pt x="348" y="104"/>
                  </a:lnTo>
                  <a:lnTo>
                    <a:pt x="340" y="104"/>
                  </a:lnTo>
                  <a:lnTo>
                    <a:pt x="334" y="102"/>
                  </a:lnTo>
                  <a:lnTo>
                    <a:pt x="328" y="98"/>
                  </a:lnTo>
                  <a:lnTo>
                    <a:pt x="322" y="94"/>
                  </a:lnTo>
                  <a:lnTo>
                    <a:pt x="322" y="94"/>
                  </a:lnTo>
                  <a:lnTo>
                    <a:pt x="310" y="86"/>
                  </a:lnTo>
                  <a:lnTo>
                    <a:pt x="298" y="80"/>
                  </a:lnTo>
                  <a:lnTo>
                    <a:pt x="286" y="76"/>
                  </a:lnTo>
                  <a:lnTo>
                    <a:pt x="272" y="76"/>
                  </a:lnTo>
                  <a:lnTo>
                    <a:pt x="258" y="78"/>
                  </a:lnTo>
                  <a:lnTo>
                    <a:pt x="244" y="82"/>
                  </a:lnTo>
                  <a:lnTo>
                    <a:pt x="232" y="90"/>
                  </a:lnTo>
                  <a:lnTo>
                    <a:pt x="220" y="100"/>
                  </a:lnTo>
                  <a:lnTo>
                    <a:pt x="102" y="218"/>
                  </a:lnTo>
                  <a:lnTo>
                    <a:pt x="102" y="218"/>
                  </a:lnTo>
                  <a:lnTo>
                    <a:pt x="92" y="230"/>
                  </a:lnTo>
                  <a:lnTo>
                    <a:pt x="84" y="244"/>
                  </a:lnTo>
                  <a:lnTo>
                    <a:pt x="78" y="260"/>
                  </a:lnTo>
                  <a:lnTo>
                    <a:pt x="78" y="274"/>
                  </a:lnTo>
                  <a:lnTo>
                    <a:pt x="78" y="274"/>
                  </a:lnTo>
                  <a:lnTo>
                    <a:pt x="78" y="284"/>
                  </a:lnTo>
                  <a:lnTo>
                    <a:pt x="80" y="296"/>
                  </a:lnTo>
                  <a:lnTo>
                    <a:pt x="86" y="308"/>
                  </a:lnTo>
                  <a:lnTo>
                    <a:pt x="96" y="318"/>
                  </a:lnTo>
                  <a:lnTo>
                    <a:pt x="96" y="318"/>
                  </a:lnTo>
                  <a:lnTo>
                    <a:pt x="108" y="328"/>
                  </a:lnTo>
                  <a:lnTo>
                    <a:pt x="120" y="334"/>
                  </a:lnTo>
                  <a:lnTo>
                    <a:pt x="132" y="336"/>
                  </a:lnTo>
                  <a:lnTo>
                    <a:pt x="144" y="338"/>
                  </a:lnTo>
                  <a:lnTo>
                    <a:pt x="144" y="338"/>
                  </a:lnTo>
                  <a:lnTo>
                    <a:pt x="158" y="336"/>
                  </a:lnTo>
                  <a:lnTo>
                    <a:pt x="172" y="330"/>
                  </a:lnTo>
                  <a:lnTo>
                    <a:pt x="184" y="322"/>
                  </a:lnTo>
                  <a:lnTo>
                    <a:pt x="196" y="312"/>
                  </a:lnTo>
                  <a:lnTo>
                    <a:pt x="264" y="244"/>
                  </a:lnTo>
                  <a:lnTo>
                    <a:pt x="264" y="244"/>
                  </a:lnTo>
                  <a:lnTo>
                    <a:pt x="272" y="250"/>
                  </a:lnTo>
                  <a:lnTo>
                    <a:pt x="284" y="256"/>
                  </a:lnTo>
                  <a:lnTo>
                    <a:pt x="298" y="260"/>
                  </a:lnTo>
                  <a:lnTo>
                    <a:pt x="312" y="262"/>
                  </a:lnTo>
                  <a:lnTo>
                    <a:pt x="328" y="264"/>
                  </a:lnTo>
                  <a:lnTo>
                    <a:pt x="342" y="262"/>
                  </a:lnTo>
                  <a:lnTo>
                    <a:pt x="354" y="260"/>
                  </a:lnTo>
                  <a:lnTo>
                    <a:pt x="362" y="254"/>
                  </a:lnTo>
                  <a:lnTo>
                    <a:pt x="250" y="366"/>
                  </a:lnTo>
                  <a:lnTo>
                    <a:pt x="250" y="366"/>
                  </a:lnTo>
                  <a:lnTo>
                    <a:pt x="240" y="376"/>
                  </a:lnTo>
                  <a:lnTo>
                    <a:pt x="228" y="386"/>
                  </a:lnTo>
                  <a:lnTo>
                    <a:pt x="216" y="394"/>
                  </a:lnTo>
                  <a:lnTo>
                    <a:pt x="202" y="400"/>
                  </a:lnTo>
                  <a:lnTo>
                    <a:pt x="190" y="406"/>
                  </a:lnTo>
                  <a:lnTo>
                    <a:pt x="176" y="410"/>
                  </a:lnTo>
                  <a:lnTo>
                    <a:pt x="162" y="412"/>
                  </a:lnTo>
                  <a:lnTo>
                    <a:pt x="148" y="414"/>
                  </a:lnTo>
                  <a:lnTo>
                    <a:pt x="148" y="414"/>
                  </a:lnTo>
                  <a:lnTo>
                    <a:pt x="132" y="414"/>
                  </a:lnTo>
                  <a:lnTo>
                    <a:pt x="118" y="412"/>
                  </a:lnTo>
                  <a:lnTo>
                    <a:pt x="104" y="410"/>
                  </a:lnTo>
                  <a:lnTo>
                    <a:pt x="90" y="404"/>
                  </a:lnTo>
                  <a:lnTo>
                    <a:pt x="76" y="398"/>
                  </a:lnTo>
                  <a:lnTo>
                    <a:pt x="64" y="392"/>
                  </a:lnTo>
                  <a:lnTo>
                    <a:pt x="52" y="382"/>
                  </a:lnTo>
                  <a:lnTo>
                    <a:pt x="42" y="374"/>
                  </a:lnTo>
                  <a:lnTo>
                    <a:pt x="42" y="374"/>
                  </a:lnTo>
                  <a:lnTo>
                    <a:pt x="32" y="362"/>
                  </a:lnTo>
                  <a:lnTo>
                    <a:pt x="24" y="352"/>
                  </a:lnTo>
                  <a:lnTo>
                    <a:pt x="16" y="340"/>
                  </a:lnTo>
                  <a:lnTo>
                    <a:pt x="12" y="328"/>
                  </a:lnTo>
                  <a:lnTo>
                    <a:pt x="6" y="314"/>
                  </a:lnTo>
                  <a:lnTo>
                    <a:pt x="4" y="302"/>
                  </a:lnTo>
                  <a:lnTo>
                    <a:pt x="2" y="288"/>
                  </a:lnTo>
                  <a:lnTo>
                    <a:pt x="0" y="274"/>
                  </a:lnTo>
                  <a:lnTo>
                    <a:pt x="0" y="274"/>
                  </a:lnTo>
                  <a:lnTo>
                    <a:pt x="2" y="260"/>
                  </a:lnTo>
                  <a:lnTo>
                    <a:pt x="4" y="244"/>
                  </a:lnTo>
                  <a:lnTo>
                    <a:pt x="8" y="230"/>
                  </a:lnTo>
                  <a:lnTo>
                    <a:pt x="12" y="216"/>
                  </a:lnTo>
                  <a:lnTo>
                    <a:pt x="20" y="202"/>
                  </a:lnTo>
                  <a:lnTo>
                    <a:pt x="28" y="188"/>
                  </a:lnTo>
                  <a:lnTo>
                    <a:pt x="38" y="176"/>
                  </a:lnTo>
                  <a:lnTo>
                    <a:pt x="48" y="164"/>
                  </a:lnTo>
                  <a:lnTo>
                    <a:pt x="166" y="46"/>
                  </a:lnTo>
                  <a:lnTo>
                    <a:pt x="166" y="46"/>
                  </a:lnTo>
                  <a:lnTo>
                    <a:pt x="178" y="34"/>
                  </a:lnTo>
                  <a:lnTo>
                    <a:pt x="190" y="26"/>
                  </a:lnTo>
                  <a:lnTo>
                    <a:pt x="204" y="18"/>
                  </a:lnTo>
                  <a:lnTo>
                    <a:pt x="218" y="10"/>
                  </a:lnTo>
                  <a:lnTo>
                    <a:pt x="232" y="6"/>
                  </a:lnTo>
                  <a:lnTo>
                    <a:pt x="246" y="2"/>
                  </a:lnTo>
                  <a:lnTo>
                    <a:pt x="262" y="0"/>
                  </a:lnTo>
                  <a:lnTo>
                    <a:pt x="276" y="0"/>
                  </a:lnTo>
                  <a:lnTo>
                    <a:pt x="276" y="0"/>
                  </a:lnTo>
                  <a:close/>
                </a:path>
              </a:pathLst>
            </a:custGeom>
            <a:solidFill>
              <a:schemeClr val="bg1">
                <a:lumMod val="75000"/>
              </a:schemeClr>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2" name="Title 1"/>
          <p:cNvSpPr>
            <a:spLocks noGrp="1"/>
          </p:cNvSpPr>
          <p:nvPr>
            <p:ph type="title"/>
          </p:nvPr>
        </p:nvSpPr>
        <p:spPr>
          <a:xfrm>
            <a:off x="661476" y="233152"/>
            <a:ext cx="11242914" cy="691570"/>
          </a:xfrm>
        </p:spPr>
        <p:txBody>
          <a:bodyPr/>
          <a:lstStyle/>
          <a:p>
            <a:r>
              <a:rPr lang="en-US" sz="4896" dirty="0"/>
              <a:t>What’s In It For Microsoft?</a:t>
            </a:r>
          </a:p>
        </p:txBody>
      </p:sp>
      <p:sp>
        <p:nvSpPr>
          <p:cNvPr id="40" name="TextBox 39"/>
          <p:cNvSpPr txBox="1"/>
          <p:nvPr/>
        </p:nvSpPr>
        <p:spPr>
          <a:xfrm>
            <a:off x="6209094" y="6001421"/>
            <a:ext cx="2507117" cy="129682"/>
          </a:xfrm>
          <a:prstGeom prst="rect">
            <a:avLst/>
          </a:prstGeom>
          <a:noFill/>
        </p:spPr>
        <p:txBody>
          <a:bodyPr wrap="square" lIns="0" tIns="0" rIns="0" bIns="0" rtlCol="0" anchor="t" anchorCtr="0">
            <a:spAutoFit/>
          </a:bodyPr>
          <a:lstStyle/>
          <a:p>
            <a:pPr marL="0" marR="0" lvl="0" indent="0" algn="ctr" defTabSz="932563" rtl="0" eaLnBrk="1" fontAlgn="auto" latinLnBrk="0" hangingPunct="1">
              <a:lnSpc>
                <a:spcPct val="90000"/>
              </a:lnSpc>
              <a:spcBef>
                <a:spcPts val="0"/>
              </a:spcBef>
              <a:spcAft>
                <a:spcPts val="612"/>
              </a:spcAft>
              <a:buClrTx/>
              <a:buSzTx/>
              <a:buFontTx/>
              <a:buNone/>
              <a:tabLst/>
              <a:defRPr/>
            </a:pPr>
            <a:r>
              <a:rPr kumimoji="0" lang="en-US" sz="918" b="0" i="1" u="none" strike="noStrike" kern="0" cap="none" spc="0" normalizeH="0" baseline="0" noProof="0" dirty="0">
                <a:ln>
                  <a:noFill/>
                </a:ln>
                <a:solidFill>
                  <a:srgbClr val="FFFFFF"/>
                </a:solidFill>
                <a:effectLst/>
                <a:uLnTx/>
                <a:uFillTx/>
                <a:latin typeface="Segoe UI"/>
                <a:ea typeface="+mn-ea"/>
                <a:cs typeface="Arial" panose="020B0604020202020204" pitchFamily="34" charset="0"/>
              </a:rPr>
              <a:t>** Now available in Azure Marketplace </a:t>
            </a:r>
          </a:p>
        </p:txBody>
      </p:sp>
    </p:spTree>
    <p:extLst>
      <p:ext uri="{BB962C8B-B14F-4D97-AF65-F5344CB8AC3E}">
        <p14:creationId xmlns:p14="http://schemas.microsoft.com/office/powerpoint/2010/main" val="1754074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9288905"/>
      </p:ext>
    </p:extLst>
  </p:cSld>
  <p:clrMapOvr>
    <a:masterClrMapping/>
  </p:clrMapOvr>
  <p:transition spd="slow">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nvPr>
        </p:nvGraphicFramePr>
        <p:xfrm>
          <a:off x="152513" y="181066"/>
          <a:ext cx="10547612" cy="67327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8820387" y="1049130"/>
            <a:ext cx="3212944"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rgbClr val="002060"/>
                </a:solidFill>
                <a:effectLst/>
                <a:uLnTx/>
                <a:uFillTx/>
                <a:latin typeface="Segoe UI Semibold" panose="020B0702040204020203" pitchFamily="34" charset="0"/>
                <a:ea typeface="+mn-ea"/>
                <a:cs typeface="Segoe UI Semibold" panose="020B0702040204020203" pitchFamily="34" charset="0"/>
              </a:rPr>
              <a:t>FEDERAL TEAM COVERAGE</a:t>
            </a:r>
          </a:p>
        </p:txBody>
      </p:sp>
      <p:pic>
        <p:nvPicPr>
          <p:cNvPr id="6" name="Picture 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933526" y="181066"/>
            <a:ext cx="2915732" cy="763734"/>
          </a:xfrm>
          <a:prstGeom prst="rect">
            <a:avLst/>
          </a:prstGeom>
        </p:spPr>
      </p:pic>
    </p:spTree>
    <p:extLst>
      <p:ext uri="{BB962C8B-B14F-4D97-AF65-F5344CB8AC3E}">
        <p14:creationId xmlns:p14="http://schemas.microsoft.com/office/powerpoint/2010/main" val="19306263"/>
      </p:ext>
    </p:extLst>
  </p:cSld>
  <p:clrMapOvr>
    <a:masterClrMapping/>
  </p:clrMapOvr>
  <p:transition spd="slow">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215426" y="-1"/>
            <a:ext cx="16590134" cy="6994525"/>
          </a:xfrm>
          <a:prstGeom prst="rect">
            <a:avLst/>
          </a:prstGeom>
        </p:spPr>
      </p:pic>
      <p:sp>
        <p:nvSpPr>
          <p:cNvPr id="9" name="Rectangle 8"/>
          <p:cNvSpPr/>
          <p:nvPr/>
        </p:nvSpPr>
        <p:spPr bwMode="auto">
          <a:xfrm>
            <a:off x="882" y="-1"/>
            <a:ext cx="12434711" cy="6994525"/>
          </a:xfrm>
          <a:prstGeom prst="rect">
            <a:avLst/>
          </a:prstGeom>
          <a:solidFill>
            <a:schemeClr val="bg2">
              <a:alpha val="50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none" lIns="93260" tIns="46630" rIns="93260" bIns="46630" numCol="1" rtlCol="0" anchor="ctr" anchorCtr="0" compatLnSpc="1">
            <a:prstTxWarp prst="textNoShape">
              <a:avLst/>
            </a:prstTxWarp>
          </a:bodyPr>
          <a:lstStyle/>
          <a:p>
            <a:pPr marL="0" marR="0" lvl="0" indent="0" algn="ctr" defTabSz="932597" rtl="0" eaLnBrk="0" fontAlgn="base" latinLnBrk="0" hangingPunct="0">
              <a:lnSpc>
                <a:spcPct val="100000"/>
              </a:lnSpc>
              <a:spcBef>
                <a:spcPct val="0"/>
              </a:spcBef>
              <a:spcAft>
                <a:spcPct val="0"/>
              </a:spcAft>
              <a:buClrTx/>
              <a:buSzTx/>
              <a:buFontTx/>
              <a:buNone/>
              <a:tabLst/>
              <a:defRPr/>
            </a:pPr>
            <a:endParaRPr kumimoji="0" lang="en-US" sz="1428" b="1" i="0" u="none" strike="noStrike" kern="0" cap="none" spc="0" normalizeH="0" baseline="0" noProof="0" dirty="0">
              <a:ln>
                <a:noFill/>
              </a:ln>
              <a:solidFill>
                <a:srgbClr val="000000"/>
              </a:solidFill>
              <a:effectLst/>
              <a:uLnTx/>
              <a:uFillTx/>
              <a:latin typeface="Arial" charset="0"/>
              <a:ea typeface="ＭＳ Ｐゴシック" pitchFamily="16" charset="-128"/>
              <a:cs typeface="ＭＳ Ｐゴシック" pitchFamily="-97" charset="-128"/>
            </a:endParaRPr>
          </a:p>
        </p:txBody>
      </p:sp>
      <p:sp>
        <p:nvSpPr>
          <p:cNvPr id="6" name="Title 5"/>
          <p:cNvSpPr>
            <a:spLocks noGrp="1"/>
          </p:cNvSpPr>
          <p:nvPr>
            <p:ph type="ctrTitle"/>
          </p:nvPr>
        </p:nvSpPr>
        <p:spPr/>
        <p:txBody>
          <a:bodyPr/>
          <a:lstStyle/>
          <a:p>
            <a:r>
              <a:rPr lang="en-US" dirty="0" err="1"/>
              <a:t>Esri</a:t>
            </a:r>
            <a:r>
              <a:rPr lang="en-US" dirty="0"/>
              <a:t> Overview</a:t>
            </a:r>
          </a:p>
        </p:txBody>
      </p:sp>
      <p:sp>
        <p:nvSpPr>
          <p:cNvPr id="7" name="Subtitle 6"/>
          <p:cNvSpPr>
            <a:spLocks noGrp="1"/>
          </p:cNvSpPr>
          <p:nvPr>
            <p:ph type="subTitle" idx="1"/>
          </p:nvPr>
        </p:nvSpPr>
        <p:spPr/>
        <p:txBody>
          <a:bodyPr/>
          <a:lstStyle/>
          <a:p>
            <a:r>
              <a:rPr lang="en-US" dirty="0"/>
              <a:t>Lisa Connelly, Account Executive</a:t>
            </a:r>
          </a:p>
        </p:txBody>
      </p:sp>
    </p:spTree>
    <p:extLst>
      <p:ext uri="{BB962C8B-B14F-4D97-AF65-F5344CB8AC3E}">
        <p14:creationId xmlns:p14="http://schemas.microsoft.com/office/powerpoint/2010/main" val="956798604"/>
      </p:ext>
    </p:extLst>
  </p:cSld>
  <p:clrMapOvr>
    <a:masterClrMapping/>
  </p:clrMapOvr>
  <p:transition spd="med">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15405" y="403078"/>
            <a:ext cx="10862857" cy="376684"/>
          </a:xfrm>
        </p:spPr>
        <p:txBody>
          <a:bodyPr/>
          <a:lstStyle/>
          <a:p>
            <a:r>
              <a:rPr lang="en-US" dirty="0"/>
              <a:t>The Esri Platform is Being Implemented Across the Federal Government</a:t>
            </a:r>
          </a:p>
        </p:txBody>
      </p:sp>
      <p:sp>
        <p:nvSpPr>
          <p:cNvPr id="5" name="Title 1"/>
          <p:cNvSpPr>
            <a:spLocks noGrp="1"/>
          </p:cNvSpPr>
          <p:nvPr/>
        </p:nvSpPr>
        <p:spPr>
          <a:xfrm>
            <a:off x="1698615" y="2258477"/>
            <a:ext cx="8393430" cy="874316"/>
          </a:xfrm>
          <a:prstGeom prst="rect">
            <a:avLst/>
          </a:prstGeom>
        </p:spPr>
        <p:txBody>
          <a:bodyPr vert="horz" lIns="93260" tIns="46630" rIns="93260" bIns="4663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32597" rtl="0" eaLnBrk="1" fontAlgn="auto" latinLnBrk="0" hangingPunct="1">
              <a:lnSpc>
                <a:spcPct val="100000"/>
              </a:lnSpc>
              <a:spcBef>
                <a:spcPct val="0"/>
              </a:spcBef>
              <a:spcAft>
                <a:spcPts val="0"/>
              </a:spcAft>
              <a:buClrTx/>
              <a:buSzTx/>
              <a:buFontTx/>
              <a:buNone/>
              <a:tabLst/>
              <a:defRPr/>
            </a:pPr>
            <a:endParaRPr kumimoji="0" lang="en-US" sz="2856" b="0" i="0" u="none" strike="noStrike" kern="1200" cap="none" spc="0" normalizeH="0" baseline="0" noProof="0" dirty="0">
              <a:ln>
                <a:noFill/>
              </a:ln>
              <a:solidFill>
                <a:prstClr val="white"/>
              </a:solidFill>
              <a:effectLst/>
              <a:uLnTx/>
              <a:uFillTx/>
              <a:latin typeface="Arial"/>
              <a:ea typeface="ＭＳ Ｐゴシック"/>
            </a:endParaRPr>
          </a:p>
        </p:txBody>
      </p:sp>
      <p:grpSp>
        <p:nvGrpSpPr>
          <p:cNvPr id="41" name="Group 40"/>
          <p:cNvGrpSpPr/>
          <p:nvPr/>
        </p:nvGrpSpPr>
        <p:grpSpPr>
          <a:xfrm>
            <a:off x="2633278" y="2364618"/>
            <a:ext cx="1088037" cy="1153007"/>
            <a:chOff x="2422032" y="2219596"/>
            <a:chExt cx="1066800" cy="1130502"/>
          </a:xfrm>
        </p:grpSpPr>
        <p:sp>
          <p:nvSpPr>
            <p:cNvPr id="9" name="Text Box 6"/>
            <p:cNvSpPr txBox="1">
              <a:spLocks noChangeArrowheads="1"/>
            </p:cNvSpPr>
            <p:nvPr/>
          </p:nvSpPr>
          <p:spPr bwMode="auto">
            <a:xfrm>
              <a:off x="2422032" y="3044116"/>
              <a:ext cx="1066800" cy="3059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6629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prstClr val="white"/>
                  </a:solidFill>
                  <a:effectLst/>
                  <a:uLnTx/>
                  <a:uFillTx/>
                  <a:latin typeface="Arial" panose="020B0604020202020204" pitchFamily="34" charset="0"/>
                  <a:ea typeface="ＭＳ Ｐゴシック"/>
                  <a:cs typeface="Arial" panose="020B0604020202020204" pitchFamily="34" charset="0"/>
                </a:rPr>
                <a:t>Commerce</a:t>
              </a:r>
            </a:p>
          </p:txBody>
        </p:sp>
        <p:pic>
          <p:nvPicPr>
            <p:cNvPr id="20" name="Picture 19" descr="Seal of the Department of Commerce">
              <a:hlinkClick r:id="rId3"/>
            </p:cNvPr>
            <p:cNvPicPr>
              <a:picLocks noChangeAspect="1" noChangeArrowheads="1"/>
            </p:cNvPicPr>
            <p:nvPr/>
          </p:nvPicPr>
          <p:blipFill>
            <a:blip r:embed="rId4">
              <a:extLst>
                <a:ext uri="{28A0092B-C50C-407E-A947-70E740481C1C}">
                  <a14:useLocalDpi xmlns:a14="http://schemas.microsoft.com/office/drawing/2010/main"/>
                </a:ext>
              </a:extLst>
            </a:blip>
            <a:stretch>
              <a:fillRect/>
            </a:stretch>
          </p:blipFill>
          <p:spPr bwMode="auto">
            <a:xfrm>
              <a:off x="2583957" y="2219596"/>
              <a:ext cx="742950" cy="7429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42" name="Group 41"/>
          <p:cNvGrpSpPr/>
          <p:nvPr/>
        </p:nvGrpSpPr>
        <p:grpSpPr>
          <a:xfrm>
            <a:off x="3963705" y="2364619"/>
            <a:ext cx="932603" cy="1159219"/>
            <a:chOff x="3618786" y="2219596"/>
            <a:chExt cx="914400" cy="1136592"/>
          </a:xfrm>
        </p:grpSpPr>
        <p:sp>
          <p:nvSpPr>
            <p:cNvPr id="10" name="Text Box 7"/>
            <p:cNvSpPr txBox="1">
              <a:spLocks noChangeArrowheads="1"/>
            </p:cNvSpPr>
            <p:nvPr/>
          </p:nvSpPr>
          <p:spPr bwMode="auto">
            <a:xfrm>
              <a:off x="3618786" y="3044115"/>
              <a:ext cx="914400" cy="3120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6629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prstClr val="white"/>
                  </a:solidFill>
                  <a:effectLst/>
                  <a:uLnTx/>
                  <a:uFillTx/>
                  <a:latin typeface="Arial" panose="020B0604020202020204" pitchFamily="34" charset="0"/>
                  <a:ea typeface="ＭＳ Ｐゴシック"/>
                  <a:cs typeface="Arial" panose="020B0604020202020204" pitchFamily="34" charset="0"/>
                </a:rPr>
                <a:t>Defense</a:t>
              </a:r>
            </a:p>
          </p:txBody>
        </p:sp>
        <p:pic>
          <p:nvPicPr>
            <p:cNvPr id="21" name="Picture 20" descr="Seal of the Department of Defense">
              <a:hlinkClick r:id="rId5"/>
            </p:cNvPr>
            <p:cNvPicPr>
              <a:picLocks noChangeAspect="1" noChangeArrowheads="1"/>
            </p:cNvPicPr>
            <p:nvPr/>
          </p:nvPicPr>
          <p:blipFill>
            <a:blip r:embed="rId6">
              <a:extLst>
                <a:ext uri="{28A0092B-C50C-407E-A947-70E740481C1C}">
                  <a14:useLocalDpi xmlns:a14="http://schemas.microsoft.com/office/drawing/2010/main"/>
                </a:ext>
              </a:extLst>
            </a:blip>
            <a:stretch>
              <a:fillRect/>
            </a:stretch>
          </p:blipFill>
          <p:spPr bwMode="auto">
            <a:xfrm>
              <a:off x="3704511" y="2219596"/>
              <a:ext cx="742950" cy="7429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45" name="Group 44"/>
          <p:cNvGrpSpPr/>
          <p:nvPr/>
        </p:nvGrpSpPr>
        <p:grpSpPr>
          <a:xfrm>
            <a:off x="6356466" y="2390708"/>
            <a:ext cx="1010320" cy="1159220"/>
            <a:chOff x="6942348" y="2219596"/>
            <a:chExt cx="990600" cy="1136593"/>
          </a:xfrm>
        </p:grpSpPr>
        <p:sp>
          <p:nvSpPr>
            <p:cNvPr id="12" name="Text Box 9"/>
            <p:cNvSpPr txBox="1">
              <a:spLocks noChangeArrowheads="1"/>
            </p:cNvSpPr>
            <p:nvPr/>
          </p:nvSpPr>
          <p:spPr bwMode="auto">
            <a:xfrm>
              <a:off x="6942348" y="3044116"/>
              <a:ext cx="990600" cy="3120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6629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prstClr val="white"/>
                  </a:solidFill>
                  <a:effectLst/>
                  <a:uLnTx/>
                  <a:uFillTx/>
                  <a:latin typeface="Arial" panose="020B0604020202020204" pitchFamily="34" charset="0"/>
                  <a:ea typeface="ＭＳ Ｐゴシック"/>
                  <a:cs typeface="Arial" panose="020B0604020202020204" pitchFamily="34" charset="0"/>
                </a:rPr>
                <a:t>Energy</a:t>
              </a:r>
            </a:p>
          </p:txBody>
        </p:sp>
        <p:pic>
          <p:nvPicPr>
            <p:cNvPr id="22" name="Picture 21" descr="Seal of the Department of Energy">
              <a:hlinkClick r:id="rId7"/>
            </p:cNvPr>
            <p:cNvPicPr>
              <a:picLocks noChangeAspect="1" noChangeArrowheads="1"/>
            </p:cNvPicPr>
            <p:nvPr/>
          </p:nvPicPr>
          <p:blipFill>
            <a:blip r:embed="rId8">
              <a:extLst>
                <a:ext uri="{28A0092B-C50C-407E-A947-70E740481C1C}">
                  <a14:useLocalDpi xmlns:a14="http://schemas.microsoft.com/office/drawing/2010/main"/>
                </a:ext>
              </a:extLst>
            </a:blip>
            <a:stretch>
              <a:fillRect/>
            </a:stretch>
          </p:blipFill>
          <p:spPr bwMode="auto">
            <a:xfrm>
              <a:off x="7066173" y="2219596"/>
              <a:ext cx="742950" cy="7429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50" name="Group 49"/>
          <p:cNvGrpSpPr/>
          <p:nvPr/>
        </p:nvGrpSpPr>
        <p:grpSpPr>
          <a:xfrm>
            <a:off x="2763598" y="3823102"/>
            <a:ext cx="757740" cy="1182986"/>
            <a:chOff x="3829811" y="3634919"/>
            <a:chExt cx="742950" cy="1159896"/>
          </a:xfrm>
        </p:grpSpPr>
        <p:sp>
          <p:nvSpPr>
            <p:cNvPr id="13" name="Text Box 10"/>
            <p:cNvSpPr txBox="1">
              <a:spLocks noChangeArrowheads="1"/>
            </p:cNvSpPr>
            <p:nvPr/>
          </p:nvSpPr>
          <p:spPr bwMode="auto">
            <a:xfrm>
              <a:off x="3832986" y="4488833"/>
              <a:ext cx="736600" cy="3059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6629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prstClr val="white"/>
                  </a:solidFill>
                  <a:effectLst/>
                  <a:uLnTx/>
                  <a:uFillTx/>
                  <a:latin typeface="Arial" panose="020B0604020202020204" pitchFamily="34" charset="0"/>
                  <a:ea typeface="ＭＳ Ｐゴシック"/>
                  <a:cs typeface="Arial" panose="020B0604020202020204" pitchFamily="34" charset="0"/>
                </a:rPr>
                <a:t>Interior</a:t>
              </a:r>
            </a:p>
          </p:txBody>
        </p:sp>
        <p:pic>
          <p:nvPicPr>
            <p:cNvPr id="25" name="Picture 24" descr="Seal of the Department of Interior">
              <a:hlinkClick r:id="rId9"/>
            </p:cNvPr>
            <p:cNvPicPr>
              <a:picLocks noChangeAspect="1" noChangeArrowheads="1"/>
            </p:cNvPicPr>
            <p:nvPr/>
          </p:nvPicPr>
          <p:blipFill>
            <a:blip r:embed="rId10" cstate="email">
              <a:extLst>
                <a:ext uri="{28A0092B-C50C-407E-A947-70E740481C1C}">
                  <a14:useLocalDpi xmlns:a14="http://schemas.microsoft.com/office/drawing/2010/main"/>
                </a:ext>
              </a:extLst>
            </a:blip>
            <a:stretch>
              <a:fillRect/>
            </a:stretch>
          </p:blipFill>
          <p:spPr bwMode="auto">
            <a:xfrm>
              <a:off x="3829811" y="3634919"/>
              <a:ext cx="742950" cy="7429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51" name="Group 50"/>
          <p:cNvGrpSpPr/>
          <p:nvPr/>
        </p:nvGrpSpPr>
        <p:grpSpPr>
          <a:xfrm>
            <a:off x="4014592" y="3843861"/>
            <a:ext cx="768557" cy="1168441"/>
            <a:chOff x="4911208" y="3634919"/>
            <a:chExt cx="753556" cy="1145634"/>
          </a:xfrm>
        </p:grpSpPr>
        <p:sp>
          <p:nvSpPr>
            <p:cNvPr id="14" name="Text Box 11"/>
            <p:cNvSpPr txBox="1">
              <a:spLocks noChangeArrowheads="1"/>
            </p:cNvSpPr>
            <p:nvPr/>
          </p:nvSpPr>
          <p:spPr bwMode="auto">
            <a:xfrm>
              <a:off x="4911208" y="4468480"/>
              <a:ext cx="753556" cy="3120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6629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prstClr val="white"/>
                  </a:solidFill>
                  <a:effectLst/>
                  <a:uLnTx/>
                  <a:uFillTx/>
                  <a:latin typeface="Arial" panose="020B0604020202020204" pitchFamily="34" charset="0"/>
                  <a:ea typeface="ＭＳ Ｐゴシック"/>
                  <a:cs typeface="Arial" panose="020B0604020202020204" pitchFamily="34" charset="0"/>
                </a:rPr>
                <a:t>Justice </a:t>
              </a:r>
            </a:p>
          </p:txBody>
        </p:sp>
        <p:pic>
          <p:nvPicPr>
            <p:cNvPr id="26" name="Picture 25" descr="Seal of the Department of Justice">
              <a:hlinkClick r:id="rId11"/>
            </p:cNvPr>
            <p:cNvPicPr>
              <a:picLocks noChangeAspect="1" noChangeArrowheads="1"/>
            </p:cNvPicPr>
            <p:nvPr/>
          </p:nvPicPr>
          <p:blipFill>
            <a:blip r:embed="rId12" cstate="email">
              <a:extLst>
                <a:ext uri="{28A0092B-C50C-407E-A947-70E740481C1C}">
                  <a14:useLocalDpi xmlns:a14="http://schemas.microsoft.com/office/drawing/2010/main"/>
                </a:ext>
              </a:extLst>
            </a:blip>
            <a:stretch>
              <a:fillRect/>
            </a:stretch>
          </p:blipFill>
          <p:spPr bwMode="auto">
            <a:xfrm>
              <a:off x="4916511" y="3634919"/>
              <a:ext cx="742950" cy="7429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52" name="Group 51"/>
          <p:cNvGrpSpPr/>
          <p:nvPr/>
        </p:nvGrpSpPr>
        <p:grpSpPr>
          <a:xfrm>
            <a:off x="5289322" y="3843861"/>
            <a:ext cx="757740" cy="1164408"/>
            <a:chOff x="6026347" y="3634919"/>
            <a:chExt cx="742950" cy="1141680"/>
          </a:xfrm>
        </p:grpSpPr>
        <p:sp>
          <p:nvSpPr>
            <p:cNvPr id="15" name="Text Box 12"/>
            <p:cNvSpPr txBox="1">
              <a:spLocks noChangeArrowheads="1"/>
            </p:cNvSpPr>
            <p:nvPr/>
          </p:nvSpPr>
          <p:spPr bwMode="auto">
            <a:xfrm>
              <a:off x="6063653" y="4464526"/>
              <a:ext cx="668337" cy="3120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6629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prstClr val="white"/>
                  </a:solidFill>
                  <a:effectLst/>
                  <a:uLnTx/>
                  <a:uFillTx/>
                  <a:latin typeface="Arial" panose="020B0604020202020204" pitchFamily="34" charset="0"/>
                  <a:ea typeface="ＭＳ Ｐゴシック"/>
                  <a:cs typeface="Arial" panose="020B0604020202020204" pitchFamily="34" charset="0"/>
                </a:rPr>
                <a:t>Labor</a:t>
              </a:r>
            </a:p>
          </p:txBody>
        </p:sp>
        <p:pic>
          <p:nvPicPr>
            <p:cNvPr id="27" name="Picture 26" descr="Seal of the Department of Labor">
              <a:hlinkClick r:id="rId13"/>
            </p:cNvPr>
            <p:cNvPicPr>
              <a:picLocks noChangeAspect="1" noChangeArrowheads="1"/>
            </p:cNvPicPr>
            <p:nvPr/>
          </p:nvPicPr>
          <p:blipFill>
            <a:blip r:embed="rId14" cstate="email">
              <a:extLst>
                <a:ext uri="{28A0092B-C50C-407E-A947-70E740481C1C}">
                  <a14:useLocalDpi xmlns:a14="http://schemas.microsoft.com/office/drawing/2010/main"/>
                </a:ext>
              </a:extLst>
            </a:blip>
            <a:stretch>
              <a:fillRect/>
            </a:stretch>
          </p:blipFill>
          <p:spPr bwMode="auto">
            <a:xfrm>
              <a:off x="6026347" y="3634919"/>
              <a:ext cx="742950" cy="7429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53" name="Group 52"/>
          <p:cNvGrpSpPr/>
          <p:nvPr/>
        </p:nvGrpSpPr>
        <p:grpSpPr>
          <a:xfrm>
            <a:off x="6473962" y="3843862"/>
            <a:ext cx="757740" cy="1185017"/>
            <a:chOff x="7124615" y="3634919"/>
            <a:chExt cx="742950" cy="1161887"/>
          </a:xfrm>
        </p:grpSpPr>
        <p:sp>
          <p:nvSpPr>
            <p:cNvPr id="16" name="Text Box 13"/>
            <p:cNvSpPr txBox="1">
              <a:spLocks noChangeArrowheads="1"/>
            </p:cNvSpPr>
            <p:nvPr/>
          </p:nvSpPr>
          <p:spPr bwMode="auto">
            <a:xfrm>
              <a:off x="7160212" y="4484733"/>
              <a:ext cx="670357" cy="3120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6629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prstClr val="white"/>
                  </a:solidFill>
                  <a:effectLst/>
                  <a:uLnTx/>
                  <a:uFillTx/>
                  <a:latin typeface="Arial" panose="020B0604020202020204" pitchFamily="34" charset="0"/>
                  <a:ea typeface="ＭＳ Ｐゴシック"/>
                  <a:cs typeface="Arial" panose="020B0604020202020204" pitchFamily="34" charset="0"/>
                </a:rPr>
                <a:t>State</a:t>
              </a:r>
            </a:p>
          </p:txBody>
        </p:sp>
        <p:pic>
          <p:nvPicPr>
            <p:cNvPr id="28" name="Picture 27" descr="Seal of the Department of State">
              <a:hlinkClick r:id="rId15"/>
            </p:cNvPr>
            <p:cNvPicPr>
              <a:picLocks noChangeAspect="1" noChangeArrowheads="1"/>
            </p:cNvPicPr>
            <p:nvPr/>
          </p:nvPicPr>
          <p:blipFill>
            <a:blip r:embed="rId16" cstate="email">
              <a:extLst>
                <a:ext uri="{28A0092B-C50C-407E-A947-70E740481C1C}">
                  <a14:useLocalDpi xmlns:a14="http://schemas.microsoft.com/office/drawing/2010/main"/>
                </a:ext>
              </a:extLst>
            </a:blip>
            <a:stretch>
              <a:fillRect/>
            </a:stretch>
          </p:blipFill>
          <p:spPr bwMode="auto">
            <a:xfrm>
              <a:off x="7124615" y="3634919"/>
              <a:ext cx="742950" cy="7429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54" name="Group 53"/>
          <p:cNvGrpSpPr/>
          <p:nvPr/>
        </p:nvGrpSpPr>
        <p:grpSpPr>
          <a:xfrm>
            <a:off x="7437489" y="3843861"/>
            <a:ext cx="1430399" cy="1179745"/>
            <a:chOff x="7893118" y="3634919"/>
            <a:chExt cx="1402479" cy="1156718"/>
          </a:xfrm>
        </p:grpSpPr>
        <p:sp>
          <p:nvSpPr>
            <p:cNvPr id="17" name="Text Box 14"/>
            <p:cNvSpPr txBox="1">
              <a:spLocks noChangeArrowheads="1"/>
            </p:cNvSpPr>
            <p:nvPr/>
          </p:nvSpPr>
          <p:spPr bwMode="auto">
            <a:xfrm>
              <a:off x="7893118" y="4479564"/>
              <a:ext cx="1402479" cy="3120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6629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prstClr val="white"/>
                  </a:solidFill>
                  <a:effectLst/>
                  <a:uLnTx/>
                  <a:uFillTx/>
                  <a:latin typeface="Arial" panose="020B0604020202020204" pitchFamily="34" charset="0"/>
                  <a:ea typeface="ＭＳ Ｐゴシック"/>
                  <a:cs typeface="Arial" panose="020B0604020202020204" pitchFamily="34" charset="0"/>
                </a:rPr>
                <a:t>Transportation</a:t>
              </a:r>
            </a:p>
          </p:txBody>
        </p:sp>
        <p:pic>
          <p:nvPicPr>
            <p:cNvPr id="29" name="Picture 28" descr="Seal of the Department of Transportation">
              <a:hlinkClick r:id="rId17"/>
            </p:cNvPr>
            <p:cNvPicPr>
              <a:picLocks noChangeAspect="1" noChangeArrowheads="1"/>
            </p:cNvPicPr>
            <p:nvPr/>
          </p:nvPicPr>
          <p:blipFill>
            <a:blip r:embed="rId18" cstate="email">
              <a:extLst>
                <a:ext uri="{28A0092B-C50C-407E-A947-70E740481C1C}">
                  <a14:useLocalDpi xmlns:a14="http://schemas.microsoft.com/office/drawing/2010/main"/>
                </a:ext>
              </a:extLst>
            </a:blip>
            <a:stretch>
              <a:fillRect/>
            </a:stretch>
          </p:blipFill>
          <p:spPr bwMode="auto">
            <a:xfrm>
              <a:off x="8222883" y="3634919"/>
              <a:ext cx="742950" cy="7429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55" name="Group 54"/>
          <p:cNvGrpSpPr/>
          <p:nvPr/>
        </p:nvGrpSpPr>
        <p:grpSpPr>
          <a:xfrm>
            <a:off x="8884277" y="3827788"/>
            <a:ext cx="932603" cy="1158835"/>
            <a:chOff x="9235424" y="3634919"/>
            <a:chExt cx="914400" cy="1136216"/>
          </a:xfrm>
        </p:grpSpPr>
        <p:sp>
          <p:nvSpPr>
            <p:cNvPr id="18" name="Text Box 15"/>
            <p:cNvSpPr txBox="1">
              <a:spLocks noChangeArrowheads="1"/>
            </p:cNvSpPr>
            <p:nvPr/>
          </p:nvSpPr>
          <p:spPr bwMode="auto">
            <a:xfrm>
              <a:off x="9235424" y="4459062"/>
              <a:ext cx="914400" cy="3120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6629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prstClr val="white"/>
                  </a:solidFill>
                  <a:effectLst/>
                  <a:uLnTx/>
                  <a:uFillTx/>
                  <a:latin typeface="Arial" panose="020B0604020202020204" pitchFamily="34" charset="0"/>
                  <a:ea typeface="ＭＳ Ｐゴシック"/>
                  <a:cs typeface="Arial" panose="020B0604020202020204" pitchFamily="34" charset="0"/>
                </a:rPr>
                <a:t>Treasury </a:t>
              </a:r>
            </a:p>
          </p:txBody>
        </p:sp>
        <p:pic>
          <p:nvPicPr>
            <p:cNvPr id="30" name="Picture 29" descr="Seal of the Department of the Treasury">
              <a:hlinkClick r:id="rId19"/>
            </p:cNvPr>
            <p:cNvPicPr>
              <a:picLocks noChangeAspect="1" noChangeArrowheads="1"/>
            </p:cNvPicPr>
            <p:nvPr/>
          </p:nvPicPr>
          <p:blipFill>
            <a:blip r:embed="rId20" cstate="email">
              <a:extLst>
                <a:ext uri="{28A0092B-C50C-407E-A947-70E740481C1C}">
                  <a14:useLocalDpi xmlns:a14="http://schemas.microsoft.com/office/drawing/2010/main"/>
                </a:ext>
              </a:extLst>
            </a:blip>
            <a:stretch>
              <a:fillRect/>
            </a:stretch>
          </p:blipFill>
          <p:spPr bwMode="auto">
            <a:xfrm>
              <a:off x="9321149" y="3634919"/>
              <a:ext cx="742950" cy="7429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48" name="Group 47"/>
          <p:cNvGrpSpPr/>
          <p:nvPr/>
        </p:nvGrpSpPr>
        <p:grpSpPr>
          <a:xfrm>
            <a:off x="9848950" y="2360749"/>
            <a:ext cx="1214327" cy="1156586"/>
            <a:chOff x="1390482" y="3634919"/>
            <a:chExt cx="1190625" cy="1134011"/>
          </a:xfrm>
        </p:grpSpPr>
        <p:sp>
          <p:nvSpPr>
            <p:cNvPr id="19" name="Text Box 17"/>
            <p:cNvSpPr txBox="1">
              <a:spLocks noChangeArrowheads="1"/>
            </p:cNvSpPr>
            <p:nvPr/>
          </p:nvSpPr>
          <p:spPr bwMode="auto">
            <a:xfrm>
              <a:off x="1390482" y="4456857"/>
              <a:ext cx="1190625" cy="3120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6629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prstClr val="white"/>
                  </a:solidFill>
                  <a:effectLst/>
                  <a:uLnTx/>
                  <a:uFillTx/>
                  <a:latin typeface="Arial" panose="020B0604020202020204" pitchFamily="34" charset="0"/>
                  <a:ea typeface="ＭＳ Ｐゴシック"/>
                  <a:cs typeface="Arial" panose="020B0604020202020204" pitchFamily="34" charset="0"/>
                </a:rPr>
                <a:t>HUD</a:t>
              </a:r>
            </a:p>
          </p:txBody>
        </p:sp>
        <p:pic>
          <p:nvPicPr>
            <p:cNvPr id="32" name="Picture 31" descr="Seal of the Department of Housing and Urban Development">
              <a:hlinkClick r:id="rId21"/>
            </p:cNvPr>
            <p:cNvPicPr>
              <a:picLocks noChangeAspect="1" noChangeArrowheads="1"/>
            </p:cNvPicPr>
            <p:nvPr/>
          </p:nvPicPr>
          <p:blipFill>
            <a:blip r:embed="rId22" cstate="email">
              <a:extLst>
                <a:ext uri="{28A0092B-C50C-407E-A947-70E740481C1C}">
                  <a14:useLocalDpi xmlns:a14="http://schemas.microsoft.com/office/drawing/2010/main"/>
                </a:ext>
              </a:extLst>
            </a:blip>
            <a:stretch>
              <a:fillRect/>
            </a:stretch>
          </p:blipFill>
          <p:spPr bwMode="auto">
            <a:xfrm>
              <a:off x="1614320" y="3634919"/>
              <a:ext cx="742950" cy="7429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44" name="Group 43"/>
          <p:cNvGrpSpPr/>
          <p:nvPr/>
        </p:nvGrpSpPr>
        <p:grpSpPr>
          <a:xfrm>
            <a:off x="7329314" y="2395271"/>
            <a:ext cx="1501095" cy="1514191"/>
            <a:chOff x="5552712" y="2219596"/>
            <a:chExt cx="1528764" cy="1545362"/>
          </a:xfrm>
        </p:grpSpPr>
        <p:pic>
          <p:nvPicPr>
            <p:cNvPr id="23" name="Picture 22" descr="Department of Health and Human Services">
              <a:hlinkClick r:id="rId23"/>
            </p:cNvPr>
            <p:cNvPicPr>
              <a:picLocks noChangeAspect="1" noChangeArrowheads="1"/>
            </p:cNvPicPr>
            <p:nvPr/>
          </p:nvPicPr>
          <p:blipFill>
            <a:blip r:embed="rId24" cstate="email">
              <a:extLst>
                <a:ext uri="{28A0092B-C50C-407E-A947-70E740481C1C}">
                  <a14:useLocalDpi xmlns:a14="http://schemas.microsoft.com/office/drawing/2010/main"/>
                </a:ext>
              </a:extLst>
            </a:blip>
            <a:stretch>
              <a:fillRect/>
            </a:stretch>
          </p:blipFill>
          <p:spPr bwMode="auto">
            <a:xfrm>
              <a:off x="5945619" y="2219596"/>
              <a:ext cx="742950" cy="7429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3" name="Text Box 38"/>
            <p:cNvSpPr txBox="1">
              <a:spLocks noChangeArrowheads="1"/>
            </p:cNvSpPr>
            <p:nvPr/>
          </p:nvSpPr>
          <p:spPr bwMode="auto">
            <a:xfrm>
              <a:off x="5552712" y="2982665"/>
              <a:ext cx="1528764" cy="7822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6629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prstClr val="white"/>
                  </a:solidFill>
                  <a:effectLst/>
                  <a:uLnTx/>
                  <a:uFillTx/>
                  <a:latin typeface="Arial" panose="020B0604020202020204" pitchFamily="34" charset="0"/>
                  <a:ea typeface="ＭＳ Ｐゴシック"/>
                  <a:cs typeface="Arial" panose="020B0604020202020204" pitchFamily="34" charset="0"/>
                </a:rPr>
                <a:t>Health &amp; Human  Services</a:t>
              </a:r>
            </a:p>
          </p:txBody>
        </p:sp>
      </p:grpSp>
      <p:grpSp>
        <p:nvGrpSpPr>
          <p:cNvPr id="46" name="Group 45"/>
          <p:cNvGrpSpPr/>
          <p:nvPr/>
        </p:nvGrpSpPr>
        <p:grpSpPr>
          <a:xfrm>
            <a:off x="8508426" y="2378308"/>
            <a:ext cx="1669494" cy="1311130"/>
            <a:chOff x="7761238" y="2219595"/>
            <a:chExt cx="1593927" cy="1301475"/>
          </a:xfrm>
        </p:grpSpPr>
        <p:pic>
          <p:nvPicPr>
            <p:cNvPr id="24" name="Picture 23" descr="Seal of the Department of Homeland Security">
              <a:hlinkClick r:id="rId25"/>
            </p:cNvPr>
            <p:cNvPicPr>
              <a:picLocks noChangeAspect="1" noChangeArrowheads="1"/>
            </p:cNvPicPr>
            <p:nvPr/>
          </p:nvPicPr>
          <p:blipFill>
            <a:blip r:embed="rId26">
              <a:extLst>
                <a:ext uri="{28A0092B-C50C-407E-A947-70E740481C1C}">
                  <a14:useLocalDpi xmlns:a14="http://schemas.microsoft.com/office/drawing/2010/main"/>
                </a:ext>
              </a:extLst>
            </a:blip>
            <a:stretch>
              <a:fillRect/>
            </a:stretch>
          </p:blipFill>
          <p:spPr bwMode="auto">
            <a:xfrm>
              <a:off x="8186727" y="2219595"/>
              <a:ext cx="742950" cy="7429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4" name="Text Box 40"/>
            <p:cNvSpPr txBox="1">
              <a:spLocks noChangeArrowheads="1"/>
            </p:cNvSpPr>
            <p:nvPr/>
          </p:nvSpPr>
          <p:spPr bwMode="auto">
            <a:xfrm>
              <a:off x="7761238" y="2982665"/>
              <a:ext cx="1593927" cy="5384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6629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prstClr val="white"/>
                  </a:solidFill>
                  <a:effectLst/>
                  <a:uLnTx/>
                  <a:uFillTx/>
                  <a:latin typeface="Arial" panose="020B0604020202020204" pitchFamily="34" charset="0"/>
                  <a:ea typeface="ＭＳ Ｐゴシック"/>
                  <a:cs typeface="Arial" panose="020B0604020202020204" pitchFamily="34" charset="0"/>
                </a:rPr>
                <a:t>Homeland</a:t>
              </a:r>
            </a:p>
            <a:p>
              <a:pPr marL="0" marR="0" lvl="0" indent="0" algn="ctr" defTabSz="46629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prstClr val="white"/>
                  </a:solidFill>
                  <a:effectLst/>
                  <a:uLnTx/>
                  <a:uFillTx/>
                  <a:latin typeface="Arial" panose="020B0604020202020204" pitchFamily="34" charset="0"/>
                  <a:ea typeface="ＭＳ Ｐゴシック"/>
                  <a:cs typeface="Arial" panose="020B0604020202020204" pitchFamily="34" charset="0"/>
                </a:rPr>
                <a:t>Security</a:t>
              </a:r>
            </a:p>
          </p:txBody>
        </p:sp>
      </p:grpSp>
      <p:grpSp>
        <p:nvGrpSpPr>
          <p:cNvPr id="43" name="Group 42"/>
          <p:cNvGrpSpPr/>
          <p:nvPr/>
        </p:nvGrpSpPr>
        <p:grpSpPr>
          <a:xfrm>
            <a:off x="5134038" y="2360749"/>
            <a:ext cx="1088037" cy="1159220"/>
            <a:chOff x="4663140" y="2219596"/>
            <a:chExt cx="1066800" cy="1136593"/>
          </a:xfrm>
        </p:grpSpPr>
        <p:sp>
          <p:nvSpPr>
            <p:cNvPr id="11" name="Text Box 8"/>
            <p:cNvSpPr txBox="1">
              <a:spLocks noChangeArrowheads="1"/>
            </p:cNvSpPr>
            <p:nvPr/>
          </p:nvSpPr>
          <p:spPr bwMode="auto">
            <a:xfrm>
              <a:off x="4663140" y="3044116"/>
              <a:ext cx="1066800" cy="3120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6629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prstClr val="white"/>
                  </a:solidFill>
                  <a:effectLst/>
                  <a:uLnTx/>
                  <a:uFillTx/>
                  <a:latin typeface="Arial" panose="020B0604020202020204" pitchFamily="34" charset="0"/>
                  <a:ea typeface="ＭＳ Ｐゴシック"/>
                  <a:cs typeface="Arial" panose="020B0604020202020204" pitchFamily="34" charset="0"/>
                </a:rPr>
                <a:t>Education</a:t>
              </a:r>
            </a:p>
          </p:txBody>
        </p:sp>
        <p:pic>
          <p:nvPicPr>
            <p:cNvPr id="35" name="Picture 34" descr="doe.bmp"/>
            <p:cNvPicPr>
              <a:picLocks noChangeAspect="1"/>
            </p:cNvPicPr>
            <p:nvPr/>
          </p:nvPicPr>
          <p:blipFill>
            <a:blip r:embed="rId27">
              <a:extLst>
                <a:ext uri="{28A0092B-C50C-407E-A947-70E740481C1C}">
                  <a14:useLocalDpi xmlns:a14="http://schemas.microsoft.com/office/drawing/2010/main"/>
                </a:ext>
              </a:extLst>
            </a:blip>
            <a:stretch>
              <a:fillRect/>
            </a:stretch>
          </p:blipFill>
          <p:spPr bwMode="auto">
            <a:xfrm>
              <a:off x="4825065" y="2219596"/>
              <a:ext cx="742950" cy="7429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49" name="Group 48"/>
          <p:cNvGrpSpPr/>
          <p:nvPr/>
        </p:nvGrpSpPr>
        <p:grpSpPr>
          <a:xfrm>
            <a:off x="1333264" y="3843861"/>
            <a:ext cx="1110075" cy="1192162"/>
            <a:chOff x="2549336" y="3625442"/>
            <a:chExt cx="1088408" cy="1168893"/>
          </a:xfrm>
        </p:grpSpPr>
        <p:sp>
          <p:nvSpPr>
            <p:cNvPr id="36" name="Text Box 40"/>
            <p:cNvSpPr txBox="1">
              <a:spLocks noChangeArrowheads="1"/>
            </p:cNvSpPr>
            <p:nvPr/>
          </p:nvSpPr>
          <p:spPr bwMode="auto">
            <a:xfrm>
              <a:off x="2549336" y="4488353"/>
              <a:ext cx="1088408" cy="3059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6629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prstClr val="white"/>
                  </a:solidFill>
                  <a:effectLst/>
                  <a:uLnTx/>
                  <a:uFillTx/>
                  <a:latin typeface="Arial" panose="020B0604020202020204" pitchFamily="34" charset="0"/>
                  <a:ea typeface="ＭＳ Ｐゴシック"/>
                  <a:cs typeface="Arial" panose="020B0604020202020204" pitchFamily="34" charset="0"/>
                </a:rPr>
                <a:t>Intelligence</a:t>
              </a:r>
            </a:p>
          </p:txBody>
        </p:sp>
        <p:pic>
          <p:nvPicPr>
            <p:cNvPr id="37" name="Picture 36"/>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2712588" y="3625442"/>
              <a:ext cx="761905" cy="761905"/>
            </a:xfrm>
            <a:prstGeom prst="rect">
              <a:avLst/>
            </a:prstGeom>
          </p:spPr>
        </p:pic>
      </p:grpSp>
      <p:grpSp>
        <p:nvGrpSpPr>
          <p:cNvPr id="40" name="Group 39"/>
          <p:cNvGrpSpPr/>
          <p:nvPr/>
        </p:nvGrpSpPr>
        <p:grpSpPr>
          <a:xfrm>
            <a:off x="1329995" y="2395271"/>
            <a:ext cx="1243471" cy="1159220"/>
            <a:chOff x="1225278" y="2219596"/>
            <a:chExt cx="1219200" cy="1136593"/>
          </a:xfrm>
        </p:grpSpPr>
        <p:pic>
          <p:nvPicPr>
            <p:cNvPr id="8" name="Picture 7" descr="Seal of the Department of Agriculture">
              <a:hlinkClick r:id="rId29"/>
            </p:cNvPr>
            <p:cNvPicPr>
              <a:picLocks noChangeAspect="1" noChangeArrowheads="1"/>
            </p:cNvPicPr>
            <p:nvPr/>
          </p:nvPicPr>
          <p:blipFill>
            <a:blip r:embed="rId30">
              <a:extLst>
                <a:ext uri="{28A0092B-C50C-407E-A947-70E740481C1C}">
                  <a14:useLocalDpi xmlns:a14="http://schemas.microsoft.com/office/drawing/2010/main"/>
                </a:ext>
              </a:extLst>
            </a:blip>
            <a:stretch>
              <a:fillRect/>
            </a:stretch>
          </p:blipFill>
          <p:spPr bwMode="auto">
            <a:xfrm>
              <a:off x="1463403" y="2219596"/>
              <a:ext cx="742950" cy="7429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8" name="Text Box 5"/>
            <p:cNvSpPr txBox="1">
              <a:spLocks noChangeArrowheads="1"/>
            </p:cNvSpPr>
            <p:nvPr/>
          </p:nvSpPr>
          <p:spPr bwMode="auto">
            <a:xfrm>
              <a:off x="1225278" y="3044116"/>
              <a:ext cx="1219200" cy="3120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6629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prstClr val="white"/>
                  </a:solidFill>
                  <a:effectLst/>
                  <a:uLnTx/>
                  <a:uFillTx/>
                  <a:latin typeface="Arial" panose="020B0604020202020204" pitchFamily="34" charset="0"/>
                  <a:ea typeface="ＭＳ Ｐゴシック"/>
                  <a:cs typeface="Arial" panose="020B0604020202020204" pitchFamily="34" charset="0"/>
                </a:rPr>
                <a:t>Agriculture</a:t>
              </a:r>
            </a:p>
          </p:txBody>
        </p:sp>
      </p:grpSp>
      <p:grpSp>
        <p:nvGrpSpPr>
          <p:cNvPr id="47" name="Group 46"/>
          <p:cNvGrpSpPr/>
          <p:nvPr/>
        </p:nvGrpSpPr>
        <p:grpSpPr>
          <a:xfrm>
            <a:off x="9816881" y="3823103"/>
            <a:ext cx="1357755" cy="1290996"/>
            <a:chOff x="9026997" y="2219596"/>
            <a:chExt cx="1331253" cy="1224734"/>
          </a:xfrm>
        </p:grpSpPr>
        <p:pic>
          <p:nvPicPr>
            <p:cNvPr id="31" name="Picture 30" descr="Seal of the Department of Veterans Affairs">
              <a:hlinkClick r:id="rId31"/>
            </p:cNvPr>
            <p:cNvPicPr>
              <a:picLocks noChangeAspect="1" noChangeArrowheads="1"/>
            </p:cNvPicPr>
            <p:nvPr/>
          </p:nvPicPr>
          <p:blipFill>
            <a:blip r:embed="rId32" cstate="email">
              <a:extLst>
                <a:ext uri="{28A0092B-C50C-407E-A947-70E740481C1C}">
                  <a14:useLocalDpi xmlns:a14="http://schemas.microsoft.com/office/drawing/2010/main"/>
                </a:ext>
              </a:extLst>
            </a:blip>
            <a:stretch>
              <a:fillRect/>
            </a:stretch>
          </p:blipFill>
          <p:spPr bwMode="auto">
            <a:xfrm>
              <a:off x="9307281" y="2219596"/>
              <a:ext cx="742950" cy="7429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9" name="Text Box 16"/>
            <p:cNvSpPr txBox="1">
              <a:spLocks noChangeArrowheads="1"/>
            </p:cNvSpPr>
            <p:nvPr/>
          </p:nvSpPr>
          <p:spPr bwMode="auto">
            <a:xfrm>
              <a:off x="9026997" y="2982665"/>
              <a:ext cx="1331253"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66298" rtl="0" eaLnBrk="1" fontAlgn="base" latinLnBrk="0" hangingPunct="1">
                <a:lnSpc>
                  <a:spcPct val="100000"/>
                </a:lnSpc>
                <a:spcBef>
                  <a:spcPct val="0"/>
                </a:spcBef>
                <a:spcAft>
                  <a:spcPct val="0"/>
                </a:spcAft>
                <a:buClrTx/>
                <a:buSzTx/>
                <a:buFontTx/>
                <a:buNone/>
                <a:tabLst/>
                <a:defRPr/>
              </a:pPr>
              <a:r>
                <a:rPr kumimoji="0" lang="en-US" sz="1224" b="0" i="0" u="none" strike="noStrike" kern="1200" cap="none" spc="0" normalizeH="0" baseline="0" noProof="0" dirty="0">
                  <a:ln>
                    <a:noFill/>
                  </a:ln>
                  <a:solidFill>
                    <a:prstClr val="white"/>
                  </a:solidFill>
                  <a:effectLst/>
                  <a:uLnTx/>
                  <a:uFillTx/>
                  <a:latin typeface="Arial" panose="020B0604020202020204" pitchFamily="34" charset="0"/>
                  <a:ea typeface="ＭＳ Ｐゴシック"/>
                  <a:cs typeface="Arial" panose="020B0604020202020204" pitchFamily="34" charset="0"/>
                </a:rPr>
                <a:t>Veterans</a:t>
              </a:r>
            </a:p>
            <a:p>
              <a:pPr marL="0" marR="0" lvl="0" indent="0" algn="ctr" defTabSz="466298" rtl="0" eaLnBrk="1" fontAlgn="base" latinLnBrk="0" hangingPunct="1">
                <a:lnSpc>
                  <a:spcPct val="100000"/>
                </a:lnSpc>
                <a:spcBef>
                  <a:spcPct val="0"/>
                </a:spcBef>
                <a:spcAft>
                  <a:spcPct val="0"/>
                </a:spcAft>
                <a:buClrTx/>
                <a:buSzTx/>
                <a:buFontTx/>
                <a:buNone/>
                <a:tabLst/>
                <a:defRPr/>
              </a:pPr>
              <a:r>
                <a:rPr kumimoji="0" lang="en-US" sz="1224" b="0" i="0" u="none" strike="noStrike" kern="1200" cap="none" spc="0" normalizeH="0" baseline="0" noProof="0" dirty="0">
                  <a:ln>
                    <a:noFill/>
                  </a:ln>
                  <a:solidFill>
                    <a:prstClr val="white"/>
                  </a:solidFill>
                  <a:effectLst/>
                  <a:uLnTx/>
                  <a:uFillTx/>
                  <a:latin typeface="Arial" panose="020B0604020202020204" pitchFamily="34" charset="0"/>
                  <a:ea typeface="ＭＳ Ｐゴシック"/>
                  <a:cs typeface="Arial" panose="020B0604020202020204" pitchFamily="34" charset="0"/>
                </a:rPr>
                <a:t>Affairs</a:t>
              </a:r>
            </a:p>
          </p:txBody>
        </p:sp>
      </p:grpSp>
      <p:sp>
        <p:nvSpPr>
          <p:cNvPr id="2" name="Rectangle 1"/>
          <p:cNvSpPr/>
          <p:nvPr/>
        </p:nvSpPr>
        <p:spPr>
          <a:xfrm>
            <a:off x="716518" y="786346"/>
            <a:ext cx="10680816" cy="382308"/>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rgbClr val="007AC2">
                    <a:lumMod val="60000"/>
                    <a:lumOff val="40000"/>
                  </a:srgbClr>
                </a:solidFill>
                <a:effectLst/>
                <a:uLnTx/>
                <a:uFillTx/>
                <a:latin typeface="Calibri" pitchFamily="34" charset="0"/>
                <a:ea typeface="ＭＳ Ｐゴシック"/>
              </a:rPr>
              <a:t>30 Enterprise License Agreements Cover 140+ US Federal Government Agencies and Sub-Agencies</a:t>
            </a:r>
          </a:p>
        </p:txBody>
      </p:sp>
    </p:spTree>
    <p:extLst>
      <p:ext uri="{BB962C8B-B14F-4D97-AF65-F5344CB8AC3E}">
        <p14:creationId xmlns:p14="http://schemas.microsoft.com/office/powerpoint/2010/main" val="70869908"/>
      </p:ext>
    </p:extLst>
  </p:cSld>
  <p:clrMapOvr>
    <a:masterClrMapping/>
  </p:clrMapOvr>
  <p:transition spd="med">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882" y="-1"/>
            <a:ext cx="12434711" cy="6994525"/>
            <a:chOff x="0" y="0"/>
            <a:chExt cx="12192000" cy="6858000"/>
          </a:xfrm>
        </p:grpSpPr>
        <p:pic>
          <p:nvPicPr>
            <p:cNvPr id="6" name="Picture 5" descr="Chris_Background_V2_ai_72dpi.png"/>
            <p:cNvPicPr>
              <a:picLocks noChangeAspect="1"/>
            </p:cNvPicPr>
            <p:nvPr/>
          </p:nvPicPr>
          <p:blipFill>
            <a:blip r:embed="rId3">
              <a:alphaModFix amt="50000"/>
              <a:extLst>
                <a:ext uri="{28A0092B-C50C-407E-A947-70E740481C1C}">
                  <a14:useLocalDpi xmlns:a14="http://schemas.microsoft.com/office/drawing/2010/main"/>
                </a:ext>
              </a:extLst>
            </a:blip>
            <a:stretch>
              <a:fillRect/>
            </a:stretch>
          </p:blipFill>
          <p:spPr>
            <a:xfrm>
              <a:off x="0" y="0"/>
              <a:ext cx="9144000" cy="6858000"/>
            </a:xfrm>
            <a:prstGeom prst="rect">
              <a:avLst/>
            </a:prstGeom>
          </p:spPr>
        </p:pic>
        <p:pic>
          <p:nvPicPr>
            <p:cNvPr id="7" name="Picture 6" descr="VisionCloud[2].png"/>
            <p:cNvPicPr>
              <a:picLocks noChangeAspect="1"/>
            </p:cNvPicPr>
            <p:nvPr/>
          </p:nvPicPr>
          <p:blipFill rotWithShape="1">
            <a:blip r:embed="rId4" cstate="email">
              <a:alphaModFix amt="54000"/>
              <a:extLst>
                <a:ext uri="{28A0092B-C50C-407E-A947-70E740481C1C}">
                  <a14:useLocalDpi xmlns:a14="http://schemas.microsoft.com/office/drawing/2010/main"/>
                </a:ext>
              </a:extLst>
            </a:blip>
            <a:srcRect/>
            <a:stretch/>
          </p:blipFill>
          <p:spPr>
            <a:xfrm>
              <a:off x="0" y="0"/>
              <a:ext cx="12192000" cy="6858000"/>
            </a:xfrm>
            <a:prstGeom prst="rect">
              <a:avLst/>
            </a:prstGeom>
          </p:spPr>
        </p:pic>
      </p:grpSp>
      <p:sp>
        <p:nvSpPr>
          <p:cNvPr id="8" name="Title 7"/>
          <p:cNvSpPr>
            <a:spLocks noGrp="1"/>
          </p:cNvSpPr>
          <p:nvPr>
            <p:ph type="title"/>
          </p:nvPr>
        </p:nvSpPr>
        <p:spPr/>
        <p:txBody>
          <a:bodyPr/>
          <a:lstStyle/>
          <a:p>
            <a:r>
              <a:rPr lang="en-US" dirty="0"/>
              <a:t>ArcGIS Is a Platform</a:t>
            </a:r>
          </a:p>
        </p:txBody>
      </p:sp>
      <p:sp>
        <p:nvSpPr>
          <p:cNvPr id="10" name="Text Placeholder 9"/>
          <p:cNvSpPr>
            <a:spLocks noGrp="1"/>
          </p:cNvSpPr>
          <p:nvPr>
            <p:ph type="body" sz="quarter" idx="16"/>
          </p:nvPr>
        </p:nvSpPr>
        <p:spPr>
          <a:xfrm>
            <a:off x="933486" y="1119151"/>
            <a:ext cx="10569504" cy="251123"/>
          </a:xfrm>
        </p:spPr>
        <p:txBody>
          <a:bodyPr/>
          <a:lstStyle/>
          <a:p>
            <a:r>
              <a:rPr lang="en-US" dirty="0"/>
              <a:t>Enabling Web GIS Everywhere</a:t>
            </a:r>
          </a:p>
        </p:txBody>
      </p:sp>
      <p:grpSp>
        <p:nvGrpSpPr>
          <p:cNvPr id="12" name="Group 11"/>
          <p:cNvGrpSpPr/>
          <p:nvPr/>
        </p:nvGrpSpPr>
        <p:grpSpPr>
          <a:xfrm>
            <a:off x="-14350" y="2315472"/>
            <a:ext cx="3060119" cy="2662442"/>
            <a:chOff x="-14942" y="2025683"/>
            <a:chExt cx="3000389" cy="2040072"/>
          </a:xfrm>
        </p:grpSpPr>
        <p:sp>
          <p:nvSpPr>
            <p:cNvPr id="13" name="Rounded Rectangle 12"/>
            <p:cNvSpPr/>
            <p:nvPr/>
          </p:nvSpPr>
          <p:spPr bwMode="auto">
            <a:xfrm>
              <a:off x="-14942" y="2025683"/>
              <a:ext cx="2937735" cy="1397791"/>
            </a:xfrm>
            <a:prstGeom prst="roundRect">
              <a:avLst>
                <a:gd name="adj" fmla="val 1213"/>
              </a:avLst>
            </a:prstGeom>
            <a:gradFill flip="none" rotWithShape="1">
              <a:gsLst>
                <a:gs pos="0">
                  <a:srgbClr val="00B9F2">
                    <a:alpha val="60000"/>
                  </a:srgbClr>
                </a:gs>
                <a:gs pos="100000">
                  <a:srgbClr val="00B9F2">
                    <a:alpha val="0"/>
                  </a:srgbClr>
                </a:gs>
              </a:gsLst>
              <a:lin ang="5400000" scaled="0"/>
              <a:tileRect/>
            </a:gra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none" lIns="93260" tIns="46630" rIns="93260" bIns="46630" numCol="1" rtlCol="0" anchor="ctr" anchorCtr="0" compatLnSpc="1">
              <a:prstTxWarp prst="textNoShape">
                <a:avLst/>
              </a:prstTxWarp>
            </a:bodyPr>
            <a:lstStyle/>
            <a:p>
              <a:pPr marL="0" marR="0" lvl="0" indent="0" algn="ctr" defTabSz="932597" rtl="0" eaLnBrk="0" fontAlgn="base" latinLnBrk="0" hangingPunct="0">
                <a:lnSpc>
                  <a:spcPct val="100000"/>
                </a:lnSpc>
                <a:spcBef>
                  <a:spcPct val="0"/>
                </a:spcBef>
                <a:spcAft>
                  <a:spcPct val="0"/>
                </a:spcAft>
                <a:buClrTx/>
                <a:buSzTx/>
                <a:buFontTx/>
                <a:buNone/>
                <a:tabLst/>
                <a:defRPr/>
              </a:pPr>
              <a:endParaRPr kumimoji="0" lang="en-US" sz="1428" b="1" i="0" u="none" strike="noStrike" kern="0" cap="none" spc="0" normalizeH="0" baseline="0" noProof="0" dirty="0">
                <a:ln>
                  <a:noFill/>
                </a:ln>
                <a:solidFill>
                  <a:srgbClr val="000000"/>
                </a:solidFill>
                <a:effectLst/>
                <a:uLnTx/>
                <a:uFillTx/>
                <a:latin typeface="Arial" charset="0"/>
                <a:ea typeface="ＭＳ Ｐゴシック" pitchFamily="16" charset="-128"/>
                <a:cs typeface="ＭＳ Ｐゴシック" pitchFamily="-97" charset="-128"/>
              </a:endParaRPr>
            </a:p>
          </p:txBody>
        </p:sp>
        <p:sp>
          <p:nvSpPr>
            <p:cNvPr id="14" name="Content Placeholder 1"/>
            <p:cNvSpPr txBox="1">
              <a:spLocks/>
            </p:cNvSpPr>
            <p:nvPr/>
          </p:nvSpPr>
          <p:spPr>
            <a:xfrm>
              <a:off x="933688" y="2136147"/>
              <a:ext cx="2051759" cy="1929608"/>
            </a:xfrm>
            <a:prstGeom prst="rect">
              <a:avLst/>
            </a:prstGeom>
            <a:noFill/>
          </p:spPr>
          <p:txBody>
            <a:bodyPr vert="horz" lIns="0" tIns="0" rIns="0" bIns="0" rtlCol="0">
              <a:noAutofit/>
            </a:bodyPr>
            <a:lstStyle>
              <a:lvl1pPr marL="176213" indent="-176213" algn="l" defTabSz="457200" rtl="0" eaLnBrk="1" latinLnBrk="0" hangingPunct="1">
                <a:lnSpc>
                  <a:spcPct val="100000"/>
                </a:lnSpc>
                <a:spcBef>
                  <a:spcPts val="300"/>
                </a:spcBef>
                <a:spcAft>
                  <a:spcPts val="600"/>
                </a:spcAft>
                <a:buClr>
                  <a:schemeClr val="accent4">
                    <a:lumMod val="60000"/>
                    <a:lumOff val="40000"/>
                  </a:schemeClr>
                </a:buClr>
                <a:buSzPct val="80000"/>
                <a:buFont typeface="Arial"/>
                <a:buChar char="•"/>
                <a:defRPr sz="2000" b="1" kern="1200">
                  <a:solidFill>
                    <a:schemeClr val="tx1"/>
                  </a:solidFill>
                  <a:latin typeface="+mn-lt"/>
                  <a:ea typeface="+mn-ea"/>
                  <a:cs typeface="Arial"/>
                </a:defRPr>
              </a:lvl1pPr>
              <a:lvl2pPr marL="457200" indent="-173736" algn="l" defTabSz="457200" rtl="0" eaLnBrk="1" latinLnBrk="0" hangingPunct="1">
                <a:lnSpc>
                  <a:spcPct val="100000"/>
                </a:lnSpc>
                <a:spcBef>
                  <a:spcPts val="0"/>
                </a:spcBef>
                <a:spcAft>
                  <a:spcPts val="600"/>
                </a:spcAft>
                <a:buClr>
                  <a:schemeClr val="accent4">
                    <a:lumMod val="60000"/>
                    <a:lumOff val="40000"/>
                  </a:schemeClr>
                </a:buClr>
                <a:buSzPct val="80000"/>
                <a:buFont typeface="Lucida Grande"/>
                <a:buChar char="-"/>
                <a:defRPr sz="1800" b="1" kern="1200">
                  <a:solidFill>
                    <a:schemeClr val="tx1"/>
                  </a:solidFill>
                  <a:latin typeface="+mn-lt"/>
                  <a:ea typeface="+mn-ea"/>
                  <a:cs typeface="Arial"/>
                </a:defRPr>
              </a:lvl2pPr>
              <a:lvl3pPr marL="795528" indent="-173736" algn="l" defTabSz="457200" rtl="0" eaLnBrk="1" latinLnBrk="0" hangingPunct="1">
                <a:lnSpc>
                  <a:spcPct val="100000"/>
                </a:lnSpc>
                <a:spcBef>
                  <a:spcPts val="0"/>
                </a:spcBef>
                <a:spcAft>
                  <a:spcPts val="600"/>
                </a:spcAft>
                <a:buClr>
                  <a:schemeClr val="accent4">
                    <a:lumMod val="60000"/>
                    <a:lumOff val="40000"/>
                  </a:schemeClr>
                </a:buClr>
                <a:buSzPct val="80000"/>
                <a:buFont typeface="Lucida Grande"/>
                <a:buChar char="-"/>
                <a:defRPr sz="1600" b="1" kern="1200">
                  <a:solidFill>
                    <a:schemeClr val="tx1"/>
                  </a:solidFill>
                  <a:latin typeface="+mn-lt"/>
                  <a:ea typeface="+mn-ea"/>
                  <a:cs typeface="Arial"/>
                </a:defRPr>
              </a:lvl3pPr>
              <a:lvl4pPr marL="1216152" indent="-173736" algn="l" defTabSz="457200" rtl="0" eaLnBrk="1" latinLnBrk="0" hangingPunct="1">
                <a:lnSpc>
                  <a:spcPts val="1800"/>
                </a:lnSpc>
                <a:spcBef>
                  <a:spcPts val="0"/>
                </a:spcBef>
                <a:spcAft>
                  <a:spcPts val="600"/>
                </a:spcAft>
                <a:buClr>
                  <a:schemeClr val="accent4">
                    <a:lumMod val="60000"/>
                    <a:lumOff val="40000"/>
                  </a:schemeClr>
                </a:buClr>
                <a:buSzPct val="80000"/>
                <a:buFont typeface="Lucida Grande"/>
                <a:buChar char="-"/>
                <a:defRPr sz="1400" b="1" kern="1200">
                  <a:solidFill>
                    <a:schemeClr val="tx1"/>
                  </a:solidFill>
                  <a:latin typeface="+mn-lt"/>
                  <a:ea typeface="+mn-ea"/>
                  <a:cs typeface="Arial"/>
                </a:defRPr>
              </a:lvl4pPr>
              <a:lvl5pPr marL="1546225" indent="-176213" algn="l" defTabSz="457200" rtl="0" eaLnBrk="1" latinLnBrk="0" hangingPunct="1">
                <a:lnSpc>
                  <a:spcPts val="1900"/>
                </a:lnSpc>
                <a:spcBef>
                  <a:spcPts val="0"/>
                </a:spcBef>
                <a:spcAft>
                  <a:spcPts val="600"/>
                </a:spcAft>
                <a:buClr>
                  <a:schemeClr val="accent4">
                    <a:lumMod val="60000"/>
                    <a:lumOff val="40000"/>
                  </a:schemeClr>
                </a:buClr>
                <a:buSzPct val="80000"/>
                <a:buFont typeface="Lucida Grande"/>
                <a:buChar char="-"/>
                <a:defRPr lang="en-US" sz="1400" b="1" kern="1200" dirty="0">
                  <a:solidFill>
                    <a:schemeClr val="tx1"/>
                  </a:solidFill>
                  <a:latin typeface="+mn-lt"/>
                  <a:ea typeface="+mn-ea"/>
                  <a:cs typeface="Arial"/>
                </a:defRPr>
              </a:lvl5pPr>
              <a:lvl6pPr marL="1773238" indent="-177800" algn="l" defTabSz="401638" rtl="0" eaLnBrk="1" latinLnBrk="0" hangingPunct="1">
                <a:lnSpc>
                  <a:spcPts val="1700"/>
                </a:lnSpc>
                <a:spcBef>
                  <a:spcPts val="300"/>
                </a:spcBef>
                <a:spcAft>
                  <a:spcPts val="300"/>
                </a:spcAft>
                <a:buSzPct val="80000"/>
                <a:buFont typeface="Lucida Grande"/>
                <a:buChar char="-"/>
                <a:tabLst>
                  <a:tab pos="1484313" algn="l"/>
                </a:tabLst>
                <a:defRPr sz="1400" b="1" kern="1200">
                  <a:solidFill>
                    <a:schemeClr val="tx1"/>
                  </a:solidFill>
                  <a:latin typeface="Arial"/>
                  <a:ea typeface="+mn-ea"/>
                  <a:cs typeface="Arial"/>
                </a:defRPr>
              </a:lvl6pPr>
              <a:lvl7pPr marL="2062163" indent="-176213" algn="l" defTabSz="457200" rtl="0" eaLnBrk="1" latinLnBrk="0" hangingPunct="1">
                <a:lnSpc>
                  <a:spcPts val="1700"/>
                </a:lnSpc>
                <a:spcBef>
                  <a:spcPts val="300"/>
                </a:spcBef>
                <a:spcAft>
                  <a:spcPts val="300"/>
                </a:spcAft>
                <a:buSzPct val="80000"/>
                <a:buFont typeface="Lucida Grande"/>
                <a:buChar char="-"/>
                <a:defRPr sz="1400" b="1" kern="1200">
                  <a:solidFill>
                    <a:schemeClr val="tx1"/>
                  </a:solidFill>
                  <a:latin typeface="Arial"/>
                  <a:ea typeface="+mn-ea"/>
                  <a:cs typeface="Arial"/>
                </a:defRPr>
              </a:lvl7pPr>
              <a:lvl8pPr marL="2286000" indent="-173038" algn="l" defTabSz="457200" rtl="0" eaLnBrk="1" latinLnBrk="0" hangingPunct="1">
                <a:lnSpc>
                  <a:spcPts val="1700"/>
                </a:lnSpc>
                <a:spcBef>
                  <a:spcPts val="300"/>
                </a:spcBef>
                <a:spcAft>
                  <a:spcPts val="300"/>
                </a:spcAft>
                <a:buSzPct val="80000"/>
                <a:buFont typeface="Lucida Grande"/>
                <a:buChar char="-"/>
                <a:defRPr sz="1400" b="1" kern="1200">
                  <a:solidFill>
                    <a:schemeClr val="tx1"/>
                  </a:solidFill>
                  <a:latin typeface="Arial"/>
                  <a:ea typeface="+mn-ea"/>
                  <a:cs typeface="Arial"/>
                </a:defRPr>
              </a:lvl8pPr>
              <a:lvl9pPr marL="2452688" indent="-163513" algn="l" defTabSz="457200" rtl="0" eaLnBrk="1" latinLnBrk="0" hangingPunct="1">
                <a:lnSpc>
                  <a:spcPts val="1700"/>
                </a:lnSpc>
                <a:spcBef>
                  <a:spcPts val="300"/>
                </a:spcBef>
                <a:spcAft>
                  <a:spcPts val="300"/>
                </a:spcAft>
                <a:buSzPct val="80000"/>
                <a:buFont typeface="Lucida Grande"/>
                <a:buChar char="-"/>
                <a:defRPr sz="1400" b="1" kern="1200">
                  <a:solidFill>
                    <a:schemeClr val="tx1"/>
                  </a:solidFill>
                  <a:latin typeface="Arial"/>
                  <a:ea typeface="+mn-ea"/>
                  <a:cs typeface="Arial"/>
                </a:defRPr>
              </a:lvl9pPr>
            </a:lstStyle>
            <a:p>
              <a:pPr marL="0" marR="0" lvl="0" indent="0" algn="l" defTabSz="466298" rtl="0" eaLnBrk="1" fontAlgn="auto" latinLnBrk="0" hangingPunct="1">
                <a:lnSpc>
                  <a:spcPct val="100000"/>
                </a:lnSpc>
                <a:spcBef>
                  <a:spcPts val="306"/>
                </a:spcBef>
                <a:spcAft>
                  <a:spcPts val="612"/>
                </a:spcAft>
                <a:buClr>
                  <a:srgbClr val="918CFF"/>
                </a:buClr>
                <a:buSzPct val="80000"/>
                <a:buFont typeface="Arial"/>
                <a:buNone/>
                <a:tabLst/>
                <a:defRPr/>
              </a:pPr>
              <a:r>
                <a:rPr kumimoji="0" lang="en-US" sz="1836" b="1" i="0" u="none" strike="noStrike" kern="1200" cap="none" spc="0" normalizeH="0" baseline="0" noProof="0" dirty="0">
                  <a:ln>
                    <a:noFill/>
                  </a:ln>
                  <a:solidFill>
                    <a:prstClr val="white"/>
                  </a:solidFill>
                  <a:effectLst/>
                  <a:uLnTx/>
                  <a:uFillTx/>
                  <a:latin typeface="Arial"/>
                  <a:ea typeface="ＭＳ Ｐゴシック"/>
                  <a:cs typeface="Arial"/>
                </a:rPr>
                <a:t>Simple</a:t>
              </a:r>
            </a:p>
            <a:p>
              <a:pPr marL="0" marR="0" lvl="0" indent="0" algn="l" defTabSz="466298" rtl="0" eaLnBrk="1" fontAlgn="auto" latinLnBrk="0" hangingPunct="1">
                <a:lnSpc>
                  <a:spcPct val="100000"/>
                </a:lnSpc>
                <a:spcBef>
                  <a:spcPts val="306"/>
                </a:spcBef>
                <a:spcAft>
                  <a:spcPts val="612"/>
                </a:spcAft>
                <a:buClr>
                  <a:srgbClr val="918CFF"/>
                </a:buClr>
                <a:buSzPct val="80000"/>
                <a:buFont typeface="Arial"/>
                <a:buNone/>
                <a:tabLst/>
                <a:defRPr/>
              </a:pPr>
              <a:r>
                <a:rPr kumimoji="0" lang="en-US" sz="1836" b="1" i="0" u="none" strike="noStrike" kern="1200" cap="none" spc="0" normalizeH="0" baseline="0" noProof="0" dirty="0">
                  <a:ln>
                    <a:noFill/>
                  </a:ln>
                  <a:solidFill>
                    <a:prstClr val="white"/>
                  </a:solidFill>
                  <a:effectLst/>
                  <a:uLnTx/>
                  <a:uFillTx/>
                  <a:latin typeface="Arial"/>
                  <a:ea typeface="ＭＳ Ｐゴシック"/>
                  <a:cs typeface="Arial"/>
                </a:rPr>
                <a:t>Integrated</a:t>
              </a:r>
            </a:p>
            <a:p>
              <a:pPr marL="0" marR="0" lvl="0" indent="0" algn="l" defTabSz="466298" rtl="0" eaLnBrk="1" fontAlgn="auto" latinLnBrk="0" hangingPunct="1">
                <a:lnSpc>
                  <a:spcPct val="100000"/>
                </a:lnSpc>
                <a:spcBef>
                  <a:spcPts val="306"/>
                </a:spcBef>
                <a:spcAft>
                  <a:spcPts val="612"/>
                </a:spcAft>
                <a:buClr>
                  <a:srgbClr val="918CFF"/>
                </a:buClr>
                <a:buSzPct val="80000"/>
                <a:buFont typeface="Arial"/>
                <a:buNone/>
                <a:tabLst/>
                <a:defRPr/>
              </a:pPr>
              <a:r>
                <a:rPr kumimoji="0" lang="en-US" sz="1836" b="1" i="0" u="none" strike="noStrike" kern="1200" cap="none" spc="0" normalizeH="0" baseline="0" noProof="0" dirty="0">
                  <a:ln>
                    <a:noFill/>
                  </a:ln>
                  <a:solidFill>
                    <a:prstClr val="white"/>
                  </a:solidFill>
                  <a:effectLst/>
                  <a:uLnTx/>
                  <a:uFillTx/>
                  <a:latin typeface="Arial"/>
                  <a:ea typeface="ＭＳ Ｐゴシック"/>
                  <a:cs typeface="Arial"/>
                </a:rPr>
                <a:t>Open</a:t>
              </a:r>
            </a:p>
          </p:txBody>
        </p:sp>
      </p:grpSp>
      <p:sp>
        <p:nvSpPr>
          <p:cNvPr id="235" name="Rectangle 61"/>
          <p:cNvSpPr/>
          <p:nvPr/>
        </p:nvSpPr>
        <p:spPr bwMode="auto">
          <a:xfrm rot="16200000" flipH="1" flipV="1">
            <a:off x="6012181" y="4450419"/>
            <a:ext cx="488473" cy="348935"/>
          </a:xfrm>
          <a:custGeom>
            <a:avLst/>
            <a:gdLst/>
            <a:ahLst/>
            <a:cxnLst/>
            <a:rect l="l" t="t" r="r" b="b"/>
            <a:pathLst>
              <a:path w="3745311" h="91440">
                <a:moveTo>
                  <a:pt x="3745311" y="0"/>
                </a:moveTo>
                <a:lnTo>
                  <a:pt x="0" y="0"/>
                </a:lnTo>
                <a:lnTo>
                  <a:pt x="0" y="91440"/>
                </a:lnTo>
                <a:lnTo>
                  <a:pt x="3745311" y="91440"/>
                </a:lnTo>
                <a:close/>
              </a:path>
            </a:pathLst>
          </a:custGeom>
          <a:gradFill flip="none" rotWithShape="1">
            <a:gsLst>
              <a:gs pos="0">
                <a:srgbClr val="FABE3C">
                  <a:alpha val="0"/>
                </a:srgbClr>
              </a:gs>
              <a:gs pos="100000">
                <a:srgbClr val="FABE3C"/>
              </a:gs>
            </a:gsLst>
            <a:lin ang="0" scaled="1"/>
            <a:tileRect/>
          </a:gradFill>
          <a:ln w="76200" cap="flat" cmpd="sng" algn="ctr">
            <a:noFill/>
            <a:prstDash val="solid"/>
            <a:round/>
            <a:headEnd type="none" w="med" len="med"/>
            <a:tailEnd type="none" w="med" len="med"/>
          </a:ln>
          <a:effectLst/>
        </p:spPr>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ysClr val="windowText" lastClr="000000"/>
              </a:solidFill>
              <a:effectLst/>
              <a:uLnTx/>
              <a:uFillTx/>
              <a:latin typeface="Arial"/>
              <a:ea typeface="ＭＳ Ｐゴシック"/>
            </a:endParaRPr>
          </a:p>
        </p:txBody>
      </p:sp>
      <p:grpSp>
        <p:nvGrpSpPr>
          <p:cNvPr id="236" name="Group 235"/>
          <p:cNvGrpSpPr/>
          <p:nvPr/>
        </p:nvGrpSpPr>
        <p:grpSpPr>
          <a:xfrm>
            <a:off x="4736147" y="2622547"/>
            <a:ext cx="3040540" cy="563391"/>
            <a:chOff x="3304053" y="2355043"/>
            <a:chExt cx="3187153" cy="590557"/>
          </a:xfrm>
        </p:grpSpPr>
        <p:sp>
          <p:nvSpPr>
            <p:cNvPr id="289" name="Rectangle 61"/>
            <p:cNvSpPr/>
            <p:nvPr/>
          </p:nvSpPr>
          <p:spPr bwMode="auto">
            <a:xfrm rot="5400000" flipH="1">
              <a:off x="4682188" y="2547280"/>
              <a:ext cx="430881" cy="365760"/>
            </a:xfrm>
            <a:custGeom>
              <a:avLst/>
              <a:gdLst/>
              <a:ahLst/>
              <a:cxnLst/>
              <a:rect l="l" t="t" r="r" b="b"/>
              <a:pathLst>
                <a:path w="3745311" h="91440">
                  <a:moveTo>
                    <a:pt x="3745311" y="0"/>
                  </a:moveTo>
                  <a:lnTo>
                    <a:pt x="0" y="0"/>
                  </a:lnTo>
                  <a:lnTo>
                    <a:pt x="0" y="91440"/>
                  </a:lnTo>
                  <a:lnTo>
                    <a:pt x="3745311" y="91440"/>
                  </a:lnTo>
                  <a:close/>
                </a:path>
              </a:pathLst>
            </a:custGeom>
            <a:gradFill flip="none" rotWithShape="1">
              <a:gsLst>
                <a:gs pos="0">
                  <a:srgbClr val="FABE3C">
                    <a:alpha val="0"/>
                  </a:srgbClr>
                </a:gs>
                <a:gs pos="100000">
                  <a:srgbClr val="FABE3C"/>
                </a:gs>
              </a:gsLst>
              <a:lin ang="0" scaled="1"/>
              <a:tileRect/>
            </a:gradFill>
            <a:ln w="76200" cap="flat" cmpd="sng" algn="ctr">
              <a:noFill/>
              <a:prstDash val="solid"/>
              <a:round/>
              <a:headEnd type="none" w="med" len="med"/>
              <a:tailEnd type="none" w="med" len="med"/>
            </a:ln>
            <a:effectLst/>
          </p:spPr>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ysClr val="windowText" lastClr="000000"/>
                </a:solidFill>
                <a:effectLst/>
                <a:uLnTx/>
                <a:uFillTx/>
                <a:latin typeface="Arial"/>
                <a:ea typeface="ＭＳ Ｐゴシック"/>
              </a:endParaRPr>
            </a:p>
          </p:txBody>
        </p:sp>
        <p:sp>
          <p:nvSpPr>
            <p:cNvPr id="290" name="Rectangle 61"/>
            <p:cNvSpPr/>
            <p:nvPr/>
          </p:nvSpPr>
          <p:spPr bwMode="auto">
            <a:xfrm flipH="1">
              <a:off x="3304053" y="2355043"/>
              <a:ext cx="3187153" cy="173737"/>
            </a:xfrm>
            <a:custGeom>
              <a:avLst/>
              <a:gdLst/>
              <a:ahLst/>
              <a:cxnLst/>
              <a:rect l="l" t="t" r="r" b="b"/>
              <a:pathLst>
                <a:path w="3187153" h="173737">
                  <a:moveTo>
                    <a:pt x="3187153" y="0"/>
                  </a:moveTo>
                  <a:cubicBezTo>
                    <a:pt x="3187153" y="45370"/>
                    <a:pt x="3151453" y="82149"/>
                    <a:pt x="3107415" y="82149"/>
                  </a:cubicBezTo>
                  <a:lnTo>
                    <a:pt x="2317574" y="82149"/>
                  </a:lnTo>
                  <a:lnTo>
                    <a:pt x="2317574" y="82297"/>
                  </a:lnTo>
                  <a:lnTo>
                    <a:pt x="869580" y="82297"/>
                  </a:lnTo>
                  <a:lnTo>
                    <a:pt x="869580" y="82149"/>
                  </a:lnTo>
                  <a:lnTo>
                    <a:pt x="79738" y="82149"/>
                  </a:lnTo>
                  <a:cubicBezTo>
                    <a:pt x="35700" y="82149"/>
                    <a:pt x="0" y="45370"/>
                    <a:pt x="0" y="0"/>
                  </a:cubicBezTo>
                  <a:lnTo>
                    <a:pt x="0" y="91588"/>
                  </a:lnTo>
                  <a:cubicBezTo>
                    <a:pt x="0" y="136957"/>
                    <a:pt x="35700" y="173737"/>
                    <a:pt x="79738" y="173737"/>
                  </a:cubicBezTo>
                  <a:lnTo>
                    <a:pt x="610970" y="173737"/>
                  </a:lnTo>
                  <a:lnTo>
                    <a:pt x="610970" y="173737"/>
                  </a:lnTo>
                  <a:lnTo>
                    <a:pt x="2439770" y="173737"/>
                  </a:lnTo>
                  <a:lnTo>
                    <a:pt x="2439770" y="173737"/>
                  </a:lnTo>
                  <a:lnTo>
                    <a:pt x="3107415" y="173737"/>
                  </a:lnTo>
                  <a:cubicBezTo>
                    <a:pt x="3151453" y="173737"/>
                    <a:pt x="3187153" y="136957"/>
                    <a:pt x="3187153" y="91588"/>
                  </a:cubicBezTo>
                  <a:close/>
                </a:path>
              </a:pathLst>
            </a:custGeom>
            <a:solidFill>
              <a:srgbClr val="FABE3C"/>
            </a:solid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597" rtl="0" eaLnBrk="0" fontAlgn="base" latinLnBrk="0" hangingPunct="0">
                <a:lnSpc>
                  <a:spcPct val="100000"/>
                </a:lnSpc>
                <a:spcBef>
                  <a:spcPct val="0"/>
                </a:spcBef>
                <a:spcAft>
                  <a:spcPct val="0"/>
                </a:spcAft>
                <a:buClrTx/>
                <a:buSzTx/>
                <a:buFontTx/>
                <a:buNone/>
                <a:tabLst/>
                <a:defRPr/>
              </a:pPr>
              <a:endParaRPr kumimoji="0" lang="en-US" sz="1836" b="1" i="0" u="none" strike="noStrike" kern="1200" cap="none" spc="0" normalizeH="0" baseline="0" noProof="0" dirty="0">
                <a:ln>
                  <a:noFill/>
                </a:ln>
                <a:solidFill>
                  <a:srgbClr val="FFFFFF"/>
                </a:solidFill>
                <a:effectLst/>
                <a:uLnTx/>
                <a:uFillTx/>
                <a:latin typeface="Arial"/>
                <a:ea typeface="ＭＳ Ｐゴシック" pitchFamily="16" charset="-128"/>
                <a:cs typeface="ＭＳ Ｐゴシック" pitchFamily="-97" charset="-128"/>
              </a:endParaRPr>
            </a:p>
          </p:txBody>
        </p:sp>
      </p:grpSp>
      <p:grpSp>
        <p:nvGrpSpPr>
          <p:cNvPr id="237" name="Group 236"/>
          <p:cNvGrpSpPr/>
          <p:nvPr/>
        </p:nvGrpSpPr>
        <p:grpSpPr>
          <a:xfrm>
            <a:off x="4805732" y="2109198"/>
            <a:ext cx="647917" cy="532139"/>
            <a:chOff x="2971050" y="2497678"/>
            <a:chExt cx="679160" cy="557798"/>
          </a:xfrm>
        </p:grpSpPr>
        <p:sp>
          <p:nvSpPr>
            <p:cNvPr id="286" name="Freeform 285"/>
            <p:cNvSpPr>
              <a:spLocks/>
            </p:cNvSpPr>
            <p:nvPr/>
          </p:nvSpPr>
          <p:spPr bwMode="auto">
            <a:xfrm>
              <a:off x="2971050" y="2497678"/>
              <a:ext cx="679160" cy="557798"/>
            </a:xfrm>
            <a:custGeom>
              <a:avLst/>
              <a:gdLst>
                <a:gd name="T0" fmla="*/ 2668 w 2906"/>
                <a:gd name="T1" fmla="*/ 0 h 2394"/>
                <a:gd name="T2" fmla="*/ 2752 w 2906"/>
                <a:gd name="T3" fmla="*/ 13 h 2394"/>
                <a:gd name="T4" fmla="*/ 2822 w 2906"/>
                <a:gd name="T5" fmla="*/ 52 h 2394"/>
                <a:gd name="T6" fmla="*/ 2874 w 2906"/>
                <a:gd name="T7" fmla="*/ 110 h 2394"/>
                <a:gd name="T8" fmla="*/ 2903 w 2906"/>
                <a:gd name="T9" fmla="*/ 183 h 2394"/>
                <a:gd name="T10" fmla="*/ 2906 w 2906"/>
                <a:gd name="T11" fmla="*/ 1659 h 2394"/>
                <a:gd name="T12" fmla="*/ 2892 w 2906"/>
                <a:gd name="T13" fmla="*/ 1736 h 2394"/>
                <a:gd name="T14" fmla="*/ 2851 w 2906"/>
                <a:gd name="T15" fmla="*/ 1802 h 2394"/>
                <a:gd name="T16" fmla="*/ 2788 w 2906"/>
                <a:gd name="T17" fmla="*/ 1851 h 2394"/>
                <a:gd name="T18" fmla="*/ 2710 w 2906"/>
                <a:gd name="T19" fmla="*/ 1878 h 2394"/>
                <a:gd name="T20" fmla="*/ 2006 w 2906"/>
                <a:gd name="T21" fmla="*/ 1881 h 2394"/>
                <a:gd name="T22" fmla="*/ 2009 w 2906"/>
                <a:gd name="T23" fmla="*/ 1972 h 2394"/>
                <a:gd name="T24" fmla="*/ 2074 w 2906"/>
                <a:gd name="T25" fmla="*/ 1976 h 2394"/>
                <a:gd name="T26" fmla="*/ 2137 w 2906"/>
                <a:gd name="T27" fmla="*/ 2001 h 2394"/>
                <a:gd name="T28" fmla="*/ 2187 w 2906"/>
                <a:gd name="T29" fmla="*/ 2047 h 2394"/>
                <a:gd name="T30" fmla="*/ 2221 w 2906"/>
                <a:gd name="T31" fmla="*/ 2107 h 2394"/>
                <a:gd name="T32" fmla="*/ 2232 w 2906"/>
                <a:gd name="T33" fmla="*/ 2180 h 2394"/>
                <a:gd name="T34" fmla="*/ 2229 w 2906"/>
                <a:gd name="T35" fmla="*/ 2251 h 2394"/>
                <a:gd name="T36" fmla="*/ 2206 w 2906"/>
                <a:gd name="T37" fmla="*/ 2300 h 2394"/>
                <a:gd name="T38" fmla="*/ 2165 w 2906"/>
                <a:gd name="T39" fmla="*/ 2332 h 2394"/>
                <a:gd name="T40" fmla="*/ 2112 w 2906"/>
                <a:gd name="T41" fmla="*/ 2344 h 2394"/>
                <a:gd name="T42" fmla="*/ 1153 w 2906"/>
                <a:gd name="T43" fmla="*/ 2341 h 2394"/>
                <a:gd name="T44" fmla="*/ 1104 w 2906"/>
                <a:gd name="T45" fmla="*/ 2314 h 2394"/>
                <a:gd name="T46" fmla="*/ 1067 w 2906"/>
                <a:gd name="T47" fmla="*/ 2321 h 2394"/>
                <a:gd name="T48" fmla="*/ 1019 w 2906"/>
                <a:gd name="T49" fmla="*/ 2366 h 2394"/>
                <a:gd name="T50" fmla="*/ 957 w 2906"/>
                <a:gd name="T51" fmla="*/ 2390 h 2394"/>
                <a:gd name="T52" fmla="*/ 183 w 2906"/>
                <a:gd name="T53" fmla="*/ 2394 h 2394"/>
                <a:gd name="T54" fmla="*/ 112 w 2906"/>
                <a:gd name="T55" fmla="*/ 2379 h 2394"/>
                <a:gd name="T56" fmla="*/ 53 w 2906"/>
                <a:gd name="T57" fmla="*/ 2341 h 2394"/>
                <a:gd name="T58" fmla="*/ 14 w 2906"/>
                <a:gd name="T59" fmla="*/ 2282 h 2394"/>
                <a:gd name="T60" fmla="*/ 0 w 2906"/>
                <a:gd name="T61" fmla="*/ 2210 h 2394"/>
                <a:gd name="T62" fmla="*/ 3 w 2906"/>
                <a:gd name="T63" fmla="*/ 832 h 2394"/>
                <a:gd name="T64" fmla="*/ 31 w 2906"/>
                <a:gd name="T65" fmla="*/ 767 h 2394"/>
                <a:gd name="T66" fmla="*/ 81 w 2906"/>
                <a:gd name="T67" fmla="*/ 717 h 2394"/>
                <a:gd name="T68" fmla="*/ 146 w 2906"/>
                <a:gd name="T69" fmla="*/ 689 h 2394"/>
                <a:gd name="T70" fmla="*/ 389 w 2906"/>
                <a:gd name="T71" fmla="*/ 686 h 2394"/>
                <a:gd name="T72" fmla="*/ 388 w 2906"/>
                <a:gd name="T73" fmla="*/ 222 h 2394"/>
                <a:gd name="T74" fmla="*/ 404 w 2906"/>
                <a:gd name="T75" fmla="*/ 145 h 2394"/>
                <a:gd name="T76" fmla="*/ 445 w 2906"/>
                <a:gd name="T77" fmla="*/ 79 h 2394"/>
                <a:gd name="T78" fmla="*/ 506 w 2906"/>
                <a:gd name="T79" fmla="*/ 30 h 2394"/>
                <a:gd name="T80" fmla="*/ 584 w 2906"/>
                <a:gd name="T81" fmla="*/ 4 h 2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06" h="2394">
                  <a:moveTo>
                    <a:pt x="627" y="0"/>
                  </a:moveTo>
                  <a:lnTo>
                    <a:pt x="2668" y="0"/>
                  </a:lnTo>
                  <a:lnTo>
                    <a:pt x="2710" y="4"/>
                  </a:lnTo>
                  <a:lnTo>
                    <a:pt x="2752" y="13"/>
                  </a:lnTo>
                  <a:lnTo>
                    <a:pt x="2788" y="30"/>
                  </a:lnTo>
                  <a:lnTo>
                    <a:pt x="2822" y="52"/>
                  </a:lnTo>
                  <a:lnTo>
                    <a:pt x="2851" y="79"/>
                  </a:lnTo>
                  <a:lnTo>
                    <a:pt x="2874" y="110"/>
                  </a:lnTo>
                  <a:lnTo>
                    <a:pt x="2892" y="145"/>
                  </a:lnTo>
                  <a:lnTo>
                    <a:pt x="2903" y="183"/>
                  </a:lnTo>
                  <a:lnTo>
                    <a:pt x="2906" y="222"/>
                  </a:lnTo>
                  <a:lnTo>
                    <a:pt x="2906" y="1659"/>
                  </a:lnTo>
                  <a:lnTo>
                    <a:pt x="2903" y="1699"/>
                  </a:lnTo>
                  <a:lnTo>
                    <a:pt x="2892" y="1736"/>
                  </a:lnTo>
                  <a:lnTo>
                    <a:pt x="2874" y="1771"/>
                  </a:lnTo>
                  <a:lnTo>
                    <a:pt x="2851" y="1802"/>
                  </a:lnTo>
                  <a:lnTo>
                    <a:pt x="2822" y="1828"/>
                  </a:lnTo>
                  <a:lnTo>
                    <a:pt x="2788" y="1851"/>
                  </a:lnTo>
                  <a:lnTo>
                    <a:pt x="2752" y="1867"/>
                  </a:lnTo>
                  <a:lnTo>
                    <a:pt x="2710" y="1878"/>
                  </a:lnTo>
                  <a:lnTo>
                    <a:pt x="2668" y="1881"/>
                  </a:lnTo>
                  <a:lnTo>
                    <a:pt x="2006" y="1881"/>
                  </a:lnTo>
                  <a:lnTo>
                    <a:pt x="2009" y="1909"/>
                  </a:lnTo>
                  <a:lnTo>
                    <a:pt x="2009" y="1972"/>
                  </a:lnTo>
                  <a:lnTo>
                    <a:pt x="2041" y="1972"/>
                  </a:lnTo>
                  <a:lnTo>
                    <a:pt x="2074" y="1976"/>
                  </a:lnTo>
                  <a:lnTo>
                    <a:pt x="2107" y="1985"/>
                  </a:lnTo>
                  <a:lnTo>
                    <a:pt x="2137" y="2001"/>
                  </a:lnTo>
                  <a:lnTo>
                    <a:pt x="2164" y="2022"/>
                  </a:lnTo>
                  <a:lnTo>
                    <a:pt x="2187" y="2047"/>
                  </a:lnTo>
                  <a:lnTo>
                    <a:pt x="2206" y="2076"/>
                  </a:lnTo>
                  <a:lnTo>
                    <a:pt x="2221" y="2107"/>
                  </a:lnTo>
                  <a:lnTo>
                    <a:pt x="2229" y="2143"/>
                  </a:lnTo>
                  <a:lnTo>
                    <a:pt x="2232" y="2180"/>
                  </a:lnTo>
                  <a:lnTo>
                    <a:pt x="2232" y="2225"/>
                  </a:lnTo>
                  <a:lnTo>
                    <a:pt x="2229" y="2251"/>
                  </a:lnTo>
                  <a:lnTo>
                    <a:pt x="2220" y="2277"/>
                  </a:lnTo>
                  <a:lnTo>
                    <a:pt x="2206" y="2300"/>
                  </a:lnTo>
                  <a:lnTo>
                    <a:pt x="2187" y="2318"/>
                  </a:lnTo>
                  <a:lnTo>
                    <a:pt x="2165" y="2332"/>
                  </a:lnTo>
                  <a:lnTo>
                    <a:pt x="2140" y="2341"/>
                  </a:lnTo>
                  <a:lnTo>
                    <a:pt x="2112" y="2344"/>
                  </a:lnTo>
                  <a:lnTo>
                    <a:pt x="1182" y="2344"/>
                  </a:lnTo>
                  <a:lnTo>
                    <a:pt x="1153" y="2341"/>
                  </a:lnTo>
                  <a:lnTo>
                    <a:pt x="1127" y="2330"/>
                  </a:lnTo>
                  <a:lnTo>
                    <a:pt x="1104" y="2314"/>
                  </a:lnTo>
                  <a:lnTo>
                    <a:pt x="1085" y="2294"/>
                  </a:lnTo>
                  <a:lnTo>
                    <a:pt x="1067" y="2321"/>
                  </a:lnTo>
                  <a:lnTo>
                    <a:pt x="1046" y="2347"/>
                  </a:lnTo>
                  <a:lnTo>
                    <a:pt x="1019" y="2366"/>
                  </a:lnTo>
                  <a:lnTo>
                    <a:pt x="990" y="2382"/>
                  </a:lnTo>
                  <a:lnTo>
                    <a:pt x="957" y="2390"/>
                  </a:lnTo>
                  <a:lnTo>
                    <a:pt x="922" y="2394"/>
                  </a:lnTo>
                  <a:lnTo>
                    <a:pt x="183" y="2394"/>
                  </a:lnTo>
                  <a:lnTo>
                    <a:pt x="146" y="2390"/>
                  </a:lnTo>
                  <a:lnTo>
                    <a:pt x="112" y="2379"/>
                  </a:lnTo>
                  <a:lnTo>
                    <a:pt x="81" y="2363"/>
                  </a:lnTo>
                  <a:lnTo>
                    <a:pt x="53" y="2341"/>
                  </a:lnTo>
                  <a:lnTo>
                    <a:pt x="31" y="2313"/>
                  </a:lnTo>
                  <a:lnTo>
                    <a:pt x="14" y="2282"/>
                  </a:lnTo>
                  <a:lnTo>
                    <a:pt x="3" y="2248"/>
                  </a:lnTo>
                  <a:lnTo>
                    <a:pt x="0" y="2210"/>
                  </a:lnTo>
                  <a:lnTo>
                    <a:pt x="0" y="869"/>
                  </a:lnTo>
                  <a:lnTo>
                    <a:pt x="3" y="832"/>
                  </a:lnTo>
                  <a:lnTo>
                    <a:pt x="14" y="798"/>
                  </a:lnTo>
                  <a:lnTo>
                    <a:pt x="31" y="767"/>
                  </a:lnTo>
                  <a:lnTo>
                    <a:pt x="53" y="739"/>
                  </a:lnTo>
                  <a:lnTo>
                    <a:pt x="81" y="717"/>
                  </a:lnTo>
                  <a:lnTo>
                    <a:pt x="112" y="700"/>
                  </a:lnTo>
                  <a:lnTo>
                    <a:pt x="146" y="689"/>
                  </a:lnTo>
                  <a:lnTo>
                    <a:pt x="183" y="686"/>
                  </a:lnTo>
                  <a:lnTo>
                    <a:pt x="389" y="686"/>
                  </a:lnTo>
                  <a:lnTo>
                    <a:pt x="388" y="682"/>
                  </a:lnTo>
                  <a:lnTo>
                    <a:pt x="388" y="222"/>
                  </a:lnTo>
                  <a:lnTo>
                    <a:pt x="393" y="183"/>
                  </a:lnTo>
                  <a:lnTo>
                    <a:pt x="404" y="145"/>
                  </a:lnTo>
                  <a:lnTo>
                    <a:pt x="420" y="110"/>
                  </a:lnTo>
                  <a:lnTo>
                    <a:pt x="445" y="79"/>
                  </a:lnTo>
                  <a:lnTo>
                    <a:pt x="474" y="52"/>
                  </a:lnTo>
                  <a:lnTo>
                    <a:pt x="506" y="30"/>
                  </a:lnTo>
                  <a:lnTo>
                    <a:pt x="544" y="13"/>
                  </a:lnTo>
                  <a:lnTo>
                    <a:pt x="584" y="4"/>
                  </a:lnTo>
                  <a:lnTo>
                    <a:pt x="627" y="0"/>
                  </a:lnTo>
                  <a:close/>
                </a:path>
              </a:pathLst>
            </a:custGeom>
            <a:no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ysClr val="windowText" lastClr="000000"/>
                </a:solidFill>
                <a:effectLst/>
                <a:uLnTx/>
                <a:uFillTx/>
                <a:latin typeface="Arial"/>
                <a:ea typeface="ＭＳ Ｐゴシック"/>
              </a:endParaRPr>
            </a:p>
          </p:txBody>
        </p:sp>
        <p:sp>
          <p:nvSpPr>
            <p:cNvPr id="287" name="Freeform 286"/>
            <p:cNvSpPr>
              <a:spLocks noEditPoints="1"/>
            </p:cNvSpPr>
            <p:nvPr/>
          </p:nvSpPr>
          <p:spPr bwMode="auto">
            <a:xfrm>
              <a:off x="2999057" y="2685556"/>
              <a:ext cx="203048" cy="341914"/>
            </a:xfrm>
            <a:custGeom>
              <a:avLst/>
              <a:gdLst>
                <a:gd name="T0" fmla="*/ 542 w 867"/>
                <a:gd name="T1" fmla="*/ 1114 h 1469"/>
                <a:gd name="T2" fmla="*/ 501 w 867"/>
                <a:gd name="T3" fmla="*/ 1133 h 1469"/>
                <a:gd name="T4" fmla="*/ 472 w 867"/>
                <a:gd name="T5" fmla="*/ 1169 h 1469"/>
                <a:gd name="T6" fmla="*/ 461 w 867"/>
                <a:gd name="T7" fmla="*/ 1215 h 1469"/>
                <a:gd name="T8" fmla="*/ 472 w 867"/>
                <a:gd name="T9" fmla="*/ 1263 h 1469"/>
                <a:gd name="T10" fmla="*/ 501 w 867"/>
                <a:gd name="T11" fmla="*/ 1299 h 1469"/>
                <a:gd name="T12" fmla="*/ 542 w 867"/>
                <a:gd name="T13" fmla="*/ 1318 h 1469"/>
                <a:gd name="T14" fmla="*/ 590 w 867"/>
                <a:gd name="T15" fmla="*/ 1318 h 1469"/>
                <a:gd name="T16" fmla="*/ 633 w 867"/>
                <a:gd name="T17" fmla="*/ 1299 h 1469"/>
                <a:gd name="T18" fmla="*/ 662 w 867"/>
                <a:gd name="T19" fmla="*/ 1263 h 1469"/>
                <a:gd name="T20" fmla="*/ 673 w 867"/>
                <a:gd name="T21" fmla="*/ 1215 h 1469"/>
                <a:gd name="T22" fmla="*/ 662 w 867"/>
                <a:gd name="T23" fmla="*/ 1169 h 1469"/>
                <a:gd name="T24" fmla="*/ 633 w 867"/>
                <a:gd name="T25" fmla="*/ 1133 h 1469"/>
                <a:gd name="T26" fmla="*/ 590 w 867"/>
                <a:gd name="T27" fmla="*/ 1114 h 1469"/>
                <a:gd name="T28" fmla="*/ 185 w 867"/>
                <a:gd name="T29" fmla="*/ 783 h 1469"/>
                <a:gd name="T30" fmla="*/ 685 w 867"/>
                <a:gd name="T31" fmla="*/ 931 h 1469"/>
                <a:gd name="T32" fmla="*/ 185 w 867"/>
                <a:gd name="T33" fmla="*/ 783 h 1469"/>
                <a:gd name="T34" fmla="*/ 185 w 867"/>
                <a:gd name="T35" fmla="*/ 651 h 1469"/>
                <a:gd name="T36" fmla="*/ 685 w 867"/>
                <a:gd name="T37" fmla="*/ 501 h 1469"/>
                <a:gd name="T38" fmla="*/ 185 w 867"/>
                <a:gd name="T39" fmla="*/ 220 h 1469"/>
                <a:gd name="T40" fmla="*/ 685 w 867"/>
                <a:gd name="T41" fmla="*/ 369 h 1469"/>
                <a:gd name="T42" fmla="*/ 185 w 867"/>
                <a:gd name="T43" fmla="*/ 220 h 1469"/>
                <a:gd name="T44" fmla="*/ 803 w 867"/>
                <a:gd name="T45" fmla="*/ 0 h 1469"/>
                <a:gd name="T46" fmla="*/ 841 w 867"/>
                <a:gd name="T47" fmla="*/ 12 h 1469"/>
                <a:gd name="T48" fmla="*/ 864 w 867"/>
                <a:gd name="T49" fmla="*/ 44 h 1469"/>
                <a:gd name="T50" fmla="*/ 867 w 867"/>
                <a:gd name="T51" fmla="*/ 1405 h 1469"/>
                <a:gd name="T52" fmla="*/ 855 w 867"/>
                <a:gd name="T53" fmla="*/ 1444 h 1469"/>
                <a:gd name="T54" fmla="*/ 824 w 867"/>
                <a:gd name="T55" fmla="*/ 1466 h 1469"/>
                <a:gd name="T56" fmla="*/ 64 w 867"/>
                <a:gd name="T57" fmla="*/ 1469 h 1469"/>
                <a:gd name="T58" fmla="*/ 26 w 867"/>
                <a:gd name="T59" fmla="*/ 1457 h 1469"/>
                <a:gd name="T60" fmla="*/ 3 w 867"/>
                <a:gd name="T61" fmla="*/ 1426 h 1469"/>
                <a:gd name="T62" fmla="*/ 0 w 867"/>
                <a:gd name="T63" fmla="*/ 64 h 1469"/>
                <a:gd name="T64" fmla="*/ 12 w 867"/>
                <a:gd name="T65" fmla="*/ 26 h 1469"/>
                <a:gd name="T66" fmla="*/ 44 w 867"/>
                <a:gd name="T67" fmla="*/ 3 h 1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67" h="1469">
                  <a:moveTo>
                    <a:pt x="566" y="1110"/>
                  </a:moveTo>
                  <a:lnTo>
                    <a:pt x="542" y="1114"/>
                  </a:lnTo>
                  <a:lnTo>
                    <a:pt x="520" y="1121"/>
                  </a:lnTo>
                  <a:lnTo>
                    <a:pt x="501" y="1133"/>
                  </a:lnTo>
                  <a:lnTo>
                    <a:pt x="484" y="1150"/>
                  </a:lnTo>
                  <a:lnTo>
                    <a:pt x="472" y="1169"/>
                  </a:lnTo>
                  <a:lnTo>
                    <a:pt x="463" y="1191"/>
                  </a:lnTo>
                  <a:lnTo>
                    <a:pt x="461" y="1215"/>
                  </a:lnTo>
                  <a:lnTo>
                    <a:pt x="463" y="1240"/>
                  </a:lnTo>
                  <a:lnTo>
                    <a:pt x="472" y="1263"/>
                  </a:lnTo>
                  <a:lnTo>
                    <a:pt x="484" y="1282"/>
                  </a:lnTo>
                  <a:lnTo>
                    <a:pt x="501" y="1299"/>
                  </a:lnTo>
                  <a:lnTo>
                    <a:pt x="520" y="1311"/>
                  </a:lnTo>
                  <a:lnTo>
                    <a:pt x="542" y="1318"/>
                  </a:lnTo>
                  <a:lnTo>
                    <a:pt x="566" y="1322"/>
                  </a:lnTo>
                  <a:lnTo>
                    <a:pt x="590" y="1318"/>
                  </a:lnTo>
                  <a:lnTo>
                    <a:pt x="613" y="1311"/>
                  </a:lnTo>
                  <a:lnTo>
                    <a:pt x="633" y="1299"/>
                  </a:lnTo>
                  <a:lnTo>
                    <a:pt x="648" y="1282"/>
                  </a:lnTo>
                  <a:lnTo>
                    <a:pt x="662" y="1263"/>
                  </a:lnTo>
                  <a:lnTo>
                    <a:pt x="669" y="1240"/>
                  </a:lnTo>
                  <a:lnTo>
                    <a:pt x="673" y="1215"/>
                  </a:lnTo>
                  <a:lnTo>
                    <a:pt x="669" y="1191"/>
                  </a:lnTo>
                  <a:lnTo>
                    <a:pt x="662" y="1169"/>
                  </a:lnTo>
                  <a:lnTo>
                    <a:pt x="648" y="1150"/>
                  </a:lnTo>
                  <a:lnTo>
                    <a:pt x="633" y="1133"/>
                  </a:lnTo>
                  <a:lnTo>
                    <a:pt x="613" y="1121"/>
                  </a:lnTo>
                  <a:lnTo>
                    <a:pt x="590" y="1114"/>
                  </a:lnTo>
                  <a:lnTo>
                    <a:pt x="566" y="1110"/>
                  </a:lnTo>
                  <a:close/>
                  <a:moveTo>
                    <a:pt x="185" y="783"/>
                  </a:moveTo>
                  <a:lnTo>
                    <a:pt x="185" y="931"/>
                  </a:lnTo>
                  <a:lnTo>
                    <a:pt x="685" y="931"/>
                  </a:lnTo>
                  <a:lnTo>
                    <a:pt x="685" y="783"/>
                  </a:lnTo>
                  <a:lnTo>
                    <a:pt x="185" y="783"/>
                  </a:lnTo>
                  <a:close/>
                  <a:moveTo>
                    <a:pt x="185" y="501"/>
                  </a:moveTo>
                  <a:lnTo>
                    <a:pt x="185" y="651"/>
                  </a:lnTo>
                  <a:lnTo>
                    <a:pt x="685" y="651"/>
                  </a:lnTo>
                  <a:lnTo>
                    <a:pt x="685" y="501"/>
                  </a:lnTo>
                  <a:lnTo>
                    <a:pt x="185" y="501"/>
                  </a:lnTo>
                  <a:close/>
                  <a:moveTo>
                    <a:pt x="185" y="220"/>
                  </a:moveTo>
                  <a:lnTo>
                    <a:pt x="185" y="369"/>
                  </a:lnTo>
                  <a:lnTo>
                    <a:pt x="685" y="369"/>
                  </a:lnTo>
                  <a:lnTo>
                    <a:pt x="685" y="220"/>
                  </a:lnTo>
                  <a:lnTo>
                    <a:pt x="185" y="220"/>
                  </a:lnTo>
                  <a:close/>
                  <a:moveTo>
                    <a:pt x="64" y="0"/>
                  </a:moveTo>
                  <a:lnTo>
                    <a:pt x="803" y="0"/>
                  </a:lnTo>
                  <a:lnTo>
                    <a:pt x="824" y="3"/>
                  </a:lnTo>
                  <a:lnTo>
                    <a:pt x="841" y="12"/>
                  </a:lnTo>
                  <a:lnTo>
                    <a:pt x="855" y="26"/>
                  </a:lnTo>
                  <a:lnTo>
                    <a:pt x="864" y="44"/>
                  </a:lnTo>
                  <a:lnTo>
                    <a:pt x="867" y="64"/>
                  </a:lnTo>
                  <a:lnTo>
                    <a:pt x="867" y="1405"/>
                  </a:lnTo>
                  <a:lnTo>
                    <a:pt x="864" y="1426"/>
                  </a:lnTo>
                  <a:lnTo>
                    <a:pt x="855" y="1444"/>
                  </a:lnTo>
                  <a:lnTo>
                    <a:pt x="841" y="1457"/>
                  </a:lnTo>
                  <a:lnTo>
                    <a:pt x="824" y="1466"/>
                  </a:lnTo>
                  <a:lnTo>
                    <a:pt x="803" y="1469"/>
                  </a:lnTo>
                  <a:lnTo>
                    <a:pt x="64" y="1469"/>
                  </a:lnTo>
                  <a:lnTo>
                    <a:pt x="44" y="1466"/>
                  </a:lnTo>
                  <a:lnTo>
                    <a:pt x="26" y="1457"/>
                  </a:lnTo>
                  <a:lnTo>
                    <a:pt x="12" y="1444"/>
                  </a:lnTo>
                  <a:lnTo>
                    <a:pt x="3" y="1426"/>
                  </a:lnTo>
                  <a:lnTo>
                    <a:pt x="0" y="1405"/>
                  </a:lnTo>
                  <a:lnTo>
                    <a:pt x="0" y="64"/>
                  </a:lnTo>
                  <a:lnTo>
                    <a:pt x="3" y="44"/>
                  </a:lnTo>
                  <a:lnTo>
                    <a:pt x="12" y="26"/>
                  </a:lnTo>
                  <a:lnTo>
                    <a:pt x="26" y="12"/>
                  </a:lnTo>
                  <a:lnTo>
                    <a:pt x="44" y="3"/>
                  </a:lnTo>
                  <a:lnTo>
                    <a:pt x="64" y="0"/>
                  </a:ln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ysClr val="windowText" lastClr="000000"/>
                </a:solidFill>
                <a:effectLst/>
                <a:uLnTx/>
                <a:uFillTx/>
                <a:latin typeface="Arial"/>
                <a:ea typeface="ＭＳ Ｐゴシック"/>
              </a:endParaRPr>
            </a:p>
          </p:txBody>
        </p:sp>
        <p:sp>
          <p:nvSpPr>
            <p:cNvPr id="288" name="Freeform 287"/>
            <p:cNvSpPr>
              <a:spLocks noEditPoints="1"/>
            </p:cNvSpPr>
            <p:nvPr/>
          </p:nvSpPr>
          <p:spPr bwMode="auto">
            <a:xfrm>
              <a:off x="3090078" y="2525685"/>
              <a:ext cx="532125" cy="491283"/>
            </a:xfrm>
            <a:custGeom>
              <a:avLst/>
              <a:gdLst>
                <a:gd name="T0" fmla="*/ 901 w 2280"/>
                <a:gd name="T1" fmla="*/ 1789 h 2105"/>
                <a:gd name="T2" fmla="*/ 1382 w 2280"/>
                <a:gd name="T3" fmla="*/ 1789 h 2105"/>
                <a:gd name="T4" fmla="*/ 1382 w 2280"/>
                <a:gd name="T5" fmla="*/ 1972 h 2105"/>
                <a:gd name="T6" fmla="*/ 1534 w 2280"/>
                <a:gd name="T7" fmla="*/ 1972 h 2105"/>
                <a:gd name="T8" fmla="*/ 1553 w 2280"/>
                <a:gd name="T9" fmla="*/ 1975 h 2105"/>
                <a:gd name="T10" fmla="*/ 1570 w 2280"/>
                <a:gd name="T11" fmla="*/ 1984 h 2105"/>
                <a:gd name="T12" fmla="*/ 1584 w 2280"/>
                <a:gd name="T13" fmla="*/ 1998 h 2105"/>
                <a:gd name="T14" fmla="*/ 1595 w 2280"/>
                <a:gd name="T15" fmla="*/ 2015 h 2105"/>
                <a:gd name="T16" fmla="*/ 1603 w 2280"/>
                <a:gd name="T17" fmla="*/ 2037 h 2105"/>
                <a:gd name="T18" fmla="*/ 1605 w 2280"/>
                <a:gd name="T19" fmla="*/ 2060 h 2105"/>
                <a:gd name="T20" fmla="*/ 1605 w 2280"/>
                <a:gd name="T21" fmla="*/ 2105 h 2105"/>
                <a:gd name="T22" fmla="*/ 675 w 2280"/>
                <a:gd name="T23" fmla="*/ 2105 h 2105"/>
                <a:gd name="T24" fmla="*/ 675 w 2280"/>
                <a:gd name="T25" fmla="*/ 2060 h 2105"/>
                <a:gd name="T26" fmla="*/ 678 w 2280"/>
                <a:gd name="T27" fmla="*/ 2037 h 2105"/>
                <a:gd name="T28" fmla="*/ 685 w 2280"/>
                <a:gd name="T29" fmla="*/ 2015 h 2105"/>
                <a:gd name="T30" fmla="*/ 697 w 2280"/>
                <a:gd name="T31" fmla="*/ 1998 h 2105"/>
                <a:gd name="T32" fmla="*/ 711 w 2280"/>
                <a:gd name="T33" fmla="*/ 1984 h 2105"/>
                <a:gd name="T34" fmla="*/ 728 w 2280"/>
                <a:gd name="T35" fmla="*/ 1975 h 2105"/>
                <a:gd name="T36" fmla="*/ 748 w 2280"/>
                <a:gd name="T37" fmla="*/ 1972 h 2105"/>
                <a:gd name="T38" fmla="*/ 901 w 2280"/>
                <a:gd name="T39" fmla="*/ 1972 h 2105"/>
                <a:gd name="T40" fmla="*/ 901 w 2280"/>
                <a:gd name="T41" fmla="*/ 1789 h 2105"/>
                <a:gd name="T42" fmla="*/ 120 w 2280"/>
                <a:gd name="T43" fmla="*/ 0 h 2105"/>
                <a:gd name="T44" fmla="*/ 2161 w 2280"/>
                <a:gd name="T45" fmla="*/ 0 h 2105"/>
                <a:gd name="T46" fmla="*/ 2189 w 2280"/>
                <a:gd name="T47" fmla="*/ 2 h 2105"/>
                <a:gd name="T48" fmla="*/ 2213 w 2280"/>
                <a:gd name="T49" fmla="*/ 9 h 2105"/>
                <a:gd name="T50" fmla="*/ 2235 w 2280"/>
                <a:gd name="T51" fmla="*/ 21 h 2105"/>
                <a:gd name="T52" fmla="*/ 2254 w 2280"/>
                <a:gd name="T53" fmla="*/ 38 h 2105"/>
                <a:gd name="T54" fmla="*/ 2268 w 2280"/>
                <a:gd name="T55" fmla="*/ 57 h 2105"/>
                <a:gd name="T56" fmla="*/ 2277 w 2280"/>
                <a:gd name="T57" fmla="*/ 78 h 2105"/>
                <a:gd name="T58" fmla="*/ 2280 w 2280"/>
                <a:gd name="T59" fmla="*/ 102 h 2105"/>
                <a:gd name="T60" fmla="*/ 2280 w 2280"/>
                <a:gd name="T61" fmla="*/ 1539 h 2105"/>
                <a:gd name="T62" fmla="*/ 2277 w 2280"/>
                <a:gd name="T63" fmla="*/ 1562 h 2105"/>
                <a:gd name="T64" fmla="*/ 2268 w 2280"/>
                <a:gd name="T65" fmla="*/ 1584 h 2105"/>
                <a:gd name="T66" fmla="*/ 2254 w 2280"/>
                <a:gd name="T67" fmla="*/ 1603 h 2105"/>
                <a:gd name="T68" fmla="*/ 2235 w 2280"/>
                <a:gd name="T69" fmla="*/ 1619 h 2105"/>
                <a:gd name="T70" fmla="*/ 2213 w 2280"/>
                <a:gd name="T71" fmla="*/ 1631 h 2105"/>
                <a:gd name="T72" fmla="*/ 2189 w 2280"/>
                <a:gd name="T73" fmla="*/ 1639 h 2105"/>
                <a:gd name="T74" fmla="*/ 2161 w 2280"/>
                <a:gd name="T75" fmla="*/ 1642 h 2105"/>
                <a:gd name="T76" fmla="*/ 603 w 2280"/>
                <a:gd name="T77" fmla="*/ 1642 h 2105"/>
                <a:gd name="T78" fmla="*/ 603 w 2280"/>
                <a:gd name="T79" fmla="*/ 1355 h 2105"/>
                <a:gd name="T80" fmla="*/ 2084 w 2280"/>
                <a:gd name="T81" fmla="*/ 1355 h 2105"/>
                <a:gd name="T82" fmla="*/ 2084 w 2280"/>
                <a:gd name="T83" fmla="*/ 192 h 2105"/>
                <a:gd name="T84" fmla="*/ 190 w 2280"/>
                <a:gd name="T85" fmla="*/ 192 h 2105"/>
                <a:gd name="T86" fmla="*/ 190 w 2280"/>
                <a:gd name="T87" fmla="*/ 562 h 2105"/>
                <a:gd name="T88" fmla="*/ 0 w 2280"/>
                <a:gd name="T89" fmla="*/ 562 h 2105"/>
                <a:gd name="T90" fmla="*/ 0 w 2280"/>
                <a:gd name="T91" fmla="*/ 102 h 2105"/>
                <a:gd name="T92" fmla="*/ 4 w 2280"/>
                <a:gd name="T93" fmla="*/ 78 h 2105"/>
                <a:gd name="T94" fmla="*/ 13 w 2280"/>
                <a:gd name="T95" fmla="*/ 57 h 2105"/>
                <a:gd name="T96" fmla="*/ 27 w 2280"/>
                <a:gd name="T97" fmla="*/ 38 h 2105"/>
                <a:gd name="T98" fmla="*/ 45 w 2280"/>
                <a:gd name="T99" fmla="*/ 21 h 2105"/>
                <a:gd name="T100" fmla="*/ 67 w 2280"/>
                <a:gd name="T101" fmla="*/ 9 h 2105"/>
                <a:gd name="T102" fmla="*/ 92 w 2280"/>
                <a:gd name="T103" fmla="*/ 2 h 2105"/>
                <a:gd name="T104" fmla="*/ 120 w 2280"/>
                <a:gd name="T105" fmla="*/ 0 h 2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80" h="2105">
                  <a:moveTo>
                    <a:pt x="901" y="1789"/>
                  </a:moveTo>
                  <a:lnTo>
                    <a:pt x="1382" y="1789"/>
                  </a:lnTo>
                  <a:lnTo>
                    <a:pt x="1382" y="1972"/>
                  </a:lnTo>
                  <a:lnTo>
                    <a:pt x="1534" y="1972"/>
                  </a:lnTo>
                  <a:lnTo>
                    <a:pt x="1553" y="1975"/>
                  </a:lnTo>
                  <a:lnTo>
                    <a:pt x="1570" y="1984"/>
                  </a:lnTo>
                  <a:lnTo>
                    <a:pt x="1584" y="1998"/>
                  </a:lnTo>
                  <a:lnTo>
                    <a:pt x="1595" y="2015"/>
                  </a:lnTo>
                  <a:lnTo>
                    <a:pt x="1603" y="2037"/>
                  </a:lnTo>
                  <a:lnTo>
                    <a:pt x="1605" y="2060"/>
                  </a:lnTo>
                  <a:lnTo>
                    <a:pt x="1605" y="2105"/>
                  </a:lnTo>
                  <a:lnTo>
                    <a:pt x="675" y="2105"/>
                  </a:lnTo>
                  <a:lnTo>
                    <a:pt x="675" y="2060"/>
                  </a:lnTo>
                  <a:lnTo>
                    <a:pt x="678" y="2037"/>
                  </a:lnTo>
                  <a:lnTo>
                    <a:pt x="685" y="2015"/>
                  </a:lnTo>
                  <a:lnTo>
                    <a:pt x="697" y="1998"/>
                  </a:lnTo>
                  <a:lnTo>
                    <a:pt x="711" y="1984"/>
                  </a:lnTo>
                  <a:lnTo>
                    <a:pt x="728" y="1975"/>
                  </a:lnTo>
                  <a:lnTo>
                    <a:pt x="748" y="1972"/>
                  </a:lnTo>
                  <a:lnTo>
                    <a:pt x="901" y="1972"/>
                  </a:lnTo>
                  <a:lnTo>
                    <a:pt x="901" y="1789"/>
                  </a:lnTo>
                  <a:close/>
                  <a:moveTo>
                    <a:pt x="120" y="0"/>
                  </a:moveTo>
                  <a:lnTo>
                    <a:pt x="2161" y="0"/>
                  </a:lnTo>
                  <a:lnTo>
                    <a:pt x="2189" y="2"/>
                  </a:lnTo>
                  <a:lnTo>
                    <a:pt x="2213" y="9"/>
                  </a:lnTo>
                  <a:lnTo>
                    <a:pt x="2235" y="21"/>
                  </a:lnTo>
                  <a:lnTo>
                    <a:pt x="2254" y="38"/>
                  </a:lnTo>
                  <a:lnTo>
                    <a:pt x="2268" y="57"/>
                  </a:lnTo>
                  <a:lnTo>
                    <a:pt x="2277" y="78"/>
                  </a:lnTo>
                  <a:lnTo>
                    <a:pt x="2280" y="102"/>
                  </a:lnTo>
                  <a:lnTo>
                    <a:pt x="2280" y="1539"/>
                  </a:lnTo>
                  <a:lnTo>
                    <a:pt x="2277" y="1562"/>
                  </a:lnTo>
                  <a:lnTo>
                    <a:pt x="2268" y="1584"/>
                  </a:lnTo>
                  <a:lnTo>
                    <a:pt x="2254" y="1603"/>
                  </a:lnTo>
                  <a:lnTo>
                    <a:pt x="2235" y="1619"/>
                  </a:lnTo>
                  <a:lnTo>
                    <a:pt x="2213" y="1631"/>
                  </a:lnTo>
                  <a:lnTo>
                    <a:pt x="2189" y="1639"/>
                  </a:lnTo>
                  <a:lnTo>
                    <a:pt x="2161" y="1642"/>
                  </a:lnTo>
                  <a:lnTo>
                    <a:pt x="603" y="1642"/>
                  </a:lnTo>
                  <a:lnTo>
                    <a:pt x="603" y="1355"/>
                  </a:lnTo>
                  <a:lnTo>
                    <a:pt x="2084" y="1355"/>
                  </a:lnTo>
                  <a:lnTo>
                    <a:pt x="2084" y="192"/>
                  </a:lnTo>
                  <a:lnTo>
                    <a:pt x="190" y="192"/>
                  </a:lnTo>
                  <a:lnTo>
                    <a:pt x="190" y="562"/>
                  </a:lnTo>
                  <a:lnTo>
                    <a:pt x="0" y="562"/>
                  </a:lnTo>
                  <a:lnTo>
                    <a:pt x="0" y="102"/>
                  </a:lnTo>
                  <a:lnTo>
                    <a:pt x="4" y="78"/>
                  </a:lnTo>
                  <a:lnTo>
                    <a:pt x="13" y="57"/>
                  </a:lnTo>
                  <a:lnTo>
                    <a:pt x="27" y="38"/>
                  </a:lnTo>
                  <a:lnTo>
                    <a:pt x="45" y="21"/>
                  </a:lnTo>
                  <a:lnTo>
                    <a:pt x="67" y="9"/>
                  </a:lnTo>
                  <a:lnTo>
                    <a:pt x="92" y="2"/>
                  </a:lnTo>
                  <a:lnTo>
                    <a:pt x="120" y="0"/>
                  </a:lnTo>
                  <a:close/>
                </a:path>
              </a:pathLst>
            </a:custGeom>
            <a:solidFill>
              <a:srgbClr val="FABE3C"/>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ysClr val="windowText" lastClr="000000"/>
                </a:solidFill>
                <a:effectLst/>
                <a:uLnTx/>
                <a:uFillTx/>
                <a:latin typeface="Arial"/>
                <a:ea typeface="ＭＳ Ｐゴシック"/>
              </a:endParaRPr>
            </a:p>
          </p:txBody>
        </p:sp>
      </p:grpSp>
      <p:grpSp>
        <p:nvGrpSpPr>
          <p:cNvPr id="238" name="Group 237"/>
          <p:cNvGrpSpPr/>
          <p:nvPr/>
        </p:nvGrpSpPr>
        <p:grpSpPr>
          <a:xfrm>
            <a:off x="5928163" y="2109199"/>
            <a:ext cx="656511" cy="513978"/>
            <a:chOff x="14605307" y="2406216"/>
            <a:chExt cx="786723" cy="615921"/>
          </a:xfrm>
        </p:grpSpPr>
        <p:sp>
          <p:nvSpPr>
            <p:cNvPr id="283" name="Freeform 282"/>
            <p:cNvSpPr>
              <a:spLocks/>
            </p:cNvSpPr>
            <p:nvPr/>
          </p:nvSpPr>
          <p:spPr bwMode="auto">
            <a:xfrm>
              <a:off x="14605307" y="2406216"/>
              <a:ext cx="786723" cy="615921"/>
            </a:xfrm>
            <a:custGeom>
              <a:avLst/>
              <a:gdLst>
                <a:gd name="T0" fmla="*/ 594 w 3040"/>
                <a:gd name="T1" fmla="*/ 0 h 2383"/>
                <a:gd name="T2" fmla="*/ 2920 w 3040"/>
                <a:gd name="T3" fmla="*/ 0 h 2383"/>
                <a:gd name="T4" fmla="*/ 2948 w 3040"/>
                <a:gd name="T5" fmla="*/ 4 h 2383"/>
                <a:gd name="T6" fmla="*/ 2972 w 3040"/>
                <a:gd name="T7" fmla="*/ 12 h 2383"/>
                <a:gd name="T8" fmla="*/ 2995 w 3040"/>
                <a:gd name="T9" fmla="*/ 27 h 2383"/>
                <a:gd name="T10" fmla="*/ 3013 w 3040"/>
                <a:gd name="T11" fmla="*/ 45 h 2383"/>
                <a:gd name="T12" fmla="*/ 3028 w 3040"/>
                <a:gd name="T13" fmla="*/ 68 h 2383"/>
                <a:gd name="T14" fmla="*/ 3036 w 3040"/>
                <a:gd name="T15" fmla="*/ 92 h 2383"/>
                <a:gd name="T16" fmla="*/ 3040 w 3040"/>
                <a:gd name="T17" fmla="*/ 120 h 2383"/>
                <a:gd name="T18" fmla="*/ 3040 w 3040"/>
                <a:gd name="T19" fmla="*/ 1821 h 2383"/>
                <a:gd name="T20" fmla="*/ 3036 w 3040"/>
                <a:gd name="T21" fmla="*/ 1847 h 2383"/>
                <a:gd name="T22" fmla="*/ 3028 w 3040"/>
                <a:gd name="T23" fmla="*/ 1873 h 2383"/>
                <a:gd name="T24" fmla="*/ 3013 w 3040"/>
                <a:gd name="T25" fmla="*/ 1896 h 2383"/>
                <a:gd name="T26" fmla="*/ 2995 w 3040"/>
                <a:gd name="T27" fmla="*/ 1914 h 2383"/>
                <a:gd name="T28" fmla="*/ 2972 w 3040"/>
                <a:gd name="T29" fmla="*/ 1929 h 2383"/>
                <a:gd name="T30" fmla="*/ 2948 w 3040"/>
                <a:gd name="T31" fmla="*/ 1937 h 2383"/>
                <a:gd name="T32" fmla="*/ 2920 w 3040"/>
                <a:gd name="T33" fmla="*/ 1941 h 2383"/>
                <a:gd name="T34" fmla="*/ 2578 w 3040"/>
                <a:gd name="T35" fmla="*/ 1941 h 2383"/>
                <a:gd name="T36" fmla="*/ 2573 w 3040"/>
                <a:gd name="T37" fmla="*/ 1939 h 2383"/>
                <a:gd name="T38" fmla="*/ 2567 w 3040"/>
                <a:gd name="T39" fmla="*/ 1939 h 2383"/>
                <a:gd name="T40" fmla="*/ 2567 w 3040"/>
                <a:gd name="T41" fmla="*/ 2263 h 2383"/>
                <a:gd name="T42" fmla="*/ 2564 w 3040"/>
                <a:gd name="T43" fmla="*/ 2291 h 2383"/>
                <a:gd name="T44" fmla="*/ 2555 w 3040"/>
                <a:gd name="T45" fmla="*/ 2317 h 2383"/>
                <a:gd name="T46" fmla="*/ 2541 w 3040"/>
                <a:gd name="T47" fmla="*/ 2338 h 2383"/>
                <a:gd name="T48" fmla="*/ 2522 w 3040"/>
                <a:gd name="T49" fmla="*/ 2357 h 2383"/>
                <a:gd name="T50" fmla="*/ 2499 w 3040"/>
                <a:gd name="T51" fmla="*/ 2371 h 2383"/>
                <a:gd name="T52" fmla="*/ 2475 w 3040"/>
                <a:gd name="T53" fmla="*/ 2381 h 2383"/>
                <a:gd name="T54" fmla="*/ 2447 w 3040"/>
                <a:gd name="T55" fmla="*/ 2383 h 2383"/>
                <a:gd name="T56" fmla="*/ 120 w 3040"/>
                <a:gd name="T57" fmla="*/ 2383 h 2383"/>
                <a:gd name="T58" fmla="*/ 93 w 3040"/>
                <a:gd name="T59" fmla="*/ 2381 h 2383"/>
                <a:gd name="T60" fmla="*/ 68 w 3040"/>
                <a:gd name="T61" fmla="*/ 2371 h 2383"/>
                <a:gd name="T62" fmla="*/ 46 w 3040"/>
                <a:gd name="T63" fmla="*/ 2357 h 2383"/>
                <a:gd name="T64" fmla="*/ 27 w 3040"/>
                <a:gd name="T65" fmla="*/ 2338 h 2383"/>
                <a:gd name="T66" fmla="*/ 14 w 3040"/>
                <a:gd name="T67" fmla="*/ 2317 h 2383"/>
                <a:gd name="T68" fmla="*/ 4 w 3040"/>
                <a:gd name="T69" fmla="*/ 2291 h 2383"/>
                <a:gd name="T70" fmla="*/ 0 w 3040"/>
                <a:gd name="T71" fmla="*/ 2263 h 2383"/>
                <a:gd name="T72" fmla="*/ 0 w 3040"/>
                <a:gd name="T73" fmla="*/ 563 h 2383"/>
                <a:gd name="T74" fmla="*/ 4 w 3040"/>
                <a:gd name="T75" fmla="*/ 536 h 2383"/>
                <a:gd name="T76" fmla="*/ 14 w 3040"/>
                <a:gd name="T77" fmla="*/ 510 h 2383"/>
                <a:gd name="T78" fmla="*/ 27 w 3040"/>
                <a:gd name="T79" fmla="*/ 488 h 2383"/>
                <a:gd name="T80" fmla="*/ 46 w 3040"/>
                <a:gd name="T81" fmla="*/ 469 h 2383"/>
                <a:gd name="T82" fmla="*/ 68 w 3040"/>
                <a:gd name="T83" fmla="*/ 456 h 2383"/>
                <a:gd name="T84" fmla="*/ 93 w 3040"/>
                <a:gd name="T85" fmla="*/ 446 h 2383"/>
                <a:gd name="T86" fmla="*/ 120 w 3040"/>
                <a:gd name="T87" fmla="*/ 444 h 2383"/>
                <a:gd name="T88" fmla="*/ 475 w 3040"/>
                <a:gd name="T89" fmla="*/ 444 h 2383"/>
                <a:gd name="T90" fmla="*/ 474 w 3040"/>
                <a:gd name="T91" fmla="*/ 423 h 2383"/>
                <a:gd name="T92" fmla="*/ 474 w 3040"/>
                <a:gd name="T93" fmla="*/ 120 h 2383"/>
                <a:gd name="T94" fmla="*/ 477 w 3040"/>
                <a:gd name="T95" fmla="*/ 92 h 2383"/>
                <a:gd name="T96" fmla="*/ 486 w 3040"/>
                <a:gd name="T97" fmla="*/ 68 h 2383"/>
                <a:gd name="T98" fmla="*/ 500 w 3040"/>
                <a:gd name="T99" fmla="*/ 45 h 2383"/>
                <a:gd name="T100" fmla="*/ 519 w 3040"/>
                <a:gd name="T101" fmla="*/ 27 h 2383"/>
                <a:gd name="T102" fmla="*/ 541 w 3040"/>
                <a:gd name="T103" fmla="*/ 12 h 2383"/>
                <a:gd name="T104" fmla="*/ 566 w 3040"/>
                <a:gd name="T105" fmla="*/ 4 h 2383"/>
                <a:gd name="T106" fmla="*/ 594 w 3040"/>
                <a:gd name="T107" fmla="*/ 0 h 2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0" h="2383">
                  <a:moveTo>
                    <a:pt x="594" y="0"/>
                  </a:moveTo>
                  <a:lnTo>
                    <a:pt x="2920" y="0"/>
                  </a:lnTo>
                  <a:lnTo>
                    <a:pt x="2948" y="4"/>
                  </a:lnTo>
                  <a:lnTo>
                    <a:pt x="2972" y="12"/>
                  </a:lnTo>
                  <a:lnTo>
                    <a:pt x="2995" y="27"/>
                  </a:lnTo>
                  <a:lnTo>
                    <a:pt x="3013" y="45"/>
                  </a:lnTo>
                  <a:lnTo>
                    <a:pt x="3028" y="68"/>
                  </a:lnTo>
                  <a:lnTo>
                    <a:pt x="3036" y="92"/>
                  </a:lnTo>
                  <a:lnTo>
                    <a:pt x="3040" y="120"/>
                  </a:lnTo>
                  <a:lnTo>
                    <a:pt x="3040" y="1821"/>
                  </a:lnTo>
                  <a:lnTo>
                    <a:pt x="3036" y="1847"/>
                  </a:lnTo>
                  <a:lnTo>
                    <a:pt x="3028" y="1873"/>
                  </a:lnTo>
                  <a:lnTo>
                    <a:pt x="3013" y="1896"/>
                  </a:lnTo>
                  <a:lnTo>
                    <a:pt x="2995" y="1914"/>
                  </a:lnTo>
                  <a:lnTo>
                    <a:pt x="2972" y="1929"/>
                  </a:lnTo>
                  <a:lnTo>
                    <a:pt x="2948" y="1937"/>
                  </a:lnTo>
                  <a:lnTo>
                    <a:pt x="2920" y="1941"/>
                  </a:lnTo>
                  <a:lnTo>
                    <a:pt x="2578" y="1941"/>
                  </a:lnTo>
                  <a:lnTo>
                    <a:pt x="2573" y="1939"/>
                  </a:lnTo>
                  <a:lnTo>
                    <a:pt x="2567" y="1939"/>
                  </a:lnTo>
                  <a:lnTo>
                    <a:pt x="2567" y="2263"/>
                  </a:lnTo>
                  <a:lnTo>
                    <a:pt x="2564" y="2291"/>
                  </a:lnTo>
                  <a:lnTo>
                    <a:pt x="2555" y="2317"/>
                  </a:lnTo>
                  <a:lnTo>
                    <a:pt x="2541" y="2338"/>
                  </a:lnTo>
                  <a:lnTo>
                    <a:pt x="2522" y="2357"/>
                  </a:lnTo>
                  <a:lnTo>
                    <a:pt x="2499" y="2371"/>
                  </a:lnTo>
                  <a:lnTo>
                    <a:pt x="2475" y="2381"/>
                  </a:lnTo>
                  <a:lnTo>
                    <a:pt x="2447" y="2383"/>
                  </a:lnTo>
                  <a:lnTo>
                    <a:pt x="120" y="2383"/>
                  </a:lnTo>
                  <a:lnTo>
                    <a:pt x="93" y="2381"/>
                  </a:lnTo>
                  <a:lnTo>
                    <a:pt x="68" y="2371"/>
                  </a:lnTo>
                  <a:lnTo>
                    <a:pt x="46" y="2357"/>
                  </a:lnTo>
                  <a:lnTo>
                    <a:pt x="27" y="2338"/>
                  </a:lnTo>
                  <a:lnTo>
                    <a:pt x="14" y="2317"/>
                  </a:lnTo>
                  <a:lnTo>
                    <a:pt x="4" y="2291"/>
                  </a:lnTo>
                  <a:lnTo>
                    <a:pt x="0" y="2263"/>
                  </a:lnTo>
                  <a:lnTo>
                    <a:pt x="0" y="563"/>
                  </a:lnTo>
                  <a:lnTo>
                    <a:pt x="4" y="536"/>
                  </a:lnTo>
                  <a:lnTo>
                    <a:pt x="14" y="510"/>
                  </a:lnTo>
                  <a:lnTo>
                    <a:pt x="27" y="488"/>
                  </a:lnTo>
                  <a:lnTo>
                    <a:pt x="46" y="469"/>
                  </a:lnTo>
                  <a:lnTo>
                    <a:pt x="68" y="456"/>
                  </a:lnTo>
                  <a:lnTo>
                    <a:pt x="93" y="446"/>
                  </a:lnTo>
                  <a:lnTo>
                    <a:pt x="120" y="444"/>
                  </a:lnTo>
                  <a:lnTo>
                    <a:pt x="475" y="444"/>
                  </a:lnTo>
                  <a:lnTo>
                    <a:pt x="474" y="423"/>
                  </a:lnTo>
                  <a:lnTo>
                    <a:pt x="474" y="120"/>
                  </a:lnTo>
                  <a:lnTo>
                    <a:pt x="477" y="92"/>
                  </a:lnTo>
                  <a:lnTo>
                    <a:pt x="486" y="68"/>
                  </a:lnTo>
                  <a:lnTo>
                    <a:pt x="500" y="45"/>
                  </a:lnTo>
                  <a:lnTo>
                    <a:pt x="519" y="27"/>
                  </a:lnTo>
                  <a:lnTo>
                    <a:pt x="541" y="12"/>
                  </a:lnTo>
                  <a:lnTo>
                    <a:pt x="566" y="4"/>
                  </a:lnTo>
                  <a:lnTo>
                    <a:pt x="594" y="0"/>
                  </a:lnTo>
                  <a:close/>
                </a:path>
              </a:pathLst>
            </a:custGeom>
            <a:no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ysClr val="windowText" lastClr="000000"/>
                </a:solidFill>
                <a:effectLst/>
                <a:uLnTx/>
                <a:uFillTx/>
                <a:latin typeface="Arial"/>
                <a:ea typeface="ＭＳ Ｐゴシック"/>
              </a:endParaRPr>
            </a:p>
          </p:txBody>
        </p:sp>
        <p:sp>
          <p:nvSpPr>
            <p:cNvPr id="284" name="Freeform 283"/>
            <p:cNvSpPr>
              <a:spLocks/>
            </p:cNvSpPr>
            <p:nvPr/>
          </p:nvSpPr>
          <p:spPr bwMode="auto">
            <a:xfrm>
              <a:off x="14757993" y="2437271"/>
              <a:ext cx="602982" cy="439944"/>
            </a:xfrm>
            <a:custGeom>
              <a:avLst/>
              <a:gdLst>
                <a:gd name="T0" fmla="*/ 0 w 2326"/>
                <a:gd name="T1" fmla="*/ 0 h 1701"/>
                <a:gd name="T2" fmla="*/ 2326 w 2326"/>
                <a:gd name="T3" fmla="*/ 0 h 1701"/>
                <a:gd name="T4" fmla="*/ 2326 w 2326"/>
                <a:gd name="T5" fmla="*/ 1701 h 1701"/>
                <a:gd name="T6" fmla="*/ 1984 w 2326"/>
                <a:gd name="T7" fmla="*/ 1701 h 1701"/>
                <a:gd name="T8" fmla="*/ 1984 w 2326"/>
                <a:gd name="T9" fmla="*/ 1344 h 1701"/>
                <a:gd name="T10" fmla="*/ 2096 w 2326"/>
                <a:gd name="T11" fmla="*/ 1344 h 1701"/>
                <a:gd name="T12" fmla="*/ 2096 w 2326"/>
                <a:gd name="T13" fmla="*/ 206 h 1701"/>
                <a:gd name="T14" fmla="*/ 791 w 2326"/>
                <a:gd name="T15" fmla="*/ 206 h 1701"/>
                <a:gd name="T16" fmla="*/ 791 w 2326"/>
                <a:gd name="T17" fmla="*/ 303 h 1701"/>
                <a:gd name="T18" fmla="*/ 629 w 2326"/>
                <a:gd name="T19" fmla="*/ 303 h 1701"/>
                <a:gd name="T20" fmla="*/ 629 w 2326"/>
                <a:gd name="T21" fmla="*/ 202 h 1701"/>
                <a:gd name="T22" fmla="*/ 192 w 2326"/>
                <a:gd name="T23" fmla="*/ 202 h 1701"/>
                <a:gd name="T24" fmla="*/ 192 w 2326"/>
                <a:gd name="T25" fmla="*/ 303 h 1701"/>
                <a:gd name="T26" fmla="*/ 0 w 2326"/>
                <a:gd name="T27" fmla="*/ 303 h 1701"/>
                <a:gd name="T28" fmla="*/ 0 w 2326"/>
                <a:gd name="T29" fmla="*/ 0 h 1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26" h="1701">
                  <a:moveTo>
                    <a:pt x="0" y="0"/>
                  </a:moveTo>
                  <a:lnTo>
                    <a:pt x="2326" y="0"/>
                  </a:lnTo>
                  <a:lnTo>
                    <a:pt x="2326" y="1701"/>
                  </a:lnTo>
                  <a:lnTo>
                    <a:pt x="1984" y="1701"/>
                  </a:lnTo>
                  <a:lnTo>
                    <a:pt x="1984" y="1344"/>
                  </a:lnTo>
                  <a:lnTo>
                    <a:pt x="2096" y="1344"/>
                  </a:lnTo>
                  <a:lnTo>
                    <a:pt x="2096" y="206"/>
                  </a:lnTo>
                  <a:lnTo>
                    <a:pt x="791" y="206"/>
                  </a:lnTo>
                  <a:lnTo>
                    <a:pt x="791" y="303"/>
                  </a:lnTo>
                  <a:lnTo>
                    <a:pt x="629" y="303"/>
                  </a:lnTo>
                  <a:lnTo>
                    <a:pt x="629" y="202"/>
                  </a:lnTo>
                  <a:lnTo>
                    <a:pt x="192" y="202"/>
                  </a:lnTo>
                  <a:lnTo>
                    <a:pt x="192" y="303"/>
                  </a:lnTo>
                  <a:lnTo>
                    <a:pt x="0" y="303"/>
                  </a:lnTo>
                  <a:lnTo>
                    <a:pt x="0" y="0"/>
                  </a:lnTo>
                  <a:close/>
                </a:path>
              </a:pathLst>
            </a:custGeom>
            <a:solidFill>
              <a:srgbClr val="FABE3C"/>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ysClr val="windowText" lastClr="000000"/>
                </a:solidFill>
                <a:effectLst/>
                <a:uLnTx/>
                <a:uFillTx/>
                <a:latin typeface="Arial"/>
                <a:ea typeface="ＭＳ Ｐゴシック"/>
              </a:endParaRPr>
            </a:p>
          </p:txBody>
        </p:sp>
        <p:sp>
          <p:nvSpPr>
            <p:cNvPr id="285" name="Freeform 284"/>
            <p:cNvSpPr>
              <a:spLocks noEditPoints="1"/>
            </p:cNvSpPr>
            <p:nvPr/>
          </p:nvSpPr>
          <p:spPr bwMode="auto">
            <a:xfrm>
              <a:off x="14636362" y="2551139"/>
              <a:ext cx="601688" cy="439944"/>
            </a:xfrm>
            <a:custGeom>
              <a:avLst/>
              <a:gdLst>
                <a:gd name="T0" fmla="*/ 341 w 2327"/>
                <a:gd name="T1" fmla="*/ 680 h 1700"/>
                <a:gd name="T2" fmla="*/ 604 w 2327"/>
                <a:gd name="T3" fmla="*/ 680 h 1700"/>
                <a:gd name="T4" fmla="*/ 604 w 2327"/>
                <a:gd name="T5" fmla="*/ 849 h 1700"/>
                <a:gd name="T6" fmla="*/ 341 w 2327"/>
                <a:gd name="T7" fmla="*/ 849 h 1700"/>
                <a:gd name="T8" fmla="*/ 341 w 2327"/>
                <a:gd name="T9" fmla="*/ 680 h 1700"/>
                <a:gd name="T10" fmla="*/ 341 w 2327"/>
                <a:gd name="T11" fmla="*/ 386 h 1700"/>
                <a:gd name="T12" fmla="*/ 604 w 2327"/>
                <a:gd name="T13" fmla="*/ 386 h 1700"/>
                <a:gd name="T14" fmla="*/ 604 w 2327"/>
                <a:gd name="T15" fmla="*/ 554 h 1700"/>
                <a:gd name="T16" fmla="*/ 341 w 2327"/>
                <a:gd name="T17" fmla="*/ 554 h 1700"/>
                <a:gd name="T18" fmla="*/ 341 w 2327"/>
                <a:gd name="T19" fmla="*/ 386 h 1700"/>
                <a:gd name="T20" fmla="*/ 927 w 2327"/>
                <a:gd name="T21" fmla="*/ 207 h 1700"/>
                <a:gd name="T22" fmla="*/ 927 w 2327"/>
                <a:gd name="T23" fmla="*/ 1358 h 1700"/>
                <a:gd name="T24" fmla="*/ 2098 w 2327"/>
                <a:gd name="T25" fmla="*/ 1358 h 1700"/>
                <a:gd name="T26" fmla="*/ 2098 w 2327"/>
                <a:gd name="T27" fmla="*/ 207 h 1700"/>
                <a:gd name="T28" fmla="*/ 927 w 2327"/>
                <a:gd name="T29" fmla="*/ 207 h 1700"/>
                <a:gd name="T30" fmla="*/ 193 w 2327"/>
                <a:gd name="T31" fmla="*/ 201 h 1700"/>
                <a:gd name="T32" fmla="*/ 193 w 2327"/>
                <a:gd name="T33" fmla="*/ 1364 h 1700"/>
                <a:gd name="T34" fmla="*/ 765 w 2327"/>
                <a:gd name="T35" fmla="*/ 1364 h 1700"/>
                <a:gd name="T36" fmla="*/ 765 w 2327"/>
                <a:gd name="T37" fmla="*/ 201 h 1700"/>
                <a:gd name="T38" fmla="*/ 193 w 2327"/>
                <a:gd name="T39" fmla="*/ 201 h 1700"/>
                <a:gd name="T40" fmla="*/ 0 w 2327"/>
                <a:gd name="T41" fmla="*/ 0 h 1700"/>
                <a:gd name="T42" fmla="*/ 2327 w 2327"/>
                <a:gd name="T43" fmla="*/ 0 h 1700"/>
                <a:gd name="T44" fmla="*/ 2327 w 2327"/>
                <a:gd name="T45" fmla="*/ 1700 h 1700"/>
                <a:gd name="T46" fmla="*/ 0 w 2327"/>
                <a:gd name="T47" fmla="*/ 1700 h 1700"/>
                <a:gd name="T48" fmla="*/ 0 w 2327"/>
                <a:gd name="T49" fmla="*/ 0 h 1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27" h="1700">
                  <a:moveTo>
                    <a:pt x="341" y="680"/>
                  </a:moveTo>
                  <a:lnTo>
                    <a:pt x="604" y="680"/>
                  </a:lnTo>
                  <a:lnTo>
                    <a:pt x="604" y="849"/>
                  </a:lnTo>
                  <a:lnTo>
                    <a:pt x="341" y="849"/>
                  </a:lnTo>
                  <a:lnTo>
                    <a:pt x="341" y="680"/>
                  </a:lnTo>
                  <a:close/>
                  <a:moveTo>
                    <a:pt x="341" y="386"/>
                  </a:moveTo>
                  <a:lnTo>
                    <a:pt x="604" y="386"/>
                  </a:lnTo>
                  <a:lnTo>
                    <a:pt x="604" y="554"/>
                  </a:lnTo>
                  <a:lnTo>
                    <a:pt x="341" y="554"/>
                  </a:lnTo>
                  <a:lnTo>
                    <a:pt x="341" y="386"/>
                  </a:lnTo>
                  <a:close/>
                  <a:moveTo>
                    <a:pt x="927" y="207"/>
                  </a:moveTo>
                  <a:lnTo>
                    <a:pt x="927" y="1358"/>
                  </a:lnTo>
                  <a:lnTo>
                    <a:pt x="2098" y="1358"/>
                  </a:lnTo>
                  <a:lnTo>
                    <a:pt x="2098" y="207"/>
                  </a:lnTo>
                  <a:lnTo>
                    <a:pt x="927" y="207"/>
                  </a:lnTo>
                  <a:close/>
                  <a:moveTo>
                    <a:pt x="193" y="201"/>
                  </a:moveTo>
                  <a:lnTo>
                    <a:pt x="193" y="1364"/>
                  </a:lnTo>
                  <a:lnTo>
                    <a:pt x="765" y="1364"/>
                  </a:lnTo>
                  <a:lnTo>
                    <a:pt x="765" y="201"/>
                  </a:lnTo>
                  <a:lnTo>
                    <a:pt x="193" y="201"/>
                  </a:lnTo>
                  <a:close/>
                  <a:moveTo>
                    <a:pt x="0" y="0"/>
                  </a:moveTo>
                  <a:lnTo>
                    <a:pt x="2327" y="0"/>
                  </a:lnTo>
                  <a:lnTo>
                    <a:pt x="2327" y="1700"/>
                  </a:lnTo>
                  <a:lnTo>
                    <a:pt x="0" y="1700"/>
                  </a:lnTo>
                  <a:lnTo>
                    <a:pt x="0" y="0"/>
                  </a:ln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ysClr val="windowText" lastClr="000000"/>
                </a:solidFill>
                <a:effectLst/>
                <a:uLnTx/>
                <a:uFillTx/>
                <a:latin typeface="Arial"/>
                <a:ea typeface="ＭＳ Ｐゴシック"/>
              </a:endParaRPr>
            </a:p>
          </p:txBody>
        </p:sp>
      </p:grpSp>
      <p:grpSp>
        <p:nvGrpSpPr>
          <p:cNvPr id="239" name="Group 238"/>
          <p:cNvGrpSpPr/>
          <p:nvPr/>
        </p:nvGrpSpPr>
        <p:grpSpPr>
          <a:xfrm>
            <a:off x="7001294" y="2064668"/>
            <a:ext cx="705809" cy="576670"/>
            <a:chOff x="12383184" y="2379853"/>
            <a:chExt cx="739841" cy="604476"/>
          </a:xfrm>
        </p:grpSpPr>
        <p:sp>
          <p:nvSpPr>
            <p:cNvPr id="280" name="Freeform 279"/>
            <p:cNvSpPr>
              <a:spLocks/>
            </p:cNvSpPr>
            <p:nvPr/>
          </p:nvSpPr>
          <p:spPr bwMode="auto">
            <a:xfrm>
              <a:off x="12383184" y="2379853"/>
              <a:ext cx="739841" cy="604476"/>
            </a:xfrm>
            <a:custGeom>
              <a:avLst/>
              <a:gdLst>
                <a:gd name="T0" fmla="*/ 2925 w 3170"/>
                <a:gd name="T1" fmla="*/ 0 h 2592"/>
                <a:gd name="T2" fmla="*/ 3002 w 3170"/>
                <a:gd name="T3" fmla="*/ 12 h 2592"/>
                <a:gd name="T4" fmla="*/ 3070 w 3170"/>
                <a:gd name="T5" fmla="*/ 47 h 2592"/>
                <a:gd name="T6" fmla="*/ 3123 w 3170"/>
                <a:gd name="T7" fmla="*/ 100 h 2592"/>
                <a:gd name="T8" fmla="*/ 3157 w 3170"/>
                <a:gd name="T9" fmla="*/ 168 h 2592"/>
                <a:gd name="T10" fmla="*/ 3170 w 3170"/>
                <a:gd name="T11" fmla="*/ 245 h 2592"/>
                <a:gd name="T12" fmla="*/ 3166 w 3170"/>
                <a:gd name="T13" fmla="*/ 1940 h 2592"/>
                <a:gd name="T14" fmla="*/ 3142 w 3170"/>
                <a:gd name="T15" fmla="*/ 2013 h 2592"/>
                <a:gd name="T16" fmla="*/ 3098 w 3170"/>
                <a:gd name="T17" fmla="*/ 2073 h 2592"/>
                <a:gd name="T18" fmla="*/ 3037 w 3170"/>
                <a:gd name="T19" fmla="*/ 2118 h 2592"/>
                <a:gd name="T20" fmla="*/ 2965 w 3170"/>
                <a:gd name="T21" fmla="*/ 2142 h 2592"/>
                <a:gd name="T22" fmla="*/ 1400 w 3170"/>
                <a:gd name="T23" fmla="*/ 2146 h 2592"/>
                <a:gd name="T24" fmla="*/ 1392 w 3170"/>
                <a:gd name="T25" fmla="*/ 2145 h 2592"/>
                <a:gd name="T26" fmla="*/ 1389 w 3170"/>
                <a:gd name="T27" fmla="*/ 2387 h 2592"/>
                <a:gd name="T28" fmla="*/ 1365 w 3170"/>
                <a:gd name="T29" fmla="*/ 2460 h 2592"/>
                <a:gd name="T30" fmla="*/ 1320 w 3170"/>
                <a:gd name="T31" fmla="*/ 2521 h 2592"/>
                <a:gd name="T32" fmla="*/ 1260 w 3170"/>
                <a:gd name="T33" fmla="*/ 2566 h 2592"/>
                <a:gd name="T34" fmla="*/ 1186 w 3170"/>
                <a:gd name="T35" fmla="*/ 2590 h 2592"/>
                <a:gd name="T36" fmla="*/ 245 w 3170"/>
                <a:gd name="T37" fmla="*/ 2592 h 2592"/>
                <a:gd name="T38" fmla="*/ 168 w 3170"/>
                <a:gd name="T39" fmla="*/ 2580 h 2592"/>
                <a:gd name="T40" fmla="*/ 100 w 3170"/>
                <a:gd name="T41" fmla="*/ 2545 h 2592"/>
                <a:gd name="T42" fmla="*/ 47 w 3170"/>
                <a:gd name="T43" fmla="*/ 2492 h 2592"/>
                <a:gd name="T44" fmla="*/ 13 w 3170"/>
                <a:gd name="T45" fmla="*/ 2424 h 2592"/>
                <a:gd name="T46" fmla="*/ 0 w 3170"/>
                <a:gd name="T47" fmla="*/ 2347 h 2592"/>
                <a:gd name="T48" fmla="*/ 4 w 3170"/>
                <a:gd name="T49" fmla="*/ 652 h 2592"/>
                <a:gd name="T50" fmla="*/ 28 w 3170"/>
                <a:gd name="T51" fmla="*/ 579 h 2592"/>
                <a:gd name="T52" fmla="*/ 72 w 3170"/>
                <a:gd name="T53" fmla="*/ 519 h 2592"/>
                <a:gd name="T54" fmla="*/ 133 w 3170"/>
                <a:gd name="T55" fmla="*/ 474 h 2592"/>
                <a:gd name="T56" fmla="*/ 205 w 3170"/>
                <a:gd name="T57" fmla="*/ 450 h 2592"/>
                <a:gd name="T58" fmla="*/ 713 w 3170"/>
                <a:gd name="T59" fmla="*/ 446 h 2592"/>
                <a:gd name="T60" fmla="*/ 717 w 3170"/>
                <a:gd name="T61" fmla="*/ 205 h 2592"/>
                <a:gd name="T62" fmla="*/ 741 w 3170"/>
                <a:gd name="T63" fmla="*/ 133 h 2592"/>
                <a:gd name="T64" fmla="*/ 786 w 3170"/>
                <a:gd name="T65" fmla="*/ 71 h 2592"/>
                <a:gd name="T66" fmla="*/ 846 w 3170"/>
                <a:gd name="T67" fmla="*/ 26 h 2592"/>
                <a:gd name="T68" fmla="*/ 919 w 3170"/>
                <a:gd name="T69" fmla="*/ 2 h 2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70" h="2592">
                  <a:moveTo>
                    <a:pt x="959" y="0"/>
                  </a:moveTo>
                  <a:lnTo>
                    <a:pt x="2925" y="0"/>
                  </a:lnTo>
                  <a:lnTo>
                    <a:pt x="2965" y="2"/>
                  </a:lnTo>
                  <a:lnTo>
                    <a:pt x="3002" y="12"/>
                  </a:lnTo>
                  <a:lnTo>
                    <a:pt x="3037" y="26"/>
                  </a:lnTo>
                  <a:lnTo>
                    <a:pt x="3070" y="47"/>
                  </a:lnTo>
                  <a:lnTo>
                    <a:pt x="3098" y="71"/>
                  </a:lnTo>
                  <a:lnTo>
                    <a:pt x="3123" y="100"/>
                  </a:lnTo>
                  <a:lnTo>
                    <a:pt x="3142" y="133"/>
                  </a:lnTo>
                  <a:lnTo>
                    <a:pt x="3157" y="168"/>
                  </a:lnTo>
                  <a:lnTo>
                    <a:pt x="3166" y="205"/>
                  </a:lnTo>
                  <a:lnTo>
                    <a:pt x="3170" y="245"/>
                  </a:lnTo>
                  <a:lnTo>
                    <a:pt x="3170" y="1901"/>
                  </a:lnTo>
                  <a:lnTo>
                    <a:pt x="3166" y="1940"/>
                  </a:lnTo>
                  <a:lnTo>
                    <a:pt x="3157" y="1978"/>
                  </a:lnTo>
                  <a:lnTo>
                    <a:pt x="3142" y="2013"/>
                  </a:lnTo>
                  <a:lnTo>
                    <a:pt x="3123" y="2046"/>
                  </a:lnTo>
                  <a:lnTo>
                    <a:pt x="3098" y="2073"/>
                  </a:lnTo>
                  <a:lnTo>
                    <a:pt x="3070" y="2099"/>
                  </a:lnTo>
                  <a:lnTo>
                    <a:pt x="3037" y="2118"/>
                  </a:lnTo>
                  <a:lnTo>
                    <a:pt x="3002" y="2134"/>
                  </a:lnTo>
                  <a:lnTo>
                    <a:pt x="2965" y="2142"/>
                  </a:lnTo>
                  <a:lnTo>
                    <a:pt x="2925" y="2146"/>
                  </a:lnTo>
                  <a:lnTo>
                    <a:pt x="1400" y="2146"/>
                  </a:lnTo>
                  <a:lnTo>
                    <a:pt x="1396" y="2146"/>
                  </a:lnTo>
                  <a:lnTo>
                    <a:pt x="1392" y="2145"/>
                  </a:lnTo>
                  <a:lnTo>
                    <a:pt x="1392" y="2347"/>
                  </a:lnTo>
                  <a:lnTo>
                    <a:pt x="1389" y="2387"/>
                  </a:lnTo>
                  <a:lnTo>
                    <a:pt x="1379" y="2424"/>
                  </a:lnTo>
                  <a:lnTo>
                    <a:pt x="1365" y="2460"/>
                  </a:lnTo>
                  <a:lnTo>
                    <a:pt x="1344" y="2492"/>
                  </a:lnTo>
                  <a:lnTo>
                    <a:pt x="1320" y="2521"/>
                  </a:lnTo>
                  <a:lnTo>
                    <a:pt x="1291" y="2545"/>
                  </a:lnTo>
                  <a:lnTo>
                    <a:pt x="1260" y="2566"/>
                  </a:lnTo>
                  <a:lnTo>
                    <a:pt x="1223" y="2580"/>
                  </a:lnTo>
                  <a:lnTo>
                    <a:pt x="1186" y="2590"/>
                  </a:lnTo>
                  <a:lnTo>
                    <a:pt x="1146" y="2592"/>
                  </a:lnTo>
                  <a:lnTo>
                    <a:pt x="245" y="2592"/>
                  </a:lnTo>
                  <a:lnTo>
                    <a:pt x="205" y="2590"/>
                  </a:lnTo>
                  <a:lnTo>
                    <a:pt x="168" y="2580"/>
                  </a:lnTo>
                  <a:lnTo>
                    <a:pt x="133" y="2566"/>
                  </a:lnTo>
                  <a:lnTo>
                    <a:pt x="100" y="2545"/>
                  </a:lnTo>
                  <a:lnTo>
                    <a:pt x="72" y="2521"/>
                  </a:lnTo>
                  <a:lnTo>
                    <a:pt x="47" y="2492"/>
                  </a:lnTo>
                  <a:lnTo>
                    <a:pt x="28" y="2460"/>
                  </a:lnTo>
                  <a:lnTo>
                    <a:pt x="13" y="2424"/>
                  </a:lnTo>
                  <a:lnTo>
                    <a:pt x="4" y="2387"/>
                  </a:lnTo>
                  <a:lnTo>
                    <a:pt x="0" y="2347"/>
                  </a:lnTo>
                  <a:lnTo>
                    <a:pt x="0" y="691"/>
                  </a:lnTo>
                  <a:lnTo>
                    <a:pt x="4" y="652"/>
                  </a:lnTo>
                  <a:lnTo>
                    <a:pt x="13" y="614"/>
                  </a:lnTo>
                  <a:lnTo>
                    <a:pt x="28" y="579"/>
                  </a:lnTo>
                  <a:lnTo>
                    <a:pt x="47" y="546"/>
                  </a:lnTo>
                  <a:lnTo>
                    <a:pt x="72" y="519"/>
                  </a:lnTo>
                  <a:lnTo>
                    <a:pt x="100" y="493"/>
                  </a:lnTo>
                  <a:lnTo>
                    <a:pt x="133" y="474"/>
                  </a:lnTo>
                  <a:lnTo>
                    <a:pt x="168" y="458"/>
                  </a:lnTo>
                  <a:lnTo>
                    <a:pt x="205" y="450"/>
                  </a:lnTo>
                  <a:lnTo>
                    <a:pt x="245" y="446"/>
                  </a:lnTo>
                  <a:lnTo>
                    <a:pt x="713" y="446"/>
                  </a:lnTo>
                  <a:lnTo>
                    <a:pt x="713" y="245"/>
                  </a:lnTo>
                  <a:lnTo>
                    <a:pt x="717" y="205"/>
                  </a:lnTo>
                  <a:lnTo>
                    <a:pt x="725" y="168"/>
                  </a:lnTo>
                  <a:lnTo>
                    <a:pt x="741" y="133"/>
                  </a:lnTo>
                  <a:lnTo>
                    <a:pt x="760" y="100"/>
                  </a:lnTo>
                  <a:lnTo>
                    <a:pt x="786" y="71"/>
                  </a:lnTo>
                  <a:lnTo>
                    <a:pt x="814" y="47"/>
                  </a:lnTo>
                  <a:lnTo>
                    <a:pt x="846" y="26"/>
                  </a:lnTo>
                  <a:lnTo>
                    <a:pt x="881" y="12"/>
                  </a:lnTo>
                  <a:lnTo>
                    <a:pt x="919" y="2"/>
                  </a:lnTo>
                  <a:lnTo>
                    <a:pt x="959" y="0"/>
                  </a:lnTo>
                  <a:close/>
                </a:path>
              </a:pathLst>
            </a:custGeom>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ysClr val="windowText" lastClr="000000"/>
                </a:solidFill>
                <a:effectLst/>
                <a:uLnTx/>
                <a:uFillTx/>
                <a:latin typeface="Arial"/>
                <a:ea typeface="ＭＳ Ｐゴシック"/>
              </a:endParaRPr>
            </a:p>
          </p:txBody>
        </p:sp>
        <p:sp>
          <p:nvSpPr>
            <p:cNvPr id="281" name="Freeform 280"/>
            <p:cNvSpPr>
              <a:spLocks noEditPoints="1"/>
            </p:cNvSpPr>
            <p:nvPr/>
          </p:nvSpPr>
          <p:spPr bwMode="auto">
            <a:xfrm>
              <a:off x="12411191" y="2511717"/>
              <a:ext cx="268397" cy="444605"/>
            </a:xfrm>
            <a:custGeom>
              <a:avLst/>
              <a:gdLst>
                <a:gd name="T0" fmla="*/ 549 w 1152"/>
                <a:gd name="T1" fmla="*/ 1607 h 1906"/>
                <a:gd name="T2" fmla="*/ 501 w 1152"/>
                <a:gd name="T3" fmla="*/ 1633 h 1906"/>
                <a:gd name="T4" fmla="*/ 475 w 1152"/>
                <a:gd name="T5" fmla="*/ 1680 h 1906"/>
                <a:gd name="T6" fmla="*/ 475 w 1152"/>
                <a:gd name="T7" fmla="*/ 1736 h 1906"/>
                <a:gd name="T8" fmla="*/ 501 w 1152"/>
                <a:gd name="T9" fmla="*/ 1782 h 1906"/>
                <a:gd name="T10" fmla="*/ 549 w 1152"/>
                <a:gd name="T11" fmla="*/ 1809 h 1906"/>
                <a:gd name="T12" fmla="*/ 601 w 1152"/>
                <a:gd name="T13" fmla="*/ 1810 h 1906"/>
                <a:gd name="T14" fmla="*/ 642 w 1152"/>
                <a:gd name="T15" fmla="*/ 1789 h 1906"/>
                <a:gd name="T16" fmla="*/ 671 w 1152"/>
                <a:gd name="T17" fmla="*/ 1754 h 1906"/>
                <a:gd name="T18" fmla="*/ 680 w 1152"/>
                <a:gd name="T19" fmla="*/ 1708 h 1906"/>
                <a:gd name="T20" fmla="*/ 667 w 1152"/>
                <a:gd name="T21" fmla="*/ 1655 h 1906"/>
                <a:gd name="T22" fmla="*/ 628 w 1152"/>
                <a:gd name="T23" fmla="*/ 1617 h 1906"/>
                <a:gd name="T24" fmla="*/ 576 w 1152"/>
                <a:gd name="T25" fmla="*/ 1603 h 1906"/>
                <a:gd name="T26" fmla="*/ 150 w 1152"/>
                <a:gd name="T27" fmla="*/ 1457 h 1906"/>
                <a:gd name="T28" fmla="*/ 1003 w 1152"/>
                <a:gd name="T29" fmla="*/ 215 h 1906"/>
                <a:gd name="T30" fmla="*/ 125 w 1152"/>
                <a:gd name="T31" fmla="*/ 0 h 1906"/>
                <a:gd name="T32" fmla="*/ 1055 w 1152"/>
                <a:gd name="T33" fmla="*/ 3 h 1906"/>
                <a:gd name="T34" fmla="*/ 1105 w 1152"/>
                <a:gd name="T35" fmla="*/ 28 h 1906"/>
                <a:gd name="T36" fmla="*/ 1140 w 1152"/>
                <a:gd name="T37" fmla="*/ 70 h 1906"/>
                <a:gd name="T38" fmla="*/ 1152 w 1152"/>
                <a:gd name="T39" fmla="*/ 125 h 1906"/>
                <a:gd name="T40" fmla="*/ 1149 w 1152"/>
                <a:gd name="T41" fmla="*/ 1810 h 1906"/>
                <a:gd name="T42" fmla="*/ 1125 w 1152"/>
                <a:gd name="T43" fmla="*/ 1859 h 1906"/>
                <a:gd name="T44" fmla="*/ 1082 w 1152"/>
                <a:gd name="T45" fmla="*/ 1894 h 1906"/>
                <a:gd name="T46" fmla="*/ 1026 w 1152"/>
                <a:gd name="T47" fmla="*/ 1906 h 1906"/>
                <a:gd name="T48" fmla="*/ 96 w 1152"/>
                <a:gd name="T49" fmla="*/ 1903 h 1906"/>
                <a:gd name="T50" fmla="*/ 47 w 1152"/>
                <a:gd name="T51" fmla="*/ 1879 h 1906"/>
                <a:gd name="T52" fmla="*/ 13 w 1152"/>
                <a:gd name="T53" fmla="*/ 1836 h 1906"/>
                <a:gd name="T54" fmla="*/ 0 w 1152"/>
                <a:gd name="T55" fmla="*/ 1781 h 1906"/>
                <a:gd name="T56" fmla="*/ 3 w 1152"/>
                <a:gd name="T57" fmla="*/ 96 h 1906"/>
                <a:gd name="T58" fmla="*/ 27 w 1152"/>
                <a:gd name="T59" fmla="*/ 47 h 1906"/>
                <a:gd name="T60" fmla="*/ 70 w 1152"/>
                <a:gd name="T61" fmla="*/ 13 h 1906"/>
                <a:gd name="T62" fmla="*/ 125 w 1152"/>
                <a:gd name="T63" fmla="*/ 0 h 1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52" h="1906">
                  <a:moveTo>
                    <a:pt x="576" y="1603"/>
                  </a:moveTo>
                  <a:lnTo>
                    <a:pt x="549" y="1607"/>
                  </a:lnTo>
                  <a:lnTo>
                    <a:pt x="523" y="1617"/>
                  </a:lnTo>
                  <a:lnTo>
                    <a:pt x="501" y="1633"/>
                  </a:lnTo>
                  <a:lnTo>
                    <a:pt x="486" y="1655"/>
                  </a:lnTo>
                  <a:lnTo>
                    <a:pt x="475" y="1680"/>
                  </a:lnTo>
                  <a:lnTo>
                    <a:pt x="471" y="1708"/>
                  </a:lnTo>
                  <a:lnTo>
                    <a:pt x="475" y="1736"/>
                  </a:lnTo>
                  <a:lnTo>
                    <a:pt x="486" y="1760"/>
                  </a:lnTo>
                  <a:lnTo>
                    <a:pt x="501" y="1782"/>
                  </a:lnTo>
                  <a:lnTo>
                    <a:pt x="523" y="1798"/>
                  </a:lnTo>
                  <a:lnTo>
                    <a:pt x="549" y="1809"/>
                  </a:lnTo>
                  <a:lnTo>
                    <a:pt x="576" y="1812"/>
                  </a:lnTo>
                  <a:lnTo>
                    <a:pt x="601" y="1810"/>
                  </a:lnTo>
                  <a:lnTo>
                    <a:pt x="622" y="1801"/>
                  </a:lnTo>
                  <a:lnTo>
                    <a:pt x="642" y="1789"/>
                  </a:lnTo>
                  <a:lnTo>
                    <a:pt x="657" y="1773"/>
                  </a:lnTo>
                  <a:lnTo>
                    <a:pt x="671" y="1754"/>
                  </a:lnTo>
                  <a:lnTo>
                    <a:pt x="678" y="1731"/>
                  </a:lnTo>
                  <a:lnTo>
                    <a:pt x="680" y="1708"/>
                  </a:lnTo>
                  <a:lnTo>
                    <a:pt x="677" y="1680"/>
                  </a:lnTo>
                  <a:lnTo>
                    <a:pt x="667" y="1655"/>
                  </a:lnTo>
                  <a:lnTo>
                    <a:pt x="650" y="1633"/>
                  </a:lnTo>
                  <a:lnTo>
                    <a:pt x="628" y="1617"/>
                  </a:lnTo>
                  <a:lnTo>
                    <a:pt x="604" y="1607"/>
                  </a:lnTo>
                  <a:lnTo>
                    <a:pt x="576" y="1603"/>
                  </a:lnTo>
                  <a:close/>
                  <a:moveTo>
                    <a:pt x="150" y="215"/>
                  </a:moveTo>
                  <a:lnTo>
                    <a:pt x="150" y="1457"/>
                  </a:lnTo>
                  <a:lnTo>
                    <a:pt x="1003" y="1457"/>
                  </a:lnTo>
                  <a:lnTo>
                    <a:pt x="1003" y="215"/>
                  </a:lnTo>
                  <a:lnTo>
                    <a:pt x="150" y="215"/>
                  </a:lnTo>
                  <a:close/>
                  <a:moveTo>
                    <a:pt x="125" y="0"/>
                  </a:moveTo>
                  <a:lnTo>
                    <a:pt x="1026" y="0"/>
                  </a:lnTo>
                  <a:lnTo>
                    <a:pt x="1055" y="3"/>
                  </a:lnTo>
                  <a:lnTo>
                    <a:pt x="1082" y="13"/>
                  </a:lnTo>
                  <a:lnTo>
                    <a:pt x="1105" y="28"/>
                  </a:lnTo>
                  <a:lnTo>
                    <a:pt x="1125" y="47"/>
                  </a:lnTo>
                  <a:lnTo>
                    <a:pt x="1140" y="70"/>
                  </a:lnTo>
                  <a:lnTo>
                    <a:pt x="1149" y="96"/>
                  </a:lnTo>
                  <a:lnTo>
                    <a:pt x="1152" y="125"/>
                  </a:lnTo>
                  <a:lnTo>
                    <a:pt x="1152" y="1781"/>
                  </a:lnTo>
                  <a:lnTo>
                    <a:pt x="1149" y="1810"/>
                  </a:lnTo>
                  <a:lnTo>
                    <a:pt x="1140" y="1836"/>
                  </a:lnTo>
                  <a:lnTo>
                    <a:pt x="1125" y="1859"/>
                  </a:lnTo>
                  <a:lnTo>
                    <a:pt x="1105" y="1879"/>
                  </a:lnTo>
                  <a:lnTo>
                    <a:pt x="1082" y="1894"/>
                  </a:lnTo>
                  <a:lnTo>
                    <a:pt x="1055" y="1903"/>
                  </a:lnTo>
                  <a:lnTo>
                    <a:pt x="1026" y="1906"/>
                  </a:lnTo>
                  <a:lnTo>
                    <a:pt x="125" y="1906"/>
                  </a:lnTo>
                  <a:lnTo>
                    <a:pt x="96" y="1903"/>
                  </a:lnTo>
                  <a:lnTo>
                    <a:pt x="70" y="1894"/>
                  </a:lnTo>
                  <a:lnTo>
                    <a:pt x="47" y="1879"/>
                  </a:lnTo>
                  <a:lnTo>
                    <a:pt x="27" y="1859"/>
                  </a:lnTo>
                  <a:lnTo>
                    <a:pt x="13" y="1836"/>
                  </a:lnTo>
                  <a:lnTo>
                    <a:pt x="3" y="1810"/>
                  </a:lnTo>
                  <a:lnTo>
                    <a:pt x="0" y="1781"/>
                  </a:lnTo>
                  <a:lnTo>
                    <a:pt x="0" y="125"/>
                  </a:lnTo>
                  <a:lnTo>
                    <a:pt x="3" y="96"/>
                  </a:lnTo>
                  <a:lnTo>
                    <a:pt x="13" y="70"/>
                  </a:lnTo>
                  <a:lnTo>
                    <a:pt x="27" y="47"/>
                  </a:lnTo>
                  <a:lnTo>
                    <a:pt x="47" y="28"/>
                  </a:lnTo>
                  <a:lnTo>
                    <a:pt x="70" y="13"/>
                  </a:lnTo>
                  <a:lnTo>
                    <a:pt x="96" y="3"/>
                  </a:lnTo>
                  <a:lnTo>
                    <a:pt x="125" y="0"/>
                  </a:ln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ysClr val="windowText" lastClr="000000"/>
                </a:solidFill>
                <a:effectLst/>
                <a:uLnTx/>
                <a:uFillTx/>
                <a:latin typeface="Arial"/>
                <a:ea typeface="ＭＳ Ｐゴシック"/>
              </a:endParaRPr>
            </a:p>
          </p:txBody>
        </p:sp>
        <p:sp>
          <p:nvSpPr>
            <p:cNvPr id="282" name="Freeform 281"/>
            <p:cNvSpPr>
              <a:spLocks noEditPoints="1"/>
            </p:cNvSpPr>
            <p:nvPr/>
          </p:nvSpPr>
          <p:spPr bwMode="auto">
            <a:xfrm>
              <a:off x="12578064" y="2407860"/>
              <a:ext cx="516955" cy="444605"/>
            </a:xfrm>
            <a:custGeom>
              <a:avLst/>
              <a:gdLst>
                <a:gd name="T0" fmla="*/ 1404 w 2217"/>
                <a:gd name="T1" fmla="*/ 1581 h 1906"/>
                <a:gd name="T2" fmla="*/ 1363 w 2217"/>
                <a:gd name="T3" fmla="*/ 1600 h 1906"/>
                <a:gd name="T4" fmla="*/ 1334 w 2217"/>
                <a:gd name="T5" fmla="*/ 1637 h 1906"/>
                <a:gd name="T6" fmla="*/ 1324 w 2217"/>
                <a:gd name="T7" fmla="*/ 1683 h 1906"/>
                <a:gd name="T8" fmla="*/ 1337 w 2217"/>
                <a:gd name="T9" fmla="*/ 1736 h 1906"/>
                <a:gd name="T10" fmla="*/ 1375 w 2217"/>
                <a:gd name="T11" fmla="*/ 1773 h 1906"/>
                <a:gd name="T12" fmla="*/ 1428 w 2217"/>
                <a:gd name="T13" fmla="*/ 1788 h 1906"/>
                <a:gd name="T14" fmla="*/ 1481 w 2217"/>
                <a:gd name="T15" fmla="*/ 1773 h 1906"/>
                <a:gd name="T16" fmla="*/ 1519 w 2217"/>
                <a:gd name="T17" fmla="*/ 1736 h 1906"/>
                <a:gd name="T18" fmla="*/ 1533 w 2217"/>
                <a:gd name="T19" fmla="*/ 1683 h 1906"/>
                <a:gd name="T20" fmla="*/ 1522 w 2217"/>
                <a:gd name="T21" fmla="*/ 1642 h 1906"/>
                <a:gd name="T22" fmla="*/ 1493 w 2217"/>
                <a:gd name="T23" fmla="*/ 1604 h 1906"/>
                <a:gd name="T24" fmla="*/ 1452 w 2217"/>
                <a:gd name="T25" fmla="*/ 1581 h 1906"/>
                <a:gd name="T26" fmla="*/ 1109 w 2217"/>
                <a:gd name="T27" fmla="*/ 1577 h 1906"/>
                <a:gd name="T28" fmla="*/ 1063 w 2217"/>
                <a:gd name="T29" fmla="*/ 1588 h 1906"/>
                <a:gd name="T30" fmla="*/ 1026 w 2217"/>
                <a:gd name="T31" fmla="*/ 1617 h 1906"/>
                <a:gd name="T32" fmla="*/ 1007 w 2217"/>
                <a:gd name="T33" fmla="*/ 1658 h 1906"/>
                <a:gd name="T34" fmla="*/ 1007 w 2217"/>
                <a:gd name="T35" fmla="*/ 1710 h 1906"/>
                <a:gd name="T36" fmla="*/ 1035 w 2217"/>
                <a:gd name="T37" fmla="*/ 1756 h 1906"/>
                <a:gd name="T38" fmla="*/ 1081 w 2217"/>
                <a:gd name="T39" fmla="*/ 1784 h 1906"/>
                <a:gd name="T40" fmla="*/ 1136 w 2217"/>
                <a:gd name="T41" fmla="*/ 1784 h 1906"/>
                <a:gd name="T42" fmla="*/ 1182 w 2217"/>
                <a:gd name="T43" fmla="*/ 1756 h 1906"/>
                <a:gd name="T44" fmla="*/ 1210 w 2217"/>
                <a:gd name="T45" fmla="*/ 1710 h 1906"/>
                <a:gd name="T46" fmla="*/ 1210 w 2217"/>
                <a:gd name="T47" fmla="*/ 1662 h 1906"/>
                <a:gd name="T48" fmla="*/ 1191 w 2217"/>
                <a:gd name="T49" fmla="*/ 1622 h 1906"/>
                <a:gd name="T50" fmla="*/ 1155 w 2217"/>
                <a:gd name="T51" fmla="*/ 1591 h 1906"/>
                <a:gd name="T52" fmla="*/ 1109 w 2217"/>
                <a:gd name="T53" fmla="*/ 1577 h 1906"/>
                <a:gd name="T54" fmla="*/ 765 w 2217"/>
                <a:gd name="T55" fmla="*/ 1581 h 1906"/>
                <a:gd name="T56" fmla="*/ 723 w 2217"/>
                <a:gd name="T57" fmla="*/ 1600 h 1906"/>
                <a:gd name="T58" fmla="*/ 695 w 2217"/>
                <a:gd name="T59" fmla="*/ 1637 h 1906"/>
                <a:gd name="T60" fmla="*/ 684 w 2217"/>
                <a:gd name="T61" fmla="*/ 1683 h 1906"/>
                <a:gd name="T62" fmla="*/ 699 w 2217"/>
                <a:gd name="T63" fmla="*/ 1736 h 1906"/>
                <a:gd name="T64" fmla="*/ 736 w 2217"/>
                <a:gd name="T65" fmla="*/ 1773 h 1906"/>
                <a:gd name="T66" fmla="*/ 789 w 2217"/>
                <a:gd name="T67" fmla="*/ 1788 h 1906"/>
                <a:gd name="T68" fmla="*/ 841 w 2217"/>
                <a:gd name="T69" fmla="*/ 1773 h 1906"/>
                <a:gd name="T70" fmla="*/ 880 w 2217"/>
                <a:gd name="T71" fmla="*/ 1736 h 1906"/>
                <a:gd name="T72" fmla="*/ 893 w 2217"/>
                <a:gd name="T73" fmla="*/ 1683 h 1906"/>
                <a:gd name="T74" fmla="*/ 884 w 2217"/>
                <a:gd name="T75" fmla="*/ 1642 h 1906"/>
                <a:gd name="T76" fmla="*/ 855 w 2217"/>
                <a:gd name="T77" fmla="*/ 1604 h 1906"/>
                <a:gd name="T78" fmla="*/ 814 w 2217"/>
                <a:gd name="T79" fmla="*/ 1581 h 1906"/>
                <a:gd name="T80" fmla="*/ 126 w 2217"/>
                <a:gd name="T81" fmla="*/ 0 h 1906"/>
                <a:gd name="T82" fmla="*/ 2121 w 2217"/>
                <a:gd name="T83" fmla="*/ 3 h 1906"/>
                <a:gd name="T84" fmla="*/ 2170 w 2217"/>
                <a:gd name="T85" fmla="*/ 27 h 1906"/>
                <a:gd name="T86" fmla="*/ 2204 w 2217"/>
                <a:gd name="T87" fmla="*/ 70 h 1906"/>
                <a:gd name="T88" fmla="*/ 2217 w 2217"/>
                <a:gd name="T89" fmla="*/ 125 h 1906"/>
                <a:gd name="T90" fmla="*/ 2214 w 2217"/>
                <a:gd name="T91" fmla="*/ 1810 h 1906"/>
                <a:gd name="T92" fmla="*/ 2190 w 2217"/>
                <a:gd name="T93" fmla="*/ 1859 h 1906"/>
                <a:gd name="T94" fmla="*/ 2147 w 2217"/>
                <a:gd name="T95" fmla="*/ 1893 h 1906"/>
                <a:gd name="T96" fmla="*/ 2092 w 2217"/>
                <a:gd name="T97" fmla="*/ 1906 h 1906"/>
                <a:gd name="T98" fmla="*/ 567 w 2217"/>
                <a:gd name="T99" fmla="*/ 1386 h 1906"/>
                <a:gd name="T100" fmla="*/ 2067 w 2217"/>
                <a:gd name="T101" fmla="*/ 214 h 1906"/>
                <a:gd name="T102" fmla="*/ 149 w 2217"/>
                <a:gd name="T103" fmla="*/ 339 h 1906"/>
                <a:gd name="T104" fmla="*/ 0 w 2217"/>
                <a:gd name="T105" fmla="*/ 125 h 1906"/>
                <a:gd name="T106" fmla="*/ 13 w 2217"/>
                <a:gd name="T107" fmla="*/ 70 h 1906"/>
                <a:gd name="T108" fmla="*/ 47 w 2217"/>
                <a:gd name="T109" fmla="*/ 27 h 1906"/>
                <a:gd name="T110" fmla="*/ 97 w 2217"/>
                <a:gd name="T111" fmla="*/ 3 h 1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17" h="1906">
                  <a:moveTo>
                    <a:pt x="1428" y="1577"/>
                  </a:moveTo>
                  <a:lnTo>
                    <a:pt x="1404" y="1581"/>
                  </a:lnTo>
                  <a:lnTo>
                    <a:pt x="1382" y="1588"/>
                  </a:lnTo>
                  <a:lnTo>
                    <a:pt x="1363" y="1600"/>
                  </a:lnTo>
                  <a:lnTo>
                    <a:pt x="1347" y="1617"/>
                  </a:lnTo>
                  <a:lnTo>
                    <a:pt x="1334" y="1637"/>
                  </a:lnTo>
                  <a:lnTo>
                    <a:pt x="1326" y="1658"/>
                  </a:lnTo>
                  <a:lnTo>
                    <a:pt x="1324" y="1683"/>
                  </a:lnTo>
                  <a:lnTo>
                    <a:pt x="1328" y="1710"/>
                  </a:lnTo>
                  <a:lnTo>
                    <a:pt x="1337" y="1736"/>
                  </a:lnTo>
                  <a:lnTo>
                    <a:pt x="1354" y="1756"/>
                  </a:lnTo>
                  <a:lnTo>
                    <a:pt x="1375" y="1773"/>
                  </a:lnTo>
                  <a:lnTo>
                    <a:pt x="1400" y="1784"/>
                  </a:lnTo>
                  <a:lnTo>
                    <a:pt x="1428" y="1788"/>
                  </a:lnTo>
                  <a:lnTo>
                    <a:pt x="1456" y="1784"/>
                  </a:lnTo>
                  <a:lnTo>
                    <a:pt x="1481" y="1773"/>
                  </a:lnTo>
                  <a:lnTo>
                    <a:pt x="1502" y="1756"/>
                  </a:lnTo>
                  <a:lnTo>
                    <a:pt x="1519" y="1736"/>
                  </a:lnTo>
                  <a:lnTo>
                    <a:pt x="1529" y="1710"/>
                  </a:lnTo>
                  <a:lnTo>
                    <a:pt x="1533" y="1683"/>
                  </a:lnTo>
                  <a:lnTo>
                    <a:pt x="1531" y="1662"/>
                  </a:lnTo>
                  <a:lnTo>
                    <a:pt x="1522" y="1642"/>
                  </a:lnTo>
                  <a:lnTo>
                    <a:pt x="1510" y="1622"/>
                  </a:lnTo>
                  <a:lnTo>
                    <a:pt x="1493" y="1604"/>
                  </a:lnTo>
                  <a:lnTo>
                    <a:pt x="1474" y="1591"/>
                  </a:lnTo>
                  <a:lnTo>
                    <a:pt x="1452" y="1581"/>
                  </a:lnTo>
                  <a:lnTo>
                    <a:pt x="1428" y="1577"/>
                  </a:lnTo>
                  <a:close/>
                  <a:moveTo>
                    <a:pt x="1109" y="1577"/>
                  </a:moveTo>
                  <a:lnTo>
                    <a:pt x="1085" y="1581"/>
                  </a:lnTo>
                  <a:lnTo>
                    <a:pt x="1063" y="1588"/>
                  </a:lnTo>
                  <a:lnTo>
                    <a:pt x="1043" y="1600"/>
                  </a:lnTo>
                  <a:lnTo>
                    <a:pt x="1026" y="1617"/>
                  </a:lnTo>
                  <a:lnTo>
                    <a:pt x="1014" y="1637"/>
                  </a:lnTo>
                  <a:lnTo>
                    <a:pt x="1007" y="1658"/>
                  </a:lnTo>
                  <a:lnTo>
                    <a:pt x="1003" y="1683"/>
                  </a:lnTo>
                  <a:lnTo>
                    <a:pt x="1007" y="1710"/>
                  </a:lnTo>
                  <a:lnTo>
                    <a:pt x="1018" y="1736"/>
                  </a:lnTo>
                  <a:lnTo>
                    <a:pt x="1035" y="1756"/>
                  </a:lnTo>
                  <a:lnTo>
                    <a:pt x="1055" y="1773"/>
                  </a:lnTo>
                  <a:lnTo>
                    <a:pt x="1081" y="1784"/>
                  </a:lnTo>
                  <a:lnTo>
                    <a:pt x="1109" y="1788"/>
                  </a:lnTo>
                  <a:lnTo>
                    <a:pt x="1136" y="1784"/>
                  </a:lnTo>
                  <a:lnTo>
                    <a:pt x="1162" y="1773"/>
                  </a:lnTo>
                  <a:lnTo>
                    <a:pt x="1182" y="1756"/>
                  </a:lnTo>
                  <a:lnTo>
                    <a:pt x="1199" y="1736"/>
                  </a:lnTo>
                  <a:lnTo>
                    <a:pt x="1210" y="1710"/>
                  </a:lnTo>
                  <a:lnTo>
                    <a:pt x="1214" y="1683"/>
                  </a:lnTo>
                  <a:lnTo>
                    <a:pt x="1210" y="1662"/>
                  </a:lnTo>
                  <a:lnTo>
                    <a:pt x="1203" y="1642"/>
                  </a:lnTo>
                  <a:lnTo>
                    <a:pt x="1191" y="1622"/>
                  </a:lnTo>
                  <a:lnTo>
                    <a:pt x="1174" y="1604"/>
                  </a:lnTo>
                  <a:lnTo>
                    <a:pt x="1155" y="1591"/>
                  </a:lnTo>
                  <a:lnTo>
                    <a:pt x="1133" y="1581"/>
                  </a:lnTo>
                  <a:lnTo>
                    <a:pt x="1109" y="1577"/>
                  </a:lnTo>
                  <a:close/>
                  <a:moveTo>
                    <a:pt x="789" y="1577"/>
                  </a:moveTo>
                  <a:lnTo>
                    <a:pt x="765" y="1581"/>
                  </a:lnTo>
                  <a:lnTo>
                    <a:pt x="744" y="1588"/>
                  </a:lnTo>
                  <a:lnTo>
                    <a:pt x="723" y="1600"/>
                  </a:lnTo>
                  <a:lnTo>
                    <a:pt x="707" y="1617"/>
                  </a:lnTo>
                  <a:lnTo>
                    <a:pt x="695" y="1637"/>
                  </a:lnTo>
                  <a:lnTo>
                    <a:pt x="687" y="1658"/>
                  </a:lnTo>
                  <a:lnTo>
                    <a:pt x="684" y="1683"/>
                  </a:lnTo>
                  <a:lnTo>
                    <a:pt x="688" y="1710"/>
                  </a:lnTo>
                  <a:lnTo>
                    <a:pt x="699" y="1736"/>
                  </a:lnTo>
                  <a:lnTo>
                    <a:pt x="715" y="1756"/>
                  </a:lnTo>
                  <a:lnTo>
                    <a:pt x="736" y="1773"/>
                  </a:lnTo>
                  <a:lnTo>
                    <a:pt x="762" y="1784"/>
                  </a:lnTo>
                  <a:lnTo>
                    <a:pt x="789" y="1788"/>
                  </a:lnTo>
                  <a:lnTo>
                    <a:pt x="817" y="1784"/>
                  </a:lnTo>
                  <a:lnTo>
                    <a:pt x="841" y="1773"/>
                  </a:lnTo>
                  <a:lnTo>
                    <a:pt x="863" y="1756"/>
                  </a:lnTo>
                  <a:lnTo>
                    <a:pt x="880" y="1736"/>
                  </a:lnTo>
                  <a:lnTo>
                    <a:pt x="890" y="1710"/>
                  </a:lnTo>
                  <a:lnTo>
                    <a:pt x="893" y="1683"/>
                  </a:lnTo>
                  <a:lnTo>
                    <a:pt x="891" y="1662"/>
                  </a:lnTo>
                  <a:lnTo>
                    <a:pt x="884" y="1642"/>
                  </a:lnTo>
                  <a:lnTo>
                    <a:pt x="870" y="1622"/>
                  </a:lnTo>
                  <a:lnTo>
                    <a:pt x="855" y="1604"/>
                  </a:lnTo>
                  <a:lnTo>
                    <a:pt x="835" y="1591"/>
                  </a:lnTo>
                  <a:lnTo>
                    <a:pt x="814" y="1581"/>
                  </a:lnTo>
                  <a:lnTo>
                    <a:pt x="789" y="1577"/>
                  </a:lnTo>
                  <a:close/>
                  <a:moveTo>
                    <a:pt x="126" y="0"/>
                  </a:moveTo>
                  <a:lnTo>
                    <a:pt x="2092" y="0"/>
                  </a:lnTo>
                  <a:lnTo>
                    <a:pt x="2121" y="3"/>
                  </a:lnTo>
                  <a:lnTo>
                    <a:pt x="2147" y="12"/>
                  </a:lnTo>
                  <a:lnTo>
                    <a:pt x="2170" y="27"/>
                  </a:lnTo>
                  <a:lnTo>
                    <a:pt x="2190" y="47"/>
                  </a:lnTo>
                  <a:lnTo>
                    <a:pt x="2204" y="70"/>
                  </a:lnTo>
                  <a:lnTo>
                    <a:pt x="2214" y="96"/>
                  </a:lnTo>
                  <a:lnTo>
                    <a:pt x="2217" y="125"/>
                  </a:lnTo>
                  <a:lnTo>
                    <a:pt x="2217" y="1781"/>
                  </a:lnTo>
                  <a:lnTo>
                    <a:pt x="2214" y="1810"/>
                  </a:lnTo>
                  <a:lnTo>
                    <a:pt x="2204" y="1836"/>
                  </a:lnTo>
                  <a:lnTo>
                    <a:pt x="2190" y="1859"/>
                  </a:lnTo>
                  <a:lnTo>
                    <a:pt x="2170" y="1878"/>
                  </a:lnTo>
                  <a:lnTo>
                    <a:pt x="2147" y="1893"/>
                  </a:lnTo>
                  <a:lnTo>
                    <a:pt x="2121" y="1903"/>
                  </a:lnTo>
                  <a:lnTo>
                    <a:pt x="2092" y="1906"/>
                  </a:lnTo>
                  <a:lnTo>
                    <a:pt x="567" y="1906"/>
                  </a:lnTo>
                  <a:lnTo>
                    <a:pt x="567" y="1386"/>
                  </a:lnTo>
                  <a:lnTo>
                    <a:pt x="2067" y="1386"/>
                  </a:lnTo>
                  <a:lnTo>
                    <a:pt x="2067" y="214"/>
                  </a:lnTo>
                  <a:lnTo>
                    <a:pt x="149" y="214"/>
                  </a:lnTo>
                  <a:lnTo>
                    <a:pt x="149" y="339"/>
                  </a:lnTo>
                  <a:lnTo>
                    <a:pt x="0" y="339"/>
                  </a:lnTo>
                  <a:lnTo>
                    <a:pt x="0" y="125"/>
                  </a:lnTo>
                  <a:lnTo>
                    <a:pt x="4" y="96"/>
                  </a:lnTo>
                  <a:lnTo>
                    <a:pt x="13" y="70"/>
                  </a:lnTo>
                  <a:lnTo>
                    <a:pt x="28" y="47"/>
                  </a:lnTo>
                  <a:lnTo>
                    <a:pt x="47" y="27"/>
                  </a:lnTo>
                  <a:lnTo>
                    <a:pt x="70" y="12"/>
                  </a:lnTo>
                  <a:lnTo>
                    <a:pt x="97" y="3"/>
                  </a:lnTo>
                  <a:lnTo>
                    <a:pt x="126" y="0"/>
                  </a:lnTo>
                  <a:close/>
                </a:path>
              </a:pathLst>
            </a:custGeom>
            <a:solidFill>
              <a:srgbClr val="FABE3C"/>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ysClr val="windowText" lastClr="000000"/>
                </a:solidFill>
                <a:effectLst/>
                <a:uLnTx/>
                <a:uFillTx/>
                <a:latin typeface="Arial"/>
                <a:ea typeface="ＭＳ Ｐゴシック"/>
              </a:endParaRPr>
            </a:p>
          </p:txBody>
        </p:sp>
      </p:grpSp>
      <p:sp>
        <p:nvSpPr>
          <p:cNvPr id="240" name="TextBox 239"/>
          <p:cNvSpPr txBox="1"/>
          <p:nvPr/>
        </p:nvSpPr>
        <p:spPr>
          <a:xfrm>
            <a:off x="4625805" y="1764062"/>
            <a:ext cx="992641" cy="294472"/>
          </a:xfrm>
          <a:prstGeom prst="rect">
            <a:avLst/>
          </a:prstGeom>
          <a:noFill/>
          <a:effectLst/>
        </p:spPr>
        <p:txBody>
          <a:bodyPr wrap="square" lIns="0" tIns="0" rIns="0" bIns="0" rtlCol="0" anchor="t">
            <a:noAutofit/>
          </a:bodyPr>
          <a:lstStyle/>
          <a:p>
            <a:pPr marL="0" marR="0" lvl="0" indent="0" algn="ctr" defTabSz="932597" rtl="0" eaLnBrk="0" fontAlgn="auto" latinLnBrk="0" hangingPunct="0">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FFFFFF"/>
                </a:solidFill>
                <a:effectLst/>
                <a:uLnTx/>
                <a:uFillTx/>
                <a:latin typeface="Arial"/>
                <a:ea typeface="ＭＳ Ｐゴシック"/>
                <a:cs typeface="ＭＳ Ｐゴシック"/>
              </a:rPr>
              <a:t>Desktop</a:t>
            </a:r>
          </a:p>
        </p:txBody>
      </p:sp>
      <p:sp>
        <p:nvSpPr>
          <p:cNvPr id="241" name="TextBox 240"/>
          <p:cNvSpPr txBox="1"/>
          <p:nvPr/>
        </p:nvSpPr>
        <p:spPr>
          <a:xfrm>
            <a:off x="5839929" y="1764062"/>
            <a:ext cx="832975" cy="294472"/>
          </a:xfrm>
          <a:prstGeom prst="rect">
            <a:avLst/>
          </a:prstGeom>
          <a:noFill/>
          <a:effectLst/>
        </p:spPr>
        <p:txBody>
          <a:bodyPr wrap="square" lIns="0" tIns="0" rIns="0" bIns="0" rtlCol="0" anchor="t">
            <a:noAutofit/>
          </a:bodyPr>
          <a:lstStyle/>
          <a:p>
            <a:pPr marL="0" marR="0" lvl="0" indent="0" algn="ctr" defTabSz="932597" rtl="0" eaLnBrk="0" fontAlgn="auto" latinLnBrk="0" hangingPunct="0">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FFFFFF"/>
                </a:solidFill>
                <a:effectLst/>
                <a:uLnTx/>
                <a:uFillTx/>
                <a:latin typeface="Arial"/>
                <a:ea typeface="ＭＳ Ｐゴシック"/>
                <a:cs typeface="ＭＳ Ｐゴシック"/>
              </a:rPr>
              <a:t>Web</a:t>
            </a:r>
          </a:p>
        </p:txBody>
      </p:sp>
      <p:sp>
        <p:nvSpPr>
          <p:cNvPr id="242" name="TextBox 241"/>
          <p:cNvSpPr txBox="1"/>
          <p:nvPr/>
        </p:nvSpPr>
        <p:spPr>
          <a:xfrm>
            <a:off x="6898803" y="1764062"/>
            <a:ext cx="911868" cy="294472"/>
          </a:xfrm>
          <a:prstGeom prst="rect">
            <a:avLst/>
          </a:prstGeom>
          <a:noFill/>
          <a:effectLst/>
        </p:spPr>
        <p:txBody>
          <a:bodyPr wrap="square" lIns="0" tIns="0" rIns="0" bIns="0" rtlCol="0" anchor="t">
            <a:noAutofit/>
          </a:bodyPr>
          <a:lstStyle/>
          <a:p>
            <a:pPr marL="0" marR="0" lvl="0" indent="0" algn="ctr" defTabSz="932597" rtl="0" eaLnBrk="0" fontAlgn="auto" latinLnBrk="0" hangingPunct="0">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FFFFFF"/>
                </a:solidFill>
                <a:effectLst/>
                <a:uLnTx/>
                <a:uFillTx/>
                <a:latin typeface="Arial"/>
                <a:ea typeface="ＭＳ Ｐゴシック"/>
                <a:cs typeface="ＭＳ Ｐゴシック"/>
              </a:rPr>
              <a:t>Device</a:t>
            </a:r>
          </a:p>
        </p:txBody>
      </p:sp>
      <p:grpSp>
        <p:nvGrpSpPr>
          <p:cNvPr id="244" name="Group 243"/>
          <p:cNvGrpSpPr/>
          <p:nvPr/>
        </p:nvGrpSpPr>
        <p:grpSpPr>
          <a:xfrm>
            <a:off x="5116928" y="5090651"/>
            <a:ext cx="630126" cy="516001"/>
            <a:chOff x="9622002" y="3703176"/>
            <a:chExt cx="617177" cy="505396"/>
          </a:xfrm>
        </p:grpSpPr>
        <p:sp>
          <p:nvSpPr>
            <p:cNvPr id="277" name="Freeform 276"/>
            <p:cNvSpPr>
              <a:spLocks/>
            </p:cNvSpPr>
            <p:nvPr/>
          </p:nvSpPr>
          <p:spPr bwMode="auto">
            <a:xfrm>
              <a:off x="9622002" y="3703176"/>
              <a:ext cx="617177" cy="505396"/>
            </a:xfrm>
            <a:custGeom>
              <a:avLst/>
              <a:gdLst>
                <a:gd name="T0" fmla="*/ 120 w 2596"/>
                <a:gd name="T1" fmla="*/ 0 h 2126"/>
                <a:gd name="T2" fmla="*/ 2476 w 2596"/>
                <a:gd name="T3" fmla="*/ 0 h 2126"/>
                <a:gd name="T4" fmla="*/ 2504 w 2596"/>
                <a:gd name="T5" fmla="*/ 3 h 2126"/>
                <a:gd name="T6" fmla="*/ 2528 w 2596"/>
                <a:gd name="T7" fmla="*/ 12 h 2126"/>
                <a:gd name="T8" fmla="*/ 2551 w 2596"/>
                <a:gd name="T9" fmla="*/ 26 h 2126"/>
                <a:gd name="T10" fmla="*/ 2569 w 2596"/>
                <a:gd name="T11" fmla="*/ 44 h 2126"/>
                <a:gd name="T12" fmla="*/ 2584 w 2596"/>
                <a:gd name="T13" fmla="*/ 67 h 2126"/>
                <a:gd name="T14" fmla="*/ 2592 w 2596"/>
                <a:gd name="T15" fmla="*/ 92 h 2126"/>
                <a:gd name="T16" fmla="*/ 2596 w 2596"/>
                <a:gd name="T17" fmla="*/ 119 h 2126"/>
                <a:gd name="T18" fmla="*/ 2596 w 2596"/>
                <a:gd name="T19" fmla="*/ 2007 h 2126"/>
                <a:gd name="T20" fmla="*/ 2592 w 2596"/>
                <a:gd name="T21" fmla="*/ 2035 h 2126"/>
                <a:gd name="T22" fmla="*/ 2584 w 2596"/>
                <a:gd name="T23" fmla="*/ 2060 h 2126"/>
                <a:gd name="T24" fmla="*/ 2569 w 2596"/>
                <a:gd name="T25" fmla="*/ 2082 h 2126"/>
                <a:gd name="T26" fmla="*/ 2551 w 2596"/>
                <a:gd name="T27" fmla="*/ 2100 h 2126"/>
                <a:gd name="T28" fmla="*/ 2528 w 2596"/>
                <a:gd name="T29" fmla="*/ 2114 h 2126"/>
                <a:gd name="T30" fmla="*/ 2504 w 2596"/>
                <a:gd name="T31" fmla="*/ 2123 h 2126"/>
                <a:gd name="T32" fmla="*/ 2476 w 2596"/>
                <a:gd name="T33" fmla="*/ 2126 h 2126"/>
                <a:gd name="T34" fmla="*/ 120 w 2596"/>
                <a:gd name="T35" fmla="*/ 2126 h 2126"/>
                <a:gd name="T36" fmla="*/ 92 w 2596"/>
                <a:gd name="T37" fmla="*/ 2123 h 2126"/>
                <a:gd name="T38" fmla="*/ 67 w 2596"/>
                <a:gd name="T39" fmla="*/ 2114 h 2126"/>
                <a:gd name="T40" fmla="*/ 45 w 2596"/>
                <a:gd name="T41" fmla="*/ 2100 h 2126"/>
                <a:gd name="T42" fmla="*/ 25 w 2596"/>
                <a:gd name="T43" fmla="*/ 2082 h 2126"/>
                <a:gd name="T44" fmla="*/ 12 w 2596"/>
                <a:gd name="T45" fmla="*/ 2060 h 2126"/>
                <a:gd name="T46" fmla="*/ 2 w 2596"/>
                <a:gd name="T47" fmla="*/ 2035 h 2126"/>
                <a:gd name="T48" fmla="*/ 0 w 2596"/>
                <a:gd name="T49" fmla="*/ 2007 h 2126"/>
                <a:gd name="T50" fmla="*/ 0 w 2596"/>
                <a:gd name="T51" fmla="*/ 119 h 2126"/>
                <a:gd name="T52" fmla="*/ 2 w 2596"/>
                <a:gd name="T53" fmla="*/ 92 h 2126"/>
                <a:gd name="T54" fmla="*/ 12 w 2596"/>
                <a:gd name="T55" fmla="*/ 67 h 2126"/>
                <a:gd name="T56" fmla="*/ 25 w 2596"/>
                <a:gd name="T57" fmla="*/ 44 h 2126"/>
                <a:gd name="T58" fmla="*/ 45 w 2596"/>
                <a:gd name="T59" fmla="*/ 26 h 2126"/>
                <a:gd name="T60" fmla="*/ 67 w 2596"/>
                <a:gd name="T61" fmla="*/ 12 h 2126"/>
                <a:gd name="T62" fmla="*/ 92 w 2596"/>
                <a:gd name="T63" fmla="*/ 3 h 2126"/>
                <a:gd name="T64" fmla="*/ 120 w 2596"/>
                <a:gd name="T65" fmla="*/ 0 h 2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6" h="2126">
                  <a:moveTo>
                    <a:pt x="120" y="0"/>
                  </a:moveTo>
                  <a:lnTo>
                    <a:pt x="2476" y="0"/>
                  </a:lnTo>
                  <a:lnTo>
                    <a:pt x="2504" y="3"/>
                  </a:lnTo>
                  <a:lnTo>
                    <a:pt x="2528" y="12"/>
                  </a:lnTo>
                  <a:lnTo>
                    <a:pt x="2551" y="26"/>
                  </a:lnTo>
                  <a:lnTo>
                    <a:pt x="2569" y="44"/>
                  </a:lnTo>
                  <a:lnTo>
                    <a:pt x="2584" y="67"/>
                  </a:lnTo>
                  <a:lnTo>
                    <a:pt x="2592" y="92"/>
                  </a:lnTo>
                  <a:lnTo>
                    <a:pt x="2596" y="119"/>
                  </a:lnTo>
                  <a:lnTo>
                    <a:pt x="2596" y="2007"/>
                  </a:lnTo>
                  <a:lnTo>
                    <a:pt x="2592" y="2035"/>
                  </a:lnTo>
                  <a:lnTo>
                    <a:pt x="2584" y="2060"/>
                  </a:lnTo>
                  <a:lnTo>
                    <a:pt x="2569" y="2082"/>
                  </a:lnTo>
                  <a:lnTo>
                    <a:pt x="2551" y="2100"/>
                  </a:lnTo>
                  <a:lnTo>
                    <a:pt x="2528" y="2114"/>
                  </a:lnTo>
                  <a:lnTo>
                    <a:pt x="2504" y="2123"/>
                  </a:lnTo>
                  <a:lnTo>
                    <a:pt x="2476" y="2126"/>
                  </a:lnTo>
                  <a:lnTo>
                    <a:pt x="120" y="2126"/>
                  </a:lnTo>
                  <a:lnTo>
                    <a:pt x="92" y="2123"/>
                  </a:lnTo>
                  <a:lnTo>
                    <a:pt x="67" y="2114"/>
                  </a:lnTo>
                  <a:lnTo>
                    <a:pt x="45" y="2100"/>
                  </a:lnTo>
                  <a:lnTo>
                    <a:pt x="25" y="2082"/>
                  </a:lnTo>
                  <a:lnTo>
                    <a:pt x="12" y="2060"/>
                  </a:lnTo>
                  <a:lnTo>
                    <a:pt x="2" y="2035"/>
                  </a:lnTo>
                  <a:lnTo>
                    <a:pt x="0" y="2007"/>
                  </a:lnTo>
                  <a:lnTo>
                    <a:pt x="0" y="119"/>
                  </a:lnTo>
                  <a:lnTo>
                    <a:pt x="2" y="92"/>
                  </a:lnTo>
                  <a:lnTo>
                    <a:pt x="12" y="67"/>
                  </a:lnTo>
                  <a:lnTo>
                    <a:pt x="25" y="44"/>
                  </a:lnTo>
                  <a:lnTo>
                    <a:pt x="45" y="26"/>
                  </a:lnTo>
                  <a:lnTo>
                    <a:pt x="67" y="12"/>
                  </a:lnTo>
                  <a:lnTo>
                    <a:pt x="92" y="3"/>
                  </a:lnTo>
                  <a:lnTo>
                    <a:pt x="120" y="0"/>
                  </a:lnTo>
                  <a:close/>
                </a:path>
              </a:pathLst>
            </a:custGeom>
            <a:no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ysClr val="windowText" lastClr="000000"/>
                </a:solidFill>
                <a:effectLst/>
                <a:uLnTx/>
                <a:uFillTx/>
                <a:latin typeface="Arial"/>
                <a:ea typeface="ＭＳ Ｐゴシック"/>
              </a:endParaRPr>
            </a:p>
          </p:txBody>
        </p:sp>
        <p:sp>
          <p:nvSpPr>
            <p:cNvPr id="278" name="Freeform 277"/>
            <p:cNvSpPr>
              <a:spLocks noEditPoints="1"/>
            </p:cNvSpPr>
            <p:nvPr/>
          </p:nvSpPr>
          <p:spPr bwMode="auto">
            <a:xfrm>
              <a:off x="9739730" y="3845876"/>
              <a:ext cx="390046" cy="208104"/>
            </a:xfrm>
            <a:custGeom>
              <a:avLst/>
              <a:gdLst>
                <a:gd name="T0" fmla="*/ 664 w 1638"/>
                <a:gd name="T1" fmla="*/ 663 h 872"/>
                <a:gd name="T2" fmla="*/ 0 w 1638"/>
                <a:gd name="T3" fmla="*/ 782 h 872"/>
                <a:gd name="T4" fmla="*/ 0 w 1638"/>
                <a:gd name="T5" fmla="*/ 361 h 872"/>
                <a:gd name="T6" fmla="*/ 664 w 1638"/>
                <a:gd name="T7" fmla="*/ 480 h 872"/>
                <a:gd name="T8" fmla="*/ 0 w 1638"/>
                <a:gd name="T9" fmla="*/ 361 h 872"/>
                <a:gd name="T10" fmla="*/ 1638 w 1638"/>
                <a:gd name="T11" fmla="*/ 761 h 872"/>
                <a:gd name="T12" fmla="*/ 1592 w 1638"/>
                <a:gd name="T13" fmla="*/ 802 h 872"/>
                <a:gd name="T14" fmla="*/ 1530 w 1638"/>
                <a:gd name="T15" fmla="*/ 833 h 872"/>
                <a:gd name="T16" fmla="*/ 1456 w 1638"/>
                <a:gd name="T17" fmla="*/ 853 h 872"/>
                <a:gd name="T18" fmla="*/ 1378 w 1638"/>
                <a:gd name="T19" fmla="*/ 865 h 872"/>
                <a:gd name="T20" fmla="*/ 1305 w 1638"/>
                <a:gd name="T21" fmla="*/ 870 h 872"/>
                <a:gd name="T22" fmla="*/ 1239 w 1638"/>
                <a:gd name="T23" fmla="*/ 872 h 872"/>
                <a:gd name="T24" fmla="*/ 1175 w 1638"/>
                <a:gd name="T25" fmla="*/ 870 h 872"/>
                <a:gd name="T26" fmla="*/ 1101 w 1638"/>
                <a:gd name="T27" fmla="*/ 865 h 872"/>
                <a:gd name="T28" fmla="*/ 1024 w 1638"/>
                <a:gd name="T29" fmla="*/ 853 h 872"/>
                <a:gd name="T30" fmla="*/ 950 w 1638"/>
                <a:gd name="T31" fmla="*/ 833 h 872"/>
                <a:gd name="T32" fmla="*/ 887 w 1638"/>
                <a:gd name="T33" fmla="*/ 802 h 872"/>
                <a:gd name="T34" fmla="*/ 840 w 1638"/>
                <a:gd name="T35" fmla="*/ 761 h 872"/>
                <a:gd name="T36" fmla="*/ 873 w 1638"/>
                <a:gd name="T37" fmla="*/ 309 h 872"/>
                <a:gd name="T38" fmla="*/ 953 w 1638"/>
                <a:gd name="T39" fmla="*/ 339 h 872"/>
                <a:gd name="T40" fmla="*/ 1046 w 1638"/>
                <a:gd name="T41" fmla="*/ 359 h 872"/>
                <a:gd name="T42" fmla="*/ 1144 w 1638"/>
                <a:gd name="T43" fmla="*/ 371 h 872"/>
                <a:gd name="T44" fmla="*/ 1239 w 1638"/>
                <a:gd name="T45" fmla="*/ 373 h 872"/>
                <a:gd name="T46" fmla="*/ 1336 w 1638"/>
                <a:gd name="T47" fmla="*/ 371 h 872"/>
                <a:gd name="T48" fmla="*/ 1434 w 1638"/>
                <a:gd name="T49" fmla="*/ 359 h 872"/>
                <a:gd name="T50" fmla="*/ 1526 w 1638"/>
                <a:gd name="T51" fmla="*/ 339 h 872"/>
                <a:gd name="T52" fmla="*/ 1606 w 1638"/>
                <a:gd name="T53" fmla="*/ 309 h 872"/>
                <a:gd name="T54" fmla="*/ 0 w 1638"/>
                <a:gd name="T55" fmla="*/ 59 h 872"/>
                <a:gd name="T56" fmla="*/ 664 w 1638"/>
                <a:gd name="T57" fmla="*/ 177 h 872"/>
                <a:gd name="T58" fmla="*/ 0 w 1638"/>
                <a:gd name="T59" fmla="*/ 59 h 872"/>
                <a:gd name="T60" fmla="*/ 1299 w 1638"/>
                <a:gd name="T61" fmla="*/ 1 h 872"/>
                <a:gd name="T62" fmla="*/ 1407 w 1638"/>
                <a:gd name="T63" fmla="*/ 12 h 872"/>
                <a:gd name="T64" fmla="*/ 1502 w 1638"/>
                <a:gd name="T65" fmla="*/ 30 h 872"/>
                <a:gd name="T66" fmla="*/ 1574 w 1638"/>
                <a:gd name="T67" fmla="*/ 56 h 872"/>
                <a:gd name="T68" fmla="*/ 1621 w 1638"/>
                <a:gd name="T69" fmla="*/ 88 h 872"/>
                <a:gd name="T70" fmla="*/ 1638 w 1638"/>
                <a:gd name="T71" fmla="*/ 123 h 872"/>
                <a:gd name="T72" fmla="*/ 1621 w 1638"/>
                <a:gd name="T73" fmla="*/ 158 h 872"/>
                <a:gd name="T74" fmla="*/ 1574 w 1638"/>
                <a:gd name="T75" fmla="*/ 189 h 872"/>
                <a:gd name="T76" fmla="*/ 1502 w 1638"/>
                <a:gd name="T77" fmla="*/ 216 h 872"/>
                <a:gd name="T78" fmla="*/ 1407 w 1638"/>
                <a:gd name="T79" fmla="*/ 234 h 872"/>
                <a:gd name="T80" fmla="*/ 1299 w 1638"/>
                <a:gd name="T81" fmla="*/ 245 h 872"/>
                <a:gd name="T82" fmla="*/ 1180 w 1638"/>
                <a:gd name="T83" fmla="*/ 245 h 872"/>
                <a:gd name="T84" fmla="*/ 1071 w 1638"/>
                <a:gd name="T85" fmla="*/ 234 h 872"/>
                <a:gd name="T86" fmla="*/ 978 w 1638"/>
                <a:gd name="T87" fmla="*/ 216 h 872"/>
                <a:gd name="T88" fmla="*/ 904 w 1638"/>
                <a:gd name="T89" fmla="*/ 189 h 872"/>
                <a:gd name="T90" fmla="*/ 857 w 1638"/>
                <a:gd name="T91" fmla="*/ 158 h 872"/>
                <a:gd name="T92" fmla="*/ 840 w 1638"/>
                <a:gd name="T93" fmla="*/ 123 h 872"/>
                <a:gd name="T94" fmla="*/ 857 w 1638"/>
                <a:gd name="T95" fmla="*/ 88 h 872"/>
                <a:gd name="T96" fmla="*/ 904 w 1638"/>
                <a:gd name="T97" fmla="*/ 56 h 872"/>
                <a:gd name="T98" fmla="*/ 978 w 1638"/>
                <a:gd name="T99" fmla="*/ 30 h 872"/>
                <a:gd name="T100" fmla="*/ 1071 w 1638"/>
                <a:gd name="T101" fmla="*/ 12 h 872"/>
                <a:gd name="T102" fmla="*/ 1180 w 1638"/>
                <a:gd name="T103" fmla="*/ 1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38" h="872">
                  <a:moveTo>
                    <a:pt x="0" y="663"/>
                  </a:moveTo>
                  <a:lnTo>
                    <a:pt x="664" y="663"/>
                  </a:lnTo>
                  <a:lnTo>
                    <a:pt x="664" y="782"/>
                  </a:lnTo>
                  <a:lnTo>
                    <a:pt x="0" y="782"/>
                  </a:lnTo>
                  <a:lnTo>
                    <a:pt x="0" y="663"/>
                  </a:lnTo>
                  <a:close/>
                  <a:moveTo>
                    <a:pt x="0" y="361"/>
                  </a:moveTo>
                  <a:lnTo>
                    <a:pt x="664" y="361"/>
                  </a:lnTo>
                  <a:lnTo>
                    <a:pt x="664" y="480"/>
                  </a:lnTo>
                  <a:lnTo>
                    <a:pt x="0" y="480"/>
                  </a:lnTo>
                  <a:lnTo>
                    <a:pt x="0" y="361"/>
                  </a:lnTo>
                  <a:close/>
                  <a:moveTo>
                    <a:pt x="1638" y="291"/>
                  </a:moveTo>
                  <a:lnTo>
                    <a:pt x="1638" y="761"/>
                  </a:lnTo>
                  <a:lnTo>
                    <a:pt x="1618" y="783"/>
                  </a:lnTo>
                  <a:lnTo>
                    <a:pt x="1592" y="802"/>
                  </a:lnTo>
                  <a:lnTo>
                    <a:pt x="1562" y="819"/>
                  </a:lnTo>
                  <a:lnTo>
                    <a:pt x="1530" y="833"/>
                  </a:lnTo>
                  <a:lnTo>
                    <a:pt x="1493" y="843"/>
                  </a:lnTo>
                  <a:lnTo>
                    <a:pt x="1456" y="853"/>
                  </a:lnTo>
                  <a:lnTo>
                    <a:pt x="1417" y="859"/>
                  </a:lnTo>
                  <a:lnTo>
                    <a:pt x="1378" y="865"/>
                  </a:lnTo>
                  <a:lnTo>
                    <a:pt x="1341" y="868"/>
                  </a:lnTo>
                  <a:lnTo>
                    <a:pt x="1305" y="870"/>
                  </a:lnTo>
                  <a:lnTo>
                    <a:pt x="1271" y="871"/>
                  </a:lnTo>
                  <a:lnTo>
                    <a:pt x="1239" y="872"/>
                  </a:lnTo>
                  <a:lnTo>
                    <a:pt x="1209" y="871"/>
                  </a:lnTo>
                  <a:lnTo>
                    <a:pt x="1175" y="870"/>
                  </a:lnTo>
                  <a:lnTo>
                    <a:pt x="1139" y="868"/>
                  </a:lnTo>
                  <a:lnTo>
                    <a:pt x="1101" y="865"/>
                  </a:lnTo>
                  <a:lnTo>
                    <a:pt x="1063" y="859"/>
                  </a:lnTo>
                  <a:lnTo>
                    <a:pt x="1024" y="853"/>
                  </a:lnTo>
                  <a:lnTo>
                    <a:pt x="987" y="843"/>
                  </a:lnTo>
                  <a:lnTo>
                    <a:pt x="950" y="833"/>
                  </a:lnTo>
                  <a:lnTo>
                    <a:pt x="916" y="819"/>
                  </a:lnTo>
                  <a:lnTo>
                    <a:pt x="887" y="802"/>
                  </a:lnTo>
                  <a:lnTo>
                    <a:pt x="861" y="784"/>
                  </a:lnTo>
                  <a:lnTo>
                    <a:pt x="840" y="761"/>
                  </a:lnTo>
                  <a:lnTo>
                    <a:pt x="840" y="291"/>
                  </a:lnTo>
                  <a:lnTo>
                    <a:pt x="873" y="309"/>
                  </a:lnTo>
                  <a:lnTo>
                    <a:pt x="912" y="326"/>
                  </a:lnTo>
                  <a:lnTo>
                    <a:pt x="953" y="339"/>
                  </a:lnTo>
                  <a:lnTo>
                    <a:pt x="999" y="350"/>
                  </a:lnTo>
                  <a:lnTo>
                    <a:pt x="1046" y="359"/>
                  </a:lnTo>
                  <a:lnTo>
                    <a:pt x="1094" y="366"/>
                  </a:lnTo>
                  <a:lnTo>
                    <a:pt x="1144" y="371"/>
                  </a:lnTo>
                  <a:lnTo>
                    <a:pt x="1192" y="373"/>
                  </a:lnTo>
                  <a:lnTo>
                    <a:pt x="1239" y="373"/>
                  </a:lnTo>
                  <a:lnTo>
                    <a:pt x="1286" y="373"/>
                  </a:lnTo>
                  <a:lnTo>
                    <a:pt x="1336" y="371"/>
                  </a:lnTo>
                  <a:lnTo>
                    <a:pt x="1384" y="366"/>
                  </a:lnTo>
                  <a:lnTo>
                    <a:pt x="1434" y="359"/>
                  </a:lnTo>
                  <a:lnTo>
                    <a:pt x="1481" y="350"/>
                  </a:lnTo>
                  <a:lnTo>
                    <a:pt x="1526" y="339"/>
                  </a:lnTo>
                  <a:lnTo>
                    <a:pt x="1568" y="326"/>
                  </a:lnTo>
                  <a:lnTo>
                    <a:pt x="1606" y="309"/>
                  </a:lnTo>
                  <a:lnTo>
                    <a:pt x="1638" y="291"/>
                  </a:lnTo>
                  <a:close/>
                  <a:moveTo>
                    <a:pt x="0" y="59"/>
                  </a:moveTo>
                  <a:lnTo>
                    <a:pt x="664" y="59"/>
                  </a:lnTo>
                  <a:lnTo>
                    <a:pt x="664" y="177"/>
                  </a:lnTo>
                  <a:lnTo>
                    <a:pt x="0" y="177"/>
                  </a:lnTo>
                  <a:lnTo>
                    <a:pt x="0" y="59"/>
                  </a:lnTo>
                  <a:close/>
                  <a:moveTo>
                    <a:pt x="1239" y="0"/>
                  </a:moveTo>
                  <a:lnTo>
                    <a:pt x="1299" y="1"/>
                  </a:lnTo>
                  <a:lnTo>
                    <a:pt x="1355" y="6"/>
                  </a:lnTo>
                  <a:lnTo>
                    <a:pt x="1407" y="12"/>
                  </a:lnTo>
                  <a:lnTo>
                    <a:pt x="1457" y="20"/>
                  </a:lnTo>
                  <a:lnTo>
                    <a:pt x="1502" y="30"/>
                  </a:lnTo>
                  <a:lnTo>
                    <a:pt x="1540" y="42"/>
                  </a:lnTo>
                  <a:lnTo>
                    <a:pt x="1574" y="56"/>
                  </a:lnTo>
                  <a:lnTo>
                    <a:pt x="1602" y="71"/>
                  </a:lnTo>
                  <a:lnTo>
                    <a:pt x="1621" y="88"/>
                  </a:lnTo>
                  <a:lnTo>
                    <a:pt x="1635" y="105"/>
                  </a:lnTo>
                  <a:lnTo>
                    <a:pt x="1638" y="123"/>
                  </a:lnTo>
                  <a:lnTo>
                    <a:pt x="1635" y="141"/>
                  </a:lnTo>
                  <a:lnTo>
                    <a:pt x="1621" y="158"/>
                  </a:lnTo>
                  <a:lnTo>
                    <a:pt x="1602" y="175"/>
                  </a:lnTo>
                  <a:lnTo>
                    <a:pt x="1574" y="189"/>
                  </a:lnTo>
                  <a:lnTo>
                    <a:pt x="1540" y="204"/>
                  </a:lnTo>
                  <a:lnTo>
                    <a:pt x="1502" y="216"/>
                  </a:lnTo>
                  <a:lnTo>
                    <a:pt x="1457" y="226"/>
                  </a:lnTo>
                  <a:lnTo>
                    <a:pt x="1407" y="234"/>
                  </a:lnTo>
                  <a:lnTo>
                    <a:pt x="1355" y="240"/>
                  </a:lnTo>
                  <a:lnTo>
                    <a:pt x="1299" y="245"/>
                  </a:lnTo>
                  <a:lnTo>
                    <a:pt x="1239" y="246"/>
                  </a:lnTo>
                  <a:lnTo>
                    <a:pt x="1180" y="245"/>
                  </a:lnTo>
                  <a:lnTo>
                    <a:pt x="1124" y="240"/>
                  </a:lnTo>
                  <a:lnTo>
                    <a:pt x="1071" y="234"/>
                  </a:lnTo>
                  <a:lnTo>
                    <a:pt x="1023" y="226"/>
                  </a:lnTo>
                  <a:lnTo>
                    <a:pt x="978" y="216"/>
                  </a:lnTo>
                  <a:lnTo>
                    <a:pt x="938" y="204"/>
                  </a:lnTo>
                  <a:lnTo>
                    <a:pt x="904" y="189"/>
                  </a:lnTo>
                  <a:lnTo>
                    <a:pt x="878" y="175"/>
                  </a:lnTo>
                  <a:lnTo>
                    <a:pt x="857" y="158"/>
                  </a:lnTo>
                  <a:lnTo>
                    <a:pt x="845" y="141"/>
                  </a:lnTo>
                  <a:lnTo>
                    <a:pt x="840" y="123"/>
                  </a:lnTo>
                  <a:lnTo>
                    <a:pt x="845" y="105"/>
                  </a:lnTo>
                  <a:lnTo>
                    <a:pt x="857" y="88"/>
                  </a:lnTo>
                  <a:lnTo>
                    <a:pt x="878" y="71"/>
                  </a:lnTo>
                  <a:lnTo>
                    <a:pt x="904" y="56"/>
                  </a:lnTo>
                  <a:lnTo>
                    <a:pt x="938" y="42"/>
                  </a:lnTo>
                  <a:lnTo>
                    <a:pt x="978" y="30"/>
                  </a:lnTo>
                  <a:lnTo>
                    <a:pt x="1023" y="20"/>
                  </a:lnTo>
                  <a:lnTo>
                    <a:pt x="1071" y="12"/>
                  </a:lnTo>
                  <a:lnTo>
                    <a:pt x="1124" y="6"/>
                  </a:lnTo>
                  <a:lnTo>
                    <a:pt x="1180" y="1"/>
                  </a:lnTo>
                  <a:lnTo>
                    <a:pt x="1239" y="0"/>
                  </a:lnTo>
                  <a:close/>
                </a:path>
              </a:pathLst>
            </a:custGeom>
            <a:solidFill>
              <a:srgbClr val="FABE3C"/>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ysClr val="windowText" lastClr="000000"/>
                </a:solidFill>
                <a:effectLst/>
                <a:uLnTx/>
                <a:uFillTx/>
                <a:latin typeface="Arial"/>
                <a:ea typeface="ＭＳ Ｐゴシック"/>
              </a:endParaRPr>
            </a:p>
          </p:txBody>
        </p:sp>
        <p:sp>
          <p:nvSpPr>
            <p:cNvPr id="279" name="Freeform 278"/>
            <p:cNvSpPr>
              <a:spLocks noEditPoints="1"/>
            </p:cNvSpPr>
            <p:nvPr/>
          </p:nvSpPr>
          <p:spPr bwMode="auto">
            <a:xfrm>
              <a:off x="9650542" y="3731716"/>
              <a:ext cx="560097" cy="449505"/>
            </a:xfrm>
            <a:custGeom>
              <a:avLst/>
              <a:gdLst>
                <a:gd name="T0" fmla="*/ 174 w 2356"/>
                <a:gd name="T1" fmla="*/ 174 h 1888"/>
                <a:gd name="T2" fmla="*/ 174 w 2356"/>
                <a:gd name="T3" fmla="*/ 1598 h 1888"/>
                <a:gd name="T4" fmla="*/ 2182 w 2356"/>
                <a:gd name="T5" fmla="*/ 1598 h 1888"/>
                <a:gd name="T6" fmla="*/ 2182 w 2356"/>
                <a:gd name="T7" fmla="*/ 174 h 1888"/>
                <a:gd name="T8" fmla="*/ 174 w 2356"/>
                <a:gd name="T9" fmla="*/ 174 h 1888"/>
                <a:gd name="T10" fmla="*/ 0 w 2356"/>
                <a:gd name="T11" fmla="*/ 0 h 1888"/>
                <a:gd name="T12" fmla="*/ 2356 w 2356"/>
                <a:gd name="T13" fmla="*/ 0 h 1888"/>
                <a:gd name="T14" fmla="*/ 2356 w 2356"/>
                <a:gd name="T15" fmla="*/ 1888 h 1888"/>
                <a:gd name="T16" fmla="*/ 0 w 2356"/>
                <a:gd name="T17" fmla="*/ 1888 h 1888"/>
                <a:gd name="T18" fmla="*/ 0 w 2356"/>
                <a:gd name="T19" fmla="*/ 0 h 1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6" h="1888">
                  <a:moveTo>
                    <a:pt x="174" y="174"/>
                  </a:moveTo>
                  <a:lnTo>
                    <a:pt x="174" y="1598"/>
                  </a:lnTo>
                  <a:lnTo>
                    <a:pt x="2182" y="1598"/>
                  </a:lnTo>
                  <a:lnTo>
                    <a:pt x="2182" y="174"/>
                  </a:lnTo>
                  <a:lnTo>
                    <a:pt x="174" y="174"/>
                  </a:lnTo>
                  <a:close/>
                  <a:moveTo>
                    <a:pt x="0" y="0"/>
                  </a:moveTo>
                  <a:lnTo>
                    <a:pt x="2356" y="0"/>
                  </a:lnTo>
                  <a:lnTo>
                    <a:pt x="2356" y="1888"/>
                  </a:lnTo>
                  <a:lnTo>
                    <a:pt x="0" y="1888"/>
                  </a:lnTo>
                  <a:lnTo>
                    <a:pt x="0" y="0"/>
                  </a:ln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ysClr val="windowText" lastClr="000000"/>
                </a:solidFill>
                <a:effectLst/>
                <a:uLnTx/>
                <a:uFillTx/>
                <a:latin typeface="Arial"/>
                <a:ea typeface="ＭＳ Ｐゴシック"/>
              </a:endParaRPr>
            </a:p>
          </p:txBody>
        </p:sp>
      </p:grpSp>
      <p:sp>
        <p:nvSpPr>
          <p:cNvPr id="245" name="TextBox 244"/>
          <p:cNvSpPr txBox="1"/>
          <p:nvPr/>
        </p:nvSpPr>
        <p:spPr>
          <a:xfrm>
            <a:off x="4932693" y="5677609"/>
            <a:ext cx="1001257" cy="294472"/>
          </a:xfrm>
          <a:prstGeom prst="rect">
            <a:avLst/>
          </a:prstGeom>
          <a:noFill/>
          <a:effectLst/>
        </p:spPr>
        <p:txBody>
          <a:bodyPr wrap="square" lIns="0" tIns="0" rIns="0" bIns="0" rtlCol="0" anchor="t">
            <a:noAutofit/>
          </a:bodyPr>
          <a:lstStyle/>
          <a:p>
            <a:pPr marL="0" marR="0" lvl="0" indent="0" algn="ctr" defTabSz="932597" rtl="0" eaLnBrk="0" fontAlgn="auto" latinLnBrk="0" hangingPunct="0">
              <a:lnSpc>
                <a:spcPct val="100000"/>
              </a:lnSpc>
              <a:spcBef>
                <a:spcPts val="0"/>
              </a:spcBef>
              <a:spcAft>
                <a:spcPts val="0"/>
              </a:spcAft>
              <a:buClrTx/>
              <a:buSzTx/>
              <a:buFontTx/>
              <a:buNone/>
              <a:tabLst/>
              <a:defRPr/>
            </a:pPr>
            <a:r>
              <a:rPr kumimoji="0" lang="en-US" sz="1632" b="1" i="0" u="none" strike="noStrike" kern="0" cap="none" spc="0" normalizeH="0" baseline="0" noProof="0" dirty="0">
                <a:ln>
                  <a:noFill/>
                </a:ln>
                <a:solidFill>
                  <a:srgbClr val="FFFFFF"/>
                </a:solidFill>
                <a:effectLst/>
                <a:uLnTx/>
                <a:uFillTx/>
                <a:latin typeface="Arial"/>
                <a:ea typeface="ＭＳ Ｐゴシック"/>
              </a:rPr>
              <a:t>Server</a:t>
            </a:r>
          </a:p>
        </p:txBody>
      </p:sp>
      <p:sp>
        <p:nvSpPr>
          <p:cNvPr id="246" name="TextBox 245"/>
          <p:cNvSpPr txBox="1"/>
          <p:nvPr/>
        </p:nvSpPr>
        <p:spPr>
          <a:xfrm>
            <a:off x="6019753" y="5677609"/>
            <a:ext cx="1699634" cy="506993"/>
          </a:xfrm>
          <a:prstGeom prst="rect">
            <a:avLst/>
          </a:prstGeom>
          <a:noFill/>
          <a:effectLst/>
        </p:spPr>
        <p:txBody>
          <a:bodyPr wrap="square" lIns="0" tIns="0" rIns="0" bIns="0" rtlCol="0" anchor="t">
            <a:noAutofit/>
          </a:bodyPr>
          <a:lstStyle/>
          <a:p>
            <a:pPr marL="0" marR="0" lvl="0" indent="0" algn="ctr" defTabSz="932597" rtl="0" eaLnBrk="0" fontAlgn="auto" latinLnBrk="0" hangingPunct="0">
              <a:lnSpc>
                <a:spcPct val="100000"/>
              </a:lnSpc>
              <a:spcBef>
                <a:spcPts val="0"/>
              </a:spcBef>
              <a:spcAft>
                <a:spcPts val="0"/>
              </a:spcAft>
              <a:buClrTx/>
              <a:buSzTx/>
              <a:buFontTx/>
              <a:buNone/>
              <a:tabLst/>
              <a:defRPr/>
            </a:pPr>
            <a:r>
              <a:rPr kumimoji="0" lang="en-US" sz="1632" b="1" i="0" u="none" strike="noStrike" kern="0" cap="none" spc="0" normalizeH="0" baseline="0" noProof="0" dirty="0">
                <a:ln>
                  <a:noFill/>
                </a:ln>
                <a:solidFill>
                  <a:srgbClr val="FFFFFF"/>
                </a:solidFill>
                <a:effectLst/>
                <a:uLnTx/>
                <a:uFillTx/>
                <a:latin typeface="Arial"/>
                <a:ea typeface="ＭＳ Ｐゴシック"/>
              </a:rPr>
              <a:t>Online Content and Services</a:t>
            </a:r>
          </a:p>
        </p:txBody>
      </p:sp>
      <p:sp>
        <p:nvSpPr>
          <p:cNvPr id="247" name="Rectangle 61"/>
          <p:cNvSpPr/>
          <p:nvPr/>
        </p:nvSpPr>
        <p:spPr bwMode="auto">
          <a:xfrm rot="10800000" flipH="1">
            <a:off x="5103961" y="4855709"/>
            <a:ext cx="2311709" cy="177382"/>
          </a:xfrm>
          <a:custGeom>
            <a:avLst/>
            <a:gdLst/>
            <a:ahLst/>
            <a:cxnLst/>
            <a:rect l="l" t="t" r="r" b="b"/>
            <a:pathLst>
              <a:path w="2264203" h="173737">
                <a:moveTo>
                  <a:pt x="79738" y="173737"/>
                </a:moveTo>
                <a:lnTo>
                  <a:pt x="869580" y="173737"/>
                </a:lnTo>
                <a:lnTo>
                  <a:pt x="869580" y="173736"/>
                </a:lnTo>
                <a:lnTo>
                  <a:pt x="1394624" y="173736"/>
                </a:lnTo>
                <a:lnTo>
                  <a:pt x="1394624" y="173737"/>
                </a:lnTo>
                <a:lnTo>
                  <a:pt x="2184465" y="173737"/>
                </a:lnTo>
                <a:cubicBezTo>
                  <a:pt x="2228503" y="173737"/>
                  <a:pt x="2264203" y="136958"/>
                  <a:pt x="2264203" y="91588"/>
                </a:cubicBezTo>
                <a:lnTo>
                  <a:pt x="2264203" y="0"/>
                </a:lnTo>
                <a:cubicBezTo>
                  <a:pt x="2264203" y="45370"/>
                  <a:pt x="2228503" y="82149"/>
                  <a:pt x="2184465" y="82149"/>
                </a:cubicBezTo>
                <a:lnTo>
                  <a:pt x="1394624" y="82149"/>
                </a:lnTo>
                <a:lnTo>
                  <a:pt x="1394624" y="82296"/>
                </a:lnTo>
                <a:lnTo>
                  <a:pt x="869580" y="82296"/>
                </a:lnTo>
                <a:lnTo>
                  <a:pt x="869580" y="82149"/>
                </a:lnTo>
                <a:lnTo>
                  <a:pt x="79738" y="82149"/>
                </a:lnTo>
                <a:cubicBezTo>
                  <a:pt x="35700" y="82149"/>
                  <a:pt x="0" y="45370"/>
                  <a:pt x="0" y="0"/>
                </a:cubicBezTo>
                <a:lnTo>
                  <a:pt x="0" y="91588"/>
                </a:lnTo>
                <a:cubicBezTo>
                  <a:pt x="0" y="136958"/>
                  <a:pt x="35700" y="173737"/>
                  <a:pt x="79738" y="173737"/>
                </a:cubicBezTo>
                <a:close/>
              </a:path>
            </a:pathLst>
          </a:custGeom>
          <a:solidFill>
            <a:srgbClr val="FABE3C"/>
          </a:solid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32597" rtl="0" eaLnBrk="0" fontAlgn="base" latinLnBrk="0" hangingPunct="0">
              <a:lnSpc>
                <a:spcPct val="100000"/>
              </a:lnSpc>
              <a:spcBef>
                <a:spcPct val="0"/>
              </a:spcBef>
              <a:spcAft>
                <a:spcPct val="0"/>
              </a:spcAft>
              <a:buClrTx/>
              <a:buSzTx/>
              <a:buFontTx/>
              <a:buNone/>
              <a:tabLst/>
              <a:defRPr/>
            </a:pPr>
            <a:endParaRPr kumimoji="0" lang="en-US" sz="1836" b="1" i="0" u="none" strike="noStrike" kern="0" cap="none" spc="0" normalizeH="0" baseline="0" noProof="0" dirty="0">
              <a:ln>
                <a:noFill/>
              </a:ln>
              <a:solidFill>
                <a:srgbClr val="FFFFFF"/>
              </a:solidFill>
              <a:effectLst/>
              <a:uLnTx/>
              <a:uFillTx/>
              <a:latin typeface="Arial"/>
              <a:ea typeface="ＭＳ Ｐゴシック" pitchFamily="16" charset="-128"/>
              <a:cs typeface="ＭＳ Ｐゴシック" pitchFamily="-97" charset="-128"/>
            </a:endParaRPr>
          </a:p>
        </p:txBody>
      </p:sp>
      <p:sp>
        <p:nvSpPr>
          <p:cNvPr id="248" name="Freeform 29"/>
          <p:cNvSpPr>
            <a:spLocks/>
          </p:cNvSpPr>
          <p:nvPr/>
        </p:nvSpPr>
        <p:spPr bwMode="auto">
          <a:xfrm>
            <a:off x="5267362" y="3033909"/>
            <a:ext cx="2181387" cy="1387058"/>
          </a:xfrm>
          <a:custGeom>
            <a:avLst/>
            <a:gdLst>
              <a:gd name="T0" fmla="*/ 1531 w 2706"/>
              <a:gd name="T1" fmla="*/ 4 h 1717"/>
              <a:gd name="T2" fmla="*/ 1651 w 2706"/>
              <a:gd name="T3" fmla="*/ 33 h 1717"/>
              <a:gd name="T4" fmla="*/ 1758 w 2706"/>
              <a:gd name="T5" fmla="*/ 85 h 1717"/>
              <a:gd name="T6" fmla="*/ 1851 w 2706"/>
              <a:gd name="T7" fmla="*/ 160 h 1717"/>
              <a:gd name="T8" fmla="*/ 1925 w 2706"/>
              <a:gd name="T9" fmla="*/ 253 h 1717"/>
              <a:gd name="T10" fmla="*/ 1978 w 2706"/>
              <a:gd name="T11" fmla="*/ 362 h 1717"/>
              <a:gd name="T12" fmla="*/ 2016 w 2706"/>
              <a:gd name="T13" fmla="*/ 419 h 1717"/>
              <a:gd name="T14" fmla="*/ 2126 w 2706"/>
              <a:gd name="T15" fmla="*/ 433 h 1717"/>
              <a:gd name="T16" fmla="*/ 2226 w 2706"/>
              <a:gd name="T17" fmla="*/ 472 h 1717"/>
              <a:gd name="T18" fmla="*/ 2313 w 2706"/>
              <a:gd name="T19" fmla="*/ 532 h 1717"/>
              <a:gd name="T20" fmla="*/ 2383 w 2706"/>
              <a:gd name="T21" fmla="*/ 611 h 1717"/>
              <a:gd name="T22" fmla="*/ 2434 w 2706"/>
              <a:gd name="T23" fmla="*/ 705 h 1717"/>
              <a:gd name="T24" fmla="*/ 2461 w 2706"/>
              <a:gd name="T25" fmla="*/ 812 h 1717"/>
              <a:gd name="T26" fmla="*/ 2461 w 2706"/>
              <a:gd name="T27" fmla="*/ 923 h 1717"/>
              <a:gd name="T28" fmla="*/ 2493 w 2706"/>
              <a:gd name="T29" fmla="*/ 994 h 1717"/>
              <a:gd name="T30" fmla="*/ 2572 w 2706"/>
              <a:gd name="T31" fmla="*/ 1045 h 1717"/>
              <a:gd name="T32" fmla="*/ 2635 w 2706"/>
              <a:gd name="T33" fmla="*/ 1113 h 1717"/>
              <a:gd name="T34" fmla="*/ 2680 w 2706"/>
              <a:gd name="T35" fmla="*/ 1194 h 1717"/>
              <a:gd name="T36" fmla="*/ 2704 w 2706"/>
              <a:gd name="T37" fmla="*/ 1287 h 1717"/>
              <a:gd name="T38" fmla="*/ 2703 w 2706"/>
              <a:gd name="T39" fmla="*/ 1387 h 1717"/>
              <a:gd name="T40" fmla="*/ 2677 w 2706"/>
              <a:gd name="T41" fmla="*/ 1484 h 1717"/>
              <a:gd name="T42" fmla="*/ 2628 w 2706"/>
              <a:gd name="T43" fmla="*/ 1568 h 1717"/>
              <a:gd name="T44" fmla="*/ 2559 w 2706"/>
              <a:gd name="T45" fmla="*/ 1637 h 1717"/>
              <a:gd name="T46" fmla="*/ 2474 w 2706"/>
              <a:gd name="T47" fmla="*/ 1687 h 1717"/>
              <a:gd name="T48" fmla="*/ 2377 w 2706"/>
              <a:gd name="T49" fmla="*/ 1714 h 1717"/>
              <a:gd name="T50" fmla="*/ 521 w 2706"/>
              <a:gd name="T51" fmla="*/ 1717 h 1717"/>
              <a:gd name="T52" fmla="*/ 402 w 2706"/>
              <a:gd name="T53" fmla="*/ 1704 h 1717"/>
              <a:gd name="T54" fmla="*/ 292 w 2706"/>
              <a:gd name="T55" fmla="*/ 1665 h 1717"/>
              <a:gd name="T56" fmla="*/ 195 w 2706"/>
              <a:gd name="T57" fmla="*/ 1604 h 1717"/>
              <a:gd name="T58" fmla="*/ 115 w 2706"/>
              <a:gd name="T59" fmla="*/ 1523 h 1717"/>
              <a:gd name="T60" fmla="*/ 54 w 2706"/>
              <a:gd name="T61" fmla="*/ 1426 h 1717"/>
              <a:gd name="T62" fmla="*/ 14 w 2706"/>
              <a:gd name="T63" fmla="*/ 1316 h 1717"/>
              <a:gd name="T64" fmla="*/ 0 w 2706"/>
              <a:gd name="T65" fmla="*/ 1196 h 1717"/>
              <a:gd name="T66" fmla="*/ 15 w 2706"/>
              <a:gd name="T67" fmla="*/ 1075 h 1717"/>
              <a:gd name="T68" fmla="*/ 55 w 2706"/>
              <a:gd name="T69" fmla="*/ 964 h 1717"/>
              <a:gd name="T70" fmla="*/ 119 w 2706"/>
              <a:gd name="T71" fmla="*/ 866 h 1717"/>
              <a:gd name="T72" fmla="*/ 202 w 2706"/>
              <a:gd name="T73" fmla="*/ 785 h 1717"/>
              <a:gd name="T74" fmla="*/ 301 w 2706"/>
              <a:gd name="T75" fmla="*/ 723 h 1717"/>
              <a:gd name="T76" fmla="*/ 414 w 2706"/>
              <a:gd name="T77" fmla="*/ 686 h 1717"/>
              <a:gd name="T78" fmla="*/ 415 w 2706"/>
              <a:gd name="T79" fmla="*/ 585 h 1717"/>
              <a:gd name="T80" fmla="*/ 442 w 2706"/>
              <a:gd name="T81" fmla="*/ 480 h 1717"/>
              <a:gd name="T82" fmla="*/ 491 w 2706"/>
              <a:gd name="T83" fmla="*/ 387 h 1717"/>
              <a:gd name="T84" fmla="*/ 561 w 2706"/>
              <a:gd name="T85" fmla="*/ 309 h 1717"/>
              <a:gd name="T86" fmla="*/ 648 w 2706"/>
              <a:gd name="T87" fmla="*/ 249 h 1717"/>
              <a:gd name="T88" fmla="*/ 748 w 2706"/>
              <a:gd name="T89" fmla="*/ 211 h 1717"/>
              <a:gd name="T90" fmla="*/ 858 w 2706"/>
              <a:gd name="T91" fmla="*/ 196 h 1717"/>
              <a:gd name="T92" fmla="*/ 945 w 2706"/>
              <a:gd name="T93" fmla="*/ 206 h 1717"/>
              <a:gd name="T94" fmla="*/ 1026 w 2706"/>
              <a:gd name="T95" fmla="*/ 230 h 1717"/>
              <a:gd name="T96" fmla="*/ 1101 w 2706"/>
              <a:gd name="T97" fmla="*/ 145 h 1717"/>
              <a:gd name="T98" fmla="*/ 1190 w 2706"/>
              <a:gd name="T99" fmla="*/ 78 h 1717"/>
              <a:gd name="T100" fmla="*/ 1294 w 2706"/>
              <a:gd name="T101" fmla="*/ 29 h 1717"/>
              <a:gd name="T102" fmla="*/ 1408 w 2706"/>
              <a:gd name="T103" fmla="*/ 4 h 1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06" h="1717">
                <a:moveTo>
                  <a:pt x="1468" y="0"/>
                </a:moveTo>
                <a:lnTo>
                  <a:pt x="1531" y="4"/>
                </a:lnTo>
                <a:lnTo>
                  <a:pt x="1593" y="15"/>
                </a:lnTo>
                <a:lnTo>
                  <a:pt x="1651" y="33"/>
                </a:lnTo>
                <a:lnTo>
                  <a:pt x="1706" y="56"/>
                </a:lnTo>
                <a:lnTo>
                  <a:pt x="1758" y="85"/>
                </a:lnTo>
                <a:lnTo>
                  <a:pt x="1807" y="120"/>
                </a:lnTo>
                <a:lnTo>
                  <a:pt x="1851" y="160"/>
                </a:lnTo>
                <a:lnTo>
                  <a:pt x="1891" y="205"/>
                </a:lnTo>
                <a:lnTo>
                  <a:pt x="1925" y="253"/>
                </a:lnTo>
                <a:lnTo>
                  <a:pt x="1954" y="306"/>
                </a:lnTo>
                <a:lnTo>
                  <a:pt x="1978" y="362"/>
                </a:lnTo>
                <a:lnTo>
                  <a:pt x="1995" y="420"/>
                </a:lnTo>
                <a:lnTo>
                  <a:pt x="2016" y="419"/>
                </a:lnTo>
                <a:lnTo>
                  <a:pt x="2071" y="422"/>
                </a:lnTo>
                <a:lnTo>
                  <a:pt x="2126" y="433"/>
                </a:lnTo>
                <a:lnTo>
                  <a:pt x="2178" y="449"/>
                </a:lnTo>
                <a:lnTo>
                  <a:pt x="2226" y="472"/>
                </a:lnTo>
                <a:lnTo>
                  <a:pt x="2272" y="500"/>
                </a:lnTo>
                <a:lnTo>
                  <a:pt x="2313" y="532"/>
                </a:lnTo>
                <a:lnTo>
                  <a:pt x="2351" y="570"/>
                </a:lnTo>
                <a:lnTo>
                  <a:pt x="2383" y="611"/>
                </a:lnTo>
                <a:lnTo>
                  <a:pt x="2411" y="657"/>
                </a:lnTo>
                <a:lnTo>
                  <a:pt x="2434" y="705"/>
                </a:lnTo>
                <a:lnTo>
                  <a:pt x="2450" y="757"/>
                </a:lnTo>
                <a:lnTo>
                  <a:pt x="2461" y="812"/>
                </a:lnTo>
                <a:lnTo>
                  <a:pt x="2464" y="867"/>
                </a:lnTo>
                <a:lnTo>
                  <a:pt x="2461" y="923"/>
                </a:lnTo>
                <a:lnTo>
                  <a:pt x="2450" y="976"/>
                </a:lnTo>
                <a:lnTo>
                  <a:pt x="2493" y="994"/>
                </a:lnTo>
                <a:lnTo>
                  <a:pt x="2535" y="1017"/>
                </a:lnTo>
                <a:lnTo>
                  <a:pt x="2572" y="1045"/>
                </a:lnTo>
                <a:lnTo>
                  <a:pt x="2605" y="1076"/>
                </a:lnTo>
                <a:lnTo>
                  <a:pt x="2635" y="1113"/>
                </a:lnTo>
                <a:lnTo>
                  <a:pt x="2659" y="1151"/>
                </a:lnTo>
                <a:lnTo>
                  <a:pt x="2680" y="1194"/>
                </a:lnTo>
                <a:lnTo>
                  <a:pt x="2694" y="1240"/>
                </a:lnTo>
                <a:lnTo>
                  <a:pt x="2704" y="1287"/>
                </a:lnTo>
                <a:lnTo>
                  <a:pt x="2706" y="1336"/>
                </a:lnTo>
                <a:lnTo>
                  <a:pt x="2703" y="1387"/>
                </a:lnTo>
                <a:lnTo>
                  <a:pt x="2693" y="1437"/>
                </a:lnTo>
                <a:lnTo>
                  <a:pt x="2677" y="1484"/>
                </a:lnTo>
                <a:lnTo>
                  <a:pt x="2654" y="1529"/>
                </a:lnTo>
                <a:lnTo>
                  <a:pt x="2628" y="1568"/>
                </a:lnTo>
                <a:lnTo>
                  <a:pt x="2595" y="1606"/>
                </a:lnTo>
                <a:lnTo>
                  <a:pt x="2559" y="1637"/>
                </a:lnTo>
                <a:lnTo>
                  <a:pt x="2518" y="1665"/>
                </a:lnTo>
                <a:lnTo>
                  <a:pt x="2474" y="1687"/>
                </a:lnTo>
                <a:lnTo>
                  <a:pt x="2427" y="1704"/>
                </a:lnTo>
                <a:lnTo>
                  <a:pt x="2377" y="1714"/>
                </a:lnTo>
                <a:lnTo>
                  <a:pt x="2325" y="1717"/>
                </a:lnTo>
                <a:lnTo>
                  <a:pt x="521" y="1717"/>
                </a:lnTo>
                <a:lnTo>
                  <a:pt x="461" y="1714"/>
                </a:lnTo>
                <a:lnTo>
                  <a:pt x="402" y="1704"/>
                </a:lnTo>
                <a:lnTo>
                  <a:pt x="346" y="1687"/>
                </a:lnTo>
                <a:lnTo>
                  <a:pt x="292" y="1665"/>
                </a:lnTo>
                <a:lnTo>
                  <a:pt x="242" y="1636"/>
                </a:lnTo>
                <a:lnTo>
                  <a:pt x="195" y="1604"/>
                </a:lnTo>
                <a:lnTo>
                  <a:pt x="153" y="1565"/>
                </a:lnTo>
                <a:lnTo>
                  <a:pt x="115" y="1523"/>
                </a:lnTo>
                <a:lnTo>
                  <a:pt x="81" y="1475"/>
                </a:lnTo>
                <a:lnTo>
                  <a:pt x="54" y="1426"/>
                </a:lnTo>
                <a:lnTo>
                  <a:pt x="31" y="1373"/>
                </a:lnTo>
                <a:lnTo>
                  <a:pt x="14" y="1316"/>
                </a:lnTo>
                <a:lnTo>
                  <a:pt x="4" y="1257"/>
                </a:lnTo>
                <a:lnTo>
                  <a:pt x="0" y="1196"/>
                </a:lnTo>
                <a:lnTo>
                  <a:pt x="4" y="1134"/>
                </a:lnTo>
                <a:lnTo>
                  <a:pt x="15" y="1075"/>
                </a:lnTo>
                <a:lnTo>
                  <a:pt x="32" y="1017"/>
                </a:lnTo>
                <a:lnTo>
                  <a:pt x="55" y="964"/>
                </a:lnTo>
                <a:lnTo>
                  <a:pt x="84" y="913"/>
                </a:lnTo>
                <a:lnTo>
                  <a:pt x="119" y="866"/>
                </a:lnTo>
                <a:lnTo>
                  <a:pt x="157" y="822"/>
                </a:lnTo>
                <a:lnTo>
                  <a:pt x="202" y="785"/>
                </a:lnTo>
                <a:lnTo>
                  <a:pt x="249" y="751"/>
                </a:lnTo>
                <a:lnTo>
                  <a:pt x="301" y="723"/>
                </a:lnTo>
                <a:lnTo>
                  <a:pt x="357" y="702"/>
                </a:lnTo>
                <a:lnTo>
                  <a:pt x="414" y="686"/>
                </a:lnTo>
                <a:lnTo>
                  <a:pt x="413" y="641"/>
                </a:lnTo>
                <a:lnTo>
                  <a:pt x="415" y="585"/>
                </a:lnTo>
                <a:lnTo>
                  <a:pt x="426" y="532"/>
                </a:lnTo>
                <a:lnTo>
                  <a:pt x="442" y="480"/>
                </a:lnTo>
                <a:lnTo>
                  <a:pt x="465" y="432"/>
                </a:lnTo>
                <a:lnTo>
                  <a:pt x="491" y="387"/>
                </a:lnTo>
                <a:lnTo>
                  <a:pt x="524" y="346"/>
                </a:lnTo>
                <a:lnTo>
                  <a:pt x="561" y="309"/>
                </a:lnTo>
                <a:lnTo>
                  <a:pt x="602" y="276"/>
                </a:lnTo>
                <a:lnTo>
                  <a:pt x="648" y="249"/>
                </a:lnTo>
                <a:lnTo>
                  <a:pt x="697" y="226"/>
                </a:lnTo>
                <a:lnTo>
                  <a:pt x="748" y="211"/>
                </a:lnTo>
                <a:lnTo>
                  <a:pt x="801" y="200"/>
                </a:lnTo>
                <a:lnTo>
                  <a:pt x="858" y="196"/>
                </a:lnTo>
                <a:lnTo>
                  <a:pt x="901" y="199"/>
                </a:lnTo>
                <a:lnTo>
                  <a:pt x="945" y="206"/>
                </a:lnTo>
                <a:lnTo>
                  <a:pt x="986" y="215"/>
                </a:lnTo>
                <a:lnTo>
                  <a:pt x="1026" y="230"/>
                </a:lnTo>
                <a:lnTo>
                  <a:pt x="1061" y="185"/>
                </a:lnTo>
                <a:lnTo>
                  <a:pt x="1101" y="145"/>
                </a:lnTo>
                <a:lnTo>
                  <a:pt x="1143" y="109"/>
                </a:lnTo>
                <a:lnTo>
                  <a:pt x="1190" y="78"/>
                </a:lnTo>
                <a:lnTo>
                  <a:pt x="1241" y="51"/>
                </a:lnTo>
                <a:lnTo>
                  <a:pt x="1294" y="29"/>
                </a:lnTo>
                <a:lnTo>
                  <a:pt x="1350" y="14"/>
                </a:lnTo>
                <a:lnTo>
                  <a:pt x="1408" y="4"/>
                </a:lnTo>
                <a:lnTo>
                  <a:pt x="1468" y="0"/>
                </a:lnTo>
                <a:close/>
              </a:path>
            </a:pathLst>
          </a:custGeom>
          <a:gradFill flip="none" rotWithShape="1">
            <a:gsLst>
              <a:gs pos="9000">
                <a:srgbClr val="FFFFFF"/>
              </a:gs>
              <a:gs pos="100000">
                <a:srgbClr val="389EE7"/>
              </a:gs>
            </a:gsLst>
            <a:lin ang="1800000" scaled="0"/>
            <a:tileRect/>
          </a:gra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Arial"/>
              <a:ea typeface="ＭＳ Ｐゴシック"/>
            </a:endParaRPr>
          </a:p>
        </p:txBody>
      </p:sp>
      <p:grpSp>
        <p:nvGrpSpPr>
          <p:cNvPr id="249" name="Group 248"/>
          <p:cNvGrpSpPr/>
          <p:nvPr/>
        </p:nvGrpSpPr>
        <p:grpSpPr>
          <a:xfrm>
            <a:off x="6075884" y="3571087"/>
            <a:ext cx="986779" cy="1076644"/>
            <a:chOff x="749839" y="3008091"/>
            <a:chExt cx="1033728" cy="1127867"/>
          </a:xfrm>
        </p:grpSpPr>
        <p:sp>
          <p:nvSpPr>
            <p:cNvPr id="261" name="Freeform 260"/>
            <p:cNvSpPr>
              <a:spLocks/>
            </p:cNvSpPr>
            <p:nvPr/>
          </p:nvSpPr>
          <p:spPr bwMode="auto">
            <a:xfrm>
              <a:off x="749839" y="3509566"/>
              <a:ext cx="1033728" cy="626392"/>
            </a:xfrm>
            <a:custGeom>
              <a:avLst/>
              <a:gdLst>
                <a:gd name="T0" fmla="*/ 1428 w 2857"/>
                <a:gd name="T1" fmla="*/ 0 h 1727"/>
                <a:gd name="T2" fmla="*/ 1450 w 2857"/>
                <a:gd name="T3" fmla="*/ 1 h 1727"/>
                <a:gd name="T4" fmla="*/ 1469 w 2857"/>
                <a:gd name="T5" fmla="*/ 6 h 1727"/>
                <a:gd name="T6" fmla="*/ 1486 w 2857"/>
                <a:gd name="T7" fmla="*/ 13 h 1727"/>
                <a:gd name="T8" fmla="*/ 2826 w 2857"/>
                <a:gd name="T9" fmla="*/ 817 h 1727"/>
                <a:gd name="T10" fmla="*/ 2844 w 2857"/>
                <a:gd name="T11" fmla="*/ 831 h 1727"/>
                <a:gd name="T12" fmla="*/ 2853 w 2857"/>
                <a:gd name="T13" fmla="*/ 846 h 1727"/>
                <a:gd name="T14" fmla="*/ 2857 w 2857"/>
                <a:gd name="T15" fmla="*/ 863 h 1727"/>
                <a:gd name="T16" fmla="*/ 2853 w 2857"/>
                <a:gd name="T17" fmla="*/ 880 h 1727"/>
                <a:gd name="T18" fmla="*/ 2844 w 2857"/>
                <a:gd name="T19" fmla="*/ 895 h 1727"/>
                <a:gd name="T20" fmla="*/ 2826 w 2857"/>
                <a:gd name="T21" fmla="*/ 909 h 1727"/>
                <a:gd name="T22" fmla="*/ 1486 w 2857"/>
                <a:gd name="T23" fmla="*/ 1713 h 1727"/>
                <a:gd name="T24" fmla="*/ 1469 w 2857"/>
                <a:gd name="T25" fmla="*/ 1721 h 1727"/>
                <a:gd name="T26" fmla="*/ 1450 w 2857"/>
                <a:gd name="T27" fmla="*/ 1724 h 1727"/>
                <a:gd name="T28" fmla="*/ 1428 w 2857"/>
                <a:gd name="T29" fmla="*/ 1727 h 1727"/>
                <a:gd name="T30" fmla="*/ 1407 w 2857"/>
                <a:gd name="T31" fmla="*/ 1724 h 1727"/>
                <a:gd name="T32" fmla="*/ 1387 w 2857"/>
                <a:gd name="T33" fmla="*/ 1721 h 1727"/>
                <a:gd name="T34" fmla="*/ 1371 w 2857"/>
                <a:gd name="T35" fmla="*/ 1713 h 1727"/>
                <a:gd name="T36" fmla="*/ 31 w 2857"/>
                <a:gd name="T37" fmla="*/ 909 h 1727"/>
                <a:gd name="T38" fmla="*/ 16 w 2857"/>
                <a:gd name="T39" fmla="*/ 897 h 1727"/>
                <a:gd name="T40" fmla="*/ 5 w 2857"/>
                <a:gd name="T41" fmla="*/ 884 h 1727"/>
                <a:gd name="T42" fmla="*/ 0 w 2857"/>
                <a:gd name="T43" fmla="*/ 871 h 1727"/>
                <a:gd name="T44" fmla="*/ 0 w 2857"/>
                <a:gd name="T45" fmla="*/ 856 h 1727"/>
                <a:gd name="T46" fmla="*/ 5 w 2857"/>
                <a:gd name="T47" fmla="*/ 842 h 1727"/>
                <a:gd name="T48" fmla="*/ 16 w 2857"/>
                <a:gd name="T49" fmla="*/ 828 h 1727"/>
                <a:gd name="T50" fmla="*/ 31 w 2857"/>
                <a:gd name="T51" fmla="*/ 817 h 1727"/>
                <a:gd name="T52" fmla="*/ 1371 w 2857"/>
                <a:gd name="T53" fmla="*/ 13 h 1727"/>
                <a:gd name="T54" fmla="*/ 1387 w 2857"/>
                <a:gd name="T55" fmla="*/ 6 h 1727"/>
                <a:gd name="T56" fmla="*/ 1407 w 2857"/>
                <a:gd name="T57" fmla="*/ 1 h 1727"/>
                <a:gd name="T58" fmla="*/ 1428 w 2857"/>
                <a:gd name="T59" fmla="*/ 0 h 1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57" h="1727">
                  <a:moveTo>
                    <a:pt x="1428" y="0"/>
                  </a:moveTo>
                  <a:lnTo>
                    <a:pt x="1450" y="1"/>
                  </a:lnTo>
                  <a:lnTo>
                    <a:pt x="1469" y="6"/>
                  </a:lnTo>
                  <a:lnTo>
                    <a:pt x="1486" y="13"/>
                  </a:lnTo>
                  <a:lnTo>
                    <a:pt x="2826" y="817"/>
                  </a:lnTo>
                  <a:lnTo>
                    <a:pt x="2844" y="831"/>
                  </a:lnTo>
                  <a:lnTo>
                    <a:pt x="2853" y="846"/>
                  </a:lnTo>
                  <a:lnTo>
                    <a:pt x="2857" y="863"/>
                  </a:lnTo>
                  <a:lnTo>
                    <a:pt x="2853" y="880"/>
                  </a:lnTo>
                  <a:lnTo>
                    <a:pt x="2844" y="895"/>
                  </a:lnTo>
                  <a:lnTo>
                    <a:pt x="2826" y="909"/>
                  </a:lnTo>
                  <a:lnTo>
                    <a:pt x="1486" y="1713"/>
                  </a:lnTo>
                  <a:lnTo>
                    <a:pt x="1469" y="1721"/>
                  </a:lnTo>
                  <a:lnTo>
                    <a:pt x="1450" y="1724"/>
                  </a:lnTo>
                  <a:lnTo>
                    <a:pt x="1428" y="1727"/>
                  </a:lnTo>
                  <a:lnTo>
                    <a:pt x="1407" y="1724"/>
                  </a:lnTo>
                  <a:lnTo>
                    <a:pt x="1387" y="1721"/>
                  </a:lnTo>
                  <a:lnTo>
                    <a:pt x="1371" y="1713"/>
                  </a:lnTo>
                  <a:lnTo>
                    <a:pt x="31" y="909"/>
                  </a:lnTo>
                  <a:lnTo>
                    <a:pt x="16" y="897"/>
                  </a:lnTo>
                  <a:lnTo>
                    <a:pt x="5" y="884"/>
                  </a:lnTo>
                  <a:lnTo>
                    <a:pt x="0" y="871"/>
                  </a:lnTo>
                  <a:lnTo>
                    <a:pt x="0" y="856"/>
                  </a:lnTo>
                  <a:lnTo>
                    <a:pt x="5" y="842"/>
                  </a:lnTo>
                  <a:lnTo>
                    <a:pt x="16" y="828"/>
                  </a:lnTo>
                  <a:lnTo>
                    <a:pt x="31" y="817"/>
                  </a:lnTo>
                  <a:lnTo>
                    <a:pt x="1371" y="13"/>
                  </a:lnTo>
                  <a:lnTo>
                    <a:pt x="1387" y="6"/>
                  </a:lnTo>
                  <a:lnTo>
                    <a:pt x="1407" y="1"/>
                  </a:lnTo>
                  <a:lnTo>
                    <a:pt x="1428" y="0"/>
                  </a:ln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Arial"/>
                <a:ea typeface="ＭＳ Ｐゴシック"/>
              </a:endParaRPr>
            </a:p>
          </p:txBody>
        </p:sp>
        <p:sp>
          <p:nvSpPr>
            <p:cNvPr id="262" name="Freeform 8"/>
            <p:cNvSpPr>
              <a:spLocks/>
            </p:cNvSpPr>
            <p:nvPr/>
          </p:nvSpPr>
          <p:spPr bwMode="auto">
            <a:xfrm>
              <a:off x="822254" y="3556636"/>
              <a:ext cx="888897" cy="532252"/>
            </a:xfrm>
            <a:custGeom>
              <a:avLst/>
              <a:gdLst>
                <a:gd name="T0" fmla="*/ 1228 w 2455"/>
                <a:gd name="T1" fmla="*/ 0 h 1473"/>
                <a:gd name="T2" fmla="*/ 2455 w 2455"/>
                <a:gd name="T3" fmla="*/ 736 h 1473"/>
                <a:gd name="T4" fmla="*/ 1228 w 2455"/>
                <a:gd name="T5" fmla="*/ 1473 h 1473"/>
                <a:gd name="T6" fmla="*/ 0 w 2455"/>
                <a:gd name="T7" fmla="*/ 736 h 1473"/>
                <a:gd name="T8" fmla="*/ 1228 w 2455"/>
                <a:gd name="T9" fmla="*/ 0 h 1473"/>
              </a:gdLst>
              <a:ahLst/>
              <a:cxnLst>
                <a:cxn ang="0">
                  <a:pos x="T0" y="T1"/>
                </a:cxn>
                <a:cxn ang="0">
                  <a:pos x="T2" y="T3"/>
                </a:cxn>
                <a:cxn ang="0">
                  <a:pos x="T4" y="T5"/>
                </a:cxn>
                <a:cxn ang="0">
                  <a:pos x="T6" y="T7"/>
                </a:cxn>
                <a:cxn ang="0">
                  <a:pos x="T8" y="T9"/>
                </a:cxn>
              </a:cxnLst>
              <a:rect l="0" t="0" r="r" b="b"/>
              <a:pathLst>
                <a:path w="2455" h="1473">
                  <a:moveTo>
                    <a:pt x="1228" y="0"/>
                  </a:moveTo>
                  <a:lnTo>
                    <a:pt x="2455" y="736"/>
                  </a:lnTo>
                  <a:lnTo>
                    <a:pt x="1228" y="1473"/>
                  </a:lnTo>
                  <a:lnTo>
                    <a:pt x="0" y="736"/>
                  </a:lnTo>
                  <a:lnTo>
                    <a:pt x="1228" y="0"/>
                  </a:lnTo>
                  <a:close/>
                </a:path>
              </a:pathLst>
            </a:custGeom>
            <a:solidFill>
              <a:srgbClr val="EF8935"/>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Arial"/>
                <a:ea typeface="ＭＳ Ｐゴシック"/>
              </a:endParaRPr>
            </a:p>
          </p:txBody>
        </p:sp>
        <p:sp>
          <p:nvSpPr>
            <p:cNvPr id="263" name="Freeform 9"/>
            <p:cNvSpPr>
              <a:spLocks/>
            </p:cNvSpPr>
            <p:nvPr/>
          </p:nvSpPr>
          <p:spPr bwMode="auto">
            <a:xfrm>
              <a:off x="1160795" y="3766640"/>
              <a:ext cx="412767" cy="188280"/>
            </a:xfrm>
            <a:custGeom>
              <a:avLst/>
              <a:gdLst>
                <a:gd name="T0" fmla="*/ 120 w 1142"/>
                <a:gd name="T1" fmla="*/ 0 h 516"/>
                <a:gd name="T2" fmla="*/ 247 w 1142"/>
                <a:gd name="T3" fmla="*/ 27 h 516"/>
                <a:gd name="T4" fmla="*/ 371 w 1142"/>
                <a:gd name="T5" fmla="*/ 57 h 516"/>
                <a:gd name="T6" fmla="*/ 494 w 1142"/>
                <a:gd name="T7" fmla="*/ 91 h 516"/>
                <a:gd name="T8" fmla="*/ 611 w 1142"/>
                <a:gd name="T9" fmla="*/ 129 h 516"/>
                <a:gd name="T10" fmla="*/ 726 w 1142"/>
                <a:gd name="T11" fmla="*/ 172 h 516"/>
                <a:gd name="T12" fmla="*/ 836 w 1142"/>
                <a:gd name="T13" fmla="*/ 219 h 516"/>
                <a:gd name="T14" fmla="*/ 942 w 1142"/>
                <a:gd name="T15" fmla="*/ 268 h 516"/>
                <a:gd name="T16" fmla="*/ 1045 w 1142"/>
                <a:gd name="T17" fmla="*/ 323 h 516"/>
                <a:gd name="T18" fmla="*/ 1142 w 1142"/>
                <a:gd name="T19" fmla="*/ 380 h 516"/>
                <a:gd name="T20" fmla="*/ 914 w 1142"/>
                <a:gd name="T21" fmla="*/ 516 h 516"/>
                <a:gd name="T22" fmla="*/ 814 w 1142"/>
                <a:gd name="T23" fmla="*/ 464 h 516"/>
                <a:gd name="T24" fmla="*/ 709 w 1142"/>
                <a:gd name="T25" fmla="*/ 416 h 516"/>
                <a:gd name="T26" fmla="*/ 600 w 1142"/>
                <a:gd name="T27" fmla="*/ 372 h 516"/>
                <a:gd name="T28" fmla="*/ 487 w 1142"/>
                <a:gd name="T29" fmla="*/ 331 h 516"/>
                <a:gd name="T30" fmla="*/ 370 w 1142"/>
                <a:gd name="T31" fmla="*/ 295 h 516"/>
                <a:gd name="T32" fmla="*/ 251 w 1142"/>
                <a:gd name="T33" fmla="*/ 264 h 516"/>
                <a:gd name="T34" fmla="*/ 127 w 1142"/>
                <a:gd name="T35" fmla="*/ 236 h 516"/>
                <a:gd name="T36" fmla="*/ 0 w 1142"/>
                <a:gd name="T37" fmla="*/ 213 h 516"/>
                <a:gd name="T38" fmla="*/ 34 w 1142"/>
                <a:gd name="T39" fmla="*/ 109 h 516"/>
                <a:gd name="T40" fmla="*/ 120 w 1142"/>
                <a:gd name="T41" fmla="*/ 0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42" h="516">
                  <a:moveTo>
                    <a:pt x="120" y="0"/>
                  </a:moveTo>
                  <a:lnTo>
                    <a:pt x="247" y="27"/>
                  </a:lnTo>
                  <a:lnTo>
                    <a:pt x="371" y="57"/>
                  </a:lnTo>
                  <a:lnTo>
                    <a:pt x="494" y="91"/>
                  </a:lnTo>
                  <a:lnTo>
                    <a:pt x="611" y="129"/>
                  </a:lnTo>
                  <a:lnTo>
                    <a:pt x="726" y="172"/>
                  </a:lnTo>
                  <a:lnTo>
                    <a:pt x="836" y="219"/>
                  </a:lnTo>
                  <a:lnTo>
                    <a:pt x="942" y="268"/>
                  </a:lnTo>
                  <a:lnTo>
                    <a:pt x="1045" y="323"/>
                  </a:lnTo>
                  <a:lnTo>
                    <a:pt x="1142" y="380"/>
                  </a:lnTo>
                  <a:lnTo>
                    <a:pt x="914" y="516"/>
                  </a:lnTo>
                  <a:lnTo>
                    <a:pt x="814" y="464"/>
                  </a:lnTo>
                  <a:lnTo>
                    <a:pt x="709" y="416"/>
                  </a:lnTo>
                  <a:lnTo>
                    <a:pt x="600" y="372"/>
                  </a:lnTo>
                  <a:lnTo>
                    <a:pt x="487" y="331"/>
                  </a:lnTo>
                  <a:lnTo>
                    <a:pt x="370" y="295"/>
                  </a:lnTo>
                  <a:lnTo>
                    <a:pt x="251" y="264"/>
                  </a:lnTo>
                  <a:lnTo>
                    <a:pt x="127" y="236"/>
                  </a:lnTo>
                  <a:lnTo>
                    <a:pt x="0" y="213"/>
                  </a:lnTo>
                  <a:lnTo>
                    <a:pt x="34" y="109"/>
                  </a:lnTo>
                  <a:lnTo>
                    <a:pt x="120" y="0"/>
                  </a:lnTo>
                  <a:close/>
                </a:path>
              </a:pathLst>
            </a:custGeom>
            <a:solidFill>
              <a:srgbClr val="F6DA3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Arial"/>
                <a:ea typeface="ＭＳ Ｐゴシック"/>
              </a:endParaRPr>
            </a:p>
          </p:txBody>
        </p:sp>
        <p:sp>
          <p:nvSpPr>
            <p:cNvPr id="264" name="Freeform 10"/>
            <p:cNvSpPr>
              <a:spLocks/>
            </p:cNvSpPr>
            <p:nvPr/>
          </p:nvSpPr>
          <p:spPr bwMode="auto">
            <a:xfrm>
              <a:off x="939928" y="3712329"/>
              <a:ext cx="749497" cy="226298"/>
            </a:xfrm>
            <a:custGeom>
              <a:avLst/>
              <a:gdLst>
                <a:gd name="T0" fmla="*/ 1597 w 2073"/>
                <a:gd name="T1" fmla="*/ 0 h 626"/>
                <a:gd name="T2" fmla="*/ 1626 w 2073"/>
                <a:gd name="T3" fmla="*/ 1 h 626"/>
                <a:gd name="T4" fmla="*/ 2073 w 2073"/>
                <a:gd name="T5" fmla="*/ 270 h 626"/>
                <a:gd name="T6" fmla="*/ 1957 w 2073"/>
                <a:gd name="T7" fmla="*/ 251 h 626"/>
                <a:gd name="T8" fmla="*/ 1840 w 2073"/>
                <a:gd name="T9" fmla="*/ 239 h 626"/>
                <a:gd name="T10" fmla="*/ 1719 w 2073"/>
                <a:gd name="T11" fmla="*/ 231 h 626"/>
                <a:gd name="T12" fmla="*/ 1597 w 2073"/>
                <a:gd name="T13" fmla="*/ 228 h 626"/>
                <a:gd name="T14" fmla="*/ 1473 w 2073"/>
                <a:gd name="T15" fmla="*/ 231 h 626"/>
                <a:gd name="T16" fmla="*/ 1350 w 2073"/>
                <a:gd name="T17" fmla="*/ 239 h 626"/>
                <a:gd name="T18" fmla="*/ 1229 w 2073"/>
                <a:gd name="T19" fmla="*/ 253 h 626"/>
                <a:gd name="T20" fmla="*/ 1112 w 2073"/>
                <a:gd name="T21" fmla="*/ 271 h 626"/>
                <a:gd name="T22" fmla="*/ 997 w 2073"/>
                <a:gd name="T23" fmla="*/ 294 h 626"/>
                <a:gd name="T24" fmla="*/ 885 w 2073"/>
                <a:gd name="T25" fmla="*/ 322 h 626"/>
                <a:gd name="T26" fmla="*/ 776 w 2073"/>
                <a:gd name="T27" fmla="*/ 353 h 626"/>
                <a:gd name="T28" fmla="*/ 671 w 2073"/>
                <a:gd name="T29" fmla="*/ 389 h 626"/>
                <a:gd name="T30" fmla="*/ 571 w 2073"/>
                <a:gd name="T31" fmla="*/ 429 h 626"/>
                <a:gd name="T32" fmla="*/ 474 w 2073"/>
                <a:gd name="T33" fmla="*/ 473 h 626"/>
                <a:gd name="T34" fmla="*/ 382 w 2073"/>
                <a:gd name="T35" fmla="*/ 521 h 626"/>
                <a:gd name="T36" fmla="*/ 295 w 2073"/>
                <a:gd name="T37" fmla="*/ 572 h 626"/>
                <a:gd name="T38" fmla="*/ 213 w 2073"/>
                <a:gd name="T39" fmla="*/ 626 h 626"/>
                <a:gd name="T40" fmla="*/ 0 w 2073"/>
                <a:gd name="T41" fmla="*/ 498 h 626"/>
                <a:gd name="T42" fmla="*/ 84 w 2073"/>
                <a:gd name="T43" fmla="*/ 434 h 626"/>
                <a:gd name="T44" fmla="*/ 175 w 2073"/>
                <a:gd name="T45" fmla="*/ 375 h 626"/>
                <a:gd name="T46" fmla="*/ 271 w 2073"/>
                <a:gd name="T47" fmla="*/ 318 h 626"/>
                <a:gd name="T48" fmla="*/ 371 w 2073"/>
                <a:gd name="T49" fmla="*/ 266 h 626"/>
                <a:gd name="T50" fmla="*/ 476 w 2073"/>
                <a:gd name="T51" fmla="*/ 219 h 626"/>
                <a:gd name="T52" fmla="*/ 587 w 2073"/>
                <a:gd name="T53" fmla="*/ 174 h 626"/>
                <a:gd name="T54" fmla="*/ 701 w 2073"/>
                <a:gd name="T55" fmla="*/ 135 h 626"/>
                <a:gd name="T56" fmla="*/ 820 w 2073"/>
                <a:gd name="T57" fmla="*/ 100 h 626"/>
                <a:gd name="T58" fmla="*/ 942 w 2073"/>
                <a:gd name="T59" fmla="*/ 70 h 626"/>
                <a:gd name="T60" fmla="*/ 1067 w 2073"/>
                <a:gd name="T61" fmla="*/ 46 h 626"/>
                <a:gd name="T62" fmla="*/ 1196 w 2073"/>
                <a:gd name="T63" fmla="*/ 27 h 626"/>
                <a:gd name="T64" fmla="*/ 1327 w 2073"/>
                <a:gd name="T65" fmla="*/ 12 h 626"/>
                <a:gd name="T66" fmla="*/ 1460 w 2073"/>
                <a:gd name="T67" fmla="*/ 4 h 626"/>
                <a:gd name="T68" fmla="*/ 1597 w 2073"/>
                <a:gd name="T69" fmla="*/ 0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3" h="626">
                  <a:moveTo>
                    <a:pt x="1597" y="0"/>
                  </a:moveTo>
                  <a:lnTo>
                    <a:pt x="1626" y="1"/>
                  </a:lnTo>
                  <a:lnTo>
                    <a:pt x="2073" y="270"/>
                  </a:lnTo>
                  <a:lnTo>
                    <a:pt x="1957" y="251"/>
                  </a:lnTo>
                  <a:lnTo>
                    <a:pt x="1840" y="239"/>
                  </a:lnTo>
                  <a:lnTo>
                    <a:pt x="1719" y="231"/>
                  </a:lnTo>
                  <a:lnTo>
                    <a:pt x="1597" y="228"/>
                  </a:lnTo>
                  <a:lnTo>
                    <a:pt x="1473" y="231"/>
                  </a:lnTo>
                  <a:lnTo>
                    <a:pt x="1350" y="239"/>
                  </a:lnTo>
                  <a:lnTo>
                    <a:pt x="1229" y="253"/>
                  </a:lnTo>
                  <a:lnTo>
                    <a:pt x="1112" y="271"/>
                  </a:lnTo>
                  <a:lnTo>
                    <a:pt x="997" y="294"/>
                  </a:lnTo>
                  <a:lnTo>
                    <a:pt x="885" y="322"/>
                  </a:lnTo>
                  <a:lnTo>
                    <a:pt x="776" y="353"/>
                  </a:lnTo>
                  <a:lnTo>
                    <a:pt x="671" y="389"/>
                  </a:lnTo>
                  <a:lnTo>
                    <a:pt x="571" y="429"/>
                  </a:lnTo>
                  <a:lnTo>
                    <a:pt x="474" y="473"/>
                  </a:lnTo>
                  <a:lnTo>
                    <a:pt x="382" y="521"/>
                  </a:lnTo>
                  <a:lnTo>
                    <a:pt x="295" y="572"/>
                  </a:lnTo>
                  <a:lnTo>
                    <a:pt x="213" y="626"/>
                  </a:lnTo>
                  <a:lnTo>
                    <a:pt x="0" y="498"/>
                  </a:lnTo>
                  <a:lnTo>
                    <a:pt x="84" y="434"/>
                  </a:lnTo>
                  <a:lnTo>
                    <a:pt x="175" y="375"/>
                  </a:lnTo>
                  <a:lnTo>
                    <a:pt x="271" y="318"/>
                  </a:lnTo>
                  <a:lnTo>
                    <a:pt x="371" y="266"/>
                  </a:lnTo>
                  <a:lnTo>
                    <a:pt x="476" y="219"/>
                  </a:lnTo>
                  <a:lnTo>
                    <a:pt x="587" y="174"/>
                  </a:lnTo>
                  <a:lnTo>
                    <a:pt x="701" y="135"/>
                  </a:lnTo>
                  <a:lnTo>
                    <a:pt x="820" y="100"/>
                  </a:lnTo>
                  <a:lnTo>
                    <a:pt x="942" y="70"/>
                  </a:lnTo>
                  <a:lnTo>
                    <a:pt x="1067" y="46"/>
                  </a:lnTo>
                  <a:lnTo>
                    <a:pt x="1196" y="27"/>
                  </a:lnTo>
                  <a:lnTo>
                    <a:pt x="1327" y="12"/>
                  </a:lnTo>
                  <a:lnTo>
                    <a:pt x="1460" y="4"/>
                  </a:lnTo>
                  <a:lnTo>
                    <a:pt x="1597" y="0"/>
                  </a:lnTo>
                  <a:close/>
                </a:path>
              </a:pathLst>
            </a:custGeom>
            <a:solidFill>
              <a:srgbClr val="F6DA3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Arial"/>
                <a:ea typeface="ＭＳ Ｐゴシック"/>
              </a:endParaRPr>
            </a:p>
          </p:txBody>
        </p:sp>
        <p:sp>
          <p:nvSpPr>
            <p:cNvPr id="265" name="Freeform 11"/>
            <p:cNvSpPr>
              <a:spLocks/>
            </p:cNvSpPr>
            <p:nvPr/>
          </p:nvSpPr>
          <p:spPr bwMode="auto">
            <a:xfrm>
              <a:off x="749839" y="3259733"/>
              <a:ext cx="1033728" cy="624582"/>
            </a:xfrm>
            <a:custGeom>
              <a:avLst/>
              <a:gdLst>
                <a:gd name="T0" fmla="*/ 1428 w 2857"/>
                <a:gd name="T1" fmla="*/ 0 h 1726"/>
                <a:gd name="T2" fmla="*/ 1450 w 2857"/>
                <a:gd name="T3" fmla="*/ 2 h 1726"/>
                <a:gd name="T4" fmla="*/ 1469 w 2857"/>
                <a:gd name="T5" fmla="*/ 6 h 1726"/>
                <a:gd name="T6" fmla="*/ 1486 w 2857"/>
                <a:gd name="T7" fmla="*/ 14 h 1726"/>
                <a:gd name="T8" fmla="*/ 2826 w 2857"/>
                <a:gd name="T9" fmla="*/ 816 h 1726"/>
                <a:gd name="T10" fmla="*/ 2844 w 2857"/>
                <a:gd name="T11" fmla="*/ 831 h 1726"/>
                <a:gd name="T12" fmla="*/ 2853 w 2857"/>
                <a:gd name="T13" fmla="*/ 847 h 1726"/>
                <a:gd name="T14" fmla="*/ 2857 w 2857"/>
                <a:gd name="T15" fmla="*/ 864 h 1726"/>
                <a:gd name="T16" fmla="*/ 2853 w 2857"/>
                <a:gd name="T17" fmla="*/ 879 h 1726"/>
                <a:gd name="T18" fmla="*/ 2844 w 2857"/>
                <a:gd name="T19" fmla="*/ 895 h 1726"/>
                <a:gd name="T20" fmla="*/ 2826 w 2857"/>
                <a:gd name="T21" fmla="*/ 910 h 1726"/>
                <a:gd name="T22" fmla="*/ 1486 w 2857"/>
                <a:gd name="T23" fmla="*/ 1712 h 1726"/>
                <a:gd name="T24" fmla="*/ 1469 w 2857"/>
                <a:gd name="T25" fmla="*/ 1721 h 1726"/>
                <a:gd name="T26" fmla="*/ 1450 w 2857"/>
                <a:gd name="T27" fmla="*/ 1724 h 1726"/>
                <a:gd name="T28" fmla="*/ 1428 w 2857"/>
                <a:gd name="T29" fmla="*/ 1726 h 1726"/>
                <a:gd name="T30" fmla="*/ 1407 w 2857"/>
                <a:gd name="T31" fmla="*/ 1724 h 1726"/>
                <a:gd name="T32" fmla="*/ 1387 w 2857"/>
                <a:gd name="T33" fmla="*/ 1721 h 1726"/>
                <a:gd name="T34" fmla="*/ 1371 w 2857"/>
                <a:gd name="T35" fmla="*/ 1712 h 1726"/>
                <a:gd name="T36" fmla="*/ 31 w 2857"/>
                <a:gd name="T37" fmla="*/ 910 h 1726"/>
                <a:gd name="T38" fmla="*/ 16 w 2857"/>
                <a:gd name="T39" fmla="*/ 897 h 1726"/>
                <a:gd name="T40" fmla="*/ 5 w 2857"/>
                <a:gd name="T41" fmla="*/ 884 h 1726"/>
                <a:gd name="T42" fmla="*/ 0 w 2857"/>
                <a:gd name="T43" fmla="*/ 870 h 1726"/>
                <a:gd name="T44" fmla="*/ 0 w 2857"/>
                <a:gd name="T45" fmla="*/ 856 h 1726"/>
                <a:gd name="T46" fmla="*/ 5 w 2857"/>
                <a:gd name="T47" fmla="*/ 842 h 1726"/>
                <a:gd name="T48" fmla="*/ 16 w 2857"/>
                <a:gd name="T49" fmla="*/ 829 h 1726"/>
                <a:gd name="T50" fmla="*/ 31 w 2857"/>
                <a:gd name="T51" fmla="*/ 816 h 1726"/>
                <a:gd name="T52" fmla="*/ 1371 w 2857"/>
                <a:gd name="T53" fmla="*/ 14 h 1726"/>
                <a:gd name="T54" fmla="*/ 1387 w 2857"/>
                <a:gd name="T55" fmla="*/ 6 h 1726"/>
                <a:gd name="T56" fmla="*/ 1407 w 2857"/>
                <a:gd name="T57" fmla="*/ 2 h 1726"/>
                <a:gd name="T58" fmla="*/ 1428 w 2857"/>
                <a:gd name="T59" fmla="*/ 0 h 1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57" h="1726">
                  <a:moveTo>
                    <a:pt x="1428" y="0"/>
                  </a:moveTo>
                  <a:lnTo>
                    <a:pt x="1450" y="2"/>
                  </a:lnTo>
                  <a:lnTo>
                    <a:pt x="1469" y="6"/>
                  </a:lnTo>
                  <a:lnTo>
                    <a:pt x="1486" y="14"/>
                  </a:lnTo>
                  <a:lnTo>
                    <a:pt x="2826" y="816"/>
                  </a:lnTo>
                  <a:lnTo>
                    <a:pt x="2844" y="831"/>
                  </a:lnTo>
                  <a:lnTo>
                    <a:pt x="2853" y="847"/>
                  </a:lnTo>
                  <a:lnTo>
                    <a:pt x="2857" y="864"/>
                  </a:lnTo>
                  <a:lnTo>
                    <a:pt x="2853" y="879"/>
                  </a:lnTo>
                  <a:lnTo>
                    <a:pt x="2844" y="895"/>
                  </a:lnTo>
                  <a:lnTo>
                    <a:pt x="2826" y="910"/>
                  </a:lnTo>
                  <a:lnTo>
                    <a:pt x="1486" y="1712"/>
                  </a:lnTo>
                  <a:lnTo>
                    <a:pt x="1469" y="1721"/>
                  </a:lnTo>
                  <a:lnTo>
                    <a:pt x="1450" y="1724"/>
                  </a:lnTo>
                  <a:lnTo>
                    <a:pt x="1428" y="1726"/>
                  </a:lnTo>
                  <a:lnTo>
                    <a:pt x="1407" y="1724"/>
                  </a:lnTo>
                  <a:lnTo>
                    <a:pt x="1387" y="1721"/>
                  </a:lnTo>
                  <a:lnTo>
                    <a:pt x="1371" y="1712"/>
                  </a:lnTo>
                  <a:lnTo>
                    <a:pt x="31" y="910"/>
                  </a:lnTo>
                  <a:lnTo>
                    <a:pt x="16" y="897"/>
                  </a:lnTo>
                  <a:lnTo>
                    <a:pt x="5" y="884"/>
                  </a:lnTo>
                  <a:lnTo>
                    <a:pt x="0" y="870"/>
                  </a:lnTo>
                  <a:lnTo>
                    <a:pt x="0" y="856"/>
                  </a:lnTo>
                  <a:lnTo>
                    <a:pt x="5" y="842"/>
                  </a:lnTo>
                  <a:lnTo>
                    <a:pt x="16" y="829"/>
                  </a:lnTo>
                  <a:lnTo>
                    <a:pt x="31" y="816"/>
                  </a:lnTo>
                  <a:lnTo>
                    <a:pt x="1371" y="14"/>
                  </a:lnTo>
                  <a:lnTo>
                    <a:pt x="1387" y="6"/>
                  </a:lnTo>
                  <a:lnTo>
                    <a:pt x="1407" y="2"/>
                  </a:lnTo>
                  <a:lnTo>
                    <a:pt x="1428" y="0"/>
                  </a:ln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Arial"/>
                <a:ea typeface="ＭＳ Ｐゴシック"/>
              </a:endParaRPr>
            </a:p>
          </p:txBody>
        </p:sp>
        <p:sp>
          <p:nvSpPr>
            <p:cNvPr id="266" name="Freeform 12"/>
            <p:cNvSpPr>
              <a:spLocks/>
            </p:cNvSpPr>
            <p:nvPr/>
          </p:nvSpPr>
          <p:spPr bwMode="auto">
            <a:xfrm>
              <a:off x="822254" y="3304994"/>
              <a:ext cx="888897" cy="534063"/>
            </a:xfrm>
            <a:custGeom>
              <a:avLst/>
              <a:gdLst>
                <a:gd name="T0" fmla="*/ 1228 w 2455"/>
                <a:gd name="T1" fmla="*/ 0 h 1474"/>
                <a:gd name="T2" fmla="*/ 2455 w 2455"/>
                <a:gd name="T3" fmla="*/ 736 h 1474"/>
                <a:gd name="T4" fmla="*/ 1228 w 2455"/>
                <a:gd name="T5" fmla="*/ 1474 h 1474"/>
                <a:gd name="T6" fmla="*/ 0 w 2455"/>
                <a:gd name="T7" fmla="*/ 736 h 1474"/>
                <a:gd name="T8" fmla="*/ 1228 w 2455"/>
                <a:gd name="T9" fmla="*/ 0 h 1474"/>
              </a:gdLst>
              <a:ahLst/>
              <a:cxnLst>
                <a:cxn ang="0">
                  <a:pos x="T0" y="T1"/>
                </a:cxn>
                <a:cxn ang="0">
                  <a:pos x="T2" y="T3"/>
                </a:cxn>
                <a:cxn ang="0">
                  <a:pos x="T4" y="T5"/>
                </a:cxn>
                <a:cxn ang="0">
                  <a:pos x="T6" y="T7"/>
                </a:cxn>
                <a:cxn ang="0">
                  <a:pos x="T8" y="T9"/>
                </a:cxn>
              </a:cxnLst>
              <a:rect l="0" t="0" r="r" b="b"/>
              <a:pathLst>
                <a:path w="2455" h="1474">
                  <a:moveTo>
                    <a:pt x="1228" y="0"/>
                  </a:moveTo>
                  <a:lnTo>
                    <a:pt x="2455" y="736"/>
                  </a:lnTo>
                  <a:lnTo>
                    <a:pt x="1228" y="1474"/>
                  </a:lnTo>
                  <a:lnTo>
                    <a:pt x="0" y="736"/>
                  </a:lnTo>
                  <a:lnTo>
                    <a:pt x="1228" y="0"/>
                  </a:lnTo>
                  <a:close/>
                </a:path>
              </a:pathLst>
            </a:custGeom>
            <a:solidFill>
              <a:srgbClr val="AAD04B"/>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Arial"/>
                <a:ea typeface="ＭＳ Ｐゴシック"/>
              </a:endParaRPr>
            </a:p>
          </p:txBody>
        </p:sp>
        <p:sp>
          <p:nvSpPr>
            <p:cNvPr id="267" name="Freeform 13"/>
            <p:cNvSpPr>
              <a:spLocks/>
            </p:cNvSpPr>
            <p:nvPr/>
          </p:nvSpPr>
          <p:spPr bwMode="auto">
            <a:xfrm>
              <a:off x="887428" y="3343011"/>
              <a:ext cx="552167" cy="333110"/>
            </a:xfrm>
            <a:custGeom>
              <a:avLst/>
              <a:gdLst>
                <a:gd name="T0" fmla="*/ 1227 w 1528"/>
                <a:gd name="T1" fmla="*/ 0 h 916"/>
                <a:gd name="T2" fmla="*/ 1528 w 1528"/>
                <a:gd name="T3" fmla="*/ 180 h 916"/>
                <a:gd name="T4" fmla="*/ 299 w 1528"/>
                <a:gd name="T5" fmla="*/ 916 h 916"/>
                <a:gd name="T6" fmla="*/ 0 w 1528"/>
                <a:gd name="T7" fmla="*/ 736 h 916"/>
                <a:gd name="T8" fmla="*/ 1227 w 1528"/>
                <a:gd name="T9" fmla="*/ 0 h 916"/>
              </a:gdLst>
              <a:ahLst/>
              <a:cxnLst>
                <a:cxn ang="0">
                  <a:pos x="T0" y="T1"/>
                </a:cxn>
                <a:cxn ang="0">
                  <a:pos x="T2" y="T3"/>
                </a:cxn>
                <a:cxn ang="0">
                  <a:pos x="T4" y="T5"/>
                </a:cxn>
                <a:cxn ang="0">
                  <a:pos x="T6" y="T7"/>
                </a:cxn>
                <a:cxn ang="0">
                  <a:pos x="T8" y="T9"/>
                </a:cxn>
              </a:cxnLst>
              <a:rect l="0" t="0" r="r" b="b"/>
              <a:pathLst>
                <a:path w="1528" h="916">
                  <a:moveTo>
                    <a:pt x="1227" y="0"/>
                  </a:moveTo>
                  <a:lnTo>
                    <a:pt x="1528" y="180"/>
                  </a:lnTo>
                  <a:lnTo>
                    <a:pt x="299" y="916"/>
                  </a:lnTo>
                  <a:lnTo>
                    <a:pt x="0" y="736"/>
                  </a:lnTo>
                  <a:lnTo>
                    <a:pt x="1227" y="0"/>
                  </a:lnTo>
                  <a:close/>
                </a:path>
              </a:pathLst>
            </a:custGeom>
            <a:solidFill>
              <a:srgbClr val="4BA635"/>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Arial"/>
                <a:ea typeface="ＭＳ Ｐゴシック"/>
              </a:endParaRPr>
            </a:p>
          </p:txBody>
        </p:sp>
        <p:sp>
          <p:nvSpPr>
            <p:cNvPr id="268" name="Freeform 14"/>
            <p:cNvSpPr>
              <a:spLocks/>
            </p:cNvSpPr>
            <p:nvPr/>
          </p:nvSpPr>
          <p:spPr bwMode="auto">
            <a:xfrm>
              <a:off x="1053983" y="3440772"/>
              <a:ext cx="546735" cy="334921"/>
            </a:xfrm>
            <a:custGeom>
              <a:avLst/>
              <a:gdLst>
                <a:gd name="T0" fmla="*/ 1213 w 1513"/>
                <a:gd name="T1" fmla="*/ 0 h 923"/>
                <a:gd name="T2" fmla="*/ 1513 w 1513"/>
                <a:gd name="T3" fmla="*/ 180 h 923"/>
                <a:gd name="T4" fmla="*/ 295 w 1513"/>
                <a:gd name="T5" fmla="*/ 923 h 923"/>
                <a:gd name="T6" fmla="*/ 0 w 1513"/>
                <a:gd name="T7" fmla="*/ 745 h 923"/>
                <a:gd name="T8" fmla="*/ 1213 w 1513"/>
                <a:gd name="T9" fmla="*/ 0 h 923"/>
              </a:gdLst>
              <a:ahLst/>
              <a:cxnLst>
                <a:cxn ang="0">
                  <a:pos x="T0" y="T1"/>
                </a:cxn>
                <a:cxn ang="0">
                  <a:pos x="T2" y="T3"/>
                </a:cxn>
                <a:cxn ang="0">
                  <a:pos x="T4" y="T5"/>
                </a:cxn>
                <a:cxn ang="0">
                  <a:pos x="T6" y="T7"/>
                </a:cxn>
                <a:cxn ang="0">
                  <a:pos x="T8" y="T9"/>
                </a:cxn>
              </a:cxnLst>
              <a:rect l="0" t="0" r="r" b="b"/>
              <a:pathLst>
                <a:path w="1513" h="923">
                  <a:moveTo>
                    <a:pt x="1213" y="0"/>
                  </a:moveTo>
                  <a:lnTo>
                    <a:pt x="1513" y="180"/>
                  </a:lnTo>
                  <a:lnTo>
                    <a:pt x="295" y="923"/>
                  </a:lnTo>
                  <a:lnTo>
                    <a:pt x="0" y="745"/>
                  </a:lnTo>
                  <a:lnTo>
                    <a:pt x="1213" y="0"/>
                  </a:lnTo>
                  <a:close/>
                </a:path>
              </a:pathLst>
            </a:custGeom>
            <a:solidFill>
              <a:srgbClr val="4BA635"/>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Arial"/>
                <a:ea typeface="ＭＳ Ｐゴシック"/>
              </a:endParaRPr>
            </a:p>
          </p:txBody>
        </p:sp>
        <p:sp>
          <p:nvSpPr>
            <p:cNvPr id="269" name="Freeform 15"/>
            <p:cNvSpPr>
              <a:spLocks/>
            </p:cNvSpPr>
            <p:nvPr/>
          </p:nvSpPr>
          <p:spPr bwMode="auto">
            <a:xfrm>
              <a:off x="1099242" y="3364736"/>
              <a:ext cx="510527" cy="307765"/>
            </a:xfrm>
            <a:custGeom>
              <a:avLst/>
              <a:gdLst>
                <a:gd name="T0" fmla="*/ 184 w 1412"/>
                <a:gd name="T1" fmla="*/ 0 h 847"/>
                <a:gd name="T2" fmla="*/ 1412 w 1412"/>
                <a:gd name="T3" fmla="*/ 737 h 847"/>
                <a:gd name="T4" fmla="*/ 1227 w 1412"/>
                <a:gd name="T5" fmla="*/ 847 h 847"/>
                <a:gd name="T6" fmla="*/ 0 w 1412"/>
                <a:gd name="T7" fmla="*/ 111 h 847"/>
                <a:gd name="T8" fmla="*/ 184 w 1412"/>
                <a:gd name="T9" fmla="*/ 0 h 847"/>
              </a:gdLst>
              <a:ahLst/>
              <a:cxnLst>
                <a:cxn ang="0">
                  <a:pos x="T0" y="T1"/>
                </a:cxn>
                <a:cxn ang="0">
                  <a:pos x="T2" y="T3"/>
                </a:cxn>
                <a:cxn ang="0">
                  <a:pos x="T4" y="T5"/>
                </a:cxn>
                <a:cxn ang="0">
                  <a:pos x="T6" y="T7"/>
                </a:cxn>
                <a:cxn ang="0">
                  <a:pos x="T8" y="T9"/>
                </a:cxn>
              </a:cxnLst>
              <a:rect l="0" t="0" r="r" b="b"/>
              <a:pathLst>
                <a:path w="1412" h="847">
                  <a:moveTo>
                    <a:pt x="184" y="0"/>
                  </a:moveTo>
                  <a:lnTo>
                    <a:pt x="1412" y="737"/>
                  </a:lnTo>
                  <a:lnTo>
                    <a:pt x="1227" y="847"/>
                  </a:lnTo>
                  <a:lnTo>
                    <a:pt x="0" y="111"/>
                  </a:lnTo>
                  <a:lnTo>
                    <a:pt x="184" y="0"/>
                  </a:lnTo>
                  <a:close/>
                </a:path>
              </a:pathLst>
            </a:custGeom>
            <a:solidFill>
              <a:srgbClr val="4BA635"/>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Arial"/>
                <a:ea typeface="ＭＳ Ｐゴシック"/>
              </a:endParaRPr>
            </a:p>
          </p:txBody>
        </p:sp>
        <p:sp>
          <p:nvSpPr>
            <p:cNvPr id="270" name="Freeform 16"/>
            <p:cNvSpPr>
              <a:spLocks/>
            </p:cNvSpPr>
            <p:nvPr/>
          </p:nvSpPr>
          <p:spPr bwMode="auto">
            <a:xfrm>
              <a:off x="749839" y="3008091"/>
              <a:ext cx="1033728" cy="624582"/>
            </a:xfrm>
            <a:custGeom>
              <a:avLst/>
              <a:gdLst>
                <a:gd name="T0" fmla="*/ 1428 w 2857"/>
                <a:gd name="T1" fmla="*/ 0 h 1725"/>
                <a:gd name="T2" fmla="*/ 1450 w 2857"/>
                <a:gd name="T3" fmla="*/ 1 h 1725"/>
                <a:gd name="T4" fmla="*/ 1469 w 2857"/>
                <a:gd name="T5" fmla="*/ 4 h 1725"/>
                <a:gd name="T6" fmla="*/ 1486 w 2857"/>
                <a:gd name="T7" fmla="*/ 12 h 1725"/>
                <a:gd name="T8" fmla="*/ 2826 w 2857"/>
                <a:gd name="T9" fmla="*/ 816 h 1725"/>
                <a:gd name="T10" fmla="*/ 2844 w 2857"/>
                <a:gd name="T11" fmla="*/ 830 h 1725"/>
                <a:gd name="T12" fmla="*/ 2853 w 2857"/>
                <a:gd name="T13" fmla="*/ 846 h 1725"/>
                <a:gd name="T14" fmla="*/ 2857 w 2857"/>
                <a:gd name="T15" fmla="*/ 862 h 1725"/>
                <a:gd name="T16" fmla="*/ 2853 w 2857"/>
                <a:gd name="T17" fmla="*/ 879 h 1725"/>
                <a:gd name="T18" fmla="*/ 2844 w 2857"/>
                <a:gd name="T19" fmla="*/ 894 h 1725"/>
                <a:gd name="T20" fmla="*/ 2826 w 2857"/>
                <a:gd name="T21" fmla="*/ 908 h 1725"/>
                <a:gd name="T22" fmla="*/ 1486 w 2857"/>
                <a:gd name="T23" fmla="*/ 1712 h 1725"/>
                <a:gd name="T24" fmla="*/ 1469 w 2857"/>
                <a:gd name="T25" fmla="*/ 1719 h 1725"/>
                <a:gd name="T26" fmla="*/ 1450 w 2857"/>
                <a:gd name="T27" fmla="*/ 1724 h 1725"/>
                <a:gd name="T28" fmla="*/ 1428 w 2857"/>
                <a:gd name="T29" fmla="*/ 1725 h 1725"/>
                <a:gd name="T30" fmla="*/ 1407 w 2857"/>
                <a:gd name="T31" fmla="*/ 1724 h 1725"/>
                <a:gd name="T32" fmla="*/ 1387 w 2857"/>
                <a:gd name="T33" fmla="*/ 1719 h 1725"/>
                <a:gd name="T34" fmla="*/ 1371 w 2857"/>
                <a:gd name="T35" fmla="*/ 1712 h 1725"/>
                <a:gd name="T36" fmla="*/ 31 w 2857"/>
                <a:gd name="T37" fmla="*/ 908 h 1725"/>
                <a:gd name="T38" fmla="*/ 16 w 2857"/>
                <a:gd name="T39" fmla="*/ 897 h 1725"/>
                <a:gd name="T40" fmla="*/ 5 w 2857"/>
                <a:gd name="T41" fmla="*/ 883 h 1725"/>
                <a:gd name="T42" fmla="*/ 0 w 2857"/>
                <a:gd name="T43" fmla="*/ 869 h 1725"/>
                <a:gd name="T44" fmla="*/ 0 w 2857"/>
                <a:gd name="T45" fmla="*/ 854 h 1725"/>
                <a:gd name="T46" fmla="*/ 5 w 2857"/>
                <a:gd name="T47" fmla="*/ 841 h 1725"/>
                <a:gd name="T48" fmla="*/ 16 w 2857"/>
                <a:gd name="T49" fmla="*/ 828 h 1725"/>
                <a:gd name="T50" fmla="*/ 31 w 2857"/>
                <a:gd name="T51" fmla="*/ 816 h 1725"/>
                <a:gd name="T52" fmla="*/ 1371 w 2857"/>
                <a:gd name="T53" fmla="*/ 12 h 1725"/>
                <a:gd name="T54" fmla="*/ 1387 w 2857"/>
                <a:gd name="T55" fmla="*/ 4 h 1725"/>
                <a:gd name="T56" fmla="*/ 1407 w 2857"/>
                <a:gd name="T57" fmla="*/ 1 h 1725"/>
                <a:gd name="T58" fmla="*/ 1428 w 2857"/>
                <a:gd name="T59" fmla="*/ 0 h 1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57" h="1725">
                  <a:moveTo>
                    <a:pt x="1428" y="0"/>
                  </a:moveTo>
                  <a:lnTo>
                    <a:pt x="1450" y="1"/>
                  </a:lnTo>
                  <a:lnTo>
                    <a:pt x="1469" y="4"/>
                  </a:lnTo>
                  <a:lnTo>
                    <a:pt x="1486" y="12"/>
                  </a:lnTo>
                  <a:lnTo>
                    <a:pt x="2826" y="816"/>
                  </a:lnTo>
                  <a:lnTo>
                    <a:pt x="2844" y="830"/>
                  </a:lnTo>
                  <a:lnTo>
                    <a:pt x="2853" y="846"/>
                  </a:lnTo>
                  <a:lnTo>
                    <a:pt x="2857" y="862"/>
                  </a:lnTo>
                  <a:lnTo>
                    <a:pt x="2853" y="879"/>
                  </a:lnTo>
                  <a:lnTo>
                    <a:pt x="2844" y="894"/>
                  </a:lnTo>
                  <a:lnTo>
                    <a:pt x="2826" y="908"/>
                  </a:lnTo>
                  <a:lnTo>
                    <a:pt x="1486" y="1712"/>
                  </a:lnTo>
                  <a:lnTo>
                    <a:pt x="1469" y="1719"/>
                  </a:lnTo>
                  <a:lnTo>
                    <a:pt x="1450" y="1724"/>
                  </a:lnTo>
                  <a:lnTo>
                    <a:pt x="1428" y="1725"/>
                  </a:lnTo>
                  <a:lnTo>
                    <a:pt x="1407" y="1724"/>
                  </a:lnTo>
                  <a:lnTo>
                    <a:pt x="1387" y="1719"/>
                  </a:lnTo>
                  <a:lnTo>
                    <a:pt x="1371" y="1712"/>
                  </a:lnTo>
                  <a:lnTo>
                    <a:pt x="31" y="908"/>
                  </a:lnTo>
                  <a:lnTo>
                    <a:pt x="16" y="897"/>
                  </a:lnTo>
                  <a:lnTo>
                    <a:pt x="5" y="883"/>
                  </a:lnTo>
                  <a:lnTo>
                    <a:pt x="0" y="869"/>
                  </a:lnTo>
                  <a:lnTo>
                    <a:pt x="0" y="854"/>
                  </a:lnTo>
                  <a:lnTo>
                    <a:pt x="5" y="841"/>
                  </a:lnTo>
                  <a:lnTo>
                    <a:pt x="16" y="828"/>
                  </a:lnTo>
                  <a:lnTo>
                    <a:pt x="31" y="816"/>
                  </a:lnTo>
                  <a:lnTo>
                    <a:pt x="1371" y="12"/>
                  </a:lnTo>
                  <a:lnTo>
                    <a:pt x="1387" y="4"/>
                  </a:lnTo>
                  <a:lnTo>
                    <a:pt x="1407" y="1"/>
                  </a:lnTo>
                  <a:lnTo>
                    <a:pt x="1428" y="0"/>
                  </a:ln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Arial"/>
                <a:ea typeface="ＭＳ Ｐゴシック"/>
              </a:endParaRPr>
            </a:p>
          </p:txBody>
        </p:sp>
        <p:sp>
          <p:nvSpPr>
            <p:cNvPr id="271" name="Freeform 17"/>
            <p:cNvSpPr>
              <a:spLocks/>
            </p:cNvSpPr>
            <p:nvPr/>
          </p:nvSpPr>
          <p:spPr bwMode="auto">
            <a:xfrm>
              <a:off x="822254" y="3053350"/>
              <a:ext cx="888897" cy="534063"/>
            </a:xfrm>
            <a:custGeom>
              <a:avLst/>
              <a:gdLst>
                <a:gd name="T0" fmla="*/ 1228 w 2455"/>
                <a:gd name="T1" fmla="*/ 0 h 1473"/>
                <a:gd name="T2" fmla="*/ 2455 w 2455"/>
                <a:gd name="T3" fmla="*/ 737 h 1473"/>
                <a:gd name="T4" fmla="*/ 1228 w 2455"/>
                <a:gd name="T5" fmla="*/ 1473 h 1473"/>
                <a:gd name="T6" fmla="*/ 0 w 2455"/>
                <a:gd name="T7" fmla="*/ 737 h 1473"/>
                <a:gd name="T8" fmla="*/ 1228 w 2455"/>
                <a:gd name="T9" fmla="*/ 0 h 1473"/>
              </a:gdLst>
              <a:ahLst/>
              <a:cxnLst>
                <a:cxn ang="0">
                  <a:pos x="T0" y="T1"/>
                </a:cxn>
                <a:cxn ang="0">
                  <a:pos x="T2" y="T3"/>
                </a:cxn>
                <a:cxn ang="0">
                  <a:pos x="T4" y="T5"/>
                </a:cxn>
                <a:cxn ang="0">
                  <a:pos x="T6" y="T7"/>
                </a:cxn>
                <a:cxn ang="0">
                  <a:pos x="T8" y="T9"/>
                </a:cxn>
              </a:cxnLst>
              <a:rect l="0" t="0" r="r" b="b"/>
              <a:pathLst>
                <a:path w="2455" h="1473">
                  <a:moveTo>
                    <a:pt x="1228" y="0"/>
                  </a:moveTo>
                  <a:lnTo>
                    <a:pt x="2455" y="737"/>
                  </a:lnTo>
                  <a:lnTo>
                    <a:pt x="1228" y="1473"/>
                  </a:lnTo>
                  <a:lnTo>
                    <a:pt x="0" y="737"/>
                  </a:lnTo>
                  <a:lnTo>
                    <a:pt x="1228" y="0"/>
                  </a:lnTo>
                  <a:close/>
                </a:path>
              </a:pathLst>
            </a:custGeom>
            <a:solidFill>
              <a:srgbClr val="8ED6FF"/>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Arial"/>
                <a:ea typeface="ＭＳ Ｐゴシック"/>
              </a:endParaRPr>
            </a:p>
          </p:txBody>
        </p:sp>
        <p:sp>
          <p:nvSpPr>
            <p:cNvPr id="272" name="Freeform 18"/>
            <p:cNvSpPr>
              <a:spLocks/>
            </p:cNvSpPr>
            <p:nvPr/>
          </p:nvSpPr>
          <p:spPr bwMode="auto">
            <a:xfrm>
              <a:off x="1160795" y="3053350"/>
              <a:ext cx="550356" cy="459837"/>
            </a:xfrm>
            <a:custGeom>
              <a:avLst/>
              <a:gdLst>
                <a:gd name="T0" fmla="*/ 290 w 1517"/>
                <a:gd name="T1" fmla="*/ 0 h 1271"/>
                <a:gd name="T2" fmla="*/ 1517 w 1517"/>
                <a:gd name="T3" fmla="*/ 737 h 1271"/>
                <a:gd name="T4" fmla="*/ 627 w 1517"/>
                <a:gd name="T5" fmla="*/ 1271 h 1271"/>
                <a:gd name="T6" fmla="*/ 603 w 1517"/>
                <a:gd name="T7" fmla="*/ 1241 h 1271"/>
                <a:gd name="T8" fmla="*/ 586 w 1517"/>
                <a:gd name="T9" fmla="*/ 1212 h 1271"/>
                <a:gd name="T10" fmla="*/ 577 w 1517"/>
                <a:gd name="T11" fmla="*/ 1182 h 1271"/>
                <a:gd name="T12" fmla="*/ 572 w 1517"/>
                <a:gd name="T13" fmla="*/ 1151 h 1271"/>
                <a:gd name="T14" fmla="*/ 572 w 1517"/>
                <a:gd name="T15" fmla="*/ 1120 h 1271"/>
                <a:gd name="T16" fmla="*/ 574 w 1517"/>
                <a:gd name="T17" fmla="*/ 1090 h 1271"/>
                <a:gd name="T18" fmla="*/ 580 w 1517"/>
                <a:gd name="T19" fmla="*/ 1058 h 1271"/>
                <a:gd name="T20" fmla="*/ 587 w 1517"/>
                <a:gd name="T21" fmla="*/ 1027 h 1271"/>
                <a:gd name="T22" fmla="*/ 595 w 1517"/>
                <a:gd name="T23" fmla="*/ 995 h 1271"/>
                <a:gd name="T24" fmla="*/ 601 w 1517"/>
                <a:gd name="T25" fmla="*/ 964 h 1271"/>
                <a:gd name="T26" fmla="*/ 606 w 1517"/>
                <a:gd name="T27" fmla="*/ 932 h 1271"/>
                <a:gd name="T28" fmla="*/ 608 w 1517"/>
                <a:gd name="T29" fmla="*/ 901 h 1271"/>
                <a:gd name="T30" fmla="*/ 606 w 1517"/>
                <a:gd name="T31" fmla="*/ 871 h 1271"/>
                <a:gd name="T32" fmla="*/ 600 w 1517"/>
                <a:gd name="T33" fmla="*/ 839 h 1271"/>
                <a:gd name="T34" fmla="*/ 590 w 1517"/>
                <a:gd name="T35" fmla="*/ 819 h 1271"/>
                <a:gd name="T36" fmla="*/ 574 w 1517"/>
                <a:gd name="T37" fmla="*/ 797 h 1271"/>
                <a:gd name="T38" fmla="*/ 556 w 1517"/>
                <a:gd name="T39" fmla="*/ 776 h 1271"/>
                <a:gd name="T40" fmla="*/ 532 w 1517"/>
                <a:gd name="T41" fmla="*/ 754 h 1271"/>
                <a:gd name="T42" fmla="*/ 515 w 1517"/>
                <a:gd name="T43" fmla="*/ 737 h 1271"/>
                <a:gd name="T44" fmla="*/ 498 w 1517"/>
                <a:gd name="T45" fmla="*/ 718 h 1271"/>
                <a:gd name="T46" fmla="*/ 483 w 1517"/>
                <a:gd name="T47" fmla="*/ 700 h 1271"/>
                <a:gd name="T48" fmla="*/ 471 w 1517"/>
                <a:gd name="T49" fmla="*/ 681 h 1271"/>
                <a:gd name="T50" fmla="*/ 465 w 1517"/>
                <a:gd name="T51" fmla="*/ 660 h 1271"/>
                <a:gd name="T52" fmla="*/ 465 w 1517"/>
                <a:gd name="T53" fmla="*/ 639 h 1271"/>
                <a:gd name="T54" fmla="*/ 470 w 1517"/>
                <a:gd name="T55" fmla="*/ 617 h 1271"/>
                <a:gd name="T56" fmla="*/ 479 w 1517"/>
                <a:gd name="T57" fmla="*/ 596 h 1271"/>
                <a:gd name="T58" fmla="*/ 490 w 1517"/>
                <a:gd name="T59" fmla="*/ 575 h 1271"/>
                <a:gd name="T60" fmla="*/ 502 w 1517"/>
                <a:gd name="T61" fmla="*/ 554 h 1271"/>
                <a:gd name="T62" fmla="*/ 511 w 1517"/>
                <a:gd name="T63" fmla="*/ 533 h 1271"/>
                <a:gd name="T64" fmla="*/ 519 w 1517"/>
                <a:gd name="T65" fmla="*/ 512 h 1271"/>
                <a:gd name="T66" fmla="*/ 521 w 1517"/>
                <a:gd name="T67" fmla="*/ 490 h 1271"/>
                <a:gd name="T68" fmla="*/ 517 w 1517"/>
                <a:gd name="T69" fmla="*/ 467 h 1271"/>
                <a:gd name="T70" fmla="*/ 503 w 1517"/>
                <a:gd name="T71" fmla="*/ 439 h 1271"/>
                <a:gd name="T72" fmla="*/ 482 w 1517"/>
                <a:gd name="T73" fmla="*/ 410 h 1271"/>
                <a:gd name="T74" fmla="*/ 454 w 1517"/>
                <a:gd name="T75" fmla="*/ 384 h 1271"/>
                <a:gd name="T76" fmla="*/ 422 w 1517"/>
                <a:gd name="T77" fmla="*/ 357 h 1271"/>
                <a:gd name="T78" fmla="*/ 384 w 1517"/>
                <a:gd name="T79" fmla="*/ 332 h 1271"/>
                <a:gd name="T80" fmla="*/ 344 w 1517"/>
                <a:gd name="T81" fmla="*/ 306 h 1271"/>
                <a:gd name="T82" fmla="*/ 301 w 1517"/>
                <a:gd name="T83" fmla="*/ 283 h 1271"/>
                <a:gd name="T84" fmla="*/ 257 w 1517"/>
                <a:gd name="T85" fmla="*/ 261 h 1271"/>
                <a:gd name="T86" fmla="*/ 213 w 1517"/>
                <a:gd name="T87" fmla="*/ 242 h 1271"/>
                <a:gd name="T88" fmla="*/ 170 w 1517"/>
                <a:gd name="T89" fmla="*/ 223 h 1271"/>
                <a:gd name="T90" fmla="*/ 128 w 1517"/>
                <a:gd name="T91" fmla="*/ 207 h 1271"/>
                <a:gd name="T92" fmla="*/ 91 w 1517"/>
                <a:gd name="T93" fmla="*/ 192 h 1271"/>
                <a:gd name="T94" fmla="*/ 78 w 1517"/>
                <a:gd name="T95" fmla="*/ 190 h 1271"/>
                <a:gd name="T96" fmla="*/ 63 w 1517"/>
                <a:gd name="T97" fmla="*/ 186 h 1271"/>
                <a:gd name="T98" fmla="*/ 43 w 1517"/>
                <a:gd name="T99" fmla="*/ 183 h 1271"/>
                <a:gd name="T100" fmla="*/ 22 w 1517"/>
                <a:gd name="T101" fmla="*/ 178 h 1271"/>
                <a:gd name="T102" fmla="*/ 0 w 1517"/>
                <a:gd name="T103" fmla="*/ 174 h 1271"/>
                <a:gd name="T104" fmla="*/ 290 w 1517"/>
                <a:gd name="T105" fmla="*/ 0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17" h="1271">
                  <a:moveTo>
                    <a:pt x="290" y="0"/>
                  </a:moveTo>
                  <a:lnTo>
                    <a:pt x="1517" y="737"/>
                  </a:lnTo>
                  <a:lnTo>
                    <a:pt x="627" y="1271"/>
                  </a:lnTo>
                  <a:lnTo>
                    <a:pt x="603" y="1241"/>
                  </a:lnTo>
                  <a:lnTo>
                    <a:pt x="586" y="1212"/>
                  </a:lnTo>
                  <a:lnTo>
                    <a:pt x="577" y="1182"/>
                  </a:lnTo>
                  <a:lnTo>
                    <a:pt x="572" y="1151"/>
                  </a:lnTo>
                  <a:lnTo>
                    <a:pt x="572" y="1120"/>
                  </a:lnTo>
                  <a:lnTo>
                    <a:pt x="574" y="1090"/>
                  </a:lnTo>
                  <a:lnTo>
                    <a:pt x="580" y="1058"/>
                  </a:lnTo>
                  <a:lnTo>
                    <a:pt x="587" y="1027"/>
                  </a:lnTo>
                  <a:lnTo>
                    <a:pt x="595" y="995"/>
                  </a:lnTo>
                  <a:lnTo>
                    <a:pt x="601" y="964"/>
                  </a:lnTo>
                  <a:lnTo>
                    <a:pt x="606" y="932"/>
                  </a:lnTo>
                  <a:lnTo>
                    <a:pt x="608" y="901"/>
                  </a:lnTo>
                  <a:lnTo>
                    <a:pt x="606" y="871"/>
                  </a:lnTo>
                  <a:lnTo>
                    <a:pt x="600" y="839"/>
                  </a:lnTo>
                  <a:lnTo>
                    <a:pt x="590" y="819"/>
                  </a:lnTo>
                  <a:lnTo>
                    <a:pt x="574" y="797"/>
                  </a:lnTo>
                  <a:lnTo>
                    <a:pt x="556" y="776"/>
                  </a:lnTo>
                  <a:lnTo>
                    <a:pt x="532" y="754"/>
                  </a:lnTo>
                  <a:lnTo>
                    <a:pt x="515" y="737"/>
                  </a:lnTo>
                  <a:lnTo>
                    <a:pt x="498" y="718"/>
                  </a:lnTo>
                  <a:lnTo>
                    <a:pt x="483" y="700"/>
                  </a:lnTo>
                  <a:lnTo>
                    <a:pt x="471" y="681"/>
                  </a:lnTo>
                  <a:lnTo>
                    <a:pt x="465" y="660"/>
                  </a:lnTo>
                  <a:lnTo>
                    <a:pt x="465" y="639"/>
                  </a:lnTo>
                  <a:lnTo>
                    <a:pt x="470" y="617"/>
                  </a:lnTo>
                  <a:lnTo>
                    <a:pt x="479" y="596"/>
                  </a:lnTo>
                  <a:lnTo>
                    <a:pt x="490" y="575"/>
                  </a:lnTo>
                  <a:lnTo>
                    <a:pt x="502" y="554"/>
                  </a:lnTo>
                  <a:lnTo>
                    <a:pt x="511" y="533"/>
                  </a:lnTo>
                  <a:lnTo>
                    <a:pt x="519" y="512"/>
                  </a:lnTo>
                  <a:lnTo>
                    <a:pt x="521" y="490"/>
                  </a:lnTo>
                  <a:lnTo>
                    <a:pt x="517" y="467"/>
                  </a:lnTo>
                  <a:lnTo>
                    <a:pt x="503" y="439"/>
                  </a:lnTo>
                  <a:lnTo>
                    <a:pt x="482" y="410"/>
                  </a:lnTo>
                  <a:lnTo>
                    <a:pt x="454" y="384"/>
                  </a:lnTo>
                  <a:lnTo>
                    <a:pt x="422" y="357"/>
                  </a:lnTo>
                  <a:lnTo>
                    <a:pt x="384" y="332"/>
                  </a:lnTo>
                  <a:lnTo>
                    <a:pt x="344" y="306"/>
                  </a:lnTo>
                  <a:lnTo>
                    <a:pt x="301" y="283"/>
                  </a:lnTo>
                  <a:lnTo>
                    <a:pt x="257" y="261"/>
                  </a:lnTo>
                  <a:lnTo>
                    <a:pt x="213" y="242"/>
                  </a:lnTo>
                  <a:lnTo>
                    <a:pt x="170" y="223"/>
                  </a:lnTo>
                  <a:lnTo>
                    <a:pt x="128" y="207"/>
                  </a:lnTo>
                  <a:lnTo>
                    <a:pt x="91" y="192"/>
                  </a:lnTo>
                  <a:lnTo>
                    <a:pt x="78" y="190"/>
                  </a:lnTo>
                  <a:lnTo>
                    <a:pt x="63" y="186"/>
                  </a:lnTo>
                  <a:lnTo>
                    <a:pt x="43" y="183"/>
                  </a:lnTo>
                  <a:lnTo>
                    <a:pt x="22" y="178"/>
                  </a:lnTo>
                  <a:lnTo>
                    <a:pt x="0" y="174"/>
                  </a:lnTo>
                  <a:lnTo>
                    <a:pt x="290" y="0"/>
                  </a:lnTo>
                  <a:close/>
                </a:path>
              </a:pathLst>
            </a:custGeom>
            <a:solidFill>
              <a:srgbClr val="377AFF"/>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Arial"/>
                <a:ea typeface="ＭＳ Ｐゴシック"/>
              </a:endParaRPr>
            </a:p>
          </p:txBody>
        </p:sp>
        <p:sp>
          <p:nvSpPr>
            <p:cNvPr id="273" name="Freeform 19"/>
            <p:cNvSpPr>
              <a:spLocks/>
            </p:cNvSpPr>
            <p:nvPr/>
          </p:nvSpPr>
          <p:spPr bwMode="auto">
            <a:xfrm>
              <a:off x="1126398" y="3234388"/>
              <a:ext cx="70605" cy="47070"/>
            </a:xfrm>
            <a:custGeom>
              <a:avLst/>
              <a:gdLst>
                <a:gd name="T0" fmla="*/ 100 w 197"/>
                <a:gd name="T1" fmla="*/ 0 h 131"/>
                <a:gd name="T2" fmla="*/ 126 w 197"/>
                <a:gd name="T3" fmla="*/ 3 h 131"/>
                <a:gd name="T4" fmla="*/ 149 w 197"/>
                <a:gd name="T5" fmla="*/ 9 h 131"/>
                <a:gd name="T6" fmla="*/ 168 w 197"/>
                <a:gd name="T7" fmla="*/ 19 h 131"/>
                <a:gd name="T8" fmla="*/ 183 w 197"/>
                <a:gd name="T9" fmla="*/ 32 h 131"/>
                <a:gd name="T10" fmla="*/ 194 w 197"/>
                <a:gd name="T11" fmla="*/ 47 h 131"/>
                <a:gd name="T12" fmla="*/ 197 w 197"/>
                <a:gd name="T13" fmla="*/ 64 h 131"/>
                <a:gd name="T14" fmla="*/ 195 w 197"/>
                <a:gd name="T15" fmla="*/ 82 h 131"/>
                <a:gd name="T16" fmla="*/ 185 w 197"/>
                <a:gd name="T17" fmla="*/ 99 h 131"/>
                <a:gd name="T18" fmla="*/ 169 w 197"/>
                <a:gd name="T19" fmla="*/ 112 h 131"/>
                <a:gd name="T20" fmla="*/ 148 w 197"/>
                <a:gd name="T21" fmla="*/ 123 h 131"/>
                <a:gd name="T22" fmla="*/ 123 w 197"/>
                <a:gd name="T23" fmla="*/ 129 h 131"/>
                <a:gd name="T24" fmla="*/ 96 w 197"/>
                <a:gd name="T25" fmla="*/ 131 h 131"/>
                <a:gd name="T26" fmla="*/ 69 w 197"/>
                <a:gd name="T27" fmla="*/ 128 h 131"/>
                <a:gd name="T28" fmla="*/ 45 w 197"/>
                <a:gd name="T29" fmla="*/ 121 h 131"/>
                <a:gd name="T30" fmla="*/ 26 w 197"/>
                <a:gd name="T31" fmla="*/ 110 h 131"/>
                <a:gd name="T32" fmla="*/ 11 w 197"/>
                <a:gd name="T33" fmla="*/ 95 h 131"/>
                <a:gd name="T34" fmla="*/ 1 w 197"/>
                <a:gd name="T35" fmla="*/ 78 h 131"/>
                <a:gd name="T36" fmla="*/ 0 w 197"/>
                <a:gd name="T37" fmla="*/ 61 h 131"/>
                <a:gd name="T38" fmla="*/ 5 w 197"/>
                <a:gd name="T39" fmla="*/ 44 h 131"/>
                <a:gd name="T40" fmla="*/ 16 w 197"/>
                <a:gd name="T41" fmla="*/ 30 h 131"/>
                <a:gd name="T42" fmla="*/ 33 w 197"/>
                <a:gd name="T43" fmla="*/ 17 h 131"/>
                <a:gd name="T44" fmla="*/ 52 w 197"/>
                <a:gd name="T45" fmla="*/ 8 h 131"/>
                <a:gd name="T46" fmla="*/ 75 w 197"/>
                <a:gd name="T47" fmla="*/ 2 h 131"/>
                <a:gd name="T48" fmla="*/ 100 w 197"/>
                <a:gd name="T49"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7" h="131">
                  <a:moveTo>
                    <a:pt x="100" y="0"/>
                  </a:moveTo>
                  <a:lnTo>
                    <a:pt x="126" y="3"/>
                  </a:lnTo>
                  <a:lnTo>
                    <a:pt x="149" y="9"/>
                  </a:lnTo>
                  <a:lnTo>
                    <a:pt x="168" y="19"/>
                  </a:lnTo>
                  <a:lnTo>
                    <a:pt x="183" y="32"/>
                  </a:lnTo>
                  <a:lnTo>
                    <a:pt x="194" y="47"/>
                  </a:lnTo>
                  <a:lnTo>
                    <a:pt x="197" y="64"/>
                  </a:lnTo>
                  <a:lnTo>
                    <a:pt x="195" y="82"/>
                  </a:lnTo>
                  <a:lnTo>
                    <a:pt x="185" y="99"/>
                  </a:lnTo>
                  <a:lnTo>
                    <a:pt x="169" y="112"/>
                  </a:lnTo>
                  <a:lnTo>
                    <a:pt x="148" y="123"/>
                  </a:lnTo>
                  <a:lnTo>
                    <a:pt x="123" y="129"/>
                  </a:lnTo>
                  <a:lnTo>
                    <a:pt x="96" y="131"/>
                  </a:lnTo>
                  <a:lnTo>
                    <a:pt x="69" y="128"/>
                  </a:lnTo>
                  <a:lnTo>
                    <a:pt x="45" y="121"/>
                  </a:lnTo>
                  <a:lnTo>
                    <a:pt x="26" y="110"/>
                  </a:lnTo>
                  <a:lnTo>
                    <a:pt x="11" y="95"/>
                  </a:lnTo>
                  <a:lnTo>
                    <a:pt x="1" y="78"/>
                  </a:lnTo>
                  <a:lnTo>
                    <a:pt x="0" y="61"/>
                  </a:lnTo>
                  <a:lnTo>
                    <a:pt x="5" y="44"/>
                  </a:lnTo>
                  <a:lnTo>
                    <a:pt x="16" y="30"/>
                  </a:lnTo>
                  <a:lnTo>
                    <a:pt x="33" y="17"/>
                  </a:lnTo>
                  <a:lnTo>
                    <a:pt x="52" y="8"/>
                  </a:lnTo>
                  <a:lnTo>
                    <a:pt x="75" y="2"/>
                  </a:lnTo>
                  <a:lnTo>
                    <a:pt x="100" y="0"/>
                  </a:ln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Arial"/>
                <a:ea typeface="ＭＳ Ｐゴシック"/>
              </a:endParaRPr>
            </a:p>
          </p:txBody>
        </p:sp>
        <p:sp>
          <p:nvSpPr>
            <p:cNvPr id="274" name="Freeform 20"/>
            <p:cNvSpPr>
              <a:spLocks/>
            </p:cNvSpPr>
            <p:nvPr/>
          </p:nvSpPr>
          <p:spPr bwMode="auto">
            <a:xfrm>
              <a:off x="1092000" y="3355684"/>
              <a:ext cx="103192" cy="68794"/>
            </a:xfrm>
            <a:custGeom>
              <a:avLst/>
              <a:gdLst>
                <a:gd name="T0" fmla="*/ 146 w 286"/>
                <a:gd name="T1" fmla="*/ 0 h 189"/>
                <a:gd name="T2" fmla="*/ 177 w 286"/>
                <a:gd name="T3" fmla="*/ 2 h 189"/>
                <a:gd name="T4" fmla="*/ 206 w 286"/>
                <a:gd name="T5" fmla="*/ 9 h 189"/>
                <a:gd name="T6" fmla="*/ 232 w 286"/>
                <a:gd name="T7" fmla="*/ 20 h 189"/>
                <a:gd name="T8" fmla="*/ 254 w 286"/>
                <a:gd name="T9" fmla="*/ 35 h 189"/>
                <a:gd name="T10" fmla="*/ 270 w 286"/>
                <a:gd name="T11" fmla="*/ 52 h 189"/>
                <a:gd name="T12" fmla="*/ 281 w 286"/>
                <a:gd name="T13" fmla="*/ 71 h 189"/>
                <a:gd name="T14" fmla="*/ 286 w 286"/>
                <a:gd name="T15" fmla="*/ 91 h 189"/>
                <a:gd name="T16" fmla="*/ 283 w 286"/>
                <a:gd name="T17" fmla="*/ 114 h 189"/>
                <a:gd name="T18" fmla="*/ 272 w 286"/>
                <a:gd name="T19" fmla="*/ 135 h 189"/>
                <a:gd name="T20" fmla="*/ 255 w 286"/>
                <a:gd name="T21" fmla="*/ 153 h 189"/>
                <a:gd name="T22" fmla="*/ 232 w 286"/>
                <a:gd name="T23" fmla="*/ 169 h 189"/>
                <a:gd name="T24" fmla="*/ 204 w 286"/>
                <a:gd name="T25" fmla="*/ 180 h 189"/>
                <a:gd name="T26" fmla="*/ 173 w 286"/>
                <a:gd name="T27" fmla="*/ 187 h 189"/>
                <a:gd name="T28" fmla="*/ 139 w 286"/>
                <a:gd name="T29" fmla="*/ 189 h 189"/>
                <a:gd name="T30" fmla="*/ 105 w 286"/>
                <a:gd name="T31" fmla="*/ 186 h 189"/>
                <a:gd name="T32" fmla="*/ 73 w 286"/>
                <a:gd name="T33" fmla="*/ 177 h 189"/>
                <a:gd name="T34" fmla="*/ 47 w 286"/>
                <a:gd name="T35" fmla="*/ 165 h 189"/>
                <a:gd name="T36" fmla="*/ 25 w 286"/>
                <a:gd name="T37" fmla="*/ 149 h 189"/>
                <a:gd name="T38" fmla="*/ 9 w 286"/>
                <a:gd name="T39" fmla="*/ 130 h 189"/>
                <a:gd name="T40" fmla="*/ 1 w 286"/>
                <a:gd name="T41" fmla="*/ 110 h 189"/>
                <a:gd name="T42" fmla="*/ 0 w 286"/>
                <a:gd name="T43" fmla="*/ 88 h 189"/>
                <a:gd name="T44" fmla="*/ 4 w 286"/>
                <a:gd name="T45" fmla="*/ 66 h 189"/>
                <a:gd name="T46" fmla="*/ 18 w 286"/>
                <a:gd name="T47" fmla="*/ 47 h 189"/>
                <a:gd name="T48" fmla="*/ 35 w 286"/>
                <a:gd name="T49" fmla="*/ 31 h 189"/>
                <a:gd name="T50" fmla="*/ 58 w 286"/>
                <a:gd name="T51" fmla="*/ 18 h 189"/>
                <a:gd name="T52" fmla="*/ 84 w 286"/>
                <a:gd name="T53" fmla="*/ 7 h 189"/>
                <a:gd name="T54" fmla="*/ 113 w 286"/>
                <a:gd name="T55" fmla="*/ 1 h 189"/>
                <a:gd name="T56" fmla="*/ 146 w 286"/>
                <a:gd name="T57"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6" h="189">
                  <a:moveTo>
                    <a:pt x="146" y="0"/>
                  </a:moveTo>
                  <a:lnTo>
                    <a:pt x="177" y="2"/>
                  </a:lnTo>
                  <a:lnTo>
                    <a:pt x="206" y="9"/>
                  </a:lnTo>
                  <a:lnTo>
                    <a:pt x="232" y="20"/>
                  </a:lnTo>
                  <a:lnTo>
                    <a:pt x="254" y="35"/>
                  </a:lnTo>
                  <a:lnTo>
                    <a:pt x="270" y="52"/>
                  </a:lnTo>
                  <a:lnTo>
                    <a:pt x="281" y="71"/>
                  </a:lnTo>
                  <a:lnTo>
                    <a:pt x="286" y="91"/>
                  </a:lnTo>
                  <a:lnTo>
                    <a:pt x="283" y="114"/>
                  </a:lnTo>
                  <a:lnTo>
                    <a:pt x="272" y="135"/>
                  </a:lnTo>
                  <a:lnTo>
                    <a:pt x="255" y="153"/>
                  </a:lnTo>
                  <a:lnTo>
                    <a:pt x="232" y="169"/>
                  </a:lnTo>
                  <a:lnTo>
                    <a:pt x="204" y="180"/>
                  </a:lnTo>
                  <a:lnTo>
                    <a:pt x="173" y="187"/>
                  </a:lnTo>
                  <a:lnTo>
                    <a:pt x="139" y="189"/>
                  </a:lnTo>
                  <a:lnTo>
                    <a:pt x="105" y="186"/>
                  </a:lnTo>
                  <a:lnTo>
                    <a:pt x="73" y="177"/>
                  </a:lnTo>
                  <a:lnTo>
                    <a:pt x="47" y="165"/>
                  </a:lnTo>
                  <a:lnTo>
                    <a:pt x="25" y="149"/>
                  </a:lnTo>
                  <a:lnTo>
                    <a:pt x="9" y="130"/>
                  </a:lnTo>
                  <a:lnTo>
                    <a:pt x="1" y="110"/>
                  </a:lnTo>
                  <a:lnTo>
                    <a:pt x="0" y="88"/>
                  </a:lnTo>
                  <a:lnTo>
                    <a:pt x="4" y="66"/>
                  </a:lnTo>
                  <a:lnTo>
                    <a:pt x="18" y="47"/>
                  </a:lnTo>
                  <a:lnTo>
                    <a:pt x="35" y="31"/>
                  </a:lnTo>
                  <a:lnTo>
                    <a:pt x="58" y="18"/>
                  </a:lnTo>
                  <a:lnTo>
                    <a:pt x="84" y="7"/>
                  </a:lnTo>
                  <a:lnTo>
                    <a:pt x="113" y="1"/>
                  </a:lnTo>
                  <a:lnTo>
                    <a:pt x="146" y="0"/>
                  </a:ln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Arial"/>
                <a:ea typeface="ＭＳ Ｐゴシック"/>
              </a:endParaRPr>
            </a:p>
          </p:txBody>
        </p:sp>
        <p:sp>
          <p:nvSpPr>
            <p:cNvPr id="275" name="Freeform 21"/>
            <p:cNvSpPr>
              <a:spLocks/>
            </p:cNvSpPr>
            <p:nvPr/>
          </p:nvSpPr>
          <p:spPr bwMode="auto">
            <a:xfrm>
              <a:off x="1428731" y="3250682"/>
              <a:ext cx="92330" cy="61553"/>
            </a:xfrm>
            <a:custGeom>
              <a:avLst/>
              <a:gdLst>
                <a:gd name="T0" fmla="*/ 130 w 254"/>
                <a:gd name="T1" fmla="*/ 0 h 168"/>
                <a:gd name="T2" fmla="*/ 159 w 254"/>
                <a:gd name="T3" fmla="*/ 3 h 168"/>
                <a:gd name="T4" fmla="*/ 184 w 254"/>
                <a:gd name="T5" fmla="*/ 9 h 168"/>
                <a:gd name="T6" fmla="*/ 207 w 254"/>
                <a:gd name="T7" fmla="*/ 18 h 168"/>
                <a:gd name="T8" fmla="*/ 226 w 254"/>
                <a:gd name="T9" fmla="*/ 32 h 168"/>
                <a:gd name="T10" fmla="*/ 241 w 254"/>
                <a:gd name="T11" fmla="*/ 46 h 168"/>
                <a:gd name="T12" fmla="*/ 251 w 254"/>
                <a:gd name="T13" fmla="*/ 64 h 168"/>
                <a:gd name="T14" fmla="*/ 254 w 254"/>
                <a:gd name="T15" fmla="*/ 83 h 168"/>
                <a:gd name="T16" fmla="*/ 252 w 254"/>
                <a:gd name="T17" fmla="*/ 103 h 168"/>
                <a:gd name="T18" fmla="*/ 242 w 254"/>
                <a:gd name="T19" fmla="*/ 121 h 168"/>
                <a:gd name="T20" fmla="*/ 228 w 254"/>
                <a:gd name="T21" fmla="*/ 137 h 168"/>
                <a:gd name="T22" fmla="*/ 207 w 254"/>
                <a:gd name="T23" fmla="*/ 150 h 168"/>
                <a:gd name="T24" fmla="*/ 183 w 254"/>
                <a:gd name="T25" fmla="*/ 161 h 168"/>
                <a:gd name="T26" fmla="*/ 155 w 254"/>
                <a:gd name="T27" fmla="*/ 167 h 168"/>
                <a:gd name="T28" fmla="*/ 125 w 254"/>
                <a:gd name="T29" fmla="*/ 168 h 168"/>
                <a:gd name="T30" fmla="*/ 95 w 254"/>
                <a:gd name="T31" fmla="*/ 166 h 168"/>
                <a:gd name="T32" fmla="*/ 67 w 254"/>
                <a:gd name="T33" fmla="*/ 159 h 168"/>
                <a:gd name="T34" fmla="*/ 44 w 254"/>
                <a:gd name="T35" fmla="*/ 148 h 168"/>
                <a:gd name="T36" fmla="*/ 25 w 254"/>
                <a:gd name="T37" fmla="*/ 133 h 168"/>
                <a:gd name="T38" fmla="*/ 10 w 254"/>
                <a:gd name="T39" fmla="*/ 116 h 168"/>
                <a:gd name="T40" fmla="*/ 3 w 254"/>
                <a:gd name="T41" fmla="*/ 98 h 168"/>
                <a:gd name="T42" fmla="*/ 0 w 254"/>
                <a:gd name="T43" fmla="*/ 79 h 168"/>
                <a:gd name="T44" fmla="*/ 6 w 254"/>
                <a:gd name="T45" fmla="*/ 60 h 168"/>
                <a:gd name="T46" fmla="*/ 17 w 254"/>
                <a:gd name="T47" fmla="*/ 43 h 168"/>
                <a:gd name="T48" fmla="*/ 33 w 254"/>
                <a:gd name="T49" fmla="*/ 28 h 168"/>
                <a:gd name="T50" fmla="*/ 54 w 254"/>
                <a:gd name="T51" fmla="*/ 16 h 168"/>
                <a:gd name="T52" fmla="*/ 77 w 254"/>
                <a:gd name="T53" fmla="*/ 8 h 168"/>
                <a:gd name="T54" fmla="*/ 102 w 254"/>
                <a:gd name="T55" fmla="*/ 2 h 168"/>
                <a:gd name="T56" fmla="*/ 130 w 254"/>
                <a:gd name="T5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4" h="168">
                  <a:moveTo>
                    <a:pt x="130" y="0"/>
                  </a:moveTo>
                  <a:lnTo>
                    <a:pt x="159" y="3"/>
                  </a:lnTo>
                  <a:lnTo>
                    <a:pt x="184" y="9"/>
                  </a:lnTo>
                  <a:lnTo>
                    <a:pt x="207" y="18"/>
                  </a:lnTo>
                  <a:lnTo>
                    <a:pt x="226" y="32"/>
                  </a:lnTo>
                  <a:lnTo>
                    <a:pt x="241" y="46"/>
                  </a:lnTo>
                  <a:lnTo>
                    <a:pt x="251" y="64"/>
                  </a:lnTo>
                  <a:lnTo>
                    <a:pt x="254" y="83"/>
                  </a:lnTo>
                  <a:lnTo>
                    <a:pt x="252" y="103"/>
                  </a:lnTo>
                  <a:lnTo>
                    <a:pt x="242" y="121"/>
                  </a:lnTo>
                  <a:lnTo>
                    <a:pt x="228" y="137"/>
                  </a:lnTo>
                  <a:lnTo>
                    <a:pt x="207" y="150"/>
                  </a:lnTo>
                  <a:lnTo>
                    <a:pt x="183" y="161"/>
                  </a:lnTo>
                  <a:lnTo>
                    <a:pt x="155" y="167"/>
                  </a:lnTo>
                  <a:lnTo>
                    <a:pt x="125" y="168"/>
                  </a:lnTo>
                  <a:lnTo>
                    <a:pt x="95" y="166"/>
                  </a:lnTo>
                  <a:lnTo>
                    <a:pt x="67" y="159"/>
                  </a:lnTo>
                  <a:lnTo>
                    <a:pt x="44" y="148"/>
                  </a:lnTo>
                  <a:lnTo>
                    <a:pt x="25" y="133"/>
                  </a:lnTo>
                  <a:lnTo>
                    <a:pt x="10" y="116"/>
                  </a:lnTo>
                  <a:lnTo>
                    <a:pt x="3" y="98"/>
                  </a:lnTo>
                  <a:lnTo>
                    <a:pt x="0" y="79"/>
                  </a:lnTo>
                  <a:lnTo>
                    <a:pt x="6" y="60"/>
                  </a:lnTo>
                  <a:lnTo>
                    <a:pt x="17" y="43"/>
                  </a:lnTo>
                  <a:lnTo>
                    <a:pt x="33" y="28"/>
                  </a:lnTo>
                  <a:lnTo>
                    <a:pt x="54" y="16"/>
                  </a:lnTo>
                  <a:lnTo>
                    <a:pt x="77" y="8"/>
                  </a:lnTo>
                  <a:lnTo>
                    <a:pt x="102" y="2"/>
                  </a:lnTo>
                  <a:lnTo>
                    <a:pt x="130" y="0"/>
                  </a:lnTo>
                  <a:close/>
                </a:path>
              </a:pathLst>
            </a:custGeom>
            <a:solidFill>
              <a:srgbClr val="8ED6FF"/>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Arial"/>
                <a:ea typeface="ＭＳ Ｐゴシック"/>
              </a:endParaRPr>
            </a:p>
          </p:txBody>
        </p:sp>
        <p:sp>
          <p:nvSpPr>
            <p:cNvPr id="276" name="Freeform 22"/>
            <p:cNvSpPr>
              <a:spLocks/>
            </p:cNvSpPr>
            <p:nvPr/>
          </p:nvSpPr>
          <p:spPr bwMode="auto">
            <a:xfrm>
              <a:off x="1119157" y="3113093"/>
              <a:ext cx="269747" cy="450785"/>
            </a:xfrm>
            <a:custGeom>
              <a:avLst/>
              <a:gdLst>
                <a:gd name="T0" fmla="*/ 161 w 746"/>
                <a:gd name="T1" fmla="*/ 14 h 1247"/>
                <a:gd name="T2" fmla="*/ 247 w 746"/>
                <a:gd name="T3" fmla="*/ 44 h 1247"/>
                <a:gd name="T4" fmla="*/ 332 w 746"/>
                <a:gd name="T5" fmla="*/ 79 h 1247"/>
                <a:gd name="T6" fmla="*/ 420 w 746"/>
                <a:gd name="T7" fmla="*/ 120 h 1247"/>
                <a:gd name="T8" fmla="*/ 503 w 746"/>
                <a:gd name="T9" fmla="*/ 169 h 1247"/>
                <a:gd name="T10" fmla="*/ 573 w 746"/>
                <a:gd name="T11" fmla="*/ 221 h 1247"/>
                <a:gd name="T12" fmla="*/ 622 w 746"/>
                <a:gd name="T13" fmla="*/ 276 h 1247"/>
                <a:gd name="T14" fmla="*/ 640 w 746"/>
                <a:gd name="T15" fmla="*/ 327 h 1247"/>
                <a:gd name="T16" fmla="*/ 630 w 746"/>
                <a:gd name="T17" fmla="*/ 370 h 1247"/>
                <a:gd name="T18" fmla="*/ 609 w 746"/>
                <a:gd name="T19" fmla="*/ 412 h 1247"/>
                <a:gd name="T20" fmla="*/ 589 w 746"/>
                <a:gd name="T21" fmla="*/ 454 h 1247"/>
                <a:gd name="T22" fmla="*/ 584 w 746"/>
                <a:gd name="T23" fmla="*/ 497 h 1247"/>
                <a:gd name="T24" fmla="*/ 602 w 746"/>
                <a:gd name="T25" fmla="*/ 537 h 1247"/>
                <a:gd name="T26" fmla="*/ 634 w 746"/>
                <a:gd name="T27" fmla="*/ 574 h 1247"/>
                <a:gd name="T28" fmla="*/ 675 w 746"/>
                <a:gd name="T29" fmla="*/ 613 h 1247"/>
                <a:gd name="T30" fmla="*/ 709 w 746"/>
                <a:gd name="T31" fmla="*/ 656 h 1247"/>
                <a:gd name="T32" fmla="*/ 725 w 746"/>
                <a:gd name="T33" fmla="*/ 708 h 1247"/>
                <a:gd name="T34" fmla="*/ 725 w 746"/>
                <a:gd name="T35" fmla="*/ 769 h 1247"/>
                <a:gd name="T36" fmla="*/ 714 w 746"/>
                <a:gd name="T37" fmla="*/ 832 h 1247"/>
                <a:gd name="T38" fmla="*/ 699 w 746"/>
                <a:gd name="T39" fmla="*/ 895 h 1247"/>
                <a:gd name="T40" fmla="*/ 691 w 746"/>
                <a:gd name="T41" fmla="*/ 957 h 1247"/>
                <a:gd name="T42" fmla="*/ 696 w 746"/>
                <a:gd name="T43" fmla="*/ 1019 h 1247"/>
                <a:gd name="T44" fmla="*/ 722 w 746"/>
                <a:gd name="T45" fmla="*/ 1079 h 1247"/>
                <a:gd name="T46" fmla="*/ 534 w 746"/>
                <a:gd name="T47" fmla="*/ 1247 h 1247"/>
                <a:gd name="T48" fmla="*/ 494 w 746"/>
                <a:gd name="T49" fmla="*/ 1156 h 1247"/>
                <a:gd name="T50" fmla="*/ 478 w 746"/>
                <a:gd name="T51" fmla="*/ 1067 h 1247"/>
                <a:gd name="T52" fmla="*/ 479 w 746"/>
                <a:gd name="T53" fmla="*/ 983 h 1247"/>
                <a:gd name="T54" fmla="*/ 491 w 746"/>
                <a:gd name="T55" fmla="*/ 910 h 1247"/>
                <a:gd name="T56" fmla="*/ 506 w 746"/>
                <a:gd name="T57" fmla="*/ 852 h 1247"/>
                <a:gd name="T58" fmla="*/ 524 w 746"/>
                <a:gd name="T59" fmla="*/ 794 h 1247"/>
                <a:gd name="T60" fmla="*/ 535 w 746"/>
                <a:gd name="T61" fmla="*/ 751 h 1247"/>
                <a:gd name="T62" fmla="*/ 532 w 746"/>
                <a:gd name="T63" fmla="*/ 720 h 1247"/>
                <a:gd name="T64" fmla="*/ 508 w 746"/>
                <a:gd name="T65" fmla="*/ 690 h 1247"/>
                <a:gd name="T66" fmla="*/ 473 w 746"/>
                <a:gd name="T67" fmla="*/ 650 h 1247"/>
                <a:gd name="T68" fmla="*/ 440 w 746"/>
                <a:gd name="T69" fmla="*/ 601 h 1247"/>
                <a:gd name="T70" fmla="*/ 417 w 746"/>
                <a:gd name="T71" fmla="*/ 542 h 1247"/>
                <a:gd name="T72" fmla="*/ 409 w 746"/>
                <a:gd name="T73" fmla="*/ 489 h 1247"/>
                <a:gd name="T74" fmla="*/ 413 w 746"/>
                <a:gd name="T75" fmla="*/ 453 h 1247"/>
                <a:gd name="T76" fmla="*/ 420 w 746"/>
                <a:gd name="T77" fmla="*/ 421 h 1247"/>
                <a:gd name="T78" fmla="*/ 431 w 746"/>
                <a:gd name="T79" fmla="*/ 393 h 1247"/>
                <a:gd name="T80" fmla="*/ 440 w 746"/>
                <a:gd name="T81" fmla="*/ 368 h 1247"/>
                <a:gd name="T82" fmla="*/ 448 w 746"/>
                <a:gd name="T83" fmla="*/ 345 h 1247"/>
                <a:gd name="T84" fmla="*/ 449 w 746"/>
                <a:gd name="T85" fmla="*/ 322 h 1247"/>
                <a:gd name="T86" fmla="*/ 442 w 746"/>
                <a:gd name="T87" fmla="*/ 298 h 1247"/>
                <a:gd name="T88" fmla="*/ 424 w 746"/>
                <a:gd name="T89" fmla="*/ 274 h 1247"/>
                <a:gd name="T90" fmla="*/ 391 w 746"/>
                <a:gd name="T91" fmla="*/ 247 h 1247"/>
                <a:gd name="T92" fmla="*/ 341 w 746"/>
                <a:gd name="T93" fmla="*/ 217 h 1247"/>
                <a:gd name="T94" fmla="*/ 274 w 746"/>
                <a:gd name="T95" fmla="*/ 182 h 1247"/>
                <a:gd name="T96" fmla="*/ 183 w 746"/>
                <a:gd name="T97" fmla="*/ 142 h 1247"/>
                <a:gd name="T98" fmla="*/ 68 w 746"/>
                <a:gd name="T99" fmla="*/ 96 h 1247"/>
                <a:gd name="T100" fmla="*/ 116 w 746"/>
                <a:gd name="T101" fmla="*/ 0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6" h="1247">
                  <a:moveTo>
                    <a:pt x="116" y="0"/>
                  </a:moveTo>
                  <a:lnTo>
                    <a:pt x="161" y="14"/>
                  </a:lnTo>
                  <a:lnTo>
                    <a:pt x="210" y="29"/>
                  </a:lnTo>
                  <a:lnTo>
                    <a:pt x="247" y="44"/>
                  </a:lnTo>
                  <a:lnTo>
                    <a:pt x="289" y="60"/>
                  </a:lnTo>
                  <a:lnTo>
                    <a:pt x="332" y="79"/>
                  </a:lnTo>
                  <a:lnTo>
                    <a:pt x="376" y="98"/>
                  </a:lnTo>
                  <a:lnTo>
                    <a:pt x="420" y="120"/>
                  </a:lnTo>
                  <a:lnTo>
                    <a:pt x="463" y="143"/>
                  </a:lnTo>
                  <a:lnTo>
                    <a:pt x="503" y="169"/>
                  </a:lnTo>
                  <a:lnTo>
                    <a:pt x="541" y="194"/>
                  </a:lnTo>
                  <a:lnTo>
                    <a:pt x="573" y="221"/>
                  </a:lnTo>
                  <a:lnTo>
                    <a:pt x="601" y="247"/>
                  </a:lnTo>
                  <a:lnTo>
                    <a:pt x="622" y="276"/>
                  </a:lnTo>
                  <a:lnTo>
                    <a:pt x="636" y="304"/>
                  </a:lnTo>
                  <a:lnTo>
                    <a:pt x="640" y="327"/>
                  </a:lnTo>
                  <a:lnTo>
                    <a:pt x="638" y="349"/>
                  </a:lnTo>
                  <a:lnTo>
                    <a:pt x="630" y="370"/>
                  </a:lnTo>
                  <a:lnTo>
                    <a:pt x="621" y="391"/>
                  </a:lnTo>
                  <a:lnTo>
                    <a:pt x="609" y="412"/>
                  </a:lnTo>
                  <a:lnTo>
                    <a:pt x="598" y="433"/>
                  </a:lnTo>
                  <a:lnTo>
                    <a:pt x="589" y="454"/>
                  </a:lnTo>
                  <a:lnTo>
                    <a:pt x="584" y="476"/>
                  </a:lnTo>
                  <a:lnTo>
                    <a:pt x="584" y="497"/>
                  </a:lnTo>
                  <a:lnTo>
                    <a:pt x="590" y="518"/>
                  </a:lnTo>
                  <a:lnTo>
                    <a:pt x="602" y="537"/>
                  </a:lnTo>
                  <a:lnTo>
                    <a:pt x="617" y="555"/>
                  </a:lnTo>
                  <a:lnTo>
                    <a:pt x="634" y="574"/>
                  </a:lnTo>
                  <a:lnTo>
                    <a:pt x="651" y="591"/>
                  </a:lnTo>
                  <a:lnTo>
                    <a:pt x="675" y="613"/>
                  </a:lnTo>
                  <a:lnTo>
                    <a:pt x="693" y="634"/>
                  </a:lnTo>
                  <a:lnTo>
                    <a:pt x="709" y="656"/>
                  </a:lnTo>
                  <a:lnTo>
                    <a:pt x="719" y="676"/>
                  </a:lnTo>
                  <a:lnTo>
                    <a:pt x="725" y="708"/>
                  </a:lnTo>
                  <a:lnTo>
                    <a:pt x="727" y="738"/>
                  </a:lnTo>
                  <a:lnTo>
                    <a:pt x="725" y="769"/>
                  </a:lnTo>
                  <a:lnTo>
                    <a:pt x="720" y="801"/>
                  </a:lnTo>
                  <a:lnTo>
                    <a:pt x="714" y="832"/>
                  </a:lnTo>
                  <a:lnTo>
                    <a:pt x="706" y="864"/>
                  </a:lnTo>
                  <a:lnTo>
                    <a:pt x="699" y="895"/>
                  </a:lnTo>
                  <a:lnTo>
                    <a:pt x="693" y="927"/>
                  </a:lnTo>
                  <a:lnTo>
                    <a:pt x="691" y="957"/>
                  </a:lnTo>
                  <a:lnTo>
                    <a:pt x="691" y="988"/>
                  </a:lnTo>
                  <a:lnTo>
                    <a:pt x="696" y="1019"/>
                  </a:lnTo>
                  <a:lnTo>
                    <a:pt x="705" y="1049"/>
                  </a:lnTo>
                  <a:lnTo>
                    <a:pt x="722" y="1079"/>
                  </a:lnTo>
                  <a:lnTo>
                    <a:pt x="746" y="1108"/>
                  </a:lnTo>
                  <a:lnTo>
                    <a:pt x="534" y="1247"/>
                  </a:lnTo>
                  <a:lnTo>
                    <a:pt x="509" y="1201"/>
                  </a:lnTo>
                  <a:lnTo>
                    <a:pt x="494" y="1156"/>
                  </a:lnTo>
                  <a:lnTo>
                    <a:pt x="483" y="1110"/>
                  </a:lnTo>
                  <a:lnTo>
                    <a:pt x="478" y="1067"/>
                  </a:lnTo>
                  <a:lnTo>
                    <a:pt x="477" y="1023"/>
                  </a:lnTo>
                  <a:lnTo>
                    <a:pt x="479" y="983"/>
                  </a:lnTo>
                  <a:lnTo>
                    <a:pt x="484" y="945"/>
                  </a:lnTo>
                  <a:lnTo>
                    <a:pt x="491" y="910"/>
                  </a:lnTo>
                  <a:lnTo>
                    <a:pt x="499" y="879"/>
                  </a:lnTo>
                  <a:lnTo>
                    <a:pt x="506" y="852"/>
                  </a:lnTo>
                  <a:lnTo>
                    <a:pt x="514" y="820"/>
                  </a:lnTo>
                  <a:lnTo>
                    <a:pt x="524" y="794"/>
                  </a:lnTo>
                  <a:lnTo>
                    <a:pt x="530" y="771"/>
                  </a:lnTo>
                  <a:lnTo>
                    <a:pt x="535" y="751"/>
                  </a:lnTo>
                  <a:lnTo>
                    <a:pt x="536" y="734"/>
                  </a:lnTo>
                  <a:lnTo>
                    <a:pt x="532" y="720"/>
                  </a:lnTo>
                  <a:lnTo>
                    <a:pt x="524" y="707"/>
                  </a:lnTo>
                  <a:lnTo>
                    <a:pt x="508" y="690"/>
                  </a:lnTo>
                  <a:lnTo>
                    <a:pt x="490" y="672"/>
                  </a:lnTo>
                  <a:lnTo>
                    <a:pt x="473" y="650"/>
                  </a:lnTo>
                  <a:lnTo>
                    <a:pt x="456" y="627"/>
                  </a:lnTo>
                  <a:lnTo>
                    <a:pt x="440" y="601"/>
                  </a:lnTo>
                  <a:lnTo>
                    <a:pt x="427" y="574"/>
                  </a:lnTo>
                  <a:lnTo>
                    <a:pt x="417" y="542"/>
                  </a:lnTo>
                  <a:lnTo>
                    <a:pt x="411" y="510"/>
                  </a:lnTo>
                  <a:lnTo>
                    <a:pt x="409" y="489"/>
                  </a:lnTo>
                  <a:lnTo>
                    <a:pt x="410" y="471"/>
                  </a:lnTo>
                  <a:lnTo>
                    <a:pt x="413" y="453"/>
                  </a:lnTo>
                  <a:lnTo>
                    <a:pt x="416" y="437"/>
                  </a:lnTo>
                  <a:lnTo>
                    <a:pt x="420" y="421"/>
                  </a:lnTo>
                  <a:lnTo>
                    <a:pt x="425" y="407"/>
                  </a:lnTo>
                  <a:lnTo>
                    <a:pt x="431" y="393"/>
                  </a:lnTo>
                  <a:lnTo>
                    <a:pt x="436" y="381"/>
                  </a:lnTo>
                  <a:lnTo>
                    <a:pt x="440" y="368"/>
                  </a:lnTo>
                  <a:lnTo>
                    <a:pt x="444" y="356"/>
                  </a:lnTo>
                  <a:lnTo>
                    <a:pt x="448" y="345"/>
                  </a:lnTo>
                  <a:lnTo>
                    <a:pt x="449" y="333"/>
                  </a:lnTo>
                  <a:lnTo>
                    <a:pt x="449" y="322"/>
                  </a:lnTo>
                  <a:lnTo>
                    <a:pt x="447" y="310"/>
                  </a:lnTo>
                  <a:lnTo>
                    <a:pt x="442" y="298"/>
                  </a:lnTo>
                  <a:lnTo>
                    <a:pt x="434" y="286"/>
                  </a:lnTo>
                  <a:lnTo>
                    <a:pt x="424" y="274"/>
                  </a:lnTo>
                  <a:lnTo>
                    <a:pt x="409" y="260"/>
                  </a:lnTo>
                  <a:lnTo>
                    <a:pt x="391" y="247"/>
                  </a:lnTo>
                  <a:lnTo>
                    <a:pt x="368" y="233"/>
                  </a:lnTo>
                  <a:lnTo>
                    <a:pt x="341" y="217"/>
                  </a:lnTo>
                  <a:lnTo>
                    <a:pt x="310" y="200"/>
                  </a:lnTo>
                  <a:lnTo>
                    <a:pt x="274" y="182"/>
                  </a:lnTo>
                  <a:lnTo>
                    <a:pt x="231" y="162"/>
                  </a:lnTo>
                  <a:lnTo>
                    <a:pt x="183" y="142"/>
                  </a:lnTo>
                  <a:lnTo>
                    <a:pt x="129" y="120"/>
                  </a:lnTo>
                  <a:lnTo>
                    <a:pt x="68" y="96"/>
                  </a:lnTo>
                  <a:lnTo>
                    <a:pt x="0" y="71"/>
                  </a:lnTo>
                  <a:lnTo>
                    <a:pt x="116" y="0"/>
                  </a:ln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Arial"/>
                <a:ea typeface="ＭＳ Ｐゴシック"/>
              </a:endParaRPr>
            </a:p>
          </p:txBody>
        </p:sp>
      </p:grpSp>
      <p:grpSp>
        <p:nvGrpSpPr>
          <p:cNvPr id="251" name="Group 250"/>
          <p:cNvGrpSpPr/>
          <p:nvPr/>
        </p:nvGrpSpPr>
        <p:grpSpPr>
          <a:xfrm>
            <a:off x="6284760" y="5084523"/>
            <a:ext cx="1012179" cy="574864"/>
            <a:chOff x="4372068" y="4651789"/>
            <a:chExt cx="837487" cy="475648"/>
          </a:xfrm>
        </p:grpSpPr>
        <p:grpSp>
          <p:nvGrpSpPr>
            <p:cNvPr id="252" name="Group 251"/>
            <p:cNvGrpSpPr/>
            <p:nvPr/>
          </p:nvGrpSpPr>
          <p:grpSpPr>
            <a:xfrm>
              <a:off x="4372068" y="4651789"/>
              <a:ext cx="532328" cy="359495"/>
              <a:chOff x="4372068" y="4651789"/>
              <a:chExt cx="532328" cy="359495"/>
            </a:xfrm>
          </p:grpSpPr>
          <p:sp>
            <p:nvSpPr>
              <p:cNvPr id="257" name="Freeform 56"/>
              <p:cNvSpPr>
                <a:spLocks/>
              </p:cNvSpPr>
              <p:nvPr/>
            </p:nvSpPr>
            <p:spPr bwMode="auto">
              <a:xfrm>
                <a:off x="4372068" y="4651789"/>
                <a:ext cx="448217" cy="359495"/>
              </a:xfrm>
              <a:custGeom>
                <a:avLst/>
                <a:gdLst>
                  <a:gd name="T0" fmla="*/ 1522 w 1945"/>
                  <a:gd name="T1" fmla="*/ 0 h 1560"/>
                  <a:gd name="T2" fmla="*/ 1573 w 1945"/>
                  <a:gd name="T3" fmla="*/ 13 h 1560"/>
                  <a:gd name="T4" fmla="*/ 1609 w 1945"/>
                  <a:gd name="T5" fmla="*/ 50 h 1560"/>
                  <a:gd name="T6" fmla="*/ 1624 w 1945"/>
                  <a:gd name="T7" fmla="*/ 102 h 1560"/>
                  <a:gd name="T8" fmla="*/ 1621 w 1945"/>
                  <a:gd name="T9" fmla="*/ 301 h 1560"/>
                  <a:gd name="T10" fmla="*/ 1919 w 1945"/>
                  <a:gd name="T11" fmla="*/ 632 h 1560"/>
                  <a:gd name="T12" fmla="*/ 1873 w 1945"/>
                  <a:gd name="T13" fmla="*/ 683 h 1560"/>
                  <a:gd name="T14" fmla="*/ 1538 w 1945"/>
                  <a:gd name="T15" fmla="*/ 381 h 1560"/>
                  <a:gd name="T16" fmla="*/ 1343 w 1945"/>
                  <a:gd name="T17" fmla="*/ 382 h 1560"/>
                  <a:gd name="T18" fmla="*/ 1313 w 1945"/>
                  <a:gd name="T19" fmla="*/ 377 h 1560"/>
                  <a:gd name="T20" fmla="*/ 1063 w 1945"/>
                  <a:gd name="T21" fmla="*/ 643 h 1560"/>
                  <a:gd name="T22" fmla="*/ 1830 w 1945"/>
                  <a:gd name="T23" fmla="*/ 774 h 1560"/>
                  <a:gd name="T24" fmla="*/ 1820 w 1945"/>
                  <a:gd name="T25" fmla="*/ 854 h 1560"/>
                  <a:gd name="T26" fmla="*/ 1063 w 1945"/>
                  <a:gd name="T27" fmla="*/ 802 h 1560"/>
                  <a:gd name="T28" fmla="*/ 1059 w 1945"/>
                  <a:gd name="T29" fmla="*/ 849 h 1560"/>
                  <a:gd name="T30" fmla="*/ 1034 w 1945"/>
                  <a:gd name="T31" fmla="*/ 894 h 1560"/>
                  <a:gd name="T32" fmla="*/ 988 w 1945"/>
                  <a:gd name="T33" fmla="*/ 920 h 1560"/>
                  <a:gd name="T34" fmla="*/ 783 w 1945"/>
                  <a:gd name="T35" fmla="*/ 924 h 1560"/>
                  <a:gd name="T36" fmla="*/ 740 w 1945"/>
                  <a:gd name="T37" fmla="*/ 913 h 1560"/>
                  <a:gd name="T38" fmla="*/ 706 w 1945"/>
                  <a:gd name="T39" fmla="*/ 888 h 1560"/>
                  <a:gd name="T40" fmla="*/ 382 w 1945"/>
                  <a:gd name="T41" fmla="*/ 1007 h 1560"/>
                  <a:gd name="T42" fmla="*/ 1104 w 1945"/>
                  <a:gd name="T43" fmla="*/ 1258 h 1560"/>
                  <a:gd name="T44" fmla="*/ 1123 w 1945"/>
                  <a:gd name="T45" fmla="*/ 1216 h 1560"/>
                  <a:gd name="T46" fmla="*/ 1158 w 1945"/>
                  <a:gd name="T47" fmla="*/ 1189 h 1560"/>
                  <a:gd name="T48" fmla="*/ 1203 w 1945"/>
                  <a:gd name="T49" fmla="*/ 1178 h 1560"/>
                  <a:gd name="T50" fmla="*/ 1408 w 1945"/>
                  <a:gd name="T51" fmla="*/ 1181 h 1560"/>
                  <a:gd name="T52" fmla="*/ 1453 w 1945"/>
                  <a:gd name="T53" fmla="*/ 1208 h 1560"/>
                  <a:gd name="T54" fmla="*/ 1857 w 1945"/>
                  <a:gd name="T55" fmla="*/ 996 h 1560"/>
                  <a:gd name="T56" fmla="*/ 1896 w 1945"/>
                  <a:gd name="T57" fmla="*/ 1052 h 1560"/>
                  <a:gd name="T58" fmla="*/ 1483 w 1945"/>
                  <a:gd name="T59" fmla="*/ 1458 h 1560"/>
                  <a:gd name="T60" fmla="*/ 1469 w 1945"/>
                  <a:gd name="T61" fmla="*/ 1510 h 1560"/>
                  <a:gd name="T62" fmla="*/ 1433 w 1945"/>
                  <a:gd name="T63" fmla="*/ 1547 h 1560"/>
                  <a:gd name="T64" fmla="*/ 1382 w 1945"/>
                  <a:gd name="T65" fmla="*/ 1560 h 1560"/>
                  <a:gd name="T66" fmla="*/ 1176 w 1945"/>
                  <a:gd name="T67" fmla="*/ 1556 h 1560"/>
                  <a:gd name="T68" fmla="*/ 1132 w 1945"/>
                  <a:gd name="T69" fmla="*/ 1531 h 1560"/>
                  <a:gd name="T70" fmla="*/ 1105 w 1945"/>
                  <a:gd name="T71" fmla="*/ 1485 h 1560"/>
                  <a:gd name="T72" fmla="*/ 1101 w 1945"/>
                  <a:gd name="T73" fmla="*/ 1364 h 1560"/>
                  <a:gd name="T74" fmla="*/ 371 w 1945"/>
                  <a:gd name="T75" fmla="*/ 1164 h 1560"/>
                  <a:gd name="T76" fmla="*/ 344 w 1945"/>
                  <a:gd name="T77" fmla="*/ 1200 h 1560"/>
                  <a:gd name="T78" fmla="*/ 303 w 1945"/>
                  <a:gd name="T79" fmla="*/ 1220 h 1560"/>
                  <a:gd name="T80" fmla="*/ 101 w 1945"/>
                  <a:gd name="T81" fmla="*/ 1223 h 1560"/>
                  <a:gd name="T82" fmla="*/ 49 w 1945"/>
                  <a:gd name="T83" fmla="*/ 1209 h 1560"/>
                  <a:gd name="T84" fmla="*/ 13 w 1945"/>
                  <a:gd name="T85" fmla="*/ 1172 h 1560"/>
                  <a:gd name="T86" fmla="*/ 0 w 1945"/>
                  <a:gd name="T87" fmla="*/ 1121 h 1560"/>
                  <a:gd name="T88" fmla="*/ 4 w 1945"/>
                  <a:gd name="T89" fmla="*/ 915 h 1560"/>
                  <a:gd name="T90" fmla="*/ 29 w 1945"/>
                  <a:gd name="T91" fmla="*/ 871 h 1560"/>
                  <a:gd name="T92" fmla="*/ 75 w 1945"/>
                  <a:gd name="T93" fmla="*/ 844 h 1560"/>
                  <a:gd name="T94" fmla="*/ 279 w 1945"/>
                  <a:gd name="T95" fmla="*/ 840 h 1560"/>
                  <a:gd name="T96" fmla="*/ 325 w 1945"/>
                  <a:gd name="T97" fmla="*/ 851 h 1560"/>
                  <a:gd name="T98" fmla="*/ 360 w 1945"/>
                  <a:gd name="T99" fmla="*/ 880 h 1560"/>
                  <a:gd name="T100" fmla="*/ 681 w 1945"/>
                  <a:gd name="T101" fmla="*/ 764 h 1560"/>
                  <a:gd name="T102" fmla="*/ 684 w 1945"/>
                  <a:gd name="T103" fmla="*/ 616 h 1560"/>
                  <a:gd name="T104" fmla="*/ 711 w 1945"/>
                  <a:gd name="T105" fmla="*/ 571 h 1560"/>
                  <a:gd name="T106" fmla="*/ 756 w 1945"/>
                  <a:gd name="T107" fmla="*/ 544 h 1560"/>
                  <a:gd name="T108" fmla="*/ 961 w 1945"/>
                  <a:gd name="T109" fmla="*/ 541 h 1560"/>
                  <a:gd name="T110" fmla="*/ 991 w 1945"/>
                  <a:gd name="T111" fmla="*/ 547 h 1560"/>
                  <a:gd name="T112" fmla="*/ 1242 w 1945"/>
                  <a:gd name="T113" fmla="*/ 281 h 1560"/>
                  <a:gd name="T114" fmla="*/ 1245 w 1945"/>
                  <a:gd name="T115" fmla="*/ 75 h 1560"/>
                  <a:gd name="T116" fmla="*/ 1271 w 1945"/>
                  <a:gd name="T117" fmla="*/ 29 h 1560"/>
                  <a:gd name="T118" fmla="*/ 1317 w 1945"/>
                  <a:gd name="T119" fmla="*/ 4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45" h="1560">
                    <a:moveTo>
                      <a:pt x="1343" y="0"/>
                    </a:moveTo>
                    <a:lnTo>
                      <a:pt x="1522" y="0"/>
                    </a:lnTo>
                    <a:lnTo>
                      <a:pt x="1549" y="4"/>
                    </a:lnTo>
                    <a:lnTo>
                      <a:pt x="1573" y="13"/>
                    </a:lnTo>
                    <a:lnTo>
                      <a:pt x="1593" y="29"/>
                    </a:lnTo>
                    <a:lnTo>
                      <a:pt x="1609" y="50"/>
                    </a:lnTo>
                    <a:lnTo>
                      <a:pt x="1620" y="75"/>
                    </a:lnTo>
                    <a:lnTo>
                      <a:pt x="1624" y="102"/>
                    </a:lnTo>
                    <a:lnTo>
                      <a:pt x="1624" y="281"/>
                    </a:lnTo>
                    <a:lnTo>
                      <a:pt x="1621" y="301"/>
                    </a:lnTo>
                    <a:lnTo>
                      <a:pt x="1945" y="612"/>
                    </a:lnTo>
                    <a:lnTo>
                      <a:pt x="1919" y="632"/>
                    </a:lnTo>
                    <a:lnTo>
                      <a:pt x="1895" y="657"/>
                    </a:lnTo>
                    <a:lnTo>
                      <a:pt x="1873" y="683"/>
                    </a:lnTo>
                    <a:lnTo>
                      <a:pt x="1552" y="376"/>
                    </a:lnTo>
                    <a:lnTo>
                      <a:pt x="1538" y="381"/>
                    </a:lnTo>
                    <a:lnTo>
                      <a:pt x="1522" y="382"/>
                    </a:lnTo>
                    <a:lnTo>
                      <a:pt x="1343" y="382"/>
                    </a:lnTo>
                    <a:lnTo>
                      <a:pt x="1327" y="381"/>
                    </a:lnTo>
                    <a:lnTo>
                      <a:pt x="1313" y="377"/>
                    </a:lnTo>
                    <a:lnTo>
                      <a:pt x="1060" y="620"/>
                    </a:lnTo>
                    <a:lnTo>
                      <a:pt x="1063" y="643"/>
                    </a:lnTo>
                    <a:lnTo>
                      <a:pt x="1063" y="700"/>
                    </a:lnTo>
                    <a:lnTo>
                      <a:pt x="1830" y="774"/>
                    </a:lnTo>
                    <a:lnTo>
                      <a:pt x="1823" y="813"/>
                    </a:lnTo>
                    <a:lnTo>
                      <a:pt x="1820" y="854"/>
                    </a:lnTo>
                    <a:lnTo>
                      <a:pt x="1821" y="876"/>
                    </a:lnTo>
                    <a:lnTo>
                      <a:pt x="1063" y="802"/>
                    </a:lnTo>
                    <a:lnTo>
                      <a:pt x="1063" y="821"/>
                    </a:lnTo>
                    <a:lnTo>
                      <a:pt x="1059" y="849"/>
                    </a:lnTo>
                    <a:lnTo>
                      <a:pt x="1049" y="873"/>
                    </a:lnTo>
                    <a:lnTo>
                      <a:pt x="1034" y="894"/>
                    </a:lnTo>
                    <a:lnTo>
                      <a:pt x="1013" y="909"/>
                    </a:lnTo>
                    <a:lnTo>
                      <a:pt x="988" y="920"/>
                    </a:lnTo>
                    <a:lnTo>
                      <a:pt x="961" y="924"/>
                    </a:lnTo>
                    <a:lnTo>
                      <a:pt x="783" y="924"/>
                    </a:lnTo>
                    <a:lnTo>
                      <a:pt x="760" y="920"/>
                    </a:lnTo>
                    <a:lnTo>
                      <a:pt x="740" y="913"/>
                    </a:lnTo>
                    <a:lnTo>
                      <a:pt x="722" y="902"/>
                    </a:lnTo>
                    <a:lnTo>
                      <a:pt x="706" y="888"/>
                    </a:lnTo>
                    <a:lnTo>
                      <a:pt x="694" y="869"/>
                    </a:lnTo>
                    <a:lnTo>
                      <a:pt x="382" y="1007"/>
                    </a:lnTo>
                    <a:lnTo>
                      <a:pt x="382" y="1036"/>
                    </a:lnTo>
                    <a:lnTo>
                      <a:pt x="1104" y="1258"/>
                    </a:lnTo>
                    <a:lnTo>
                      <a:pt x="1111" y="1236"/>
                    </a:lnTo>
                    <a:lnTo>
                      <a:pt x="1123" y="1216"/>
                    </a:lnTo>
                    <a:lnTo>
                      <a:pt x="1139" y="1201"/>
                    </a:lnTo>
                    <a:lnTo>
                      <a:pt x="1158" y="1189"/>
                    </a:lnTo>
                    <a:lnTo>
                      <a:pt x="1180" y="1181"/>
                    </a:lnTo>
                    <a:lnTo>
                      <a:pt x="1203" y="1178"/>
                    </a:lnTo>
                    <a:lnTo>
                      <a:pt x="1382" y="1178"/>
                    </a:lnTo>
                    <a:lnTo>
                      <a:pt x="1408" y="1181"/>
                    </a:lnTo>
                    <a:lnTo>
                      <a:pt x="1433" y="1192"/>
                    </a:lnTo>
                    <a:lnTo>
                      <a:pt x="1453" y="1208"/>
                    </a:lnTo>
                    <a:lnTo>
                      <a:pt x="1843" y="965"/>
                    </a:lnTo>
                    <a:lnTo>
                      <a:pt x="1857" y="996"/>
                    </a:lnTo>
                    <a:lnTo>
                      <a:pt x="1875" y="1025"/>
                    </a:lnTo>
                    <a:lnTo>
                      <a:pt x="1896" y="1052"/>
                    </a:lnTo>
                    <a:lnTo>
                      <a:pt x="1483" y="1310"/>
                    </a:lnTo>
                    <a:lnTo>
                      <a:pt x="1483" y="1458"/>
                    </a:lnTo>
                    <a:lnTo>
                      <a:pt x="1480" y="1485"/>
                    </a:lnTo>
                    <a:lnTo>
                      <a:pt x="1469" y="1510"/>
                    </a:lnTo>
                    <a:lnTo>
                      <a:pt x="1453" y="1531"/>
                    </a:lnTo>
                    <a:lnTo>
                      <a:pt x="1433" y="1547"/>
                    </a:lnTo>
                    <a:lnTo>
                      <a:pt x="1408" y="1556"/>
                    </a:lnTo>
                    <a:lnTo>
                      <a:pt x="1382" y="1560"/>
                    </a:lnTo>
                    <a:lnTo>
                      <a:pt x="1203" y="1560"/>
                    </a:lnTo>
                    <a:lnTo>
                      <a:pt x="1176" y="1556"/>
                    </a:lnTo>
                    <a:lnTo>
                      <a:pt x="1152" y="1547"/>
                    </a:lnTo>
                    <a:lnTo>
                      <a:pt x="1132" y="1531"/>
                    </a:lnTo>
                    <a:lnTo>
                      <a:pt x="1115" y="1510"/>
                    </a:lnTo>
                    <a:lnTo>
                      <a:pt x="1105" y="1485"/>
                    </a:lnTo>
                    <a:lnTo>
                      <a:pt x="1101" y="1458"/>
                    </a:lnTo>
                    <a:lnTo>
                      <a:pt x="1101" y="1364"/>
                    </a:lnTo>
                    <a:lnTo>
                      <a:pt x="380" y="1143"/>
                    </a:lnTo>
                    <a:lnTo>
                      <a:pt x="371" y="1164"/>
                    </a:lnTo>
                    <a:lnTo>
                      <a:pt x="360" y="1184"/>
                    </a:lnTo>
                    <a:lnTo>
                      <a:pt x="344" y="1200"/>
                    </a:lnTo>
                    <a:lnTo>
                      <a:pt x="325" y="1212"/>
                    </a:lnTo>
                    <a:lnTo>
                      <a:pt x="303" y="1220"/>
                    </a:lnTo>
                    <a:lnTo>
                      <a:pt x="279" y="1223"/>
                    </a:lnTo>
                    <a:lnTo>
                      <a:pt x="101" y="1223"/>
                    </a:lnTo>
                    <a:lnTo>
                      <a:pt x="75" y="1219"/>
                    </a:lnTo>
                    <a:lnTo>
                      <a:pt x="49" y="1209"/>
                    </a:lnTo>
                    <a:lnTo>
                      <a:pt x="29" y="1192"/>
                    </a:lnTo>
                    <a:lnTo>
                      <a:pt x="13" y="1172"/>
                    </a:lnTo>
                    <a:lnTo>
                      <a:pt x="4" y="1148"/>
                    </a:lnTo>
                    <a:lnTo>
                      <a:pt x="0" y="1121"/>
                    </a:lnTo>
                    <a:lnTo>
                      <a:pt x="0" y="942"/>
                    </a:lnTo>
                    <a:lnTo>
                      <a:pt x="4" y="915"/>
                    </a:lnTo>
                    <a:lnTo>
                      <a:pt x="13" y="891"/>
                    </a:lnTo>
                    <a:lnTo>
                      <a:pt x="29" y="871"/>
                    </a:lnTo>
                    <a:lnTo>
                      <a:pt x="49" y="855"/>
                    </a:lnTo>
                    <a:lnTo>
                      <a:pt x="75" y="844"/>
                    </a:lnTo>
                    <a:lnTo>
                      <a:pt x="101" y="840"/>
                    </a:lnTo>
                    <a:lnTo>
                      <a:pt x="279" y="840"/>
                    </a:lnTo>
                    <a:lnTo>
                      <a:pt x="303" y="843"/>
                    </a:lnTo>
                    <a:lnTo>
                      <a:pt x="325" y="851"/>
                    </a:lnTo>
                    <a:lnTo>
                      <a:pt x="344" y="865"/>
                    </a:lnTo>
                    <a:lnTo>
                      <a:pt x="360" y="880"/>
                    </a:lnTo>
                    <a:lnTo>
                      <a:pt x="372" y="900"/>
                    </a:lnTo>
                    <a:lnTo>
                      <a:pt x="681" y="764"/>
                    </a:lnTo>
                    <a:lnTo>
                      <a:pt x="681" y="643"/>
                    </a:lnTo>
                    <a:lnTo>
                      <a:pt x="684" y="616"/>
                    </a:lnTo>
                    <a:lnTo>
                      <a:pt x="695" y="591"/>
                    </a:lnTo>
                    <a:lnTo>
                      <a:pt x="711" y="571"/>
                    </a:lnTo>
                    <a:lnTo>
                      <a:pt x="731" y="555"/>
                    </a:lnTo>
                    <a:lnTo>
                      <a:pt x="756" y="544"/>
                    </a:lnTo>
                    <a:lnTo>
                      <a:pt x="783" y="541"/>
                    </a:lnTo>
                    <a:lnTo>
                      <a:pt x="961" y="541"/>
                    </a:lnTo>
                    <a:lnTo>
                      <a:pt x="977" y="543"/>
                    </a:lnTo>
                    <a:lnTo>
                      <a:pt x="991" y="547"/>
                    </a:lnTo>
                    <a:lnTo>
                      <a:pt x="1244" y="302"/>
                    </a:lnTo>
                    <a:lnTo>
                      <a:pt x="1242" y="281"/>
                    </a:lnTo>
                    <a:lnTo>
                      <a:pt x="1242" y="102"/>
                    </a:lnTo>
                    <a:lnTo>
                      <a:pt x="1245" y="75"/>
                    </a:lnTo>
                    <a:lnTo>
                      <a:pt x="1255" y="50"/>
                    </a:lnTo>
                    <a:lnTo>
                      <a:pt x="1271" y="29"/>
                    </a:lnTo>
                    <a:lnTo>
                      <a:pt x="1292" y="13"/>
                    </a:lnTo>
                    <a:lnTo>
                      <a:pt x="1317" y="4"/>
                    </a:lnTo>
                    <a:lnTo>
                      <a:pt x="1343" y="0"/>
                    </a:ln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Arial"/>
                  <a:ea typeface="ＭＳ Ｐゴシック"/>
                </a:endParaRPr>
              </a:p>
            </p:txBody>
          </p:sp>
          <p:sp>
            <p:nvSpPr>
              <p:cNvPr id="258" name="Freeform 57"/>
              <p:cNvSpPr>
                <a:spLocks/>
              </p:cNvSpPr>
              <p:nvPr/>
            </p:nvSpPr>
            <p:spPr bwMode="auto">
              <a:xfrm>
                <a:off x="4814523" y="4802730"/>
                <a:ext cx="89873" cy="91027"/>
              </a:xfrm>
              <a:custGeom>
                <a:avLst/>
                <a:gdLst>
                  <a:gd name="T0" fmla="*/ 197 w 394"/>
                  <a:gd name="T1" fmla="*/ 0 h 396"/>
                  <a:gd name="T2" fmla="*/ 232 w 394"/>
                  <a:gd name="T3" fmla="*/ 4 h 396"/>
                  <a:gd name="T4" fmla="*/ 266 w 394"/>
                  <a:gd name="T5" fmla="*/ 13 h 396"/>
                  <a:gd name="T6" fmla="*/ 296 w 394"/>
                  <a:gd name="T7" fmla="*/ 28 h 396"/>
                  <a:gd name="T8" fmla="*/ 324 w 394"/>
                  <a:gd name="T9" fmla="*/ 48 h 396"/>
                  <a:gd name="T10" fmla="*/ 348 w 394"/>
                  <a:gd name="T11" fmla="*/ 71 h 396"/>
                  <a:gd name="T12" fmla="*/ 368 w 394"/>
                  <a:gd name="T13" fmla="*/ 98 h 396"/>
                  <a:gd name="T14" fmla="*/ 382 w 394"/>
                  <a:gd name="T15" fmla="*/ 130 h 396"/>
                  <a:gd name="T16" fmla="*/ 392 w 394"/>
                  <a:gd name="T17" fmla="*/ 162 h 396"/>
                  <a:gd name="T18" fmla="*/ 394 w 394"/>
                  <a:gd name="T19" fmla="*/ 199 h 396"/>
                  <a:gd name="T20" fmla="*/ 392 w 394"/>
                  <a:gd name="T21" fmla="*/ 234 h 396"/>
                  <a:gd name="T22" fmla="*/ 382 w 394"/>
                  <a:gd name="T23" fmla="*/ 268 h 396"/>
                  <a:gd name="T24" fmla="*/ 368 w 394"/>
                  <a:gd name="T25" fmla="*/ 298 h 396"/>
                  <a:gd name="T26" fmla="*/ 348 w 394"/>
                  <a:gd name="T27" fmla="*/ 326 h 396"/>
                  <a:gd name="T28" fmla="*/ 324 w 394"/>
                  <a:gd name="T29" fmla="*/ 349 h 396"/>
                  <a:gd name="T30" fmla="*/ 296 w 394"/>
                  <a:gd name="T31" fmla="*/ 369 h 396"/>
                  <a:gd name="T32" fmla="*/ 266 w 394"/>
                  <a:gd name="T33" fmla="*/ 384 h 396"/>
                  <a:gd name="T34" fmla="*/ 232 w 394"/>
                  <a:gd name="T35" fmla="*/ 392 h 396"/>
                  <a:gd name="T36" fmla="*/ 197 w 394"/>
                  <a:gd name="T37" fmla="*/ 396 h 396"/>
                  <a:gd name="T38" fmla="*/ 162 w 394"/>
                  <a:gd name="T39" fmla="*/ 392 h 396"/>
                  <a:gd name="T40" fmla="*/ 128 w 394"/>
                  <a:gd name="T41" fmla="*/ 384 h 396"/>
                  <a:gd name="T42" fmla="*/ 98 w 394"/>
                  <a:gd name="T43" fmla="*/ 369 h 396"/>
                  <a:gd name="T44" fmla="*/ 70 w 394"/>
                  <a:gd name="T45" fmla="*/ 349 h 396"/>
                  <a:gd name="T46" fmla="*/ 46 w 394"/>
                  <a:gd name="T47" fmla="*/ 326 h 396"/>
                  <a:gd name="T48" fmla="*/ 27 w 394"/>
                  <a:gd name="T49" fmla="*/ 298 h 396"/>
                  <a:gd name="T50" fmla="*/ 12 w 394"/>
                  <a:gd name="T51" fmla="*/ 268 h 396"/>
                  <a:gd name="T52" fmla="*/ 2 w 394"/>
                  <a:gd name="T53" fmla="*/ 234 h 396"/>
                  <a:gd name="T54" fmla="*/ 0 w 394"/>
                  <a:gd name="T55" fmla="*/ 199 h 396"/>
                  <a:gd name="T56" fmla="*/ 2 w 394"/>
                  <a:gd name="T57" fmla="*/ 162 h 396"/>
                  <a:gd name="T58" fmla="*/ 12 w 394"/>
                  <a:gd name="T59" fmla="*/ 130 h 396"/>
                  <a:gd name="T60" fmla="*/ 27 w 394"/>
                  <a:gd name="T61" fmla="*/ 98 h 396"/>
                  <a:gd name="T62" fmla="*/ 46 w 394"/>
                  <a:gd name="T63" fmla="*/ 71 h 396"/>
                  <a:gd name="T64" fmla="*/ 70 w 394"/>
                  <a:gd name="T65" fmla="*/ 48 h 396"/>
                  <a:gd name="T66" fmla="*/ 98 w 394"/>
                  <a:gd name="T67" fmla="*/ 28 h 396"/>
                  <a:gd name="T68" fmla="*/ 128 w 394"/>
                  <a:gd name="T69" fmla="*/ 13 h 396"/>
                  <a:gd name="T70" fmla="*/ 162 w 394"/>
                  <a:gd name="T71" fmla="*/ 4 h 396"/>
                  <a:gd name="T72" fmla="*/ 197 w 394"/>
                  <a:gd name="T7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4" h="396">
                    <a:moveTo>
                      <a:pt x="197" y="0"/>
                    </a:moveTo>
                    <a:lnTo>
                      <a:pt x="232" y="4"/>
                    </a:lnTo>
                    <a:lnTo>
                      <a:pt x="266" y="13"/>
                    </a:lnTo>
                    <a:lnTo>
                      <a:pt x="296" y="28"/>
                    </a:lnTo>
                    <a:lnTo>
                      <a:pt x="324" y="48"/>
                    </a:lnTo>
                    <a:lnTo>
                      <a:pt x="348" y="71"/>
                    </a:lnTo>
                    <a:lnTo>
                      <a:pt x="368" y="98"/>
                    </a:lnTo>
                    <a:lnTo>
                      <a:pt x="382" y="130"/>
                    </a:lnTo>
                    <a:lnTo>
                      <a:pt x="392" y="162"/>
                    </a:lnTo>
                    <a:lnTo>
                      <a:pt x="394" y="199"/>
                    </a:lnTo>
                    <a:lnTo>
                      <a:pt x="392" y="234"/>
                    </a:lnTo>
                    <a:lnTo>
                      <a:pt x="382" y="268"/>
                    </a:lnTo>
                    <a:lnTo>
                      <a:pt x="368" y="298"/>
                    </a:lnTo>
                    <a:lnTo>
                      <a:pt x="348" y="326"/>
                    </a:lnTo>
                    <a:lnTo>
                      <a:pt x="324" y="349"/>
                    </a:lnTo>
                    <a:lnTo>
                      <a:pt x="296" y="369"/>
                    </a:lnTo>
                    <a:lnTo>
                      <a:pt x="266" y="384"/>
                    </a:lnTo>
                    <a:lnTo>
                      <a:pt x="232" y="392"/>
                    </a:lnTo>
                    <a:lnTo>
                      <a:pt x="197" y="396"/>
                    </a:lnTo>
                    <a:lnTo>
                      <a:pt x="162" y="392"/>
                    </a:lnTo>
                    <a:lnTo>
                      <a:pt x="128" y="384"/>
                    </a:lnTo>
                    <a:lnTo>
                      <a:pt x="98" y="369"/>
                    </a:lnTo>
                    <a:lnTo>
                      <a:pt x="70" y="349"/>
                    </a:lnTo>
                    <a:lnTo>
                      <a:pt x="46" y="326"/>
                    </a:lnTo>
                    <a:lnTo>
                      <a:pt x="27" y="298"/>
                    </a:lnTo>
                    <a:lnTo>
                      <a:pt x="12" y="268"/>
                    </a:lnTo>
                    <a:lnTo>
                      <a:pt x="2" y="234"/>
                    </a:lnTo>
                    <a:lnTo>
                      <a:pt x="0" y="199"/>
                    </a:lnTo>
                    <a:lnTo>
                      <a:pt x="2" y="162"/>
                    </a:lnTo>
                    <a:lnTo>
                      <a:pt x="12" y="130"/>
                    </a:lnTo>
                    <a:lnTo>
                      <a:pt x="27" y="98"/>
                    </a:lnTo>
                    <a:lnTo>
                      <a:pt x="46" y="71"/>
                    </a:lnTo>
                    <a:lnTo>
                      <a:pt x="70" y="48"/>
                    </a:lnTo>
                    <a:lnTo>
                      <a:pt x="98" y="28"/>
                    </a:lnTo>
                    <a:lnTo>
                      <a:pt x="128" y="13"/>
                    </a:lnTo>
                    <a:lnTo>
                      <a:pt x="162" y="4"/>
                    </a:lnTo>
                    <a:lnTo>
                      <a:pt x="197" y="0"/>
                    </a:lnTo>
                    <a:close/>
                  </a:path>
                </a:pathLst>
              </a:custGeom>
              <a:solidFill>
                <a:srgbClr val="F3B82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Arial"/>
                  <a:ea typeface="ＭＳ Ｐゴシック"/>
                </a:endParaRPr>
              </a:p>
            </p:txBody>
          </p:sp>
        </p:grpSp>
        <p:grpSp>
          <p:nvGrpSpPr>
            <p:cNvPr id="253" name="Group 252"/>
            <p:cNvGrpSpPr/>
            <p:nvPr/>
          </p:nvGrpSpPr>
          <p:grpSpPr>
            <a:xfrm>
              <a:off x="4773730" y="4651950"/>
              <a:ext cx="435825" cy="475487"/>
              <a:chOff x="4773730" y="4651950"/>
              <a:chExt cx="435825" cy="475487"/>
            </a:xfrm>
          </p:grpSpPr>
          <p:sp>
            <p:nvSpPr>
              <p:cNvPr id="254" name="Freeform 253"/>
              <p:cNvSpPr>
                <a:spLocks/>
              </p:cNvSpPr>
              <p:nvPr/>
            </p:nvSpPr>
            <p:spPr bwMode="auto">
              <a:xfrm>
                <a:off x="4773730" y="4961229"/>
                <a:ext cx="435824" cy="166208"/>
              </a:xfrm>
              <a:custGeom>
                <a:avLst/>
                <a:gdLst>
                  <a:gd name="T0" fmla="*/ 425 w 3693"/>
                  <a:gd name="T1" fmla="*/ 0 h 1406"/>
                  <a:gd name="T2" fmla="*/ 1772 w 3693"/>
                  <a:gd name="T3" fmla="*/ 809 h 1406"/>
                  <a:gd name="T4" fmla="*/ 1790 w 3693"/>
                  <a:gd name="T5" fmla="*/ 816 h 1406"/>
                  <a:gd name="T6" fmla="*/ 1811 w 3693"/>
                  <a:gd name="T7" fmla="*/ 822 h 1406"/>
                  <a:gd name="T8" fmla="*/ 1834 w 3693"/>
                  <a:gd name="T9" fmla="*/ 824 h 1406"/>
                  <a:gd name="T10" fmla="*/ 1859 w 3693"/>
                  <a:gd name="T11" fmla="*/ 824 h 1406"/>
                  <a:gd name="T12" fmla="*/ 1882 w 3693"/>
                  <a:gd name="T13" fmla="*/ 822 h 1406"/>
                  <a:gd name="T14" fmla="*/ 1903 w 3693"/>
                  <a:gd name="T15" fmla="*/ 816 h 1406"/>
                  <a:gd name="T16" fmla="*/ 1921 w 3693"/>
                  <a:gd name="T17" fmla="*/ 809 h 1406"/>
                  <a:gd name="T18" fmla="*/ 3267 w 3693"/>
                  <a:gd name="T19" fmla="*/ 0 h 1406"/>
                  <a:gd name="T20" fmla="*/ 3652 w 3693"/>
                  <a:gd name="T21" fmla="*/ 232 h 1406"/>
                  <a:gd name="T22" fmla="*/ 3673 w 3693"/>
                  <a:gd name="T23" fmla="*/ 246 h 1406"/>
                  <a:gd name="T24" fmla="*/ 3685 w 3693"/>
                  <a:gd name="T25" fmla="*/ 264 h 1406"/>
                  <a:gd name="T26" fmla="*/ 3693 w 3693"/>
                  <a:gd name="T27" fmla="*/ 282 h 1406"/>
                  <a:gd name="T28" fmla="*/ 3693 w 3693"/>
                  <a:gd name="T29" fmla="*/ 300 h 1406"/>
                  <a:gd name="T30" fmla="*/ 3685 w 3693"/>
                  <a:gd name="T31" fmla="*/ 319 h 1406"/>
                  <a:gd name="T32" fmla="*/ 3673 w 3693"/>
                  <a:gd name="T33" fmla="*/ 334 h 1406"/>
                  <a:gd name="T34" fmla="*/ 3652 w 3693"/>
                  <a:gd name="T35" fmla="*/ 350 h 1406"/>
                  <a:gd name="T36" fmla="*/ 1921 w 3693"/>
                  <a:gd name="T37" fmla="*/ 1389 h 1406"/>
                  <a:gd name="T38" fmla="*/ 1903 w 3693"/>
                  <a:gd name="T39" fmla="*/ 1397 h 1406"/>
                  <a:gd name="T40" fmla="*/ 1882 w 3693"/>
                  <a:gd name="T41" fmla="*/ 1402 h 1406"/>
                  <a:gd name="T42" fmla="*/ 1859 w 3693"/>
                  <a:gd name="T43" fmla="*/ 1406 h 1406"/>
                  <a:gd name="T44" fmla="*/ 1834 w 3693"/>
                  <a:gd name="T45" fmla="*/ 1406 h 1406"/>
                  <a:gd name="T46" fmla="*/ 1811 w 3693"/>
                  <a:gd name="T47" fmla="*/ 1402 h 1406"/>
                  <a:gd name="T48" fmla="*/ 1790 w 3693"/>
                  <a:gd name="T49" fmla="*/ 1397 h 1406"/>
                  <a:gd name="T50" fmla="*/ 1772 w 3693"/>
                  <a:gd name="T51" fmla="*/ 1389 h 1406"/>
                  <a:gd name="T52" fmla="*/ 39 w 3693"/>
                  <a:gd name="T53" fmla="*/ 350 h 1406"/>
                  <a:gd name="T54" fmla="*/ 20 w 3693"/>
                  <a:gd name="T55" fmla="*/ 334 h 1406"/>
                  <a:gd name="T56" fmla="*/ 6 w 3693"/>
                  <a:gd name="T57" fmla="*/ 317 h 1406"/>
                  <a:gd name="T58" fmla="*/ 0 w 3693"/>
                  <a:gd name="T59" fmla="*/ 300 h 1406"/>
                  <a:gd name="T60" fmla="*/ 0 w 3693"/>
                  <a:gd name="T61" fmla="*/ 282 h 1406"/>
                  <a:gd name="T62" fmla="*/ 6 w 3693"/>
                  <a:gd name="T63" fmla="*/ 264 h 1406"/>
                  <a:gd name="T64" fmla="*/ 20 w 3693"/>
                  <a:gd name="T65" fmla="*/ 246 h 1406"/>
                  <a:gd name="T66" fmla="*/ 39 w 3693"/>
                  <a:gd name="T67" fmla="*/ 231 h 1406"/>
                  <a:gd name="T68" fmla="*/ 425 w 3693"/>
                  <a:gd name="T69" fmla="*/ 0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93" h="1406">
                    <a:moveTo>
                      <a:pt x="425" y="0"/>
                    </a:moveTo>
                    <a:lnTo>
                      <a:pt x="1772" y="809"/>
                    </a:lnTo>
                    <a:lnTo>
                      <a:pt x="1790" y="816"/>
                    </a:lnTo>
                    <a:lnTo>
                      <a:pt x="1811" y="822"/>
                    </a:lnTo>
                    <a:lnTo>
                      <a:pt x="1834" y="824"/>
                    </a:lnTo>
                    <a:lnTo>
                      <a:pt x="1859" y="824"/>
                    </a:lnTo>
                    <a:lnTo>
                      <a:pt x="1882" y="822"/>
                    </a:lnTo>
                    <a:lnTo>
                      <a:pt x="1903" y="816"/>
                    </a:lnTo>
                    <a:lnTo>
                      <a:pt x="1921" y="809"/>
                    </a:lnTo>
                    <a:lnTo>
                      <a:pt x="3267" y="0"/>
                    </a:lnTo>
                    <a:lnTo>
                      <a:pt x="3652" y="232"/>
                    </a:lnTo>
                    <a:lnTo>
                      <a:pt x="3673" y="246"/>
                    </a:lnTo>
                    <a:lnTo>
                      <a:pt x="3685" y="264"/>
                    </a:lnTo>
                    <a:lnTo>
                      <a:pt x="3693" y="282"/>
                    </a:lnTo>
                    <a:lnTo>
                      <a:pt x="3693" y="300"/>
                    </a:lnTo>
                    <a:lnTo>
                      <a:pt x="3685" y="319"/>
                    </a:lnTo>
                    <a:lnTo>
                      <a:pt x="3673" y="334"/>
                    </a:lnTo>
                    <a:lnTo>
                      <a:pt x="3652" y="350"/>
                    </a:lnTo>
                    <a:lnTo>
                      <a:pt x="1921" y="1389"/>
                    </a:lnTo>
                    <a:lnTo>
                      <a:pt x="1903" y="1397"/>
                    </a:lnTo>
                    <a:lnTo>
                      <a:pt x="1882" y="1402"/>
                    </a:lnTo>
                    <a:lnTo>
                      <a:pt x="1859" y="1406"/>
                    </a:lnTo>
                    <a:lnTo>
                      <a:pt x="1834" y="1406"/>
                    </a:lnTo>
                    <a:lnTo>
                      <a:pt x="1811" y="1402"/>
                    </a:lnTo>
                    <a:lnTo>
                      <a:pt x="1790" y="1397"/>
                    </a:lnTo>
                    <a:lnTo>
                      <a:pt x="1772" y="1389"/>
                    </a:lnTo>
                    <a:lnTo>
                      <a:pt x="39" y="350"/>
                    </a:lnTo>
                    <a:lnTo>
                      <a:pt x="20" y="334"/>
                    </a:lnTo>
                    <a:lnTo>
                      <a:pt x="6" y="317"/>
                    </a:lnTo>
                    <a:lnTo>
                      <a:pt x="0" y="300"/>
                    </a:lnTo>
                    <a:lnTo>
                      <a:pt x="0" y="282"/>
                    </a:lnTo>
                    <a:lnTo>
                      <a:pt x="6" y="264"/>
                    </a:lnTo>
                    <a:lnTo>
                      <a:pt x="20" y="246"/>
                    </a:lnTo>
                    <a:lnTo>
                      <a:pt x="39" y="231"/>
                    </a:lnTo>
                    <a:lnTo>
                      <a:pt x="425" y="0"/>
                    </a:ln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Arial"/>
                  <a:ea typeface="ＭＳ Ｐゴシック"/>
                </a:endParaRPr>
              </a:p>
            </p:txBody>
          </p:sp>
          <p:sp>
            <p:nvSpPr>
              <p:cNvPr id="255" name="Freeform 254"/>
              <p:cNvSpPr>
                <a:spLocks/>
              </p:cNvSpPr>
              <p:nvPr/>
            </p:nvSpPr>
            <p:spPr bwMode="auto">
              <a:xfrm>
                <a:off x="4817922" y="4855460"/>
                <a:ext cx="391633" cy="165736"/>
              </a:xfrm>
              <a:custGeom>
                <a:avLst/>
                <a:gdLst/>
                <a:ahLst/>
                <a:cxnLst/>
                <a:rect l="l" t="t" r="r" b="b"/>
                <a:pathLst>
                  <a:path w="391633" h="165736">
                    <a:moveTo>
                      <a:pt x="341359" y="0"/>
                    </a:moveTo>
                    <a:lnTo>
                      <a:pt x="386795" y="27230"/>
                    </a:lnTo>
                    <a:lnTo>
                      <a:pt x="389273" y="29116"/>
                    </a:lnTo>
                    <a:lnTo>
                      <a:pt x="390689" y="31120"/>
                    </a:lnTo>
                    <a:lnTo>
                      <a:pt x="391633" y="33124"/>
                    </a:lnTo>
                    <a:lnTo>
                      <a:pt x="391633" y="35364"/>
                    </a:lnTo>
                    <a:lnTo>
                      <a:pt x="390689" y="37485"/>
                    </a:lnTo>
                    <a:lnTo>
                      <a:pt x="389273" y="39489"/>
                    </a:lnTo>
                    <a:lnTo>
                      <a:pt x="386795" y="41257"/>
                    </a:lnTo>
                    <a:lnTo>
                      <a:pt x="182513" y="163850"/>
                    </a:lnTo>
                    <a:lnTo>
                      <a:pt x="180389" y="164793"/>
                    </a:lnTo>
                    <a:lnTo>
                      <a:pt x="177911" y="165383"/>
                    </a:lnTo>
                    <a:lnTo>
                      <a:pt x="175196" y="165736"/>
                    </a:lnTo>
                    <a:lnTo>
                      <a:pt x="172246" y="165736"/>
                    </a:lnTo>
                    <a:lnTo>
                      <a:pt x="169532" y="165383"/>
                    </a:lnTo>
                    <a:lnTo>
                      <a:pt x="167053" y="164793"/>
                    </a:lnTo>
                    <a:lnTo>
                      <a:pt x="164929" y="163850"/>
                    </a:lnTo>
                    <a:lnTo>
                      <a:pt x="0" y="64988"/>
                    </a:lnTo>
                    <a:lnTo>
                      <a:pt x="5069" y="61802"/>
                    </a:lnTo>
                    <a:lnTo>
                      <a:pt x="7370" y="60419"/>
                    </a:lnTo>
                    <a:lnTo>
                      <a:pt x="9441" y="58576"/>
                    </a:lnTo>
                    <a:lnTo>
                      <a:pt x="16803" y="61572"/>
                    </a:lnTo>
                    <a:lnTo>
                      <a:pt x="24396" y="64106"/>
                    </a:lnTo>
                    <a:lnTo>
                      <a:pt x="32909" y="65489"/>
                    </a:lnTo>
                    <a:lnTo>
                      <a:pt x="41192" y="66180"/>
                    </a:lnTo>
                    <a:lnTo>
                      <a:pt x="52006" y="65259"/>
                    </a:lnTo>
                    <a:lnTo>
                      <a:pt x="62360" y="62954"/>
                    </a:lnTo>
                    <a:lnTo>
                      <a:pt x="72024" y="59037"/>
                    </a:lnTo>
                    <a:lnTo>
                      <a:pt x="80997" y="54428"/>
                    </a:lnTo>
                    <a:lnTo>
                      <a:pt x="87760" y="49009"/>
                    </a:lnTo>
                    <a:lnTo>
                      <a:pt x="164929" y="95245"/>
                    </a:lnTo>
                    <a:lnTo>
                      <a:pt x="167053" y="96306"/>
                    </a:lnTo>
                    <a:lnTo>
                      <a:pt x="169532" y="96778"/>
                    </a:lnTo>
                    <a:lnTo>
                      <a:pt x="172246" y="97249"/>
                    </a:lnTo>
                    <a:lnTo>
                      <a:pt x="175196" y="97249"/>
                    </a:lnTo>
                    <a:lnTo>
                      <a:pt x="177911" y="96778"/>
                    </a:lnTo>
                    <a:lnTo>
                      <a:pt x="180389" y="96306"/>
                    </a:lnTo>
                    <a:lnTo>
                      <a:pt x="182513" y="95245"/>
                    </a:lnTo>
                    <a:close/>
                  </a:path>
                </a:pathLst>
              </a:custGeom>
              <a:solidFill>
                <a:srgbClr val="FABE3C"/>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Arial"/>
                  <a:ea typeface="ＭＳ Ｐゴシック"/>
                </a:endParaRPr>
              </a:p>
            </p:txBody>
          </p:sp>
          <p:sp>
            <p:nvSpPr>
              <p:cNvPr id="256" name="Freeform 255"/>
              <p:cNvSpPr>
                <a:spLocks/>
              </p:cNvSpPr>
              <p:nvPr/>
            </p:nvSpPr>
            <p:spPr bwMode="auto">
              <a:xfrm>
                <a:off x="4817780" y="4651950"/>
                <a:ext cx="391774" cy="263005"/>
              </a:xfrm>
              <a:custGeom>
                <a:avLst/>
                <a:gdLst/>
                <a:ahLst/>
                <a:cxnLst/>
                <a:rect l="l" t="t" r="r" b="b"/>
                <a:pathLst>
                  <a:path w="391774" h="263005">
                    <a:moveTo>
                      <a:pt x="172387" y="0"/>
                    </a:moveTo>
                    <a:lnTo>
                      <a:pt x="175337" y="0"/>
                    </a:lnTo>
                    <a:lnTo>
                      <a:pt x="178052" y="354"/>
                    </a:lnTo>
                    <a:lnTo>
                      <a:pt x="180530" y="944"/>
                    </a:lnTo>
                    <a:lnTo>
                      <a:pt x="182654" y="1887"/>
                    </a:lnTo>
                    <a:lnTo>
                      <a:pt x="386936" y="124544"/>
                    </a:lnTo>
                    <a:lnTo>
                      <a:pt x="389414" y="126313"/>
                    </a:lnTo>
                    <a:lnTo>
                      <a:pt x="390830" y="128318"/>
                    </a:lnTo>
                    <a:lnTo>
                      <a:pt x="391774" y="130441"/>
                    </a:lnTo>
                    <a:lnTo>
                      <a:pt x="391774" y="132682"/>
                    </a:lnTo>
                    <a:lnTo>
                      <a:pt x="390830" y="134805"/>
                    </a:lnTo>
                    <a:lnTo>
                      <a:pt x="389414" y="136692"/>
                    </a:lnTo>
                    <a:lnTo>
                      <a:pt x="386936" y="138579"/>
                    </a:lnTo>
                    <a:lnTo>
                      <a:pt x="182654" y="261000"/>
                    </a:lnTo>
                    <a:lnTo>
                      <a:pt x="180530" y="262062"/>
                    </a:lnTo>
                    <a:lnTo>
                      <a:pt x="178052" y="262769"/>
                    </a:lnTo>
                    <a:lnTo>
                      <a:pt x="175337" y="263005"/>
                    </a:lnTo>
                    <a:lnTo>
                      <a:pt x="172387" y="263005"/>
                    </a:lnTo>
                    <a:lnTo>
                      <a:pt x="169673" y="262769"/>
                    </a:lnTo>
                    <a:lnTo>
                      <a:pt x="167194" y="262062"/>
                    </a:lnTo>
                    <a:lnTo>
                      <a:pt x="165070" y="261000"/>
                    </a:lnTo>
                    <a:lnTo>
                      <a:pt x="107808" y="226724"/>
                    </a:lnTo>
                    <a:lnTo>
                      <a:pt x="111279" y="217379"/>
                    </a:lnTo>
                    <a:lnTo>
                      <a:pt x="113580" y="207240"/>
                    </a:lnTo>
                    <a:lnTo>
                      <a:pt x="114270" y="196639"/>
                    </a:lnTo>
                    <a:lnTo>
                      <a:pt x="113580" y="185808"/>
                    </a:lnTo>
                    <a:lnTo>
                      <a:pt x="111279" y="175438"/>
                    </a:lnTo>
                    <a:lnTo>
                      <a:pt x="107598" y="165760"/>
                    </a:lnTo>
                    <a:lnTo>
                      <a:pt x="102536" y="156772"/>
                    </a:lnTo>
                    <a:lnTo>
                      <a:pt x="96324" y="148707"/>
                    </a:lnTo>
                    <a:lnTo>
                      <a:pt x="89191" y="141332"/>
                    </a:lnTo>
                    <a:lnTo>
                      <a:pt x="81138" y="135341"/>
                    </a:lnTo>
                    <a:lnTo>
                      <a:pt x="72165" y="130271"/>
                    </a:lnTo>
                    <a:lnTo>
                      <a:pt x="62501" y="126353"/>
                    </a:lnTo>
                    <a:lnTo>
                      <a:pt x="52147" y="124049"/>
                    </a:lnTo>
                    <a:lnTo>
                      <a:pt x="41333" y="123358"/>
                    </a:lnTo>
                    <a:lnTo>
                      <a:pt x="32820" y="123818"/>
                    </a:lnTo>
                    <a:lnTo>
                      <a:pt x="24537" y="125432"/>
                    </a:lnTo>
                    <a:lnTo>
                      <a:pt x="20856" y="120823"/>
                    </a:lnTo>
                    <a:lnTo>
                      <a:pt x="0" y="100887"/>
                    </a:lnTo>
                    <a:lnTo>
                      <a:pt x="165070" y="1887"/>
                    </a:lnTo>
                    <a:lnTo>
                      <a:pt x="167194" y="944"/>
                    </a:lnTo>
                    <a:lnTo>
                      <a:pt x="169673" y="354"/>
                    </a:ln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Arial"/>
                  <a:ea typeface="ＭＳ Ｐゴシック"/>
                </a:endParaRPr>
              </a:p>
            </p:txBody>
          </p:sp>
        </p:grpSp>
      </p:grpSp>
      <p:sp>
        <p:nvSpPr>
          <p:cNvPr id="349" name="TextBox 348"/>
          <p:cNvSpPr txBox="1"/>
          <p:nvPr/>
        </p:nvSpPr>
        <p:spPr>
          <a:xfrm>
            <a:off x="7414416" y="2966032"/>
            <a:ext cx="1667739" cy="653203"/>
          </a:xfrm>
          <a:prstGeom prst="rect">
            <a:avLst/>
          </a:prstGeom>
          <a:noFill/>
          <a:effectLst/>
        </p:spPr>
        <p:txBody>
          <a:bodyPr wrap="square" lIns="0" tIns="0" rIns="0" bIns="0" rtlCol="0" anchor="t">
            <a:noAutofit/>
          </a:bodyPr>
          <a:lstStyle/>
          <a:p>
            <a:pPr marL="0" marR="0" lvl="0" indent="0" algn="l" defTabSz="932597" rtl="0" eaLnBrk="0" fontAlgn="auto" latinLnBrk="0" hangingPunct="0">
              <a:lnSpc>
                <a:spcPct val="100000"/>
              </a:lnSpc>
              <a:spcBef>
                <a:spcPts val="0"/>
              </a:spcBef>
              <a:spcAft>
                <a:spcPts val="0"/>
              </a:spcAft>
              <a:buClrTx/>
              <a:buSzTx/>
              <a:buFontTx/>
              <a:buNone/>
              <a:tabLst/>
              <a:defRPr/>
            </a:pPr>
            <a:r>
              <a:rPr kumimoji="0" lang="en-US" sz="2448" b="1" i="0" u="none" strike="noStrike" kern="0" cap="none" spc="0" normalizeH="0" baseline="0" noProof="0" dirty="0">
                <a:ln>
                  <a:noFill/>
                </a:ln>
                <a:solidFill>
                  <a:srgbClr val="00B9F2">
                    <a:lumMod val="20000"/>
                    <a:lumOff val="80000"/>
                    <a:alpha val="40000"/>
                  </a:srgbClr>
                </a:solidFill>
                <a:effectLst/>
                <a:uLnTx/>
                <a:uFillTx/>
                <a:latin typeface="Arial"/>
                <a:ea typeface="ＭＳ Ｐゴシック"/>
                <a:cs typeface="ＭＳ Ｐゴシック"/>
              </a:rPr>
              <a:t>Web GIS</a:t>
            </a:r>
          </a:p>
        </p:txBody>
      </p:sp>
      <p:sp>
        <p:nvSpPr>
          <p:cNvPr id="64" name="Rectangle 63"/>
          <p:cNvSpPr>
            <a:spLocks noChangeArrowheads="1"/>
          </p:cNvSpPr>
          <p:nvPr/>
        </p:nvSpPr>
        <p:spPr bwMode="auto">
          <a:xfrm>
            <a:off x="4508173" y="3589205"/>
            <a:ext cx="1368327" cy="543308"/>
          </a:xfrm>
          <a:prstGeom prst="rect">
            <a:avLst/>
          </a:prstGeom>
          <a:solidFill>
            <a:srgbClr val="658EFF"/>
          </a:solidFill>
          <a:ln w="0">
            <a:noFill/>
            <a:prstDash val="solid"/>
            <a:miter lim="800000"/>
            <a:headEnd/>
            <a:tailEnd/>
          </a:ln>
        </p:spPr>
        <p:txBody>
          <a:bodyPr vert="horz" wrap="square" lIns="93260" tIns="46630" rIns="93260" bIns="46630" numCol="1" anchor="ctr"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48" b="1" i="0" u="none" strike="noStrike" kern="1200" cap="none" spc="0" normalizeH="0" baseline="0" noProof="0" dirty="0">
                <a:ln>
                  <a:noFill/>
                </a:ln>
                <a:solidFill>
                  <a:srgbClr val="FFFFFF"/>
                </a:solidFill>
                <a:effectLst/>
                <a:uLnTx/>
                <a:uFillTx/>
                <a:latin typeface="Arial"/>
                <a:ea typeface="ＭＳ Ｐゴシック"/>
              </a:rPr>
              <a:t>Portal</a:t>
            </a:r>
          </a:p>
        </p:txBody>
      </p:sp>
    </p:spTree>
    <p:extLst>
      <p:ext uri="{BB962C8B-B14F-4D97-AF65-F5344CB8AC3E}">
        <p14:creationId xmlns:p14="http://schemas.microsoft.com/office/powerpoint/2010/main" val="1924698668"/>
      </p:ext>
    </p:extLst>
  </p:cSld>
  <p:clrMapOvr>
    <a:masterClrMapping/>
  </p:clrMapOvr>
  <p:transition spd="med">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96719" y="1676164"/>
            <a:ext cx="5557690" cy="4087840"/>
          </a:xfrm>
          <a:prstGeom prst="rect">
            <a:avLst/>
          </a:prstGeom>
          <a:effectLst>
            <a:outerShdw blurRad="50800" dist="38100" dir="2700000" algn="tl" rotWithShape="0">
              <a:prstClr val="black">
                <a:alpha val="40000"/>
              </a:prstClr>
            </a:outerShdw>
          </a:effectLst>
        </p:spPr>
      </p:pic>
      <p:pic>
        <p:nvPicPr>
          <p:cNvPr id="3" name="Picture 2"/>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393863" y="2587764"/>
            <a:ext cx="5508535" cy="4087840"/>
          </a:xfrm>
          <a:prstGeom prst="rect">
            <a:avLst/>
          </a:prstGeom>
          <a:effectLst>
            <a:outerShdw blurRad="50800" dist="38100" dir="2700000" algn="tl" rotWithShape="0">
              <a:prstClr val="black">
                <a:alpha val="40000"/>
              </a:prstClr>
            </a:outerShdw>
          </a:effectLst>
        </p:spPr>
      </p:pic>
      <p:sp>
        <p:nvSpPr>
          <p:cNvPr id="4" name="AutoShape 61"/>
          <p:cNvSpPr>
            <a:spLocks noChangeArrowheads="1"/>
          </p:cNvSpPr>
          <p:nvPr/>
        </p:nvSpPr>
        <p:spPr bwMode="auto">
          <a:xfrm flipH="1">
            <a:off x="762374" y="5933633"/>
            <a:ext cx="3261412" cy="256159"/>
          </a:xfrm>
          <a:prstGeom prst="rect">
            <a:avLst/>
          </a:prstGeom>
          <a:no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0" tIns="0" rIns="0" bIns="0" numCol="1" rtlCol="0" anchor="b" anchorCtr="0" compatLnSpc="1">
            <a:prstTxWarp prst="textNoShape">
              <a:avLst/>
            </a:prstTxWarp>
            <a:spAutoFit/>
          </a:bodyPr>
          <a:lstStyle/>
          <a:p>
            <a:pPr marL="0" marR="0" lvl="0" indent="0" algn="l" defTabSz="923784" rtl="0" eaLnBrk="1" fontAlgn="base" latinLnBrk="0" hangingPunct="1">
              <a:lnSpc>
                <a:spcPct val="100000"/>
              </a:lnSpc>
              <a:spcBef>
                <a:spcPts val="0"/>
              </a:spcBef>
              <a:spcAft>
                <a:spcPts val="0"/>
              </a:spcAft>
              <a:buClr>
                <a:srgbClr val="00B9F2">
                  <a:lumMod val="60000"/>
                  <a:lumOff val="40000"/>
                </a:srgbClr>
              </a:buClr>
              <a:buSzPct val="80000"/>
              <a:buFontTx/>
              <a:buNone/>
              <a:tabLst/>
              <a:defRPr/>
            </a:pPr>
            <a:r>
              <a:rPr kumimoji="0" lang="en-US" sz="1632" b="1" i="0" u="none" strike="noStrike" kern="0" cap="none" spc="0" normalizeH="0" baseline="0" noProof="0" dirty="0">
                <a:ln>
                  <a:noFill/>
                </a:ln>
                <a:solidFill>
                  <a:prstClr val="white"/>
                </a:solidFill>
                <a:effectLst/>
                <a:uLnTx/>
                <a:uFillTx/>
                <a:latin typeface="Arial"/>
                <a:ea typeface="ＭＳ Ｐゴシック"/>
                <a:cs typeface="Arial"/>
              </a:rPr>
              <a:t>Cluster Outlier Analysis</a:t>
            </a:r>
          </a:p>
        </p:txBody>
      </p:sp>
      <p:sp>
        <p:nvSpPr>
          <p:cNvPr id="5" name="AutoShape 61"/>
          <p:cNvSpPr>
            <a:spLocks noChangeArrowheads="1"/>
          </p:cNvSpPr>
          <p:nvPr/>
        </p:nvSpPr>
        <p:spPr bwMode="auto">
          <a:xfrm flipH="1">
            <a:off x="8529869" y="2119200"/>
            <a:ext cx="3261412" cy="256159"/>
          </a:xfrm>
          <a:prstGeom prst="rect">
            <a:avLst/>
          </a:prstGeom>
          <a:no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0" tIns="0" rIns="0" bIns="0" numCol="1" rtlCol="0" anchor="b" anchorCtr="0" compatLnSpc="1">
            <a:prstTxWarp prst="textNoShape">
              <a:avLst/>
            </a:prstTxWarp>
            <a:spAutoFit/>
          </a:bodyPr>
          <a:lstStyle/>
          <a:p>
            <a:pPr marL="0" marR="0" lvl="0" indent="0" algn="r" defTabSz="923784" rtl="0" eaLnBrk="1" fontAlgn="base" latinLnBrk="0" hangingPunct="1">
              <a:lnSpc>
                <a:spcPct val="100000"/>
              </a:lnSpc>
              <a:spcBef>
                <a:spcPts val="0"/>
              </a:spcBef>
              <a:spcAft>
                <a:spcPts val="0"/>
              </a:spcAft>
              <a:buClr>
                <a:srgbClr val="00B9F2">
                  <a:lumMod val="60000"/>
                  <a:lumOff val="40000"/>
                </a:srgbClr>
              </a:buClr>
              <a:buSzPct val="80000"/>
              <a:buFontTx/>
              <a:buNone/>
              <a:tabLst/>
              <a:defRPr/>
            </a:pPr>
            <a:r>
              <a:rPr kumimoji="0" lang="en-US" sz="1632" b="1" i="0" u="none" strike="noStrike" kern="0" cap="none" spc="0" normalizeH="0" baseline="0" noProof="0" dirty="0">
                <a:ln>
                  <a:noFill/>
                </a:ln>
                <a:solidFill>
                  <a:prstClr val="white"/>
                </a:solidFill>
                <a:effectLst/>
                <a:uLnTx/>
                <a:uFillTx/>
                <a:latin typeface="Arial"/>
                <a:ea typeface="ＭＳ Ｐゴシック"/>
                <a:cs typeface="Arial"/>
              </a:rPr>
              <a:t>Cost Prediction Surface</a:t>
            </a:r>
          </a:p>
        </p:txBody>
      </p:sp>
      <p:sp>
        <p:nvSpPr>
          <p:cNvPr id="6" name="Title 5"/>
          <p:cNvSpPr>
            <a:spLocks noGrp="1"/>
          </p:cNvSpPr>
          <p:nvPr>
            <p:ph type="title"/>
          </p:nvPr>
        </p:nvSpPr>
        <p:spPr/>
        <p:txBody>
          <a:bodyPr/>
          <a:lstStyle/>
          <a:p>
            <a:r>
              <a:rPr lang="en-US" dirty="0"/>
              <a:t>Deep Spatial Analysis</a:t>
            </a:r>
          </a:p>
        </p:txBody>
      </p:sp>
    </p:spTree>
    <p:extLst>
      <p:ext uri="{BB962C8B-B14F-4D97-AF65-F5344CB8AC3E}">
        <p14:creationId xmlns:p14="http://schemas.microsoft.com/office/powerpoint/2010/main" val="583728936"/>
      </p:ext>
    </p:extLst>
  </p:cSld>
  <p:clrMapOvr>
    <a:masterClrMapping/>
  </p:clrMapOvr>
  <p:transition spd="med">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Chris_Background_V2_ai_72dpi.png"/>
          <p:cNvPicPr>
            <a:picLocks noChangeAspect="1"/>
          </p:cNvPicPr>
          <p:nvPr/>
        </p:nvPicPr>
        <p:blipFill>
          <a:blip r:embed="rId3">
            <a:alphaModFix amt="50000"/>
            <a:extLst>
              <a:ext uri="{28A0092B-C50C-407E-A947-70E740481C1C}">
                <a14:useLocalDpi xmlns:a14="http://schemas.microsoft.com/office/drawing/2010/main"/>
              </a:ext>
            </a:extLst>
          </a:blip>
          <a:stretch>
            <a:fillRect/>
          </a:stretch>
        </p:blipFill>
        <p:spPr>
          <a:xfrm>
            <a:off x="883" y="-1"/>
            <a:ext cx="9326033" cy="6994525"/>
          </a:xfrm>
          <a:prstGeom prst="rect">
            <a:avLst/>
          </a:prstGeom>
        </p:spPr>
      </p:pic>
      <p:sp>
        <p:nvSpPr>
          <p:cNvPr id="6" name="Title 5"/>
          <p:cNvSpPr>
            <a:spLocks noGrp="1"/>
          </p:cNvSpPr>
          <p:nvPr>
            <p:ph type="title"/>
          </p:nvPr>
        </p:nvSpPr>
        <p:spPr/>
        <p:txBody>
          <a:bodyPr/>
          <a:lstStyle/>
          <a:p>
            <a:r>
              <a:rPr lang="en-US" dirty="0"/>
              <a:t>Expanded Capabilities</a:t>
            </a:r>
          </a:p>
        </p:txBody>
      </p:sp>
      <p:sp>
        <p:nvSpPr>
          <p:cNvPr id="23" name="AutoShape 61"/>
          <p:cNvSpPr>
            <a:spLocks noChangeArrowheads="1"/>
          </p:cNvSpPr>
          <p:nvPr/>
        </p:nvSpPr>
        <p:spPr bwMode="auto">
          <a:xfrm flipH="1">
            <a:off x="8808803" y="5822086"/>
            <a:ext cx="3261412" cy="512317"/>
          </a:xfrm>
          <a:prstGeom prst="rect">
            <a:avLst/>
          </a:prstGeom>
          <a:no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0" tIns="0" rIns="0" bIns="0" numCol="1" rtlCol="0" anchor="b" anchorCtr="0" compatLnSpc="1">
            <a:prstTxWarp prst="textNoShape">
              <a:avLst/>
            </a:prstTxWarp>
            <a:spAutoFit/>
          </a:bodyPr>
          <a:lstStyle/>
          <a:p>
            <a:pPr marL="0" marR="0" lvl="0" indent="0" algn="l" defTabSz="923784" rtl="0" eaLnBrk="1" fontAlgn="base" latinLnBrk="0" hangingPunct="1">
              <a:lnSpc>
                <a:spcPct val="100000"/>
              </a:lnSpc>
              <a:spcBef>
                <a:spcPts val="0"/>
              </a:spcBef>
              <a:spcAft>
                <a:spcPts val="0"/>
              </a:spcAft>
              <a:buClr>
                <a:srgbClr val="00B9F2">
                  <a:lumMod val="60000"/>
                  <a:lumOff val="40000"/>
                </a:srgbClr>
              </a:buClr>
              <a:buSzPct val="80000"/>
              <a:buFontTx/>
              <a:buNone/>
              <a:tabLst/>
              <a:defRPr/>
            </a:pPr>
            <a:r>
              <a:rPr kumimoji="0" lang="en-US" sz="1632" b="1" i="0" u="none" strike="noStrike" kern="0" cap="none" spc="0" normalizeH="0" baseline="0" noProof="0" dirty="0">
                <a:ln>
                  <a:noFill/>
                </a:ln>
                <a:solidFill>
                  <a:prstClr val="white"/>
                </a:solidFill>
                <a:effectLst/>
                <a:uLnTx/>
                <a:uFillTx/>
                <a:latin typeface="Arial"/>
                <a:ea typeface="ＭＳ Ｐゴシック"/>
                <a:cs typeface="Arial"/>
              </a:rPr>
              <a:t>Business System </a:t>
            </a:r>
          </a:p>
          <a:p>
            <a:pPr marL="0" marR="0" lvl="0" indent="0" algn="l" defTabSz="923784" rtl="0" eaLnBrk="1" fontAlgn="base" latinLnBrk="0" hangingPunct="1">
              <a:lnSpc>
                <a:spcPct val="100000"/>
              </a:lnSpc>
              <a:spcBef>
                <a:spcPts val="0"/>
              </a:spcBef>
              <a:spcAft>
                <a:spcPts val="0"/>
              </a:spcAft>
              <a:buClr>
                <a:srgbClr val="00B9F2">
                  <a:lumMod val="60000"/>
                  <a:lumOff val="40000"/>
                </a:srgbClr>
              </a:buClr>
              <a:buSzPct val="80000"/>
              <a:buFontTx/>
              <a:buNone/>
              <a:tabLst/>
              <a:defRPr/>
            </a:pPr>
            <a:r>
              <a:rPr kumimoji="0" lang="en-US" sz="1632" b="1" i="0" u="none" strike="noStrike" kern="0" cap="none" spc="0" normalizeH="0" baseline="0" noProof="0" dirty="0">
                <a:ln>
                  <a:noFill/>
                </a:ln>
                <a:solidFill>
                  <a:prstClr val="white"/>
                </a:solidFill>
                <a:effectLst/>
                <a:uLnTx/>
                <a:uFillTx/>
                <a:latin typeface="Arial"/>
                <a:ea typeface="ＭＳ Ｐゴシック"/>
                <a:cs typeface="Arial"/>
              </a:rPr>
              <a:t>Integration</a:t>
            </a:r>
          </a:p>
        </p:txBody>
      </p:sp>
      <p:pic>
        <p:nvPicPr>
          <p:cNvPr id="28" name="Picture 2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33486" y="4625807"/>
            <a:ext cx="3168548" cy="1942001"/>
          </a:xfrm>
          <a:prstGeom prst="rect">
            <a:avLst/>
          </a:prstGeom>
          <a:ln>
            <a:noFill/>
          </a:ln>
          <a:effectLst>
            <a:outerShdw blurRad="190500" algn="tl" rotWithShape="0">
              <a:srgbClr val="000000">
                <a:alpha val="70000"/>
              </a:srgbClr>
            </a:outerShdw>
          </a:effectLst>
        </p:spPr>
      </p:pic>
      <p:pic>
        <p:nvPicPr>
          <p:cNvPr id="29" name="Picture 28"/>
          <p:cNvPicPr>
            <a:picLocks noChangeAspect="1"/>
          </p:cNvPicPr>
          <p:nvPr/>
        </p:nvPicPr>
        <p:blipFill rotWithShape="1">
          <a:blip r:embed="rId5" cstate="email">
            <a:extLst>
              <a:ext uri="{28A0092B-C50C-407E-A947-70E740481C1C}">
                <a14:useLocalDpi xmlns:a14="http://schemas.microsoft.com/office/drawing/2010/main"/>
              </a:ext>
            </a:extLst>
          </a:blip>
          <a:srcRect l="-3"/>
          <a:stretch/>
        </p:blipFill>
        <p:spPr>
          <a:xfrm>
            <a:off x="7722116" y="3170528"/>
            <a:ext cx="4021225" cy="2518451"/>
          </a:xfrm>
          <a:prstGeom prst="rect">
            <a:avLst/>
          </a:prstGeom>
          <a:ln>
            <a:noFill/>
          </a:ln>
          <a:effectLst>
            <a:outerShdw blurRad="50800" dist="38100" dir="2700000" algn="tl" rotWithShape="0">
              <a:prstClr val="black">
                <a:alpha val="40000"/>
              </a:prstClr>
            </a:outerShdw>
          </a:effectLst>
        </p:spPr>
      </p:pic>
      <p:pic>
        <p:nvPicPr>
          <p:cNvPr id="17" name="Picture 16"/>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460573" y="4429753"/>
            <a:ext cx="3134341" cy="2047827"/>
          </a:xfrm>
          <a:prstGeom prst="rect">
            <a:avLst/>
          </a:prstGeom>
          <a:ln>
            <a:noFill/>
          </a:ln>
          <a:effectLst>
            <a:outerShdw blurRad="50800" dist="38100" dir="2700000" algn="tl" rotWithShape="0">
              <a:prstClr val="black">
                <a:alpha val="40000"/>
              </a:prstClr>
            </a:outerShdw>
          </a:effectLst>
        </p:spPr>
      </p:pic>
      <p:sp>
        <p:nvSpPr>
          <p:cNvPr id="30" name="AutoShape 61"/>
          <p:cNvSpPr>
            <a:spLocks noChangeArrowheads="1"/>
          </p:cNvSpPr>
          <p:nvPr/>
        </p:nvSpPr>
        <p:spPr bwMode="auto">
          <a:xfrm flipH="1">
            <a:off x="-44202" y="4207056"/>
            <a:ext cx="3261412" cy="256159"/>
          </a:xfrm>
          <a:prstGeom prst="rect">
            <a:avLst/>
          </a:prstGeom>
          <a:no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0" tIns="0" rIns="0" bIns="0" numCol="1" rtlCol="0" anchor="b" anchorCtr="0" compatLnSpc="1">
            <a:prstTxWarp prst="textNoShape">
              <a:avLst/>
            </a:prstTxWarp>
            <a:spAutoFit/>
          </a:bodyPr>
          <a:lstStyle/>
          <a:p>
            <a:pPr marL="0" marR="0" lvl="0" indent="0" algn="ctr" defTabSz="923784" rtl="0" eaLnBrk="1" fontAlgn="base" latinLnBrk="0" hangingPunct="1">
              <a:lnSpc>
                <a:spcPct val="100000"/>
              </a:lnSpc>
              <a:spcBef>
                <a:spcPts val="0"/>
              </a:spcBef>
              <a:spcAft>
                <a:spcPts val="0"/>
              </a:spcAft>
              <a:buClr>
                <a:srgbClr val="00B9F2">
                  <a:lumMod val="60000"/>
                  <a:lumOff val="40000"/>
                </a:srgbClr>
              </a:buClr>
              <a:buSzPct val="80000"/>
              <a:buFontTx/>
              <a:buNone/>
              <a:tabLst/>
              <a:defRPr/>
            </a:pPr>
            <a:r>
              <a:rPr kumimoji="0" lang="en-US" sz="1632" b="1" i="0" u="none" strike="noStrike" kern="0" cap="none" spc="0" normalizeH="0" baseline="0" noProof="0" dirty="0" err="1">
                <a:ln>
                  <a:noFill/>
                </a:ln>
                <a:solidFill>
                  <a:prstClr val="white"/>
                </a:solidFill>
                <a:effectLst/>
                <a:uLnTx/>
                <a:uFillTx/>
                <a:latin typeface="Arial"/>
                <a:ea typeface="ＭＳ Ｐゴシック"/>
                <a:cs typeface="Arial"/>
              </a:rPr>
              <a:t>Geoanalytics</a:t>
            </a:r>
            <a:endParaRPr kumimoji="0" lang="en-US" sz="1632" b="1" i="0" u="none" strike="noStrike" kern="0" cap="none" spc="0" normalizeH="0" baseline="0" noProof="0" dirty="0">
              <a:ln>
                <a:noFill/>
              </a:ln>
              <a:solidFill>
                <a:prstClr val="white"/>
              </a:solidFill>
              <a:effectLst/>
              <a:uLnTx/>
              <a:uFillTx/>
              <a:latin typeface="Arial"/>
              <a:ea typeface="ＭＳ Ｐゴシック"/>
              <a:cs typeface="Arial"/>
            </a:endParaRPr>
          </a:p>
        </p:txBody>
      </p:sp>
      <p:grpSp>
        <p:nvGrpSpPr>
          <p:cNvPr id="4" name="Group 3"/>
          <p:cNvGrpSpPr/>
          <p:nvPr/>
        </p:nvGrpSpPr>
        <p:grpSpPr>
          <a:xfrm>
            <a:off x="7801426" y="505651"/>
            <a:ext cx="4105300" cy="2251245"/>
            <a:chOff x="-56812" y="1174036"/>
            <a:chExt cx="4025169" cy="2207303"/>
          </a:xfrm>
        </p:grpSpPr>
        <p:pic>
          <p:nvPicPr>
            <p:cNvPr id="27" name="Picture 2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812" y="1174036"/>
              <a:ext cx="3922291" cy="2207303"/>
            </a:xfrm>
            <a:prstGeom prst="rect">
              <a:avLst/>
            </a:prstGeom>
          </p:spPr>
        </p:pic>
        <p:sp>
          <p:nvSpPr>
            <p:cNvPr id="8" name="AutoShape 61"/>
            <p:cNvSpPr>
              <a:spLocks noChangeArrowheads="1"/>
            </p:cNvSpPr>
            <p:nvPr/>
          </p:nvSpPr>
          <p:spPr bwMode="auto">
            <a:xfrm flipH="1">
              <a:off x="1047822" y="2964301"/>
              <a:ext cx="2920535" cy="251159"/>
            </a:xfrm>
            <a:prstGeom prst="rect">
              <a:avLst/>
            </a:prstGeom>
            <a:no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0" tIns="0" rIns="0" bIns="0" numCol="1" rtlCol="0" anchor="b" anchorCtr="0" compatLnSpc="1">
              <a:prstTxWarp prst="textNoShape">
                <a:avLst/>
              </a:prstTxWarp>
              <a:spAutoFit/>
            </a:bodyPr>
            <a:lstStyle/>
            <a:p>
              <a:pPr marL="0" marR="0" lvl="0" indent="0" algn="ctr" defTabSz="923784" rtl="0" eaLnBrk="1" fontAlgn="base" latinLnBrk="0" hangingPunct="1">
                <a:lnSpc>
                  <a:spcPct val="100000"/>
                </a:lnSpc>
                <a:spcBef>
                  <a:spcPts val="0"/>
                </a:spcBef>
                <a:spcAft>
                  <a:spcPts val="0"/>
                </a:spcAft>
                <a:buClr>
                  <a:srgbClr val="00B9F2">
                    <a:lumMod val="60000"/>
                    <a:lumOff val="40000"/>
                  </a:srgbClr>
                </a:buClr>
                <a:buSzPct val="80000"/>
                <a:buFontTx/>
                <a:buNone/>
                <a:tabLst/>
                <a:defRPr/>
              </a:pPr>
              <a:r>
                <a:rPr kumimoji="0" lang="en-US" sz="1632" b="1" i="0" u="none" strike="noStrike" kern="0" cap="none" spc="0" normalizeH="0" baseline="0" noProof="0" dirty="0">
                  <a:ln>
                    <a:noFill/>
                  </a:ln>
                  <a:solidFill>
                    <a:prstClr val="white"/>
                  </a:solidFill>
                  <a:effectLst/>
                  <a:uLnTx/>
                  <a:uFillTx/>
                  <a:latin typeface="Arial"/>
                  <a:ea typeface="ＭＳ Ｐゴシック"/>
                  <a:cs typeface="Arial"/>
                </a:rPr>
                <a:t>Mobile Apps</a:t>
              </a:r>
            </a:p>
          </p:txBody>
        </p:sp>
      </p:grpSp>
      <p:grpSp>
        <p:nvGrpSpPr>
          <p:cNvPr id="5" name="Group 4"/>
          <p:cNvGrpSpPr/>
          <p:nvPr/>
        </p:nvGrpSpPr>
        <p:grpSpPr>
          <a:xfrm>
            <a:off x="1094989" y="1468092"/>
            <a:ext cx="6010429" cy="2244604"/>
            <a:chOff x="212720" y="1315562"/>
            <a:chExt cx="5893112" cy="2200792"/>
          </a:xfrm>
        </p:grpSpPr>
        <p:pic>
          <p:nvPicPr>
            <p:cNvPr id="15" name="Picture 14" descr="military convoy monitoring.png"/>
            <p:cNvPicPr>
              <a:picLocks noChangeAspect="1"/>
            </p:cNvPicPr>
            <p:nvPr/>
          </p:nvPicPr>
          <p:blipFill>
            <a:blip r:embed="rId8" cstate="email">
              <a:alphaModFix/>
              <a:extLst>
                <a:ext uri="{28A0092B-C50C-407E-A947-70E740481C1C}">
                  <a14:useLocalDpi xmlns:a14="http://schemas.microsoft.com/office/drawing/2010/main"/>
                </a:ext>
              </a:extLst>
            </a:blip>
            <a:stretch>
              <a:fillRect/>
            </a:stretch>
          </p:blipFill>
          <p:spPr>
            <a:xfrm>
              <a:off x="342004" y="1315562"/>
              <a:ext cx="3021805" cy="1881059"/>
            </a:xfrm>
            <a:prstGeom prst="rect">
              <a:avLst/>
            </a:prstGeom>
            <a:noFill/>
            <a:ln w="12700" cmpd="sng">
              <a:noFill/>
            </a:ln>
            <a:effectLst>
              <a:outerShdw blurRad="127000" dist="63500" dir="2700000" algn="tl" rotWithShape="0">
                <a:srgbClr val="000000">
                  <a:alpha val="15000"/>
                </a:srgbClr>
              </a:outerShdw>
            </a:effectLst>
          </p:spPr>
        </p:pic>
        <p:sp>
          <p:nvSpPr>
            <p:cNvPr id="16" name="AutoShape 61"/>
            <p:cNvSpPr>
              <a:spLocks noChangeArrowheads="1"/>
            </p:cNvSpPr>
            <p:nvPr/>
          </p:nvSpPr>
          <p:spPr bwMode="auto">
            <a:xfrm flipH="1">
              <a:off x="212720" y="3265195"/>
              <a:ext cx="3010413" cy="251159"/>
            </a:xfrm>
            <a:prstGeom prst="rect">
              <a:avLst/>
            </a:prstGeom>
            <a:no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0" tIns="0" rIns="0" bIns="0" numCol="1" rtlCol="0" anchor="b" anchorCtr="0" compatLnSpc="1">
              <a:prstTxWarp prst="textNoShape">
                <a:avLst/>
              </a:prstTxWarp>
              <a:spAutoFit/>
            </a:bodyPr>
            <a:lstStyle/>
            <a:p>
              <a:pPr marL="0" marR="0" lvl="0" indent="0" algn="ctr" defTabSz="923784" rtl="0" eaLnBrk="1" fontAlgn="base" latinLnBrk="0" hangingPunct="1">
                <a:lnSpc>
                  <a:spcPct val="100000"/>
                </a:lnSpc>
                <a:spcBef>
                  <a:spcPts val="0"/>
                </a:spcBef>
                <a:spcAft>
                  <a:spcPts val="0"/>
                </a:spcAft>
                <a:buClr>
                  <a:srgbClr val="00B9F2">
                    <a:lumMod val="60000"/>
                    <a:lumOff val="40000"/>
                  </a:srgbClr>
                </a:buClr>
                <a:buSzPct val="80000"/>
                <a:buFontTx/>
                <a:buNone/>
                <a:tabLst/>
                <a:defRPr/>
              </a:pPr>
              <a:r>
                <a:rPr kumimoji="0" lang="en-US" sz="1632" b="1" i="0" u="none" strike="noStrike" kern="0" cap="none" spc="0" normalizeH="0" baseline="0" noProof="0" dirty="0">
                  <a:ln>
                    <a:noFill/>
                  </a:ln>
                  <a:solidFill>
                    <a:prstClr val="white"/>
                  </a:solidFill>
                  <a:effectLst/>
                  <a:uLnTx/>
                  <a:uFillTx/>
                  <a:latin typeface="Arial"/>
                  <a:ea typeface="ＭＳ Ｐゴシック"/>
                  <a:cs typeface="Arial"/>
                </a:rPr>
                <a:t>Real-time Data</a:t>
              </a:r>
            </a:p>
          </p:txBody>
        </p:sp>
        <p:pic>
          <p:nvPicPr>
            <p:cNvPr id="31" name="Picture 30"/>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2563250" y="1697199"/>
              <a:ext cx="3542582" cy="1760404"/>
            </a:xfrm>
            <a:prstGeom prst="rect">
              <a:avLst/>
            </a:prstGeom>
            <a:effectLst>
              <a:outerShdw blurRad="50800" dist="38100" dir="2700000" algn="tl" rotWithShape="0">
                <a:prstClr val="black">
                  <a:alpha val="40000"/>
                </a:prstClr>
              </a:outerShdw>
              <a:softEdge rad="12700"/>
            </a:effectLst>
          </p:spPr>
        </p:pic>
      </p:grpSp>
    </p:spTree>
    <p:extLst>
      <p:ext uri="{BB962C8B-B14F-4D97-AF65-F5344CB8AC3E}">
        <p14:creationId xmlns:p14="http://schemas.microsoft.com/office/powerpoint/2010/main" val="3229837223"/>
      </p:ext>
    </p:extLst>
  </p:cSld>
  <p:clrMapOvr>
    <a:masterClrMapping/>
  </p:clrMapOvr>
  <p:transition spd="med">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chitecture example</a:t>
            </a:r>
          </a:p>
        </p:txBody>
      </p:sp>
      <p:pic>
        <p:nvPicPr>
          <p:cNvPr id="4" name="Content Placeholder 3"/>
          <p:cNvPicPr>
            <a:picLocks noGrp="1" noChangeAspect="1"/>
          </p:cNvPicPr>
          <p:nvPr>
            <p:ph sz="quarter" idx="10"/>
          </p:nvPr>
        </p:nvPicPr>
        <p:blipFill>
          <a:blip r:embed="rId3"/>
          <a:stretch>
            <a:fillRect/>
          </a:stretch>
        </p:blipFill>
        <p:spPr>
          <a:xfrm>
            <a:off x="709845" y="1500909"/>
            <a:ext cx="10909229" cy="4182142"/>
          </a:xfrm>
          <a:prstGeom prst="rect">
            <a:avLst/>
          </a:prstGeom>
          <a:solidFill>
            <a:schemeClr val="tx1"/>
          </a:solidFill>
        </p:spPr>
      </p:pic>
    </p:spTree>
    <p:extLst>
      <p:ext uri="{BB962C8B-B14F-4D97-AF65-F5344CB8AC3E}">
        <p14:creationId xmlns:p14="http://schemas.microsoft.com/office/powerpoint/2010/main" val="376663396"/>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7518705" y="-1"/>
            <a:ext cx="4916887" cy="7014579"/>
          </a:xfrm>
          <a:prstGeom prst="rect">
            <a:avLst/>
          </a:prstGeom>
        </p:spPr>
      </p:pic>
      <p:sp>
        <p:nvSpPr>
          <p:cNvPr id="8" name="TextBox 7"/>
          <p:cNvSpPr txBox="1"/>
          <p:nvPr/>
        </p:nvSpPr>
        <p:spPr>
          <a:xfrm>
            <a:off x="1742914" y="395718"/>
            <a:ext cx="5161578" cy="734534"/>
          </a:xfrm>
          <a:prstGeom prst="rect">
            <a:avLst/>
          </a:prstGeom>
          <a:noFill/>
        </p:spPr>
        <p:txBody>
          <a:bodyPr wrap="square" rtlCol="0">
            <a:spAutoFit/>
          </a:bodyPr>
          <a:lstStyle/>
          <a:p>
            <a:pPr defTabSz="932597"/>
            <a:r>
              <a:rPr lang="en-US" sz="2448" b="1" dirty="0">
                <a:solidFill>
                  <a:prstClr val="black"/>
                </a:solidFill>
                <a:latin typeface="Segoe UI" panose="020B0502040204020203" pitchFamily="34" charset="0"/>
                <a:cs typeface="Segoe UI" panose="020B0502040204020203" pitchFamily="34" charset="0"/>
              </a:rPr>
              <a:t>Boots on the ground</a:t>
            </a:r>
          </a:p>
          <a:p>
            <a:pPr defTabSz="932597"/>
            <a:r>
              <a:rPr lang="en-US" sz="1632" dirty="0">
                <a:solidFill>
                  <a:prstClr val="black"/>
                </a:solidFill>
                <a:latin typeface="Segoe UI" panose="020B0502040204020203" pitchFamily="34" charset="0"/>
                <a:cs typeface="Segoe UI" panose="020B0502040204020203" pitchFamily="34" charset="0"/>
              </a:rPr>
              <a:t>Services team uncovered customer interest in Cloud</a:t>
            </a:r>
          </a:p>
        </p:txBody>
      </p:sp>
      <p:sp>
        <p:nvSpPr>
          <p:cNvPr id="10" name="TextBox 9"/>
          <p:cNvSpPr txBox="1"/>
          <p:nvPr/>
        </p:nvSpPr>
        <p:spPr>
          <a:xfrm>
            <a:off x="1742914" y="1490419"/>
            <a:ext cx="4868307" cy="990693"/>
          </a:xfrm>
          <a:prstGeom prst="rect">
            <a:avLst/>
          </a:prstGeom>
          <a:noFill/>
        </p:spPr>
        <p:txBody>
          <a:bodyPr wrap="square" rtlCol="0">
            <a:spAutoFit/>
          </a:bodyPr>
          <a:lstStyle/>
          <a:p>
            <a:pPr defTabSz="932597"/>
            <a:r>
              <a:rPr lang="en-US" sz="2448" b="1" dirty="0">
                <a:solidFill>
                  <a:prstClr val="black"/>
                </a:solidFill>
                <a:latin typeface="Segoe UI" panose="020B0502040204020203" pitchFamily="34" charset="0"/>
                <a:cs typeface="Segoe UI" panose="020B0502040204020203" pitchFamily="34" charset="0"/>
              </a:rPr>
              <a:t>Visit the Mission Space</a:t>
            </a:r>
          </a:p>
          <a:p>
            <a:pPr defTabSz="932597"/>
            <a:r>
              <a:rPr lang="en-US" sz="1632" dirty="0">
                <a:solidFill>
                  <a:prstClr val="black"/>
                </a:solidFill>
                <a:latin typeface="Segoe UI" panose="020B0502040204020203" pitchFamily="34" charset="0"/>
                <a:cs typeface="Segoe UI" panose="020B0502040204020203" pitchFamily="34" charset="0"/>
              </a:rPr>
              <a:t>Team trip to Tucson, AZ to view Border Crossing facility</a:t>
            </a:r>
          </a:p>
        </p:txBody>
      </p:sp>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03310" y="163977"/>
            <a:ext cx="1146044" cy="934337"/>
          </a:xfrm>
          <a:prstGeom prst="rect">
            <a:avLst/>
          </a:prstGeom>
        </p:spPr>
      </p:pic>
      <p:grpSp>
        <p:nvGrpSpPr>
          <p:cNvPr id="13" name="Group 12"/>
          <p:cNvGrpSpPr/>
          <p:nvPr/>
        </p:nvGrpSpPr>
        <p:grpSpPr>
          <a:xfrm>
            <a:off x="576068" y="1459193"/>
            <a:ext cx="886590" cy="753205"/>
            <a:chOff x="3706282" y="4734660"/>
            <a:chExt cx="2283750" cy="1940163"/>
          </a:xfrm>
        </p:grpSpPr>
        <p:pic>
          <p:nvPicPr>
            <p:cNvPr id="14" name="Picture 1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706282" y="6157323"/>
              <a:ext cx="2283750" cy="517500"/>
            </a:xfrm>
            <a:prstGeom prst="rect">
              <a:avLst/>
            </a:prstGeom>
          </p:spPr>
        </p:pic>
        <p:pic>
          <p:nvPicPr>
            <p:cNvPr id="15" name="Picture 1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896935" y="4734660"/>
              <a:ext cx="1199172" cy="677179"/>
            </a:xfrm>
            <a:prstGeom prst="rect">
              <a:avLst/>
            </a:prstGeom>
          </p:spPr>
        </p:pic>
      </p:grpSp>
      <p:pic>
        <p:nvPicPr>
          <p:cNvPr id="16" name="Picture 1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28884" y="2501807"/>
            <a:ext cx="503737" cy="941510"/>
          </a:xfrm>
          <a:prstGeom prst="rect">
            <a:avLst/>
          </a:prstGeom>
        </p:spPr>
      </p:pic>
      <p:sp>
        <p:nvSpPr>
          <p:cNvPr id="17" name="TextBox 16"/>
          <p:cNvSpPr txBox="1"/>
          <p:nvPr/>
        </p:nvSpPr>
        <p:spPr>
          <a:xfrm>
            <a:off x="1727235" y="2547341"/>
            <a:ext cx="4774833" cy="990693"/>
          </a:xfrm>
          <a:prstGeom prst="rect">
            <a:avLst/>
          </a:prstGeom>
          <a:noFill/>
        </p:spPr>
        <p:txBody>
          <a:bodyPr wrap="square" rtlCol="0">
            <a:spAutoFit/>
          </a:bodyPr>
          <a:lstStyle/>
          <a:p>
            <a:pPr defTabSz="932597"/>
            <a:r>
              <a:rPr lang="en-US" sz="2448" b="1" dirty="0">
                <a:solidFill>
                  <a:prstClr val="black"/>
                </a:solidFill>
                <a:latin typeface="Segoe UI" panose="020B0502040204020203" pitchFamily="34" charset="0"/>
                <a:cs typeface="Segoe UI" panose="020B0502040204020203" pitchFamily="34" charset="0"/>
              </a:rPr>
              <a:t>Identify Opportunities</a:t>
            </a:r>
          </a:p>
          <a:p>
            <a:pPr defTabSz="932597"/>
            <a:r>
              <a:rPr lang="en-US" sz="1632" dirty="0">
                <a:solidFill>
                  <a:prstClr val="black"/>
                </a:solidFill>
                <a:latin typeface="Segoe UI" panose="020B0502040204020203" pitchFamily="34" charset="0"/>
                <a:cs typeface="Segoe UI" panose="020B0502040204020203" pitchFamily="34" charset="0"/>
              </a:rPr>
              <a:t>Lacking biometrics. Interview Process. Slow processing times</a:t>
            </a:r>
          </a:p>
        </p:txBody>
      </p:sp>
      <p:pic>
        <p:nvPicPr>
          <p:cNvPr id="18" name="Picture 17"/>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96375" y="3732727"/>
            <a:ext cx="866283" cy="866283"/>
          </a:xfrm>
          <a:prstGeom prst="rect">
            <a:avLst/>
          </a:prstGeom>
        </p:spPr>
      </p:pic>
      <p:sp>
        <p:nvSpPr>
          <p:cNvPr id="19" name="TextBox 18"/>
          <p:cNvSpPr txBox="1"/>
          <p:nvPr/>
        </p:nvSpPr>
        <p:spPr>
          <a:xfrm>
            <a:off x="1712759" y="3855387"/>
            <a:ext cx="4487053" cy="734534"/>
          </a:xfrm>
          <a:prstGeom prst="rect">
            <a:avLst/>
          </a:prstGeom>
          <a:noFill/>
        </p:spPr>
        <p:txBody>
          <a:bodyPr wrap="square" rtlCol="0">
            <a:spAutoFit/>
          </a:bodyPr>
          <a:lstStyle/>
          <a:p>
            <a:pPr defTabSz="932597"/>
            <a:r>
              <a:rPr lang="en-US" sz="2448" b="1" dirty="0">
                <a:solidFill>
                  <a:prstClr val="black"/>
                </a:solidFill>
                <a:latin typeface="Segoe UI" panose="020B0502040204020203" pitchFamily="34" charset="0"/>
                <a:cs typeface="Segoe UI" panose="020B0502040204020203" pitchFamily="34" charset="0"/>
              </a:rPr>
              <a:t>Prioritize Customer Needs</a:t>
            </a:r>
          </a:p>
          <a:p>
            <a:pPr defTabSz="932597"/>
            <a:r>
              <a:rPr lang="en-US" sz="1632" dirty="0">
                <a:solidFill>
                  <a:prstClr val="black"/>
                </a:solidFill>
                <a:latin typeface="Segoe UI" panose="020B0502040204020203" pitchFamily="34" charset="0"/>
                <a:cs typeface="Segoe UI" panose="020B0502040204020203" pitchFamily="34" charset="0"/>
              </a:rPr>
              <a:t>Ranked Pain Points – Interview Process #1</a:t>
            </a:r>
          </a:p>
        </p:txBody>
      </p:sp>
      <p:pic>
        <p:nvPicPr>
          <p:cNvPr id="20" name="Picture 19"/>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76068" y="4888420"/>
            <a:ext cx="767997" cy="732276"/>
          </a:xfrm>
          <a:prstGeom prst="rect">
            <a:avLst/>
          </a:prstGeom>
        </p:spPr>
      </p:pic>
      <p:sp>
        <p:nvSpPr>
          <p:cNvPr id="21" name="TextBox 20"/>
          <p:cNvSpPr txBox="1"/>
          <p:nvPr/>
        </p:nvSpPr>
        <p:spPr>
          <a:xfrm>
            <a:off x="1706063" y="4888420"/>
            <a:ext cx="4817176" cy="971356"/>
          </a:xfrm>
          <a:prstGeom prst="rect">
            <a:avLst/>
          </a:prstGeom>
          <a:noFill/>
        </p:spPr>
        <p:txBody>
          <a:bodyPr wrap="square" rtlCol="0">
            <a:spAutoFit/>
          </a:bodyPr>
          <a:lstStyle/>
          <a:p>
            <a:pPr defTabSz="932597"/>
            <a:r>
              <a:rPr lang="en-US" sz="2448" b="1" dirty="0">
                <a:solidFill>
                  <a:prstClr val="black"/>
                </a:solidFill>
                <a:latin typeface="Segoe UI" panose="020B0502040204020203" pitchFamily="34" charset="0"/>
                <a:cs typeface="Segoe UI" panose="020B0502040204020203" pitchFamily="34" charset="0"/>
              </a:rPr>
              <a:t>Don’t try to solve world hunger</a:t>
            </a:r>
          </a:p>
          <a:p>
            <a:pPr defTabSz="932597"/>
            <a:r>
              <a:rPr lang="en-US" sz="1632" dirty="0">
                <a:solidFill>
                  <a:prstClr val="black"/>
                </a:solidFill>
                <a:latin typeface="Segoe UI" panose="020B0502040204020203" pitchFamily="34" charset="0"/>
                <a:cs typeface="Segoe UI" panose="020B0502040204020203" pitchFamily="34" charset="0"/>
              </a:rPr>
              <a:t>Focused on solving that one issue with STU, MCS, Acct Team</a:t>
            </a:r>
          </a:p>
        </p:txBody>
      </p:sp>
      <p:pic>
        <p:nvPicPr>
          <p:cNvPr id="24" name="Picture 23"/>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76068" y="5980492"/>
            <a:ext cx="1068611" cy="747156"/>
          </a:xfrm>
          <a:prstGeom prst="rect">
            <a:avLst/>
          </a:prstGeom>
        </p:spPr>
      </p:pic>
      <p:sp>
        <p:nvSpPr>
          <p:cNvPr id="25" name="TextBox 24"/>
          <p:cNvSpPr txBox="1"/>
          <p:nvPr/>
        </p:nvSpPr>
        <p:spPr>
          <a:xfrm>
            <a:off x="1706063" y="5980492"/>
            <a:ext cx="4817176" cy="990693"/>
          </a:xfrm>
          <a:prstGeom prst="rect">
            <a:avLst/>
          </a:prstGeom>
          <a:noFill/>
        </p:spPr>
        <p:txBody>
          <a:bodyPr wrap="square" rtlCol="0">
            <a:spAutoFit/>
          </a:bodyPr>
          <a:lstStyle/>
          <a:p>
            <a:pPr defTabSz="932597"/>
            <a:r>
              <a:rPr lang="en-US" sz="2448" b="1" dirty="0">
                <a:solidFill>
                  <a:prstClr val="black"/>
                </a:solidFill>
                <a:latin typeface="Segoe UI" panose="020B0502040204020203" pitchFamily="34" charset="0"/>
                <a:cs typeface="Segoe UI" panose="020B0502040204020203" pitchFamily="34" charset="0"/>
              </a:rPr>
              <a:t>Ask for help</a:t>
            </a:r>
          </a:p>
          <a:p>
            <a:pPr defTabSz="932597"/>
            <a:r>
              <a:rPr lang="en-US" sz="1632" dirty="0">
                <a:solidFill>
                  <a:prstClr val="black"/>
                </a:solidFill>
                <a:latin typeface="Segoe UI" panose="020B0502040204020203" pitchFamily="34" charset="0"/>
                <a:cs typeface="Segoe UI" panose="020B0502040204020203" pitchFamily="34" charset="0"/>
              </a:rPr>
              <a:t>Leadership Team. CIF. Product Group. Azure </a:t>
            </a:r>
            <a:r>
              <a:rPr lang="en-US" sz="1632" dirty="0" err="1">
                <a:solidFill>
                  <a:prstClr val="black"/>
                </a:solidFill>
                <a:latin typeface="Segoe UI" panose="020B0502040204020203" pitchFamily="34" charset="0"/>
                <a:cs typeface="Segoe UI" panose="020B0502040204020203" pitchFamily="34" charset="0"/>
              </a:rPr>
              <a:t>Gov</a:t>
            </a:r>
            <a:r>
              <a:rPr lang="en-US" sz="1632" dirty="0">
                <a:solidFill>
                  <a:prstClr val="black"/>
                </a:solidFill>
                <a:latin typeface="Segoe UI" panose="020B0502040204020203" pitchFamily="34" charset="0"/>
                <a:cs typeface="Segoe UI" panose="020B0502040204020203" pitchFamily="34" charset="0"/>
              </a:rPr>
              <a:t> Team</a:t>
            </a:r>
          </a:p>
        </p:txBody>
      </p:sp>
    </p:spTree>
    <p:extLst>
      <p:ext uri="{BB962C8B-B14F-4D97-AF65-F5344CB8AC3E}">
        <p14:creationId xmlns:p14="http://schemas.microsoft.com/office/powerpoint/2010/main" val="1078553681"/>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00334" y="696214"/>
            <a:ext cx="11042023" cy="448228"/>
          </a:xfrm>
        </p:spPr>
        <p:txBody>
          <a:bodyPr/>
          <a:lstStyle/>
          <a:p>
            <a:r>
              <a:rPr lang="en-US" sz="2856" dirty="0"/>
              <a:t>Call to Action</a:t>
            </a:r>
          </a:p>
        </p:txBody>
      </p:sp>
      <p:sp>
        <p:nvSpPr>
          <p:cNvPr id="5" name="Content Placeholder 4"/>
          <p:cNvSpPr>
            <a:spLocks noGrp="1"/>
          </p:cNvSpPr>
          <p:nvPr>
            <p:ph sz="quarter" idx="10"/>
          </p:nvPr>
        </p:nvSpPr>
        <p:spPr>
          <a:xfrm>
            <a:off x="1092452" y="1865206"/>
            <a:ext cx="10099673" cy="4588833"/>
          </a:xfrm>
        </p:spPr>
        <p:txBody>
          <a:bodyPr/>
          <a:lstStyle/>
          <a:p>
            <a:r>
              <a:rPr lang="en-US" sz="2448" dirty="0"/>
              <a:t>Assume every agency has a GIS server</a:t>
            </a:r>
          </a:p>
          <a:p>
            <a:pPr lvl="1"/>
            <a:r>
              <a:rPr lang="en-US" sz="2448" dirty="0"/>
              <a:t>GIS servers running mission critical apps easily moved to Azure Cloud</a:t>
            </a:r>
          </a:p>
          <a:p>
            <a:r>
              <a:rPr lang="en-US" sz="2652" dirty="0"/>
              <a:t>Esri has relationships on the mission / business side (outside the CIO’s office)</a:t>
            </a:r>
            <a:endParaRPr lang="en-US" sz="2448" dirty="0"/>
          </a:p>
          <a:p>
            <a:r>
              <a:rPr lang="en-US" sz="2448" dirty="0"/>
              <a:t>Who to Call:</a:t>
            </a:r>
          </a:p>
          <a:p>
            <a:pPr lvl="1">
              <a:buClr>
                <a:srgbClr val="00B9F2">
                  <a:lumMod val="60000"/>
                  <a:lumOff val="40000"/>
                </a:srgbClr>
              </a:buClr>
            </a:pPr>
            <a:r>
              <a:rPr lang="en-US" sz="2448" dirty="0">
                <a:solidFill>
                  <a:prstClr val="white"/>
                </a:solidFill>
              </a:rPr>
              <a:t>Reach out to Esri AM  to engage the mission owner / GIS manager / GIO</a:t>
            </a:r>
            <a:endParaRPr lang="en-US" sz="2244" dirty="0"/>
          </a:p>
          <a:p>
            <a:pPr lvl="1"/>
            <a:r>
              <a:rPr lang="en-US" sz="2448" dirty="0"/>
              <a:t>CIO</a:t>
            </a:r>
          </a:p>
          <a:p>
            <a:pPr lvl="1"/>
            <a:r>
              <a:rPr lang="en-US" sz="2448" dirty="0"/>
              <a:t>Chief Cloud officer</a:t>
            </a:r>
          </a:p>
          <a:p>
            <a:pPr lvl="1"/>
            <a:endParaRPr lang="en-US" dirty="0"/>
          </a:p>
          <a:p>
            <a:pPr lvl="1"/>
            <a:endParaRPr lang="en-US" dirty="0"/>
          </a:p>
          <a:p>
            <a:pPr lvl="1"/>
            <a:endParaRPr lang="en-US" dirty="0"/>
          </a:p>
        </p:txBody>
      </p:sp>
    </p:spTree>
    <p:extLst>
      <p:ext uri="{BB962C8B-B14F-4D97-AF65-F5344CB8AC3E}">
        <p14:creationId xmlns:p14="http://schemas.microsoft.com/office/powerpoint/2010/main" val="3172352167"/>
      </p:ext>
    </p:extLst>
  </p:cSld>
  <p:clrMapOvr>
    <a:masterClrMapping/>
  </p:clrMapOvr>
  <p:transition spd="med">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00334" y="696214"/>
            <a:ext cx="11042023" cy="896457"/>
          </a:xfrm>
        </p:spPr>
        <p:txBody>
          <a:bodyPr/>
          <a:lstStyle/>
          <a:p>
            <a:r>
              <a:rPr lang="en-US" sz="2856" dirty="0"/>
              <a:t>It’s Easy to Get Started</a:t>
            </a:r>
            <a:br>
              <a:rPr lang="en-US" sz="2856" dirty="0"/>
            </a:br>
            <a:endParaRPr lang="en-US" sz="2856" dirty="0"/>
          </a:p>
        </p:txBody>
      </p:sp>
      <p:sp>
        <p:nvSpPr>
          <p:cNvPr id="5" name="Content Placeholder 4"/>
          <p:cNvSpPr>
            <a:spLocks noGrp="1"/>
          </p:cNvSpPr>
          <p:nvPr>
            <p:ph sz="quarter" idx="10"/>
          </p:nvPr>
        </p:nvSpPr>
        <p:spPr>
          <a:xfrm>
            <a:off x="1187832" y="1865206"/>
            <a:ext cx="10004293" cy="4334486"/>
          </a:xfrm>
        </p:spPr>
        <p:txBody>
          <a:bodyPr/>
          <a:lstStyle/>
          <a:p>
            <a:pPr lvl="1"/>
            <a:endParaRPr lang="en-US" dirty="0"/>
          </a:p>
          <a:p>
            <a:pPr lvl="1"/>
            <a:r>
              <a:rPr lang="en-US" sz="2448" dirty="0"/>
              <a:t>Bring your existing ArcGIS Server licenses.  Don’t have a license? </a:t>
            </a:r>
            <a:r>
              <a:rPr lang="en-US" sz="2448" dirty="0">
                <a:hlinkClick r:id=""/>
              </a:rPr>
              <a:t>Talk with your local Esri representative.</a:t>
            </a:r>
          </a:p>
          <a:p>
            <a:pPr lvl="1"/>
            <a:endParaRPr lang="en-US" sz="2448" dirty="0">
              <a:hlinkClick r:id=""/>
            </a:endParaRPr>
          </a:p>
          <a:p>
            <a:pPr lvl="1"/>
            <a:r>
              <a:rPr lang="en-US" sz="2448" dirty="0"/>
              <a:t>Buy / leverage a </a:t>
            </a:r>
            <a:r>
              <a:rPr lang="en-US" sz="2448" dirty="0">
                <a:hlinkClick r:id=""/>
              </a:rPr>
              <a:t>Microsoft Azure subscription</a:t>
            </a:r>
          </a:p>
          <a:p>
            <a:pPr lvl="1"/>
            <a:endParaRPr lang="en-US" sz="2448" dirty="0">
              <a:hlinkClick r:id=""/>
            </a:endParaRPr>
          </a:p>
          <a:p>
            <a:pPr lvl="1"/>
            <a:r>
              <a:rPr lang="en-US" sz="2448" dirty="0"/>
              <a:t>Download ArcGIS Cloud Builder for Microsoft Azure from the Azure Marketplace and then follow </a:t>
            </a:r>
            <a:r>
              <a:rPr lang="en-US" sz="2448" dirty="0">
                <a:hlinkClick r:id="rId3"/>
              </a:rPr>
              <a:t>instructions for using Cloud Builder to configure your ArcGIS Server site on Microsoft Azure.</a:t>
            </a:r>
            <a:endParaRPr lang="en-US" sz="2448" dirty="0"/>
          </a:p>
          <a:p>
            <a:pPr lvl="1"/>
            <a:endParaRPr lang="en-US" dirty="0">
              <a:hlinkClick r:id=""/>
            </a:endParaRPr>
          </a:p>
          <a:p>
            <a:pPr lvl="1"/>
            <a:endParaRPr lang="en-US" dirty="0">
              <a:hlinkClick r:id=""/>
            </a:endParaRPr>
          </a:p>
          <a:p>
            <a:pPr lvl="1"/>
            <a:endParaRPr lang="en-US" dirty="0"/>
          </a:p>
          <a:p>
            <a:pPr lvl="1"/>
            <a:endParaRPr lang="en-US" dirty="0"/>
          </a:p>
        </p:txBody>
      </p:sp>
    </p:spTree>
    <p:extLst>
      <p:ext uri="{BB962C8B-B14F-4D97-AF65-F5344CB8AC3E}">
        <p14:creationId xmlns:p14="http://schemas.microsoft.com/office/powerpoint/2010/main" val="3638580026"/>
      </p:ext>
    </p:extLst>
  </p:cSld>
  <p:clrMapOvr>
    <a:masterClrMapping/>
  </p:clrMapOvr>
  <p:transition spd="med">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esri-10GlobeLogo_1CRev.eps"/>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555093" y="2834295"/>
            <a:ext cx="3320184" cy="1175899"/>
          </a:xfrm>
          <a:prstGeom prst="rect">
            <a:avLst/>
          </a:prstGeom>
        </p:spPr>
      </p:pic>
    </p:spTree>
    <p:extLst>
      <p:ext uri="{BB962C8B-B14F-4D97-AF65-F5344CB8AC3E}">
        <p14:creationId xmlns:p14="http://schemas.microsoft.com/office/powerpoint/2010/main" val="3172576984"/>
      </p:ext>
    </p:extLst>
  </p:cSld>
  <p:clrMapOvr>
    <a:masterClrMapping/>
  </p:clrMapOvr>
  <p:transition spd="med">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2230" y="5420132"/>
            <a:ext cx="12437823" cy="986180"/>
          </a:xfrm>
        </p:spPr>
        <p:txBody>
          <a:bodyPr/>
          <a:lstStyle/>
          <a:p>
            <a:pPr marL="0" indent="0"/>
            <a:r>
              <a:rPr lang="en-US" dirty="0"/>
              <a:t>Tony Moncada</a:t>
            </a:r>
          </a:p>
          <a:p>
            <a:pPr marL="0" indent="0"/>
            <a:r>
              <a:rPr lang="en-US" dirty="0"/>
              <a:t>	</a:t>
            </a:r>
          </a:p>
        </p:txBody>
      </p:sp>
      <p:sp>
        <p:nvSpPr>
          <p:cNvPr id="5" name="Title 4"/>
          <p:cNvSpPr>
            <a:spLocks noGrp="1"/>
          </p:cNvSpPr>
          <p:nvPr>
            <p:ph type="title"/>
          </p:nvPr>
        </p:nvSpPr>
        <p:spPr>
          <a:xfrm>
            <a:off x="-2230" y="4647929"/>
            <a:ext cx="12434711" cy="772202"/>
          </a:xfrm>
        </p:spPr>
        <p:txBody>
          <a:bodyPr/>
          <a:lstStyle/>
          <a:p>
            <a:r>
              <a:rPr lang="en-US" dirty="0"/>
              <a:t>eSignLive with Microsoft</a:t>
            </a:r>
          </a:p>
        </p:txBody>
      </p:sp>
    </p:spTree>
    <p:extLst>
      <p:ext uri="{BB962C8B-B14F-4D97-AF65-F5344CB8AC3E}">
        <p14:creationId xmlns:p14="http://schemas.microsoft.com/office/powerpoint/2010/main" val="2229015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9544012" y="2058760"/>
            <a:ext cx="1515480" cy="1476622"/>
          </a:xfrm>
          <a:prstGeom prst="rect">
            <a:avLst/>
          </a:prstGeom>
        </p:spPr>
      </p:pic>
      <p:sp>
        <p:nvSpPr>
          <p:cNvPr id="2" name="Slide Number Placeholder 1"/>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F71C7896-8E11-4384-BFC5-C0974CDBC83D}" type="slidenum">
              <a:rPr kumimoji="0" lang="en-US" sz="1836" b="0" i="0" u="none" strike="noStrike" kern="0" cap="none" spc="0" normalizeH="0" baseline="0" noProof="0">
                <a:ln>
                  <a:noFill/>
                </a:ln>
                <a:solidFill>
                  <a:sysClr val="windowText" lastClr="000000"/>
                </a:solidFill>
                <a:effectLst/>
                <a:uLnTx/>
                <a:uFillTx/>
                <a:latin typeface="Calibr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124</a:t>
            </a:fld>
            <a:endParaRPr kumimoji="0" lang="en-US" sz="1836"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 name="Text Placeholder 2"/>
          <p:cNvSpPr>
            <a:spLocks noGrp="1"/>
          </p:cNvSpPr>
          <p:nvPr>
            <p:ph type="body" sz="quarter" idx="11"/>
          </p:nvPr>
        </p:nvSpPr>
        <p:spPr>
          <a:xfrm>
            <a:off x="366951" y="1184406"/>
            <a:ext cx="11701063" cy="721978"/>
          </a:xfrm>
        </p:spPr>
        <p:txBody>
          <a:bodyPr/>
          <a:lstStyle/>
          <a:p>
            <a:r>
              <a:rPr lang="en-US" dirty="0"/>
              <a:t>This slide deck is designed to provide a brief introduction to eSignLive and specifically the positioning as it relates to the Microsoft  ISV play.  </a:t>
            </a:r>
          </a:p>
        </p:txBody>
      </p:sp>
      <p:sp>
        <p:nvSpPr>
          <p:cNvPr id="4" name="Title 3"/>
          <p:cNvSpPr>
            <a:spLocks noGrp="1"/>
          </p:cNvSpPr>
          <p:nvPr>
            <p:ph type="title"/>
          </p:nvPr>
        </p:nvSpPr>
        <p:spPr/>
        <p:txBody>
          <a:bodyPr/>
          <a:lstStyle/>
          <a:p>
            <a:r>
              <a:rPr lang="en-US" sz="3672" dirty="0">
                <a:solidFill>
                  <a:schemeClr val="bg2">
                    <a:lumMod val="10000"/>
                  </a:schemeClr>
                </a:solidFill>
              </a:rPr>
              <a:t>Introduction</a:t>
            </a:r>
          </a:p>
        </p:txBody>
      </p:sp>
      <p:sp>
        <p:nvSpPr>
          <p:cNvPr id="5" name="Title 3"/>
          <p:cNvSpPr txBox="1">
            <a:spLocks/>
          </p:cNvSpPr>
          <p:nvPr/>
        </p:nvSpPr>
        <p:spPr bwMode="auto">
          <a:xfrm>
            <a:off x="376770" y="2117417"/>
            <a:ext cx="11701062" cy="564258"/>
          </a:xfrm>
          <a:prstGeom prst="rect">
            <a:avLst/>
          </a:prstGeom>
          <a:noFill/>
          <a:ln w="9525">
            <a:noFill/>
            <a:miter lim="800000"/>
            <a:headEnd/>
            <a:tailEnd/>
          </a:ln>
          <a:effectLst/>
        </p:spPr>
        <p:txBody>
          <a:bodyPr vert="horz" wrap="square" lIns="46630" tIns="46630" rIns="46630" bIns="0" numCol="1" anchor="ctr" anchorCtr="0" compatLnSpc="1">
            <a:prstTxWarp prst="textNoShape">
              <a:avLst/>
            </a:prstTxWarp>
          </a:bodyPr>
          <a:lstStyle>
            <a:lvl1pPr algn="ctr" rtl="0" eaLnBrk="1" fontAlgn="base" hangingPunct="1">
              <a:lnSpc>
                <a:spcPct val="90000"/>
              </a:lnSpc>
              <a:spcBef>
                <a:spcPct val="0"/>
              </a:spcBef>
              <a:spcAft>
                <a:spcPct val="0"/>
              </a:spcAft>
              <a:defRPr sz="2600" b="0">
                <a:solidFill>
                  <a:schemeClr val="bg1"/>
                </a:solidFill>
                <a:latin typeface="+mj-lt"/>
                <a:ea typeface="+mj-ea"/>
                <a:cs typeface="Arial" pitchFamily="34" charset="0"/>
              </a:defRPr>
            </a:lvl1pPr>
            <a:lvl2pPr algn="l" rtl="0" eaLnBrk="1" fontAlgn="base" hangingPunct="1">
              <a:lnSpc>
                <a:spcPct val="90000"/>
              </a:lnSpc>
              <a:spcBef>
                <a:spcPct val="0"/>
              </a:spcBef>
              <a:spcAft>
                <a:spcPct val="0"/>
              </a:spcAft>
              <a:defRPr sz="2500" b="1">
                <a:solidFill>
                  <a:srgbClr val="000000"/>
                </a:solidFill>
                <a:latin typeface="Arial" charset="0"/>
              </a:defRPr>
            </a:lvl2pPr>
            <a:lvl3pPr algn="l" rtl="0" eaLnBrk="1" fontAlgn="base" hangingPunct="1">
              <a:lnSpc>
                <a:spcPct val="90000"/>
              </a:lnSpc>
              <a:spcBef>
                <a:spcPct val="0"/>
              </a:spcBef>
              <a:spcAft>
                <a:spcPct val="0"/>
              </a:spcAft>
              <a:defRPr sz="2500" b="1">
                <a:solidFill>
                  <a:srgbClr val="000000"/>
                </a:solidFill>
                <a:latin typeface="Arial" charset="0"/>
              </a:defRPr>
            </a:lvl3pPr>
            <a:lvl4pPr algn="l" rtl="0" eaLnBrk="1" fontAlgn="base" hangingPunct="1">
              <a:lnSpc>
                <a:spcPct val="90000"/>
              </a:lnSpc>
              <a:spcBef>
                <a:spcPct val="0"/>
              </a:spcBef>
              <a:spcAft>
                <a:spcPct val="0"/>
              </a:spcAft>
              <a:defRPr sz="2500" b="1">
                <a:solidFill>
                  <a:srgbClr val="000000"/>
                </a:solidFill>
                <a:latin typeface="Arial" charset="0"/>
              </a:defRPr>
            </a:lvl4pPr>
            <a:lvl5pPr algn="l" rtl="0" eaLnBrk="1" fontAlgn="base" hangingPunct="1">
              <a:lnSpc>
                <a:spcPct val="90000"/>
              </a:lnSpc>
              <a:spcBef>
                <a:spcPct val="0"/>
              </a:spcBef>
              <a:spcAft>
                <a:spcPct val="0"/>
              </a:spcAft>
              <a:defRPr sz="2500" b="1">
                <a:solidFill>
                  <a:srgbClr val="000000"/>
                </a:solidFill>
                <a:latin typeface="Arial" charset="0"/>
              </a:defRPr>
            </a:lvl5pPr>
            <a:lvl6pPr marL="457200" algn="l" rtl="0" eaLnBrk="1" fontAlgn="base" hangingPunct="1">
              <a:lnSpc>
                <a:spcPct val="90000"/>
              </a:lnSpc>
              <a:spcBef>
                <a:spcPct val="0"/>
              </a:spcBef>
              <a:spcAft>
                <a:spcPct val="0"/>
              </a:spcAft>
              <a:defRPr sz="2500" b="1">
                <a:solidFill>
                  <a:srgbClr val="000000"/>
                </a:solidFill>
                <a:latin typeface="Arial" charset="0"/>
              </a:defRPr>
            </a:lvl6pPr>
            <a:lvl7pPr marL="914400" algn="l" rtl="0" eaLnBrk="1" fontAlgn="base" hangingPunct="1">
              <a:lnSpc>
                <a:spcPct val="90000"/>
              </a:lnSpc>
              <a:spcBef>
                <a:spcPct val="0"/>
              </a:spcBef>
              <a:spcAft>
                <a:spcPct val="0"/>
              </a:spcAft>
              <a:defRPr sz="2500" b="1">
                <a:solidFill>
                  <a:srgbClr val="000000"/>
                </a:solidFill>
                <a:latin typeface="Arial" charset="0"/>
              </a:defRPr>
            </a:lvl7pPr>
            <a:lvl8pPr marL="1371600" algn="l" rtl="0" eaLnBrk="1" fontAlgn="base" hangingPunct="1">
              <a:lnSpc>
                <a:spcPct val="90000"/>
              </a:lnSpc>
              <a:spcBef>
                <a:spcPct val="0"/>
              </a:spcBef>
              <a:spcAft>
                <a:spcPct val="0"/>
              </a:spcAft>
              <a:defRPr sz="2500" b="1">
                <a:solidFill>
                  <a:srgbClr val="000000"/>
                </a:solidFill>
                <a:latin typeface="Arial" charset="0"/>
              </a:defRPr>
            </a:lvl8pPr>
            <a:lvl9pPr marL="1828800" algn="l" rtl="0" eaLnBrk="1" fontAlgn="base" hangingPunct="1">
              <a:lnSpc>
                <a:spcPct val="90000"/>
              </a:lnSpc>
              <a:spcBef>
                <a:spcPct val="0"/>
              </a:spcBef>
              <a:spcAft>
                <a:spcPct val="0"/>
              </a:spcAft>
              <a:defRPr sz="2500" b="1">
                <a:solidFill>
                  <a:srgbClr val="000000"/>
                </a:solidFill>
                <a:latin typeface="Arial" charset="0"/>
              </a:defRPr>
            </a:lvl9pPr>
          </a:lstStyle>
          <a:p>
            <a:pPr marL="0" marR="0" lvl="0" indent="0" algn="ctr" defTabSz="932597" rtl="0" eaLnBrk="1" fontAlgn="base" latinLnBrk="0" hangingPunct="1">
              <a:lnSpc>
                <a:spcPct val="90000"/>
              </a:lnSpc>
              <a:spcBef>
                <a:spcPct val="0"/>
              </a:spcBef>
              <a:spcAft>
                <a:spcPct val="0"/>
              </a:spcAft>
              <a:buClrTx/>
              <a:buSzTx/>
              <a:buFontTx/>
              <a:buNone/>
              <a:tabLst/>
              <a:defRPr/>
            </a:pPr>
            <a:r>
              <a:rPr kumimoji="0" lang="en-US" sz="3672" b="0" i="0" u="none" strike="noStrike" kern="0" cap="none" spc="0" normalizeH="0" baseline="0" noProof="0" dirty="0">
                <a:ln>
                  <a:noFill/>
                </a:ln>
                <a:solidFill>
                  <a:srgbClr val="E7E6E6">
                    <a:lumMod val="10000"/>
                  </a:srgbClr>
                </a:solidFill>
                <a:effectLst/>
                <a:uLnTx/>
                <a:uFillTx/>
                <a:latin typeface="Calibri"/>
                <a:ea typeface="+mj-ea"/>
                <a:cs typeface="Arial" pitchFamily="34" charset="0"/>
              </a:rPr>
              <a:t>Executive Summary</a:t>
            </a:r>
          </a:p>
        </p:txBody>
      </p:sp>
      <p:sp>
        <p:nvSpPr>
          <p:cNvPr id="6" name="Text Placeholder 2"/>
          <p:cNvSpPr txBox="1">
            <a:spLocks/>
          </p:cNvSpPr>
          <p:nvPr/>
        </p:nvSpPr>
        <p:spPr>
          <a:xfrm>
            <a:off x="376768" y="2783886"/>
            <a:ext cx="11701063" cy="5263640"/>
          </a:xfrm>
          <a:prstGeom prst="rect">
            <a:avLst/>
          </a:prstGeom>
        </p:spPr>
        <p:txBody>
          <a:bodyPr vert="horz" lIns="46630" tIns="46630" rIns="46630" bIns="46630" rtlCol="0">
            <a:spAutoFit/>
          </a:bodyPr>
          <a:lstStyle>
            <a:lvl1pPr marL="225425" indent="-225425" algn="l" rtl="0" eaLnBrk="1" fontAlgn="base" hangingPunct="1">
              <a:lnSpc>
                <a:spcPct val="100000"/>
              </a:lnSpc>
              <a:spcBef>
                <a:spcPts val="300"/>
              </a:spcBef>
              <a:spcAft>
                <a:spcPts val="400"/>
              </a:spcAft>
              <a:buClr>
                <a:schemeClr val="accent5">
                  <a:lumMod val="50000"/>
                </a:schemeClr>
              </a:buClr>
              <a:buFont typeface="Arial" panose="020B0604020202020204" pitchFamily="34" charset="0"/>
              <a:buChar char="•"/>
              <a:defRPr lang="en-US" sz="2000" kern="0">
                <a:solidFill>
                  <a:srgbClr val="1F6891"/>
                </a:solidFill>
                <a:latin typeface="+mn-lt"/>
                <a:ea typeface="+mn-ea"/>
                <a:cs typeface="Arial" pitchFamily="34" charset="0"/>
              </a:defRPr>
            </a:lvl1pPr>
            <a:lvl2pPr marL="461963" indent="-225425" algn="l" rtl="0" eaLnBrk="1" fontAlgn="base" hangingPunct="1">
              <a:lnSpc>
                <a:spcPct val="100000"/>
              </a:lnSpc>
              <a:spcBef>
                <a:spcPts val="300"/>
              </a:spcBef>
              <a:spcAft>
                <a:spcPts val="400"/>
              </a:spcAft>
              <a:buClr>
                <a:srgbClr val="336699"/>
              </a:buClr>
              <a:buSzPct val="95000"/>
              <a:buFont typeface="Arial" panose="020B0604020202020204" pitchFamily="34" charset="0"/>
              <a:buChar char="•"/>
              <a:defRPr lang="en-US" sz="1800" kern="0">
                <a:solidFill>
                  <a:schemeClr val="bg2">
                    <a:lumMod val="25000"/>
                  </a:schemeClr>
                </a:solidFill>
                <a:latin typeface="+mn-lt"/>
                <a:ea typeface="+mn-ea"/>
                <a:cs typeface="Arial" pitchFamily="34" charset="0"/>
              </a:defRPr>
            </a:lvl2pPr>
            <a:lvl3pPr marL="688975" indent="-234950" algn="l" rtl="0" eaLnBrk="1" fontAlgn="base" hangingPunct="1">
              <a:lnSpc>
                <a:spcPct val="100000"/>
              </a:lnSpc>
              <a:spcBef>
                <a:spcPts val="300"/>
              </a:spcBef>
              <a:spcAft>
                <a:spcPts val="400"/>
              </a:spcAft>
              <a:buClr>
                <a:srgbClr val="336699"/>
              </a:buClr>
              <a:buSzPct val="80000"/>
              <a:buFont typeface="Arial" pitchFamily="34" charset="0"/>
              <a:buChar char="•"/>
              <a:defRPr lang="en-US" sz="1600" kern="0">
                <a:solidFill>
                  <a:schemeClr val="bg2">
                    <a:lumMod val="25000"/>
                  </a:schemeClr>
                </a:solidFill>
                <a:latin typeface="+mn-lt"/>
                <a:ea typeface="+mn-ea"/>
                <a:cs typeface="Arial" pitchFamily="34" charset="0"/>
              </a:defRPr>
            </a:lvl3pPr>
            <a:lvl4pPr marL="914400" indent="-225425" algn="l" rtl="0" eaLnBrk="1" fontAlgn="base" hangingPunct="1">
              <a:lnSpc>
                <a:spcPct val="100000"/>
              </a:lnSpc>
              <a:spcBef>
                <a:spcPts val="300"/>
              </a:spcBef>
              <a:spcAft>
                <a:spcPts val="400"/>
              </a:spcAft>
              <a:buClr>
                <a:srgbClr val="336699"/>
              </a:buClr>
              <a:buSzPct val="70000"/>
              <a:buFont typeface="Arial" pitchFamily="34" charset="0"/>
              <a:buChar char="•"/>
              <a:defRPr lang="en-US" sz="1400" kern="0">
                <a:solidFill>
                  <a:schemeClr val="bg2">
                    <a:lumMod val="25000"/>
                  </a:schemeClr>
                </a:solidFill>
                <a:latin typeface="+mn-lt"/>
                <a:ea typeface="+mn-ea"/>
                <a:cs typeface="Arial" pitchFamily="34" charset="0"/>
              </a:defRPr>
            </a:lvl4pPr>
            <a:lvl5pPr marL="1139825" indent="-227013" algn="l" rtl="0" eaLnBrk="1" fontAlgn="base" hangingPunct="1">
              <a:lnSpc>
                <a:spcPct val="100000"/>
              </a:lnSpc>
              <a:spcBef>
                <a:spcPts val="300"/>
              </a:spcBef>
              <a:spcAft>
                <a:spcPts val="400"/>
              </a:spcAft>
              <a:buClr>
                <a:srgbClr val="336699"/>
              </a:buClr>
              <a:buSzPct val="60000"/>
              <a:buFont typeface="Arial" pitchFamily="34" charset="0"/>
              <a:buChar char="•"/>
              <a:defRPr lang="en-US" sz="1200" kern="0">
                <a:solidFill>
                  <a:schemeClr val="bg2">
                    <a:lumMod val="25000"/>
                  </a:schemeClr>
                </a:solidFill>
                <a:latin typeface="+mn-lt"/>
                <a:ea typeface="+mn-ea"/>
                <a:cs typeface="Arial" pitchFamily="34" charset="0"/>
              </a:defRPr>
            </a:lvl5pPr>
            <a:lvl6pPr marL="2112963" indent="-398463"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6pPr>
            <a:lvl7pPr marL="2570163" indent="-398463"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7pPr>
            <a:lvl8pPr marL="3027363" indent="-398463"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8pPr>
            <a:lvl9pPr marL="3484563" indent="-398463"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9pPr>
          </a:lstStyle>
          <a:p>
            <a:pPr marL="0" marR="0" lvl="0" indent="0" algn="l" defTabSz="932597" rtl="0" eaLnBrk="1" fontAlgn="base" latinLnBrk="0" hangingPunct="1">
              <a:lnSpc>
                <a:spcPct val="100000"/>
              </a:lnSpc>
              <a:spcBef>
                <a:spcPts val="306"/>
              </a:spcBef>
              <a:spcAft>
                <a:spcPts val="408"/>
              </a:spcAft>
              <a:buClr>
                <a:srgbClr val="D2DFE7">
                  <a:lumMod val="50000"/>
                </a:srgbClr>
              </a:buClr>
              <a:buSzTx/>
              <a:buFont typeface="Arial" panose="020B0604020202020204" pitchFamily="34" charset="0"/>
              <a:buNone/>
              <a:tabLst/>
              <a:defRPr/>
            </a:pPr>
            <a:r>
              <a:rPr kumimoji="0" lang="en-US" sz="2040" b="0" i="0" u="none" strike="noStrike" kern="0" cap="none" spc="0" normalizeH="0" baseline="0" noProof="0" dirty="0">
                <a:ln>
                  <a:noFill/>
                </a:ln>
                <a:solidFill>
                  <a:srgbClr val="1F6891"/>
                </a:solidFill>
                <a:effectLst/>
                <a:uLnTx/>
                <a:uFillTx/>
                <a:latin typeface="Calibri"/>
                <a:ea typeface="+mn-ea"/>
                <a:cs typeface="Arial" pitchFamily="34" charset="0"/>
              </a:rPr>
              <a:t>E-</a:t>
            </a:r>
            <a:r>
              <a:rPr kumimoji="0" lang="en-US" sz="2040" b="0" i="0" u="none" strike="noStrike" kern="0" cap="none" spc="0" normalizeH="0" baseline="0" noProof="0" dirty="0" err="1">
                <a:ln>
                  <a:noFill/>
                </a:ln>
                <a:solidFill>
                  <a:srgbClr val="1F6891"/>
                </a:solidFill>
                <a:effectLst/>
                <a:uLnTx/>
                <a:uFillTx/>
                <a:latin typeface="Calibri"/>
                <a:ea typeface="+mn-ea"/>
                <a:cs typeface="Arial" pitchFamily="34" charset="0"/>
              </a:rPr>
              <a:t>SignLive</a:t>
            </a:r>
            <a:r>
              <a:rPr kumimoji="0" lang="en-US" sz="2040" b="0" i="0" u="none" strike="noStrike" kern="0" cap="none" spc="0" normalizeH="0" baseline="0" noProof="0" dirty="0">
                <a:ln>
                  <a:noFill/>
                </a:ln>
                <a:solidFill>
                  <a:srgbClr val="1F6891"/>
                </a:solidFill>
                <a:effectLst/>
                <a:uLnTx/>
                <a:uFillTx/>
                <a:latin typeface="Calibri"/>
                <a:ea typeface="+mn-ea"/>
                <a:cs typeface="Arial" pitchFamily="34" charset="0"/>
              </a:rPr>
              <a:t> is </a:t>
            </a:r>
            <a:r>
              <a:rPr kumimoji="0" lang="en-US" sz="2040" b="1" i="0" u="none" strike="noStrike" kern="0" cap="none" spc="0" normalizeH="0" baseline="0" noProof="0" dirty="0">
                <a:ln>
                  <a:noFill/>
                </a:ln>
                <a:solidFill>
                  <a:srgbClr val="FF0000"/>
                </a:solidFill>
                <a:effectLst/>
                <a:uLnTx/>
                <a:uFillTx/>
                <a:latin typeface="Calibri"/>
                <a:ea typeface="+mn-ea"/>
                <a:cs typeface="Arial" pitchFamily="34" charset="0"/>
              </a:rPr>
              <a:t>the leading e-Signature provider </a:t>
            </a:r>
            <a:r>
              <a:rPr kumimoji="0" lang="en-US" sz="2040" b="0" i="0" u="none" strike="noStrike" kern="0" cap="none" spc="0" normalizeH="0" baseline="0" noProof="0" dirty="0">
                <a:ln>
                  <a:noFill/>
                </a:ln>
                <a:solidFill>
                  <a:srgbClr val="1F6891"/>
                </a:solidFill>
                <a:effectLst/>
                <a:uLnTx/>
                <a:uFillTx/>
                <a:latin typeface="Calibri"/>
                <a:ea typeface="+mn-ea"/>
                <a:cs typeface="Arial" pitchFamily="34" charset="0"/>
              </a:rPr>
              <a:t>with added focus and further significant </a:t>
            </a:r>
          </a:p>
          <a:p>
            <a:pPr marL="0" marR="0" lvl="0" indent="0" algn="l" defTabSz="932597" rtl="0" eaLnBrk="1" fontAlgn="base" latinLnBrk="0" hangingPunct="1">
              <a:lnSpc>
                <a:spcPct val="100000"/>
              </a:lnSpc>
              <a:spcBef>
                <a:spcPts val="306"/>
              </a:spcBef>
              <a:spcAft>
                <a:spcPts val="408"/>
              </a:spcAft>
              <a:buClr>
                <a:srgbClr val="D2DFE7">
                  <a:lumMod val="50000"/>
                </a:srgbClr>
              </a:buClr>
              <a:buSzTx/>
              <a:buFont typeface="Arial" panose="020B0604020202020204" pitchFamily="34" charset="0"/>
              <a:buNone/>
              <a:tabLst/>
              <a:defRPr/>
            </a:pPr>
            <a:r>
              <a:rPr kumimoji="0" lang="en-US" sz="2040" b="0" i="0" u="none" strike="noStrike" kern="0" cap="none" spc="0" normalizeH="0" baseline="0" noProof="0" dirty="0">
                <a:ln>
                  <a:noFill/>
                </a:ln>
                <a:solidFill>
                  <a:srgbClr val="1F6891"/>
                </a:solidFill>
                <a:effectLst/>
                <a:uLnTx/>
                <a:uFillTx/>
                <a:latin typeface="Calibri"/>
                <a:ea typeface="+mn-ea"/>
                <a:cs typeface="Arial" pitchFamily="34" charset="0"/>
              </a:rPr>
              <a:t>differentiation in highly regulated industries such as Public Sector,  Banking,  and Insurance.   </a:t>
            </a:r>
          </a:p>
          <a:p>
            <a:pPr marL="0" marR="0" lvl="0" indent="0" algn="l" defTabSz="932597" rtl="0" eaLnBrk="1" fontAlgn="base" latinLnBrk="0" hangingPunct="1">
              <a:lnSpc>
                <a:spcPct val="100000"/>
              </a:lnSpc>
              <a:spcBef>
                <a:spcPts val="306"/>
              </a:spcBef>
              <a:spcAft>
                <a:spcPts val="408"/>
              </a:spcAft>
              <a:buClr>
                <a:srgbClr val="D2DFE7">
                  <a:lumMod val="50000"/>
                </a:srgbClr>
              </a:buClr>
              <a:buSzTx/>
              <a:buFont typeface="Arial" panose="020B0604020202020204" pitchFamily="34" charset="0"/>
              <a:buNone/>
              <a:tabLst/>
              <a:defRPr/>
            </a:pPr>
            <a:r>
              <a:rPr kumimoji="0" lang="en-US" sz="2040" b="0" i="0" u="none" strike="noStrike" kern="0" cap="none" spc="0" normalizeH="0" baseline="0" noProof="0" dirty="0">
                <a:ln>
                  <a:noFill/>
                </a:ln>
                <a:solidFill>
                  <a:srgbClr val="1F6891"/>
                </a:solidFill>
                <a:effectLst/>
                <a:uLnTx/>
                <a:uFillTx/>
                <a:latin typeface="Calibri"/>
                <a:ea typeface="+mn-ea"/>
                <a:cs typeface="Arial" pitchFamily="34" charset="0"/>
              </a:rPr>
              <a:t>	-  </a:t>
            </a:r>
            <a:r>
              <a:rPr kumimoji="0" lang="en-US" sz="2040" b="0" i="0" u="none" strike="noStrike" kern="0" cap="none" spc="0" normalizeH="0" baseline="0" noProof="0" dirty="0" err="1">
                <a:ln>
                  <a:noFill/>
                </a:ln>
                <a:solidFill>
                  <a:srgbClr val="1F6891"/>
                </a:solidFill>
                <a:effectLst/>
                <a:uLnTx/>
                <a:uFillTx/>
                <a:latin typeface="Calibri"/>
                <a:ea typeface="+mn-ea"/>
                <a:cs typeface="Arial" pitchFamily="34" charset="0"/>
              </a:rPr>
              <a:t>FEDRamp</a:t>
            </a:r>
            <a:r>
              <a:rPr kumimoji="0" lang="en-US" sz="2040" b="0" i="0" u="none" strike="noStrike" kern="0" cap="none" spc="0" normalizeH="0" baseline="0" noProof="0" dirty="0">
                <a:ln>
                  <a:noFill/>
                </a:ln>
                <a:solidFill>
                  <a:srgbClr val="1F6891"/>
                </a:solidFill>
                <a:effectLst/>
                <a:uLnTx/>
                <a:uFillTx/>
                <a:latin typeface="Calibri"/>
                <a:ea typeface="+mn-ea"/>
                <a:cs typeface="Arial" pitchFamily="34" charset="0"/>
              </a:rPr>
              <a:t> certified leveraging  MS Azure</a:t>
            </a:r>
          </a:p>
          <a:p>
            <a:pPr marL="0" marR="0" lvl="0" indent="0" algn="l" defTabSz="932597" rtl="0" eaLnBrk="1" fontAlgn="base" latinLnBrk="0" hangingPunct="1">
              <a:lnSpc>
                <a:spcPct val="100000"/>
              </a:lnSpc>
              <a:spcBef>
                <a:spcPts val="306"/>
              </a:spcBef>
              <a:spcAft>
                <a:spcPts val="408"/>
              </a:spcAft>
              <a:buClr>
                <a:srgbClr val="D2DFE7">
                  <a:lumMod val="50000"/>
                </a:srgbClr>
              </a:buClr>
              <a:buSzTx/>
              <a:buFont typeface="Arial" panose="020B0604020202020204" pitchFamily="34" charset="0"/>
              <a:buNone/>
              <a:tabLst/>
              <a:defRPr/>
            </a:pPr>
            <a:r>
              <a:rPr kumimoji="0" lang="en-US" sz="2040" b="0" i="0" u="none" strike="noStrike" kern="0" cap="none" spc="0" normalizeH="0" baseline="0" noProof="0" dirty="0">
                <a:ln>
                  <a:noFill/>
                </a:ln>
                <a:solidFill>
                  <a:srgbClr val="1F6891"/>
                </a:solidFill>
                <a:effectLst/>
                <a:uLnTx/>
                <a:uFillTx/>
                <a:latin typeface="Calibri"/>
                <a:ea typeface="+mn-ea"/>
                <a:cs typeface="Arial" pitchFamily="34" charset="0"/>
              </a:rPr>
              <a:t>	-  Native Support for CAC/PIV/ Derived Credentials , including TPM module vis MS CAPI</a:t>
            </a:r>
          </a:p>
          <a:p>
            <a:pPr marL="0" marR="0" lvl="0" indent="0" algn="l" defTabSz="932597" rtl="0" eaLnBrk="1" fontAlgn="base" latinLnBrk="0" hangingPunct="1">
              <a:lnSpc>
                <a:spcPct val="100000"/>
              </a:lnSpc>
              <a:spcBef>
                <a:spcPts val="306"/>
              </a:spcBef>
              <a:spcAft>
                <a:spcPts val="408"/>
              </a:spcAft>
              <a:buClr>
                <a:srgbClr val="D2DFE7">
                  <a:lumMod val="50000"/>
                </a:srgbClr>
              </a:buClr>
              <a:buSzTx/>
              <a:buFont typeface="Arial" panose="020B0604020202020204" pitchFamily="34" charset="0"/>
              <a:buNone/>
              <a:tabLst/>
              <a:defRPr/>
            </a:pPr>
            <a:r>
              <a:rPr kumimoji="0" lang="en-US" sz="2040" b="0" i="0" u="none" strike="noStrike" kern="0" cap="none" spc="0" normalizeH="0" baseline="0" noProof="0" dirty="0">
                <a:ln>
                  <a:noFill/>
                </a:ln>
                <a:solidFill>
                  <a:srgbClr val="1F6891"/>
                </a:solidFill>
                <a:effectLst/>
                <a:uLnTx/>
                <a:uFillTx/>
                <a:latin typeface="Calibri"/>
                <a:ea typeface="+mn-ea"/>
                <a:cs typeface="Arial" pitchFamily="34" charset="0"/>
              </a:rPr>
              <a:t>	-  Most robust evidence with Self Contained audit trails meeting NARA Requirements</a:t>
            </a:r>
          </a:p>
          <a:p>
            <a:pPr marL="0" marR="0" lvl="0" indent="0" algn="l" defTabSz="932597" rtl="0" eaLnBrk="1" fontAlgn="base" latinLnBrk="0" hangingPunct="1">
              <a:lnSpc>
                <a:spcPct val="100000"/>
              </a:lnSpc>
              <a:spcBef>
                <a:spcPts val="306"/>
              </a:spcBef>
              <a:spcAft>
                <a:spcPts val="408"/>
              </a:spcAft>
              <a:buClr>
                <a:srgbClr val="D2DFE7">
                  <a:lumMod val="50000"/>
                </a:srgbClr>
              </a:buClr>
              <a:buSzTx/>
              <a:buFont typeface="Arial" panose="020B0604020202020204" pitchFamily="34" charset="0"/>
              <a:buNone/>
              <a:tabLst/>
              <a:defRPr/>
            </a:pPr>
            <a:r>
              <a:rPr kumimoji="0" lang="en-US" sz="2040" b="0" i="0" u="none" strike="noStrike" kern="0" cap="none" spc="0" normalizeH="0" baseline="0" noProof="0" dirty="0">
                <a:ln>
                  <a:noFill/>
                </a:ln>
                <a:solidFill>
                  <a:srgbClr val="1F6891"/>
                </a:solidFill>
                <a:effectLst/>
                <a:uLnTx/>
                <a:uFillTx/>
                <a:latin typeface="Calibri"/>
                <a:ea typeface="+mn-ea"/>
                <a:cs typeface="Arial" pitchFamily="34" charset="0"/>
              </a:rPr>
              <a:t>	-  Strategic Connectors : </a:t>
            </a:r>
            <a:r>
              <a:rPr kumimoji="0" lang="en-US" sz="2040" b="0" i="0" u="none" strike="noStrike" kern="0" cap="none" spc="0" normalizeH="0" baseline="0" noProof="0" dirty="0" err="1">
                <a:ln>
                  <a:noFill/>
                </a:ln>
                <a:solidFill>
                  <a:srgbClr val="1F6891"/>
                </a:solidFill>
                <a:effectLst/>
                <a:uLnTx/>
                <a:uFillTx/>
                <a:latin typeface="Calibri"/>
                <a:ea typeface="+mn-ea"/>
                <a:cs typeface="Arial" pitchFamily="34" charset="0"/>
              </a:rPr>
              <a:t>Sharepoint</a:t>
            </a:r>
            <a:r>
              <a:rPr kumimoji="0" lang="en-US" sz="2040" b="0" i="0" u="none" strike="noStrike" kern="0" cap="none" spc="0" normalizeH="0" baseline="0" noProof="0" dirty="0">
                <a:ln>
                  <a:noFill/>
                </a:ln>
                <a:solidFill>
                  <a:srgbClr val="1F6891"/>
                </a:solidFill>
                <a:effectLst/>
                <a:uLnTx/>
                <a:uFillTx/>
                <a:latin typeface="Calibri"/>
                <a:ea typeface="+mn-ea"/>
                <a:cs typeface="Arial" pitchFamily="34" charset="0"/>
              </a:rPr>
              <a:t>, Dynamics –Office 365. </a:t>
            </a:r>
          </a:p>
          <a:p>
            <a:pPr marL="0" marR="0" lvl="0" indent="0" algn="l" defTabSz="932597" rtl="0" eaLnBrk="1" fontAlgn="base" latinLnBrk="0" hangingPunct="1">
              <a:lnSpc>
                <a:spcPct val="100000"/>
              </a:lnSpc>
              <a:spcBef>
                <a:spcPts val="306"/>
              </a:spcBef>
              <a:spcAft>
                <a:spcPts val="408"/>
              </a:spcAft>
              <a:buClr>
                <a:srgbClr val="D2DFE7">
                  <a:lumMod val="50000"/>
                </a:srgbClr>
              </a:buClr>
              <a:buSzTx/>
              <a:buFont typeface="Arial" panose="020B0604020202020204" pitchFamily="34" charset="0"/>
              <a:buNone/>
              <a:tabLst/>
              <a:defRPr/>
            </a:pPr>
            <a:endParaRPr kumimoji="0" lang="en-US" sz="2040" b="0" i="0" u="none" strike="noStrike" kern="0" cap="none" spc="0" normalizeH="0" baseline="0" noProof="0" dirty="0">
              <a:ln>
                <a:noFill/>
              </a:ln>
              <a:solidFill>
                <a:srgbClr val="1F6891"/>
              </a:solidFill>
              <a:effectLst/>
              <a:uLnTx/>
              <a:uFillTx/>
              <a:latin typeface="Calibri"/>
              <a:ea typeface="+mn-ea"/>
              <a:cs typeface="Arial" pitchFamily="34" charset="0"/>
            </a:endParaRPr>
          </a:p>
          <a:p>
            <a:pPr marL="0" marR="0" lvl="0" indent="0" algn="l" defTabSz="932597" rtl="0" eaLnBrk="1" fontAlgn="base" latinLnBrk="0" hangingPunct="1">
              <a:lnSpc>
                <a:spcPct val="100000"/>
              </a:lnSpc>
              <a:spcBef>
                <a:spcPts val="306"/>
              </a:spcBef>
              <a:spcAft>
                <a:spcPts val="408"/>
              </a:spcAft>
              <a:buClr>
                <a:srgbClr val="D2DFE7">
                  <a:lumMod val="50000"/>
                </a:srgbClr>
              </a:buClr>
              <a:buSzTx/>
              <a:buFont typeface="Arial" panose="020B0604020202020204" pitchFamily="34" charset="0"/>
              <a:buNone/>
              <a:tabLst/>
              <a:defRPr/>
            </a:pPr>
            <a:r>
              <a:rPr kumimoji="0" lang="en-US" sz="2040" b="0" i="0" u="none" strike="noStrike" kern="0" cap="none" spc="0" normalizeH="0" baseline="0" noProof="0" dirty="0">
                <a:ln>
                  <a:noFill/>
                </a:ln>
                <a:solidFill>
                  <a:srgbClr val="1F6891"/>
                </a:solidFill>
                <a:effectLst/>
                <a:uLnTx/>
                <a:uFillTx/>
                <a:latin typeface="Calibri"/>
                <a:ea typeface="+mn-ea"/>
                <a:cs typeface="Arial" pitchFamily="34" charset="0"/>
              </a:rPr>
              <a:t>JOINT Customers  </a:t>
            </a:r>
          </a:p>
          <a:p>
            <a:pPr marL="0" marR="0" lvl="0" indent="0" algn="l" defTabSz="932597" rtl="0" eaLnBrk="1" fontAlgn="base" latinLnBrk="0" hangingPunct="1">
              <a:lnSpc>
                <a:spcPct val="100000"/>
              </a:lnSpc>
              <a:spcBef>
                <a:spcPts val="306"/>
              </a:spcBef>
              <a:spcAft>
                <a:spcPts val="408"/>
              </a:spcAft>
              <a:buClr>
                <a:srgbClr val="D2DFE7">
                  <a:lumMod val="50000"/>
                </a:srgbClr>
              </a:buClr>
              <a:buSzTx/>
              <a:buFont typeface="Arial" panose="020B0604020202020204" pitchFamily="34" charset="0"/>
              <a:buNone/>
              <a:tabLst/>
              <a:defRPr/>
            </a:pPr>
            <a:r>
              <a:rPr kumimoji="0" lang="en-US" sz="2040" b="0" i="0" u="none" strike="noStrike" kern="0" cap="none" spc="0" normalizeH="0" baseline="0" noProof="0" dirty="0">
                <a:ln>
                  <a:noFill/>
                </a:ln>
                <a:solidFill>
                  <a:srgbClr val="1F6891"/>
                </a:solidFill>
                <a:effectLst/>
                <a:uLnTx/>
                <a:uFillTx/>
                <a:latin typeface="Calibri"/>
                <a:ea typeface="+mn-ea"/>
                <a:cs typeface="Arial" pitchFamily="34" charset="0"/>
              </a:rPr>
              <a:t>	</a:t>
            </a:r>
            <a:r>
              <a:rPr kumimoji="0" lang="en-US" sz="2040" b="1" i="0" u="sng" strike="noStrike" kern="0" cap="none" spc="0" normalizeH="0" baseline="0" noProof="0" dirty="0">
                <a:ln>
                  <a:noFill/>
                </a:ln>
                <a:solidFill>
                  <a:srgbClr val="FF0000"/>
                </a:solidFill>
                <a:effectLst/>
                <a:uLnTx/>
                <a:uFillTx/>
                <a:latin typeface="Calibri"/>
                <a:ea typeface="+mn-ea"/>
                <a:cs typeface="Arial" pitchFamily="34" charset="0"/>
              </a:rPr>
              <a:t>GSA/ USDA/ US Census </a:t>
            </a:r>
            <a:r>
              <a:rPr kumimoji="0" lang="en-US" sz="2040" b="0" i="0" u="none" strike="noStrike" kern="0" cap="none" spc="0" normalizeH="0" baseline="0" noProof="0" dirty="0">
                <a:ln>
                  <a:noFill/>
                </a:ln>
                <a:solidFill>
                  <a:srgbClr val="1F6891"/>
                </a:solidFill>
                <a:effectLst/>
                <a:uLnTx/>
                <a:uFillTx/>
                <a:latin typeface="Calibri"/>
                <a:ea typeface="+mn-ea"/>
                <a:cs typeface="Arial" pitchFamily="34" charset="0"/>
              </a:rPr>
              <a:t>all leveraging ESignLive </a:t>
            </a:r>
            <a:r>
              <a:rPr kumimoji="0" lang="en-US" sz="2040" b="0" i="0" u="none" strike="noStrike" kern="0" cap="none" spc="0" normalizeH="0" baseline="0" noProof="0" dirty="0" err="1">
                <a:ln>
                  <a:noFill/>
                </a:ln>
                <a:solidFill>
                  <a:srgbClr val="1F6891"/>
                </a:solidFill>
                <a:effectLst/>
                <a:uLnTx/>
                <a:uFillTx/>
                <a:latin typeface="Calibri"/>
                <a:ea typeface="+mn-ea"/>
                <a:cs typeface="Arial" pitchFamily="34" charset="0"/>
              </a:rPr>
              <a:t>FedRAMP</a:t>
            </a:r>
            <a:r>
              <a:rPr kumimoji="0" lang="en-US" sz="2040" b="0" i="0" u="none" strike="noStrike" kern="0" cap="none" spc="0" normalizeH="0" baseline="0" noProof="0" dirty="0">
                <a:ln>
                  <a:noFill/>
                </a:ln>
                <a:solidFill>
                  <a:srgbClr val="1F6891"/>
                </a:solidFill>
                <a:effectLst/>
                <a:uLnTx/>
                <a:uFillTx/>
                <a:latin typeface="Calibri"/>
                <a:ea typeface="+mn-ea"/>
                <a:cs typeface="Arial" pitchFamily="34" charset="0"/>
              </a:rPr>
              <a:t>  on Azure with further </a:t>
            </a:r>
            <a:r>
              <a:rPr kumimoji="0" lang="en-US" sz="2040" b="0" i="0" u="none" strike="noStrike" kern="0" cap="none" spc="0" normalizeH="0" baseline="0" noProof="0" dirty="0" err="1">
                <a:ln>
                  <a:noFill/>
                </a:ln>
                <a:solidFill>
                  <a:srgbClr val="1F6891"/>
                </a:solidFill>
                <a:effectLst/>
                <a:uLnTx/>
                <a:uFillTx/>
                <a:latin typeface="Calibri"/>
                <a:ea typeface="+mn-ea"/>
                <a:cs typeface="Arial" pitchFamily="34" charset="0"/>
              </a:rPr>
              <a:t>sharepoint</a:t>
            </a:r>
            <a:r>
              <a:rPr kumimoji="0" lang="en-US" sz="2040" b="0" i="0" u="none" strike="noStrike" kern="0" cap="none" spc="0" normalizeH="0" baseline="0" noProof="0" dirty="0">
                <a:ln>
                  <a:noFill/>
                </a:ln>
                <a:solidFill>
                  <a:srgbClr val="1F6891"/>
                </a:solidFill>
                <a:effectLst/>
                <a:uLnTx/>
                <a:uFillTx/>
                <a:latin typeface="Calibri"/>
                <a:ea typeface="+mn-ea"/>
                <a:cs typeface="Arial" pitchFamily="34" charset="0"/>
              </a:rPr>
              <a:t> integration. </a:t>
            </a:r>
          </a:p>
          <a:p>
            <a:pPr marL="0" marR="0" lvl="0" indent="0" algn="l" defTabSz="932597" rtl="0" eaLnBrk="1" fontAlgn="base" latinLnBrk="0" hangingPunct="1">
              <a:lnSpc>
                <a:spcPct val="100000"/>
              </a:lnSpc>
              <a:spcBef>
                <a:spcPts val="306"/>
              </a:spcBef>
              <a:spcAft>
                <a:spcPts val="408"/>
              </a:spcAft>
              <a:buClr>
                <a:srgbClr val="D2DFE7">
                  <a:lumMod val="50000"/>
                </a:srgbClr>
              </a:buClr>
              <a:buSzTx/>
              <a:buFont typeface="Arial" panose="020B0604020202020204" pitchFamily="34" charset="0"/>
              <a:buNone/>
              <a:tabLst/>
              <a:defRPr/>
            </a:pPr>
            <a:r>
              <a:rPr kumimoji="0" lang="en-US" sz="2040" b="0" i="0" u="none" strike="noStrike" kern="0" cap="none" spc="0" normalizeH="0" baseline="0" noProof="0" dirty="0">
                <a:ln>
                  <a:noFill/>
                </a:ln>
                <a:solidFill>
                  <a:srgbClr val="1F6891"/>
                </a:solidFill>
                <a:effectLst/>
                <a:uLnTx/>
                <a:uFillTx/>
                <a:latin typeface="Calibri"/>
                <a:ea typeface="+mn-ea"/>
                <a:cs typeface="Arial" pitchFamily="34" charset="0"/>
              </a:rPr>
              <a:t>	</a:t>
            </a:r>
          </a:p>
          <a:p>
            <a:pPr marL="229911" marR="0" lvl="0" indent="-229911" algn="l" defTabSz="932597" rtl="0" eaLnBrk="1" fontAlgn="base" latinLnBrk="0" hangingPunct="1">
              <a:lnSpc>
                <a:spcPct val="100000"/>
              </a:lnSpc>
              <a:spcBef>
                <a:spcPts val="306"/>
              </a:spcBef>
              <a:spcAft>
                <a:spcPts val="408"/>
              </a:spcAft>
              <a:buClr>
                <a:srgbClr val="D2DFE7">
                  <a:lumMod val="50000"/>
                </a:srgbClr>
              </a:buClr>
              <a:buSzTx/>
              <a:buFont typeface="Arial" panose="020B0604020202020204" pitchFamily="34" charset="0"/>
              <a:buChar char="•"/>
              <a:tabLst/>
              <a:defRPr/>
            </a:pPr>
            <a:endParaRPr kumimoji="0" lang="en-US" sz="2040" b="0" i="0" u="none" strike="noStrike" kern="0" cap="none" spc="0" normalizeH="0" baseline="0" noProof="0" dirty="0">
              <a:ln>
                <a:noFill/>
              </a:ln>
              <a:solidFill>
                <a:srgbClr val="1F6891"/>
              </a:solidFill>
              <a:effectLst/>
              <a:uLnTx/>
              <a:uFillTx/>
              <a:latin typeface="Calibri"/>
              <a:ea typeface="+mn-ea"/>
              <a:cs typeface="Arial" pitchFamily="34" charset="0"/>
            </a:endParaRPr>
          </a:p>
          <a:p>
            <a:pPr marL="229911" marR="0" lvl="0" indent="-229911" algn="l" defTabSz="932597" rtl="0" eaLnBrk="1" fontAlgn="base" latinLnBrk="0" hangingPunct="1">
              <a:lnSpc>
                <a:spcPct val="100000"/>
              </a:lnSpc>
              <a:spcBef>
                <a:spcPts val="306"/>
              </a:spcBef>
              <a:spcAft>
                <a:spcPts val="408"/>
              </a:spcAft>
              <a:buClr>
                <a:srgbClr val="D2DFE7">
                  <a:lumMod val="50000"/>
                </a:srgbClr>
              </a:buClr>
              <a:buSzTx/>
              <a:buFont typeface="Arial" panose="020B0604020202020204" pitchFamily="34" charset="0"/>
              <a:buChar char="•"/>
              <a:tabLst/>
              <a:defRPr/>
            </a:pPr>
            <a:r>
              <a:rPr kumimoji="0" lang="en-US" sz="2040" b="0" i="0" u="none" strike="noStrike" kern="0" cap="none" spc="0" normalizeH="0" baseline="0" noProof="0" dirty="0">
                <a:ln>
                  <a:noFill/>
                </a:ln>
                <a:solidFill>
                  <a:srgbClr val="1F6891"/>
                </a:solidFill>
                <a:effectLst/>
                <a:uLnTx/>
                <a:uFillTx/>
                <a:latin typeface="Calibri"/>
                <a:ea typeface="+mn-ea"/>
                <a:cs typeface="Arial" pitchFamily="34" charset="0"/>
              </a:rPr>
              <a:t> </a:t>
            </a:r>
          </a:p>
        </p:txBody>
      </p:sp>
    </p:spTree>
    <p:extLst>
      <p:ext uri="{BB962C8B-B14F-4D97-AF65-F5344CB8AC3E}">
        <p14:creationId xmlns:p14="http://schemas.microsoft.com/office/powerpoint/2010/main" val="22114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50"/>
          <p:cNvGrpSpPr/>
          <p:nvPr/>
        </p:nvGrpSpPr>
        <p:grpSpPr>
          <a:xfrm>
            <a:off x="190859" y="1044860"/>
            <a:ext cx="12106572" cy="5545049"/>
            <a:chOff x="0" y="1030780"/>
            <a:chExt cx="11870266" cy="5436816"/>
          </a:xfrm>
        </p:grpSpPr>
        <p:pic>
          <p:nvPicPr>
            <p:cNvPr id="52" name="Picture 51" descr="map.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193800"/>
              <a:ext cx="11797516" cy="5273796"/>
            </a:xfrm>
            <a:prstGeom prst="rect">
              <a:avLst/>
            </a:prstGeom>
          </p:spPr>
        </p:pic>
        <p:sp>
          <p:nvSpPr>
            <p:cNvPr id="53" name="Rectangle 52"/>
            <p:cNvSpPr/>
            <p:nvPr/>
          </p:nvSpPr>
          <p:spPr bwMode="auto">
            <a:xfrm>
              <a:off x="279400" y="1030780"/>
              <a:ext cx="11590866" cy="5420805"/>
            </a:xfrm>
            <a:prstGeom prst="rect">
              <a:avLst/>
            </a:prstGeom>
            <a:solidFill>
              <a:schemeClr val="bg1">
                <a:alpha val="65000"/>
              </a:schemeClr>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333333"/>
                </a:solidFill>
                <a:effectLst/>
                <a:uLnTx/>
                <a:uFillTx/>
                <a:latin typeface="Times New Roman" pitchFamily="18" charset="0"/>
                <a:ea typeface="+mn-ea"/>
                <a:cs typeface="+mn-cs"/>
              </a:endParaRPr>
            </a:p>
          </p:txBody>
        </p:sp>
      </p:grpSp>
      <p:sp>
        <p:nvSpPr>
          <p:cNvPr id="2" name="Slide Number Placeholder 1"/>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F71C7896-8E11-4384-BFC5-C0974CDBC83D}" type="slidenum">
              <a:rPr kumimoji="0" lang="en-US" sz="1836" b="0" i="0" u="none" strike="noStrike" kern="0" cap="none" spc="0" normalizeH="0" baseline="0" noProof="0">
                <a:ln>
                  <a:noFill/>
                </a:ln>
                <a:solidFill>
                  <a:sysClr val="windowText" lastClr="000000"/>
                </a:solidFill>
                <a:effectLst/>
                <a:uLnTx/>
                <a:uFillTx/>
                <a:latin typeface="Calibr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125</a:t>
            </a:fld>
            <a:endParaRPr kumimoji="0" lang="en-US" sz="1836" b="0" i="0" u="none" strike="noStrike" kern="0" cap="none" spc="0" normalizeH="0" baseline="0" noProof="0" dirty="0">
              <a:ln>
                <a:noFill/>
              </a:ln>
              <a:solidFill>
                <a:sysClr val="windowText" lastClr="000000"/>
              </a:solidFill>
              <a:effectLst/>
              <a:uLnTx/>
              <a:uFillTx/>
              <a:latin typeface="Calibri"/>
              <a:ea typeface="+mn-ea"/>
              <a:cs typeface="+mn-cs"/>
            </a:endParaRPr>
          </a:p>
        </p:txBody>
      </p:sp>
      <p:grpSp>
        <p:nvGrpSpPr>
          <p:cNvPr id="4" name="Group 74"/>
          <p:cNvGrpSpPr/>
          <p:nvPr/>
        </p:nvGrpSpPr>
        <p:grpSpPr>
          <a:xfrm>
            <a:off x="1348919" y="4725922"/>
            <a:ext cx="9326033" cy="1760694"/>
            <a:chOff x="1" y="4389979"/>
            <a:chExt cx="9144000" cy="1726327"/>
          </a:xfrm>
        </p:grpSpPr>
        <p:sp>
          <p:nvSpPr>
            <p:cNvPr id="18" name="Rectangle 17"/>
            <p:cNvSpPr/>
            <p:nvPr/>
          </p:nvSpPr>
          <p:spPr>
            <a:xfrm>
              <a:off x="1" y="4389979"/>
              <a:ext cx="9144000" cy="591695"/>
            </a:xfrm>
            <a:prstGeom prst="rect">
              <a:avLst/>
            </a:prstGeom>
            <a:noFill/>
            <a:ln w="381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0" cap="none" spc="0" normalizeH="0" baseline="0" noProof="0" dirty="0">
                  <a:ln>
                    <a:noFill/>
                  </a:ln>
                  <a:solidFill>
                    <a:srgbClr val="333333">
                      <a:lumMod val="75000"/>
                      <a:lumOff val="25000"/>
                    </a:srgbClr>
                  </a:solidFill>
                  <a:effectLst/>
                  <a:uLnTx/>
                  <a:uFillTx/>
                  <a:latin typeface="Calibri"/>
                  <a:ea typeface="+mn-ea"/>
                  <a:cs typeface="+mn-cs"/>
                </a:rPr>
                <a:t>E-signature behind world’s most trusted  &amp; security-conscious organizations</a:t>
              </a:r>
            </a:p>
          </p:txBody>
        </p:sp>
        <p:grpSp>
          <p:nvGrpSpPr>
            <p:cNvPr id="5" name="Group 73"/>
            <p:cNvGrpSpPr/>
            <p:nvPr/>
          </p:nvGrpSpPr>
          <p:grpSpPr>
            <a:xfrm>
              <a:off x="863601" y="4907266"/>
              <a:ext cx="7382932" cy="1209040"/>
              <a:chOff x="863601" y="5144342"/>
              <a:chExt cx="7382932" cy="1209040"/>
            </a:xfrm>
          </p:grpSpPr>
          <p:grpSp>
            <p:nvGrpSpPr>
              <p:cNvPr id="11" name="Group 37"/>
              <p:cNvGrpSpPr/>
              <p:nvPr/>
            </p:nvGrpSpPr>
            <p:grpSpPr>
              <a:xfrm>
                <a:off x="1340387" y="5215461"/>
                <a:ext cx="853431" cy="1085206"/>
                <a:chOff x="823923" y="5215465"/>
                <a:chExt cx="853431" cy="1085206"/>
              </a:xfrm>
            </p:grpSpPr>
            <p:sp>
              <p:nvSpPr>
                <p:cNvPr id="34" name="TextBox 16"/>
                <p:cNvSpPr txBox="1"/>
                <p:nvPr/>
              </p:nvSpPr>
              <p:spPr bwMode="auto">
                <a:xfrm>
                  <a:off x="823923" y="6012579"/>
                  <a:ext cx="853431" cy="288092"/>
                </a:xfrm>
                <a:prstGeom prst="rect">
                  <a:avLst/>
                </a:prstGeom>
                <a:solidFill>
                  <a:schemeClr val="bg1"/>
                </a:solidFill>
                <a:ln w="9525">
                  <a:noFill/>
                  <a:miter lim="800000"/>
                  <a:headEnd/>
                  <a:tailEnd/>
                </a:ln>
                <a:effectLst/>
              </p:spPr>
              <p:txBody>
                <a:bodyPr vert="horz" wrap="square" lIns="18652" tIns="18652" rIns="18652" bIns="18652" numCol="1" rtlCol="0" anchor="t" anchorCtr="0" compatLnSpc="1">
                  <a:prstTxWarp prst="textNoShape">
                    <a:avLst/>
                  </a:prstTxWarp>
                  <a:spAutoFit/>
                </a:bodyPr>
                <a:lstStyle/>
                <a:p>
                  <a:pPr marL="0" marR="0" lvl="0" indent="0" algn="ctr" defTabSz="932597" rtl="0" eaLnBrk="1" fontAlgn="base" latinLnBrk="0" hangingPunct="1">
                    <a:lnSpc>
                      <a:spcPct val="100000"/>
                    </a:lnSpc>
                    <a:spcBef>
                      <a:spcPts val="306"/>
                    </a:spcBef>
                    <a:spcAft>
                      <a:spcPts val="408"/>
                    </a:spcAft>
                    <a:buClr>
                      <a:srgbClr val="D2DFE7">
                        <a:lumMod val="50000"/>
                      </a:srgbClr>
                    </a:buClr>
                    <a:buSzTx/>
                    <a:buFontTx/>
                    <a:buNone/>
                    <a:tabLst/>
                    <a:defRPr/>
                  </a:pPr>
                  <a:r>
                    <a:rPr kumimoji="0" lang="en-US" sz="1632" b="0" i="0" u="none" strike="noStrike" kern="0" cap="none" spc="0" normalizeH="0" baseline="0" noProof="0" dirty="0">
                      <a:ln>
                        <a:noFill/>
                      </a:ln>
                      <a:solidFill>
                        <a:srgbClr val="333333">
                          <a:lumMod val="90000"/>
                          <a:lumOff val="10000"/>
                        </a:srgbClr>
                      </a:solidFill>
                      <a:effectLst/>
                      <a:uLnTx/>
                      <a:uFillTx/>
                      <a:latin typeface="Calibri" pitchFamily="34" charset="0"/>
                      <a:ea typeface="+mn-ea"/>
                      <a:cs typeface="+mn-cs"/>
                    </a:rPr>
                    <a:t>1996</a:t>
                  </a:r>
                </a:p>
              </p:txBody>
            </p:sp>
            <p:pic>
              <p:nvPicPr>
                <p:cNvPr id="35" name="Picture 34" descr="Customer Logo_JCS.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95611" y="5215465"/>
                  <a:ext cx="706202" cy="770467"/>
                </a:xfrm>
                <a:prstGeom prst="rect">
                  <a:avLst/>
                </a:prstGeom>
              </p:spPr>
            </p:pic>
          </p:grpSp>
          <p:grpSp>
            <p:nvGrpSpPr>
              <p:cNvPr id="17" name="Group 38"/>
              <p:cNvGrpSpPr/>
              <p:nvPr/>
            </p:nvGrpSpPr>
            <p:grpSpPr>
              <a:xfrm>
                <a:off x="2485164" y="5552174"/>
                <a:ext cx="1222458" cy="735435"/>
                <a:chOff x="2154951" y="5552174"/>
                <a:chExt cx="1222458" cy="735435"/>
              </a:xfrm>
            </p:grpSpPr>
            <p:sp>
              <p:nvSpPr>
                <p:cNvPr id="32" name="TextBox 17"/>
                <p:cNvSpPr txBox="1"/>
                <p:nvPr/>
              </p:nvSpPr>
              <p:spPr bwMode="auto">
                <a:xfrm>
                  <a:off x="2283578" y="5999517"/>
                  <a:ext cx="1026160" cy="288092"/>
                </a:xfrm>
                <a:prstGeom prst="rect">
                  <a:avLst/>
                </a:prstGeom>
                <a:solidFill>
                  <a:schemeClr val="bg1"/>
                </a:solidFill>
                <a:ln w="9525">
                  <a:noFill/>
                  <a:miter lim="800000"/>
                  <a:headEnd/>
                  <a:tailEnd/>
                </a:ln>
                <a:effectLst/>
              </p:spPr>
              <p:txBody>
                <a:bodyPr vert="horz" wrap="square" lIns="18652" tIns="18652" rIns="18652" bIns="18652" numCol="1" rtlCol="0" anchor="t" anchorCtr="0" compatLnSpc="1">
                  <a:prstTxWarp prst="textNoShape">
                    <a:avLst/>
                  </a:prstTxWarp>
                  <a:spAutoFit/>
                </a:bodyPr>
                <a:lstStyle/>
                <a:p>
                  <a:pPr marL="0" marR="0" lvl="0" indent="0" algn="ctr" defTabSz="932597" rtl="0" eaLnBrk="1" fontAlgn="base" latinLnBrk="0" hangingPunct="1">
                    <a:lnSpc>
                      <a:spcPct val="100000"/>
                    </a:lnSpc>
                    <a:spcBef>
                      <a:spcPts val="306"/>
                    </a:spcBef>
                    <a:spcAft>
                      <a:spcPts val="408"/>
                    </a:spcAft>
                    <a:buClr>
                      <a:srgbClr val="D2DFE7">
                        <a:lumMod val="50000"/>
                      </a:srgbClr>
                    </a:buClr>
                    <a:buSzTx/>
                    <a:buFontTx/>
                    <a:buNone/>
                    <a:tabLst/>
                    <a:defRPr/>
                  </a:pPr>
                  <a:r>
                    <a:rPr kumimoji="0" lang="en-US" sz="1632" b="0" i="0" u="none" strike="noStrike" kern="0" cap="none" spc="0" normalizeH="0" baseline="0" noProof="0" dirty="0">
                      <a:ln>
                        <a:noFill/>
                      </a:ln>
                      <a:solidFill>
                        <a:srgbClr val="333333">
                          <a:lumMod val="90000"/>
                          <a:lumOff val="10000"/>
                        </a:srgbClr>
                      </a:solidFill>
                      <a:effectLst/>
                      <a:uLnTx/>
                      <a:uFillTx/>
                      <a:latin typeface="Calibri" pitchFamily="34" charset="0"/>
                      <a:ea typeface="+mn-ea"/>
                      <a:cs typeface="+mn-cs"/>
                    </a:rPr>
                    <a:t>2008</a:t>
                  </a:r>
                </a:p>
              </p:txBody>
            </p:sp>
            <p:pic>
              <p:nvPicPr>
                <p:cNvPr id="33" name="Picture 3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154951" y="5552174"/>
                  <a:ext cx="1222458" cy="305286"/>
                </a:xfrm>
                <a:prstGeom prst="rect">
                  <a:avLst/>
                </a:prstGeom>
              </p:spPr>
            </p:pic>
          </p:grpSp>
          <p:grpSp>
            <p:nvGrpSpPr>
              <p:cNvPr id="19" name="Group 39"/>
              <p:cNvGrpSpPr/>
              <p:nvPr/>
            </p:nvGrpSpPr>
            <p:grpSpPr>
              <a:xfrm>
                <a:off x="4004001" y="5284236"/>
                <a:ext cx="883920" cy="1015951"/>
                <a:chOff x="4004001" y="5284236"/>
                <a:chExt cx="883920" cy="1015951"/>
              </a:xfrm>
            </p:grpSpPr>
            <p:sp>
              <p:nvSpPr>
                <p:cNvPr id="30" name="TextBox 18"/>
                <p:cNvSpPr txBox="1"/>
                <p:nvPr/>
              </p:nvSpPr>
              <p:spPr bwMode="auto">
                <a:xfrm>
                  <a:off x="4004001" y="6012095"/>
                  <a:ext cx="883920" cy="288092"/>
                </a:xfrm>
                <a:prstGeom prst="rect">
                  <a:avLst/>
                </a:prstGeom>
                <a:solidFill>
                  <a:schemeClr val="bg1"/>
                </a:solidFill>
                <a:ln w="9525">
                  <a:noFill/>
                  <a:miter lim="800000"/>
                  <a:headEnd/>
                  <a:tailEnd/>
                </a:ln>
                <a:effectLst/>
              </p:spPr>
              <p:txBody>
                <a:bodyPr vert="horz" wrap="square" lIns="18652" tIns="18652" rIns="18652" bIns="18652" numCol="1" rtlCol="0" anchor="t" anchorCtr="0" compatLnSpc="1">
                  <a:prstTxWarp prst="textNoShape">
                    <a:avLst/>
                  </a:prstTxWarp>
                  <a:spAutoFit/>
                </a:bodyPr>
                <a:lstStyle/>
                <a:p>
                  <a:pPr marL="0" marR="0" lvl="0" indent="0" algn="ctr" defTabSz="932597" rtl="0" eaLnBrk="1" fontAlgn="base" latinLnBrk="0" hangingPunct="1">
                    <a:lnSpc>
                      <a:spcPct val="100000"/>
                    </a:lnSpc>
                    <a:spcBef>
                      <a:spcPts val="306"/>
                    </a:spcBef>
                    <a:spcAft>
                      <a:spcPts val="408"/>
                    </a:spcAft>
                    <a:buClr>
                      <a:srgbClr val="D2DFE7">
                        <a:lumMod val="50000"/>
                      </a:srgbClr>
                    </a:buClr>
                    <a:buSzTx/>
                    <a:buFontTx/>
                    <a:buNone/>
                    <a:tabLst/>
                    <a:defRPr/>
                  </a:pPr>
                  <a:r>
                    <a:rPr kumimoji="0" lang="en-US" sz="1632" b="0" i="0" u="none" strike="noStrike" kern="0" cap="none" spc="0" normalizeH="0" baseline="0" noProof="0" dirty="0">
                      <a:ln>
                        <a:noFill/>
                      </a:ln>
                      <a:solidFill>
                        <a:srgbClr val="333333">
                          <a:lumMod val="90000"/>
                          <a:lumOff val="10000"/>
                        </a:srgbClr>
                      </a:solidFill>
                      <a:effectLst/>
                      <a:uLnTx/>
                      <a:uFillTx/>
                      <a:latin typeface="Calibri" pitchFamily="34" charset="0"/>
                      <a:ea typeface="+mn-ea"/>
                      <a:cs typeface="+mn-cs"/>
                    </a:rPr>
                    <a:t>2004</a:t>
                  </a:r>
                </a:p>
              </p:txBody>
            </p:sp>
            <p:pic>
              <p:nvPicPr>
                <p:cNvPr id="31" name="Picture 30" descr="armylogovector_black.gif"/>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186613" y="5284236"/>
                  <a:ext cx="563188" cy="692196"/>
                </a:xfrm>
                <a:prstGeom prst="rect">
                  <a:avLst/>
                </a:prstGeom>
              </p:spPr>
            </p:pic>
          </p:grpSp>
          <p:grpSp>
            <p:nvGrpSpPr>
              <p:cNvPr id="20" name="Group 40"/>
              <p:cNvGrpSpPr/>
              <p:nvPr/>
            </p:nvGrpSpPr>
            <p:grpSpPr>
              <a:xfrm>
                <a:off x="5390658" y="5182234"/>
                <a:ext cx="943380" cy="1118676"/>
                <a:chOff x="5543059" y="5173767"/>
                <a:chExt cx="943380" cy="1118676"/>
              </a:xfrm>
            </p:grpSpPr>
            <p:sp>
              <p:nvSpPr>
                <p:cNvPr id="28" name="TextBox 19"/>
                <p:cNvSpPr txBox="1"/>
                <p:nvPr/>
              </p:nvSpPr>
              <p:spPr bwMode="auto">
                <a:xfrm>
                  <a:off x="5572039" y="6004351"/>
                  <a:ext cx="914400" cy="288092"/>
                </a:xfrm>
                <a:prstGeom prst="rect">
                  <a:avLst/>
                </a:prstGeom>
                <a:solidFill>
                  <a:schemeClr val="bg1"/>
                </a:solidFill>
                <a:ln w="9525">
                  <a:noFill/>
                  <a:miter lim="800000"/>
                  <a:headEnd/>
                  <a:tailEnd/>
                </a:ln>
                <a:effectLst/>
              </p:spPr>
              <p:txBody>
                <a:bodyPr vert="horz" wrap="square" lIns="18652" tIns="18652" rIns="18652" bIns="18652" numCol="1" rtlCol="0" anchor="t" anchorCtr="0" compatLnSpc="1">
                  <a:prstTxWarp prst="textNoShape">
                    <a:avLst/>
                  </a:prstTxWarp>
                  <a:spAutoFit/>
                </a:bodyPr>
                <a:lstStyle/>
                <a:p>
                  <a:pPr marL="0" marR="0" lvl="0" indent="0" algn="ctr" defTabSz="932597" rtl="0" eaLnBrk="1" fontAlgn="base" latinLnBrk="0" hangingPunct="1">
                    <a:lnSpc>
                      <a:spcPct val="100000"/>
                    </a:lnSpc>
                    <a:spcBef>
                      <a:spcPts val="306"/>
                    </a:spcBef>
                    <a:spcAft>
                      <a:spcPts val="408"/>
                    </a:spcAft>
                    <a:buClr>
                      <a:srgbClr val="D2DFE7">
                        <a:lumMod val="50000"/>
                      </a:srgbClr>
                    </a:buClr>
                    <a:buSzTx/>
                    <a:buFontTx/>
                    <a:buNone/>
                    <a:tabLst/>
                    <a:defRPr/>
                  </a:pPr>
                  <a:r>
                    <a:rPr kumimoji="0" lang="en-US" sz="1632" b="0" i="0" u="none" strike="noStrike" kern="0" cap="none" spc="0" normalizeH="0" baseline="0" noProof="0" dirty="0">
                      <a:ln>
                        <a:noFill/>
                      </a:ln>
                      <a:solidFill>
                        <a:srgbClr val="333333">
                          <a:lumMod val="90000"/>
                          <a:lumOff val="10000"/>
                        </a:srgbClr>
                      </a:solidFill>
                      <a:effectLst/>
                      <a:uLnTx/>
                      <a:uFillTx/>
                      <a:latin typeface="Calibri" pitchFamily="34" charset="0"/>
                      <a:ea typeface="+mn-ea"/>
                      <a:cs typeface="+mn-cs"/>
                    </a:rPr>
                    <a:t>2004</a:t>
                  </a:r>
                </a:p>
              </p:txBody>
            </p:sp>
            <p:pic>
              <p:nvPicPr>
                <p:cNvPr id="29" name="Picture 8" descr="idmodul_fs_logo"/>
                <p:cNvPicPr>
                  <a:picLocks noChangeAspect="1" noChangeArrowheads="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rcRect b="7753"/>
                <a:stretch>
                  <a:fillRect/>
                </a:stretch>
              </p:blipFill>
              <p:spPr bwMode="auto">
                <a:xfrm>
                  <a:off x="5543059" y="5173767"/>
                  <a:ext cx="930631" cy="837566"/>
                </a:xfrm>
                <a:prstGeom prst="rect">
                  <a:avLst/>
                </a:prstGeom>
                <a:noFill/>
                <a:ln w="9525">
                  <a:noFill/>
                  <a:miter lim="800000"/>
                  <a:headEnd/>
                  <a:tailEnd/>
                </a:ln>
              </p:spPr>
            </p:pic>
          </p:grpSp>
          <p:grpSp>
            <p:nvGrpSpPr>
              <p:cNvPr id="21" name="Group 41"/>
              <p:cNvGrpSpPr/>
              <p:nvPr/>
            </p:nvGrpSpPr>
            <p:grpSpPr>
              <a:xfrm>
                <a:off x="6799703" y="5308172"/>
                <a:ext cx="883920" cy="971207"/>
                <a:chOff x="7239969" y="5325106"/>
                <a:chExt cx="883920" cy="971207"/>
              </a:xfrm>
            </p:grpSpPr>
            <p:sp>
              <p:nvSpPr>
                <p:cNvPr id="26" name="TextBox 20"/>
                <p:cNvSpPr txBox="1"/>
                <p:nvPr/>
              </p:nvSpPr>
              <p:spPr bwMode="auto">
                <a:xfrm>
                  <a:off x="7239969" y="6008221"/>
                  <a:ext cx="883920" cy="288092"/>
                </a:xfrm>
                <a:prstGeom prst="rect">
                  <a:avLst/>
                </a:prstGeom>
                <a:solidFill>
                  <a:schemeClr val="bg1"/>
                </a:solidFill>
                <a:ln w="9525">
                  <a:noFill/>
                  <a:miter lim="800000"/>
                  <a:headEnd/>
                  <a:tailEnd/>
                </a:ln>
                <a:effectLst/>
              </p:spPr>
              <p:txBody>
                <a:bodyPr vert="horz" wrap="square" lIns="18652" tIns="18652" rIns="18652" bIns="18652" numCol="1" rtlCol="0" anchor="t" anchorCtr="0" compatLnSpc="1">
                  <a:prstTxWarp prst="textNoShape">
                    <a:avLst/>
                  </a:prstTxWarp>
                  <a:spAutoFit/>
                </a:bodyPr>
                <a:lstStyle/>
                <a:p>
                  <a:pPr marL="0" marR="0" lvl="0" indent="0" algn="ctr" defTabSz="932597" rtl="0" eaLnBrk="1" fontAlgn="base" latinLnBrk="0" hangingPunct="1">
                    <a:lnSpc>
                      <a:spcPct val="100000"/>
                    </a:lnSpc>
                    <a:spcBef>
                      <a:spcPts val="306"/>
                    </a:spcBef>
                    <a:spcAft>
                      <a:spcPts val="408"/>
                    </a:spcAft>
                    <a:buClr>
                      <a:srgbClr val="D2DFE7">
                        <a:lumMod val="50000"/>
                      </a:srgbClr>
                    </a:buClr>
                    <a:buSzTx/>
                    <a:buFontTx/>
                    <a:buNone/>
                    <a:tabLst/>
                    <a:defRPr/>
                  </a:pPr>
                  <a:r>
                    <a:rPr kumimoji="0" lang="en-US" sz="1632" b="0" i="0" u="none" strike="noStrike" kern="0" cap="none" spc="0" normalizeH="0" baseline="0" noProof="0" dirty="0">
                      <a:ln>
                        <a:noFill/>
                      </a:ln>
                      <a:solidFill>
                        <a:srgbClr val="333333">
                          <a:lumMod val="90000"/>
                          <a:lumOff val="10000"/>
                        </a:srgbClr>
                      </a:solidFill>
                      <a:effectLst/>
                      <a:uLnTx/>
                      <a:uFillTx/>
                      <a:latin typeface="Calibri" pitchFamily="34" charset="0"/>
                      <a:ea typeface="+mn-ea"/>
                      <a:cs typeface="+mn-cs"/>
                    </a:rPr>
                    <a:t>2011</a:t>
                  </a:r>
                </a:p>
              </p:txBody>
            </p:sp>
            <p:pic>
              <p:nvPicPr>
                <p:cNvPr id="27" name="Picture 2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370906" y="5325106"/>
                  <a:ext cx="658238" cy="658238"/>
                </a:xfrm>
                <a:prstGeom prst="rect">
                  <a:avLst/>
                </a:prstGeom>
              </p:spPr>
            </p:pic>
          </p:grpSp>
          <p:sp>
            <p:nvSpPr>
              <p:cNvPr id="25" name="Rectangle 24"/>
              <p:cNvSpPr/>
              <p:nvPr/>
            </p:nvSpPr>
            <p:spPr bwMode="auto">
              <a:xfrm>
                <a:off x="863601" y="5144342"/>
                <a:ext cx="7382932" cy="1209040"/>
              </a:xfrm>
              <a:prstGeom prst="rect">
                <a:avLst/>
              </a:prstGeom>
              <a:noFill/>
              <a:ln w="12700" cap="flat" cmpd="sng" algn="ctr">
                <a:solidFill>
                  <a:schemeClr val="bg1">
                    <a:lumMod val="50000"/>
                  </a:schemeClr>
                </a:solidFill>
                <a:prstDash val="sysDash"/>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grpSp>
        <p:nvGrpSpPr>
          <p:cNvPr id="22" name="Group 46"/>
          <p:cNvGrpSpPr/>
          <p:nvPr/>
        </p:nvGrpSpPr>
        <p:grpSpPr>
          <a:xfrm>
            <a:off x="3366042" y="1717138"/>
            <a:ext cx="2988806" cy="2943975"/>
            <a:chOff x="5918201" y="1636184"/>
            <a:chExt cx="2540000" cy="2501900"/>
          </a:xfrm>
        </p:grpSpPr>
        <p:pic>
          <p:nvPicPr>
            <p:cNvPr id="39" name="Picture 38" descr="Click-to-sign.png"/>
            <p:cNvPicPr>
              <a:picLocks noChangeAspect="1"/>
            </p:cNvPicPr>
            <p:nvPr/>
          </p:nvPicPr>
          <p:blipFill>
            <a:blip r:embed="rId8"/>
            <a:stretch>
              <a:fillRect/>
            </a:stretch>
          </p:blipFill>
          <p:spPr>
            <a:xfrm>
              <a:off x="5918201" y="1636184"/>
              <a:ext cx="2540000" cy="2501900"/>
            </a:xfrm>
            <a:prstGeom prst="rect">
              <a:avLst/>
            </a:prstGeom>
          </p:spPr>
        </p:pic>
        <p:sp>
          <p:nvSpPr>
            <p:cNvPr id="40" name="Oval 39"/>
            <p:cNvSpPr/>
            <p:nvPr/>
          </p:nvSpPr>
          <p:spPr bwMode="auto">
            <a:xfrm>
              <a:off x="5981569" y="1712453"/>
              <a:ext cx="2345984" cy="2385414"/>
            </a:xfrm>
            <a:prstGeom prst="ellipse">
              <a:avLst/>
            </a:prstGeom>
            <a:noFill/>
            <a:ln w="127000" cap="flat" cmpd="sng" algn="ctr">
              <a:solidFill>
                <a:schemeClr val="accent2"/>
              </a:solid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333333"/>
                </a:solidFill>
                <a:effectLst/>
                <a:uLnTx/>
                <a:uFillTx/>
                <a:latin typeface="Times New Roman" pitchFamily="18" charset="0"/>
                <a:ea typeface="+mn-ea"/>
                <a:cs typeface="+mn-cs"/>
              </a:endParaRPr>
            </a:p>
          </p:txBody>
        </p:sp>
      </p:grpSp>
      <p:grpSp>
        <p:nvGrpSpPr>
          <p:cNvPr id="23" name="Group 55"/>
          <p:cNvGrpSpPr/>
          <p:nvPr/>
        </p:nvGrpSpPr>
        <p:grpSpPr>
          <a:xfrm>
            <a:off x="5936075" y="1774754"/>
            <a:ext cx="2999454" cy="2862354"/>
            <a:chOff x="3152346" y="1392981"/>
            <a:chExt cx="2940908" cy="2806484"/>
          </a:xfrm>
        </p:grpSpPr>
        <p:grpSp>
          <p:nvGrpSpPr>
            <p:cNvPr id="24" name="Group 54"/>
            <p:cNvGrpSpPr/>
            <p:nvPr/>
          </p:nvGrpSpPr>
          <p:grpSpPr>
            <a:xfrm>
              <a:off x="3152346" y="1392981"/>
              <a:ext cx="2940908" cy="2806484"/>
              <a:chOff x="3152346" y="1392981"/>
              <a:chExt cx="2940908" cy="2806484"/>
            </a:xfrm>
          </p:grpSpPr>
          <p:pic>
            <p:nvPicPr>
              <p:cNvPr id="54" name="Picture 53" descr="Authentication.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152346" y="1456265"/>
                <a:ext cx="2940908" cy="2743200"/>
              </a:xfrm>
              <a:prstGeom prst="rect">
                <a:avLst/>
              </a:prstGeom>
            </p:spPr>
          </p:pic>
          <p:sp>
            <p:nvSpPr>
              <p:cNvPr id="42" name="Oval 41"/>
              <p:cNvSpPr/>
              <p:nvPr/>
            </p:nvSpPr>
            <p:spPr bwMode="auto">
              <a:xfrm>
                <a:off x="3302364" y="1392981"/>
                <a:ext cx="2717472" cy="2763147"/>
              </a:xfrm>
              <a:prstGeom prst="ellipse">
                <a:avLst/>
              </a:prstGeom>
              <a:noFill/>
              <a:ln w="127000" cap="flat" cmpd="sng" algn="ctr">
                <a:solidFill>
                  <a:schemeClr val="accent2"/>
                </a:solid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333333"/>
                  </a:solidFill>
                  <a:effectLst/>
                  <a:uLnTx/>
                  <a:uFillTx/>
                  <a:latin typeface="Times New Roman" pitchFamily="18" charset="0"/>
                  <a:ea typeface="+mn-ea"/>
                  <a:cs typeface="+mn-cs"/>
                </a:endParaRPr>
              </a:p>
            </p:txBody>
          </p:sp>
        </p:grpSp>
        <p:sp>
          <p:nvSpPr>
            <p:cNvPr id="45" name="Rectangle 44"/>
            <p:cNvSpPr/>
            <p:nvPr/>
          </p:nvSpPr>
          <p:spPr bwMode="auto">
            <a:xfrm rot="1116565">
              <a:off x="3727996" y="2153720"/>
              <a:ext cx="487929" cy="529425"/>
            </a:xfrm>
            <a:prstGeom prst="rect">
              <a:avLst/>
            </a:prstGeom>
            <a:no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noFill/>
                  </a:ln>
                  <a:solidFill>
                    <a:prstClr val="white"/>
                  </a:solidFill>
                  <a:effectLst/>
                  <a:uLnTx/>
                  <a:uFillTx/>
                  <a:latin typeface="Calibri"/>
                  <a:ea typeface="+mn-ea"/>
                  <a:cs typeface="+mn-cs"/>
                </a:rPr>
                <a:t>24906</a:t>
              </a:r>
            </a:p>
          </p:txBody>
        </p:sp>
      </p:grpSp>
      <p:sp>
        <p:nvSpPr>
          <p:cNvPr id="49" name="Title 3"/>
          <p:cNvSpPr txBox="1">
            <a:spLocks/>
          </p:cNvSpPr>
          <p:nvPr/>
        </p:nvSpPr>
        <p:spPr bwMode="auto">
          <a:xfrm>
            <a:off x="882" y="485788"/>
            <a:ext cx="12434711" cy="564258"/>
          </a:xfrm>
          <a:prstGeom prst="rect">
            <a:avLst/>
          </a:prstGeom>
          <a:noFill/>
          <a:ln w="9525">
            <a:noFill/>
            <a:miter lim="800000"/>
            <a:headEnd/>
            <a:tailEnd/>
          </a:ln>
          <a:effectLst/>
        </p:spPr>
        <p:txBody>
          <a:bodyPr vert="horz" wrap="square" lIns="46630" tIns="46630" rIns="46630" bIns="0" numCol="1" anchor="ctr" anchorCtr="0" compatLnSpc="1">
            <a:prstTxWarp prst="textNoShape">
              <a:avLst/>
            </a:prstTxWarp>
          </a:bodyPr>
          <a:lstStyle/>
          <a:p>
            <a:pPr marL="0" marR="0" lvl="0" indent="0" algn="ctr" defTabSz="932597" rtl="0" eaLnBrk="1" fontAlgn="base" latinLnBrk="0" hangingPunct="1">
              <a:lnSpc>
                <a:spcPct val="90000"/>
              </a:lnSpc>
              <a:spcBef>
                <a:spcPct val="0"/>
              </a:spcBef>
              <a:spcAft>
                <a:spcPct val="0"/>
              </a:spcAft>
              <a:buClrTx/>
              <a:buSzTx/>
              <a:buFontTx/>
              <a:buNone/>
              <a:tabLst/>
              <a:defRPr/>
            </a:pPr>
            <a:endParaRPr kumimoji="0" lang="en-US" sz="2652" b="0" i="0" u="none" strike="noStrike" kern="0" cap="none" spc="0" normalizeH="0" baseline="0" noProof="0" dirty="0">
              <a:ln>
                <a:noFill/>
              </a:ln>
              <a:solidFill>
                <a:sysClr val="windowText" lastClr="000000"/>
              </a:solidFill>
              <a:effectLst/>
              <a:uLnTx/>
              <a:uFillTx/>
              <a:latin typeface="Calibri"/>
              <a:ea typeface="+mn-ea"/>
              <a:cs typeface="Arial" pitchFamily="34" charset="0"/>
            </a:endParaRPr>
          </a:p>
          <a:p>
            <a:pPr marL="0" marR="0" lvl="0" indent="0" algn="ctr" defTabSz="932597" rtl="0" eaLnBrk="1" fontAlgn="base" latinLnBrk="0" hangingPunct="1">
              <a:lnSpc>
                <a:spcPct val="90000"/>
              </a:lnSpc>
              <a:spcBef>
                <a:spcPct val="0"/>
              </a:spcBef>
              <a:spcAft>
                <a:spcPct val="0"/>
              </a:spcAft>
              <a:buClrTx/>
              <a:buSzTx/>
              <a:buFontTx/>
              <a:buNone/>
              <a:tabLst/>
              <a:defRPr/>
            </a:pPr>
            <a:r>
              <a:rPr kumimoji="0" lang="en-US" sz="4896" b="0" i="0" u="none" strike="noStrike" kern="0" cap="none" spc="0" normalizeH="0" baseline="0" noProof="0" dirty="0">
                <a:ln>
                  <a:noFill/>
                </a:ln>
                <a:solidFill>
                  <a:srgbClr val="52A5D8"/>
                </a:solidFill>
                <a:effectLst/>
                <a:uLnTx/>
                <a:uFillTx/>
                <a:latin typeface="Calibri"/>
                <a:ea typeface="+mn-ea"/>
                <a:cs typeface="Arial" pitchFamily="34" charset="0"/>
              </a:rPr>
              <a:t>ABOUT</a:t>
            </a:r>
          </a:p>
          <a:p>
            <a:pPr marL="0" marR="0" lvl="0" indent="0" algn="ctr" defTabSz="932597"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dirty="0">
                <a:ln>
                  <a:noFill/>
                </a:ln>
                <a:solidFill>
                  <a:srgbClr val="333333">
                    <a:lumMod val="75000"/>
                    <a:lumOff val="25000"/>
                  </a:srgbClr>
                </a:solidFill>
                <a:effectLst/>
                <a:uLnTx/>
                <a:uFillTx/>
                <a:latin typeface="Calibri"/>
                <a:ea typeface="+mn-ea"/>
                <a:cs typeface="Arial" pitchFamily="34" charset="0"/>
              </a:rPr>
              <a:t>Global leader in e-signatures and authentication</a:t>
            </a:r>
          </a:p>
        </p:txBody>
      </p:sp>
      <p:grpSp>
        <p:nvGrpSpPr>
          <p:cNvPr id="59" name="Group 58"/>
          <p:cNvGrpSpPr/>
          <p:nvPr/>
        </p:nvGrpSpPr>
        <p:grpSpPr>
          <a:xfrm>
            <a:off x="513521" y="1255586"/>
            <a:ext cx="2744704" cy="3784398"/>
            <a:chOff x="502633" y="1231078"/>
            <a:chExt cx="2691131" cy="3710531"/>
          </a:xfrm>
        </p:grpSpPr>
        <p:grpSp>
          <p:nvGrpSpPr>
            <p:cNvPr id="57" name="Group 56"/>
            <p:cNvGrpSpPr/>
            <p:nvPr/>
          </p:nvGrpSpPr>
          <p:grpSpPr>
            <a:xfrm>
              <a:off x="502633" y="1772921"/>
              <a:ext cx="2691131" cy="3168688"/>
              <a:chOff x="502633" y="1772921"/>
              <a:chExt cx="2691131" cy="3168688"/>
            </a:xfrm>
          </p:grpSpPr>
          <p:sp>
            <p:nvSpPr>
              <p:cNvPr id="6" name="TextBox 5"/>
              <p:cNvSpPr txBox="1"/>
              <p:nvPr/>
            </p:nvSpPr>
            <p:spPr>
              <a:xfrm>
                <a:off x="502633" y="1772921"/>
                <a:ext cx="2691131" cy="316868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srgbClr val="333333"/>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rPr>
                  <a:t>23+ years e-signature experienc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rPr>
                  <a:t>Process millions of e-signed documents worldwid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rPr>
                  <a:t>Banking, insurance, government, and healthcare expertis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rPr>
                  <a:t>Single platform supporting cloud and on-premises</a:t>
                </a:r>
                <a:br>
                  <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rPr>
                </a:br>
                <a:endPar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rPr>
                  <a:t>Multiple, global cloud locations</a:t>
                </a:r>
                <a:endParaRPr kumimoji="0" lang="en-US" sz="1428" b="1"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1" i="0" u="none" strike="noStrike" kern="0" cap="none" spc="0" normalizeH="0" baseline="0" noProof="0" dirty="0">
                  <a:ln>
                    <a:noFill/>
                  </a:ln>
                  <a:solidFill>
                    <a:srgbClr val="333333"/>
                  </a:solidFill>
                  <a:effectLst/>
                  <a:uLnTx/>
                  <a:uFillTx/>
                  <a:latin typeface="Calibri"/>
                  <a:ea typeface="+mn-ea"/>
                  <a:cs typeface="+mn-cs"/>
                </a:endParaRPr>
              </a:p>
            </p:txBody>
          </p:sp>
          <p:cxnSp>
            <p:nvCxnSpPr>
              <p:cNvPr id="7" name="Straight Connector 6"/>
              <p:cNvCxnSpPr/>
              <p:nvPr/>
            </p:nvCxnSpPr>
            <p:spPr bwMode="auto">
              <a:xfrm>
                <a:off x="586031" y="2372353"/>
                <a:ext cx="2367280" cy="0"/>
              </a:xfrm>
              <a:prstGeom prst="line">
                <a:avLst/>
              </a:prstGeom>
              <a:solidFill>
                <a:schemeClr val="accent1"/>
              </a:solidFill>
              <a:ln w="12700" cap="flat" cmpd="sng" algn="ctr">
                <a:solidFill>
                  <a:schemeClr val="tx1">
                    <a:lumMod val="75000"/>
                    <a:lumOff val="25000"/>
                  </a:schemeClr>
                </a:solidFill>
                <a:prstDash val="sysDash"/>
                <a:miter lim="800000"/>
                <a:headEnd type="none" w="med" len="med"/>
                <a:tailEnd type="none" w="med" len="med"/>
              </a:ln>
              <a:effectLst/>
            </p:spPr>
          </p:cxnSp>
          <p:cxnSp>
            <p:nvCxnSpPr>
              <p:cNvPr id="8" name="Straight Connector 7"/>
              <p:cNvCxnSpPr/>
              <p:nvPr/>
            </p:nvCxnSpPr>
            <p:spPr bwMode="auto">
              <a:xfrm>
                <a:off x="594498" y="2998888"/>
                <a:ext cx="2367280" cy="0"/>
              </a:xfrm>
              <a:prstGeom prst="line">
                <a:avLst/>
              </a:prstGeom>
              <a:solidFill>
                <a:schemeClr val="accent1"/>
              </a:solidFill>
              <a:ln w="12700" cap="flat" cmpd="sng" algn="ctr">
                <a:solidFill>
                  <a:schemeClr val="tx1">
                    <a:lumMod val="75000"/>
                    <a:lumOff val="25000"/>
                  </a:schemeClr>
                </a:solidFill>
                <a:prstDash val="sysDash"/>
                <a:miter lim="800000"/>
                <a:headEnd type="none" w="med" len="med"/>
                <a:tailEnd type="none" w="med" len="med"/>
              </a:ln>
              <a:effectLst/>
            </p:spPr>
          </p:cxnSp>
          <p:cxnSp>
            <p:nvCxnSpPr>
              <p:cNvPr id="9" name="Straight Connector 8"/>
              <p:cNvCxnSpPr/>
              <p:nvPr/>
            </p:nvCxnSpPr>
            <p:spPr bwMode="auto">
              <a:xfrm>
                <a:off x="577565" y="3642362"/>
                <a:ext cx="2367280" cy="0"/>
              </a:xfrm>
              <a:prstGeom prst="line">
                <a:avLst/>
              </a:prstGeom>
              <a:solidFill>
                <a:schemeClr val="accent1"/>
              </a:solidFill>
              <a:ln w="12700" cap="flat" cmpd="sng" algn="ctr">
                <a:solidFill>
                  <a:schemeClr val="tx1">
                    <a:lumMod val="75000"/>
                    <a:lumOff val="25000"/>
                  </a:schemeClr>
                </a:solidFill>
                <a:prstDash val="sysDash"/>
                <a:miter lim="800000"/>
                <a:headEnd type="none" w="med" len="med"/>
                <a:tailEnd type="none" w="med" len="med"/>
              </a:ln>
              <a:effectLst/>
            </p:spPr>
          </p:cxnSp>
          <p:cxnSp>
            <p:nvCxnSpPr>
              <p:cNvPr id="10" name="Straight Connector 9"/>
              <p:cNvCxnSpPr/>
              <p:nvPr/>
            </p:nvCxnSpPr>
            <p:spPr bwMode="auto">
              <a:xfrm>
                <a:off x="586031" y="4285828"/>
                <a:ext cx="2367280" cy="0"/>
              </a:xfrm>
              <a:prstGeom prst="line">
                <a:avLst/>
              </a:prstGeom>
              <a:solidFill>
                <a:schemeClr val="accent1"/>
              </a:solidFill>
              <a:ln w="12700" cap="flat" cmpd="sng" algn="ctr">
                <a:solidFill>
                  <a:schemeClr val="tx1">
                    <a:lumMod val="75000"/>
                    <a:lumOff val="25000"/>
                  </a:schemeClr>
                </a:solidFill>
                <a:prstDash val="sysDash"/>
                <a:miter lim="800000"/>
                <a:headEnd type="none" w="med" len="med"/>
                <a:tailEnd type="none" w="med" len="med"/>
              </a:ln>
              <a:effectLst/>
            </p:spPr>
          </p:cxnSp>
        </p:grpSp>
        <p:pic>
          <p:nvPicPr>
            <p:cNvPr id="48" name="Picture 47"/>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71955" y="1231078"/>
              <a:ext cx="1620070" cy="662305"/>
            </a:xfrm>
            <a:prstGeom prst="rect">
              <a:avLst/>
            </a:prstGeom>
          </p:spPr>
        </p:pic>
      </p:grpSp>
      <p:grpSp>
        <p:nvGrpSpPr>
          <p:cNvPr id="60" name="Group 59"/>
          <p:cNvGrpSpPr/>
          <p:nvPr/>
        </p:nvGrpSpPr>
        <p:grpSpPr>
          <a:xfrm>
            <a:off x="8731447" y="1390273"/>
            <a:ext cx="3436443" cy="3967186"/>
            <a:chOff x="8560155" y="1363137"/>
            <a:chExt cx="3369368" cy="3889751"/>
          </a:xfrm>
        </p:grpSpPr>
        <p:grpSp>
          <p:nvGrpSpPr>
            <p:cNvPr id="58" name="Group 57"/>
            <p:cNvGrpSpPr/>
            <p:nvPr/>
          </p:nvGrpSpPr>
          <p:grpSpPr>
            <a:xfrm>
              <a:off x="8826736" y="1864460"/>
              <a:ext cx="2708064" cy="3388428"/>
              <a:chOff x="8826736" y="1864460"/>
              <a:chExt cx="2708064" cy="3388428"/>
            </a:xfrm>
          </p:grpSpPr>
          <p:sp>
            <p:nvSpPr>
              <p:cNvPr id="12" name="TextBox 11"/>
              <p:cNvSpPr txBox="1"/>
              <p:nvPr/>
            </p:nvSpPr>
            <p:spPr>
              <a:xfrm>
                <a:off x="8826736" y="1864460"/>
                <a:ext cx="2708064" cy="338842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rPr>
                  <a:t>Two factor authentic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rPr>
                  <a:t>More than  10,000 customers </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rPr>
                  <a:t>in 100 countrie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rPr>
                  <a:t>More than half of world’s top 100 bank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rPr>
                  <a:t>11-year 21% CAGR</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rPr>
                  <a:t>17+ global offices; 500+ employee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srgbClr val="333333"/>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1" i="0" u="none" strike="noStrike" kern="0" cap="none" spc="0" normalizeH="0" baseline="0" noProof="0" dirty="0">
                  <a:ln>
                    <a:noFill/>
                  </a:ln>
                  <a:solidFill>
                    <a:srgbClr val="333333"/>
                  </a:solidFill>
                  <a:effectLst/>
                  <a:uLnTx/>
                  <a:uFillTx/>
                  <a:latin typeface="Calibri"/>
                  <a:ea typeface="+mn-ea"/>
                  <a:cs typeface="+mn-cs"/>
                </a:endParaRPr>
              </a:p>
            </p:txBody>
          </p:sp>
          <p:cxnSp>
            <p:nvCxnSpPr>
              <p:cNvPr id="13" name="Straight Connector 12"/>
              <p:cNvCxnSpPr/>
              <p:nvPr/>
            </p:nvCxnSpPr>
            <p:spPr bwMode="auto">
              <a:xfrm>
                <a:off x="8901666" y="2438488"/>
                <a:ext cx="2367280" cy="0"/>
              </a:xfrm>
              <a:prstGeom prst="line">
                <a:avLst/>
              </a:prstGeom>
              <a:solidFill>
                <a:schemeClr val="accent1"/>
              </a:solidFill>
              <a:ln w="12700" cap="flat" cmpd="sng" algn="ctr">
                <a:solidFill>
                  <a:schemeClr val="tx1">
                    <a:lumMod val="75000"/>
                    <a:lumOff val="25000"/>
                  </a:schemeClr>
                </a:solidFill>
                <a:prstDash val="sysDash"/>
                <a:miter lim="800000"/>
                <a:headEnd type="none" w="med" len="med"/>
                <a:tailEnd type="none" w="med" len="med"/>
              </a:ln>
              <a:effectLst/>
            </p:spPr>
          </p:cxnSp>
          <p:cxnSp>
            <p:nvCxnSpPr>
              <p:cNvPr id="14" name="Straight Connector 13"/>
              <p:cNvCxnSpPr/>
              <p:nvPr/>
            </p:nvCxnSpPr>
            <p:spPr bwMode="auto">
              <a:xfrm>
                <a:off x="8910132" y="3081956"/>
                <a:ext cx="2367280" cy="0"/>
              </a:xfrm>
              <a:prstGeom prst="line">
                <a:avLst/>
              </a:prstGeom>
              <a:solidFill>
                <a:schemeClr val="accent1"/>
              </a:solidFill>
              <a:ln w="12700" cap="flat" cmpd="sng" algn="ctr">
                <a:solidFill>
                  <a:schemeClr val="tx1">
                    <a:lumMod val="75000"/>
                    <a:lumOff val="25000"/>
                  </a:schemeClr>
                </a:solidFill>
                <a:prstDash val="sysDash"/>
                <a:miter lim="800000"/>
                <a:headEnd type="none" w="med" len="med"/>
                <a:tailEnd type="none" w="med" len="med"/>
              </a:ln>
              <a:effectLst/>
            </p:spPr>
          </p:cxnSp>
          <p:cxnSp>
            <p:nvCxnSpPr>
              <p:cNvPr id="15" name="Straight Connector 14"/>
              <p:cNvCxnSpPr/>
              <p:nvPr/>
            </p:nvCxnSpPr>
            <p:spPr bwMode="auto">
              <a:xfrm>
                <a:off x="8927065" y="3725430"/>
                <a:ext cx="2367280" cy="0"/>
              </a:xfrm>
              <a:prstGeom prst="line">
                <a:avLst/>
              </a:prstGeom>
              <a:solidFill>
                <a:schemeClr val="accent1"/>
              </a:solidFill>
              <a:ln w="12700" cap="flat" cmpd="sng" algn="ctr">
                <a:solidFill>
                  <a:schemeClr val="tx1">
                    <a:lumMod val="75000"/>
                    <a:lumOff val="25000"/>
                  </a:schemeClr>
                </a:solidFill>
                <a:prstDash val="sysDash"/>
                <a:miter lim="800000"/>
                <a:headEnd type="none" w="med" len="med"/>
                <a:tailEnd type="none" w="med" len="med"/>
              </a:ln>
              <a:effectLst/>
            </p:spPr>
          </p:cxnSp>
          <p:cxnSp>
            <p:nvCxnSpPr>
              <p:cNvPr id="16" name="Straight Connector 15"/>
              <p:cNvCxnSpPr/>
              <p:nvPr/>
            </p:nvCxnSpPr>
            <p:spPr bwMode="auto">
              <a:xfrm>
                <a:off x="8935533" y="4191087"/>
                <a:ext cx="2367280" cy="0"/>
              </a:xfrm>
              <a:prstGeom prst="line">
                <a:avLst/>
              </a:prstGeom>
              <a:solidFill>
                <a:schemeClr val="accent1"/>
              </a:solidFill>
              <a:ln w="12700" cap="flat" cmpd="sng" algn="ctr">
                <a:solidFill>
                  <a:schemeClr val="tx1">
                    <a:lumMod val="75000"/>
                    <a:lumOff val="25000"/>
                  </a:schemeClr>
                </a:solidFill>
                <a:prstDash val="sysDash"/>
                <a:miter lim="800000"/>
                <a:headEnd type="none" w="med" len="med"/>
                <a:tailEnd type="none" w="med" len="med"/>
              </a:ln>
              <a:effectLst/>
            </p:spPr>
          </p:cxnSp>
        </p:grpSp>
        <p:grpSp>
          <p:nvGrpSpPr>
            <p:cNvPr id="36" name="Group 30"/>
            <p:cNvGrpSpPr/>
            <p:nvPr/>
          </p:nvGrpSpPr>
          <p:grpSpPr>
            <a:xfrm>
              <a:off x="8560155" y="1363137"/>
              <a:ext cx="3369368" cy="562059"/>
              <a:chOff x="4492531" y="1226464"/>
              <a:chExt cx="3369368" cy="562059"/>
            </a:xfrm>
          </p:grpSpPr>
          <p:pic>
            <p:nvPicPr>
              <p:cNvPr id="51" name="Picture 50" descr="VASCO_logoTAC-ver_CMYK.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492531" y="1409093"/>
                <a:ext cx="2197349" cy="304690"/>
              </a:xfrm>
              <a:prstGeom prst="rect">
                <a:avLst/>
              </a:prstGeom>
            </p:spPr>
          </p:pic>
          <p:sp>
            <p:nvSpPr>
              <p:cNvPr id="55" name="Rectangle 54"/>
              <p:cNvSpPr/>
              <p:nvPr/>
            </p:nvSpPr>
            <p:spPr>
              <a:xfrm>
                <a:off x="6519328" y="1226464"/>
                <a:ext cx="1342571" cy="56205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000000"/>
                    </a:solidFill>
                    <a:effectLst/>
                    <a:uLnTx/>
                    <a:uFillTx/>
                    <a:latin typeface="Calibri"/>
                    <a:ea typeface="+mn-ea"/>
                    <a:cs typeface="+mn-cs"/>
                  </a:rPr>
                  <a:t>NASDAQ VDSI</a:t>
                </a:r>
              </a:p>
            </p:txBody>
          </p:sp>
        </p:grpSp>
      </p:grpSp>
    </p:spTree>
    <p:extLst>
      <p:ext uri="{BB962C8B-B14F-4D97-AF65-F5344CB8AC3E}">
        <p14:creationId xmlns:p14="http://schemas.microsoft.com/office/powerpoint/2010/main" val="2842491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F71C7896-8E11-4384-BFC5-C0974CDBC83D}" type="slidenum">
              <a:rPr kumimoji="0" lang="en-US" sz="1836" b="0" i="0" u="none" strike="noStrike" kern="0" cap="none" spc="0" normalizeH="0" baseline="0" noProof="0">
                <a:ln>
                  <a:noFill/>
                </a:ln>
                <a:solidFill>
                  <a:sysClr val="windowText" lastClr="000000"/>
                </a:solidFill>
                <a:effectLst/>
                <a:uLnTx/>
                <a:uFillTx/>
                <a:latin typeface="Calibr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126</a:t>
            </a:fld>
            <a:endParaRPr kumimoji="0" lang="en-US" sz="1836" b="0" i="0" u="none" strike="noStrike" kern="0" cap="none" spc="0" normalizeH="0" baseline="0" noProof="0" dirty="0">
              <a:ln>
                <a:noFill/>
              </a:ln>
              <a:solidFill>
                <a:sysClr val="windowText" lastClr="000000"/>
              </a:solidFill>
              <a:effectLst/>
              <a:uLnTx/>
              <a:uFillTx/>
              <a:latin typeface="Calibri"/>
              <a:ea typeface="+mn-ea"/>
              <a:cs typeface="+mn-cs"/>
            </a:endParaRPr>
          </a:p>
        </p:txBody>
      </p:sp>
      <p:grpSp>
        <p:nvGrpSpPr>
          <p:cNvPr id="32" name="Group 31"/>
          <p:cNvGrpSpPr/>
          <p:nvPr/>
        </p:nvGrpSpPr>
        <p:grpSpPr>
          <a:xfrm>
            <a:off x="5146573" y="2741681"/>
            <a:ext cx="6231206" cy="2416877"/>
            <a:chOff x="5045254" y="2688167"/>
            <a:chExt cx="6109580" cy="2369702"/>
          </a:xfrm>
        </p:grpSpPr>
        <p:pic>
          <p:nvPicPr>
            <p:cNvPr id="24" name="Picture 23" descr="G2Crowd.pd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45254" y="2688167"/>
              <a:ext cx="4314647" cy="2369702"/>
            </a:xfrm>
            <a:prstGeom prst="rect">
              <a:avLst/>
            </a:prstGeom>
          </p:spPr>
        </p:pic>
        <p:sp>
          <p:nvSpPr>
            <p:cNvPr id="5" name="Title 3"/>
            <p:cNvSpPr txBox="1">
              <a:spLocks/>
            </p:cNvSpPr>
            <p:nvPr/>
          </p:nvSpPr>
          <p:spPr>
            <a:xfrm>
              <a:off x="6590305" y="2764456"/>
              <a:ext cx="4473940" cy="720263"/>
            </a:xfrm>
            <a:prstGeom prst="rect">
              <a:avLst/>
            </a:prstGeom>
          </p:spPr>
          <p:txBody>
            <a:bodyPr vert="horz" wrap="square" lIns="93260" tIns="46630" rIns="18652" bIns="46630" rtlCol="0" anchor="t" anchorCtr="0">
              <a:spAutoFit/>
            </a:bodyPr>
            <a:lstStyle>
              <a:lvl1pPr algn="l" defTabSz="914400" rtl="0" eaLnBrk="1" latinLnBrk="0" hangingPunct="1">
                <a:lnSpc>
                  <a:spcPct val="85000"/>
                </a:lnSpc>
                <a:spcBef>
                  <a:spcPct val="0"/>
                </a:spcBef>
                <a:buNone/>
                <a:defRPr sz="2400" b="1" kern="1200">
                  <a:solidFill>
                    <a:schemeClr val="accent1"/>
                  </a:solidFill>
                  <a:latin typeface="+mn-lt"/>
                  <a:ea typeface="+mj-ea"/>
                  <a:cs typeface="+mj-cs"/>
                </a:defRPr>
              </a:lvl1pPr>
            </a:lstStyle>
            <a:p>
              <a:pPr marL="0" marR="0" lvl="0" indent="0" algn="r" defTabSz="932597" rtl="0" eaLnBrk="1" fontAlgn="auto" latinLnBrk="0" hangingPunct="1">
                <a:lnSpc>
                  <a:spcPct val="85000"/>
                </a:lnSpc>
                <a:spcBef>
                  <a:spcPct val="0"/>
                </a:spcBef>
                <a:spcAft>
                  <a:spcPts val="0"/>
                </a:spcAft>
                <a:buClrTx/>
                <a:buSzTx/>
                <a:buFontTx/>
                <a:buNone/>
                <a:tabLst/>
                <a:defRPr/>
              </a:pPr>
              <a:r>
                <a:rPr kumimoji="0" lang="en-US" sz="2856" b="1" i="0" u="none" strike="noStrike" kern="1200" cap="none" spc="0" normalizeH="0" baseline="0" noProof="0" dirty="0">
                  <a:ln>
                    <a:noFill/>
                  </a:ln>
                  <a:solidFill>
                    <a:srgbClr val="333333">
                      <a:lumMod val="90000"/>
                      <a:lumOff val="10000"/>
                    </a:srgbClr>
                  </a:solidFill>
                  <a:effectLst/>
                  <a:uLnTx/>
                  <a:uFillTx/>
                  <a:latin typeface="Calibri"/>
                  <a:ea typeface="+mj-ea"/>
                  <a:cs typeface="+mj-cs"/>
                </a:rPr>
                <a:t>Highest customer satisfaction </a:t>
              </a:r>
              <a:br>
                <a:rPr kumimoji="0" lang="en-US" sz="2550" b="1" i="0" u="none" strike="noStrike" kern="1200" cap="none" spc="0" normalizeH="0" baseline="0" noProof="0" dirty="0">
                  <a:ln>
                    <a:noFill/>
                  </a:ln>
                  <a:solidFill>
                    <a:srgbClr val="333333">
                      <a:lumMod val="90000"/>
                      <a:lumOff val="10000"/>
                    </a:srgbClr>
                  </a:solidFill>
                  <a:effectLst/>
                  <a:uLnTx/>
                  <a:uFillTx/>
                  <a:latin typeface="Calibri"/>
                  <a:ea typeface="+mj-ea"/>
                  <a:cs typeface="+mj-cs"/>
                </a:rPr>
              </a:br>
              <a:r>
                <a:rPr kumimoji="0" lang="en-US" sz="2040" b="0" i="0" u="none" strike="noStrike" kern="1200" cap="none" spc="0" normalizeH="0" baseline="0" noProof="0">
                  <a:ln>
                    <a:noFill/>
                  </a:ln>
                  <a:solidFill>
                    <a:srgbClr val="333333">
                      <a:lumMod val="90000"/>
                      <a:lumOff val="10000"/>
                    </a:srgbClr>
                  </a:solidFill>
                  <a:effectLst/>
                  <a:uLnTx/>
                  <a:uFillTx/>
                  <a:latin typeface="Calibri"/>
                  <a:ea typeface="+mj-ea"/>
                  <a:cs typeface="+mj-cs"/>
                </a:rPr>
                <a:t>in consecutive </a:t>
              </a:r>
              <a:r>
                <a:rPr kumimoji="0" lang="en-US" sz="2040" b="0" i="0" u="none" strike="noStrike" kern="1200" cap="none" spc="0" normalizeH="0" baseline="0" noProof="0" dirty="0">
                  <a:ln>
                    <a:noFill/>
                  </a:ln>
                  <a:solidFill>
                    <a:srgbClr val="333333">
                      <a:lumMod val="90000"/>
                      <a:lumOff val="10000"/>
                    </a:srgbClr>
                  </a:solidFill>
                  <a:effectLst/>
                  <a:uLnTx/>
                  <a:uFillTx/>
                  <a:latin typeface="Calibri"/>
                  <a:ea typeface="+mj-ea"/>
                  <a:cs typeface="+mj-cs"/>
                </a:rPr>
                <a:t>reports</a:t>
              </a:r>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04047" y="3548428"/>
              <a:ext cx="962527" cy="731520"/>
            </a:xfrm>
            <a:prstGeom prst="rect">
              <a:avLst/>
            </a:prstGeom>
          </p:spPr>
        </p:pic>
        <p:pic>
          <p:nvPicPr>
            <p:cNvPr id="7" name="Picture 2" descr="C:\Users\jmulliner\Desktop\Visuals\Images\Logos\g2-leader-summer-2013.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206662" y="3525431"/>
              <a:ext cx="948172" cy="76991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17085" y="3550291"/>
              <a:ext cx="964176" cy="729559"/>
            </a:xfrm>
            <a:prstGeom prst="rect">
              <a:avLst/>
            </a:prstGeom>
          </p:spPr>
        </p:pic>
        <p:pic>
          <p:nvPicPr>
            <p:cNvPr id="9" name="Picture 2" descr="\\klio2\Marketing\Images&amp;Fonts\Logos\Awards\G2 Crowd\leader-badge-spring15-large.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014635" y="3464318"/>
              <a:ext cx="1157415" cy="8781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256864" y="1338831"/>
            <a:ext cx="8888712" cy="3363046"/>
            <a:chOff x="250985" y="1312699"/>
            <a:chExt cx="8715215" cy="3297403"/>
          </a:xfrm>
        </p:grpSpPr>
        <p:pic>
          <p:nvPicPr>
            <p:cNvPr id="10" name="Picture 2"/>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250985" y="1312699"/>
              <a:ext cx="3526820" cy="32974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itle 3"/>
            <p:cNvSpPr txBox="1">
              <a:spLocks/>
            </p:cNvSpPr>
            <p:nvPr/>
          </p:nvSpPr>
          <p:spPr bwMode="auto">
            <a:xfrm>
              <a:off x="2922253" y="1758026"/>
              <a:ext cx="6043947" cy="614698"/>
            </a:xfrm>
            <a:prstGeom prst="rect">
              <a:avLst/>
            </a:prstGeom>
            <a:noFill/>
            <a:ln w="9525">
              <a:noFill/>
              <a:miter lim="800000"/>
              <a:headEnd/>
              <a:tailEnd/>
            </a:ln>
            <a:effectLst/>
          </p:spPr>
          <p:txBody>
            <a:bodyPr vert="horz" wrap="square" lIns="46630" tIns="46630" rIns="18652" bIns="0" numCol="1" anchor="t" anchorCtr="0" compatLnSpc="1">
              <a:prstTxWarp prst="textNoShape">
                <a:avLst/>
              </a:prstTxWarp>
              <a:spAutoFit/>
            </a:bodyPr>
            <a:lstStyle/>
            <a:p>
              <a:pPr marL="0" marR="0" lvl="0" indent="0" algn="l" defTabSz="932597" rtl="0" eaLnBrk="1" fontAlgn="base" latinLnBrk="0" hangingPunct="1">
                <a:lnSpc>
                  <a:spcPts val="2244"/>
                </a:lnSpc>
                <a:spcBef>
                  <a:spcPct val="0"/>
                </a:spcBef>
                <a:spcAft>
                  <a:spcPct val="0"/>
                </a:spcAft>
                <a:buClrTx/>
                <a:buSzTx/>
                <a:buFontTx/>
                <a:buNone/>
                <a:tabLst/>
                <a:defRPr/>
              </a:pPr>
              <a:r>
                <a:rPr kumimoji="0" lang="en-US" sz="2856" b="1" i="0" u="none" strike="noStrike" kern="0" cap="none" spc="0" normalizeH="0" baseline="0" noProof="0" dirty="0">
                  <a:ln>
                    <a:noFill/>
                  </a:ln>
                  <a:solidFill>
                    <a:srgbClr val="333333">
                      <a:lumMod val="90000"/>
                      <a:lumOff val="10000"/>
                    </a:srgbClr>
                  </a:solidFill>
                  <a:effectLst/>
                  <a:uLnTx/>
                  <a:uFillTx/>
                  <a:latin typeface="Calibri"/>
                  <a:ea typeface="+mn-ea"/>
                  <a:cs typeface="Arial" pitchFamily="34" charset="0"/>
                </a:rPr>
                <a:t>“The strongest vendor</a:t>
              </a:r>
            </a:p>
            <a:p>
              <a:pPr marL="0" marR="0" lvl="0" indent="0" algn="l" defTabSz="932597" rtl="0" eaLnBrk="1" fontAlgn="base" latinLnBrk="0" hangingPunct="1">
                <a:lnSpc>
                  <a:spcPts val="2244"/>
                </a:lnSpc>
                <a:spcBef>
                  <a:spcPct val="0"/>
                </a:spcBef>
                <a:spcAft>
                  <a:spcPct val="0"/>
                </a:spcAft>
                <a:buClrTx/>
                <a:buSzTx/>
                <a:buFontTx/>
                <a:buNone/>
                <a:tabLst/>
                <a:defRPr/>
              </a:pPr>
              <a:r>
                <a:rPr kumimoji="0" lang="en-US" sz="1836" b="0" i="0" u="none" strike="noStrike" kern="0" cap="none" spc="0" normalizeH="0" baseline="0" noProof="0" dirty="0">
                  <a:ln>
                    <a:noFill/>
                  </a:ln>
                  <a:solidFill>
                    <a:srgbClr val="333333">
                      <a:lumMod val="90000"/>
                      <a:lumOff val="10000"/>
                    </a:srgbClr>
                  </a:solidFill>
                  <a:effectLst/>
                  <a:uLnTx/>
                  <a:uFillTx/>
                  <a:latin typeface="Calibri"/>
                  <a:ea typeface="+mn-ea"/>
                  <a:cs typeface="Arial" pitchFamily="34" charset="0"/>
                </a:rPr>
                <a:t>  </a:t>
              </a:r>
              <a:r>
                <a:rPr kumimoji="0" lang="en-US" sz="2040" b="0" i="0" u="none" strike="noStrike" kern="0" cap="none" spc="0" normalizeH="0" baseline="0" noProof="0" dirty="0">
                  <a:ln>
                    <a:noFill/>
                  </a:ln>
                  <a:solidFill>
                    <a:srgbClr val="333333">
                      <a:lumMod val="90000"/>
                      <a:lumOff val="10000"/>
                    </a:srgbClr>
                  </a:solidFill>
                  <a:effectLst/>
                  <a:uLnTx/>
                  <a:uFillTx/>
                  <a:latin typeface="Calibri"/>
                  <a:ea typeface="+mn-ea"/>
                  <a:cs typeface="Arial" pitchFamily="34" charset="0"/>
                </a:rPr>
                <a:t>with both an on-premises and cloud offering.”</a:t>
              </a:r>
              <a:r>
                <a:rPr kumimoji="0" lang="en-US" sz="1836" b="1" i="0" u="none" strike="noStrike" kern="0" cap="none" spc="0" normalizeH="0" baseline="0" noProof="0" dirty="0">
                  <a:ln>
                    <a:noFill/>
                  </a:ln>
                  <a:solidFill>
                    <a:srgbClr val="333333">
                      <a:lumMod val="90000"/>
                      <a:lumOff val="10000"/>
                    </a:srgbClr>
                  </a:solidFill>
                  <a:effectLst/>
                  <a:uLnTx/>
                  <a:uFillTx/>
                  <a:latin typeface="Calibri"/>
                  <a:ea typeface="+mn-ea"/>
                  <a:cs typeface="Arial" pitchFamily="34" charset="0"/>
                </a:rPr>
                <a:t>.”</a:t>
              </a:r>
            </a:p>
          </p:txBody>
        </p:sp>
        <p:sp>
          <p:nvSpPr>
            <p:cNvPr id="12" name="TextBox 11"/>
            <p:cNvSpPr txBox="1"/>
            <p:nvPr/>
          </p:nvSpPr>
          <p:spPr>
            <a:xfrm>
              <a:off x="3088179" y="2414101"/>
              <a:ext cx="2592939" cy="256673"/>
            </a:xfrm>
            <a:prstGeom prst="rect">
              <a:avLst/>
            </a:prstGeom>
            <a:noFill/>
          </p:spPr>
          <p:txBody>
            <a:bodyPr wrap="square" lIns="18652" tIns="18652" rIns="18652" bIns="18652"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latin typeface="Calibri"/>
                  <a:ea typeface="+mn-ea"/>
                  <a:cs typeface="+mn-cs"/>
                </a:rPr>
                <a:t>E-Signature Wave: </a:t>
              </a:r>
              <a:r>
                <a:rPr kumimoji="0" lang="en-US" sz="1428" b="1" i="0" u="none" strike="noStrike" kern="0" cap="none" spc="0" normalizeH="0" baseline="0" noProof="0" dirty="0">
                  <a:ln>
                    <a:noFill/>
                  </a:ln>
                  <a:solidFill>
                    <a:sysClr val="windowText" lastClr="000000"/>
                  </a:solidFill>
                  <a:effectLst/>
                  <a:uLnTx/>
                  <a:uFillTx/>
                  <a:latin typeface="Calibri"/>
                  <a:ea typeface="+mn-ea"/>
                  <a:cs typeface="+mn-cs"/>
                </a:rPr>
                <a:t>Leader</a:t>
              </a:r>
            </a:p>
          </p:txBody>
        </p:sp>
      </p:grpSp>
      <p:grpSp>
        <p:nvGrpSpPr>
          <p:cNvPr id="33" name="Group 32"/>
          <p:cNvGrpSpPr/>
          <p:nvPr/>
        </p:nvGrpSpPr>
        <p:grpSpPr>
          <a:xfrm>
            <a:off x="1829820" y="5087869"/>
            <a:ext cx="8748337" cy="1233109"/>
            <a:chOff x="1793240" y="4988560"/>
            <a:chExt cx="8577580" cy="1209040"/>
          </a:xfrm>
        </p:grpSpPr>
        <p:grpSp>
          <p:nvGrpSpPr>
            <p:cNvPr id="3" name="Group 12"/>
            <p:cNvGrpSpPr/>
            <p:nvPr/>
          </p:nvGrpSpPr>
          <p:grpSpPr>
            <a:xfrm>
              <a:off x="7759700" y="4988560"/>
              <a:ext cx="2611120" cy="1209040"/>
              <a:chOff x="6146800" y="4988560"/>
              <a:chExt cx="2611120" cy="1209040"/>
            </a:xfrm>
          </p:grpSpPr>
          <p:sp>
            <p:nvSpPr>
              <p:cNvPr id="14" name="Rectangle 13"/>
              <p:cNvSpPr/>
              <p:nvPr/>
            </p:nvSpPr>
            <p:spPr bwMode="auto">
              <a:xfrm>
                <a:off x="6156960" y="4998720"/>
                <a:ext cx="2600960" cy="518160"/>
              </a:xfrm>
              <a:prstGeom prst="rect">
                <a:avLst/>
              </a:prstGeom>
              <a:solidFill>
                <a:schemeClr val="tx1">
                  <a:alpha val="82000"/>
                </a:schemeClr>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 lastClr="FFFFFF"/>
                  </a:solidFill>
                  <a:effectLst/>
                  <a:uLnTx/>
                  <a:uFillTx/>
                  <a:latin typeface="Calibri"/>
                  <a:ea typeface="+mn-ea"/>
                  <a:cs typeface="+mn-cs"/>
                </a:endParaRPr>
              </a:p>
            </p:txBody>
          </p:sp>
          <p:grpSp>
            <p:nvGrpSpPr>
              <p:cNvPr id="13" name="Group 14"/>
              <p:cNvGrpSpPr/>
              <p:nvPr/>
            </p:nvGrpSpPr>
            <p:grpSpPr>
              <a:xfrm>
                <a:off x="6146800" y="4988560"/>
                <a:ext cx="2611120" cy="1209040"/>
                <a:chOff x="6146800" y="4988560"/>
                <a:chExt cx="2611120" cy="1209040"/>
              </a:xfrm>
            </p:grpSpPr>
            <p:sp>
              <p:nvSpPr>
                <p:cNvPr id="16" name="Rectangle 15"/>
                <p:cNvSpPr/>
                <p:nvPr/>
              </p:nvSpPr>
              <p:spPr bwMode="auto">
                <a:xfrm>
                  <a:off x="6146800" y="4988560"/>
                  <a:ext cx="2606040" cy="1209040"/>
                </a:xfrm>
                <a:prstGeom prst="rect">
                  <a:avLst/>
                </a:prstGeom>
                <a:noFill/>
                <a:ln w="15875" cap="flat" cmpd="sng" algn="ctr">
                  <a:solidFill>
                    <a:schemeClr val="tx1"/>
                  </a:solid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7" name="TextBox 16"/>
                <p:cNvSpPr txBox="1"/>
                <p:nvPr/>
              </p:nvSpPr>
              <p:spPr>
                <a:xfrm>
                  <a:off x="6156960" y="5102036"/>
                  <a:ext cx="2600960" cy="288092"/>
                </a:xfrm>
                <a:prstGeom prst="rect">
                  <a:avLst/>
                </a:prstGeom>
                <a:noFill/>
              </p:spPr>
              <p:txBody>
                <a:bodyPr wrap="square" lIns="18652" tIns="18652" rIns="18652" bIns="18652"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Calibri"/>
                      <a:ea typeface="+mn-ea"/>
                      <a:cs typeface="+mn-cs"/>
                    </a:rPr>
                    <a:t>“</a:t>
                  </a:r>
                  <a:r>
                    <a:rPr kumimoji="0" lang="en-US" sz="1632" b="1" i="0" u="none" strike="noStrike" kern="0" cap="none" spc="0" normalizeH="0" baseline="0" noProof="0" dirty="0">
                      <a:ln>
                        <a:noFill/>
                      </a:ln>
                      <a:solidFill>
                        <a:srgbClr val="FFFFFF"/>
                      </a:solidFill>
                      <a:effectLst/>
                      <a:uLnTx/>
                      <a:uFillTx/>
                      <a:latin typeface="Calibri"/>
                      <a:ea typeface="+mn-ea"/>
                      <a:cs typeface="+mn-cs"/>
                    </a:rPr>
                    <a:t>Leader</a:t>
                  </a:r>
                  <a:r>
                    <a:rPr kumimoji="0" lang="en-US" sz="1632" b="0" i="0" u="none" strike="noStrike" kern="0" cap="none" spc="0" normalizeH="0" baseline="0" noProof="0" dirty="0">
                      <a:ln>
                        <a:noFill/>
                      </a:ln>
                      <a:solidFill>
                        <a:srgbClr val="FFFFFF"/>
                      </a:solidFill>
                      <a:effectLst/>
                      <a:uLnTx/>
                      <a:uFillTx/>
                      <a:latin typeface="Calibri"/>
                      <a:ea typeface="+mn-ea"/>
                      <a:cs typeface="+mn-cs"/>
                    </a:rPr>
                    <a:t> in Financial Services”</a:t>
                  </a:r>
                </a:p>
              </p:txBody>
            </p:sp>
            <p:pic>
              <p:nvPicPr>
                <p:cNvPr id="18" name="Picture 17"/>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6661101" y="5660686"/>
                  <a:ext cx="1645538" cy="382037"/>
                </a:xfrm>
                <a:prstGeom prst="rect">
                  <a:avLst/>
                </a:prstGeom>
              </p:spPr>
            </p:pic>
          </p:grpSp>
        </p:grpSp>
        <p:grpSp>
          <p:nvGrpSpPr>
            <p:cNvPr id="15" name="Group 18"/>
            <p:cNvGrpSpPr/>
            <p:nvPr/>
          </p:nvGrpSpPr>
          <p:grpSpPr>
            <a:xfrm>
              <a:off x="4785360" y="4988560"/>
              <a:ext cx="2611120" cy="1209040"/>
              <a:chOff x="3312160" y="4988560"/>
              <a:chExt cx="2611120" cy="1209040"/>
            </a:xfrm>
          </p:grpSpPr>
          <p:sp>
            <p:nvSpPr>
              <p:cNvPr id="20" name="Rectangle 19"/>
              <p:cNvSpPr/>
              <p:nvPr/>
            </p:nvSpPr>
            <p:spPr bwMode="auto">
              <a:xfrm>
                <a:off x="3322320" y="4998720"/>
                <a:ext cx="2600960" cy="518160"/>
              </a:xfrm>
              <a:prstGeom prst="rect">
                <a:avLst/>
              </a:prstGeom>
              <a:solidFill>
                <a:schemeClr val="tx1">
                  <a:alpha val="82000"/>
                </a:schemeClr>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1" name="Rectangle 20"/>
              <p:cNvSpPr/>
              <p:nvPr/>
            </p:nvSpPr>
            <p:spPr bwMode="auto">
              <a:xfrm>
                <a:off x="3312160" y="4988560"/>
                <a:ext cx="2606040" cy="1209040"/>
              </a:xfrm>
              <a:prstGeom prst="rect">
                <a:avLst/>
              </a:prstGeom>
              <a:noFill/>
              <a:ln w="15875" cap="flat" cmpd="sng" algn="ctr">
                <a:solidFill>
                  <a:schemeClr val="tx1"/>
                </a:solid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2" name="TextBox 21"/>
              <p:cNvSpPr txBox="1"/>
              <p:nvPr/>
            </p:nvSpPr>
            <p:spPr>
              <a:xfrm>
                <a:off x="3312160" y="4997661"/>
                <a:ext cx="2611120" cy="472950"/>
              </a:xfrm>
              <a:prstGeom prst="rect">
                <a:avLst/>
              </a:prstGeom>
              <a:noFill/>
            </p:spPr>
            <p:txBody>
              <a:bodyPr wrap="square" lIns="18652" tIns="18652" rIns="18652" bIns="18652" rtlCol="0">
                <a:spAutoFit/>
              </a:bodyPr>
              <a:lstStyle/>
              <a:p>
                <a:pPr marL="0" marR="0" lvl="0" indent="0" algn="ctr" defTabSz="932597" rtl="0" eaLnBrk="1" fontAlgn="auto" latinLnBrk="0" hangingPunct="1">
                  <a:lnSpc>
                    <a:spcPts val="1734"/>
                  </a:lnSpc>
                  <a:spcBef>
                    <a:spcPts val="0"/>
                  </a:spcBef>
                  <a:spcAft>
                    <a:spcPts val="0"/>
                  </a:spcAft>
                  <a:buClrTx/>
                  <a:buSzTx/>
                  <a:buFontTx/>
                  <a:buNone/>
                  <a:tabLst/>
                  <a:defRPr/>
                </a:pPr>
                <a:r>
                  <a:rPr kumimoji="0" lang="en-US" sz="1428" b="0" i="0" u="none" strike="noStrike" kern="0" cap="none" spc="0" normalizeH="0" baseline="0" noProof="0" dirty="0">
                    <a:ln>
                      <a:noFill/>
                    </a:ln>
                    <a:solidFill>
                      <a:srgbClr val="FFFFFF"/>
                    </a:solidFill>
                    <a:effectLst/>
                    <a:uLnTx/>
                    <a:uFillTx/>
                    <a:latin typeface="Calibri"/>
                    <a:ea typeface="+mn-ea"/>
                    <a:cs typeface="+mn-cs"/>
                  </a:rPr>
                  <a:t>IBM Beacon Awards </a:t>
                </a:r>
                <a:br>
                  <a:rPr kumimoji="0" lang="en-US" sz="1428" b="0" i="0" u="none" strike="noStrike" kern="0" cap="none" spc="0" normalizeH="0" baseline="0" noProof="0" dirty="0">
                    <a:ln>
                      <a:noFill/>
                    </a:ln>
                    <a:solidFill>
                      <a:srgbClr val="FFFFFF"/>
                    </a:solidFill>
                    <a:effectLst/>
                    <a:uLnTx/>
                    <a:uFillTx/>
                    <a:latin typeface="Calibri"/>
                    <a:ea typeface="+mn-ea"/>
                    <a:cs typeface="+mn-cs"/>
                  </a:rPr>
                </a:br>
                <a:r>
                  <a:rPr kumimoji="0" lang="en-US" sz="1428" b="0" i="0" u="none" strike="noStrike" kern="0" cap="none" spc="0" normalizeH="0" baseline="0" noProof="0" dirty="0">
                    <a:ln>
                      <a:noFill/>
                    </a:ln>
                    <a:solidFill>
                      <a:srgbClr val="FFFFFF"/>
                    </a:solidFill>
                    <a:effectLst/>
                    <a:uLnTx/>
                    <a:uFillTx/>
                    <a:latin typeface="Calibri"/>
                    <a:ea typeface="+mn-ea"/>
                    <a:cs typeface="+mn-cs"/>
                  </a:rPr>
                  <a:t>Banking &amp; Insurance</a:t>
                </a:r>
              </a:p>
            </p:txBody>
          </p:sp>
          <p:pic>
            <p:nvPicPr>
              <p:cNvPr id="23" name="Picture 22" descr="IBM logo.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043680" y="5552529"/>
                <a:ext cx="1068481" cy="598350"/>
              </a:xfrm>
              <a:prstGeom prst="rect">
                <a:avLst/>
              </a:prstGeom>
            </p:spPr>
          </p:pic>
        </p:grpSp>
        <p:grpSp>
          <p:nvGrpSpPr>
            <p:cNvPr id="19" name="Group 24"/>
            <p:cNvGrpSpPr/>
            <p:nvPr/>
          </p:nvGrpSpPr>
          <p:grpSpPr>
            <a:xfrm>
              <a:off x="1793240" y="4988560"/>
              <a:ext cx="2621280" cy="1209040"/>
              <a:chOff x="447040" y="4988560"/>
              <a:chExt cx="2621280" cy="1209040"/>
            </a:xfrm>
          </p:grpSpPr>
          <p:sp>
            <p:nvSpPr>
              <p:cNvPr id="26" name="Rectangle 25"/>
              <p:cNvSpPr/>
              <p:nvPr/>
            </p:nvSpPr>
            <p:spPr bwMode="auto">
              <a:xfrm>
                <a:off x="467360" y="4998720"/>
                <a:ext cx="2600960" cy="518160"/>
              </a:xfrm>
              <a:prstGeom prst="rect">
                <a:avLst/>
              </a:prstGeom>
              <a:solidFill>
                <a:schemeClr val="tx1">
                  <a:alpha val="82000"/>
                </a:schemeClr>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27" name="Picture 26" descr="Aragon.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63600" y="5586483"/>
                <a:ext cx="1623078" cy="571083"/>
              </a:xfrm>
              <a:prstGeom prst="rect">
                <a:avLst/>
              </a:prstGeom>
            </p:spPr>
          </p:pic>
          <p:sp>
            <p:nvSpPr>
              <p:cNvPr id="28" name="TextBox 27"/>
              <p:cNvSpPr txBox="1"/>
              <p:nvPr/>
            </p:nvSpPr>
            <p:spPr>
              <a:xfrm>
                <a:off x="447040" y="4997661"/>
                <a:ext cx="2621280" cy="476412"/>
              </a:xfrm>
              <a:prstGeom prst="rect">
                <a:avLst/>
              </a:prstGeom>
              <a:noFill/>
            </p:spPr>
            <p:txBody>
              <a:bodyPr wrap="square" lIns="18652" tIns="18652" rIns="18652" bIns="18652"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FFFFFF"/>
                    </a:solidFill>
                    <a:effectLst/>
                    <a:uLnTx/>
                    <a:uFillTx/>
                    <a:latin typeface="Calibri"/>
                    <a:ea typeface="+mn-ea"/>
                    <a:cs typeface="+mn-cs"/>
                  </a:rPr>
                  <a:t>“A </a:t>
                </a:r>
                <a:r>
                  <a:rPr kumimoji="0" lang="en-US" sz="1428" b="1" i="0" u="none" strike="noStrike" kern="0" cap="none" spc="0" normalizeH="0" baseline="0" noProof="0" dirty="0">
                    <a:ln>
                      <a:noFill/>
                    </a:ln>
                    <a:solidFill>
                      <a:srgbClr val="FFFFFF"/>
                    </a:solidFill>
                    <a:effectLst/>
                    <a:uLnTx/>
                    <a:uFillTx/>
                    <a:latin typeface="Calibri"/>
                    <a:ea typeface="+mn-ea"/>
                    <a:cs typeface="+mn-cs"/>
                  </a:rPr>
                  <a:t>Leader</a:t>
                </a:r>
                <a:r>
                  <a:rPr kumimoji="0" lang="en-US" sz="1428" b="0" i="0" u="none" strike="noStrike" kern="0" cap="none" spc="0" normalizeH="0" baseline="0" noProof="0" dirty="0">
                    <a:ln>
                      <a:noFill/>
                    </a:ln>
                    <a:solidFill>
                      <a:srgbClr val="FFFFFF"/>
                    </a:solidFill>
                    <a:effectLst/>
                    <a:uLnTx/>
                    <a:uFillTx/>
                    <a:latin typeface="Calibri"/>
                    <a:ea typeface="+mn-ea"/>
                    <a:cs typeface="+mn-cs"/>
                  </a:rPr>
                  <a:t> in Digital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FFFFFF"/>
                    </a:solidFill>
                    <a:effectLst/>
                    <a:uLnTx/>
                    <a:uFillTx/>
                    <a:latin typeface="Calibri"/>
                    <a:ea typeface="+mn-ea"/>
                    <a:cs typeface="+mn-cs"/>
                  </a:rPr>
                  <a:t>Transaction Management”</a:t>
                </a:r>
              </a:p>
            </p:txBody>
          </p:sp>
          <p:sp>
            <p:nvSpPr>
              <p:cNvPr id="29" name="Rectangle 28"/>
              <p:cNvSpPr/>
              <p:nvPr/>
            </p:nvSpPr>
            <p:spPr bwMode="auto">
              <a:xfrm>
                <a:off x="457200" y="4988560"/>
                <a:ext cx="2606040" cy="1209040"/>
              </a:xfrm>
              <a:prstGeom prst="rect">
                <a:avLst/>
              </a:prstGeom>
              <a:noFill/>
              <a:ln w="15875" cap="flat" cmpd="sng" algn="ctr">
                <a:solidFill>
                  <a:schemeClr val="tx1"/>
                </a:solid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sp>
        <p:nvSpPr>
          <p:cNvPr id="31" name="Title 3"/>
          <p:cNvSpPr txBox="1">
            <a:spLocks/>
          </p:cNvSpPr>
          <p:nvPr/>
        </p:nvSpPr>
        <p:spPr bwMode="auto">
          <a:xfrm>
            <a:off x="882" y="273361"/>
            <a:ext cx="12434711" cy="564258"/>
          </a:xfrm>
          <a:prstGeom prst="rect">
            <a:avLst/>
          </a:prstGeom>
          <a:noFill/>
          <a:ln w="9525">
            <a:noFill/>
            <a:miter lim="800000"/>
            <a:headEnd/>
            <a:tailEnd/>
          </a:ln>
          <a:effectLst/>
        </p:spPr>
        <p:txBody>
          <a:bodyPr vert="horz" wrap="square" lIns="46630" tIns="46630" rIns="46630" bIns="0" numCol="1" anchor="ctr" anchorCtr="0" compatLnSpc="1">
            <a:prstTxWarp prst="textNoShape">
              <a:avLst/>
            </a:prstTxWarp>
          </a:bodyPr>
          <a:lstStyle/>
          <a:p>
            <a:pPr marL="0" marR="0" lvl="0" indent="0" algn="ctr" defTabSz="932597" rtl="0" eaLnBrk="1" fontAlgn="base" latinLnBrk="0" hangingPunct="1">
              <a:lnSpc>
                <a:spcPct val="90000"/>
              </a:lnSpc>
              <a:spcBef>
                <a:spcPct val="0"/>
              </a:spcBef>
              <a:spcAft>
                <a:spcPct val="0"/>
              </a:spcAft>
              <a:buClrTx/>
              <a:buSzTx/>
              <a:buFontTx/>
              <a:buNone/>
              <a:tabLst/>
              <a:defRPr/>
            </a:pPr>
            <a:endParaRPr kumimoji="0" lang="en-US" sz="2652" b="0" i="0" u="none" strike="noStrike" kern="0" cap="none" spc="0" normalizeH="0" baseline="0" noProof="0" dirty="0">
              <a:ln>
                <a:noFill/>
              </a:ln>
              <a:solidFill>
                <a:sysClr val="windowText" lastClr="000000"/>
              </a:solidFill>
              <a:effectLst/>
              <a:uLnTx/>
              <a:uFillTx/>
              <a:latin typeface="Calibri"/>
              <a:ea typeface="+mn-ea"/>
              <a:cs typeface="Arial" pitchFamily="34" charset="0"/>
            </a:endParaRPr>
          </a:p>
          <a:p>
            <a:pPr marL="0" marR="0" lvl="0" indent="0" algn="ctr" defTabSz="932597" rtl="0" eaLnBrk="1" fontAlgn="base" latinLnBrk="0" hangingPunct="1">
              <a:lnSpc>
                <a:spcPct val="90000"/>
              </a:lnSpc>
              <a:spcBef>
                <a:spcPct val="0"/>
              </a:spcBef>
              <a:spcAft>
                <a:spcPct val="0"/>
              </a:spcAft>
              <a:buClrTx/>
              <a:buSzTx/>
              <a:buFontTx/>
              <a:buNone/>
              <a:tabLst/>
              <a:defRPr/>
            </a:pPr>
            <a:r>
              <a:rPr kumimoji="0" lang="en-US" sz="4896" b="0" i="0" u="none" strike="noStrike" kern="0" cap="none" spc="0" normalizeH="0" baseline="0" noProof="0" dirty="0">
                <a:ln>
                  <a:noFill/>
                </a:ln>
                <a:solidFill>
                  <a:srgbClr val="52A5D8"/>
                </a:solidFill>
                <a:effectLst/>
                <a:uLnTx/>
                <a:uFillTx/>
                <a:latin typeface="Calibri"/>
                <a:ea typeface="+mn-ea"/>
                <a:cs typeface="Arial" pitchFamily="34" charset="0"/>
              </a:rPr>
              <a:t> NO. 1</a:t>
            </a:r>
          </a:p>
          <a:p>
            <a:pPr marL="0" marR="0" lvl="0" indent="0" algn="ctr" defTabSz="932597"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dirty="0">
                <a:ln>
                  <a:noFill/>
                </a:ln>
                <a:solidFill>
                  <a:srgbClr val="333333">
                    <a:lumMod val="90000"/>
                    <a:lumOff val="10000"/>
                  </a:srgbClr>
                </a:solidFill>
                <a:effectLst/>
                <a:uLnTx/>
                <a:uFillTx/>
                <a:latin typeface="Calibri"/>
                <a:ea typeface="+mn-ea"/>
                <a:cs typeface="Arial" pitchFamily="34" charset="0"/>
              </a:rPr>
              <a:t>Among industry analysts, customers and technology partners</a:t>
            </a:r>
          </a:p>
        </p:txBody>
      </p:sp>
    </p:spTree>
    <p:extLst>
      <p:ext uri="{BB962C8B-B14F-4D97-AF65-F5344CB8AC3E}">
        <p14:creationId xmlns:p14="http://schemas.microsoft.com/office/powerpoint/2010/main" val="801399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Rectangle 116"/>
          <p:cNvSpPr/>
          <p:nvPr/>
        </p:nvSpPr>
        <p:spPr bwMode="auto">
          <a:xfrm>
            <a:off x="838498" y="1847937"/>
            <a:ext cx="10932184" cy="474935"/>
          </a:xfrm>
          <a:prstGeom prst="rect">
            <a:avLst/>
          </a:prstGeom>
          <a:solidFill>
            <a:schemeClr val="bg1">
              <a:lumMod val="85000"/>
            </a:schemeClr>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33333"/>
              </a:solidFill>
              <a:effectLst/>
              <a:uLnTx/>
              <a:uFillTx/>
              <a:latin typeface="Calibri"/>
              <a:ea typeface="+mn-ea"/>
              <a:cs typeface="+mn-cs"/>
            </a:endParaRPr>
          </a:p>
        </p:txBody>
      </p:sp>
      <p:sp>
        <p:nvSpPr>
          <p:cNvPr id="2" name="Slide Number Placeholder 1"/>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F71C7896-8E11-4384-BFC5-C0974CDBC83D}" type="slidenum">
              <a:rPr kumimoji="0" lang="en-US" sz="1836" b="0" i="0" u="none" strike="noStrike" kern="0" cap="none" spc="0" normalizeH="0" baseline="0" noProof="0">
                <a:ln>
                  <a:noFill/>
                </a:ln>
                <a:solidFill>
                  <a:srgbClr val="333333"/>
                </a:solidFill>
                <a:effectLst/>
                <a:uLnTx/>
                <a:uFillTx/>
                <a:latin typeface="Calibr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127</a:t>
            </a:fld>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sp>
        <p:nvSpPr>
          <p:cNvPr id="4" name="Title 3"/>
          <p:cNvSpPr>
            <a:spLocks noGrp="1"/>
          </p:cNvSpPr>
          <p:nvPr>
            <p:ph type="title"/>
          </p:nvPr>
        </p:nvSpPr>
        <p:spPr/>
        <p:txBody>
          <a:bodyPr/>
          <a:lstStyle/>
          <a:p>
            <a:r>
              <a:rPr lang="en-US" dirty="0"/>
              <a:t>The e-signing workflow</a:t>
            </a:r>
          </a:p>
        </p:txBody>
      </p:sp>
      <p:sp>
        <p:nvSpPr>
          <p:cNvPr id="5" name="Rectangle 4"/>
          <p:cNvSpPr/>
          <p:nvPr/>
        </p:nvSpPr>
        <p:spPr>
          <a:xfrm rot="10800000">
            <a:off x="878" y="3945436"/>
            <a:ext cx="12434714" cy="523293"/>
          </a:xfrm>
          <a:prstGeom prst="rect">
            <a:avLst/>
          </a:prstGeom>
          <a:gradFill flip="none" rotWithShape="1">
            <a:gsLst>
              <a:gs pos="1000">
                <a:sysClr val="window" lastClr="FFFFFF">
                  <a:lumMod val="85000"/>
                </a:sysClr>
              </a:gs>
              <a:gs pos="100000">
                <a:srgbClr val="FFFFFF"/>
              </a:gs>
            </a:gsLst>
            <a:lin ang="16200000" scaled="0"/>
            <a:tileRect/>
          </a:gra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6" name="Rectangle 5"/>
          <p:cNvSpPr/>
          <p:nvPr/>
        </p:nvSpPr>
        <p:spPr bwMode="auto">
          <a:xfrm>
            <a:off x="6399571" y="4294298"/>
            <a:ext cx="4177719" cy="241786"/>
          </a:xfrm>
          <a:prstGeom prst="rect">
            <a:avLst/>
          </a:prstGeom>
          <a:solidFill>
            <a:schemeClr val="accent2"/>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sp>
        <p:nvSpPr>
          <p:cNvPr id="15" name="Isosceles Triangle 14"/>
          <p:cNvSpPr/>
          <p:nvPr/>
        </p:nvSpPr>
        <p:spPr>
          <a:xfrm rot="16200000">
            <a:off x="9151430" y="6137961"/>
            <a:ext cx="90838" cy="5663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Calibri"/>
              <a:ea typeface="+mn-ea"/>
              <a:cs typeface="+mn-cs"/>
            </a:endParaRPr>
          </a:p>
        </p:txBody>
      </p:sp>
      <p:sp>
        <p:nvSpPr>
          <p:cNvPr id="16" name="Isosceles Triangle 15"/>
          <p:cNvSpPr/>
          <p:nvPr/>
        </p:nvSpPr>
        <p:spPr>
          <a:xfrm rot="16200000">
            <a:off x="8991398" y="6138112"/>
            <a:ext cx="90838" cy="5663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Calibri"/>
              <a:ea typeface="+mn-ea"/>
              <a:cs typeface="+mn-cs"/>
            </a:endParaRPr>
          </a:p>
        </p:txBody>
      </p:sp>
      <p:sp>
        <p:nvSpPr>
          <p:cNvPr id="17" name="Isosceles Triangle 16"/>
          <p:cNvSpPr/>
          <p:nvPr/>
        </p:nvSpPr>
        <p:spPr>
          <a:xfrm rot="16200000">
            <a:off x="8832877" y="6137961"/>
            <a:ext cx="90838" cy="5663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Calibri"/>
              <a:ea typeface="+mn-ea"/>
              <a:cs typeface="+mn-cs"/>
            </a:endParaRPr>
          </a:p>
        </p:txBody>
      </p:sp>
      <p:sp>
        <p:nvSpPr>
          <p:cNvPr id="18" name="Isosceles Triangle 17"/>
          <p:cNvSpPr/>
          <p:nvPr/>
        </p:nvSpPr>
        <p:spPr>
          <a:xfrm rot="14460000">
            <a:off x="9308884" y="6123821"/>
            <a:ext cx="90838" cy="5663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Calibri"/>
              <a:ea typeface="+mn-ea"/>
              <a:cs typeface="+mn-cs"/>
            </a:endParaRPr>
          </a:p>
        </p:txBody>
      </p:sp>
      <p:grpSp>
        <p:nvGrpSpPr>
          <p:cNvPr id="107" name="Group 106"/>
          <p:cNvGrpSpPr/>
          <p:nvPr/>
        </p:nvGrpSpPr>
        <p:grpSpPr>
          <a:xfrm>
            <a:off x="2341036" y="2597504"/>
            <a:ext cx="1447262" cy="1423007"/>
            <a:chOff x="2294477" y="2546805"/>
            <a:chExt cx="1419013" cy="1395232"/>
          </a:xfrm>
        </p:grpSpPr>
        <p:sp>
          <p:nvSpPr>
            <p:cNvPr id="22" name="TextBox 21"/>
            <p:cNvSpPr txBox="1"/>
            <p:nvPr/>
          </p:nvSpPr>
          <p:spPr>
            <a:xfrm>
              <a:off x="2362210" y="2774191"/>
              <a:ext cx="1351280" cy="1167846"/>
            </a:xfrm>
            <a:prstGeom prst="rect">
              <a:avLst/>
            </a:prstGeom>
            <a:noFill/>
          </p:spPr>
          <p:txBody>
            <a:bodyPr wrap="square" rtlCol="0">
              <a:spAutoFit/>
            </a:bodyPr>
            <a:lstStyle/>
            <a:p>
              <a:pPr marL="83934" marR="0" lvl="0" indent="-8393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rPr>
                <a:t>Username/password</a:t>
              </a:r>
            </a:p>
            <a:p>
              <a:pPr marL="83934" marR="0" lvl="0" indent="-8393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rPr>
                <a:t>Email invite</a:t>
              </a:r>
            </a:p>
            <a:p>
              <a:pPr marL="83934" marR="0" lvl="0" indent="-8393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rPr>
                <a:t>SMS Text</a:t>
              </a:r>
            </a:p>
            <a:p>
              <a:pPr marL="83934" marR="0" lvl="0" indent="-8393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rPr>
                <a:t>Challenge-Response</a:t>
              </a:r>
            </a:p>
            <a:p>
              <a:pPr marL="83934" marR="0" lvl="0" indent="-8393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rPr>
                <a:t>3</a:t>
              </a:r>
              <a:r>
                <a:rPr kumimoji="0" lang="en-US" sz="1020" b="0" i="0" u="none" strike="noStrike" kern="0" cap="none" spc="0" normalizeH="0" baseline="30000" noProof="0" dirty="0">
                  <a:ln>
                    <a:noFill/>
                  </a:ln>
                  <a:solidFill>
                    <a:srgbClr val="333333">
                      <a:lumMod val="90000"/>
                      <a:lumOff val="10000"/>
                    </a:srgbClr>
                  </a:solidFill>
                  <a:effectLst/>
                  <a:uLnTx/>
                  <a:uFillTx/>
                  <a:latin typeface="Calibri"/>
                  <a:ea typeface="+mn-ea"/>
                  <a:cs typeface="+mn-cs"/>
                </a:rPr>
                <a:t>rd</a:t>
              </a:r>
              <a:r>
                <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rPr>
                <a:t> Party ID Provider</a:t>
              </a:r>
            </a:p>
            <a:p>
              <a:pPr marL="83934" marR="0" lvl="0" indent="-8393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rPr>
                <a:t>DIGIPASS</a:t>
              </a:r>
            </a:p>
            <a:p>
              <a:pPr marL="83934" marR="0" lvl="0" indent="-83934" algn="l" defTabSz="932597" rtl="0"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p:txBody>
        </p:sp>
        <p:sp>
          <p:nvSpPr>
            <p:cNvPr id="28" name="Rectangle 27"/>
            <p:cNvSpPr/>
            <p:nvPr/>
          </p:nvSpPr>
          <p:spPr>
            <a:xfrm>
              <a:off x="2294477" y="2546805"/>
              <a:ext cx="1349587" cy="54353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32597" rtl="0" eaLnBrk="1" fontAlgn="auto" latinLnBrk="0" hangingPunct="1">
                <a:lnSpc>
                  <a:spcPts val="1489"/>
                </a:lnSpc>
                <a:spcBef>
                  <a:spcPts val="0"/>
                </a:spcBef>
                <a:spcAft>
                  <a:spcPts val="0"/>
                </a:spcAft>
                <a:buClrTx/>
                <a:buSzTx/>
                <a:buFontTx/>
                <a:buNone/>
                <a:tabLst/>
                <a:defRPr/>
              </a:pPr>
              <a:r>
                <a:rPr kumimoji="0" lang="en-US" sz="1326" b="1" i="0" u="none" strike="noStrike" kern="0" cap="none" spc="0" normalizeH="0" baseline="0" noProof="0" dirty="0">
                  <a:ln>
                    <a:noFill/>
                  </a:ln>
                  <a:solidFill>
                    <a:srgbClr val="333333">
                      <a:lumMod val="90000"/>
                      <a:lumOff val="10000"/>
                    </a:srgbClr>
                  </a:solidFill>
                  <a:effectLst/>
                  <a:uLnTx/>
                  <a:uFillTx/>
                  <a:latin typeface="Calibri"/>
                  <a:ea typeface="+mn-ea"/>
                  <a:cs typeface="+mn-cs"/>
                </a:rPr>
                <a:t>Authenticate</a:t>
              </a:r>
            </a:p>
          </p:txBody>
        </p:sp>
      </p:grpSp>
      <p:grpSp>
        <p:nvGrpSpPr>
          <p:cNvPr id="119" name="Group 118"/>
          <p:cNvGrpSpPr/>
          <p:nvPr/>
        </p:nvGrpSpPr>
        <p:grpSpPr>
          <a:xfrm>
            <a:off x="4106069" y="2597505"/>
            <a:ext cx="1129486" cy="646262"/>
            <a:chOff x="4025059" y="2546805"/>
            <a:chExt cx="1107440" cy="633648"/>
          </a:xfrm>
        </p:grpSpPr>
        <p:sp>
          <p:nvSpPr>
            <p:cNvPr id="20" name="TextBox 19"/>
            <p:cNvSpPr txBox="1"/>
            <p:nvPr/>
          </p:nvSpPr>
          <p:spPr>
            <a:xfrm>
              <a:off x="4197789" y="2774188"/>
              <a:ext cx="863599" cy="406265"/>
            </a:xfrm>
            <a:prstGeom prst="rect">
              <a:avLst/>
            </a:prstGeom>
            <a:noFill/>
          </p:spPr>
          <p:txBody>
            <a:bodyPr wrap="square" rtlCol="0">
              <a:spAutoFit/>
            </a:bodyPr>
            <a:lstStyle/>
            <a:p>
              <a:pPr marL="83934" marR="0" lvl="0" indent="-8393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rPr>
                <a:t>On-screen</a:t>
              </a:r>
            </a:p>
            <a:p>
              <a:pPr marL="83934" marR="0" lvl="0" indent="-8393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rPr>
                <a:t>On-paper</a:t>
              </a:r>
            </a:p>
          </p:txBody>
        </p:sp>
        <p:sp>
          <p:nvSpPr>
            <p:cNvPr id="29" name="Rectangle 28"/>
            <p:cNvSpPr/>
            <p:nvPr/>
          </p:nvSpPr>
          <p:spPr>
            <a:xfrm>
              <a:off x="4025059" y="2546805"/>
              <a:ext cx="1107440" cy="54353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32597" rtl="0" eaLnBrk="1" fontAlgn="auto" latinLnBrk="0" hangingPunct="1">
                <a:lnSpc>
                  <a:spcPts val="1489"/>
                </a:lnSpc>
                <a:spcBef>
                  <a:spcPts val="0"/>
                </a:spcBef>
                <a:spcAft>
                  <a:spcPts val="0"/>
                </a:spcAft>
                <a:buClrTx/>
                <a:buSzTx/>
                <a:buFontTx/>
                <a:buNone/>
                <a:tabLst/>
                <a:defRPr/>
              </a:pPr>
              <a:r>
                <a:rPr kumimoji="0" lang="en-US" sz="1326" b="1" i="0" u="none" strike="noStrike" kern="0" cap="none" spc="0" normalizeH="0" baseline="0" noProof="0" dirty="0">
                  <a:ln>
                    <a:noFill/>
                  </a:ln>
                  <a:solidFill>
                    <a:srgbClr val="333333">
                      <a:lumMod val="90000"/>
                      <a:lumOff val="10000"/>
                    </a:srgbClr>
                  </a:solidFill>
                  <a:effectLst/>
                  <a:uLnTx/>
                  <a:uFillTx/>
                  <a:latin typeface="Calibri"/>
                  <a:ea typeface="+mn-ea"/>
                  <a:cs typeface="+mn-cs"/>
                </a:rPr>
                <a:t>Present</a:t>
              </a:r>
            </a:p>
          </p:txBody>
        </p:sp>
      </p:grpSp>
      <p:grpSp>
        <p:nvGrpSpPr>
          <p:cNvPr id="121" name="Group 120"/>
          <p:cNvGrpSpPr/>
          <p:nvPr/>
        </p:nvGrpSpPr>
        <p:grpSpPr>
          <a:xfrm>
            <a:off x="7379673" y="2597505"/>
            <a:ext cx="1221023" cy="1126536"/>
            <a:chOff x="7234766" y="2546805"/>
            <a:chExt cx="1197190" cy="1104547"/>
          </a:xfrm>
        </p:grpSpPr>
        <p:sp>
          <p:nvSpPr>
            <p:cNvPr id="21" name="TextBox 20"/>
            <p:cNvSpPr txBox="1"/>
            <p:nvPr/>
          </p:nvSpPr>
          <p:spPr>
            <a:xfrm>
              <a:off x="7244385" y="2774189"/>
              <a:ext cx="1187571" cy="877163"/>
            </a:xfrm>
            <a:prstGeom prst="rect">
              <a:avLst/>
            </a:prstGeom>
            <a:noFill/>
          </p:spPr>
          <p:txBody>
            <a:bodyPr wrap="square" rtlCol="0">
              <a:spAutoFit/>
            </a:bodyPr>
            <a:lstStyle/>
            <a:p>
              <a:pPr marL="83934" marR="0" lvl="0" indent="-8393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rPr>
                <a:t>Ancillary docs (e.g. drivers license)</a:t>
              </a:r>
            </a:p>
            <a:p>
              <a:pPr marL="83934" marR="0" lvl="0" indent="-8393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rPr>
                <a:t>Mandatory &amp; Optional</a:t>
              </a:r>
            </a:p>
          </p:txBody>
        </p:sp>
        <p:sp>
          <p:nvSpPr>
            <p:cNvPr id="30" name="Rectangle 29"/>
            <p:cNvSpPr/>
            <p:nvPr/>
          </p:nvSpPr>
          <p:spPr>
            <a:xfrm>
              <a:off x="7234766" y="2546805"/>
              <a:ext cx="1117600" cy="54353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32597" rtl="0" eaLnBrk="1" fontAlgn="auto" latinLnBrk="0" hangingPunct="1">
                <a:lnSpc>
                  <a:spcPts val="1489"/>
                </a:lnSpc>
                <a:spcBef>
                  <a:spcPts val="0"/>
                </a:spcBef>
                <a:spcAft>
                  <a:spcPts val="0"/>
                </a:spcAft>
                <a:buClrTx/>
                <a:buSzTx/>
                <a:buFontTx/>
                <a:buNone/>
                <a:tabLst/>
                <a:defRPr/>
              </a:pPr>
              <a:r>
                <a:rPr kumimoji="0" lang="en-US" sz="1326" b="1" i="0" u="none" strike="noStrike" kern="0" cap="none" spc="0" normalizeH="0" baseline="0" noProof="0" dirty="0">
                  <a:ln>
                    <a:noFill/>
                  </a:ln>
                  <a:solidFill>
                    <a:srgbClr val="333333">
                      <a:lumMod val="90000"/>
                      <a:lumOff val="10000"/>
                    </a:srgbClr>
                  </a:solidFill>
                  <a:effectLst/>
                  <a:uLnTx/>
                  <a:uFillTx/>
                  <a:latin typeface="Calibri"/>
                  <a:ea typeface="+mn-ea"/>
                  <a:cs typeface="+mn-cs"/>
                </a:rPr>
                <a:t>Doc Insertion</a:t>
              </a:r>
            </a:p>
          </p:txBody>
        </p:sp>
      </p:grpSp>
      <p:grpSp>
        <p:nvGrpSpPr>
          <p:cNvPr id="122" name="Group 121"/>
          <p:cNvGrpSpPr/>
          <p:nvPr/>
        </p:nvGrpSpPr>
        <p:grpSpPr>
          <a:xfrm>
            <a:off x="8984956" y="2597505"/>
            <a:ext cx="1331562" cy="1126536"/>
            <a:chOff x="8808716" y="2546805"/>
            <a:chExt cx="1305571" cy="1104547"/>
          </a:xfrm>
        </p:grpSpPr>
        <p:sp>
          <p:nvSpPr>
            <p:cNvPr id="24" name="TextBox 23"/>
            <p:cNvSpPr txBox="1"/>
            <p:nvPr/>
          </p:nvSpPr>
          <p:spPr>
            <a:xfrm>
              <a:off x="9002882" y="2774189"/>
              <a:ext cx="1111405" cy="877163"/>
            </a:xfrm>
            <a:prstGeom prst="rect">
              <a:avLst/>
            </a:prstGeom>
            <a:noFill/>
          </p:spPr>
          <p:txBody>
            <a:bodyPr wrap="square" rtlCol="0">
              <a:spAutoFit/>
            </a:bodyPr>
            <a:lstStyle/>
            <a:p>
              <a:pPr marL="83934" marR="0" lvl="0" indent="-8393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rPr>
                <a:t>Click-to-Sign</a:t>
              </a:r>
            </a:p>
            <a:p>
              <a:pPr marL="83934" marR="0" lvl="0" indent="-8393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rPr>
                <a:t>Click-to-Initial</a:t>
              </a:r>
            </a:p>
            <a:p>
              <a:pPr marL="83934" marR="0" lvl="0" indent="-8393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rPr>
                <a:t>Signature Capture</a:t>
              </a:r>
            </a:p>
            <a:p>
              <a:pPr marL="83934" marR="0" lvl="0" indent="-8393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rPr>
                <a:t>UYOD</a:t>
              </a:r>
            </a:p>
          </p:txBody>
        </p:sp>
        <p:sp>
          <p:nvSpPr>
            <p:cNvPr id="31" name="Rectangle 30"/>
            <p:cNvSpPr/>
            <p:nvPr/>
          </p:nvSpPr>
          <p:spPr>
            <a:xfrm>
              <a:off x="8808716" y="2546805"/>
              <a:ext cx="1137920" cy="54353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32597" rtl="0" eaLnBrk="1" fontAlgn="auto" latinLnBrk="0" hangingPunct="1">
                <a:lnSpc>
                  <a:spcPts val="1489"/>
                </a:lnSpc>
                <a:spcBef>
                  <a:spcPts val="0"/>
                </a:spcBef>
                <a:spcAft>
                  <a:spcPts val="0"/>
                </a:spcAft>
                <a:buClrTx/>
                <a:buSzTx/>
                <a:buFontTx/>
                <a:buNone/>
                <a:tabLst/>
                <a:defRPr/>
              </a:pPr>
              <a:r>
                <a:rPr kumimoji="0" lang="en-US" sz="1326" b="1" i="0" u="none" strike="noStrike" kern="0" cap="none" spc="0" normalizeH="0" baseline="0" noProof="0" dirty="0">
                  <a:ln>
                    <a:noFill/>
                  </a:ln>
                  <a:solidFill>
                    <a:srgbClr val="333333">
                      <a:lumMod val="90000"/>
                      <a:lumOff val="10000"/>
                    </a:srgbClr>
                  </a:solidFill>
                  <a:effectLst/>
                  <a:uLnTx/>
                  <a:uFillTx/>
                  <a:latin typeface="Calibri"/>
                  <a:ea typeface="+mn-ea"/>
                  <a:cs typeface="+mn-cs"/>
                </a:rPr>
                <a:t>Sign</a:t>
              </a:r>
            </a:p>
          </p:txBody>
        </p:sp>
      </p:grpSp>
      <p:grpSp>
        <p:nvGrpSpPr>
          <p:cNvPr id="120" name="Group 119"/>
          <p:cNvGrpSpPr/>
          <p:nvPr/>
        </p:nvGrpSpPr>
        <p:grpSpPr>
          <a:xfrm>
            <a:off x="5746754" y="2597505"/>
            <a:ext cx="1177848" cy="966444"/>
            <a:chOff x="5633720" y="2546805"/>
            <a:chExt cx="1154858" cy="947580"/>
          </a:xfrm>
        </p:grpSpPr>
        <p:sp>
          <p:nvSpPr>
            <p:cNvPr id="23" name="TextBox 22"/>
            <p:cNvSpPr txBox="1"/>
            <p:nvPr/>
          </p:nvSpPr>
          <p:spPr>
            <a:xfrm>
              <a:off x="5665485" y="2774188"/>
              <a:ext cx="1123093" cy="720197"/>
            </a:xfrm>
            <a:prstGeom prst="rect">
              <a:avLst/>
            </a:prstGeom>
            <a:noFill/>
          </p:spPr>
          <p:txBody>
            <a:bodyPr wrap="square" rtlCol="0">
              <a:spAutoFit/>
            </a:bodyPr>
            <a:lstStyle/>
            <a:p>
              <a:pPr marL="83934" marR="0" lvl="0" indent="-8393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rPr>
                <a:t>Text box</a:t>
              </a:r>
            </a:p>
            <a:p>
              <a:pPr marL="83934" marR="0" lvl="0" indent="-8393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rPr>
                <a:t>Checkbox</a:t>
              </a:r>
            </a:p>
            <a:p>
              <a:pPr marL="83934" marR="0" lvl="0" indent="-8393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rPr>
                <a:t>Mandatory &amp; Optional</a:t>
              </a:r>
            </a:p>
          </p:txBody>
        </p:sp>
        <p:sp>
          <p:nvSpPr>
            <p:cNvPr id="32" name="Rectangle 31"/>
            <p:cNvSpPr/>
            <p:nvPr/>
          </p:nvSpPr>
          <p:spPr>
            <a:xfrm>
              <a:off x="5633720" y="2546805"/>
              <a:ext cx="1107440" cy="54353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32597" rtl="0" eaLnBrk="1" fontAlgn="auto" latinLnBrk="0" hangingPunct="1">
                <a:lnSpc>
                  <a:spcPts val="1489"/>
                </a:lnSpc>
                <a:spcBef>
                  <a:spcPts val="0"/>
                </a:spcBef>
                <a:spcAft>
                  <a:spcPts val="0"/>
                </a:spcAft>
                <a:buClrTx/>
                <a:buSzTx/>
                <a:buFontTx/>
                <a:buNone/>
                <a:tabLst/>
                <a:defRPr/>
              </a:pPr>
              <a:r>
                <a:rPr kumimoji="0" lang="en-US" sz="1326" b="1" i="0" u="none" strike="noStrike" kern="0" cap="none" spc="0" normalizeH="0" baseline="0" noProof="0" dirty="0">
                  <a:ln>
                    <a:noFill/>
                  </a:ln>
                  <a:solidFill>
                    <a:srgbClr val="333333">
                      <a:lumMod val="90000"/>
                      <a:lumOff val="10000"/>
                    </a:srgbClr>
                  </a:solidFill>
                  <a:effectLst/>
                  <a:uLnTx/>
                  <a:uFillTx/>
                  <a:latin typeface="Calibri"/>
                  <a:ea typeface="+mn-ea"/>
                  <a:cs typeface="+mn-cs"/>
                </a:rPr>
                <a:t>Data Capture</a:t>
              </a:r>
            </a:p>
          </p:txBody>
        </p:sp>
      </p:grpSp>
      <p:grpSp>
        <p:nvGrpSpPr>
          <p:cNvPr id="124" name="Group 123"/>
          <p:cNvGrpSpPr/>
          <p:nvPr/>
        </p:nvGrpSpPr>
        <p:grpSpPr>
          <a:xfrm>
            <a:off x="10591102" y="2597505"/>
            <a:ext cx="1139849" cy="966445"/>
            <a:chOff x="10383512" y="2546805"/>
            <a:chExt cx="1117600" cy="947581"/>
          </a:xfrm>
        </p:grpSpPr>
        <p:sp>
          <p:nvSpPr>
            <p:cNvPr id="25" name="TextBox 24"/>
            <p:cNvSpPr txBox="1"/>
            <p:nvPr/>
          </p:nvSpPr>
          <p:spPr>
            <a:xfrm>
              <a:off x="10522150" y="2774189"/>
              <a:ext cx="972191" cy="720197"/>
            </a:xfrm>
            <a:prstGeom prst="rect">
              <a:avLst/>
            </a:prstGeom>
            <a:noFill/>
          </p:spPr>
          <p:txBody>
            <a:bodyPr wrap="square" rtlCol="0">
              <a:spAutoFit/>
            </a:bodyPr>
            <a:lstStyle/>
            <a:p>
              <a:pPr marL="83934" marR="0" lvl="0" indent="-8393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rPr>
                <a:t>Secure download</a:t>
              </a:r>
            </a:p>
            <a:p>
              <a:pPr marL="83934" marR="0" lvl="0" indent="-8393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rPr>
                <a:t>Email attachment</a:t>
              </a:r>
            </a:p>
          </p:txBody>
        </p:sp>
        <p:sp>
          <p:nvSpPr>
            <p:cNvPr id="33" name="Rectangle 32"/>
            <p:cNvSpPr/>
            <p:nvPr/>
          </p:nvSpPr>
          <p:spPr>
            <a:xfrm>
              <a:off x="10383512" y="2546805"/>
              <a:ext cx="1117600" cy="54353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32597" rtl="0" eaLnBrk="1" fontAlgn="auto" latinLnBrk="0" hangingPunct="1">
                <a:lnSpc>
                  <a:spcPts val="1489"/>
                </a:lnSpc>
                <a:spcBef>
                  <a:spcPts val="0"/>
                </a:spcBef>
                <a:spcAft>
                  <a:spcPts val="0"/>
                </a:spcAft>
                <a:buClrTx/>
                <a:buSzTx/>
                <a:buFontTx/>
                <a:buNone/>
                <a:tabLst/>
                <a:defRPr/>
              </a:pPr>
              <a:r>
                <a:rPr kumimoji="0" lang="en-US" sz="1326" b="1" i="0" u="none" strike="noStrike" kern="0" cap="none" spc="0" normalizeH="0" baseline="0" noProof="0" dirty="0">
                  <a:ln>
                    <a:noFill/>
                  </a:ln>
                  <a:solidFill>
                    <a:srgbClr val="333333">
                      <a:lumMod val="90000"/>
                      <a:lumOff val="10000"/>
                    </a:srgbClr>
                  </a:solidFill>
                  <a:effectLst/>
                  <a:uLnTx/>
                  <a:uFillTx/>
                  <a:latin typeface="Calibri"/>
                  <a:ea typeface="+mn-ea"/>
                  <a:cs typeface="+mn-cs"/>
                </a:rPr>
                <a:t>Deliver</a:t>
              </a:r>
            </a:p>
          </p:txBody>
        </p:sp>
      </p:grpSp>
      <p:grpSp>
        <p:nvGrpSpPr>
          <p:cNvPr id="3" name="Group 40"/>
          <p:cNvGrpSpPr/>
          <p:nvPr/>
        </p:nvGrpSpPr>
        <p:grpSpPr>
          <a:xfrm>
            <a:off x="3727840" y="4302938"/>
            <a:ext cx="699453" cy="1744314"/>
            <a:chOff x="1286933" y="4191000"/>
            <a:chExt cx="787400" cy="1710267"/>
          </a:xfrm>
        </p:grpSpPr>
        <p:cxnSp>
          <p:nvCxnSpPr>
            <p:cNvPr id="42" name="Straight Arrow Connector 41"/>
            <p:cNvCxnSpPr/>
            <p:nvPr/>
          </p:nvCxnSpPr>
          <p:spPr bwMode="auto">
            <a:xfrm>
              <a:off x="1286933" y="5071537"/>
              <a:ext cx="787400" cy="0"/>
            </a:xfrm>
            <a:prstGeom prst="straightConnector1">
              <a:avLst/>
            </a:prstGeom>
            <a:solidFill>
              <a:schemeClr val="accent1"/>
            </a:solidFill>
            <a:ln w="19050" cap="flat" cmpd="sng" algn="ctr">
              <a:solidFill>
                <a:schemeClr val="bg1">
                  <a:lumMod val="50000"/>
                </a:schemeClr>
              </a:solidFill>
              <a:prstDash val="solid"/>
              <a:miter lim="800000"/>
              <a:headEnd type="none" w="med" len="med"/>
              <a:tailEnd type="triangle"/>
            </a:ln>
            <a:effectLst/>
          </p:spPr>
        </p:cxnSp>
        <p:cxnSp>
          <p:nvCxnSpPr>
            <p:cNvPr id="43" name="Straight Arrow Connector 42"/>
            <p:cNvCxnSpPr/>
            <p:nvPr/>
          </p:nvCxnSpPr>
          <p:spPr bwMode="auto">
            <a:xfrm>
              <a:off x="1659467" y="4656669"/>
              <a:ext cx="414866" cy="0"/>
            </a:xfrm>
            <a:prstGeom prst="straightConnector1">
              <a:avLst/>
            </a:prstGeom>
            <a:solidFill>
              <a:schemeClr val="accent1"/>
            </a:solidFill>
            <a:ln w="19050" cap="flat" cmpd="sng" algn="ctr">
              <a:solidFill>
                <a:schemeClr val="bg1">
                  <a:lumMod val="50000"/>
                </a:schemeClr>
              </a:solidFill>
              <a:prstDash val="solid"/>
              <a:miter lim="800000"/>
              <a:headEnd type="none" w="med" len="med"/>
              <a:tailEnd type="triangle"/>
            </a:ln>
            <a:effectLst/>
          </p:spPr>
        </p:cxnSp>
        <p:cxnSp>
          <p:nvCxnSpPr>
            <p:cNvPr id="44" name="Straight Arrow Connector 43"/>
            <p:cNvCxnSpPr/>
            <p:nvPr/>
          </p:nvCxnSpPr>
          <p:spPr bwMode="auto">
            <a:xfrm>
              <a:off x="1659467" y="4191000"/>
              <a:ext cx="414866" cy="0"/>
            </a:xfrm>
            <a:prstGeom prst="straightConnector1">
              <a:avLst/>
            </a:prstGeom>
            <a:solidFill>
              <a:schemeClr val="accent1"/>
            </a:solidFill>
            <a:ln w="19050" cap="flat" cmpd="sng" algn="ctr">
              <a:solidFill>
                <a:schemeClr val="bg1">
                  <a:lumMod val="50000"/>
                </a:schemeClr>
              </a:solidFill>
              <a:prstDash val="solid"/>
              <a:miter lim="800000"/>
              <a:headEnd type="none" w="med" len="med"/>
              <a:tailEnd type="triangle"/>
            </a:ln>
            <a:effectLst/>
          </p:spPr>
        </p:cxnSp>
        <p:cxnSp>
          <p:nvCxnSpPr>
            <p:cNvPr id="45" name="Straight Arrow Connector 44"/>
            <p:cNvCxnSpPr/>
            <p:nvPr/>
          </p:nvCxnSpPr>
          <p:spPr bwMode="auto">
            <a:xfrm>
              <a:off x="1659467" y="5503337"/>
              <a:ext cx="414866" cy="0"/>
            </a:xfrm>
            <a:prstGeom prst="straightConnector1">
              <a:avLst/>
            </a:prstGeom>
            <a:solidFill>
              <a:schemeClr val="accent1"/>
            </a:solidFill>
            <a:ln w="19050" cap="flat" cmpd="sng" algn="ctr">
              <a:solidFill>
                <a:schemeClr val="bg1">
                  <a:lumMod val="50000"/>
                </a:schemeClr>
              </a:solidFill>
              <a:prstDash val="solid"/>
              <a:miter lim="800000"/>
              <a:headEnd type="none" w="med" len="med"/>
              <a:tailEnd type="triangle"/>
            </a:ln>
            <a:effectLst/>
          </p:spPr>
        </p:cxnSp>
        <p:cxnSp>
          <p:nvCxnSpPr>
            <p:cNvPr id="46" name="Straight Arrow Connector 45"/>
            <p:cNvCxnSpPr/>
            <p:nvPr/>
          </p:nvCxnSpPr>
          <p:spPr bwMode="auto">
            <a:xfrm>
              <a:off x="1659467" y="5901267"/>
              <a:ext cx="414866" cy="0"/>
            </a:xfrm>
            <a:prstGeom prst="straightConnector1">
              <a:avLst/>
            </a:prstGeom>
            <a:solidFill>
              <a:schemeClr val="accent1"/>
            </a:solidFill>
            <a:ln w="19050" cap="flat" cmpd="sng" algn="ctr">
              <a:solidFill>
                <a:schemeClr val="bg1">
                  <a:lumMod val="50000"/>
                </a:schemeClr>
              </a:solidFill>
              <a:prstDash val="solid"/>
              <a:miter lim="800000"/>
              <a:headEnd type="none" w="med" len="med"/>
              <a:tailEnd type="triangle"/>
            </a:ln>
            <a:effectLst/>
          </p:spPr>
        </p:cxnSp>
      </p:grpSp>
      <p:cxnSp>
        <p:nvCxnSpPr>
          <p:cNvPr id="47" name="Straight Connector 46"/>
          <p:cNvCxnSpPr/>
          <p:nvPr/>
        </p:nvCxnSpPr>
        <p:spPr bwMode="auto">
          <a:xfrm>
            <a:off x="4073248" y="4294302"/>
            <a:ext cx="0" cy="1752949"/>
          </a:xfrm>
          <a:prstGeom prst="line">
            <a:avLst/>
          </a:prstGeom>
          <a:solidFill>
            <a:schemeClr val="accent1"/>
          </a:solidFill>
          <a:ln w="19050" cap="flat" cmpd="sng" algn="ctr">
            <a:solidFill>
              <a:schemeClr val="bg1">
                <a:lumMod val="50000"/>
              </a:schemeClr>
            </a:solidFill>
            <a:prstDash val="solid"/>
            <a:miter lim="800000"/>
            <a:headEnd type="none" w="med" len="med"/>
            <a:tailEnd type="none" w="med" len="med"/>
          </a:ln>
          <a:effectLst/>
        </p:spPr>
      </p:cxnSp>
      <p:cxnSp>
        <p:nvCxnSpPr>
          <p:cNvPr id="48" name="Straight Arrow Connector 47"/>
          <p:cNvCxnSpPr/>
          <p:nvPr/>
        </p:nvCxnSpPr>
        <p:spPr bwMode="auto">
          <a:xfrm>
            <a:off x="6086995" y="5235529"/>
            <a:ext cx="294977" cy="0"/>
          </a:xfrm>
          <a:prstGeom prst="straightConnector1">
            <a:avLst/>
          </a:prstGeom>
          <a:solidFill>
            <a:schemeClr val="accent1"/>
          </a:solidFill>
          <a:ln w="19050" cap="flat" cmpd="sng" algn="ctr">
            <a:solidFill>
              <a:schemeClr val="bg1">
                <a:lumMod val="50000"/>
              </a:schemeClr>
            </a:solidFill>
            <a:prstDash val="solid"/>
            <a:miter lim="800000"/>
            <a:headEnd type="none" w="med" len="med"/>
            <a:tailEnd type="none"/>
          </a:ln>
          <a:effectLst/>
        </p:spPr>
      </p:cxnSp>
      <p:cxnSp>
        <p:nvCxnSpPr>
          <p:cNvPr id="49" name="Straight Arrow Connector 48"/>
          <p:cNvCxnSpPr/>
          <p:nvPr/>
        </p:nvCxnSpPr>
        <p:spPr bwMode="auto">
          <a:xfrm>
            <a:off x="5905649" y="4786495"/>
            <a:ext cx="472859" cy="0"/>
          </a:xfrm>
          <a:prstGeom prst="straightConnector1">
            <a:avLst/>
          </a:prstGeom>
          <a:solidFill>
            <a:schemeClr val="accent1"/>
          </a:solidFill>
          <a:ln w="19050" cap="flat" cmpd="sng" algn="ctr">
            <a:solidFill>
              <a:schemeClr val="bg1">
                <a:lumMod val="50000"/>
              </a:schemeClr>
            </a:solidFill>
            <a:prstDash val="solid"/>
            <a:miter lim="800000"/>
            <a:headEnd type="none" w="med" len="med"/>
            <a:tailEnd type="none"/>
          </a:ln>
          <a:effectLst/>
        </p:spPr>
      </p:cxnSp>
      <p:sp>
        <p:nvSpPr>
          <p:cNvPr id="50" name="Rounded Rectangle 49"/>
          <p:cNvSpPr/>
          <p:nvPr/>
        </p:nvSpPr>
        <p:spPr bwMode="auto">
          <a:xfrm>
            <a:off x="10404596" y="4294295"/>
            <a:ext cx="241786" cy="1977465"/>
          </a:xfrm>
          <a:prstGeom prst="roundRect">
            <a:avLst/>
          </a:prstGeom>
          <a:solidFill>
            <a:schemeClr val="accent2"/>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sp>
        <p:nvSpPr>
          <p:cNvPr id="51" name="Rectangle 50"/>
          <p:cNvSpPr/>
          <p:nvPr/>
        </p:nvSpPr>
        <p:spPr bwMode="auto">
          <a:xfrm>
            <a:off x="8746621" y="6029977"/>
            <a:ext cx="1813395" cy="241786"/>
          </a:xfrm>
          <a:prstGeom prst="rect">
            <a:avLst/>
          </a:prstGeom>
          <a:solidFill>
            <a:schemeClr val="accent2"/>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sp>
        <p:nvSpPr>
          <p:cNvPr id="52" name="TextBox 51"/>
          <p:cNvSpPr txBox="1"/>
          <p:nvPr/>
        </p:nvSpPr>
        <p:spPr>
          <a:xfrm>
            <a:off x="6387479" y="4723105"/>
            <a:ext cx="1604421" cy="414353"/>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333333"/>
                </a:solidFill>
                <a:effectLst/>
                <a:uLnTx/>
                <a:uFillTx/>
                <a:latin typeface="Calibri"/>
                <a:ea typeface="+mn-ea"/>
                <a:cs typeface="+mn-cs"/>
              </a:rPr>
              <a:t>Data Capture</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333333"/>
                </a:solidFill>
                <a:effectLst/>
                <a:uLnTx/>
                <a:uFillTx/>
                <a:latin typeface="Calibri"/>
                <a:ea typeface="+mn-ea"/>
                <a:cs typeface="+mn-cs"/>
              </a:rPr>
              <a:t>Document Template</a:t>
            </a:r>
          </a:p>
        </p:txBody>
      </p:sp>
      <p:sp>
        <p:nvSpPr>
          <p:cNvPr id="53" name="TextBox 52"/>
          <p:cNvSpPr txBox="1"/>
          <p:nvPr/>
        </p:nvSpPr>
        <p:spPr>
          <a:xfrm>
            <a:off x="9076502" y="5068515"/>
            <a:ext cx="1060405" cy="414353"/>
          </a:xfrm>
          <a:prstGeom prst="rect">
            <a:avLst/>
          </a:prstGeom>
          <a:noFill/>
        </p:spPr>
        <p:txBody>
          <a:bodyPr wrap="square" rtlCol="0">
            <a:spAutoFit/>
          </a:bodyPr>
          <a:lstStyle/>
          <a:p>
            <a:pPr marL="0" marR="0" lvl="0" indent="0" algn="r"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333333"/>
                </a:solidFill>
                <a:effectLst/>
                <a:uLnTx/>
                <a:uFillTx/>
                <a:latin typeface="Calibri"/>
                <a:ea typeface="+mn-ea"/>
                <a:cs typeface="+mn-cs"/>
              </a:rPr>
              <a:t>Downstream Processing</a:t>
            </a:r>
          </a:p>
        </p:txBody>
      </p:sp>
      <p:sp>
        <p:nvSpPr>
          <p:cNvPr id="54" name="TextBox 53"/>
          <p:cNvSpPr txBox="1"/>
          <p:nvPr/>
        </p:nvSpPr>
        <p:spPr>
          <a:xfrm>
            <a:off x="8195700" y="5510644"/>
            <a:ext cx="680453" cy="254262"/>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333333"/>
                </a:solidFill>
                <a:effectLst/>
                <a:uLnTx/>
                <a:uFillTx/>
                <a:latin typeface="Calibri"/>
                <a:ea typeface="+mn-ea"/>
                <a:cs typeface="+mn-cs"/>
              </a:rPr>
              <a:t>Archive</a:t>
            </a:r>
          </a:p>
        </p:txBody>
      </p:sp>
      <p:cxnSp>
        <p:nvCxnSpPr>
          <p:cNvPr id="55" name="Straight Arrow Connector 54"/>
          <p:cNvCxnSpPr/>
          <p:nvPr/>
        </p:nvCxnSpPr>
        <p:spPr bwMode="auto">
          <a:xfrm>
            <a:off x="6389214" y="4415188"/>
            <a:ext cx="362678" cy="0"/>
          </a:xfrm>
          <a:prstGeom prst="straightConnector1">
            <a:avLst/>
          </a:prstGeom>
          <a:solidFill>
            <a:schemeClr val="accent1"/>
          </a:solidFill>
          <a:ln w="57150" cap="flat" cmpd="sng" algn="ctr">
            <a:solidFill>
              <a:schemeClr val="bg1"/>
            </a:solidFill>
            <a:prstDash val="solid"/>
            <a:miter lim="800000"/>
            <a:headEnd type="none" w="med" len="med"/>
            <a:tailEnd type="triangle"/>
          </a:ln>
          <a:effectLst/>
        </p:spPr>
      </p:cxnSp>
      <p:sp>
        <p:nvSpPr>
          <p:cNvPr id="56" name="TextBox 55"/>
          <p:cNvSpPr txBox="1"/>
          <p:nvPr/>
        </p:nvSpPr>
        <p:spPr>
          <a:xfrm>
            <a:off x="4846965" y="4173911"/>
            <a:ext cx="1044859" cy="265074"/>
          </a:xfrm>
          <a:prstGeom prst="rect">
            <a:avLst/>
          </a:prstGeom>
          <a:noFill/>
        </p:spPr>
        <p:txBody>
          <a:bodyPr wrap="square" rtlCol="0">
            <a:spAutoFit/>
          </a:bodyPr>
          <a:lstStyle/>
          <a:p>
            <a:pPr marL="0" marR="0" lvl="0" indent="0" algn="l" defTabSz="932597" rtl="0" eaLnBrk="1" fontAlgn="auto" latinLnBrk="0" hangingPunct="1">
              <a:lnSpc>
                <a:spcPts val="1305"/>
              </a:lnSpc>
              <a:spcBef>
                <a:spcPts val="0"/>
              </a:spcBef>
              <a:spcAft>
                <a:spcPts val="0"/>
              </a:spcAft>
              <a:buClrTx/>
              <a:buSzTx/>
              <a:buFontTx/>
              <a:buNone/>
              <a:tabLst/>
              <a:defRPr/>
            </a:pPr>
            <a:r>
              <a:rPr kumimoji="0" lang="en-US" sz="1224" b="1" i="0" u="none" strike="noStrike" kern="0" cap="none" spc="0" normalizeH="0" baseline="0" noProof="0" dirty="0">
                <a:ln>
                  <a:noFill/>
                </a:ln>
                <a:solidFill>
                  <a:srgbClr val="333333">
                    <a:lumMod val="90000"/>
                    <a:lumOff val="10000"/>
                  </a:srgbClr>
                </a:solidFill>
                <a:effectLst/>
                <a:uLnTx/>
                <a:uFillTx/>
                <a:latin typeface="Calibri"/>
                <a:ea typeface="+mn-ea"/>
                <a:cs typeface="+mn-cs"/>
              </a:rPr>
              <a:t>Call Center</a:t>
            </a:r>
          </a:p>
        </p:txBody>
      </p:sp>
      <p:sp>
        <p:nvSpPr>
          <p:cNvPr id="57" name="TextBox 56"/>
          <p:cNvSpPr txBox="1"/>
          <p:nvPr/>
        </p:nvSpPr>
        <p:spPr>
          <a:xfrm>
            <a:off x="4846964" y="4638488"/>
            <a:ext cx="1174392" cy="265074"/>
          </a:xfrm>
          <a:prstGeom prst="rect">
            <a:avLst/>
          </a:prstGeom>
          <a:noFill/>
        </p:spPr>
        <p:txBody>
          <a:bodyPr wrap="square" rtlCol="0">
            <a:spAutoFit/>
          </a:bodyPr>
          <a:lstStyle/>
          <a:p>
            <a:pPr marL="0" marR="0" lvl="0" indent="0" algn="l" defTabSz="932597" rtl="0" eaLnBrk="1" fontAlgn="auto" latinLnBrk="0" hangingPunct="1">
              <a:lnSpc>
                <a:spcPts val="1305"/>
              </a:lnSpc>
              <a:spcBef>
                <a:spcPts val="0"/>
              </a:spcBef>
              <a:spcAft>
                <a:spcPts val="0"/>
              </a:spcAft>
              <a:buClrTx/>
              <a:buSzTx/>
              <a:buFontTx/>
              <a:buNone/>
              <a:tabLst/>
              <a:defRPr/>
            </a:pPr>
            <a:r>
              <a:rPr kumimoji="0" lang="en-US" sz="1224" b="1" i="0" u="none" strike="noStrike" kern="0" cap="none" spc="0" normalizeH="0" baseline="0" noProof="0" dirty="0">
                <a:ln>
                  <a:noFill/>
                </a:ln>
                <a:solidFill>
                  <a:srgbClr val="333333">
                    <a:lumMod val="90000"/>
                    <a:lumOff val="10000"/>
                  </a:srgbClr>
                </a:solidFill>
                <a:effectLst/>
                <a:uLnTx/>
                <a:uFillTx/>
                <a:latin typeface="Calibri"/>
                <a:ea typeface="+mn-ea"/>
                <a:cs typeface="+mn-cs"/>
              </a:rPr>
              <a:t>Account Team</a:t>
            </a:r>
          </a:p>
        </p:txBody>
      </p:sp>
      <p:sp>
        <p:nvSpPr>
          <p:cNvPr id="58" name="TextBox 57"/>
          <p:cNvSpPr txBox="1"/>
          <p:nvPr/>
        </p:nvSpPr>
        <p:spPr>
          <a:xfrm>
            <a:off x="4846965" y="5063344"/>
            <a:ext cx="1336735" cy="265074"/>
          </a:xfrm>
          <a:prstGeom prst="rect">
            <a:avLst/>
          </a:prstGeom>
          <a:noFill/>
        </p:spPr>
        <p:txBody>
          <a:bodyPr wrap="square" rtlCol="0">
            <a:spAutoFit/>
          </a:bodyPr>
          <a:lstStyle/>
          <a:p>
            <a:pPr marL="0" marR="0" lvl="0" indent="0" algn="l" defTabSz="932597" rtl="0" eaLnBrk="1" fontAlgn="auto" latinLnBrk="0" hangingPunct="1">
              <a:lnSpc>
                <a:spcPts val="1305"/>
              </a:lnSpc>
              <a:spcBef>
                <a:spcPts val="0"/>
              </a:spcBef>
              <a:spcAft>
                <a:spcPts val="0"/>
              </a:spcAft>
              <a:buClrTx/>
              <a:buSzTx/>
              <a:buFontTx/>
              <a:buNone/>
              <a:tabLst/>
              <a:defRPr/>
            </a:pPr>
            <a:r>
              <a:rPr kumimoji="0" lang="en-US" sz="1224" b="1" i="0" u="none" strike="noStrike" kern="0" cap="none" spc="0" normalizeH="0" baseline="0" noProof="0" dirty="0">
                <a:ln>
                  <a:noFill/>
                </a:ln>
                <a:solidFill>
                  <a:srgbClr val="333333">
                    <a:lumMod val="90000"/>
                    <a:lumOff val="10000"/>
                  </a:srgbClr>
                </a:solidFill>
                <a:effectLst/>
                <a:uLnTx/>
                <a:uFillTx/>
                <a:latin typeface="Calibri"/>
                <a:ea typeface="+mn-ea"/>
                <a:cs typeface="+mn-cs"/>
              </a:rPr>
              <a:t>Web Self-Service</a:t>
            </a:r>
          </a:p>
        </p:txBody>
      </p:sp>
      <p:sp>
        <p:nvSpPr>
          <p:cNvPr id="59" name="TextBox 58"/>
          <p:cNvSpPr txBox="1"/>
          <p:nvPr/>
        </p:nvSpPr>
        <p:spPr>
          <a:xfrm>
            <a:off x="4846961" y="5491648"/>
            <a:ext cx="1117397" cy="265074"/>
          </a:xfrm>
          <a:prstGeom prst="rect">
            <a:avLst/>
          </a:prstGeom>
          <a:noFill/>
        </p:spPr>
        <p:txBody>
          <a:bodyPr wrap="square" rtlCol="0">
            <a:spAutoFit/>
          </a:bodyPr>
          <a:lstStyle/>
          <a:p>
            <a:pPr marL="0" marR="0" lvl="0" indent="0" algn="l" defTabSz="932597" rtl="0" eaLnBrk="1" fontAlgn="auto" latinLnBrk="0" hangingPunct="1">
              <a:lnSpc>
                <a:spcPts val="1305"/>
              </a:lnSpc>
              <a:spcBef>
                <a:spcPts val="0"/>
              </a:spcBef>
              <a:spcAft>
                <a:spcPts val="0"/>
              </a:spcAft>
              <a:buClrTx/>
              <a:buSzTx/>
              <a:buFontTx/>
              <a:buNone/>
              <a:tabLst/>
              <a:defRPr/>
            </a:pPr>
            <a:r>
              <a:rPr kumimoji="0" lang="en-US" sz="1224" b="1" i="0" u="none" strike="noStrike" kern="0" cap="none" spc="0" normalizeH="0" baseline="0" noProof="0" dirty="0">
                <a:ln>
                  <a:noFill/>
                </a:ln>
                <a:solidFill>
                  <a:srgbClr val="333333">
                    <a:lumMod val="90000"/>
                    <a:lumOff val="10000"/>
                  </a:srgbClr>
                </a:solidFill>
                <a:effectLst/>
                <a:uLnTx/>
                <a:uFillTx/>
                <a:latin typeface="Calibri"/>
                <a:ea typeface="+mn-ea"/>
                <a:cs typeface="+mn-cs"/>
              </a:rPr>
              <a:t>Retail Branch</a:t>
            </a:r>
          </a:p>
        </p:txBody>
      </p:sp>
      <p:sp>
        <p:nvSpPr>
          <p:cNvPr id="60" name="TextBox 59"/>
          <p:cNvSpPr txBox="1"/>
          <p:nvPr/>
        </p:nvSpPr>
        <p:spPr>
          <a:xfrm>
            <a:off x="4846961" y="5907860"/>
            <a:ext cx="1086311" cy="265074"/>
          </a:xfrm>
          <a:prstGeom prst="rect">
            <a:avLst/>
          </a:prstGeom>
          <a:noFill/>
        </p:spPr>
        <p:txBody>
          <a:bodyPr wrap="square" rtlCol="0">
            <a:spAutoFit/>
          </a:bodyPr>
          <a:lstStyle/>
          <a:p>
            <a:pPr marL="0" marR="0" lvl="0" indent="0" algn="l" defTabSz="932597" rtl="0" eaLnBrk="1" fontAlgn="auto" latinLnBrk="0" hangingPunct="1">
              <a:lnSpc>
                <a:spcPts val="1305"/>
              </a:lnSpc>
              <a:spcBef>
                <a:spcPts val="0"/>
              </a:spcBef>
              <a:spcAft>
                <a:spcPts val="0"/>
              </a:spcAft>
              <a:buClrTx/>
              <a:buSzTx/>
              <a:buFontTx/>
              <a:buNone/>
              <a:tabLst/>
              <a:defRPr/>
            </a:pPr>
            <a:r>
              <a:rPr kumimoji="0" lang="en-US" sz="1224" b="1" i="0" u="none" strike="noStrike" kern="0" cap="none" spc="0" normalizeH="0" baseline="0" noProof="0" dirty="0">
                <a:ln>
                  <a:noFill/>
                </a:ln>
                <a:solidFill>
                  <a:srgbClr val="333333">
                    <a:lumMod val="90000"/>
                    <a:lumOff val="10000"/>
                  </a:srgbClr>
                </a:solidFill>
                <a:effectLst/>
                <a:uLnTx/>
                <a:uFillTx/>
                <a:latin typeface="Calibri"/>
                <a:ea typeface="+mn-ea"/>
                <a:cs typeface="+mn-cs"/>
              </a:rPr>
              <a:t>Mobile</a:t>
            </a:r>
          </a:p>
        </p:txBody>
      </p:sp>
      <p:sp>
        <p:nvSpPr>
          <p:cNvPr id="61" name="Isosceles Triangle 60"/>
          <p:cNvSpPr/>
          <p:nvPr/>
        </p:nvSpPr>
        <p:spPr bwMode="auto">
          <a:xfrm rot="5400000">
            <a:off x="7648497" y="4363080"/>
            <a:ext cx="120896" cy="104221"/>
          </a:xfrm>
          <a:prstGeom prst="triangle">
            <a:avLst/>
          </a:prstGeom>
          <a:solidFill>
            <a:srgbClr val="FFFFFF"/>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grpSp>
        <p:nvGrpSpPr>
          <p:cNvPr id="26" name="Group 61"/>
          <p:cNvGrpSpPr/>
          <p:nvPr/>
        </p:nvGrpSpPr>
        <p:grpSpPr>
          <a:xfrm rot="10800000">
            <a:off x="8969400" y="6081784"/>
            <a:ext cx="1537669" cy="120896"/>
            <a:chOff x="4231622" y="4470400"/>
            <a:chExt cx="1507655" cy="118536"/>
          </a:xfrm>
        </p:grpSpPr>
        <p:sp>
          <p:nvSpPr>
            <p:cNvPr id="63" name="Isosceles Triangle 62"/>
            <p:cNvSpPr/>
            <p:nvPr/>
          </p:nvSpPr>
          <p:spPr bwMode="auto">
            <a:xfrm rot="5400000">
              <a:off x="4697582" y="4478575"/>
              <a:ext cx="118536" cy="102186"/>
            </a:xfrm>
            <a:prstGeom prst="triangle">
              <a:avLst/>
            </a:prstGeom>
            <a:solidFill>
              <a:srgbClr val="FFFFFF"/>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sp>
          <p:nvSpPr>
            <p:cNvPr id="64" name="Isosceles Triangle 63"/>
            <p:cNvSpPr/>
            <p:nvPr/>
          </p:nvSpPr>
          <p:spPr bwMode="auto">
            <a:xfrm rot="5400000">
              <a:off x="4934649" y="4478575"/>
              <a:ext cx="118536" cy="102186"/>
            </a:xfrm>
            <a:prstGeom prst="triangle">
              <a:avLst/>
            </a:prstGeom>
            <a:solidFill>
              <a:srgbClr val="FFFFFF"/>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sp>
          <p:nvSpPr>
            <p:cNvPr id="65" name="Isosceles Triangle 64"/>
            <p:cNvSpPr/>
            <p:nvPr/>
          </p:nvSpPr>
          <p:spPr bwMode="auto">
            <a:xfrm rot="5400000">
              <a:off x="5171716" y="4478575"/>
              <a:ext cx="118536" cy="102186"/>
            </a:xfrm>
            <a:prstGeom prst="triangle">
              <a:avLst/>
            </a:prstGeom>
            <a:solidFill>
              <a:srgbClr val="FFFFFF"/>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sp>
          <p:nvSpPr>
            <p:cNvPr id="66" name="Isosceles Triangle 65"/>
            <p:cNvSpPr/>
            <p:nvPr/>
          </p:nvSpPr>
          <p:spPr bwMode="auto">
            <a:xfrm rot="5400000">
              <a:off x="5391849" y="4478575"/>
              <a:ext cx="118536" cy="102186"/>
            </a:xfrm>
            <a:prstGeom prst="triangle">
              <a:avLst/>
            </a:prstGeom>
            <a:solidFill>
              <a:srgbClr val="FFFFFF"/>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sp>
          <p:nvSpPr>
            <p:cNvPr id="67" name="Isosceles Triangle 66"/>
            <p:cNvSpPr/>
            <p:nvPr/>
          </p:nvSpPr>
          <p:spPr bwMode="auto">
            <a:xfrm rot="5400000">
              <a:off x="5628916" y="4478575"/>
              <a:ext cx="118536" cy="102186"/>
            </a:xfrm>
            <a:prstGeom prst="triangle">
              <a:avLst/>
            </a:prstGeom>
            <a:solidFill>
              <a:srgbClr val="FFFFFF"/>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sp>
          <p:nvSpPr>
            <p:cNvPr id="68" name="Isosceles Triangle 67"/>
            <p:cNvSpPr/>
            <p:nvPr/>
          </p:nvSpPr>
          <p:spPr bwMode="auto">
            <a:xfrm rot="5400000">
              <a:off x="4223447" y="4478575"/>
              <a:ext cx="118536" cy="102186"/>
            </a:xfrm>
            <a:prstGeom prst="triangle">
              <a:avLst/>
            </a:prstGeom>
            <a:solidFill>
              <a:srgbClr val="FFFFFF"/>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sp>
          <p:nvSpPr>
            <p:cNvPr id="69" name="Isosceles Triangle 68"/>
            <p:cNvSpPr/>
            <p:nvPr/>
          </p:nvSpPr>
          <p:spPr bwMode="auto">
            <a:xfrm rot="5400000">
              <a:off x="4460514" y="4478575"/>
              <a:ext cx="118536" cy="102186"/>
            </a:xfrm>
            <a:prstGeom prst="triangle">
              <a:avLst/>
            </a:prstGeom>
            <a:solidFill>
              <a:srgbClr val="FFFFFF"/>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grpSp>
      <p:sp>
        <p:nvSpPr>
          <p:cNvPr id="70" name="Isosceles Triangle 69"/>
          <p:cNvSpPr/>
          <p:nvPr/>
        </p:nvSpPr>
        <p:spPr bwMode="auto">
          <a:xfrm rot="10800000">
            <a:off x="10463598" y="4535792"/>
            <a:ext cx="120896" cy="104221"/>
          </a:xfrm>
          <a:prstGeom prst="triangle">
            <a:avLst/>
          </a:prstGeom>
          <a:solidFill>
            <a:srgbClr val="FFFFFF"/>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sp>
        <p:nvSpPr>
          <p:cNvPr id="71" name="Isosceles Triangle 70"/>
          <p:cNvSpPr/>
          <p:nvPr/>
        </p:nvSpPr>
        <p:spPr bwMode="auto">
          <a:xfrm rot="10800000">
            <a:off x="10463598" y="4743034"/>
            <a:ext cx="120896" cy="104221"/>
          </a:xfrm>
          <a:prstGeom prst="triangle">
            <a:avLst/>
          </a:prstGeom>
          <a:solidFill>
            <a:srgbClr val="FFFFFF"/>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sp>
        <p:nvSpPr>
          <p:cNvPr id="72" name="Isosceles Triangle 71"/>
          <p:cNvSpPr/>
          <p:nvPr/>
        </p:nvSpPr>
        <p:spPr bwMode="auto">
          <a:xfrm rot="10800000">
            <a:off x="10463598" y="5131617"/>
            <a:ext cx="120896" cy="104221"/>
          </a:xfrm>
          <a:prstGeom prst="triangle">
            <a:avLst/>
          </a:prstGeom>
          <a:solidFill>
            <a:srgbClr val="FFFFFF"/>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sp>
        <p:nvSpPr>
          <p:cNvPr id="73" name="Isosceles Triangle 72"/>
          <p:cNvSpPr/>
          <p:nvPr/>
        </p:nvSpPr>
        <p:spPr bwMode="auto">
          <a:xfrm rot="10800000">
            <a:off x="10463598" y="5373402"/>
            <a:ext cx="120896" cy="104221"/>
          </a:xfrm>
          <a:prstGeom prst="triangle">
            <a:avLst/>
          </a:prstGeom>
          <a:solidFill>
            <a:srgbClr val="FFFFFF"/>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sp>
        <p:nvSpPr>
          <p:cNvPr id="74" name="Isosceles Triangle 73"/>
          <p:cNvSpPr/>
          <p:nvPr/>
        </p:nvSpPr>
        <p:spPr bwMode="auto">
          <a:xfrm rot="10800000">
            <a:off x="10463598" y="5684265"/>
            <a:ext cx="120896" cy="104221"/>
          </a:xfrm>
          <a:prstGeom prst="triangle">
            <a:avLst/>
          </a:prstGeom>
          <a:solidFill>
            <a:srgbClr val="FFFFFF"/>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sp>
        <p:nvSpPr>
          <p:cNvPr id="75" name="Isosceles Triangle 74"/>
          <p:cNvSpPr/>
          <p:nvPr/>
        </p:nvSpPr>
        <p:spPr bwMode="auto">
          <a:xfrm rot="10800000">
            <a:off x="10463598" y="5891510"/>
            <a:ext cx="120896" cy="104221"/>
          </a:xfrm>
          <a:prstGeom prst="triangle">
            <a:avLst/>
          </a:prstGeom>
          <a:solidFill>
            <a:srgbClr val="FFFFFF"/>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sp>
        <p:nvSpPr>
          <p:cNvPr id="76" name="Isosceles Triangle 75"/>
          <p:cNvSpPr/>
          <p:nvPr/>
        </p:nvSpPr>
        <p:spPr bwMode="auto">
          <a:xfrm rot="5400000">
            <a:off x="10135461" y="4363080"/>
            <a:ext cx="120896" cy="104221"/>
          </a:xfrm>
          <a:prstGeom prst="triangle">
            <a:avLst/>
          </a:prstGeom>
          <a:solidFill>
            <a:srgbClr val="FFFFFF"/>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sp>
        <p:nvSpPr>
          <p:cNvPr id="77" name="Isosceles Triangle 76"/>
          <p:cNvSpPr/>
          <p:nvPr/>
        </p:nvSpPr>
        <p:spPr bwMode="auto">
          <a:xfrm rot="5400000">
            <a:off x="10351341" y="4363080"/>
            <a:ext cx="120896" cy="104221"/>
          </a:xfrm>
          <a:prstGeom prst="triangle">
            <a:avLst/>
          </a:prstGeom>
          <a:solidFill>
            <a:srgbClr val="FFFFFF"/>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grpSp>
        <p:nvGrpSpPr>
          <p:cNvPr id="41" name="Group 77"/>
          <p:cNvGrpSpPr/>
          <p:nvPr/>
        </p:nvGrpSpPr>
        <p:grpSpPr>
          <a:xfrm rot="10800000">
            <a:off x="5501515" y="4303748"/>
            <a:ext cx="896335" cy="1802154"/>
            <a:chOff x="3149590" y="3746921"/>
            <a:chExt cx="1389118" cy="2314172"/>
          </a:xfrm>
        </p:grpSpPr>
        <p:cxnSp>
          <p:nvCxnSpPr>
            <p:cNvPr id="79" name="Straight Arrow Connector 78"/>
            <p:cNvCxnSpPr/>
            <p:nvPr/>
          </p:nvCxnSpPr>
          <p:spPr bwMode="auto">
            <a:xfrm>
              <a:off x="3176356" y="3764712"/>
              <a:ext cx="1362352" cy="0"/>
            </a:xfrm>
            <a:prstGeom prst="straightConnector1">
              <a:avLst/>
            </a:prstGeom>
            <a:solidFill>
              <a:schemeClr val="accent1"/>
            </a:solidFill>
            <a:ln w="19050" cap="flat" cmpd="sng" algn="ctr">
              <a:solidFill>
                <a:schemeClr val="bg1">
                  <a:lumMod val="50000"/>
                </a:schemeClr>
              </a:solidFill>
              <a:prstDash val="solid"/>
              <a:miter lim="800000"/>
              <a:headEnd type="none" w="med" len="med"/>
              <a:tailEnd type="none"/>
            </a:ln>
            <a:effectLst/>
          </p:spPr>
        </p:cxnSp>
        <p:cxnSp>
          <p:nvCxnSpPr>
            <p:cNvPr id="80" name="Straight Arrow Connector 79"/>
            <p:cNvCxnSpPr/>
            <p:nvPr/>
          </p:nvCxnSpPr>
          <p:spPr bwMode="auto">
            <a:xfrm>
              <a:off x="3149590" y="6053667"/>
              <a:ext cx="1065243" cy="0"/>
            </a:xfrm>
            <a:prstGeom prst="straightConnector1">
              <a:avLst/>
            </a:prstGeom>
            <a:solidFill>
              <a:schemeClr val="accent1"/>
            </a:solidFill>
            <a:ln w="19050" cap="flat" cmpd="sng" algn="ctr">
              <a:solidFill>
                <a:schemeClr val="bg1">
                  <a:lumMod val="50000"/>
                </a:schemeClr>
              </a:solidFill>
              <a:prstDash val="solid"/>
              <a:miter lim="800000"/>
              <a:headEnd type="none" w="med" len="med"/>
              <a:tailEnd type="none"/>
            </a:ln>
            <a:effectLst/>
          </p:spPr>
        </p:cxnSp>
        <p:cxnSp>
          <p:nvCxnSpPr>
            <p:cNvPr id="81" name="Straight Connector 80"/>
            <p:cNvCxnSpPr/>
            <p:nvPr/>
          </p:nvCxnSpPr>
          <p:spPr bwMode="auto">
            <a:xfrm rot="16200000" flipH="1" flipV="1">
              <a:off x="2000981" y="4902752"/>
              <a:ext cx="2314172" cy="2510"/>
            </a:xfrm>
            <a:prstGeom prst="line">
              <a:avLst/>
            </a:prstGeom>
            <a:solidFill>
              <a:schemeClr val="accent1"/>
            </a:solidFill>
            <a:ln w="19050" cap="flat" cmpd="sng" algn="ctr">
              <a:solidFill>
                <a:schemeClr val="bg1">
                  <a:lumMod val="50000"/>
                </a:schemeClr>
              </a:solidFill>
              <a:prstDash val="solid"/>
              <a:miter lim="800000"/>
              <a:headEnd type="none" w="med" len="med"/>
              <a:tailEnd type="none" w="med" len="med"/>
            </a:ln>
            <a:effectLst/>
          </p:spPr>
        </p:cxnSp>
      </p:grpSp>
      <p:sp>
        <p:nvSpPr>
          <p:cNvPr id="82" name="Isosceles Triangle 81"/>
          <p:cNvSpPr/>
          <p:nvPr/>
        </p:nvSpPr>
        <p:spPr bwMode="auto">
          <a:xfrm rot="5400000">
            <a:off x="9176930" y="4363080"/>
            <a:ext cx="120896" cy="104221"/>
          </a:xfrm>
          <a:prstGeom prst="triangle">
            <a:avLst/>
          </a:prstGeom>
          <a:solidFill>
            <a:srgbClr val="FFFFFF"/>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grpSp>
        <p:nvGrpSpPr>
          <p:cNvPr id="62" name="Group 82"/>
          <p:cNvGrpSpPr/>
          <p:nvPr/>
        </p:nvGrpSpPr>
        <p:grpSpPr>
          <a:xfrm>
            <a:off x="9364916" y="4033508"/>
            <a:ext cx="708076" cy="708076"/>
            <a:chOff x="8825666" y="2773675"/>
            <a:chExt cx="914405" cy="914405"/>
          </a:xfrm>
        </p:grpSpPr>
        <p:sp>
          <p:nvSpPr>
            <p:cNvPr id="84" name="Oval 83"/>
            <p:cNvSpPr/>
            <p:nvPr/>
          </p:nvSpPr>
          <p:spPr>
            <a:xfrm>
              <a:off x="8825666" y="2773675"/>
              <a:ext cx="914405" cy="914405"/>
            </a:xfrm>
            <a:prstGeom prst="ellipse">
              <a:avLst/>
            </a:prstGeom>
            <a:solidFill>
              <a:schemeClr val="tx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85" name="Picture 84" descr="yellowlock.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976360" y="2926080"/>
              <a:ext cx="574040" cy="574040"/>
            </a:xfrm>
            <a:prstGeom prst="rect">
              <a:avLst/>
            </a:prstGeom>
          </p:spPr>
        </p:pic>
      </p:grpSp>
      <p:grpSp>
        <p:nvGrpSpPr>
          <p:cNvPr id="78" name="Group 85"/>
          <p:cNvGrpSpPr/>
          <p:nvPr/>
        </p:nvGrpSpPr>
        <p:grpSpPr>
          <a:xfrm>
            <a:off x="10173172" y="4914300"/>
            <a:ext cx="708076" cy="708076"/>
            <a:chOff x="8825666" y="3789675"/>
            <a:chExt cx="914405" cy="914405"/>
          </a:xfrm>
        </p:grpSpPr>
        <p:sp>
          <p:nvSpPr>
            <p:cNvPr id="87" name="Oval 86"/>
            <p:cNvSpPr/>
            <p:nvPr/>
          </p:nvSpPr>
          <p:spPr>
            <a:xfrm>
              <a:off x="8825666" y="3789675"/>
              <a:ext cx="914405" cy="914405"/>
            </a:xfrm>
            <a:prstGeom prst="ellipse">
              <a:avLst/>
            </a:prstGeom>
            <a:solidFill>
              <a:schemeClr val="tx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88" name="Picture 87" descr="yellowgears.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991600" y="3957320"/>
              <a:ext cx="548640" cy="548640"/>
            </a:xfrm>
            <a:prstGeom prst="rect">
              <a:avLst/>
            </a:prstGeom>
          </p:spPr>
        </p:pic>
      </p:grpSp>
      <p:grpSp>
        <p:nvGrpSpPr>
          <p:cNvPr id="83" name="Group 88"/>
          <p:cNvGrpSpPr/>
          <p:nvPr/>
        </p:nvGrpSpPr>
        <p:grpSpPr>
          <a:xfrm>
            <a:off x="8183618" y="5764001"/>
            <a:ext cx="708779" cy="708779"/>
            <a:chOff x="8825666" y="4775195"/>
            <a:chExt cx="694944" cy="694944"/>
          </a:xfrm>
        </p:grpSpPr>
        <p:sp>
          <p:nvSpPr>
            <p:cNvPr id="90" name="Oval 89"/>
            <p:cNvSpPr>
              <a:spLocks/>
            </p:cNvSpPr>
            <p:nvPr/>
          </p:nvSpPr>
          <p:spPr>
            <a:xfrm>
              <a:off x="8825666" y="4775195"/>
              <a:ext cx="694944" cy="694944"/>
            </a:xfrm>
            <a:prstGeom prst="ellipse">
              <a:avLst/>
            </a:prstGeom>
            <a:solidFill>
              <a:schemeClr val="tx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91" name="Picture 90" descr="yellowserver.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01760" y="4902200"/>
              <a:ext cx="436880" cy="436880"/>
            </a:xfrm>
            <a:prstGeom prst="rect">
              <a:avLst/>
            </a:prstGeom>
          </p:spPr>
        </p:pic>
      </p:grpSp>
      <p:grpSp>
        <p:nvGrpSpPr>
          <p:cNvPr id="86" name="Group 91"/>
          <p:cNvGrpSpPr/>
          <p:nvPr/>
        </p:nvGrpSpPr>
        <p:grpSpPr>
          <a:xfrm>
            <a:off x="6835296" y="4033504"/>
            <a:ext cx="708779" cy="708779"/>
            <a:chOff x="8266866" y="5455915"/>
            <a:chExt cx="694944" cy="694944"/>
          </a:xfrm>
        </p:grpSpPr>
        <p:sp>
          <p:nvSpPr>
            <p:cNvPr id="93" name="Oval 92"/>
            <p:cNvSpPr>
              <a:spLocks/>
            </p:cNvSpPr>
            <p:nvPr/>
          </p:nvSpPr>
          <p:spPr>
            <a:xfrm>
              <a:off x="8266866" y="5455915"/>
              <a:ext cx="694944" cy="694944"/>
            </a:xfrm>
            <a:prstGeom prst="ellipse">
              <a:avLst/>
            </a:prstGeom>
            <a:solidFill>
              <a:schemeClr val="tx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94" name="Picture 93" descr="yellowpaper.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436538" y="5605267"/>
              <a:ext cx="375920" cy="375920"/>
            </a:xfrm>
            <a:prstGeom prst="rect">
              <a:avLst/>
            </a:prstGeom>
          </p:spPr>
        </p:pic>
      </p:grpSp>
      <p:pic>
        <p:nvPicPr>
          <p:cNvPr id="95" name="Picture 94" descr="yellowrep.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77095" y="4152678"/>
            <a:ext cx="402299" cy="310868"/>
          </a:xfrm>
          <a:prstGeom prst="rect">
            <a:avLst/>
          </a:prstGeom>
        </p:spPr>
      </p:pic>
      <p:grpSp>
        <p:nvGrpSpPr>
          <p:cNvPr id="89" name="Group 95"/>
          <p:cNvGrpSpPr/>
          <p:nvPr/>
        </p:nvGrpSpPr>
        <p:grpSpPr>
          <a:xfrm>
            <a:off x="1644795" y="4131485"/>
            <a:ext cx="2246795" cy="2278441"/>
            <a:chOff x="526133" y="1252143"/>
            <a:chExt cx="1530951" cy="1552514"/>
          </a:xfrm>
        </p:grpSpPr>
        <p:pic>
          <p:nvPicPr>
            <p:cNvPr id="97" name="Picture 96" descr="shutterstock_254131945-png.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26133" y="1252143"/>
              <a:ext cx="1530951" cy="1552514"/>
            </a:xfrm>
            <a:prstGeom prst="rect">
              <a:avLst/>
            </a:prstGeom>
          </p:spPr>
        </p:pic>
        <p:sp>
          <p:nvSpPr>
            <p:cNvPr id="98" name="Oval 97"/>
            <p:cNvSpPr/>
            <p:nvPr/>
          </p:nvSpPr>
          <p:spPr bwMode="auto">
            <a:xfrm>
              <a:off x="530646" y="1253193"/>
              <a:ext cx="1525818" cy="1551463"/>
            </a:xfrm>
            <a:prstGeom prst="ellipse">
              <a:avLst/>
            </a:prstGeom>
            <a:noFill/>
            <a:ln w="127000" cap="flat" cmpd="sng" algn="ctr">
              <a:solidFill>
                <a:schemeClr val="accent2"/>
              </a:solid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grpSp>
      <p:pic>
        <p:nvPicPr>
          <p:cNvPr id="99" name="Picture 98" descr="yellowmonitor.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504392" y="5064561"/>
            <a:ext cx="347699" cy="290803"/>
          </a:xfrm>
          <a:prstGeom prst="rect">
            <a:avLst/>
          </a:prstGeom>
        </p:spPr>
      </p:pic>
      <p:pic>
        <p:nvPicPr>
          <p:cNvPr id="100" name="Picture 99" descr="yellowcase.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510373" y="4606031"/>
            <a:ext cx="335737" cy="254201"/>
          </a:xfrm>
          <a:prstGeom prst="rect">
            <a:avLst/>
          </a:prstGeom>
        </p:spPr>
      </p:pic>
      <p:pic>
        <p:nvPicPr>
          <p:cNvPr id="101" name="Picture 100" descr="yellowbuilding.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527897" y="5473866"/>
            <a:ext cx="300694" cy="295324"/>
          </a:xfrm>
          <a:prstGeom prst="rect">
            <a:avLst/>
          </a:prstGeom>
        </p:spPr>
      </p:pic>
      <p:pic>
        <p:nvPicPr>
          <p:cNvPr id="102" name="Picture 101" descr="yellowcell.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577917" y="5883180"/>
            <a:ext cx="209129" cy="373040"/>
          </a:xfrm>
          <a:prstGeom prst="rect">
            <a:avLst/>
          </a:prstGeom>
        </p:spPr>
      </p:pic>
      <p:grpSp>
        <p:nvGrpSpPr>
          <p:cNvPr id="92" name="Group 102"/>
          <p:cNvGrpSpPr/>
          <p:nvPr/>
        </p:nvGrpSpPr>
        <p:grpSpPr>
          <a:xfrm>
            <a:off x="7803503" y="4033509"/>
            <a:ext cx="1316161" cy="756445"/>
            <a:chOff x="5770723" y="3891280"/>
            <a:chExt cx="1290470" cy="741680"/>
          </a:xfrm>
        </p:grpSpPr>
        <p:pic>
          <p:nvPicPr>
            <p:cNvPr id="104" name="Picture 103" descr="livelogo.pn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770723" y="3891280"/>
              <a:ext cx="1290470" cy="741680"/>
            </a:xfrm>
            <a:prstGeom prst="rect">
              <a:avLst/>
            </a:prstGeom>
          </p:spPr>
        </p:pic>
        <p:sp>
          <p:nvSpPr>
            <p:cNvPr id="105" name="Rectangle 104"/>
            <p:cNvSpPr/>
            <p:nvPr/>
          </p:nvSpPr>
          <p:spPr bwMode="auto">
            <a:xfrm>
              <a:off x="5887085" y="4248272"/>
              <a:ext cx="1036536" cy="328669"/>
            </a:xfrm>
            <a:prstGeom prst="rect">
              <a:avLst/>
            </a:prstGeom>
            <a:solidFill>
              <a:schemeClr val="bg1"/>
            </a:solidFill>
            <a:ln w="9525" cap="flat" cmpd="sng" algn="ctr">
              <a:solidFill>
                <a:schemeClr val="bg1"/>
              </a:solid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solidFill>
                <a:effectLst/>
                <a:uLnTx/>
                <a:uFillTx/>
                <a:latin typeface="Calibri"/>
                <a:ea typeface="+mn-ea"/>
                <a:cs typeface="+mn-cs"/>
              </a:endParaRPr>
            </a:p>
          </p:txBody>
        </p:sp>
      </p:grpSp>
      <p:pic>
        <p:nvPicPr>
          <p:cNvPr id="106" name="Picture 105"/>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922181" y="4332057"/>
            <a:ext cx="1093197" cy="446912"/>
          </a:xfrm>
          <a:prstGeom prst="rect">
            <a:avLst/>
          </a:prstGeom>
        </p:spPr>
      </p:pic>
      <p:sp>
        <p:nvSpPr>
          <p:cNvPr id="108" name="Title 3"/>
          <p:cNvSpPr txBox="1">
            <a:spLocks/>
          </p:cNvSpPr>
          <p:nvPr/>
        </p:nvSpPr>
        <p:spPr bwMode="auto">
          <a:xfrm>
            <a:off x="882" y="290633"/>
            <a:ext cx="12434711" cy="564258"/>
          </a:xfrm>
          <a:prstGeom prst="rect">
            <a:avLst/>
          </a:prstGeom>
          <a:noFill/>
          <a:ln w="9525">
            <a:noFill/>
            <a:miter lim="800000"/>
            <a:headEnd/>
            <a:tailEnd/>
          </a:ln>
          <a:effectLst/>
        </p:spPr>
        <p:txBody>
          <a:bodyPr vert="horz" wrap="square" lIns="46630" tIns="46630" rIns="46630" bIns="0" numCol="1" anchor="ctr" anchorCtr="0" compatLnSpc="1">
            <a:prstTxWarp prst="textNoShape">
              <a:avLst/>
            </a:prstTxWarp>
          </a:bodyPr>
          <a:lstStyle/>
          <a:p>
            <a:pPr marL="0" marR="0" lvl="0" indent="0" algn="ctr" defTabSz="932597" rtl="0" eaLnBrk="1" fontAlgn="auto" latinLnBrk="0" hangingPunct="1">
              <a:lnSpc>
                <a:spcPct val="90000"/>
              </a:lnSpc>
              <a:spcBef>
                <a:spcPts val="0"/>
              </a:spcBef>
              <a:spcAft>
                <a:spcPts val="0"/>
              </a:spcAft>
              <a:buClrTx/>
              <a:buSzTx/>
              <a:buFontTx/>
              <a:buNone/>
              <a:tabLst/>
              <a:defRPr/>
            </a:pPr>
            <a:endParaRPr kumimoji="0" lang="en-US" sz="2652" b="0" i="0" u="none" strike="noStrike" kern="0" cap="none" spc="0" normalizeH="0" baseline="0" noProof="0" dirty="0">
              <a:ln>
                <a:noFill/>
              </a:ln>
              <a:solidFill>
                <a:srgbClr val="333333"/>
              </a:solidFill>
              <a:effectLst/>
              <a:uLnTx/>
              <a:uFillTx/>
              <a:latin typeface="Calibri"/>
              <a:ea typeface="+mn-ea"/>
              <a:cs typeface="Arial" pitchFamily="34" charset="0"/>
            </a:endParaRPr>
          </a:p>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4896" b="0" i="0" u="none" strike="noStrike" kern="0" cap="none" spc="0" normalizeH="0" baseline="0" noProof="0" dirty="0">
                <a:ln>
                  <a:noFill/>
                </a:ln>
                <a:solidFill>
                  <a:srgbClr val="52A5D8"/>
                </a:solidFill>
                <a:effectLst/>
                <a:uLnTx/>
                <a:uFillTx/>
                <a:latin typeface="Calibri"/>
                <a:ea typeface="+mn-ea"/>
                <a:cs typeface="Arial" pitchFamily="34" charset="0"/>
              </a:rPr>
              <a:t>E-Signature WORKFLOW</a:t>
            </a:r>
          </a:p>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836" b="0" i="0" u="none" strike="noStrike" kern="0" cap="none" spc="0" normalizeH="0" baseline="0" noProof="0" dirty="0">
                <a:ln>
                  <a:noFill/>
                </a:ln>
                <a:solidFill>
                  <a:srgbClr val="333333">
                    <a:lumMod val="90000"/>
                    <a:lumOff val="10000"/>
                  </a:srgbClr>
                </a:solidFill>
                <a:effectLst/>
                <a:uLnTx/>
                <a:uFillTx/>
                <a:latin typeface="Calibri"/>
                <a:ea typeface="+mn-ea"/>
                <a:cs typeface="Arial" pitchFamily="34" charset="0"/>
              </a:rPr>
              <a:t>Automates and enforces business rules throughout the signing workflow</a:t>
            </a:r>
          </a:p>
        </p:txBody>
      </p:sp>
      <p:grpSp>
        <p:nvGrpSpPr>
          <p:cNvPr id="103" name="Group 102"/>
          <p:cNvGrpSpPr/>
          <p:nvPr/>
        </p:nvGrpSpPr>
        <p:grpSpPr>
          <a:xfrm>
            <a:off x="929174" y="2606139"/>
            <a:ext cx="1072486" cy="823625"/>
            <a:chOff x="910174" y="2555270"/>
            <a:chExt cx="1051552" cy="807549"/>
          </a:xfrm>
        </p:grpSpPr>
        <p:sp>
          <p:nvSpPr>
            <p:cNvPr id="19" name="TextBox 18"/>
            <p:cNvSpPr txBox="1"/>
            <p:nvPr/>
          </p:nvSpPr>
          <p:spPr>
            <a:xfrm>
              <a:off x="1037167" y="2799588"/>
              <a:ext cx="924559" cy="563231"/>
            </a:xfrm>
            <a:prstGeom prst="rect">
              <a:avLst/>
            </a:prstGeom>
            <a:noFill/>
          </p:spPr>
          <p:txBody>
            <a:bodyPr wrap="square" rtlCol="0">
              <a:spAutoFit/>
            </a:bodyPr>
            <a:lstStyle/>
            <a:p>
              <a:pPr marL="83934" marR="0" lvl="0" indent="-8393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rPr>
                <a:t>Email</a:t>
              </a:r>
            </a:p>
            <a:p>
              <a:pPr marL="83934" marR="0" lvl="0" indent="-83934"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20" b="0" i="0" u="none" strike="noStrike" kern="0" cap="none" spc="0" normalizeH="0" baseline="0" noProof="0" dirty="0">
                  <a:ln>
                    <a:noFill/>
                  </a:ln>
                  <a:solidFill>
                    <a:srgbClr val="333333">
                      <a:lumMod val="90000"/>
                      <a:lumOff val="10000"/>
                    </a:srgbClr>
                  </a:solidFill>
                  <a:effectLst/>
                  <a:uLnTx/>
                  <a:uFillTx/>
                  <a:latin typeface="Calibri"/>
                  <a:ea typeface="+mn-ea"/>
                  <a:cs typeface="+mn-cs"/>
                </a:rPr>
                <a:t>Link from Portal</a:t>
              </a:r>
            </a:p>
          </p:txBody>
        </p:sp>
        <p:sp>
          <p:nvSpPr>
            <p:cNvPr id="27" name="Rectangle 26"/>
            <p:cNvSpPr/>
            <p:nvPr/>
          </p:nvSpPr>
          <p:spPr>
            <a:xfrm>
              <a:off x="910174" y="2555270"/>
              <a:ext cx="905933" cy="54353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32597" rtl="0" eaLnBrk="1" fontAlgn="auto" latinLnBrk="0" hangingPunct="1">
                <a:lnSpc>
                  <a:spcPts val="1489"/>
                </a:lnSpc>
                <a:spcBef>
                  <a:spcPts val="0"/>
                </a:spcBef>
                <a:spcAft>
                  <a:spcPts val="0"/>
                </a:spcAft>
                <a:buClrTx/>
                <a:buSzTx/>
                <a:buFontTx/>
                <a:buNone/>
                <a:tabLst/>
                <a:defRPr/>
              </a:pPr>
              <a:r>
                <a:rPr kumimoji="0" lang="en-US" sz="1326" b="1" i="0" u="none" strike="noStrike" kern="0" cap="none" spc="0" normalizeH="0" baseline="0" noProof="0" dirty="0">
                  <a:ln>
                    <a:noFill/>
                  </a:ln>
                  <a:solidFill>
                    <a:srgbClr val="333333">
                      <a:lumMod val="90000"/>
                      <a:lumOff val="10000"/>
                    </a:srgbClr>
                  </a:solidFill>
                  <a:effectLst/>
                  <a:uLnTx/>
                  <a:uFillTx/>
                  <a:latin typeface="Calibri"/>
                  <a:ea typeface="+mn-ea"/>
                  <a:cs typeface="+mn-cs"/>
                </a:rPr>
                <a:t>Access</a:t>
              </a:r>
            </a:p>
          </p:txBody>
        </p:sp>
      </p:grpSp>
      <p:pic>
        <p:nvPicPr>
          <p:cNvPr id="109" name="Picture 108" descr="Access.pn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42120" y="1593205"/>
            <a:ext cx="993659" cy="928286"/>
          </a:xfrm>
          <a:prstGeom prst="rect">
            <a:avLst/>
          </a:prstGeom>
        </p:spPr>
      </p:pic>
      <p:pic>
        <p:nvPicPr>
          <p:cNvPr id="110" name="Picture 109" descr="Authenticate.png"/>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2531009" y="1610474"/>
            <a:ext cx="998279" cy="932603"/>
          </a:xfrm>
          <a:prstGeom prst="rect">
            <a:avLst/>
          </a:prstGeom>
        </p:spPr>
      </p:pic>
      <p:pic>
        <p:nvPicPr>
          <p:cNvPr id="111" name="Picture 110" descr="Present.pn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137152" y="1619109"/>
            <a:ext cx="998284" cy="932603"/>
          </a:xfrm>
          <a:prstGeom prst="rect">
            <a:avLst/>
          </a:prstGeom>
        </p:spPr>
      </p:pic>
      <p:pic>
        <p:nvPicPr>
          <p:cNvPr id="112" name="Picture 111" descr="Data-Capture.png"/>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5803749" y="1593203"/>
            <a:ext cx="998284" cy="932603"/>
          </a:xfrm>
          <a:prstGeom prst="rect">
            <a:avLst/>
          </a:prstGeom>
        </p:spPr>
      </p:pic>
      <p:pic>
        <p:nvPicPr>
          <p:cNvPr id="113" name="Picture 112" descr="Document-Insert.png"/>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7435802" y="1593203"/>
            <a:ext cx="998284" cy="932603"/>
          </a:xfrm>
          <a:prstGeom prst="rect">
            <a:avLst/>
          </a:prstGeom>
        </p:spPr>
      </p:pic>
      <p:pic>
        <p:nvPicPr>
          <p:cNvPr id="114" name="Picture 113" descr="Signature-Capture.png"/>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9076490" y="1601839"/>
            <a:ext cx="998284" cy="932603"/>
          </a:xfrm>
          <a:prstGeom prst="rect">
            <a:avLst/>
          </a:prstGeom>
        </p:spPr>
      </p:pic>
      <p:pic>
        <p:nvPicPr>
          <p:cNvPr id="115" name="Picture 114" descr="Deliver.png"/>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10656735" y="1584568"/>
            <a:ext cx="998284" cy="932603"/>
          </a:xfrm>
          <a:prstGeom prst="rect">
            <a:avLst/>
          </a:prstGeom>
        </p:spPr>
      </p:pic>
      <p:cxnSp>
        <p:nvCxnSpPr>
          <p:cNvPr id="123" name="Straight Arrow Connector 122"/>
          <p:cNvCxnSpPr/>
          <p:nvPr/>
        </p:nvCxnSpPr>
        <p:spPr bwMode="auto">
          <a:xfrm>
            <a:off x="5905649" y="5641382"/>
            <a:ext cx="472859" cy="0"/>
          </a:xfrm>
          <a:prstGeom prst="straightConnector1">
            <a:avLst/>
          </a:prstGeom>
          <a:solidFill>
            <a:schemeClr val="accent1"/>
          </a:solidFill>
          <a:ln w="19050" cap="flat" cmpd="sng" algn="ctr">
            <a:solidFill>
              <a:schemeClr val="bg1">
                <a:lumMod val="50000"/>
              </a:schemeClr>
            </a:solidFill>
            <a:prstDash val="solid"/>
            <a:miter lim="800000"/>
            <a:headEnd type="none" w="med" len="med"/>
            <a:tailEnd type="none"/>
          </a:ln>
          <a:effectLst/>
        </p:spPr>
      </p:cxnSp>
    </p:spTree>
    <p:extLst>
      <p:ext uri="{BB962C8B-B14F-4D97-AF65-F5344CB8AC3E}">
        <p14:creationId xmlns:p14="http://schemas.microsoft.com/office/powerpoint/2010/main" val="233713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2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954" y="256087"/>
            <a:ext cx="11714395" cy="568508"/>
          </a:xfrm>
        </p:spPr>
        <p:txBody>
          <a:bodyPr/>
          <a:lstStyle/>
          <a:p>
            <a:r>
              <a:rPr lang="en-US" sz="4896" dirty="0">
                <a:solidFill>
                  <a:schemeClr val="accent1"/>
                </a:solidFill>
              </a:rPr>
              <a:t>INTEGRATION OPTIONS</a:t>
            </a:r>
          </a:p>
        </p:txBody>
      </p:sp>
      <p:sp>
        <p:nvSpPr>
          <p:cNvPr id="4" name="Slide Number Placeholder 3"/>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4F74D4F8-858E-4436-92AB-D17EB14436B3}" type="slidenum">
              <a:rPr kumimoji="0" lang="en-US" sz="1836" b="0" i="0" u="none" strike="noStrike" kern="0" cap="none" spc="0" normalizeH="0" baseline="0" noProof="0">
                <a:ln>
                  <a:noFill/>
                </a:ln>
                <a:solidFill>
                  <a:sysClr val="windowText" lastClr="000000"/>
                </a:solidFill>
                <a:effectLst/>
                <a:uLnTx/>
                <a:uFillTx/>
                <a:latin typeface="Calibr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128</a:t>
            </a:fld>
            <a:endParaRPr kumimoji="0" lang="en-US" sz="1836"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 name="Rectangle 23"/>
          <p:cNvSpPr/>
          <p:nvPr/>
        </p:nvSpPr>
        <p:spPr>
          <a:xfrm>
            <a:off x="432561" y="1397370"/>
            <a:ext cx="3764830" cy="3263682"/>
          </a:xfrm>
          <a:prstGeom prst="rect">
            <a:avLst/>
          </a:prstGeom>
        </p:spPr>
        <p:txBody>
          <a:bodyPr wrap="square">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4488" b="0" i="0" u="none" strike="noStrike" kern="0" cap="none" spc="0" normalizeH="0" baseline="0" noProof="0" dirty="0">
                <a:ln>
                  <a:noFill/>
                </a:ln>
                <a:solidFill>
                  <a:srgbClr val="333333">
                    <a:lumMod val="60000"/>
                    <a:lumOff val="40000"/>
                  </a:srgbClr>
                </a:solidFill>
                <a:effectLst/>
                <a:uLnTx/>
                <a:uFillTx/>
                <a:latin typeface="Calibri"/>
                <a:ea typeface="+mn-ea"/>
                <a:cs typeface="Arial" pitchFamily="34" charset="0"/>
              </a:rPr>
              <a:t>EASY TO USE INTEGRATIONS</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lumMod val="90000"/>
                  <a:lumOff val="10000"/>
                </a:srgbClr>
              </a:solidFill>
              <a:effectLst/>
              <a:uLnTx/>
              <a:uFillTx/>
              <a:latin typeface="Calibri"/>
              <a:ea typeface="+mn-ea"/>
              <a:cs typeface="Arial" pitchFamily="34" charset="0"/>
            </a:endParaRPr>
          </a:p>
          <a:p>
            <a:pPr marL="349724" marR="0" lvl="0" indent="-349724" algn="l" defTabSz="932597" rtl="0" eaLnBrk="1" fontAlgn="auto" latinLnBrk="0" hangingPunct="1">
              <a:lnSpc>
                <a:spcPct val="90000"/>
              </a:lnSpc>
              <a:spcBef>
                <a:spcPts val="0"/>
              </a:spcBef>
              <a:spcAft>
                <a:spcPts val="0"/>
              </a:spcAft>
              <a:buClr>
                <a:srgbClr val="FFA800"/>
              </a:buClr>
              <a:buSzTx/>
              <a:buFont typeface="Arial" panose="020B0604020202020204" pitchFamily="34" charset="0"/>
              <a:buChar char="•"/>
              <a:tabLst/>
              <a:defRPr/>
            </a:pPr>
            <a:r>
              <a:rPr kumimoji="0" lang="en-US" sz="1836" b="0" i="0" u="none" strike="noStrike" kern="0" cap="none" spc="0" normalizeH="0" baseline="0" noProof="0" dirty="0">
                <a:ln>
                  <a:noFill/>
                </a:ln>
                <a:solidFill>
                  <a:srgbClr val="333333">
                    <a:lumMod val="90000"/>
                    <a:lumOff val="10000"/>
                  </a:srgbClr>
                </a:solidFill>
                <a:effectLst/>
                <a:uLnTx/>
                <a:uFillTx/>
                <a:latin typeface="Calibri"/>
                <a:ea typeface="+mn-ea"/>
                <a:cs typeface="Arial" pitchFamily="34" charset="0"/>
              </a:rPr>
              <a:t>Optimized user experience for signers, senders &amp; developers.</a:t>
            </a:r>
          </a:p>
          <a:p>
            <a:pPr marL="349724" marR="0" lvl="0" indent="-349724" algn="l" defTabSz="932597" rtl="0" eaLnBrk="1" fontAlgn="auto" latinLnBrk="0" hangingPunct="1">
              <a:lnSpc>
                <a:spcPct val="100000"/>
              </a:lnSpc>
              <a:spcBef>
                <a:spcPts val="0"/>
              </a:spcBef>
              <a:spcAft>
                <a:spcPts val="0"/>
              </a:spcAft>
              <a:buClr>
                <a:srgbClr val="FFA800"/>
              </a:buClr>
              <a:buSzTx/>
              <a:buFont typeface="Arial" panose="020B0604020202020204" pitchFamily="34" charset="0"/>
              <a:buChar char="•"/>
              <a:tabLst/>
              <a:defRPr/>
            </a:pPr>
            <a:r>
              <a:rPr kumimoji="0" lang="en-US" sz="1836" b="0" i="0" u="none" strike="noStrike" kern="0" cap="none" spc="0" normalizeH="0" baseline="0" noProof="0" dirty="0">
                <a:ln>
                  <a:noFill/>
                </a:ln>
                <a:solidFill>
                  <a:srgbClr val="333333">
                    <a:lumMod val="90000"/>
                    <a:lumOff val="10000"/>
                  </a:srgbClr>
                </a:solidFill>
                <a:effectLst/>
                <a:uLnTx/>
                <a:uFillTx/>
                <a:latin typeface="Calibri"/>
                <a:ea typeface="+mn-ea"/>
                <a:cs typeface="+mn-cs"/>
              </a:rPr>
              <a:t>Drop into your favorite business applications. </a:t>
            </a:r>
          </a:p>
          <a:p>
            <a:pPr marL="349724" marR="0" lvl="0" indent="-349724" algn="l" defTabSz="932597" rtl="0" eaLnBrk="1" fontAlgn="auto" latinLnBrk="0" hangingPunct="1">
              <a:lnSpc>
                <a:spcPct val="100000"/>
              </a:lnSpc>
              <a:spcBef>
                <a:spcPts val="0"/>
              </a:spcBef>
              <a:spcAft>
                <a:spcPts val="0"/>
              </a:spcAft>
              <a:buClr>
                <a:srgbClr val="FFA800"/>
              </a:buClr>
              <a:buSzTx/>
              <a:buFont typeface="Arial" panose="020B0604020202020204" pitchFamily="34" charset="0"/>
              <a:buChar char="•"/>
              <a:tabLst/>
              <a:defRPr/>
            </a:pPr>
            <a:r>
              <a:rPr kumimoji="0" lang="en-US" sz="1836" b="0" i="0" u="none" strike="noStrike" kern="0" cap="none" spc="0" normalizeH="0" baseline="0" noProof="0" dirty="0">
                <a:ln>
                  <a:noFill/>
                </a:ln>
                <a:solidFill>
                  <a:srgbClr val="333333">
                    <a:lumMod val="90000"/>
                    <a:lumOff val="10000"/>
                  </a:srgbClr>
                </a:solidFill>
                <a:effectLst/>
                <a:uLnTx/>
                <a:uFillTx/>
                <a:latin typeface="Calibri"/>
                <a:ea typeface="+mn-ea"/>
                <a:cs typeface="+mn-cs"/>
              </a:rPr>
              <a:t>No coding required.</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lumMod val="90000"/>
                  <a:lumOff val="10000"/>
                </a:srgbClr>
              </a:solidFill>
              <a:effectLst/>
              <a:uLnTx/>
              <a:uFillTx/>
              <a:latin typeface="Calibri"/>
              <a:ea typeface="+mn-ea"/>
              <a:cs typeface="Arial" pitchFamily="34" charset="0"/>
            </a:endParaRPr>
          </a:p>
        </p:txBody>
      </p:sp>
      <p:sp>
        <p:nvSpPr>
          <p:cNvPr id="5" name="Rounded Rectangle 4"/>
          <p:cNvSpPr/>
          <p:nvPr/>
        </p:nvSpPr>
        <p:spPr bwMode="auto">
          <a:xfrm>
            <a:off x="7284151" y="2030355"/>
            <a:ext cx="2237655" cy="3468119"/>
          </a:xfrm>
          <a:prstGeom prst="roundRect">
            <a:avLst/>
          </a:prstGeom>
          <a:solidFill>
            <a:schemeClr val="accent6">
              <a:lumMod val="20000"/>
              <a:lumOff val="80000"/>
            </a:schemeClr>
          </a:solidFill>
          <a:ln w="19050" cap="flat" cmpd="sng" algn="ctr">
            <a:solidFill>
              <a:schemeClr val="accent5">
                <a:lumMod val="90000"/>
              </a:schemeClr>
            </a:solid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sp>
        <p:nvSpPr>
          <p:cNvPr id="8" name="Rounded Rectangle 7"/>
          <p:cNvSpPr/>
          <p:nvPr/>
        </p:nvSpPr>
        <p:spPr bwMode="auto">
          <a:xfrm>
            <a:off x="4785949" y="1419636"/>
            <a:ext cx="2238248" cy="4663017"/>
          </a:xfrm>
          <a:prstGeom prst="roundRect">
            <a:avLst/>
          </a:prstGeom>
          <a:solidFill>
            <a:schemeClr val="accent6">
              <a:lumMod val="20000"/>
              <a:lumOff val="80000"/>
            </a:schemeClr>
          </a:solidFill>
          <a:ln w="19050" cap="flat" cmpd="sng" algn="ctr">
            <a:solidFill>
              <a:schemeClr val="accent5">
                <a:lumMod val="90000"/>
              </a:schemeClr>
            </a:solid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pic>
        <p:nvPicPr>
          <p:cNvPr id="10" name="Picture 4" descr="http://spcache.microsoft.com/education/Style%20Library/v2/prd/vLogo/Dynamic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015521" y="2935328"/>
            <a:ext cx="1630317" cy="922820"/>
          </a:xfrm>
          <a:prstGeom prst="rect">
            <a:avLst/>
          </a:prstGeom>
          <a:noFill/>
          <a:extLst>
            <a:ext uri="{909E8E84-426E-40DD-AFC4-6F175D3DCCD1}">
              <a14:hiddenFill xmlns:a14="http://schemas.microsoft.com/office/drawing/2010/main">
                <a:solidFill>
                  <a:srgbClr val="FFFFFF"/>
                </a:solidFill>
              </a14:hiddenFill>
            </a:ext>
          </a:extLst>
        </p:spPr>
      </p:pic>
      <p:sp>
        <p:nvSpPr>
          <p:cNvPr id="11" name="Pentagon 10"/>
          <p:cNvSpPr/>
          <p:nvPr/>
        </p:nvSpPr>
        <p:spPr bwMode="auto">
          <a:xfrm>
            <a:off x="7046028" y="2277459"/>
            <a:ext cx="466302" cy="746083"/>
          </a:xfrm>
          <a:prstGeom prst="homePlate">
            <a:avLst/>
          </a:prstGeom>
          <a:gradFill flip="none" rotWithShape="1">
            <a:gsLst>
              <a:gs pos="0">
                <a:schemeClr val="accent2">
                  <a:tint val="66000"/>
                  <a:satMod val="160000"/>
                </a:schemeClr>
              </a:gs>
              <a:gs pos="62000">
                <a:schemeClr val="accent2">
                  <a:tint val="44500"/>
                  <a:satMod val="160000"/>
                </a:schemeClr>
              </a:gs>
              <a:gs pos="100000">
                <a:schemeClr val="accent2">
                  <a:tint val="23500"/>
                  <a:satMod val="160000"/>
                </a:schemeClr>
              </a:gs>
            </a:gsLst>
            <a:lin ang="10800000" scaled="1"/>
            <a:tileRect/>
          </a:gra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sp>
        <p:nvSpPr>
          <p:cNvPr id="12" name="Pentagon 11"/>
          <p:cNvSpPr/>
          <p:nvPr/>
        </p:nvSpPr>
        <p:spPr bwMode="auto">
          <a:xfrm flipH="1">
            <a:off x="6802921" y="4513076"/>
            <a:ext cx="466302" cy="746083"/>
          </a:xfrm>
          <a:prstGeom prst="homePlate">
            <a:avLst/>
          </a:prstGeom>
          <a:gradFill flip="none" rotWithShape="1">
            <a:gsLst>
              <a:gs pos="0">
                <a:schemeClr val="accent2">
                  <a:tint val="66000"/>
                  <a:satMod val="160000"/>
                </a:schemeClr>
              </a:gs>
              <a:gs pos="59000">
                <a:schemeClr val="accent2">
                  <a:tint val="44500"/>
                  <a:satMod val="160000"/>
                </a:schemeClr>
              </a:gs>
              <a:gs pos="100000">
                <a:schemeClr val="accent2">
                  <a:tint val="23500"/>
                  <a:satMod val="160000"/>
                </a:schemeClr>
              </a:gs>
            </a:gsLst>
            <a:lin ang="10800000" scaled="1"/>
            <a:tileRect/>
          </a:gra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pic>
        <p:nvPicPr>
          <p:cNvPr id="13" name="Picture 2" descr="http://www.sangoma.com/wp-content/uploads/2013/05/Ofc365_Orng166_D_rgb.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976451" y="4487505"/>
            <a:ext cx="1706622" cy="59080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http://en.share-gate.com/~/media/Modules/EviBlog/SharegateBlog/2013/January/SharePoint-2013-Logo-Migration.ashx"/>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950447" y="3840562"/>
            <a:ext cx="1760463" cy="5613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93175" y="1579567"/>
            <a:ext cx="1787434" cy="910917"/>
          </a:xfrm>
          <a:prstGeom prst="rect">
            <a:avLst/>
          </a:prstGeom>
        </p:spPr>
      </p:pic>
      <p:grpSp>
        <p:nvGrpSpPr>
          <p:cNvPr id="7" name="Group 6"/>
          <p:cNvGrpSpPr/>
          <p:nvPr/>
        </p:nvGrpSpPr>
        <p:grpSpPr>
          <a:xfrm>
            <a:off x="7435163" y="2807050"/>
            <a:ext cx="1938338" cy="1884358"/>
            <a:chOff x="5071418" y="1505135"/>
            <a:chExt cx="1680800" cy="1680800"/>
          </a:xfrm>
        </p:grpSpPr>
        <p:pic>
          <p:nvPicPr>
            <p:cNvPr id="21" name="Picture 20" descr="eSignLive-Logo-Black-Hi.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136065" y="2056092"/>
              <a:ext cx="1559588" cy="599081"/>
            </a:xfrm>
            <a:prstGeom prst="rect">
              <a:avLst/>
            </a:prstGeom>
          </p:spPr>
        </p:pic>
        <p:sp>
          <p:nvSpPr>
            <p:cNvPr id="22" name="Oval 21"/>
            <p:cNvSpPr/>
            <p:nvPr/>
          </p:nvSpPr>
          <p:spPr bwMode="auto">
            <a:xfrm>
              <a:off x="5071418" y="1505135"/>
              <a:ext cx="1680800" cy="1680800"/>
            </a:xfrm>
            <a:prstGeom prst="ellipse">
              <a:avLst/>
            </a:prstGeom>
            <a:noFill/>
            <a:ln w="41275" cap="flat" cmpd="sng" algn="ctr">
              <a:solidFill>
                <a:schemeClr val="accent2"/>
              </a:solid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333333"/>
                </a:solidFill>
                <a:effectLst/>
                <a:uLnTx/>
                <a:uFillTx/>
                <a:latin typeface="Times New Roman" pitchFamily="18" charset="0"/>
                <a:ea typeface="+mn-ea"/>
                <a:cs typeface="+mn-cs"/>
              </a:endParaRPr>
            </a:p>
          </p:txBody>
        </p:sp>
      </p:grpSp>
      <p:sp>
        <p:nvSpPr>
          <p:cNvPr id="19" name="Rounded Rectangle 18"/>
          <p:cNvSpPr/>
          <p:nvPr/>
        </p:nvSpPr>
        <p:spPr bwMode="auto">
          <a:xfrm>
            <a:off x="9789924" y="1397370"/>
            <a:ext cx="2237655" cy="4666846"/>
          </a:xfrm>
          <a:prstGeom prst="roundRect">
            <a:avLst/>
          </a:prstGeom>
          <a:noFill/>
          <a:ln w="19050" cap="flat" cmpd="sng" algn="ctr">
            <a:solidFill>
              <a:schemeClr val="accent5">
                <a:lumMod val="90000"/>
              </a:schemeClr>
            </a:solid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sp>
        <p:nvSpPr>
          <p:cNvPr id="25" name="Pentagon 24"/>
          <p:cNvSpPr/>
          <p:nvPr/>
        </p:nvSpPr>
        <p:spPr bwMode="auto">
          <a:xfrm>
            <a:off x="9551801" y="2259022"/>
            <a:ext cx="466302" cy="746083"/>
          </a:xfrm>
          <a:prstGeom prst="homePlate">
            <a:avLst/>
          </a:prstGeom>
          <a:gradFill flip="none" rotWithShape="1">
            <a:gsLst>
              <a:gs pos="0">
                <a:schemeClr val="accent2">
                  <a:tint val="66000"/>
                  <a:satMod val="160000"/>
                </a:schemeClr>
              </a:gs>
              <a:gs pos="62000">
                <a:schemeClr val="accent2">
                  <a:tint val="44500"/>
                  <a:satMod val="160000"/>
                </a:schemeClr>
              </a:gs>
              <a:gs pos="100000">
                <a:schemeClr val="accent2">
                  <a:tint val="23500"/>
                  <a:satMod val="160000"/>
                </a:schemeClr>
              </a:gs>
            </a:gsLst>
            <a:lin ang="10800000" scaled="1"/>
            <a:tileRect/>
          </a:gra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sp>
        <p:nvSpPr>
          <p:cNvPr id="26" name="Pentagon 25"/>
          <p:cNvSpPr/>
          <p:nvPr/>
        </p:nvSpPr>
        <p:spPr bwMode="auto">
          <a:xfrm flipH="1">
            <a:off x="9308694" y="4494639"/>
            <a:ext cx="466302" cy="746083"/>
          </a:xfrm>
          <a:prstGeom prst="homePlate">
            <a:avLst/>
          </a:prstGeom>
          <a:gradFill flip="none" rotWithShape="1">
            <a:gsLst>
              <a:gs pos="0">
                <a:schemeClr val="accent2">
                  <a:tint val="66000"/>
                  <a:satMod val="160000"/>
                </a:schemeClr>
              </a:gs>
              <a:gs pos="59000">
                <a:schemeClr val="accent2">
                  <a:tint val="44500"/>
                  <a:satMod val="160000"/>
                </a:schemeClr>
              </a:gs>
              <a:gs pos="100000">
                <a:schemeClr val="accent2">
                  <a:tint val="23500"/>
                  <a:satMod val="160000"/>
                </a:schemeClr>
              </a:gs>
            </a:gsLst>
            <a:lin ang="10800000" scaled="1"/>
            <a:tileRect/>
          </a:gra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sp>
        <p:nvSpPr>
          <p:cNvPr id="3" name="Rectangle 2"/>
          <p:cNvSpPr/>
          <p:nvPr/>
        </p:nvSpPr>
        <p:spPr>
          <a:xfrm>
            <a:off x="4884840" y="6108636"/>
            <a:ext cx="1509353" cy="353469"/>
          </a:xfrm>
          <a:prstGeom prst="rect">
            <a:avLst/>
          </a:prstGeom>
        </p:spPr>
        <p:txBody>
          <a:bodyPr wrap="none">
            <a:spAutoFit/>
          </a:bodyPr>
          <a:lstStyle/>
          <a:p>
            <a:pPr marL="0" marR="0" lvl="0" indent="0" algn="l" defTabSz="932597" rtl="0" eaLnBrk="1" fontAlgn="auto" latinLnBrk="0" hangingPunct="1">
              <a:lnSpc>
                <a:spcPct val="90000"/>
              </a:lnSpc>
              <a:spcBef>
                <a:spcPts val="0"/>
              </a:spcBef>
              <a:spcAft>
                <a:spcPts val="0"/>
              </a:spcAft>
              <a:buClr>
                <a:srgbClr val="FFA800"/>
              </a:buClr>
              <a:buSzTx/>
              <a:buFontTx/>
              <a:buNone/>
              <a:tabLst/>
              <a:defRPr/>
            </a:pPr>
            <a:r>
              <a:rPr kumimoji="0" lang="en-US" sz="1836" b="0" i="0" u="none" strike="noStrike" kern="0" cap="none" spc="0" normalizeH="0" baseline="0" noProof="0" dirty="0">
                <a:ln>
                  <a:noFill/>
                </a:ln>
                <a:solidFill>
                  <a:srgbClr val="333333">
                    <a:lumMod val="90000"/>
                    <a:lumOff val="10000"/>
                  </a:srgbClr>
                </a:solidFill>
                <a:effectLst/>
                <a:uLnTx/>
                <a:uFillTx/>
                <a:latin typeface="Calibri"/>
                <a:ea typeface="+mn-ea"/>
                <a:cs typeface="+mn-cs"/>
              </a:rPr>
              <a:t>User Initiated</a:t>
            </a:r>
            <a:endParaRPr kumimoji="0" lang="en-US" sz="1836" b="0" i="0" u="none" strike="noStrike" kern="0" cap="none" spc="0" normalizeH="0" baseline="0" noProof="0" dirty="0">
              <a:ln>
                <a:noFill/>
              </a:ln>
              <a:solidFill>
                <a:srgbClr val="333333">
                  <a:lumMod val="90000"/>
                  <a:lumOff val="10000"/>
                </a:srgbClr>
              </a:solidFill>
              <a:effectLst/>
              <a:uLnTx/>
              <a:uFillTx/>
              <a:latin typeface="Calibri"/>
              <a:ea typeface="+mn-ea"/>
              <a:cs typeface="Arial" pitchFamily="34" charset="0"/>
            </a:endParaRPr>
          </a:p>
        </p:txBody>
      </p:sp>
      <p:sp>
        <p:nvSpPr>
          <p:cNvPr id="27" name="Rectangle 26"/>
          <p:cNvSpPr/>
          <p:nvPr/>
        </p:nvSpPr>
        <p:spPr>
          <a:xfrm>
            <a:off x="9726423" y="6082653"/>
            <a:ext cx="1965495" cy="353469"/>
          </a:xfrm>
          <a:prstGeom prst="rect">
            <a:avLst/>
          </a:prstGeom>
        </p:spPr>
        <p:txBody>
          <a:bodyPr wrap="none">
            <a:spAutoFit/>
          </a:bodyPr>
          <a:lstStyle/>
          <a:p>
            <a:pPr marL="0" marR="0" lvl="0" indent="0" algn="l" defTabSz="932597" rtl="0" eaLnBrk="1" fontAlgn="auto" latinLnBrk="0" hangingPunct="1">
              <a:lnSpc>
                <a:spcPct val="90000"/>
              </a:lnSpc>
              <a:spcBef>
                <a:spcPts val="0"/>
              </a:spcBef>
              <a:spcAft>
                <a:spcPts val="0"/>
              </a:spcAft>
              <a:buClr>
                <a:srgbClr val="FFA800"/>
              </a:buClr>
              <a:buSzTx/>
              <a:buFontTx/>
              <a:buNone/>
              <a:tabLst/>
              <a:defRPr/>
            </a:pPr>
            <a:r>
              <a:rPr kumimoji="0" lang="en-US" sz="1836" b="0" i="0" u="none" strike="noStrike" kern="0" cap="none" spc="0" normalizeH="0" baseline="0" noProof="0" dirty="0">
                <a:ln>
                  <a:noFill/>
                </a:ln>
                <a:solidFill>
                  <a:srgbClr val="333333">
                    <a:lumMod val="90000"/>
                    <a:lumOff val="10000"/>
                  </a:srgbClr>
                </a:solidFill>
                <a:effectLst/>
                <a:uLnTx/>
                <a:uFillTx/>
                <a:latin typeface="Calibri"/>
                <a:ea typeface="+mn-ea"/>
                <a:cs typeface="+mn-cs"/>
              </a:rPr>
              <a:t>System Integrated</a:t>
            </a:r>
            <a:endParaRPr kumimoji="0" lang="en-US" sz="1836" b="0" i="0" u="none" strike="noStrike" kern="0" cap="none" spc="0" normalizeH="0" baseline="0" noProof="0" dirty="0">
              <a:ln>
                <a:noFill/>
              </a:ln>
              <a:solidFill>
                <a:srgbClr val="333333">
                  <a:lumMod val="90000"/>
                  <a:lumOff val="10000"/>
                </a:srgbClr>
              </a:solidFill>
              <a:effectLst/>
              <a:uLnTx/>
              <a:uFillTx/>
              <a:latin typeface="Calibri"/>
              <a:ea typeface="+mn-ea"/>
              <a:cs typeface="Arial" pitchFamily="34" charset="0"/>
            </a:endParaRPr>
          </a:p>
        </p:txBody>
      </p:sp>
      <p:pic>
        <p:nvPicPr>
          <p:cNvPr id="52" name="Picture 2" descr="C:\Users\mike\AppData\Local\Microsoft\Windows\Temporary Internet Files\Content.Outlook\HJJ8L3CX\DocumentLock (2).jpeg"/>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10033030" y="2474086"/>
            <a:ext cx="1860368" cy="2339227"/>
          </a:xfrm>
          <a:prstGeom prst="rect">
            <a:avLst/>
          </a:prstGeom>
          <a:noFill/>
          <a:extLst/>
        </p:spPr>
      </p:pic>
      <p:pic>
        <p:nvPicPr>
          <p:cNvPr id="29" name="Picture 2" descr="Image result for azure Govcloud"/>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262320" y="5545471"/>
            <a:ext cx="2318746" cy="6956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711216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rot="10800000">
            <a:off x="882" y="5845185"/>
            <a:ext cx="12434714" cy="523293"/>
          </a:xfrm>
          <a:prstGeom prst="rect">
            <a:avLst/>
          </a:prstGeom>
          <a:gradFill flip="none" rotWithShape="1">
            <a:gsLst>
              <a:gs pos="1000">
                <a:sysClr val="window" lastClr="FFFFFF">
                  <a:lumMod val="85000"/>
                </a:sysClr>
              </a:gs>
              <a:gs pos="100000">
                <a:srgbClr val="FFFFFF"/>
              </a:gs>
            </a:gsLst>
            <a:lin ang="16200000" scaled="0"/>
            <a:tileRect/>
          </a:gra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 name="Slide Number Placeholder 1"/>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F71C7896-8E11-4384-BFC5-C0974CDBC83D}" type="slidenum">
              <a:rPr kumimoji="0" lang="en-US" sz="1836" b="0" i="0" u="none" strike="noStrike" kern="0" cap="none" spc="0" normalizeH="0" baseline="0" noProof="0">
                <a:ln>
                  <a:noFill/>
                </a:ln>
                <a:solidFill>
                  <a:sysClr val="windowText" lastClr="000000"/>
                </a:solidFill>
                <a:effectLst/>
                <a:uLnTx/>
                <a:uFillTx/>
                <a:latin typeface="Calibr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129</a:t>
            </a:fld>
            <a:endParaRPr kumimoji="0" lang="en-US" sz="1836"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2" name="Title 3"/>
          <p:cNvSpPr txBox="1">
            <a:spLocks/>
          </p:cNvSpPr>
          <p:nvPr/>
        </p:nvSpPr>
        <p:spPr bwMode="auto">
          <a:xfrm>
            <a:off x="882" y="5913627"/>
            <a:ext cx="12434711" cy="564258"/>
          </a:xfrm>
          <a:prstGeom prst="rect">
            <a:avLst/>
          </a:prstGeom>
          <a:noFill/>
          <a:ln w="9525">
            <a:noFill/>
            <a:miter lim="800000"/>
            <a:headEnd/>
            <a:tailEnd/>
          </a:ln>
          <a:effectLst/>
        </p:spPr>
        <p:txBody>
          <a:bodyPr vert="horz" wrap="square" lIns="46630" tIns="46630" rIns="46630" bIns="0" numCol="1" anchor="ctr" anchorCtr="0" compatLnSpc="1">
            <a:prstTxWarp prst="textNoShape">
              <a:avLst/>
            </a:prstTxWarp>
          </a:bodyPr>
          <a:lstStyle/>
          <a:p>
            <a:pPr marL="0" marR="0" lvl="0" indent="0" algn="ctr" defTabSz="932597" rtl="0" eaLnBrk="1" fontAlgn="base" latinLnBrk="0" hangingPunct="1">
              <a:lnSpc>
                <a:spcPct val="90000"/>
              </a:lnSpc>
              <a:spcBef>
                <a:spcPct val="0"/>
              </a:spcBef>
              <a:spcAft>
                <a:spcPct val="0"/>
              </a:spcAft>
              <a:buClrTx/>
              <a:buSzTx/>
              <a:buFontTx/>
              <a:buNone/>
              <a:tabLst/>
              <a:defRPr/>
            </a:pPr>
            <a:r>
              <a:rPr kumimoji="0" lang="en-US" sz="1632" b="0" i="1" u="none" strike="noStrike" kern="0" cap="none" spc="0" normalizeH="0" baseline="0" noProof="0" dirty="0">
                <a:ln>
                  <a:noFill/>
                </a:ln>
                <a:solidFill>
                  <a:srgbClr val="333333">
                    <a:lumMod val="90000"/>
                    <a:lumOff val="10000"/>
                  </a:srgbClr>
                </a:solidFill>
                <a:effectLst/>
                <a:uLnTx/>
                <a:uFillTx/>
                <a:latin typeface="Calibri"/>
                <a:ea typeface="+mn-ea"/>
                <a:cs typeface="Arial" pitchFamily="34" charset="0"/>
              </a:rPr>
              <a:t>Comes with 20+ years of e-signature practices built in, while enabling you to fully customize for your needs</a:t>
            </a:r>
          </a:p>
        </p:txBody>
      </p:sp>
      <p:pic>
        <p:nvPicPr>
          <p:cNvPr id="22" name="Picture 21" descr="Devices-cropped-high-res.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2" y="1062138"/>
            <a:ext cx="4934748" cy="4568030"/>
          </a:xfrm>
          <a:prstGeom prst="rect">
            <a:avLst/>
          </a:prstGeom>
        </p:spPr>
      </p:pic>
      <p:sp>
        <p:nvSpPr>
          <p:cNvPr id="51" name="Title 3"/>
          <p:cNvSpPr txBox="1">
            <a:spLocks/>
          </p:cNvSpPr>
          <p:nvPr/>
        </p:nvSpPr>
        <p:spPr bwMode="auto">
          <a:xfrm>
            <a:off x="882" y="325166"/>
            <a:ext cx="12434711" cy="564258"/>
          </a:xfrm>
          <a:prstGeom prst="rect">
            <a:avLst/>
          </a:prstGeom>
          <a:noFill/>
          <a:ln w="9525">
            <a:noFill/>
            <a:miter lim="800000"/>
            <a:headEnd/>
            <a:tailEnd/>
          </a:ln>
          <a:effectLst/>
        </p:spPr>
        <p:txBody>
          <a:bodyPr vert="horz" wrap="square" lIns="46630" tIns="46630" rIns="46630" bIns="0" numCol="1" anchor="ctr" anchorCtr="0" compatLnSpc="1">
            <a:prstTxWarp prst="textNoShape">
              <a:avLst/>
            </a:prstTxWarp>
          </a:bodyPr>
          <a:lstStyle/>
          <a:p>
            <a:pPr marL="0" marR="0" lvl="0" indent="0" algn="ctr" defTabSz="932597" rtl="0" eaLnBrk="1" fontAlgn="base" latinLnBrk="0" hangingPunct="1">
              <a:lnSpc>
                <a:spcPct val="90000"/>
              </a:lnSpc>
              <a:spcBef>
                <a:spcPct val="0"/>
              </a:spcBef>
              <a:spcAft>
                <a:spcPct val="0"/>
              </a:spcAft>
              <a:buClrTx/>
              <a:buSzTx/>
              <a:buFontTx/>
              <a:buNone/>
              <a:tabLst/>
              <a:defRPr/>
            </a:pPr>
            <a:endParaRPr kumimoji="0" lang="en-US" sz="2652" b="0" i="0" u="none" strike="noStrike" kern="0" cap="none" spc="0" normalizeH="0" baseline="0" noProof="0" dirty="0">
              <a:ln>
                <a:noFill/>
              </a:ln>
              <a:solidFill>
                <a:sysClr val="windowText" lastClr="000000"/>
              </a:solidFill>
              <a:effectLst/>
              <a:uLnTx/>
              <a:uFillTx/>
              <a:latin typeface="Calibri"/>
              <a:ea typeface="+mn-ea"/>
              <a:cs typeface="Arial" pitchFamily="34" charset="0"/>
            </a:endParaRPr>
          </a:p>
          <a:p>
            <a:pPr marL="0" marR="0" lvl="0" indent="0" algn="ctr" defTabSz="932597" rtl="0" eaLnBrk="1" fontAlgn="base" latinLnBrk="0" hangingPunct="1">
              <a:lnSpc>
                <a:spcPct val="90000"/>
              </a:lnSpc>
              <a:spcBef>
                <a:spcPct val="0"/>
              </a:spcBef>
              <a:spcAft>
                <a:spcPct val="0"/>
              </a:spcAft>
              <a:buClrTx/>
              <a:buSzTx/>
              <a:buFontTx/>
              <a:buNone/>
              <a:tabLst/>
              <a:defRPr/>
            </a:pPr>
            <a:r>
              <a:rPr kumimoji="0" lang="en-US" sz="4896" b="0" i="0" u="none" strike="noStrike" kern="0" cap="none" spc="0" normalizeH="0" baseline="0" noProof="0" dirty="0">
                <a:ln>
                  <a:noFill/>
                </a:ln>
                <a:solidFill>
                  <a:srgbClr val="52A5D8"/>
                </a:solidFill>
                <a:effectLst/>
                <a:uLnTx/>
                <a:uFillTx/>
                <a:latin typeface="Calibri"/>
                <a:ea typeface="+mn-ea"/>
                <a:cs typeface="Arial" pitchFamily="34" charset="0"/>
              </a:rPr>
              <a:t>EASY TO USE</a:t>
            </a:r>
          </a:p>
          <a:p>
            <a:pPr marL="0" marR="0" lvl="0" indent="0" algn="ctr" defTabSz="932597"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dirty="0">
                <a:ln>
                  <a:noFill/>
                </a:ln>
                <a:solidFill>
                  <a:srgbClr val="333333">
                    <a:lumMod val="90000"/>
                    <a:lumOff val="10000"/>
                  </a:srgbClr>
                </a:solidFill>
                <a:effectLst/>
                <a:uLnTx/>
                <a:uFillTx/>
                <a:latin typeface="Calibri"/>
                <a:ea typeface="+mn-ea"/>
                <a:cs typeface="Arial" pitchFamily="34" charset="0"/>
              </a:rPr>
              <a:t>An optimized user experience for signers, senders &amp; developers</a:t>
            </a:r>
          </a:p>
        </p:txBody>
      </p:sp>
      <p:grpSp>
        <p:nvGrpSpPr>
          <p:cNvPr id="28" name="Group 27"/>
          <p:cNvGrpSpPr/>
          <p:nvPr/>
        </p:nvGrpSpPr>
        <p:grpSpPr>
          <a:xfrm>
            <a:off x="8368407" y="2176763"/>
            <a:ext cx="3410909" cy="1599077"/>
            <a:chOff x="8204201" y="2134275"/>
            <a:chExt cx="3344332" cy="1567865"/>
          </a:xfrm>
        </p:grpSpPr>
        <p:sp>
          <p:nvSpPr>
            <p:cNvPr id="8" name="TextBox 7"/>
            <p:cNvSpPr txBox="1"/>
            <p:nvPr/>
          </p:nvSpPr>
          <p:spPr>
            <a:xfrm>
              <a:off x="9132463" y="2134275"/>
              <a:ext cx="2416070" cy="156786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0" cap="none" spc="0" normalizeH="0" baseline="0" noProof="0" dirty="0">
                  <a:ln>
                    <a:noFill/>
                  </a:ln>
                  <a:solidFill>
                    <a:srgbClr val="333333">
                      <a:lumMod val="90000"/>
                      <a:lumOff val="10000"/>
                    </a:srgbClr>
                  </a:solidFill>
                  <a:effectLst/>
                  <a:uLnTx/>
                  <a:uFillTx/>
                  <a:latin typeface="Calibri"/>
                  <a:ea typeface="+mn-ea"/>
                  <a:cs typeface="+mn-cs"/>
                </a:rPr>
                <a:t>Enterprise Edition</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333333">
                      <a:lumMod val="90000"/>
                      <a:lumOff val="10000"/>
                    </a:srgbClr>
                  </a:solidFill>
                  <a:effectLst/>
                  <a:uLnTx/>
                  <a:uFillTx/>
                  <a:latin typeface="Calibri"/>
                  <a:ea typeface="+mn-ea"/>
                  <a:cs typeface="+mn-cs"/>
                </a:rPr>
                <a:t>Integrate with core systems and applications. Fully supported web and mobile SDKs and API.</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1"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1"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p:txBody>
        </p:sp>
        <p:pic>
          <p:nvPicPr>
            <p:cNvPr id="23" name="Picture 22" descr="Enterprise-Plan.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04201" y="2163234"/>
              <a:ext cx="910823" cy="850900"/>
            </a:xfrm>
            <a:prstGeom prst="rect">
              <a:avLst/>
            </a:prstGeom>
          </p:spPr>
        </p:pic>
      </p:grpSp>
      <p:grpSp>
        <p:nvGrpSpPr>
          <p:cNvPr id="27" name="Group 26"/>
          <p:cNvGrpSpPr/>
          <p:nvPr/>
        </p:nvGrpSpPr>
        <p:grpSpPr>
          <a:xfrm>
            <a:off x="4888414" y="2211306"/>
            <a:ext cx="3583620" cy="1599077"/>
            <a:chOff x="4792134" y="2168144"/>
            <a:chExt cx="3513672" cy="1567865"/>
          </a:xfrm>
        </p:grpSpPr>
        <p:sp>
          <p:nvSpPr>
            <p:cNvPr id="7" name="TextBox 6"/>
            <p:cNvSpPr txBox="1"/>
            <p:nvPr/>
          </p:nvSpPr>
          <p:spPr>
            <a:xfrm>
              <a:off x="5748874" y="2168144"/>
              <a:ext cx="2556932" cy="156786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0" cap="none" spc="0" normalizeH="0" baseline="0" noProof="0" dirty="0">
                  <a:ln>
                    <a:noFill/>
                  </a:ln>
                  <a:solidFill>
                    <a:srgbClr val="333333">
                      <a:lumMod val="90000"/>
                      <a:lumOff val="10000"/>
                    </a:srgbClr>
                  </a:solidFill>
                  <a:effectLst/>
                  <a:uLnTx/>
                  <a:uFillTx/>
                  <a:latin typeface="Calibri"/>
                  <a:ea typeface="+mn-ea"/>
                  <a:cs typeface="+mn-cs"/>
                </a:rPr>
                <a:t>Professional Edition</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333333">
                      <a:lumMod val="90000"/>
                      <a:lumOff val="10000"/>
                    </a:srgbClr>
                  </a:solidFill>
                  <a:effectLst/>
                  <a:uLnTx/>
                  <a:uFillTx/>
                  <a:latin typeface="Calibri"/>
                  <a:ea typeface="+mn-ea"/>
                  <a:cs typeface="+mn-cs"/>
                </a:rPr>
                <a:t>Start e-signing in minutes using</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333333">
                      <a:lumMod val="90000"/>
                      <a:lumOff val="10000"/>
                    </a:srgbClr>
                  </a:solidFill>
                  <a:effectLst/>
                  <a:uLnTx/>
                  <a:uFillTx/>
                  <a:latin typeface="Calibri"/>
                  <a:ea typeface="+mn-ea"/>
                  <a:cs typeface="+mn-cs"/>
                </a:rPr>
                <a:t>our stand-alone web service and mobile app. No IT support requir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1"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1"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p:txBody>
        </p:sp>
        <p:pic>
          <p:nvPicPr>
            <p:cNvPr id="26" name="Picture 25" descr="Plug-N-Play-Web-Service.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92134" y="2205567"/>
              <a:ext cx="910823" cy="850900"/>
            </a:xfrm>
            <a:prstGeom prst="rect">
              <a:avLst/>
            </a:prstGeom>
          </p:spPr>
        </p:pic>
      </p:grpSp>
      <p:grpSp>
        <p:nvGrpSpPr>
          <p:cNvPr id="31" name="Group 30"/>
          <p:cNvGrpSpPr/>
          <p:nvPr/>
        </p:nvGrpSpPr>
        <p:grpSpPr>
          <a:xfrm>
            <a:off x="5207903" y="3143219"/>
            <a:ext cx="6744117" cy="2566913"/>
            <a:chOff x="5105386" y="3081867"/>
            <a:chExt cx="6612480" cy="2516810"/>
          </a:xfrm>
        </p:grpSpPr>
        <p:grpSp>
          <p:nvGrpSpPr>
            <p:cNvPr id="29" name="Group 28"/>
            <p:cNvGrpSpPr/>
            <p:nvPr/>
          </p:nvGrpSpPr>
          <p:grpSpPr>
            <a:xfrm>
              <a:off x="5105386" y="3081867"/>
              <a:ext cx="6612480" cy="2516810"/>
              <a:chOff x="5105386" y="3081867"/>
              <a:chExt cx="6612480" cy="2516810"/>
            </a:xfrm>
          </p:grpSpPr>
          <p:grpSp>
            <p:nvGrpSpPr>
              <p:cNvPr id="25" name="Group 24"/>
              <p:cNvGrpSpPr/>
              <p:nvPr/>
            </p:nvGrpSpPr>
            <p:grpSpPr>
              <a:xfrm>
                <a:off x="5105386" y="3721389"/>
                <a:ext cx="6612480" cy="1877288"/>
                <a:chOff x="5113853" y="3746799"/>
                <a:chExt cx="6612480" cy="1877288"/>
              </a:xfrm>
            </p:grpSpPr>
            <p:sp>
              <p:nvSpPr>
                <p:cNvPr id="13" name="TextBox 12"/>
                <p:cNvSpPr txBox="1"/>
                <p:nvPr/>
              </p:nvSpPr>
              <p:spPr>
                <a:xfrm>
                  <a:off x="5113853" y="4056222"/>
                  <a:ext cx="2658533" cy="1567865"/>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0" cap="none" spc="0" normalizeH="0" baseline="0" noProof="0" dirty="0">
                      <a:ln>
                        <a:noFill/>
                      </a:ln>
                      <a:solidFill>
                        <a:srgbClr val="333333">
                          <a:lumMod val="90000"/>
                          <a:lumOff val="10000"/>
                        </a:srgbClr>
                      </a:solidFill>
                      <a:effectLst/>
                      <a:uLnTx/>
                      <a:uFillTx/>
                      <a:latin typeface="Calibri"/>
                      <a:ea typeface="+mn-ea"/>
                      <a:cs typeface="+mn-cs"/>
                    </a:rPr>
                    <a:t>3</a:t>
                  </a:r>
                  <a:r>
                    <a:rPr kumimoji="0" lang="en-US" sz="1632" b="1" i="0" u="none" strike="noStrike" kern="0" cap="none" spc="0" normalizeH="0" baseline="30000" noProof="0" dirty="0">
                      <a:ln>
                        <a:noFill/>
                      </a:ln>
                      <a:solidFill>
                        <a:srgbClr val="333333">
                          <a:lumMod val="90000"/>
                          <a:lumOff val="10000"/>
                        </a:srgbClr>
                      </a:solidFill>
                      <a:effectLst/>
                      <a:uLnTx/>
                      <a:uFillTx/>
                      <a:latin typeface="Calibri"/>
                      <a:ea typeface="+mn-ea"/>
                      <a:cs typeface="+mn-cs"/>
                    </a:rPr>
                    <a:t>rd</a:t>
                  </a:r>
                  <a:r>
                    <a:rPr kumimoji="0" lang="en-US" sz="1632" b="1" i="0" u="none" strike="noStrike" kern="0" cap="none" spc="0" normalizeH="0" baseline="0" noProof="0" dirty="0">
                      <a:ln>
                        <a:noFill/>
                      </a:ln>
                      <a:solidFill>
                        <a:srgbClr val="333333">
                          <a:lumMod val="90000"/>
                          <a:lumOff val="10000"/>
                        </a:srgbClr>
                      </a:solidFill>
                      <a:effectLst/>
                      <a:uLnTx/>
                      <a:uFillTx/>
                      <a:latin typeface="Calibri"/>
                      <a:ea typeface="+mn-ea"/>
                      <a:cs typeface="+mn-cs"/>
                    </a:rPr>
                    <a:t> Party Connector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333333">
                          <a:lumMod val="90000"/>
                          <a:lumOff val="10000"/>
                        </a:srgbClr>
                      </a:solidFill>
                      <a:effectLst/>
                      <a:uLnTx/>
                      <a:uFillTx/>
                      <a:latin typeface="Calibri"/>
                      <a:ea typeface="+mn-ea"/>
                      <a:cs typeface="+mn-cs"/>
                    </a:rPr>
                    <a:t>Drop into your favorite business applications. Pre-built.</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333333">
                          <a:lumMod val="90000"/>
                          <a:lumOff val="10000"/>
                        </a:srgbClr>
                      </a:solidFill>
                      <a:effectLst/>
                      <a:uLnTx/>
                      <a:uFillTx/>
                      <a:latin typeface="Calibri"/>
                      <a:ea typeface="+mn-ea"/>
                      <a:cs typeface="+mn-cs"/>
                    </a:rPr>
                    <a:t>No coding requir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srgbClr val="333333"/>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1" i="0" u="none" strike="noStrike" kern="0" cap="none" spc="0" normalizeH="0" baseline="0" noProof="0" dirty="0">
                    <a:ln>
                      <a:noFill/>
                    </a:ln>
                    <a:solidFill>
                      <a:srgbClr val="333333"/>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1" i="0" u="none" strike="noStrike" kern="0" cap="none" spc="0" normalizeH="0" baseline="0" noProof="0" dirty="0">
                      <a:ln>
                        <a:noFill/>
                      </a:ln>
                      <a:solidFill>
                        <a:srgbClr val="333333"/>
                      </a:solidFill>
                      <a:effectLst/>
                      <a:uLnTx/>
                      <a:uFillTx/>
                      <a:latin typeface="Calibri"/>
                      <a:ea typeface="+mn-ea"/>
                      <a:cs typeface="+mn-cs"/>
                    </a:rPr>
                    <a:t>  </a:t>
                  </a:r>
                </a:p>
              </p:txBody>
            </p:sp>
            <p:grpSp>
              <p:nvGrpSpPr>
                <p:cNvPr id="48" name="Group 47"/>
                <p:cNvGrpSpPr/>
                <p:nvPr/>
              </p:nvGrpSpPr>
              <p:grpSpPr>
                <a:xfrm>
                  <a:off x="7673204" y="3746799"/>
                  <a:ext cx="2536372" cy="763517"/>
                  <a:chOff x="7783270" y="3543599"/>
                  <a:chExt cx="2536372" cy="763517"/>
                </a:xfrm>
              </p:grpSpPr>
              <p:pic>
                <p:nvPicPr>
                  <p:cNvPr id="33" name="Picture 32" descr="dynamics logo.jpe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40031" y="3543599"/>
                    <a:ext cx="1479611" cy="763517"/>
                  </a:xfrm>
                  <a:prstGeom prst="rect">
                    <a:avLst/>
                  </a:prstGeom>
                </p:spPr>
              </p:pic>
              <p:pic>
                <p:nvPicPr>
                  <p:cNvPr id="35" name="Picture 34" descr="Office_365_logo.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783270" y="3848225"/>
                    <a:ext cx="1132115" cy="260387"/>
                  </a:xfrm>
                  <a:prstGeom prst="rect">
                    <a:avLst/>
                  </a:prstGeom>
                </p:spPr>
              </p:pic>
            </p:grpSp>
            <p:sp>
              <p:nvSpPr>
                <p:cNvPr id="49" name="Rectangle 48"/>
                <p:cNvSpPr/>
                <p:nvPr/>
              </p:nvSpPr>
              <p:spPr bwMode="auto">
                <a:xfrm>
                  <a:off x="5198532" y="3801533"/>
                  <a:ext cx="6527801" cy="1430867"/>
                </a:xfrm>
                <a:prstGeom prst="rect">
                  <a:avLst/>
                </a:prstGeom>
                <a:noFill/>
                <a:ln w="12700" cap="flat" cmpd="sng" algn="ctr">
                  <a:solidFill>
                    <a:schemeClr val="accent2"/>
                  </a:solidFill>
                  <a:prstDash val="sysDash"/>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grpSp>
          <p:cxnSp>
            <p:nvCxnSpPr>
              <p:cNvPr id="20" name="Straight Arrow Connector 19"/>
              <p:cNvCxnSpPr/>
              <p:nvPr/>
            </p:nvCxnSpPr>
            <p:spPr bwMode="auto">
              <a:xfrm rot="16200000" flipH="1">
                <a:off x="8403167" y="3348567"/>
                <a:ext cx="533400" cy="0"/>
              </a:xfrm>
              <a:prstGeom prst="straightConnector1">
                <a:avLst/>
              </a:prstGeom>
              <a:solidFill>
                <a:schemeClr val="accent1"/>
              </a:solidFill>
              <a:ln w="12700" cap="flat" cmpd="sng" algn="ctr">
                <a:solidFill>
                  <a:schemeClr val="accent2"/>
                </a:solidFill>
                <a:prstDash val="sysDash"/>
                <a:miter lim="800000"/>
                <a:headEnd type="none" w="med" len="med"/>
                <a:tailEnd type="arrow"/>
              </a:ln>
              <a:effectLst/>
            </p:spPr>
          </p:cxnSp>
          <p:cxnSp>
            <p:nvCxnSpPr>
              <p:cNvPr id="21" name="Straight Arrow Connector 20"/>
              <p:cNvCxnSpPr/>
              <p:nvPr/>
            </p:nvCxnSpPr>
            <p:spPr bwMode="auto">
              <a:xfrm rot="16200000" flipH="1">
                <a:off x="4957234" y="3399370"/>
                <a:ext cx="533400" cy="0"/>
              </a:xfrm>
              <a:prstGeom prst="straightConnector1">
                <a:avLst/>
              </a:prstGeom>
              <a:solidFill>
                <a:schemeClr val="accent1"/>
              </a:solidFill>
              <a:ln w="12700" cap="flat" cmpd="sng" algn="ctr">
                <a:solidFill>
                  <a:schemeClr val="accent2"/>
                </a:solidFill>
                <a:prstDash val="sysDash"/>
                <a:miter lim="800000"/>
                <a:headEnd type="none" w="med" len="med"/>
                <a:tailEnd type="arrow"/>
              </a:ln>
              <a:effectLst/>
            </p:spPr>
          </p:cxnSp>
        </p:grpSp>
        <p:pic>
          <p:nvPicPr>
            <p:cNvPr id="30" name="Picture 29" descr="MS SharePoint.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151530" y="3846908"/>
              <a:ext cx="1381816" cy="547292"/>
            </a:xfrm>
            <a:prstGeom prst="rect">
              <a:avLst/>
            </a:prstGeom>
          </p:spPr>
        </p:pic>
      </p:grpSp>
    </p:spTree>
    <p:extLst>
      <p:ext uri="{BB962C8B-B14F-4D97-AF65-F5344CB8AC3E}">
        <p14:creationId xmlns:p14="http://schemas.microsoft.com/office/powerpoint/2010/main" val="1700070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23101" y="4908203"/>
            <a:ext cx="609354" cy="882941"/>
          </a:xfrm>
          <a:prstGeom prst="rect">
            <a:avLst/>
          </a:prstGeom>
        </p:spPr>
      </p:pic>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4226" y="778939"/>
            <a:ext cx="847104" cy="1097316"/>
          </a:xfrm>
          <a:prstGeom prst="rect">
            <a:avLst/>
          </a:prstGeom>
        </p:spPr>
      </p:pic>
      <p:pic>
        <p:nvPicPr>
          <p:cNvPr id="11" name="Picture 1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6821" y="2848163"/>
            <a:ext cx="1081914" cy="1088131"/>
          </a:xfrm>
          <a:prstGeom prst="rect">
            <a:avLst/>
          </a:prstGeom>
        </p:spPr>
      </p:pic>
      <p:sp>
        <p:nvSpPr>
          <p:cNvPr id="12" name="TextBox 11"/>
          <p:cNvSpPr txBox="1"/>
          <p:nvPr/>
        </p:nvSpPr>
        <p:spPr>
          <a:xfrm>
            <a:off x="1449642" y="574229"/>
            <a:ext cx="5223108" cy="1538127"/>
          </a:xfrm>
          <a:prstGeom prst="rect">
            <a:avLst/>
          </a:prstGeom>
          <a:noFill/>
        </p:spPr>
        <p:txBody>
          <a:bodyPr wrap="square" rtlCol="0">
            <a:spAutoFit/>
          </a:bodyPr>
          <a:lstStyle/>
          <a:p>
            <a:pPr algn="ctr" defTabSz="932597"/>
            <a:r>
              <a:rPr lang="en-US" sz="1836" b="1">
                <a:solidFill>
                  <a:prstClr val="black"/>
                </a:solidFill>
                <a:latin typeface="Segoe UI" panose="020B0502040204020203" pitchFamily="34" charset="0"/>
                <a:cs typeface="Segoe UI" panose="020B0502040204020203" pitchFamily="34" charset="0"/>
              </a:rPr>
              <a:t>Transform </a:t>
            </a:r>
            <a:r>
              <a:rPr lang="en-US" sz="1836" b="1" dirty="0">
                <a:solidFill>
                  <a:prstClr val="black"/>
                </a:solidFill>
                <a:latin typeface="Segoe UI" panose="020B0502040204020203" pitchFamily="34" charset="0"/>
                <a:cs typeface="Segoe UI" panose="020B0502040204020203" pitchFamily="34" charset="0"/>
              </a:rPr>
              <a:t>the way Border Patrol Agents interact with apprehended individuals</a:t>
            </a:r>
          </a:p>
          <a:p>
            <a:pPr algn="ctr" defTabSz="932597"/>
            <a:r>
              <a:rPr lang="en-US" sz="1836" i="1" dirty="0">
                <a:solidFill>
                  <a:prstClr val="black"/>
                </a:solidFill>
                <a:latin typeface="Segoe UI" panose="020B0502040204020203" pitchFamily="34" charset="0"/>
                <a:cs typeface="Segoe UI" panose="020B0502040204020203" pitchFamily="34" charset="0"/>
              </a:rPr>
              <a:t>Translation Services API</a:t>
            </a:r>
          </a:p>
          <a:p>
            <a:pPr defTabSz="932597"/>
            <a:br>
              <a:rPr lang="en-US" sz="1836" dirty="0">
                <a:solidFill>
                  <a:prstClr val="black"/>
                </a:solidFill>
                <a:latin typeface="Segoe UI" panose="020B0502040204020203" pitchFamily="34" charset="0"/>
                <a:cs typeface="Segoe UI" panose="020B0502040204020203" pitchFamily="34" charset="0"/>
              </a:rPr>
            </a:br>
            <a:r>
              <a:rPr lang="en-US" sz="1836" dirty="0">
                <a:solidFill>
                  <a:prstClr val="black"/>
                </a:solidFill>
                <a:latin typeface="Segoe UI" panose="020B0502040204020203" pitchFamily="34" charset="0"/>
                <a:cs typeface="Segoe UI" panose="020B0502040204020203" pitchFamily="34" charset="0"/>
              </a:rPr>
              <a:t>          </a:t>
            </a:r>
          </a:p>
        </p:txBody>
      </p:sp>
      <p:pic>
        <p:nvPicPr>
          <p:cNvPr id="13" name="Picture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449643" y="1521546"/>
            <a:ext cx="552332" cy="709417"/>
          </a:xfrm>
          <a:prstGeom prst="rect">
            <a:avLst/>
          </a:prstGeom>
        </p:spPr>
      </p:pic>
      <p:sp>
        <p:nvSpPr>
          <p:cNvPr id="14" name="TextBox 13"/>
          <p:cNvSpPr txBox="1"/>
          <p:nvPr/>
        </p:nvSpPr>
        <p:spPr>
          <a:xfrm>
            <a:off x="1499499" y="2530349"/>
            <a:ext cx="5392681" cy="1630991"/>
          </a:xfrm>
          <a:prstGeom prst="rect">
            <a:avLst/>
          </a:prstGeom>
          <a:noFill/>
        </p:spPr>
        <p:txBody>
          <a:bodyPr wrap="square" rtlCol="0">
            <a:spAutoFit/>
          </a:bodyPr>
          <a:lstStyle/>
          <a:p>
            <a:pPr algn="ctr" defTabSz="932597"/>
            <a:r>
              <a:rPr lang="en-US" sz="2040" b="1" dirty="0">
                <a:solidFill>
                  <a:prstClr val="black"/>
                </a:solidFill>
                <a:latin typeface="Segoe UI" panose="020B0502040204020203" pitchFamily="34" charset="0"/>
                <a:cs typeface="Segoe UI" panose="020B0502040204020203" pitchFamily="34" charset="0"/>
              </a:rPr>
              <a:t>Improving efficiency and security of the CBP Global Entry System</a:t>
            </a:r>
            <a:br>
              <a:rPr lang="en-US" sz="2040" b="1" dirty="0">
                <a:solidFill>
                  <a:prstClr val="black"/>
                </a:solidFill>
                <a:latin typeface="Segoe UI" panose="020B0502040204020203" pitchFamily="34" charset="0"/>
                <a:cs typeface="Segoe UI" panose="020B0502040204020203" pitchFamily="34" charset="0"/>
              </a:rPr>
            </a:br>
            <a:r>
              <a:rPr lang="en-US" sz="2040" i="1" dirty="0">
                <a:solidFill>
                  <a:prstClr val="black"/>
                </a:solidFill>
                <a:latin typeface="Segoe UI" panose="020B0502040204020203" pitchFamily="34" charset="0"/>
                <a:cs typeface="Segoe UI" panose="020B0502040204020203" pitchFamily="34" charset="0"/>
              </a:rPr>
              <a:t>Facial Verification and Identification</a:t>
            </a:r>
          </a:p>
          <a:p>
            <a:pPr defTabSz="932597"/>
            <a:r>
              <a:rPr lang="en-US" sz="1836" dirty="0">
                <a:solidFill>
                  <a:prstClr val="black"/>
                </a:solidFill>
                <a:latin typeface="Segoe UI" panose="020B0502040204020203" pitchFamily="34" charset="0"/>
                <a:cs typeface="Segoe UI" panose="020B0502040204020203" pitchFamily="34" charset="0"/>
              </a:rPr>
              <a:t>	</a:t>
            </a:r>
            <a:br>
              <a:rPr lang="en-US" sz="1836" dirty="0">
                <a:solidFill>
                  <a:prstClr val="black"/>
                </a:solidFill>
                <a:latin typeface="Segoe UI" panose="020B0502040204020203" pitchFamily="34" charset="0"/>
                <a:cs typeface="Segoe UI" panose="020B0502040204020203" pitchFamily="34" charset="0"/>
              </a:rPr>
            </a:br>
            <a:endParaRPr lang="en-US" sz="1836" dirty="0">
              <a:solidFill>
                <a:prstClr val="black"/>
              </a:solidFill>
              <a:latin typeface="Segoe UI" panose="020B0502040204020203" pitchFamily="34" charset="0"/>
              <a:cs typeface="Segoe UI" panose="020B0502040204020203" pitchFamily="34" charset="0"/>
            </a:endParaRPr>
          </a:p>
        </p:txBody>
      </p:sp>
      <p:pic>
        <p:nvPicPr>
          <p:cNvPr id="15" name="Picture 1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376325" y="3456574"/>
            <a:ext cx="617121" cy="826315"/>
          </a:xfrm>
          <a:prstGeom prst="rect">
            <a:avLst/>
          </a:prstGeom>
        </p:spPr>
      </p:pic>
      <p:sp>
        <p:nvSpPr>
          <p:cNvPr id="16" name="TextBox 15"/>
          <p:cNvSpPr txBox="1"/>
          <p:nvPr/>
        </p:nvSpPr>
        <p:spPr>
          <a:xfrm>
            <a:off x="1416699" y="4551174"/>
            <a:ext cx="5620492" cy="1630991"/>
          </a:xfrm>
          <a:prstGeom prst="rect">
            <a:avLst/>
          </a:prstGeom>
          <a:noFill/>
        </p:spPr>
        <p:txBody>
          <a:bodyPr wrap="square" rtlCol="0">
            <a:spAutoFit/>
          </a:bodyPr>
          <a:lstStyle/>
          <a:p>
            <a:pPr algn="ctr" defTabSz="932597"/>
            <a:r>
              <a:rPr lang="en-US" sz="2040" b="1" dirty="0">
                <a:solidFill>
                  <a:prstClr val="black"/>
                </a:solidFill>
                <a:latin typeface="Segoe UI" panose="020B0502040204020203" pitchFamily="34" charset="0"/>
                <a:cs typeface="Segoe UI" panose="020B0502040204020203" pitchFamily="34" charset="0"/>
              </a:rPr>
              <a:t>Intelligent Q&amp;A System for cbp.gov</a:t>
            </a:r>
          </a:p>
          <a:p>
            <a:pPr algn="ctr" defTabSz="932597"/>
            <a:r>
              <a:rPr lang="en-US" sz="2040" b="1" dirty="0">
                <a:solidFill>
                  <a:prstClr val="black"/>
                </a:solidFill>
                <a:latin typeface="Segoe UI" panose="020B0502040204020203" pitchFamily="34" charset="0"/>
                <a:cs typeface="Segoe UI" panose="020B0502040204020203" pitchFamily="34" charset="0"/>
              </a:rPr>
              <a:t>Internal office use to search data</a:t>
            </a:r>
            <a:br>
              <a:rPr lang="en-US" sz="2040" b="1" dirty="0">
                <a:solidFill>
                  <a:prstClr val="black"/>
                </a:solidFill>
                <a:latin typeface="Segoe UI" panose="020B0502040204020203" pitchFamily="34" charset="0"/>
                <a:cs typeface="Segoe UI" panose="020B0502040204020203" pitchFamily="34" charset="0"/>
              </a:rPr>
            </a:br>
            <a:r>
              <a:rPr lang="en-US" sz="2040" i="1" dirty="0">
                <a:solidFill>
                  <a:prstClr val="black"/>
                </a:solidFill>
                <a:latin typeface="Segoe UI" panose="020B0502040204020203" pitchFamily="34" charset="0"/>
                <a:cs typeface="Segoe UI" panose="020B0502040204020203" pitchFamily="34" charset="0"/>
              </a:rPr>
              <a:t>AI BOT Technology</a:t>
            </a:r>
          </a:p>
          <a:p>
            <a:pPr defTabSz="932597"/>
            <a:r>
              <a:rPr lang="en-US" sz="1836" dirty="0">
                <a:solidFill>
                  <a:prstClr val="black"/>
                </a:solidFill>
                <a:latin typeface="Segoe UI" panose="020B0502040204020203" pitchFamily="34" charset="0"/>
                <a:cs typeface="Segoe UI" panose="020B0502040204020203" pitchFamily="34" charset="0"/>
              </a:rPr>
              <a:t>	</a:t>
            </a:r>
            <a:br>
              <a:rPr lang="en-US" sz="1836" dirty="0">
                <a:solidFill>
                  <a:prstClr val="black"/>
                </a:solidFill>
                <a:latin typeface="Segoe UI" panose="020B0502040204020203" pitchFamily="34" charset="0"/>
                <a:cs typeface="Segoe UI" panose="020B0502040204020203" pitchFamily="34" charset="0"/>
              </a:rPr>
            </a:br>
            <a:r>
              <a:rPr lang="en-US" sz="1836" dirty="0">
                <a:solidFill>
                  <a:prstClr val="black"/>
                </a:solidFill>
                <a:latin typeface="Segoe UI" panose="020B0502040204020203" pitchFamily="34" charset="0"/>
                <a:cs typeface="Segoe UI" panose="020B0502040204020203" pitchFamily="34" charset="0"/>
              </a:rPr>
              <a:t>          </a:t>
            </a:r>
          </a:p>
        </p:txBody>
      </p:sp>
      <p:pic>
        <p:nvPicPr>
          <p:cNvPr id="17" name="Picture 1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363578" y="5493595"/>
            <a:ext cx="543567" cy="755558"/>
          </a:xfrm>
          <a:prstGeom prst="rect">
            <a:avLst/>
          </a:prstGeom>
        </p:spPr>
      </p:pic>
      <p:cxnSp>
        <p:nvCxnSpPr>
          <p:cNvPr id="19" name="Straight Connector 18"/>
          <p:cNvCxnSpPr/>
          <p:nvPr/>
        </p:nvCxnSpPr>
        <p:spPr>
          <a:xfrm flipV="1">
            <a:off x="1308873" y="2333163"/>
            <a:ext cx="5079462" cy="23461"/>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1268735" y="4454327"/>
            <a:ext cx="5079462" cy="23461"/>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037106" y="1697463"/>
            <a:ext cx="4594701" cy="374846"/>
          </a:xfrm>
          <a:prstGeom prst="rect">
            <a:avLst/>
          </a:prstGeom>
          <a:noFill/>
        </p:spPr>
        <p:txBody>
          <a:bodyPr wrap="square" rtlCol="0">
            <a:spAutoFit/>
          </a:bodyPr>
          <a:lstStyle/>
          <a:p>
            <a:pPr defTabSz="932597"/>
            <a:r>
              <a:rPr lang="en-US" sz="1836" dirty="0">
                <a:solidFill>
                  <a:prstClr val="black"/>
                </a:solidFill>
                <a:latin typeface="Segoe UI" panose="020B0502040204020203" pitchFamily="34" charset="0"/>
                <a:cs typeface="Segoe UI" panose="020B0502040204020203" pitchFamily="34" charset="0"/>
              </a:rPr>
              <a:t>$2M-$5M yearly Data Platform Azure Burn</a:t>
            </a:r>
          </a:p>
        </p:txBody>
      </p:sp>
      <p:sp>
        <p:nvSpPr>
          <p:cNvPr id="23" name="TextBox 22"/>
          <p:cNvSpPr txBox="1"/>
          <p:nvPr/>
        </p:nvSpPr>
        <p:spPr>
          <a:xfrm>
            <a:off x="1960861" y="3691792"/>
            <a:ext cx="4808284" cy="382308"/>
          </a:xfrm>
          <a:prstGeom prst="rect">
            <a:avLst/>
          </a:prstGeom>
          <a:noFill/>
        </p:spPr>
        <p:txBody>
          <a:bodyPr wrap="none" rtlCol="0">
            <a:spAutoFit/>
          </a:bodyPr>
          <a:lstStyle/>
          <a:p>
            <a:pPr defTabSz="932597"/>
            <a:r>
              <a:rPr lang="en-US" sz="1836" dirty="0">
                <a:solidFill>
                  <a:prstClr val="black"/>
                </a:solidFill>
                <a:latin typeface="Segoe UI" panose="020B0502040204020203" pitchFamily="34" charset="0"/>
                <a:cs typeface="Segoe UI" panose="020B0502040204020203" pitchFamily="34" charset="0"/>
              </a:rPr>
              <a:t> $3M-$6M yearly Data Platform Azure Burn </a:t>
            </a:r>
          </a:p>
        </p:txBody>
      </p:sp>
      <p:sp>
        <p:nvSpPr>
          <p:cNvPr id="24" name="TextBox 23"/>
          <p:cNvSpPr txBox="1"/>
          <p:nvPr/>
        </p:nvSpPr>
        <p:spPr>
          <a:xfrm>
            <a:off x="1971662" y="5683032"/>
            <a:ext cx="4677491" cy="382308"/>
          </a:xfrm>
          <a:prstGeom prst="rect">
            <a:avLst/>
          </a:prstGeom>
          <a:noFill/>
        </p:spPr>
        <p:txBody>
          <a:bodyPr wrap="none" rtlCol="0">
            <a:spAutoFit/>
          </a:bodyPr>
          <a:lstStyle/>
          <a:p>
            <a:pPr defTabSz="932597"/>
            <a:r>
              <a:rPr lang="en-US" sz="1836" dirty="0">
                <a:solidFill>
                  <a:prstClr val="black"/>
                </a:solidFill>
                <a:latin typeface="Segoe UI" panose="020B0502040204020203" pitchFamily="34" charset="0"/>
                <a:cs typeface="Segoe UI" panose="020B0502040204020203" pitchFamily="34" charset="0"/>
              </a:rPr>
              <a:t>$1M-$2M yearly Data Platform Azure Burn</a:t>
            </a:r>
          </a:p>
        </p:txBody>
      </p:sp>
      <p:pic>
        <p:nvPicPr>
          <p:cNvPr id="25" name="Picture 24"/>
          <p:cNvPicPr>
            <a:picLocks noChangeAspect="1"/>
          </p:cNvPicPr>
          <p:nvPr/>
        </p:nvPicPr>
        <p:blipFill>
          <a:blip r:embed="rId9"/>
          <a:stretch>
            <a:fillRect/>
          </a:stretch>
        </p:blipFill>
        <p:spPr>
          <a:xfrm>
            <a:off x="7056994" y="-1"/>
            <a:ext cx="5378599" cy="6991593"/>
          </a:xfrm>
          <a:prstGeom prst="rect">
            <a:avLst/>
          </a:prstGeom>
        </p:spPr>
      </p:pic>
      <p:sp>
        <p:nvSpPr>
          <p:cNvPr id="2" name="TextBox 1"/>
          <p:cNvSpPr txBox="1"/>
          <p:nvPr/>
        </p:nvSpPr>
        <p:spPr>
          <a:xfrm>
            <a:off x="2316678" y="6571999"/>
            <a:ext cx="2779224" cy="286306"/>
          </a:xfrm>
          <a:prstGeom prst="rect">
            <a:avLst/>
          </a:prstGeom>
          <a:noFill/>
        </p:spPr>
        <p:txBody>
          <a:bodyPr wrap="none" rtlCol="0">
            <a:spAutoFit/>
          </a:bodyPr>
          <a:lstStyle/>
          <a:p>
            <a:pPr defTabSz="932597"/>
            <a:r>
              <a:rPr lang="en-US" sz="1224" dirty="0">
                <a:solidFill>
                  <a:srgbClr val="FF0000"/>
                </a:solidFill>
                <a:latin typeface="Calibri" panose="020F0502020204030204"/>
              </a:rPr>
              <a:t>Note: MSX does not reflect these values</a:t>
            </a:r>
          </a:p>
        </p:txBody>
      </p:sp>
    </p:spTree>
    <p:extLst>
      <p:ext uri="{BB962C8B-B14F-4D97-AF65-F5344CB8AC3E}">
        <p14:creationId xmlns:p14="http://schemas.microsoft.com/office/powerpoint/2010/main" val="4095078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P spid="22" grpId="0"/>
      <p:bldP spid="23" grpId="0"/>
      <p:bldP spid="24" grpId="0"/>
      <p:bldP spid="2" grpId="0"/>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F71C7896-8E11-4384-BFC5-C0974CDBC83D}" type="slidenum">
              <a:rPr kumimoji="0" lang="en-US" sz="1836" b="0" i="0" u="none" strike="noStrike" kern="0" cap="none" spc="0" normalizeH="0" baseline="0" noProof="0">
                <a:ln>
                  <a:noFill/>
                </a:ln>
                <a:solidFill>
                  <a:sysClr val="windowText" lastClr="000000"/>
                </a:solidFill>
                <a:effectLst/>
                <a:uLnTx/>
                <a:uFillTx/>
                <a:latin typeface="Calibr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130</a:t>
            </a:fld>
            <a:endParaRPr kumimoji="0" lang="en-US" sz="1836"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5" name="Title 3"/>
          <p:cNvSpPr txBox="1">
            <a:spLocks/>
          </p:cNvSpPr>
          <p:nvPr/>
        </p:nvSpPr>
        <p:spPr bwMode="auto">
          <a:xfrm>
            <a:off x="882" y="256088"/>
            <a:ext cx="12434711" cy="564258"/>
          </a:xfrm>
          <a:prstGeom prst="rect">
            <a:avLst/>
          </a:prstGeom>
          <a:noFill/>
          <a:ln w="9525">
            <a:noFill/>
            <a:miter lim="800000"/>
            <a:headEnd/>
            <a:tailEnd/>
          </a:ln>
          <a:effectLst/>
        </p:spPr>
        <p:txBody>
          <a:bodyPr vert="horz" wrap="square" lIns="46630" tIns="46630" rIns="46630" bIns="0" numCol="1" anchor="ctr" anchorCtr="0" compatLnSpc="1">
            <a:prstTxWarp prst="textNoShape">
              <a:avLst/>
            </a:prstTxWarp>
          </a:body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2652" b="0" i="0" u="none" strike="noStrike" kern="0" cap="none" spc="0" normalizeH="0" baseline="0" noProof="0" dirty="0">
                <a:ln>
                  <a:noFill/>
                </a:ln>
                <a:solidFill>
                  <a:srgbClr val="333333">
                    <a:lumMod val="90000"/>
                    <a:lumOff val="10000"/>
                  </a:srgbClr>
                </a:solidFill>
                <a:effectLst/>
                <a:uLnTx/>
                <a:uFillTx/>
                <a:latin typeface="Calibri"/>
                <a:ea typeface="+mn-ea"/>
                <a:cs typeface="Arial" pitchFamily="34" charset="0"/>
              </a:rPr>
              <a:t>MOST SECURE - Which solution would you trust to prove compliance and go to court? </a:t>
            </a:r>
            <a:endParaRPr kumimoji="0" lang="en-US" sz="2040" b="0" i="0" u="none" strike="noStrike" kern="0" cap="none" spc="0" normalizeH="0" baseline="0" noProof="0" dirty="0">
              <a:ln>
                <a:noFill/>
              </a:ln>
              <a:solidFill>
                <a:srgbClr val="333333">
                  <a:lumMod val="90000"/>
                  <a:lumOff val="10000"/>
                </a:srgbClr>
              </a:solidFill>
              <a:effectLst/>
              <a:uLnTx/>
              <a:uFillTx/>
              <a:latin typeface="Calibri"/>
              <a:ea typeface="+mn-ea"/>
              <a:cs typeface="Arial" pitchFamily="34" charset="0"/>
            </a:endParaRPr>
          </a:p>
        </p:txBody>
      </p:sp>
      <p:grpSp>
        <p:nvGrpSpPr>
          <p:cNvPr id="3" name="Group 50"/>
          <p:cNvGrpSpPr/>
          <p:nvPr/>
        </p:nvGrpSpPr>
        <p:grpSpPr>
          <a:xfrm>
            <a:off x="7011636" y="1273936"/>
            <a:ext cx="4384014" cy="3254339"/>
            <a:chOff x="2506135" y="1490568"/>
            <a:chExt cx="3983940" cy="3302482"/>
          </a:xfrm>
        </p:grpSpPr>
        <p:grpSp>
          <p:nvGrpSpPr>
            <p:cNvPr id="4" name="Group 39"/>
            <p:cNvGrpSpPr/>
            <p:nvPr/>
          </p:nvGrpSpPr>
          <p:grpSpPr>
            <a:xfrm>
              <a:off x="2506135" y="1490568"/>
              <a:ext cx="3983940" cy="3302482"/>
              <a:chOff x="1032934" y="1499034"/>
              <a:chExt cx="3983940" cy="3302482"/>
            </a:xfrm>
          </p:grpSpPr>
          <p:pic>
            <p:nvPicPr>
              <p:cNvPr id="18" name="Picture 17" descr="eSignLive-Logo-Black-Hi.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78283" y="1499034"/>
                <a:ext cx="1593593" cy="612144"/>
              </a:xfrm>
              <a:prstGeom prst="rect">
                <a:avLst/>
              </a:prstGeom>
            </p:spPr>
          </p:pic>
          <p:grpSp>
            <p:nvGrpSpPr>
              <p:cNvPr id="5" name="Group 79"/>
              <p:cNvGrpSpPr/>
              <p:nvPr/>
            </p:nvGrpSpPr>
            <p:grpSpPr>
              <a:xfrm>
                <a:off x="1032934" y="2075249"/>
                <a:ext cx="3814344" cy="2726267"/>
                <a:chOff x="-756151" y="1659468"/>
                <a:chExt cx="5442816" cy="3890202"/>
              </a:xfrm>
            </p:grpSpPr>
            <p:grpSp>
              <p:nvGrpSpPr>
                <p:cNvPr id="6" name="Group 98"/>
                <p:cNvGrpSpPr/>
                <p:nvPr/>
              </p:nvGrpSpPr>
              <p:grpSpPr>
                <a:xfrm>
                  <a:off x="799230" y="1727198"/>
                  <a:ext cx="3887435" cy="3198707"/>
                  <a:chOff x="1798297" y="1346198"/>
                  <a:chExt cx="3887435" cy="3198707"/>
                </a:xfrm>
              </p:grpSpPr>
              <p:pic>
                <p:nvPicPr>
                  <p:cNvPr id="28" name="Picture 27" descr="eSL_SigPan.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798297" y="1346198"/>
                    <a:ext cx="3887435" cy="3198707"/>
                  </a:xfrm>
                  <a:prstGeom prst="rect">
                    <a:avLst/>
                  </a:prstGeom>
                </p:spPr>
              </p:pic>
              <p:grpSp>
                <p:nvGrpSpPr>
                  <p:cNvPr id="7" name="Group 97"/>
                  <p:cNvGrpSpPr/>
                  <p:nvPr/>
                </p:nvGrpSpPr>
                <p:grpSpPr>
                  <a:xfrm>
                    <a:off x="2912534" y="2015068"/>
                    <a:ext cx="2277534" cy="1439332"/>
                    <a:chOff x="2912534" y="2015068"/>
                    <a:chExt cx="2277534" cy="1439332"/>
                  </a:xfrm>
                </p:grpSpPr>
                <p:cxnSp>
                  <p:nvCxnSpPr>
                    <p:cNvPr id="30" name="Straight Arrow Connector 29"/>
                    <p:cNvCxnSpPr/>
                    <p:nvPr/>
                  </p:nvCxnSpPr>
                  <p:spPr bwMode="auto">
                    <a:xfrm rot="10800000">
                      <a:off x="2929468" y="2031999"/>
                      <a:ext cx="753533" cy="0"/>
                    </a:xfrm>
                    <a:prstGeom prst="straightConnector1">
                      <a:avLst/>
                    </a:prstGeom>
                    <a:solidFill>
                      <a:schemeClr val="accent1"/>
                    </a:solidFill>
                    <a:ln w="25400" cap="flat" cmpd="sng" algn="ctr">
                      <a:solidFill>
                        <a:schemeClr val="accent2"/>
                      </a:solidFill>
                      <a:prstDash val="solid"/>
                      <a:miter lim="800000"/>
                      <a:headEnd type="none" w="med" len="med"/>
                      <a:tailEnd type="arrow"/>
                    </a:ln>
                    <a:effectLst/>
                  </p:spPr>
                </p:cxnSp>
                <p:cxnSp>
                  <p:nvCxnSpPr>
                    <p:cNvPr id="32" name="Straight Arrow Connector 31"/>
                    <p:cNvCxnSpPr/>
                    <p:nvPr/>
                  </p:nvCxnSpPr>
                  <p:spPr bwMode="auto">
                    <a:xfrm rot="5400000">
                      <a:off x="2967567" y="2713568"/>
                      <a:ext cx="1397000" cy="0"/>
                    </a:xfrm>
                    <a:prstGeom prst="straightConnector1">
                      <a:avLst/>
                    </a:prstGeom>
                    <a:solidFill>
                      <a:schemeClr val="accent1"/>
                    </a:solidFill>
                    <a:ln w="25400" cap="flat" cmpd="sng" algn="ctr">
                      <a:solidFill>
                        <a:schemeClr val="accent2"/>
                      </a:solidFill>
                      <a:prstDash val="solid"/>
                      <a:miter lim="800000"/>
                      <a:headEnd type="none" w="med" len="med"/>
                      <a:tailEnd type="arrow"/>
                    </a:ln>
                    <a:effectLst/>
                  </p:spPr>
                </p:cxnSp>
                <p:cxnSp>
                  <p:nvCxnSpPr>
                    <p:cNvPr id="33" name="Straight Arrow Connector 32"/>
                    <p:cNvCxnSpPr/>
                    <p:nvPr/>
                  </p:nvCxnSpPr>
                  <p:spPr bwMode="auto">
                    <a:xfrm rot="10800000">
                      <a:off x="2912534" y="2667000"/>
                      <a:ext cx="1507067" cy="0"/>
                    </a:xfrm>
                    <a:prstGeom prst="straightConnector1">
                      <a:avLst/>
                    </a:prstGeom>
                    <a:solidFill>
                      <a:schemeClr val="accent1"/>
                    </a:solidFill>
                    <a:ln w="25400" cap="flat" cmpd="sng" algn="ctr">
                      <a:solidFill>
                        <a:schemeClr val="accent2"/>
                      </a:solidFill>
                      <a:prstDash val="solid"/>
                      <a:miter lim="800000"/>
                      <a:headEnd type="none" w="med" len="med"/>
                      <a:tailEnd type="arrow"/>
                    </a:ln>
                    <a:effectLst/>
                  </p:spPr>
                </p:cxnSp>
                <p:cxnSp>
                  <p:nvCxnSpPr>
                    <p:cNvPr id="34" name="Straight Arrow Connector 33"/>
                    <p:cNvCxnSpPr/>
                    <p:nvPr/>
                  </p:nvCxnSpPr>
                  <p:spPr bwMode="auto">
                    <a:xfrm rot="16200000" flipH="1">
                      <a:off x="4017433" y="3052233"/>
                      <a:ext cx="804334" cy="0"/>
                    </a:xfrm>
                    <a:prstGeom prst="straightConnector1">
                      <a:avLst/>
                    </a:prstGeom>
                    <a:solidFill>
                      <a:schemeClr val="accent1"/>
                    </a:solidFill>
                    <a:ln w="25400" cap="flat" cmpd="sng" algn="ctr">
                      <a:solidFill>
                        <a:schemeClr val="accent2"/>
                      </a:solidFill>
                      <a:prstDash val="solid"/>
                      <a:miter lim="800000"/>
                      <a:headEnd type="none" w="med" len="med"/>
                      <a:tailEnd type="arrow"/>
                    </a:ln>
                    <a:effectLst/>
                  </p:spPr>
                </p:cxnSp>
                <p:cxnSp>
                  <p:nvCxnSpPr>
                    <p:cNvPr id="35" name="Straight Arrow Connector 34"/>
                    <p:cNvCxnSpPr/>
                    <p:nvPr/>
                  </p:nvCxnSpPr>
                  <p:spPr bwMode="auto">
                    <a:xfrm rot="10800000">
                      <a:off x="2946403" y="3141133"/>
                      <a:ext cx="2243665" cy="0"/>
                    </a:xfrm>
                    <a:prstGeom prst="straightConnector1">
                      <a:avLst/>
                    </a:prstGeom>
                    <a:solidFill>
                      <a:schemeClr val="accent1"/>
                    </a:solidFill>
                    <a:ln w="25400" cap="flat" cmpd="sng" algn="ctr">
                      <a:solidFill>
                        <a:schemeClr val="accent2"/>
                      </a:solidFill>
                      <a:prstDash val="solid"/>
                      <a:miter lim="800000"/>
                      <a:headEnd type="none" w="med" len="med"/>
                      <a:tailEnd type="arrow"/>
                    </a:ln>
                    <a:effectLst/>
                  </p:spPr>
                </p:cxnSp>
                <p:cxnSp>
                  <p:nvCxnSpPr>
                    <p:cNvPr id="36" name="Straight Arrow Connector 35"/>
                    <p:cNvCxnSpPr/>
                    <p:nvPr/>
                  </p:nvCxnSpPr>
                  <p:spPr bwMode="auto">
                    <a:xfrm rot="16200000" flipH="1">
                      <a:off x="5003801" y="3285065"/>
                      <a:ext cx="321733" cy="0"/>
                    </a:xfrm>
                    <a:prstGeom prst="straightConnector1">
                      <a:avLst/>
                    </a:prstGeom>
                    <a:solidFill>
                      <a:schemeClr val="accent1"/>
                    </a:solidFill>
                    <a:ln w="25400" cap="flat" cmpd="sng" algn="ctr">
                      <a:solidFill>
                        <a:schemeClr val="accent2"/>
                      </a:solidFill>
                      <a:prstDash val="solid"/>
                      <a:miter lim="800000"/>
                      <a:headEnd type="none" w="med" len="med"/>
                      <a:tailEnd type="arrow"/>
                    </a:ln>
                    <a:effectLst/>
                  </p:spPr>
                </p:cxnSp>
              </p:grpSp>
            </p:grpSp>
            <p:grpSp>
              <p:nvGrpSpPr>
                <p:cNvPr id="8" name="Group 55"/>
                <p:cNvGrpSpPr/>
                <p:nvPr/>
              </p:nvGrpSpPr>
              <p:grpSpPr>
                <a:xfrm>
                  <a:off x="-756151" y="1659468"/>
                  <a:ext cx="1866686" cy="1989666"/>
                  <a:chOff x="169333" y="992346"/>
                  <a:chExt cx="1571143" cy="1674654"/>
                </a:xfrm>
              </p:grpSpPr>
              <p:pic>
                <p:nvPicPr>
                  <p:cNvPr id="26" name="Picture 25" descr="AT-1.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9333" y="992346"/>
                    <a:ext cx="1571143" cy="1674654"/>
                  </a:xfrm>
                  <a:prstGeom prst="rect">
                    <a:avLst/>
                  </a:prstGeom>
                </p:spPr>
              </p:pic>
              <p:sp>
                <p:nvSpPr>
                  <p:cNvPr id="27" name="Oval 26"/>
                  <p:cNvSpPr/>
                  <p:nvPr/>
                </p:nvSpPr>
                <p:spPr bwMode="auto">
                  <a:xfrm>
                    <a:off x="243556" y="1083734"/>
                    <a:ext cx="1464733" cy="1464733"/>
                  </a:xfrm>
                  <a:prstGeom prst="ellipse">
                    <a:avLst/>
                  </a:prstGeom>
                  <a:noFill/>
                  <a:ln w="63500" cap="flat" cmpd="sng" algn="ctr">
                    <a:solidFill>
                      <a:schemeClr val="accent2"/>
                    </a:solid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p:txBody>
              </p:sp>
            </p:grpSp>
            <p:grpSp>
              <p:nvGrpSpPr>
                <p:cNvPr id="9" name="Group 42"/>
                <p:cNvGrpSpPr/>
                <p:nvPr/>
              </p:nvGrpSpPr>
              <p:grpSpPr>
                <a:xfrm>
                  <a:off x="491066" y="3733796"/>
                  <a:ext cx="1947388" cy="1815874"/>
                  <a:chOff x="84667" y="3348335"/>
                  <a:chExt cx="2125133" cy="1981616"/>
                </a:xfrm>
              </p:grpSpPr>
              <p:pic>
                <p:nvPicPr>
                  <p:cNvPr id="23" name="Picture 22" descr="Sig-1.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4667" y="3348335"/>
                    <a:ext cx="2125133" cy="1981616"/>
                  </a:xfrm>
                  <a:prstGeom prst="rect">
                    <a:avLst/>
                  </a:prstGeom>
                </p:spPr>
              </p:pic>
              <p:sp>
                <p:nvSpPr>
                  <p:cNvPr id="24" name="Oval 23"/>
                  <p:cNvSpPr/>
                  <p:nvPr/>
                </p:nvSpPr>
                <p:spPr bwMode="auto">
                  <a:xfrm>
                    <a:off x="289543" y="3441204"/>
                    <a:ext cx="1816596" cy="1816597"/>
                  </a:xfrm>
                  <a:prstGeom prst="ellipse">
                    <a:avLst/>
                  </a:prstGeom>
                  <a:noFill/>
                  <a:ln w="63500" cap="flat" cmpd="sng" algn="ctr">
                    <a:solidFill>
                      <a:schemeClr val="accent2"/>
                    </a:solid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p:txBody>
              </p:sp>
            </p:grpSp>
          </p:grpSp>
          <p:sp>
            <p:nvSpPr>
              <p:cNvPr id="37" name="Oval 36"/>
              <p:cNvSpPr/>
              <p:nvPr/>
            </p:nvSpPr>
            <p:spPr bwMode="auto">
              <a:xfrm>
                <a:off x="3587268" y="1541845"/>
                <a:ext cx="1429606" cy="1429606"/>
              </a:xfrm>
              <a:prstGeom prst="ellipse">
                <a:avLst/>
              </a:prstGeom>
              <a:solidFill>
                <a:schemeClr val="accent2">
                  <a:alpha val="70000"/>
                </a:schemeClr>
              </a:solidFill>
              <a:ln w="63500"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p:txBody>
          </p:sp>
        </p:grpSp>
        <p:sp>
          <p:nvSpPr>
            <p:cNvPr id="38" name="TextBox 37"/>
            <p:cNvSpPr txBox="1"/>
            <p:nvPr/>
          </p:nvSpPr>
          <p:spPr bwMode="auto">
            <a:xfrm>
              <a:off x="5065572" y="1880115"/>
              <a:ext cx="1363133" cy="818070"/>
            </a:xfrm>
            <a:prstGeom prst="rect">
              <a:avLst/>
            </a:prstGeom>
            <a:noFill/>
            <a:ln w="9525">
              <a:noFill/>
              <a:miter lim="800000"/>
              <a:headEnd/>
              <a:tailEnd/>
            </a:ln>
            <a:effectLst/>
          </p:spPr>
          <p:txBody>
            <a:bodyPr vert="horz" wrap="square" lIns="18652" tIns="18652" rIns="18652" bIns="18652" numCol="1" rtlCol="0" anchor="t" anchorCtr="0" compatLnSpc="1">
              <a:prstTxWarp prst="textNoShape">
                <a:avLst/>
              </a:prstTxWarp>
              <a:spAutoFit/>
            </a:bodyPr>
            <a:lstStyle/>
            <a:p>
              <a:pPr marL="0" marR="0" lvl="0" indent="0" algn="ctr" defTabSz="932597" rtl="0" eaLnBrk="1" fontAlgn="base" latinLnBrk="0" hangingPunct="1">
                <a:lnSpc>
                  <a:spcPct val="100000"/>
                </a:lnSpc>
                <a:spcBef>
                  <a:spcPts val="306"/>
                </a:spcBef>
                <a:spcAft>
                  <a:spcPts val="408"/>
                </a:spcAft>
                <a:buClr>
                  <a:srgbClr val="D2DFE7">
                    <a:lumMod val="50000"/>
                  </a:srgbClr>
                </a:buClr>
                <a:buSzTx/>
                <a:buFontTx/>
                <a:buNone/>
                <a:tabLst/>
                <a:defRPr/>
              </a:pPr>
              <a:r>
                <a:rPr kumimoji="0" lang="en-US" sz="1632" b="1" i="0" u="none" strike="noStrike" kern="0" cap="none" spc="0" normalizeH="0" baseline="0" noProof="0" dirty="0">
                  <a:ln>
                    <a:noFill/>
                  </a:ln>
                  <a:solidFill>
                    <a:srgbClr val="333333">
                      <a:lumMod val="90000"/>
                      <a:lumOff val="10000"/>
                    </a:srgbClr>
                  </a:solidFill>
                  <a:effectLst/>
                  <a:uLnTx/>
                  <a:uFillTx/>
                  <a:latin typeface="Calibri" pitchFamily="34" charset="0"/>
                  <a:ea typeface="+mn-ea"/>
                  <a:cs typeface="+mn-cs"/>
                </a:rPr>
                <a:t>3 signers </a:t>
              </a:r>
              <a:br>
                <a:rPr kumimoji="0" lang="en-US" sz="1632" b="1" i="0" u="none" strike="noStrike" kern="0" cap="none" spc="0" normalizeH="0" baseline="0" noProof="0" dirty="0">
                  <a:ln>
                    <a:noFill/>
                  </a:ln>
                  <a:solidFill>
                    <a:srgbClr val="333333">
                      <a:lumMod val="90000"/>
                      <a:lumOff val="10000"/>
                    </a:srgbClr>
                  </a:solidFill>
                  <a:effectLst/>
                  <a:uLnTx/>
                  <a:uFillTx/>
                  <a:latin typeface="Calibri" pitchFamily="34" charset="0"/>
                  <a:ea typeface="+mn-ea"/>
                  <a:cs typeface="+mn-cs"/>
                </a:rPr>
              </a:br>
              <a:r>
                <a:rPr kumimoji="0" lang="en-US" sz="1632" b="1" i="0" u="none" strike="noStrike" kern="0" cap="none" spc="0" normalizeH="0" baseline="0" noProof="0" dirty="0">
                  <a:ln>
                    <a:noFill/>
                  </a:ln>
                  <a:solidFill>
                    <a:srgbClr val="333333">
                      <a:lumMod val="90000"/>
                      <a:lumOff val="10000"/>
                    </a:srgbClr>
                  </a:solidFill>
                  <a:effectLst/>
                  <a:uLnTx/>
                  <a:uFillTx/>
                  <a:latin typeface="Calibri" pitchFamily="34" charset="0"/>
                  <a:ea typeface="+mn-ea"/>
                  <a:cs typeface="+mn-cs"/>
                </a:rPr>
                <a:t>= 3 digital signatures</a:t>
              </a:r>
            </a:p>
          </p:txBody>
        </p:sp>
      </p:grpSp>
      <p:grpSp>
        <p:nvGrpSpPr>
          <p:cNvPr id="14" name="Group 65"/>
          <p:cNvGrpSpPr/>
          <p:nvPr/>
        </p:nvGrpSpPr>
        <p:grpSpPr>
          <a:xfrm>
            <a:off x="1387869" y="4891060"/>
            <a:ext cx="10353633" cy="2903918"/>
            <a:chOff x="1126058" y="4868332"/>
            <a:chExt cx="5017702" cy="1646790"/>
          </a:xfrm>
        </p:grpSpPr>
        <p:grpSp>
          <p:nvGrpSpPr>
            <p:cNvPr id="15" name="Group 51"/>
            <p:cNvGrpSpPr/>
            <p:nvPr/>
          </p:nvGrpSpPr>
          <p:grpSpPr>
            <a:xfrm>
              <a:off x="1126058" y="4868332"/>
              <a:ext cx="5017702" cy="1646790"/>
              <a:chOff x="1303867" y="4707491"/>
              <a:chExt cx="4630665" cy="1519766"/>
            </a:xfrm>
          </p:grpSpPr>
          <p:pic>
            <p:nvPicPr>
              <p:cNvPr id="41" name="Picture 2"/>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1303867" y="4707491"/>
                <a:ext cx="4630665" cy="1519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6" name="Group 5"/>
              <p:cNvGrpSpPr/>
              <p:nvPr/>
            </p:nvGrpSpPr>
            <p:grpSpPr>
              <a:xfrm>
                <a:off x="1373079" y="5018176"/>
                <a:ext cx="972319" cy="502254"/>
                <a:chOff x="161185" y="1348740"/>
                <a:chExt cx="8806739" cy="4549140"/>
              </a:xfrm>
            </p:grpSpPr>
            <p:pic>
              <p:nvPicPr>
                <p:cNvPr id="47" name="Picture 4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61185" y="1348740"/>
                  <a:ext cx="8806739" cy="4549140"/>
                </a:xfrm>
                <a:prstGeom prst="rect">
                  <a:avLst/>
                </a:prstGeom>
                <a:ln>
                  <a:solidFill>
                    <a:schemeClr val="bg1">
                      <a:lumMod val="50000"/>
                    </a:schemeClr>
                  </a:solidFill>
                </a:ln>
              </p:spPr>
            </p:pic>
            <p:pic>
              <p:nvPicPr>
                <p:cNvPr id="49" name="Picture 4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181047" y="1520748"/>
                  <a:ext cx="1419225" cy="114300"/>
                </a:xfrm>
                <a:prstGeom prst="rect">
                  <a:avLst/>
                </a:prstGeom>
              </p:spPr>
            </p:pic>
          </p:grpSp>
        </p:grpSp>
        <p:sp>
          <p:nvSpPr>
            <p:cNvPr id="65" name="Rectangle 64"/>
            <p:cNvSpPr/>
            <p:nvPr/>
          </p:nvSpPr>
          <p:spPr bwMode="auto">
            <a:xfrm>
              <a:off x="1346200" y="6112933"/>
              <a:ext cx="4377267" cy="262464"/>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grpSp>
      <p:pic>
        <p:nvPicPr>
          <p:cNvPr id="45" name="Picture 4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92538" y="1358987"/>
            <a:ext cx="6212330" cy="2409004"/>
          </a:xfrm>
          <a:prstGeom prst="rect">
            <a:avLst/>
          </a:prstGeom>
          <a:ln w="38100">
            <a:solidFill>
              <a:srgbClr val="FFC000"/>
            </a:solidFill>
          </a:ln>
        </p:spPr>
      </p:pic>
      <p:sp>
        <p:nvSpPr>
          <p:cNvPr id="17" name="Rectangle 16"/>
          <p:cNvSpPr/>
          <p:nvPr/>
        </p:nvSpPr>
        <p:spPr bwMode="auto">
          <a:xfrm>
            <a:off x="6874543" y="857404"/>
            <a:ext cx="5020328" cy="3742857"/>
          </a:xfrm>
          <a:prstGeom prst="rect">
            <a:avLst/>
          </a:prstGeom>
          <a:noFill/>
          <a:ln w="38100" cap="flat" cmpd="sng" algn="ctr">
            <a:solidFill>
              <a:srgbClr val="FFC000"/>
            </a:solid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sp>
        <p:nvSpPr>
          <p:cNvPr id="19" name="Rectangle 18"/>
          <p:cNvSpPr/>
          <p:nvPr/>
        </p:nvSpPr>
        <p:spPr bwMode="auto">
          <a:xfrm>
            <a:off x="866871" y="4655266"/>
            <a:ext cx="11102420" cy="2339259"/>
          </a:xfrm>
          <a:prstGeom prst="rect">
            <a:avLst/>
          </a:prstGeom>
          <a:noFill/>
          <a:ln w="38100" cap="flat" cmpd="sng" algn="ctr">
            <a:solidFill>
              <a:srgbClr val="FFC000"/>
            </a:solid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sp>
        <p:nvSpPr>
          <p:cNvPr id="20" name="TextBox 19"/>
          <p:cNvSpPr txBox="1"/>
          <p:nvPr/>
        </p:nvSpPr>
        <p:spPr bwMode="auto">
          <a:xfrm>
            <a:off x="440959" y="1413993"/>
            <a:ext cx="2854627" cy="421873"/>
          </a:xfrm>
          <a:prstGeom prst="rect">
            <a:avLst/>
          </a:prstGeom>
          <a:noFill/>
          <a:ln w="9525">
            <a:noFill/>
            <a:miter lim="800000"/>
            <a:headEnd/>
            <a:tailEnd/>
          </a:ln>
          <a:effectLst/>
        </p:spPr>
        <p:txBody>
          <a:bodyPr vert="horz" wrap="none" lIns="18652" tIns="18652" rIns="18652" bIns="18652" numCol="1" rtlCol="0" anchor="t" anchorCtr="0" compatLnSpc="1">
            <a:prstTxWarp prst="textNoShape">
              <a:avLst/>
            </a:prstTxWarp>
            <a:spAutoFit/>
          </a:bodyPr>
          <a:lstStyle/>
          <a:p>
            <a:pPr marL="0" marR="0" lvl="0" indent="0" algn="l" defTabSz="932597" rtl="0" eaLnBrk="1" fontAlgn="base" latinLnBrk="0" hangingPunct="1">
              <a:lnSpc>
                <a:spcPct val="100000"/>
              </a:lnSpc>
              <a:spcBef>
                <a:spcPts val="306"/>
              </a:spcBef>
              <a:spcAft>
                <a:spcPts val="408"/>
              </a:spcAft>
              <a:buClr>
                <a:srgbClr val="D2DFE7">
                  <a:lumMod val="50000"/>
                </a:srgbClr>
              </a:buClr>
              <a:buSzTx/>
              <a:buFontTx/>
              <a:buNone/>
              <a:tabLst/>
              <a:defRPr/>
            </a:pPr>
            <a:r>
              <a:rPr kumimoji="0" lang="en-US" sz="2448" b="0" i="0" u="none" strike="noStrike" kern="0" cap="none" spc="0" normalizeH="0" baseline="0" noProof="0" dirty="0">
                <a:ln>
                  <a:noFill/>
                </a:ln>
                <a:solidFill>
                  <a:srgbClr val="333333"/>
                </a:solidFill>
                <a:effectLst/>
                <a:uLnTx/>
                <a:uFillTx/>
                <a:latin typeface="Calibri" pitchFamily="34" charset="0"/>
                <a:ea typeface="+mn-ea"/>
                <a:cs typeface="+mn-cs"/>
              </a:rPr>
              <a:t>Embedded Audit Trail</a:t>
            </a:r>
          </a:p>
        </p:txBody>
      </p:sp>
      <p:sp>
        <p:nvSpPr>
          <p:cNvPr id="51" name="TextBox 50"/>
          <p:cNvSpPr txBox="1"/>
          <p:nvPr/>
        </p:nvSpPr>
        <p:spPr bwMode="auto">
          <a:xfrm>
            <a:off x="6901827" y="859584"/>
            <a:ext cx="4227955" cy="421873"/>
          </a:xfrm>
          <a:prstGeom prst="rect">
            <a:avLst/>
          </a:prstGeom>
          <a:noFill/>
          <a:ln w="9525">
            <a:noFill/>
            <a:miter lim="800000"/>
            <a:headEnd/>
            <a:tailEnd/>
          </a:ln>
          <a:effectLst/>
        </p:spPr>
        <p:txBody>
          <a:bodyPr vert="horz" wrap="none" lIns="18652" tIns="18652" rIns="18652" bIns="18652" numCol="1" rtlCol="0" anchor="t" anchorCtr="0" compatLnSpc="1">
            <a:prstTxWarp prst="textNoShape">
              <a:avLst/>
            </a:prstTxWarp>
            <a:spAutoFit/>
          </a:bodyPr>
          <a:lstStyle/>
          <a:p>
            <a:pPr marL="0" marR="0" lvl="0" indent="0" algn="l" defTabSz="932597" rtl="0" eaLnBrk="1" fontAlgn="base" latinLnBrk="0" hangingPunct="1">
              <a:lnSpc>
                <a:spcPct val="100000"/>
              </a:lnSpc>
              <a:spcBef>
                <a:spcPts val="306"/>
              </a:spcBef>
              <a:spcAft>
                <a:spcPts val="408"/>
              </a:spcAft>
              <a:buClr>
                <a:srgbClr val="D2DFE7">
                  <a:lumMod val="50000"/>
                </a:srgbClr>
              </a:buClr>
              <a:buSzTx/>
              <a:buFontTx/>
              <a:buNone/>
              <a:tabLst/>
              <a:defRPr/>
            </a:pPr>
            <a:r>
              <a:rPr kumimoji="0" lang="en-US" sz="2448" b="0" i="0" u="none" strike="noStrike" kern="0" cap="none" spc="0" normalizeH="0" baseline="0" noProof="0" dirty="0">
                <a:ln>
                  <a:noFill/>
                </a:ln>
                <a:solidFill>
                  <a:srgbClr val="333333"/>
                </a:solidFill>
                <a:effectLst/>
                <a:uLnTx/>
                <a:uFillTx/>
                <a:latin typeface="Calibri" pitchFamily="34" charset="0"/>
                <a:ea typeface="+mn-ea"/>
                <a:cs typeface="+mn-cs"/>
              </a:rPr>
              <a:t>Electronic and Digital Signatures</a:t>
            </a:r>
          </a:p>
        </p:txBody>
      </p:sp>
      <p:sp>
        <p:nvSpPr>
          <p:cNvPr id="52" name="TextBox 51"/>
          <p:cNvSpPr txBox="1"/>
          <p:nvPr/>
        </p:nvSpPr>
        <p:spPr bwMode="auto">
          <a:xfrm>
            <a:off x="1000100" y="4687404"/>
            <a:ext cx="5519538" cy="421873"/>
          </a:xfrm>
          <a:prstGeom prst="rect">
            <a:avLst/>
          </a:prstGeom>
          <a:noFill/>
          <a:ln w="9525">
            <a:noFill/>
            <a:miter lim="800000"/>
            <a:headEnd/>
            <a:tailEnd/>
          </a:ln>
          <a:effectLst/>
        </p:spPr>
        <p:txBody>
          <a:bodyPr vert="horz" wrap="none" lIns="18652" tIns="18652" rIns="18652" bIns="18652" numCol="1" rtlCol="0" anchor="t" anchorCtr="0" compatLnSpc="1">
            <a:prstTxWarp prst="textNoShape">
              <a:avLst/>
            </a:prstTxWarp>
            <a:spAutoFit/>
          </a:bodyPr>
          <a:lstStyle/>
          <a:p>
            <a:pPr marL="0" marR="0" lvl="0" indent="0" algn="l" defTabSz="932597" rtl="0" eaLnBrk="1" fontAlgn="base" latinLnBrk="0" hangingPunct="1">
              <a:lnSpc>
                <a:spcPct val="100000"/>
              </a:lnSpc>
              <a:spcBef>
                <a:spcPts val="306"/>
              </a:spcBef>
              <a:spcAft>
                <a:spcPts val="408"/>
              </a:spcAft>
              <a:buClr>
                <a:srgbClr val="D2DFE7">
                  <a:lumMod val="50000"/>
                </a:srgbClr>
              </a:buClr>
              <a:buSzTx/>
              <a:buFontTx/>
              <a:buNone/>
              <a:tabLst/>
              <a:defRPr/>
            </a:pPr>
            <a:r>
              <a:rPr kumimoji="0" lang="en-US" sz="2448" b="0" i="0" u="none" strike="noStrike" kern="0" cap="none" spc="0" normalizeH="0" baseline="0" noProof="0" dirty="0">
                <a:ln>
                  <a:noFill/>
                </a:ln>
                <a:solidFill>
                  <a:srgbClr val="333333"/>
                </a:solidFill>
                <a:effectLst/>
                <a:uLnTx/>
                <a:uFillTx/>
                <a:latin typeface="Calibri" pitchFamily="34" charset="0"/>
                <a:ea typeface="+mn-ea"/>
                <a:cs typeface="+mn-cs"/>
              </a:rPr>
              <a:t>e-Witness ( “Video Recording – Playback”)</a:t>
            </a:r>
          </a:p>
        </p:txBody>
      </p:sp>
    </p:spTree>
    <p:extLst>
      <p:ext uri="{BB962C8B-B14F-4D97-AF65-F5344CB8AC3E}">
        <p14:creationId xmlns:p14="http://schemas.microsoft.com/office/powerpoint/2010/main" val="1199571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7" grpId="0" animBg="1"/>
      <p:bldP spid="19" grpId="0" animBg="1"/>
      <p:bldP spid="20" grpId="0"/>
      <p:bldP spid="51" grpId="0"/>
      <p:bldP spid="52" grpId="0"/>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F71C7896-8E11-4384-BFC5-C0974CDBC83D}" type="slidenum">
              <a:rPr kumimoji="0" lang="en-US" sz="1836" b="0" i="0" u="none" strike="noStrike" kern="0" cap="none" spc="0" normalizeH="0" baseline="0" noProof="0">
                <a:ln>
                  <a:noFill/>
                </a:ln>
                <a:solidFill>
                  <a:sysClr val="windowText" lastClr="000000"/>
                </a:solidFill>
                <a:effectLst/>
                <a:uLnTx/>
                <a:uFillTx/>
                <a:latin typeface="Calibr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131</a:t>
            </a:fld>
            <a:endParaRPr kumimoji="0" lang="en-US" sz="1836"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 name="Text Placeholder 5"/>
          <p:cNvSpPr>
            <a:spLocks noGrp="1"/>
          </p:cNvSpPr>
          <p:nvPr>
            <p:ph type="body" sz="quarter" idx="11"/>
          </p:nvPr>
        </p:nvSpPr>
        <p:spPr>
          <a:xfrm>
            <a:off x="376768" y="1695118"/>
            <a:ext cx="8494948" cy="3748532"/>
          </a:xfrm>
        </p:spPr>
        <p:txBody>
          <a:bodyPr/>
          <a:lstStyle/>
          <a:p>
            <a:pPr lvl="0"/>
            <a:r>
              <a:rPr lang="en-US" dirty="0"/>
              <a:t>A decade later GSA is a change agent again, leading the charge for digital government</a:t>
            </a:r>
          </a:p>
          <a:p>
            <a:pPr lvl="0"/>
            <a:r>
              <a:rPr lang="en-US" dirty="0"/>
              <a:t>Going</a:t>
            </a:r>
            <a:r>
              <a:rPr lang="en-US" dirty="0">
                <a:solidFill>
                  <a:schemeClr val="accent2"/>
                </a:solidFill>
              </a:rPr>
              <a:t> </a:t>
            </a:r>
            <a:r>
              <a:rPr lang="en-US" b="1" dirty="0">
                <a:solidFill>
                  <a:schemeClr val="accent2"/>
                </a:solidFill>
              </a:rPr>
              <a:t>“Cloud First”, </a:t>
            </a:r>
            <a:r>
              <a:rPr lang="en-US" dirty="0"/>
              <a:t>leveraging </a:t>
            </a:r>
            <a:r>
              <a:rPr lang="en-US" b="1" dirty="0">
                <a:solidFill>
                  <a:schemeClr val="accent2"/>
                </a:solidFill>
              </a:rPr>
              <a:t>FEDRAMP</a:t>
            </a:r>
            <a:r>
              <a:rPr lang="en-US" dirty="0">
                <a:solidFill>
                  <a:schemeClr val="accent2"/>
                </a:solidFill>
              </a:rPr>
              <a:t> technology providers</a:t>
            </a:r>
          </a:p>
          <a:p>
            <a:pPr lvl="0"/>
            <a:r>
              <a:rPr lang="en-US" dirty="0"/>
              <a:t>As a service provider to Federal Government, cloud solutions including eSignLive will be used:</a:t>
            </a:r>
          </a:p>
          <a:p>
            <a:pPr lvl="1"/>
            <a:r>
              <a:rPr lang="en-US" dirty="0"/>
              <a:t>To enable management and </a:t>
            </a:r>
            <a:r>
              <a:rPr lang="en-US" b="1" dirty="0">
                <a:solidFill>
                  <a:schemeClr val="accent2"/>
                </a:solidFill>
              </a:rPr>
              <a:t>e-signing of leases and contracts</a:t>
            </a:r>
          </a:p>
          <a:p>
            <a:pPr lvl="1"/>
            <a:r>
              <a:rPr lang="en-US" dirty="0"/>
              <a:t>For HR documents </a:t>
            </a:r>
          </a:p>
          <a:p>
            <a:pPr lvl="1"/>
            <a:r>
              <a:rPr lang="en-US" dirty="0"/>
              <a:t>To automate all signing and approval of documents at the </a:t>
            </a:r>
            <a:r>
              <a:rPr lang="en-US" dirty="0" err="1"/>
              <a:t>FedRAMP</a:t>
            </a:r>
            <a:r>
              <a:rPr lang="en-US" dirty="0"/>
              <a:t> PMO Office</a:t>
            </a:r>
          </a:p>
          <a:p>
            <a:pPr lvl="1"/>
            <a:r>
              <a:rPr lang="en-US" dirty="0"/>
              <a:t>In all, </a:t>
            </a:r>
            <a:r>
              <a:rPr lang="en-US" b="1" dirty="0">
                <a:solidFill>
                  <a:schemeClr val="accent2"/>
                </a:solidFill>
              </a:rPr>
              <a:t>over 10 more line of business applications </a:t>
            </a:r>
            <a:r>
              <a:rPr lang="en-US" dirty="0"/>
              <a:t>by year-end </a:t>
            </a:r>
          </a:p>
          <a:p>
            <a:r>
              <a:rPr lang="en-US" dirty="0"/>
              <a:t>Extends to </a:t>
            </a:r>
            <a:r>
              <a:rPr lang="en-US" b="1" dirty="0"/>
              <a:t>entire Fed government</a:t>
            </a:r>
            <a:r>
              <a:rPr lang="en-US" dirty="0"/>
              <a:t> as a </a:t>
            </a:r>
            <a:r>
              <a:rPr lang="en-US" b="1" dirty="0">
                <a:solidFill>
                  <a:srgbClr val="FFC000"/>
                </a:solidFill>
              </a:rPr>
              <a:t>shared service</a:t>
            </a:r>
          </a:p>
        </p:txBody>
      </p:sp>
      <p:sp>
        <p:nvSpPr>
          <p:cNvPr id="5" name="Title 4"/>
          <p:cNvSpPr>
            <a:spLocks noGrp="1"/>
          </p:cNvSpPr>
          <p:nvPr>
            <p:ph type="title"/>
          </p:nvPr>
        </p:nvSpPr>
        <p:spPr>
          <a:xfrm>
            <a:off x="100495" y="1337849"/>
            <a:ext cx="12734785" cy="564258"/>
          </a:xfrm>
        </p:spPr>
        <p:txBody>
          <a:bodyPr/>
          <a:lstStyle/>
          <a:p>
            <a:r>
              <a:rPr lang="en-US" dirty="0"/>
              <a:t>GSA SHARED SERVICES – MOVING TO CLOUD</a:t>
            </a:r>
          </a:p>
        </p:txBody>
      </p:sp>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21346" y="1589495"/>
            <a:ext cx="2629424" cy="2629424"/>
          </a:xfrm>
          <a:prstGeom prst="rect">
            <a:avLst/>
          </a:prstGeom>
        </p:spPr>
      </p:pic>
      <p:pic>
        <p:nvPicPr>
          <p:cNvPr id="3074" name="Picture 2" descr="Image result for azure Govcloud"/>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624242" y="5710883"/>
            <a:ext cx="2848252" cy="85447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1" descr="http://pbs.twimg.com/media/B4bxJDZIcAARmt2.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744023" y="4292805"/>
            <a:ext cx="4545105" cy="2272553"/>
          </a:xfrm>
          <a:prstGeom prst="rect">
            <a:avLst/>
          </a:prstGeom>
          <a:noFill/>
          <a:extLst>
            <a:ext uri="{909E8E84-426E-40DD-AFC4-6F175D3DCCD1}">
              <a14:hiddenFill xmlns:a14="http://schemas.microsoft.com/office/drawing/2010/main">
                <a:solidFill>
                  <a:srgbClr val="FFFFFF"/>
                </a:solidFill>
              </a14:hiddenFill>
            </a:ext>
          </a:extLst>
        </p:spPr>
      </p:pic>
      <p:sp>
        <p:nvSpPr>
          <p:cNvPr id="8" name="Title 4"/>
          <p:cNvSpPr txBox="1">
            <a:spLocks/>
          </p:cNvSpPr>
          <p:nvPr/>
        </p:nvSpPr>
        <p:spPr>
          <a:xfrm>
            <a:off x="458219" y="781397"/>
            <a:ext cx="8687322" cy="556452"/>
          </a:xfrm>
          <a:prstGeom prst="rect">
            <a:avLst/>
          </a:prstGeom>
        </p:spPr>
        <p:txBody>
          <a:bodyPr/>
          <a:lstStyle>
            <a:lvl1pPr algn="l" defTabSz="914400" rtl="0" eaLnBrk="1" latinLnBrk="0" hangingPunct="1">
              <a:lnSpc>
                <a:spcPct val="85000"/>
              </a:lnSpc>
              <a:spcBef>
                <a:spcPct val="0"/>
              </a:spcBef>
              <a:buNone/>
              <a:defRPr sz="2400" b="1" kern="1200">
                <a:solidFill>
                  <a:schemeClr val="accent1"/>
                </a:solidFill>
                <a:latin typeface="+mn-lt"/>
                <a:ea typeface="+mj-ea"/>
                <a:cs typeface="+mj-cs"/>
              </a:defRPr>
            </a:lvl1pPr>
          </a:lstStyle>
          <a:p>
            <a:pPr marL="0" marR="0" lvl="0" indent="0" algn="l" defTabSz="932597" rtl="0" eaLnBrk="1" fontAlgn="auto" latinLnBrk="0" hangingPunct="1">
              <a:lnSpc>
                <a:spcPct val="85000"/>
              </a:lnSpc>
              <a:spcBef>
                <a:spcPct val="0"/>
              </a:spcBef>
              <a:spcAft>
                <a:spcPts val="0"/>
              </a:spcAft>
              <a:buClrTx/>
              <a:buSzTx/>
              <a:buFontTx/>
              <a:buNone/>
              <a:tabLst/>
              <a:defRPr/>
            </a:pPr>
            <a:r>
              <a:rPr kumimoji="0" lang="en-US" sz="2448" b="1" i="0" u="none" strike="noStrike" kern="1200" cap="none" spc="0" normalizeH="0" baseline="0" noProof="0" dirty="0">
                <a:ln>
                  <a:noFill/>
                </a:ln>
                <a:solidFill>
                  <a:srgbClr val="33B5C3"/>
                </a:solidFill>
                <a:effectLst/>
                <a:uLnTx/>
                <a:uFillTx/>
                <a:latin typeface="Calibri"/>
                <a:ea typeface="+mj-ea"/>
                <a:cs typeface="+mj-cs"/>
              </a:rPr>
              <a:t>GSA Case Study</a:t>
            </a:r>
          </a:p>
          <a:p>
            <a:pPr marL="0" marR="0" lvl="0" indent="0" algn="l" defTabSz="932597" rtl="0" eaLnBrk="1" fontAlgn="auto" latinLnBrk="0" hangingPunct="1">
              <a:lnSpc>
                <a:spcPct val="85000"/>
              </a:lnSpc>
              <a:spcBef>
                <a:spcPct val="0"/>
              </a:spcBef>
              <a:spcAft>
                <a:spcPts val="0"/>
              </a:spcAft>
              <a:buClrTx/>
              <a:buSzTx/>
              <a:buFontTx/>
              <a:buNone/>
              <a:tabLst/>
              <a:defRPr/>
            </a:pPr>
            <a:endParaRPr kumimoji="0" lang="en-US" sz="2448" b="1" i="0" u="none" strike="noStrike" kern="1200" cap="none" spc="0" normalizeH="0" baseline="0" noProof="0" dirty="0">
              <a:ln>
                <a:noFill/>
              </a:ln>
              <a:solidFill>
                <a:srgbClr val="33B5C3"/>
              </a:solidFill>
              <a:effectLst/>
              <a:uLnTx/>
              <a:uFillTx/>
              <a:latin typeface="Calibri"/>
              <a:ea typeface="+mj-ea"/>
              <a:cs typeface="+mj-cs"/>
            </a:endParaRPr>
          </a:p>
        </p:txBody>
      </p:sp>
    </p:spTree>
    <p:extLst>
      <p:ext uri="{BB962C8B-B14F-4D97-AF65-F5344CB8AC3E}">
        <p14:creationId xmlns:p14="http://schemas.microsoft.com/office/powerpoint/2010/main" val="94669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F71C7896-8E11-4384-BFC5-C0974CDBC83D}" type="slidenum">
              <a:rPr kumimoji="0" lang="en-US" sz="1836" b="0" i="0" u="none" strike="noStrike" kern="0" cap="none" spc="0" normalizeH="0" baseline="0" noProof="0">
                <a:ln>
                  <a:noFill/>
                </a:ln>
                <a:solidFill>
                  <a:sysClr val="windowText" lastClr="000000"/>
                </a:solidFill>
                <a:effectLst/>
                <a:uLnTx/>
                <a:uFillTx/>
                <a:latin typeface="Calibr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132</a:t>
            </a:fld>
            <a:endParaRPr kumimoji="0" lang="en-US" sz="1836"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 name="Text Placeholder 5"/>
          <p:cNvSpPr>
            <a:spLocks noGrp="1"/>
          </p:cNvSpPr>
          <p:nvPr>
            <p:ph type="body" sz="quarter" idx="11"/>
          </p:nvPr>
        </p:nvSpPr>
        <p:spPr>
          <a:xfrm>
            <a:off x="376768" y="1695118"/>
            <a:ext cx="8494948" cy="4961312"/>
          </a:xfrm>
        </p:spPr>
        <p:txBody>
          <a:bodyPr/>
          <a:lstStyle/>
          <a:p>
            <a:pPr lvl="0"/>
            <a:r>
              <a:rPr lang="en-US" sz="2448" dirty="0"/>
              <a:t>Going</a:t>
            </a:r>
            <a:r>
              <a:rPr lang="en-US" sz="2448" dirty="0">
                <a:solidFill>
                  <a:schemeClr val="accent2"/>
                </a:solidFill>
              </a:rPr>
              <a:t> </a:t>
            </a:r>
            <a:r>
              <a:rPr lang="en-US" sz="2448" b="1" dirty="0">
                <a:solidFill>
                  <a:schemeClr val="accent2"/>
                </a:solidFill>
              </a:rPr>
              <a:t>“Cloud First”, </a:t>
            </a:r>
            <a:r>
              <a:rPr lang="en-US" sz="2448" dirty="0"/>
              <a:t>leveraging </a:t>
            </a:r>
            <a:r>
              <a:rPr lang="en-US" sz="2448" b="1" dirty="0">
                <a:solidFill>
                  <a:schemeClr val="accent2"/>
                </a:solidFill>
              </a:rPr>
              <a:t>FEDRAMP</a:t>
            </a:r>
            <a:r>
              <a:rPr lang="en-US" sz="2448" dirty="0">
                <a:solidFill>
                  <a:schemeClr val="accent2"/>
                </a:solidFill>
              </a:rPr>
              <a:t> technology providers</a:t>
            </a:r>
          </a:p>
          <a:p>
            <a:r>
              <a:rPr lang="en-US" sz="2448" dirty="0"/>
              <a:t>Performance Reviews</a:t>
            </a:r>
          </a:p>
          <a:p>
            <a:r>
              <a:rPr lang="en-US" sz="2448" dirty="0"/>
              <a:t>save the agency approximately $5 per signature for field employees, amounting to an annual recurring $1.2 million savings, simply by eliminating the cost of paper, manual handling and shipping. </a:t>
            </a:r>
          </a:p>
          <a:p>
            <a:r>
              <a:rPr lang="en-US" sz="2448" b="1" dirty="0"/>
              <a:t>Derived credentials</a:t>
            </a:r>
          </a:p>
          <a:p>
            <a:r>
              <a:rPr lang="en-US" sz="2448" b="1" dirty="0" err="1"/>
              <a:t>Sharepoint</a:t>
            </a:r>
            <a:r>
              <a:rPr lang="en-US" sz="2448" b="1" dirty="0"/>
              <a:t> on Premise and </a:t>
            </a:r>
            <a:r>
              <a:rPr lang="en-US" sz="2448" b="1" dirty="0" err="1"/>
              <a:t>OnLine</a:t>
            </a:r>
            <a:endParaRPr lang="en-US" sz="2448" b="1" dirty="0"/>
          </a:p>
          <a:p>
            <a:r>
              <a:rPr lang="en-US" sz="2448" b="1" dirty="0"/>
              <a:t>Shared Service for all fed </a:t>
            </a:r>
            <a:r>
              <a:rPr lang="en-US" sz="2448" b="1" dirty="0" err="1"/>
              <a:t>govt</a:t>
            </a:r>
            <a:endParaRPr lang="en-US" sz="2448" b="1" dirty="0"/>
          </a:p>
          <a:p>
            <a:r>
              <a:rPr lang="en-US" sz="2448" b="1" dirty="0"/>
              <a:t>Census 2020</a:t>
            </a:r>
          </a:p>
          <a:p>
            <a:r>
              <a:rPr lang="en-US" sz="2448" b="1" dirty="0"/>
              <a:t>ACT-IAC </a:t>
            </a:r>
            <a:r>
              <a:rPr lang="en-US" sz="2448" b="1"/>
              <a:t>Innovation award</a:t>
            </a:r>
            <a:endParaRPr lang="en-US" sz="2448" dirty="0"/>
          </a:p>
        </p:txBody>
      </p:sp>
      <p:sp>
        <p:nvSpPr>
          <p:cNvPr id="5" name="Title 4"/>
          <p:cNvSpPr>
            <a:spLocks noGrp="1"/>
          </p:cNvSpPr>
          <p:nvPr>
            <p:ph type="title"/>
          </p:nvPr>
        </p:nvSpPr>
        <p:spPr>
          <a:xfrm>
            <a:off x="100495" y="1337849"/>
            <a:ext cx="12734785" cy="564258"/>
          </a:xfrm>
        </p:spPr>
        <p:txBody>
          <a:bodyPr/>
          <a:lstStyle/>
          <a:p>
            <a:r>
              <a:rPr lang="en-US" dirty="0"/>
              <a:t>GSA SHARED SERVICES – MOVING TO CLOUD</a:t>
            </a:r>
          </a:p>
        </p:txBody>
      </p:sp>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21346" y="1589495"/>
            <a:ext cx="2629424" cy="2629424"/>
          </a:xfrm>
          <a:prstGeom prst="rect">
            <a:avLst/>
          </a:prstGeom>
        </p:spPr>
      </p:pic>
      <p:pic>
        <p:nvPicPr>
          <p:cNvPr id="3074" name="Picture 2" descr="Image result for azure Govcloud"/>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624242" y="5710883"/>
            <a:ext cx="2848252" cy="85447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1" descr="http://pbs.twimg.com/media/B4bxJDZIcAARmt2.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744023" y="4292805"/>
            <a:ext cx="4545105" cy="2272553"/>
          </a:xfrm>
          <a:prstGeom prst="rect">
            <a:avLst/>
          </a:prstGeom>
          <a:noFill/>
          <a:extLst>
            <a:ext uri="{909E8E84-426E-40DD-AFC4-6F175D3DCCD1}">
              <a14:hiddenFill xmlns:a14="http://schemas.microsoft.com/office/drawing/2010/main">
                <a:solidFill>
                  <a:srgbClr val="FFFFFF"/>
                </a:solidFill>
              </a14:hiddenFill>
            </a:ext>
          </a:extLst>
        </p:spPr>
      </p:pic>
      <p:sp>
        <p:nvSpPr>
          <p:cNvPr id="8" name="Title 4"/>
          <p:cNvSpPr txBox="1">
            <a:spLocks/>
          </p:cNvSpPr>
          <p:nvPr/>
        </p:nvSpPr>
        <p:spPr>
          <a:xfrm>
            <a:off x="458219" y="781397"/>
            <a:ext cx="8687322" cy="556452"/>
          </a:xfrm>
          <a:prstGeom prst="rect">
            <a:avLst/>
          </a:prstGeom>
        </p:spPr>
        <p:txBody>
          <a:bodyPr/>
          <a:lstStyle>
            <a:lvl1pPr algn="l" defTabSz="914400" rtl="0" eaLnBrk="1" latinLnBrk="0" hangingPunct="1">
              <a:lnSpc>
                <a:spcPct val="85000"/>
              </a:lnSpc>
              <a:spcBef>
                <a:spcPct val="0"/>
              </a:spcBef>
              <a:buNone/>
              <a:defRPr sz="2400" b="1" kern="1200">
                <a:solidFill>
                  <a:schemeClr val="accent1"/>
                </a:solidFill>
                <a:latin typeface="+mn-lt"/>
                <a:ea typeface="+mj-ea"/>
                <a:cs typeface="+mj-cs"/>
              </a:defRPr>
            </a:lvl1pPr>
          </a:lstStyle>
          <a:p>
            <a:pPr marL="0" marR="0" lvl="0" indent="0" algn="l" defTabSz="932597" rtl="0" eaLnBrk="1" fontAlgn="auto" latinLnBrk="0" hangingPunct="1">
              <a:lnSpc>
                <a:spcPct val="85000"/>
              </a:lnSpc>
              <a:spcBef>
                <a:spcPct val="0"/>
              </a:spcBef>
              <a:spcAft>
                <a:spcPts val="0"/>
              </a:spcAft>
              <a:buClrTx/>
              <a:buSzTx/>
              <a:buFontTx/>
              <a:buNone/>
              <a:tabLst/>
              <a:defRPr/>
            </a:pPr>
            <a:r>
              <a:rPr kumimoji="0" lang="en-US" sz="2448" b="1" i="0" u="none" strike="noStrike" kern="1200" cap="none" spc="0" normalizeH="0" baseline="0" noProof="0" dirty="0">
                <a:ln>
                  <a:noFill/>
                </a:ln>
                <a:solidFill>
                  <a:srgbClr val="33B5C3"/>
                </a:solidFill>
                <a:effectLst/>
                <a:uLnTx/>
                <a:uFillTx/>
                <a:latin typeface="Calibri"/>
                <a:ea typeface="+mj-ea"/>
                <a:cs typeface="+mj-cs"/>
              </a:rPr>
              <a:t>Census Case Study</a:t>
            </a:r>
          </a:p>
          <a:p>
            <a:pPr marL="0" marR="0" lvl="0" indent="0" algn="l" defTabSz="932597" rtl="0" eaLnBrk="1" fontAlgn="auto" latinLnBrk="0" hangingPunct="1">
              <a:lnSpc>
                <a:spcPct val="85000"/>
              </a:lnSpc>
              <a:spcBef>
                <a:spcPct val="0"/>
              </a:spcBef>
              <a:spcAft>
                <a:spcPts val="0"/>
              </a:spcAft>
              <a:buClrTx/>
              <a:buSzTx/>
              <a:buFontTx/>
              <a:buNone/>
              <a:tabLst/>
              <a:defRPr/>
            </a:pPr>
            <a:endParaRPr kumimoji="0" lang="en-US" sz="2448" b="1" i="0" u="none" strike="noStrike" kern="1200" cap="none" spc="0" normalizeH="0" baseline="0" noProof="0" dirty="0">
              <a:ln>
                <a:noFill/>
              </a:ln>
              <a:solidFill>
                <a:srgbClr val="33B5C3"/>
              </a:solidFill>
              <a:effectLst/>
              <a:uLnTx/>
              <a:uFillTx/>
              <a:latin typeface="Calibri"/>
              <a:ea typeface="+mj-ea"/>
              <a:cs typeface="+mj-cs"/>
            </a:endParaRPr>
          </a:p>
        </p:txBody>
      </p:sp>
    </p:spTree>
    <p:extLst>
      <p:ext uri="{BB962C8B-B14F-4D97-AF65-F5344CB8AC3E}">
        <p14:creationId xmlns:p14="http://schemas.microsoft.com/office/powerpoint/2010/main" val="3961907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ounded Rectangle 41"/>
          <p:cNvSpPr/>
          <p:nvPr/>
        </p:nvSpPr>
        <p:spPr>
          <a:xfrm>
            <a:off x="511773" y="1334026"/>
            <a:ext cx="8701426" cy="2386010"/>
          </a:xfrm>
          <a:prstGeom prst="roundRect">
            <a:avLst>
              <a:gd name="adj" fmla="val 4359"/>
            </a:avLst>
          </a:prstGeom>
          <a:solidFill>
            <a:schemeClr val="bg1"/>
          </a:solidFill>
          <a:ln w="19050">
            <a:solidFill>
              <a:schemeClr val="bg1"/>
            </a:solidFill>
          </a:ln>
          <a:effectLst>
            <a:outerShdw blurRad="190500" algn="ctr" rotWithShape="0">
              <a:prstClr val="black">
                <a:alpha val="49000"/>
              </a:prstClr>
            </a:outerShdw>
          </a:effectLst>
        </p:spPr>
        <p:txBody>
          <a:bodyPr vert="horz" wrap="square" lIns="139891" tIns="139891" rIns="4663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666666"/>
              </a:solidFill>
              <a:effectLst/>
              <a:uLnTx/>
              <a:uFillTx/>
              <a:latin typeface="Calibri"/>
              <a:ea typeface="+mn-ea"/>
              <a:cs typeface="+mn-cs"/>
            </a:endParaRPr>
          </a:p>
        </p:txBody>
      </p:sp>
      <p:sp>
        <p:nvSpPr>
          <p:cNvPr id="4" name="Slide Number Placeholder 3"/>
          <p:cNvSpPr>
            <a:spLocks noGrp="1"/>
          </p:cNvSpPr>
          <p:nvPr>
            <p:ph type="sldNum" sz="quarter" idx="4294967295"/>
          </p:nvPr>
        </p:nvSpPr>
        <p:spPr>
          <a:xfrm>
            <a:off x="8476609" y="6603334"/>
            <a:ext cx="656016" cy="307759"/>
          </a:xfrm>
          <a:prstGeom prst="rect">
            <a:avLst/>
          </a:prstGeom>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4F74D4F8-858E-4436-92AB-D17EB14436B3}" type="slidenum">
              <a:rPr kumimoji="0" lang="en-US" sz="1836" b="0" i="0" u="none" strike="noStrike" kern="0" cap="none" spc="0" normalizeH="0" baseline="0" noProof="0">
                <a:ln>
                  <a:noFill/>
                </a:ln>
                <a:solidFill>
                  <a:sysClr val="windowText" lastClr="000000"/>
                </a:solidFill>
                <a:effectLst/>
                <a:uLnTx/>
                <a:uFillTx/>
                <a:latin typeface="Calibr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133</a:t>
            </a:fld>
            <a:endParaRPr kumimoji="0" lang="en-US" sz="1836"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3" name="Freeform 42"/>
          <p:cNvSpPr/>
          <p:nvPr/>
        </p:nvSpPr>
        <p:spPr>
          <a:xfrm>
            <a:off x="671376" y="2192015"/>
            <a:ext cx="8411847" cy="80418"/>
          </a:xfrm>
          <a:custGeom>
            <a:avLst/>
            <a:gdLst>
              <a:gd name="connsiteX0" fmla="*/ 4124325 w 4124325"/>
              <a:gd name="connsiteY0" fmla="*/ 0 h 0"/>
              <a:gd name="connsiteX1" fmla="*/ 0 w 4124325"/>
              <a:gd name="connsiteY1" fmla="*/ 0 h 0"/>
            </a:gdLst>
            <a:ahLst/>
            <a:cxnLst>
              <a:cxn ang="0">
                <a:pos x="connsiteX0" y="connsiteY0"/>
              </a:cxn>
              <a:cxn ang="0">
                <a:pos x="connsiteX1" y="connsiteY1"/>
              </a:cxn>
            </a:cxnLst>
            <a:rect l="l" t="t" r="r" b="b"/>
            <a:pathLst>
              <a:path w="4124325">
                <a:moveTo>
                  <a:pt x="4124325" y="0"/>
                </a:moveTo>
                <a:lnTo>
                  <a:pt x="0" y="0"/>
                </a:lnTo>
              </a:path>
            </a:pathLst>
          </a:custGeom>
          <a:noFill/>
          <a:ln w="6350">
            <a:solidFill>
              <a:schemeClr val="bg1"/>
            </a:solidFill>
            <a:prstDash val="dash"/>
          </a:ln>
          <a:effectLst>
            <a:outerShdw blurRad="127000" algn="ctr" rotWithShape="0">
              <a:prstClr val="black">
                <a:alpha val="30000"/>
              </a:prstClr>
            </a:outerShdw>
          </a:effectLst>
        </p:spPr>
        <p:txBody>
          <a:bodyPr vert="horz" wrap="square" lIns="93260" tIns="46630" rIns="93260" bIns="46630" numCol="1" anchor="ctr"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0" cap="none" spc="0" normalizeH="0" baseline="0" noProof="0">
              <a:ln>
                <a:noFill/>
              </a:ln>
              <a:solidFill>
                <a:prstClr val="white"/>
              </a:solidFill>
              <a:effectLst/>
              <a:uLnTx/>
              <a:uFillTx/>
              <a:latin typeface="Calibri"/>
              <a:ea typeface="+mn-ea"/>
              <a:cs typeface="+mn-cs"/>
            </a:endParaRPr>
          </a:p>
        </p:txBody>
      </p:sp>
      <p:sp>
        <p:nvSpPr>
          <p:cNvPr id="44" name="Rounded Rectangle 43"/>
          <p:cNvSpPr/>
          <p:nvPr/>
        </p:nvSpPr>
        <p:spPr>
          <a:xfrm>
            <a:off x="511775" y="3841150"/>
            <a:ext cx="8727302" cy="2190329"/>
          </a:xfrm>
          <a:prstGeom prst="roundRect">
            <a:avLst>
              <a:gd name="adj" fmla="val 4359"/>
            </a:avLst>
          </a:prstGeom>
          <a:solidFill>
            <a:schemeClr val="bg1"/>
          </a:solidFill>
          <a:ln w="19050">
            <a:solidFill>
              <a:schemeClr val="bg1"/>
            </a:solidFill>
          </a:ln>
          <a:effectLst>
            <a:outerShdw blurRad="190500" algn="ctr" rotWithShape="0">
              <a:prstClr val="black">
                <a:alpha val="49000"/>
              </a:prstClr>
            </a:outerShdw>
          </a:effectLst>
        </p:spPr>
        <p:txBody>
          <a:bodyPr vert="horz" wrap="square" lIns="139891" tIns="139891" rIns="4663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666666"/>
              </a:solidFill>
              <a:effectLst/>
              <a:uLnTx/>
              <a:uFillTx/>
              <a:latin typeface="Calibri"/>
              <a:ea typeface="+mn-ea"/>
              <a:cs typeface="+mn-cs"/>
            </a:endParaRPr>
          </a:p>
        </p:txBody>
      </p:sp>
      <p:pic>
        <p:nvPicPr>
          <p:cNvPr id="69" name="Picture 6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4253" y="3904717"/>
            <a:ext cx="850112" cy="796723"/>
          </a:xfrm>
          <a:prstGeom prst="rect">
            <a:avLst/>
          </a:prstGeom>
        </p:spPr>
      </p:pic>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326141" y="1787669"/>
            <a:ext cx="1102316" cy="760596"/>
          </a:xfrm>
          <a:prstGeom prst="rect">
            <a:avLst/>
          </a:prstGeom>
        </p:spPr>
      </p:pic>
      <p:pic>
        <p:nvPicPr>
          <p:cNvPr id="70" name="Picture 69" descr="armylogovector_black.gif"/>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085158" y="1649830"/>
            <a:ext cx="766335" cy="941884"/>
          </a:xfrm>
          <a:prstGeom prst="rect">
            <a:avLst/>
          </a:prstGeom>
        </p:spPr>
      </p:pic>
      <p:pic>
        <p:nvPicPr>
          <p:cNvPr id="71" name="Picture 70" descr="GSA logo.jp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95126" y="1698784"/>
            <a:ext cx="922530" cy="691898"/>
          </a:xfrm>
          <a:prstGeom prst="rect">
            <a:avLst/>
          </a:prstGeom>
        </p:spPr>
      </p:pic>
      <p:pic>
        <p:nvPicPr>
          <p:cNvPr id="73" name="Picture 72" descr="usps.jp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149219" y="1685669"/>
            <a:ext cx="980658" cy="832074"/>
          </a:xfrm>
          <a:prstGeom prst="rect">
            <a:avLst/>
          </a:prstGeom>
        </p:spPr>
      </p:pic>
      <p:pic>
        <p:nvPicPr>
          <p:cNvPr id="74" name="Picture 7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408073" y="2828580"/>
            <a:ext cx="1737571" cy="616839"/>
          </a:xfrm>
          <a:prstGeom prst="rect">
            <a:avLst/>
          </a:prstGeom>
        </p:spPr>
      </p:pic>
      <p:grpSp>
        <p:nvGrpSpPr>
          <p:cNvPr id="88" name="Group 87"/>
          <p:cNvGrpSpPr/>
          <p:nvPr/>
        </p:nvGrpSpPr>
        <p:grpSpPr>
          <a:xfrm>
            <a:off x="482376" y="1194471"/>
            <a:ext cx="8756699" cy="366967"/>
            <a:chOff x="319697" y="5185852"/>
            <a:chExt cx="8585778" cy="296322"/>
          </a:xfrm>
          <a:gradFill flip="none" rotWithShape="1">
            <a:gsLst>
              <a:gs pos="0">
                <a:schemeClr val="accent1">
                  <a:shade val="30000"/>
                  <a:satMod val="115000"/>
                  <a:lumMod val="38000"/>
                  <a:lumOff val="62000"/>
                </a:schemeClr>
              </a:gs>
              <a:gs pos="50000">
                <a:schemeClr val="accent1">
                  <a:shade val="67500"/>
                  <a:satMod val="115000"/>
                </a:schemeClr>
              </a:gs>
              <a:gs pos="100000">
                <a:schemeClr val="accent1">
                  <a:shade val="100000"/>
                  <a:satMod val="115000"/>
                </a:schemeClr>
              </a:gs>
            </a:gsLst>
            <a:lin ang="2700000" scaled="1"/>
            <a:tileRect/>
          </a:gradFill>
        </p:grpSpPr>
        <p:sp>
          <p:nvSpPr>
            <p:cNvPr id="89" name="Freeform 6"/>
            <p:cNvSpPr>
              <a:spLocks noChangeAspect="1"/>
            </p:cNvSpPr>
            <p:nvPr/>
          </p:nvSpPr>
          <p:spPr bwMode="auto">
            <a:xfrm>
              <a:off x="319697" y="5185852"/>
              <a:ext cx="6100590" cy="296322"/>
            </a:xfrm>
            <a:custGeom>
              <a:avLst/>
              <a:gdLst>
                <a:gd name="T0" fmla="*/ 40 w 677"/>
                <a:gd name="T1" fmla="*/ 0 h 187"/>
                <a:gd name="T2" fmla="*/ 38 w 677"/>
                <a:gd name="T3" fmla="*/ 0 h 187"/>
                <a:gd name="T4" fmla="*/ 38 w 677"/>
                <a:gd name="T5" fmla="*/ 0 h 187"/>
                <a:gd name="T6" fmla="*/ 0 w 677"/>
                <a:gd name="T7" fmla="*/ 40 h 187"/>
                <a:gd name="T8" fmla="*/ 0 w 677"/>
                <a:gd name="T9" fmla="*/ 187 h 187"/>
                <a:gd name="T10" fmla="*/ 677 w 677"/>
                <a:gd name="T11" fmla="*/ 187 h 187"/>
                <a:gd name="T12" fmla="*/ 677 w 677"/>
                <a:gd name="T13" fmla="*/ 0 h 187"/>
                <a:gd name="T14" fmla="*/ 40 w 677"/>
                <a:gd name="T15" fmla="*/ 0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7" h="187">
                  <a:moveTo>
                    <a:pt x="40" y="0"/>
                  </a:moveTo>
                  <a:cubicBezTo>
                    <a:pt x="38" y="0"/>
                    <a:pt x="38" y="0"/>
                    <a:pt x="38" y="0"/>
                  </a:cubicBezTo>
                  <a:cubicBezTo>
                    <a:pt x="38" y="0"/>
                    <a:pt x="38" y="0"/>
                    <a:pt x="38" y="0"/>
                  </a:cubicBezTo>
                  <a:cubicBezTo>
                    <a:pt x="17" y="1"/>
                    <a:pt x="0" y="19"/>
                    <a:pt x="0" y="40"/>
                  </a:cubicBezTo>
                  <a:cubicBezTo>
                    <a:pt x="0" y="187"/>
                    <a:pt x="0" y="187"/>
                    <a:pt x="0" y="187"/>
                  </a:cubicBezTo>
                  <a:cubicBezTo>
                    <a:pt x="677" y="187"/>
                    <a:pt x="677" y="187"/>
                    <a:pt x="677" y="187"/>
                  </a:cubicBezTo>
                  <a:cubicBezTo>
                    <a:pt x="677" y="0"/>
                    <a:pt x="677" y="0"/>
                    <a:pt x="677" y="0"/>
                  </a:cubicBezTo>
                  <a:lnTo>
                    <a:pt x="40" y="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0" name="Freeform 6"/>
            <p:cNvSpPr>
              <a:spLocks noChangeAspect="1"/>
            </p:cNvSpPr>
            <p:nvPr/>
          </p:nvSpPr>
          <p:spPr bwMode="auto">
            <a:xfrm flipH="1">
              <a:off x="2804885" y="5185852"/>
              <a:ext cx="6100590" cy="296322"/>
            </a:xfrm>
            <a:custGeom>
              <a:avLst/>
              <a:gdLst>
                <a:gd name="T0" fmla="*/ 40 w 677"/>
                <a:gd name="T1" fmla="*/ 0 h 187"/>
                <a:gd name="T2" fmla="*/ 38 w 677"/>
                <a:gd name="T3" fmla="*/ 0 h 187"/>
                <a:gd name="T4" fmla="*/ 38 w 677"/>
                <a:gd name="T5" fmla="*/ 0 h 187"/>
                <a:gd name="T6" fmla="*/ 0 w 677"/>
                <a:gd name="T7" fmla="*/ 40 h 187"/>
                <a:gd name="T8" fmla="*/ 0 w 677"/>
                <a:gd name="T9" fmla="*/ 187 h 187"/>
                <a:gd name="T10" fmla="*/ 677 w 677"/>
                <a:gd name="T11" fmla="*/ 187 h 187"/>
                <a:gd name="T12" fmla="*/ 677 w 677"/>
                <a:gd name="T13" fmla="*/ 0 h 187"/>
                <a:gd name="T14" fmla="*/ 40 w 677"/>
                <a:gd name="T15" fmla="*/ 0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7" h="187">
                  <a:moveTo>
                    <a:pt x="40" y="0"/>
                  </a:moveTo>
                  <a:cubicBezTo>
                    <a:pt x="38" y="0"/>
                    <a:pt x="38" y="0"/>
                    <a:pt x="38" y="0"/>
                  </a:cubicBezTo>
                  <a:cubicBezTo>
                    <a:pt x="38" y="0"/>
                    <a:pt x="38" y="0"/>
                    <a:pt x="38" y="0"/>
                  </a:cubicBezTo>
                  <a:cubicBezTo>
                    <a:pt x="17" y="1"/>
                    <a:pt x="0" y="19"/>
                    <a:pt x="0" y="40"/>
                  </a:cubicBezTo>
                  <a:cubicBezTo>
                    <a:pt x="0" y="187"/>
                    <a:pt x="0" y="187"/>
                    <a:pt x="0" y="187"/>
                  </a:cubicBezTo>
                  <a:cubicBezTo>
                    <a:pt x="677" y="187"/>
                    <a:pt x="677" y="187"/>
                    <a:pt x="677" y="187"/>
                  </a:cubicBezTo>
                  <a:cubicBezTo>
                    <a:pt x="677" y="0"/>
                    <a:pt x="677" y="0"/>
                    <a:pt x="677" y="0"/>
                  </a:cubicBezTo>
                  <a:lnTo>
                    <a:pt x="40" y="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91" name="TextBox 90"/>
          <p:cNvSpPr txBox="1"/>
          <p:nvPr/>
        </p:nvSpPr>
        <p:spPr>
          <a:xfrm>
            <a:off x="1765296" y="1158139"/>
            <a:ext cx="6208627" cy="476020"/>
          </a:xfrm>
          <a:prstGeom prst="rect">
            <a:avLst/>
          </a:prstGeom>
          <a:noFill/>
        </p:spPr>
        <p:txBody>
          <a:bodyPr wrap="square" rtlCol="0" anchor="ctr"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dirty="0">
                <a:ln>
                  <a:noFill/>
                </a:ln>
                <a:solidFill>
                  <a:prstClr val="white"/>
                </a:solidFill>
                <a:effectLst/>
                <a:uLnTx/>
                <a:uFillTx/>
                <a:latin typeface="Calibri"/>
                <a:ea typeface="+mn-ea"/>
                <a:cs typeface="+mn-cs"/>
              </a:rPr>
              <a:t>Government</a:t>
            </a:r>
          </a:p>
        </p:txBody>
      </p:sp>
      <p:pic>
        <p:nvPicPr>
          <p:cNvPr id="6" name="Picture 5"/>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36014" y="4741822"/>
            <a:ext cx="1129282" cy="536409"/>
          </a:xfrm>
          <a:prstGeom prst="rect">
            <a:avLst/>
          </a:prstGeom>
        </p:spPr>
      </p:pic>
      <p:pic>
        <p:nvPicPr>
          <p:cNvPr id="2052" name="Picture 4" descr="\\klio2\Marketing\Images&amp;Fonts\Logos\Customer Logos\JCS_logo_small.jp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7061380" y="1685669"/>
            <a:ext cx="845965" cy="924621"/>
          </a:xfrm>
          <a:prstGeom prst="rect">
            <a:avLst/>
          </a:prstGeom>
          <a:noFill/>
          <a:extLst>
            <a:ext uri="{909E8E84-426E-40DD-AFC4-6F175D3DCCD1}">
              <a14:hiddenFill xmlns:a14="http://schemas.microsoft.com/office/drawing/2010/main">
                <a:solidFill>
                  <a:srgbClr val="FFFFFF"/>
                </a:solidFill>
              </a14:hiddenFill>
            </a:ext>
          </a:extLst>
        </p:spPr>
      </p:pic>
      <p:pic>
        <p:nvPicPr>
          <p:cNvPr id="2053" name="Picture 5" descr="\\klio2\Marketing\Images&amp;Fonts\Logos\Customer Logos\stanislaus.bmp"/>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8371724" y="4690829"/>
            <a:ext cx="678182" cy="571101"/>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111" descr="louisiana-department-of-transportation-office.jp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85120" y="5337081"/>
            <a:ext cx="690059" cy="694399"/>
          </a:xfrm>
          <a:prstGeom prst="rect">
            <a:avLst/>
          </a:prstGeom>
        </p:spPr>
      </p:pic>
      <p:pic>
        <p:nvPicPr>
          <p:cNvPr id="115" name="Picture 114" descr="Port-of-LA-logo.jpg"/>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979836" y="4792449"/>
            <a:ext cx="654371" cy="711177"/>
          </a:xfrm>
          <a:prstGeom prst="rect">
            <a:avLst/>
          </a:prstGeom>
        </p:spPr>
      </p:pic>
      <p:pic>
        <p:nvPicPr>
          <p:cNvPr id="117" name="Picture 34" descr="Minnesota Judicial Branch.bmp"/>
          <p:cNvPicPr>
            <a:picLocks noChangeAspect="1"/>
          </p:cNvPicPr>
          <p:nvPr/>
        </p:nvPicPr>
        <p:blipFill>
          <a:blip r:embed="rId15" cstate="email">
            <a:extLst>
              <a:ext uri="{28A0092B-C50C-407E-A947-70E740481C1C}">
                <a14:useLocalDpi xmlns:a14="http://schemas.microsoft.com/office/drawing/2010/main"/>
              </a:ext>
            </a:extLst>
          </a:blip>
          <a:srcRect/>
          <a:stretch>
            <a:fillRect/>
          </a:stretch>
        </p:blipFill>
        <p:spPr bwMode="auto">
          <a:xfrm>
            <a:off x="1765296" y="5463942"/>
            <a:ext cx="1725964" cy="389952"/>
          </a:xfrm>
          <a:prstGeom prst="rect">
            <a:avLst/>
          </a:prstGeom>
          <a:solidFill>
            <a:schemeClr val="bg1"/>
          </a:solidFill>
          <a:ln w="9525">
            <a:noFill/>
            <a:miter lim="800000"/>
            <a:headEnd/>
            <a:tailEnd/>
          </a:ln>
        </p:spPr>
      </p:pic>
      <p:pic>
        <p:nvPicPr>
          <p:cNvPr id="122" name="Picture 121" descr="naturalresources_logo.gif"/>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161126" y="3892973"/>
            <a:ext cx="1261336" cy="672023"/>
          </a:xfrm>
          <a:prstGeom prst="rect">
            <a:avLst/>
          </a:prstGeom>
        </p:spPr>
      </p:pic>
      <p:sp>
        <p:nvSpPr>
          <p:cNvPr id="75" name="Title 4"/>
          <p:cNvSpPr txBox="1">
            <a:spLocks/>
          </p:cNvSpPr>
          <p:nvPr/>
        </p:nvSpPr>
        <p:spPr>
          <a:xfrm>
            <a:off x="145912" y="189916"/>
            <a:ext cx="8687322" cy="556452"/>
          </a:xfrm>
          <a:prstGeom prst="rect">
            <a:avLst/>
          </a:prstGeom>
        </p:spPr>
        <p:txBody>
          <a:bodyPr/>
          <a:lstStyle>
            <a:lvl1pPr algn="l" defTabSz="914400" rtl="0" eaLnBrk="1" latinLnBrk="0" hangingPunct="1">
              <a:lnSpc>
                <a:spcPct val="85000"/>
              </a:lnSpc>
              <a:spcBef>
                <a:spcPct val="0"/>
              </a:spcBef>
              <a:buNone/>
              <a:defRPr sz="2400" b="1" kern="1200">
                <a:solidFill>
                  <a:schemeClr val="accent1"/>
                </a:solidFill>
                <a:latin typeface="+mn-lt"/>
                <a:ea typeface="+mj-ea"/>
                <a:cs typeface="+mj-cs"/>
              </a:defRPr>
            </a:lvl1pPr>
          </a:lstStyle>
          <a:p>
            <a:pPr marL="0" marR="0" lvl="0" indent="0" algn="l" defTabSz="932597" rtl="0" eaLnBrk="1" fontAlgn="auto" latinLnBrk="0" hangingPunct="1">
              <a:lnSpc>
                <a:spcPct val="85000"/>
              </a:lnSpc>
              <a:spcBef>
                <a:spcPct val="0"/>
              </a:spcBef>
              <a:spcAft>
                <a:spcPts val="0"/>
              </a:spcAft>
              <a:buClrTx/>
              <a:buSzTx/>
              <a:buFontTx/>
              <a:buNone/>
              <a:tabLst/>
              <a:defRPr/>
            </a:pPr>
            <a:r>
              <a:rPr kumimoji="0" lang="en-US" sz="2448" b="1" i="0" u="none" strike="noStrike" kern="1200" cap="none" spc="0" normalizeH="0" baseline="0" noProof="0" dirty="0">
                <a:ln>
                  <a:noFill/>
                </a:ln>
                <a:solidFill>
                  <a:srgbClr val="33B5C3"/>
                </a:solidFill>
                <a:effectLst/>
                <a:uLnTx/>
                <a:uFillTx/>
                <a:latin typeface="Calibri"/>
                <a:ea typeface="+mj-ea"/>
                <a:cs typeface="+mj-cs"/>
              </a:rPr>
              <a:t>Select Customers &amp; Partners  </a:t>
            </a:r>
          </a:p>
          <a:p>
            <a:pPr marL="0" marR="0" lvl="0" indent="0" algn="l" defTabSz="932597" rtl="0" eaLnBrk="1" fontAlgn="auto" latinLnBrk="0" hangingPunct="1">
              <a:lnSpc>
                <a:spcPct val="85000"/>
              </a:lnSpc>
              <a:spcBef>
                <a:spcPct val="0"/>
              </a:spcBef>
              <a:spcAft>
                <a:spcPts val="0"/>
              </a:spcAft>
              <a:buClrTx/>
              <a:buSzTx/>
              <a:buFontTx/>
              <a:buNone/>
              <a:tabLst/>
              <a:defRPr/>
            </a:pPr>
            <a:r>
              <a:rPr kumimoji="0" lang="en-US" sz="2448" b="1" i="0" u="none" strike="noStrike" kern="1200" cap="none" spc="0" normalizeH="0" baseline="0" noProof="0" dirty="0">
                <a:ln>
                  <a:noFill/>
                </a:ln>
                <a:solidFill>
                  <a:srgbClr val="33B5C3"/>
                </a:solidFill>
                <a:effectLst/>
                <a:uLnTx/>
                <a:uFillTx/>
                <a:latin typeface="Calibri"/>
                <a:ea typeface="+mj-ea"/>
                <a:cs typeface="+mj-cs"/>
              </a:rPr>
              <a:t>	 Proven Track Record, Reliable, Best Evidence</a:t>
            </a:r>
          </a:p>
          <a:p>
            <a:pPr marL="0" marR="0" lvl="0" indent="0" algn="l" defTabSz="932597" rtl="0" eaLnBrk="1" fontAlgn="auto" latinLnBrk="0" hangingPunct="1">
              <a:lnSpc>
                <a:spcPct val="85000"/>
              </a:lnSpc>
              <a:spcBef>
                <a:spcPct val="0"/>
              </a:spcBef>
              <a:spcAft>
                <a:spcPts val="0"/>
              </a:spcAft>
              <a:buClrTx/>
              <a:buSzTx/>
              <a:buFontTx/>
              <a:buNone/>
              <a:tabLst/>
              <a:defRPr/>
            </a:pPr>
            <a:endParaRPr kumimoji="0" lang="en-US" sz="2448" b="1" i="0" u="none" strike="noStrike" kern="1200" cap="none" spc="0" normalizeH="0" baseline="0" noProof="0" dirty="0">
              <a:ln>
                <a:noFill/>
              </a:ln>
              <a:solidFill>
                <a:srgbClr val="33B5C3"/>
              </a:solidFill>
              <a:effectLst/>
              <a:uLnTx/>
              <a:uFillTx/>
              <a:latin typeface="Calibri"/>
              <a:ea typeface="+mj-ea"/>
              <a:cs typeface="+mj-cs"/>
            </a:endParaRPr>
          </a:p>
        </p:txBody>
      </p:sp>
      <p:pic>
        <p:nvPicPr>
          <p:cNvPr id="98" name="Picture 97" descr="FFF_Logo_Horiz.jp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1374057" y="3892973"/>
            <a:ext cx="1527305" cy="704910"/>
          </a:xfrm>
          <a:prstGeom prst="rect">
            <a:avLst/>
          </a:prstGeom>
        </p:spPr>
      </p:pic>
      <p:pic>
        <p:nvPicPr>
          <p:cNvPr id="104" name="Picture 35" descr="Michigan Gaming Control Board.jpg"/>
          <p:cNvPicPr>
            <a:picLocks noChangeAspect="1"/>
          </p:cNvPicPr>
          <p:nvPr/>
        </p:nvPicPr>
        <p:blipFill>
          <a:blip r:embed="rId18"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237611" y="3927469"/>
            <a:ext cx="946407" cy="776227"/>
          </a:xfrm>
          <a:prstGeom prst="rect">
            <a:avLst/>
          </a:prstGeom>
          <a:solidFill>
            <a:schemeClr val="bg1"/>
          </a:solidFill>
          <a:ln w="9525">
            <a:noFill/>
            <a:miter lim="800000"/>
            <a:headEnd/>
            <a:tailEnd/>
          </a:ln>
        </p:spPr>
      </p:pic>
      <p:pic>
        <p:nvPicPr>
          <p:cNvPr id="105" name="Picture 104" descr="DTRA.gif"/>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3136977" y="2723101"/>
            <a:ext cx="874929" cy="873178"/>
          </a:xfrm>
          <a:prstGeom prst="rect">
            <a:avLst/>
          </a:prstGeom>
          <a:solidFill>
            <a:schemeClr val="bg1"/>
          </a:solidFill>
        </p:spPr>
      </p:pic>
      <p:pic>
        <p:nvPicPr>
          <p:cNvPr id="108" name="Picture 107" descr="Air_Force_Recruiting_Service.png"/>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4243549" y="2723101"/>
            <a:ext cx="887735" cy="887735"/>
          </a:xfrm>
          <a:prstGeom prst="rect">
            <a:avLst/>
          </a:prstGeom>
        </p:spPr>
      </p:pic>
      <p:pic>
        <p:nvPicPr>
          <p:cNvPr id="109" name="Picture 108" descr="210px-US-DeptOfNavy-Seal.svg.png"/>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2047705" y="2707711"/>
            <a:ext cx="841528" cy="841528"/>
          </a:xfrm>
          <a:prstGeom prst="rect">
            <a:avLst/>
          </a:prstGeom>
        </p:spPr>
      </p:pic>
      <p:pic>
        <p:nvPicPr>
          <p:cNvPr id="110" name="Picture 109" descr="USCENTCOM.jpg"/>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5276143" y="2693993"/>
            <a:ext cx="960500" cy="960500"/>
          </a:xfrm>
          <a:prstGeom prst="rect">
            <a:avLst/>
          </a:prstGeom>
        </p:spPr>
      </p:pic>
      <p:pic>
        <p:nvPicPr>
          <p:cNvPr id="123" name="Picture 10" descr="DOD"/>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739684" y="2809826"/>
            <a:ext cx="1216424" cy="807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4" name="Picture 123" descr="FAA.bmp"/>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6410009" y="2701070"/>
            <a:ext cx="845093" cy="871861"/>
          </a:xfrm>
          <a:prstGeom prst="rect">
            <a:avLst/>
          </a:prstGeom>
          <a:solidFill>
            <a:schemeClr val="bg1"/>
          </a:solidFill>
        </p:spPr>
      </p:pic>
      <p:pic>
        <p:nvPicPr>
          <p:cNvPr id="125" name="Picture 124" descr="nasalogo_twitter.jpg"/>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3069541" y="1713036"/>
            <a:ext cx="1009799" cy="870208"/>
          </a:xfrm>
          <a:prstGeom prst="rect">
            <a:avLst/>
          </a:prstGeom>
        </p:spPr>
      </p:pic>
      <p:pic>
        <p:nvPicPr>
          <p:cNvPr id="5" name="Picture 4"/>
          <p:cNvPicPr>
            <a:picLocks noChangeAspect="1"/>
          </p:cNvPicPr>
          <p:nvPr/>
        </p:nvPicPr>
        <p:blipFill rotWithShape="1">
          <a:blip r:embed="rId26" cstate="email">
            <a:extLst>
              <a:ext uri="{28A0092B-C50C-407E-A947-70E740481C1C}">
                <a14:useLocalDpi xmlns:a14="http://schemas.microsoft.com/office/drawing/2010/main"/>
              </a:ext>
            </a:extLst>
          </a:blip>
          <a:srcRect/>
          <a:stretch/>
        </p:blipFill>
        <p:spPr>
          <a:xfrm>
            <a:off x="6194526" y="5399402"/>
            <a:ext cx="2859407" cy="667591"/>
          </a:xfrm>
          <a:prstGeom prst="rect">
            <a:avLst/>
          </a:prstGeom>
        </p:spPr>
      </p:pic>
      <p:graphicFrame>
        <p:nvGraphicFramePr>
          <p:cNvPr id="3" name="Object 2"/>
          <p:cNvGraphicFramePr>
            <a:graphicFrameLocks noChangeAspect="1"/>
          </p:cNvGraphicFramePr>
          <p:nvPr>
            <p:extLst/>
          </p:nvPr>
        </p:nvGraphicFramePr>
        <p:xfrm>
          <a:off x="7422462" y="4286758"/>
          <a:ext cx="890507" cy="841934"/>
        </p:xfrm>
        <a:graphic>
          <a:graphicData uri="http://schemas.openxmlformats.org/presentationml/2006/ole">
            <mc:AlternateContent xmlns:mc="http://schemas.openxmlformats.org/markup-compatibility/2006">
              <mc:Choice xmlns:v="urn:schemas-microsoft-com:vml" Requires="v">
                <p:oleObj spid="_x0000_s64514" name="Photo Editor Photo" r:id="rId27" imgW="1905266" imgH="1800476" progId="">
                  <p:embed/>
                </p:oleObj>
              </mc:Choice>
              <mc:Fallback>
                <p:oleObj name="Photo Editor Photo" r:id="rId27" imgW="1905266" imgH="1800476" progId="">
                  <p:embed/>
                  <p:pic>
                    <p:nvPicPr>
                      <p:cNvPr id="3" name="Object 2"/>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7422462" y="4286758"/>
                        <a:ext cx="890507" cy="841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105" name="Picture 57"/>
          <p:cNvPicPr>
            <a:picLocks noChangeAspect="1" noChangeArrowheads="1"/>
          </p:cNvPicPr>
          <p:nvPr/>
        </p:nvPicPr>
        <p:blipFill>
          <a:blip r:embed="rId29" cstate="email">
            <a:extLst>
              <a:ext uri="{28A0092B-C50C-407E-A947-70E740481C1C}">
                <a14:useLocalDpi xmlns:a14="http://schemas.microsoft.com/office/drawing/2010/main"/>
              </a:ext>
            </a:extLst>
          </a:blip>
          <a:srcRect/>
          <a:stretch>
            <a:fillRect/>
          </a:stretch>
        </p:blipFill>
        <p:spPr bwMode="auto">
          <a:xfrm>
            <a:off x="5844481" y="1681451"/>
            <a:ext cx="904128" cy="9119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56" name="Picture 12"/>
          <p:cNvPicPr>
            <a:picLocks noChangeAspect="1" noChangeArrowheads="1"/>
          </p:cNvPicPr>
          <p:nvPr/>
        </p:nvPicPr>
        <p:blipFill>
          <a:blip r:embed="rId30" cstate="email">
            <a:extLst>
              <a:ext uri="{28A0092B-C50C-407E-A947-70E740481C1C}">
                <a14:useLocalDpi xmlns:a14="http://schemas.microsoft.com/office/drawing/2010/main"/>
              </a:ext>
            </a:extLst>
          </a:blip>
          <a:srcRect/>
          <a:stretch>
            <a:fillRect/>
          </a:stretch>
        </p:blipFill>
        <p:spPr bwMode="auto">
          <a:xfrm>
            <a:off x="3090668" y="3865374"/>
            <a:ext cx="2853183" cy="50151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7" name="Oval 6"/>
          <p:cNvSpPr/>
          <p:nvPr/>
        </p:nvSpPr>
        <p:spPr bwMode="auto">
          <a:xfrm>
            <a:off x="594253" y="1601820"/>
            <a:ext cx="1361855" cy="925212"/>
          </a:xfrm>
          <a:prstGeom prst="ellipse">
            <a:avLst/>
          </a:prstGeom>
          <a:noFill/>
          <a:ln w="38100" cap="flat" cmpd="sng" algn="ctr">
            <a:solidFill>
              <a:srgbClr val="FF0000"/>
            </a:solidFill>
            <a:prstDash val="sysDash"/>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sp>
        <p:nvSpPr>
          <p:cNvPr id="47" name="Oval 46"/>
          <p:cNvSpPr/>
          <p:nvPr/>
        </p:nvSpPr>
        <p:spPr bwMode="auto">
          <a:xfrm>
            <a:off x="4203576" y="1676775"/>
            <a:ext cx="1361855" cy="925212"/>
          </a:xfrm>
          <a:prstGeom prst="ellipse">
            <a:avLst/>
          </a:prstGeom>
          <a:noFill/>
          <a:ln w="38100" cap="flat" cmpd="sng" algn="ctr">
            <a:solidFill>
              <a:srgbClr val="FF0000"/>
            </a:solidFill>
            <a:prstDash val="sysDash"/>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sp>
        <p:nvSpPr>
          <p:cNvPr id="48" name="Oval 47"/>
          <p:cNvSpPr/>
          <p:nvPr/>
        </p:nvSpPr>
        <p:spPr bwMode="auto">
          <a:xfrm>
            <a:off x="7980395" y="1625294"/>
            <a:ext cx="1361855" cy="925212"/>
          </a:xfrm>
          <a:prstGeom prst="ellipse">
            <a:avLst/>
          </a:prstGeom>
          <a:noFill/>
          <a:ln w="38100" cap="flat" cmpd="sng" algn="ctr">
            <a:solidFill>
              <a:srgbClr val="FF0000"/>
            </a:solidFill>
            <a:prstDash val="sysDash"/>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sp>
        <p:nvSpPr>
          <p:cNvPr id="49" name="Oval 48"/>
          <p:cNvSpPr/>
          <p:nvPr/>
        </p:nvSpPr>
        <p:spPr bwMode="auto">
          <a:xfrm>
            <a:off x="447364" y="4621253"/>
            <a:ext cx="1637794" cy="925212"/>
          </a:xfrm>
          <a:prstGeom prst="ellipse">
            <a:avLst/>
          </a:prstGeom>
          <a:noFill/>
          <a:ln w="38100" cap="flat" cmpd="sng" algn="ctr">
            <a:solidFill>
              <a:srgbClr val="FF0000"/>
            </a:solidFill>
            <a:prstDash val="sysDash"/>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sp>
        <p:nvSpPr>
          <p:cNvPr id="50" name="Oval 49"/>
          <p:cNvSpPr/>
          <p:nvPr/>
        </p:nvSpPr>
        <p:spPr bwMode="auto">
          <a:xfrm>
            <a:off x="4504751" y="4397990"/>
            <a:ext cx="2750352" cy="925212"/>
          </a:xfrm>
          <a:prstGeom prst="ellipse">
            <a:avLst/>
          </a:prstGeom>
          <a:noFill/>
          <a:ln w="38100" cap="flat" cmpd="sng" algn="ctr">
            <a:solidFill>
              <a:srgbClr val="FF0000"/>
            </a:solidFill>
            <a:prstDash val="sysDash"/>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pic>
        <p:nvPicPr>
          <p:cNvPr id="51" name="Picture 2" descr="Image result for sacramento"/>
          <p:cNvPicPr>
            <a:picLocks noChangeAspect="1" noChangeArrowheads="1"/>
          </p:cNvPicPr>
          <p:nvPr/>
        </p:nvPicPr>
        <p:blipFill>
          <a:blip r:embed="rId31" cstate="email">
            <a:extLst>
              <a:ext uri="{28A0092B-C50C-407E-A947-70E740481C1C}">
                <a14:useLocalDpi xmlns:a14="http://schemas.microsoft.com/office/drawing/2010/main"/>
              </a:ext>
            </a:extLst>
          </a:blip>
          <a:srcRect/>
          <a:stretch>
            <a:fillRect/>
          </a:stretch>
        </p:blipFill>
        <p:spPr bwMode="auto">
          <a:xfrm>
            <a:off x="4992476" y="4655910"/>
            <a:ext cx="1914083" cy="409370"/>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pic>
        <p:nvPicPr>
          <p:cNvPr id="52" name="Picture 4" descr="SOM - State of Michigan "/>
          <p:cNvPicPr>
            <a:picLocks noChangeAspect="1" noChangeArrowheads="1"/>
          </p:cNvPicPr>
          <p:nvPr/>
        </p:nvPicPr>
        <p:blipFill>
          <a:blip r:embed="rId32" cstate="email">
            <a:extLst>
              <a:ext uri="{28A0092B-C50C-407E-A947-70E740481C1C}">
                <a14:useLocalDpi xmlns:a14="http://schemas.microsoft.com/office/drawing/2010/main"/>
              </a:ext>
            </a:extLst>
          </a:blip>
          <a:srcRect/>
          <a:stretch>
            <a:fillRect/>
          </a:stretch>
        </p:blipFill>
        <p:spPr bwMode="auto">
          <a:xfrm>
            <a:off x="2131670" y="4624866"/>
            <a:ext cx="1706301" cy="520325"/>
          </a:xfrm>
          <a:prstGeom prst="rect">
            <a:avLst/>
          </a:prstGeom>
          <a:solidFill>
            <a:schemeClr val="accent3">
              <a:lumMod val="60000"/>
              <a:lumOff val="40000"/>
            </a:schemeClr>
          </a:solidFill>
          <a:ln w="19050">
            <a:solidFill>
              <a:schemeClr val="tx1"/>
            </a:solidFill>
          </a:ln>
        </p:spPr>
      </p:pic>
      <p:sp>
        <p:nvSpPr>
          <p:cNvPr id="54" name="Oval 53"/>
          <p:cNvSpPr/>
          <p:nvPr/>
        </p:nvSpPr>
        <p:spPr bwMode="auto">
          <a:xfrm>
            <a:off x="2857964" y="1652674"/>
            <a:ext cx="1361855" cy="925212"/>
          </a:xfrm>
          <a:prstGeom prst="ellipse">
            <a:avLst/>
          </a:prstGeom>
          <a:noFill/>
          <a:ln w="38100" cap="flat" cmpd="sng" algn="ctr">
            <a:solidFill>
              <a:srgbClr val="FF0000"/>
            </a:solidFill>
            <a:prstDash val="sysDash"/>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sp>
        <p:nvSpPr>
          <p:cNvPr id="45" name="Oval 44"/>
          <p:cNvSpPr/>
          <p:nvPr/>
        </p:nvSpPr>
        <p:spPr bwMode="auto">
          <a:xfrm>
            <a:off x="1867826" y="4566553"/>
            <a:ext cx="2471428" cy="925212"/>
          </a:xfrm>
          <a:prstGeom prst="ellipse">
            <a:avLst/>
          </a:prstGeom>
          <a:noFill/>
          <a:ln w="38100" cap="flat" cmpd="sng" algn="ctr">
            <a:solidFill>
              <a:srgbClr val="FF0000"/>
            </a:solidFill>
            <a:prstDash val="sysDash"/>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sp>
        <p:nvSpPr>
          <p:cNvPr id="2" name="TextBox 1"/>
          <p:cNvSpPr txBox="1"/>
          <p:nvPr/>
        </p:nvSpPr>
        <p:spPr bwMode="auto">
          <a:xfrm>
            <a:off x="9400832" y="1482950"/>
            <a:ext cx="2915531" cy="3843619"/>
          </a:xfrm>
          <a:prstGeom prst="rect">
            <a:avLst/>
          </a:prstGeom>
          <a:solidFill>
            <a:srgbClr val="FFC000"/>
          </a:solidFill>
          <a:ln w="38100">
            <a:solidFill>
              <a:schemeClr val="tx1"/>
            </a:solidFill>
            <a:miter lim="800000"/>
            <a:headEnd/>
            <a:tailEnd/>
          </a:ln>
          <a:effectLst/>
        </p:spPr>
        <p:txBody>
          <a:bodyPr vert="horz" wrap="square" lIns="18652" tIns="18652" rIns="18652" bIns="18652" numCol="1" rtlCol="0" anchor="t" anchorCtr="0" compatLnSpc="1">
            <a:prstTxWarp prst="textNoShape">
              <a:avLst/>
            </a:prstTxWarp>
            <a:spAutoFit/>
          </a:bodyPr>
          <a:lstStyle/>
          <a:p>
            <a:pPr marL="0" marR="0" lvl="0" indent="0" algn="l" defTabSz="932597" rtl="0" eaLnBrk="1" fontAlgn="base" latinLnBrk="0" hangingPunct="1">
              <a:lnSpc>
                <a:spcPct val="100000"/>
              </a:lnSpc>
              <a:spcBef>
                <a:spcPts val="306"/>
              </a:spcBef>
              <a:spcAft>
                <a:spcPts val="408"/>
              </a:spcAft>
              <a:buClr>
                <a:srgbClr val="D2DFE7">
                  <a:lumMod val="50000"/>
                </a:srgbClr>
              </a:buClr>
              <a:buSzTx/>
              <a:buFontTx/>
              <a:buNone/>
              <a:tabLst/>
              <a:defRPr/>
            </a:pPr>
            <a:r>
              <a:rPr kumimoji="0" lang="en-US" sz="2448" b="0" i="0" u="none" strike="noStrike" kern="0" cap="none" spc="0" normalizeH="0" baseline="0" noProof="0" dirty="0" err="1">
                <a:ln>
                  <a:noFill/>
                </a:ln>
                <a:solidFill>
                  <a:srgbClr val="333333"/>
                </a:solidFill>
                <a:effectLst/>
                <a:uLnTx/>
                <a:uFillTx/>
                <a:latin typeface="Calibri" pitchFamily="34" charset="0"/>
                <a:ea typeface="+mn-ea"/>
                <a:cs typeface="+mn-cs"/>
              </a:rPr>
              <a:t>FedRAMP</a:t>
            </a:r>
            <a:endParaRPr kumimoji="0" lang="en-US" sz="2448" b="0" i="0" u="none" strike="noStrike" kern="0" cap="none" spc="0" normalizeH="0" baseline="0" noProof="0" dirty="0">
              <a:ln>
                <a:noFill/>
              </a:ln>
              <a:solidFill>
                <a:srgbClr val="333333"/>
              </a:solidFill>
              <a:effectLst/>
              <a:uLnTx/>
              <a:uFillTx/>
              <a:latin typeface="Calibri" pitchFamily="34" charset="0"/>
              <a:ea typeface="+mn-ea"/>
              <a:cs typeface="+mn-cs"/>
            </a:endParaRPr>
          </a:p>
          <a:p>
            <a:pPr marL="0" marR="0" lvl="0" indent="0" algn="l" defTabSz="932597" rtl="0" eaLnBrk="1" fontAlgn="base" latinLnBrk="0" hangingPunct="1">
              <a:lnSpc>
                <a:spcPct val="100000"/>
              </a:lnSpc>
              <a:spcBef>
                <a:spcPts val="306"/>
              </a:spcBef>
              <a:spcAft>
                <a:spcPts val="408"/>
              </a:spcAft>
              <a:buClr>
                <a:srgbClr val="D2DFE7">
                  <a:lumMod val="50000"/>
                </a:srgbClr>
              </a:buClr>
              <a:buSzTx/>
              <a:buFontTx/>
              <a:buNone/>
              <a:tabLst/>
              <a:defRPr/>
            </a:pPr>
            <a:r>
              <a:rPr kumimoji="0" lang="en-US" sz="1836" b="0" i="0" u="none" strike="noStrike" kern="0" cap="none" spc="0" normalizeH="0" baseline="0" noProof="0" dirty="0">
                <a:ln>
                  <a:noFill/>
                </a:ln>
                <a:solidFill>
                  <a:sysClr val="windowText" lastClr="000000"/>
                </a:solidFill>
                <a:effectLst/>
                <a:uLnTx/>
                <a:uFillTx/>
                <a:latin typeface="Calibri" pitchFamily="34" charset="0"/>
                <a:ea typeface="+mn-ea"/>
                <a:cs typeface="+mn-cs"/>
              </a:rPr>
              <a:t>	MS Azure</a:t>
            </a:r>
          </a:p>
          <a:p>
            <a:pPr marL="0" marR="0" lvl="0" indent="0" algn="l" defTabSz="932597" rtl="0" eaLnBrk="1" fontAlgn="base" latinLnBrk="0" hangingPunct="1">
              <a:lnSpc>
                <a:spcPct val="100000"/>
              </a:lnSpc>
              <a:spcBef>
                <a:spcPts val="306"/>
              </a:spcBef>
              <a:spcAft>
                <a:spcPts val="408"/>
              </a:spcAft>
              <a:buClr>
                <a:srgbClr val="D2DFE7">
                  <a:lumMod val="50000"/>
                </a:srgbClr>
              </a:buClr>
              <a:buSzTx/>
              <a:buFontTx/>
              <a:buNone/>
              <a:tabLst/>
              <a:defRPr/>
            </a:pPr>
            <a:r>
              <a:rPr kumimoji="0" lang="en-US" sz="1836" b="0" i="0" u="none" strike="noStrike" kern="0" cap="none" spc="0" normalizeH="0" baseline="0" noProof="0" dirty="0">
                <a:ln>
                  <a:noFill/>
                </a:ln>
                <a:solidFill>
                  <a:sysClr val="windowText" lastClr="000000"/>
                </a:solidFill>
                <a:effectLst/>
                <a:uLnTx/>
                <a:uFillTx/>
                <a:latin typeface="Calibri" pitchFamily="34" charset="0"/>
                <a:ea typeface="+mn-ea"/>
                <a:cs typeface="+mn-cs"/>
              </a:rPr>
              <a:t>CAC/PIV</a:t>
            </a:r>
          </a:p>
          <a:p>
            <a:pPr marL="0" marR="0" lvl="0" indent="0" algn="l" defTabSz="932597" rtl="0" eaLnBrk="1" fontAlgn="base" latinLnBrk="0" hangingPunct="1">
              <a:lnSpc>
                <a:spcPct val="100000"/>
              </a:lnSpc>
              <a:spcBef>
                <a:spcPts val="306"/>
              </a:spcBef>
              <a:spcAft>
                <a:spcPts val="408"/>
              </a:spcAft>
              <a:buClr>
                <a:srgbClr val="D2DFE7">
                  <a:lumMod val="50000"/>
                </a:srgbClr>
              </a:buClr>
              <a:buSzTx/>
              <a:buFontTx/>
              <a:buNone/>
              <a:tabLst/>
              <a:defRPr/>
            </a:pPr>
            <a:r>
              <a:rPr kumimoji="0" lang="en-US" sz="1836" b="0" i="0" u="none" strike="noStrike" kern="0" cap="none" spc="0" normalizeH="0" baseline="0" noProof="0" dirty="0">
                <a:ln>
                  <a:noFill/>
                </a:ln>
                <a:solidFill>
                  <a:sysClr val="windowText" lastClr="000000"/>
                </a:solidFill>
                <a:effectLst/>
                <a:uLnTx/>
                <a:uFillTx/>
                <a:latin typeface="Calibri" pitchFamily="34" charset="0"/>
                <a:ea typeface="+mn-ea"/>
                <a:cs typeface="+mn-cs"/>
              </a:rPr>
              <a:t>	Traditional </a:t>
            </a:r>
          </a:p>
          <a:p>
            <a:pPr marL="0" marR="0" lvl="0" indent="0" algn="l" defTabSz="932597" rtl="0" eaLnBrk="1" fontAlgn="base" latinLnBrk="0" hangingPunct="1">
              <a:lnSpc>
                <a:spcPct val="100000"/>
              </a:lnSpc>
              <a:spcBef>
                <a:spcPts val="306"/>
              </a:spcBef>
              <a:spcAft>
                <a:spcPts val="408"/>
              </a:spcAft>
              <a:buClr>
                <a:srgbClr val="D2DFE7">
                  <a:lumMod val="50000"/>
                </a:srgbClr>
              </a:buClr>
              <a:buSzTx/>
              <a:buFontTx/>
              <a:buNone/>
              <a:tabLst/>
              <a:defRPr/>
            </a:pPr>
            <a:r>
              <a:rPr kumimoji="0" lang="en-US" sz="1836" b="0" i="0" u="none" strike="noStrike" kern="0" cap="none" spc="0" normalizeH="0" baseline="0" noProof="0" dirty="0">
                <a:ln>
                  <a:noFill/>
                </a:ln>
                <a:solidFill>
                  <a:sysClr val="windowText" lastClr="000000"/>
                </a:solidFill>
                <a:effectLst/>
                <a:uLnTx/>
                <a:uFillTx/>
                <a:latin typeface="Calibri" pitchFamily="34" charset="0"/>
                <a:ea typeface="+mn-ea"/>
                <a:cs typeface="+mn-cs"/>
              </a:rPr>
              <a:t>	Derived </a:t>
            </a:r>
            <a:r>
              <a:rPr kumimoji="0" lang="en-US" sz="1836" b="0" i="0" u="none" strike="noStrike" kern="0" cap="none" spc="0" normalizeH="0" baseline="0" noProof="0" dirty="0" err="1">
                <a:ln>
                  <a:noFill/>
                </a:ln>
                <a:solidFill>
                  <a:sysClr val="windowText" lastClr="000000"/>
                </a:solidFill>
                <a:effectLst/>
                <a:uLnTx/>
                <a:uFillTx/>
                <a:latin typeface="Calibri" pitchFamily="34" charset="0"/>
                <a:ea typeface="+mn-ea"/>
                <a:cs typeface="+mn-cs"/>
              </a:rPr>
              <a:t>Credendials</a:t>
            </a:r>
            <a:r>
              <a:rPr kumimoji="0" lang="en-US" sz="1836" b="0" i="0" u="none" strike="noStrike" kern="0" cap="none" spc="0" normalizeH="0" baseline="0" noProof="0" dirty="0">
                <a:ln>
                  <a:noFill/>
                </a:ln>
                <a:solidFill>
                  <a:sysClr val="windowText" lastClr="000000"/>
                </a:solidFill>
                <a:effectLst/>
                <a:uLnTx/>
                <a:uFillTx/>
                <a:latin typeface="Calibri" pitchFamily="34" charset="0"/>
                <a:ea typeface="+mn-ea"/>
                <a:cs typeface="+mn-cs"/>
              </a:rPr>
              <a:t>	TPM Chip</a:t>
            </a:r>
          </a:p>
          <a:p>
            <a:pPr marL="0" marR="0" lvl="0" indent="0" algn="l" defTabSz="932597" rtl="0" eaLnBrk="1" fontAlgn="base" latinLnBrk="0" hangingPunct="1">
              <a:lnSpc>
                <a:spcPct val="100000"/>
              </a:lnSpc>
              <a:spcBef>
                <a:spcPts val="306"/>
              </a:spcBef>
              <a:spcAft>
                <a:spcPts val="408"/>
              </a:spcAft>
              <a:buClr>
                <a:srgbClr val="D2DFE7">
                  <a:lumMod val="50000"/>
                </a:srgbClr>
              </a:buClr>
              <a:buSzTx/>
              <a:buFontTx/>
              <a:buNone/>
              <a:tabLst/>
              <a:defRPr/>
            </a:pPr>
            <a:r>
              <a:rPr kumimoji="0" lang="en-US" sz="1836" b="0" i="0" u="none" strike="noStrike" kern="0" cap="none" spc="0" normalizeH="0" baseline="0" noProof="0" dirty="0">
                <a:ln>
                  <a:noFill/>
                </a:ln>
                <a:solidFill>
                  <a:sysClr val="windowText" lastClr="000000"/>
                </a:solidFill>
                <a:effectLst/>
                <a:uLnTx/>
                <a:uFillTx/>
                <a:latin typeface="Calibri" pitchFamily="34" charset="0"/>
                <a:ea typeface="+mn-ea"/>
                <a:cs typeface="+mn-cs"/>
              </a:rPr>
              <a:t>Mobility</a:t>
            </a:r>
          </a:p>
          <a:p>
            <a:pPr marL="0" marR="0" lvl="0" indent="0" algn="l" defTabSz="932597" rtl="0" eaLnBrk="1" fontAlgn="base" latinLnBrk="0" hangingPunct="1">
              <a:lnSpc>
                <a:spcPct val="100000"/>
              </a:lnSpc>
              <a:spcBef>
                <a:spcPts val="306"/>
              </a:spcBef>
              <a:spcAft>
                <a:spcPts val="408"/>
              </a:spcAft>
              <a:buClr>
                <a:srgbClr val="D2DFE7">
                  <a:lumMod val="50000"/>
                </a:srgbClr>
              </a:buClr>
              <a:buSzTx/>
              <a:buFontTx/>
              <a:buNone/>
              <a:tabLst/>
              <a:defRPr/>
            </a:pPr>
            <a:r>
              <a:rPr kumimoji="0" lang="en-US" sz="1836" b="0" i="0" u="none" strike="noStrike" kern="0" cap="none" spc="0" normalizeH="0" baseline="0" noProof="0" dirty="0">
                <a:ln>
                  <a:noFill/>
                </a:ln>
                <a:solidFill>
                  <a:sysClr val="windowText" lastClr="000000"/>
                </a:solidFill>
                <a:effectLst/>
                <a:uLnTx/>
                <a:uFillTx/>
                <a:latin typeface="Calibri" pitchFamily="34" charset="0"/>
                <a:ea typeface="+mn-ea"/>
                <a:cs typeface="+mn-cs"/>
              </a:rPr>
              <a:t>	Derived Credential</a:t>
            </a:r>
          </a:p>
          <a:p>
            <a:pPr marL="0" marR="0" lvl="0" indent="0" algn="l" defTabSz="932597" rtl="0" eaLnBrk="1" fontAlgn="base" latinLnBrk="0" hangingPunct="1">
              <a:lnSpc>
                <a:spcPct val="100000"/>
              </a:lnSpc>
              <a:spcBef>
                <a:spcPts val="306"/>
              </a:spcBef>
              <a:spcAft>
                <a:spcPts val="408"/>
              </a:spcAft>
              <a:buClr>
                <a:srgbClr val="D2DFE7">
                  <a:lumMod val="50000"/>
                </a:srgbClr>
              </a:buClr>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Calibri" pitchFamily="34" charset="0"/>
              <a:ea typeface="+mn-ea"/>
              <a:cs typeface="+mn-cs"/>
            </a:endParaRPr>
          </a:p>
          <a:p>
            <a:pPr marL="0" marR="0" lvl="0" indent="0" algn="l" defTabSz="932597" rtl="0" eaLnBrk="1" fontAlgn="base" latinLnBrk="0" hangingPunct="1">
              <a:lnSpc>
                <a:spcPct val="100000"/>
              </a:lnSpc>
              <a:spcBef>
                <a:spcPts val="306"/>
              </a:spcBef>
              <a:spcAft>
                <a:spcPts val="408"/>
              </a:spcAft>
              <a:buClr>
                <a:srgbClr val="D2DFE7">
                  <a:lumMod val="50000"/>
                </a:srgbClr>
              </a:buClr>
              <a:buSzTx/>
              <a:buFontTx/>
              <a:buNone/>
              <a:tabLst/>
              <a:defRPr/>
            </a:pPr>
            <a:endParaRPr kumimoji="0" lang="en-US" sz="2448" b="0" i="0" u="none" strike="noStrike" kern="0" cap="none" spc="0" normalizeH="0" baseline="0" noProof="0" dirty="0">
              <a:ln>
                <a:noFill/>
              </a:ln>
              <a:solidFill>
                <a:srgbClr val="333333"/>
              </a:solidFill>
              <a:effectLst/>
              <a:uLnTx/>
              <a:uFillTx/>
              <a:latin typeface="Calibri" pitchFamily="34" charset="0"/>
              <a:ea typeface="+mn-ea"/>
              <a:cs typeface="+mn-cs"/>
            </a:endParaRPr>
          </a:p>
        </p:txBody>
      </p:sp>
    </p:spTree>
    <p:extLst>
      <p:ext uri="{BB962C8B-B14F-4D97-AF65-F5344CB8AC3E}">
        <p14:creationId xmlns:p14="http://schemas.microsoft.com/office/powerpoint/2010/main" val="486156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F71C7896-8E11-4384-BFC5-C0974CDBC83D}" type="slidenum">
              <a:rPr kumimoji="0" lang="en-US" sz="1836" b="0" i="0" u="none" strike="noStrike" kern="0" cap="none" spc="0" normalizeH="0" baseline="0" noProof="0">
                <a:ln>
                  <a:noFill/>
                </a:ln>
                <a:solidFill>
                  <a:sysClr val="windowText" lastClr="000000"/>
                </a:solidFill>
                <a:effectLst/>
                <a:uLnTx/>
                <a:uFillTx/>
                <a:latin typeface="Calibr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134</a:t>
            </a:fld>
            <a:endParaRPr kumimoji="0" lang="en-US" sz="1836"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 name="Text Placeholder 2"/>
          <p:cNvSpPr>
            <a:spLocks noGrp="1"/>
          </p:cNvSpPr>
          <p:nvPr>
            <p:ph type="body" sz="quarter" idx="11"/>
          </p:nvPr>
        </p:nvSpPr>
        <p:spPr>
          <a:xfrm>
            <a:off x="376768" y="2729259"/>
            <a:ext cx="11701063" cy="894625"/>
          </a:xfrm>
        </p:spPr>
        <p:txBody>
          <a:bodyPr/>
          <a:lstStyle/>
          <a:p>
            <a:pPr marL="0" indent="0" algn="ctr">
              <a:buNone/>
            </a:pPr>
            <a:r>
              <a:rPr lang="en-US" sz="5100" b="1" dirty="0">
                <a:solidFill>
                  <a:srgbClr val="0070C0"/>
                </a:solidFill>
              </a:rPr>
              <a:t>Additional Slides</a:t>
            </a:r>
          </a:p>
        </p:txBody>
      </p:sp>
    </p:spTree>
    <p:extLst>
      <p:ext uri="{BB962C8B-B14F-4D97-AF65-F5344CB8AC3E}">
        <p14:creationId xmlns:p14="http://schemas.microsoft.com/office/powerpoint/2010/main" val="610333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0"/>
          <p:cNvGrpSpPr/>
          <p:nvPr/>
        </p:nvGrpSpPr>
        <p:grpSpPr>
          <a:xfrm>
            <a:off x="104508" y="999486"/>
            <a:ext cx="12106572" cy="5545049"/>
            <a:chOff x="0" y="1030780"/>
            <a:chExt cx="11870266" cy="5436816"/>
          </a:xfrm>
        </p:grpSpPr>
        <p:pic>
          <p:nvPicPr>
            <p:cNvPr id="79" name="Picture 78" descr="map.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193800"/>
              <a:ext cx="11797516" cy="5273796"/>
            </a:xfrm>
            <a:prstGeom prst="rect">
              <a:avLst/>
            </a:prstGeom>
          </p:spPr>
        </p:pic>
        <p:sp>
          <p:nvSpPr>
            <p:cNvPr id="80" name="Rectangle 79"/>
            <p:cNvSpPr/>
            <p:nvPr/>
          </p:nvSpPr>
          <p:spPr bwMode="auto">
            <a:xfrm>
              <a:off x="279400" y="1030780"/>
              <a:ext cx="11590866" cy="5420805"/>
            </a:xfrm>
            <a:prstGeom prst="rect">
              <a:avLst/>
            </a:prstGeom>
            <a:solidFill>
              <a:schemeClr val="bg1">
                <a:alpha val="65000"/>
              </a:schemeClr>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333333"/>
                </a:solidFill>
                <a:effectLst/>
                <a:uLnTx/>
                <a:uFillTx/>
                <a:latin typeface="Times New Roman" pitchFamily="18" charset="0"/>
                <a:ea typeface="+mn-ea"/>
                <a:cs typeface="+mn-cs"/>
              </a:endParaRPr>
            </a:p>
          </p:txBody>
        </p:sp>
      </p:grpSp>
      <p:sp>
        <p:nvSpPr>
          <p:cNvPr id="70" name="Rectangle 69"/>
          <p:cNvSpPr/>
          <p:nvPr/>
        </p:nvSpPr>
        <p:spPr bwMode="auto">
          <a:xfrm>
            <a:off x="1632951" y="3894489"/>
            <a:ext cx="9256947" cy="1632055"/>
          </a:xfrm>
          <a:prstGeom prst="rect">
            <a:avLst/>
          </a:prstGeom>
          <a:solidFill>
            <a:schemeClr val="bg1">
              <a:lumMod val="75000"/>
              <a:alpha val="38000"/>
            </a:schemeClr>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sp>
        <p:nvSpPr>
          <p:cNvPr id="67" name="Rectangle 66"/>
          <p:cNvSpPr/>
          <p:nvPr/>
        </p:nvSpPr>
        <p:spPr bwMode="auto">
          <a:xfrm>
            <a:off x="1667491" y="2150174"/>
            <a:ext cx="9205137" cy="1632055"/>
          </a:xfrm>
          <a:prstGeom prst="rect">
            <a:avLst/>
          </a:prstGeom>
          <a:solidFill>
            <a:schemeClr val="bg1">
              <a:lumMod val="75000"/>
              <a:alpha val="38000"/>
            </a:schemeClr>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sp>
        <p:nvSpPr>
          <p:cNvPr id="2" name="Slide Number Placeholder 1"/>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F71C7896-8E11-4384-BFC5-C0974CDBC83D}" type="slidenum">
              <a:rPr kumimoji="0" lang="en-US" sz="1836" b="0" i="0" u="none" strike="noStrike" kern="0" cap="none" spc="0" normalizeH="0" baseline="0" noProof="0">
                <a:ln>
                  <a:noFill/>
                </a:ln>
                <a:solidFill>
                  <a:sysClr val="windowText" lastClr="000000"/>
                </a:solidFill>
                <a:effectLst/>
                <a:uLnTx/>
                <a:uFillTx/>
                <a:latin typeface="Calibr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135</a:t>
            </a:fld>
            <a:endParaRPr kumimoji="0" lang="en-US" sz="1836"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3" name="Rectangle 72"/>
          <p:cNvSpPr/>
          <p:nvPr/>
        </p:nvSpPr>
        <p:spPr bwMode="auto">
          <a:xfrm>
            <a:off x="5890107" y="1994735"/>
            <a:ext cx="181340" cy="3756320"/>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grpSp>
        <p:nvGrpSpPr>
          <p:cNvPr id="4" name="Group 71"/>
          <p:cNvGrpSpPr/>
          <p:nvPr/>
        </p:nvGrpSpPr>
        <p:grpSpPr>
          <a:xfrm>
            <a:off x="4482572" y="2348794"/>
            <a:ext cx="2987780" cy="2987780"/>
            <a:chOff x="4157137" y="2302949"/>
            <a:chExt cx="2929462" cy="2929462"/>
          </a:xfrm>
        </p:grpSpPr>
        <p:sp>
          <p:nvSpPr>
            <p:cNvPr id="63" name="Oval 62"/>
            <p:cNvSpPr/>
            <p:nvPr/>
          </p:nvSpPr>
          <p:spPr bwMode="auto">
            <a:xfrm>
              <a:off x="4157137" y="2302949"/>
              <a:ext cx="2929462" cy="2929462"/>
            </a:xfrm>
            <a:prstGeom prst="ellipse">
              <a:avLst/>
            </a:prstGeom>
            <a:solidFill>
              <a:schemeClr val="tx1">
                <a:lumMod val="75000"/>
                <a:lumOff val="25000"/>
              </a:schemeClr>
            </a:solidFill>
            <a:ln w="76200"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grpSp>
          <p:nvGrpSpPr>
            <p:cNvPr id="5" name="Group 28"/>
            <p:cNvGrpSpPr/>
            <p:nvPr/>
          </p:nvGrpSpPr>
          <p:grpSpPr>
            <a:xfrm>
              <a:off x="4326467" y="2472278"/>
              <a:ext cx="2590800" cy="2590800"/>
              <a:chOff x="4690534" y="2091267"/>
              <a:chExt cx="2590800" cy="2590800"/>
            </a:xfrm>
          </p:grpSpPr>
          <p:sp>
            <p:nvSpPr>
              <p:cNvPr id="26" name="Oval 25"/>
              <p:cNvSpPr/>
              <p:nvPr/>
            </p:nvSpPr>
            <p:spPr bwMode="auto">
              <a:xfrm>
                <a:off x="4690534" y="2091267"/>
                <a:ext cx="2590800" cy="2590800"/>
              </a:xfrm>
              <a:prstGeom prst="ellipse">
                <a:avLst/>
              </a:prstGeom>
              <a:solidFill>
                <a:schemeClr val="bg1"/>
              </a:solidFill>
              <a:ln w="76200" cap="flat" cmpd="sng" algn="ctr">
                <a:solidFill>
                  <a:schemeClr val="bg1"/>
                </a:solid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33333"/>
                  </a:solidFill>
                  <a:effectLst/>
                  <a:uLnTx/>
                  <a:uFillTx/>
                  <a:latin typeface="Times New Roman" pitchFamily="18" charset="0"/>
                  <a:ea typeface="+mn-ea"/>
                  <a:cs typeface="+mn-cs"/>
                </a:endParaRPr>
              </a:p>
            </p:txBody>
          </p:sp>
          <p:pic>
            <p:nvPicPr>
              <p:cNvPr id="27" name="Picture 26" descr="eSignLive-Logo-Black-Hi.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41873" y="3014116"/>
                <a:ext cx="2187062" cy="840112"/>
              </a:xfrm>
              <a:prstGeom prst="rect">
                <a:avLst/>
              </a:prstGeom>
            </p:spPr>
          </p:pic>
        </p:grpSp>
      </p:grpSp>
      <p:sp>
        <p:nvSpPr>
          <p:cNvPr id="33" name="Title 3"/>
          <p:cNvSpPr txBox="1">
            <a:spLocks/>
          </p:cNvSpPr>
          <p:nvPr/>
        </p:nvSpPr>
        <p:spPr bwMode="auto">
          <a:xfrm>
            <a:off x="882" y="325166"/>
            <a:ext cx="12434711" cy="564258"/>
          </a:xfrm>
          <a:prstGeom prst="rect">
            <a:avLst/>
          </a:prstGeom>
          <a:noFill/>
          <a:ln w="9525">
            <a:noFill/>
            <a:miter lim="800000"/>
            <a:headEnd/>
            <a:tailEnd/>
          </a:ln>
          <a:effectLst/>
        </p:spPr>
        <p:txBody>
          <a:bodyPr vert="horz" wrap="square" lIns="46630" tIns="46630" rIns="46630" bIns="0" numCol="1" anchor="ctr" anchorCtr="0" compatLnSpc="1">
            <a:prstTxWarp prst="textNoShape">
              <a:avLst/>
            </a:prstTxWarp>
          </a:bodyPr>
          <a:lstStyle/>
          <a:p>
            <a:pPr marL="0" marR="0" lvl="0" indent="0" algn="ctr" defTabSz="932597" rtl="0" eaLnBrk="1" fontAlgn="base" latinLnBrk="0" hangingPunct="1">
              <a:lnSpc>
                <a:spcPct val="90000"/>
              </a:lnSpc>
              <a:spcBef>
                <a:spcPct val="0"/>
              </a:spcBef>
              <a:spcAft>
                <a:spcPct val="0"/>
              </a:spcAft>
              <a:buClrTx/>
              <a:buSzTx/>
              <a:buFontTx/>
              <a:buNone/>
              <a:tabLst/>
              <a:defRPr/>
            </a:pPr>
            <a:endParaRPr kumimoji="0" lang="en-US" sz="2652" b="0" i="0" u="none" strike="noStrike" kern="0" cap="none" spc="0" normalizeH="0" baseline="0" noProof="0" dirty="0">
              <a:ln>
                <a:noFill/>
              </a:ln>
              <a:solidFill>
                <a:sysClr val="windowText" lastClr="000000"/>
              </a:solidFill>
              <a:effectLst/>
              <a:uLnTx/>
              <a:uFillTx/>
              <a:latin typeface="Calibri"/>
              <a:ea typeface="+mn-ea"/>
              <a:cs typeface="Arial" pitchFamily="34" charset="0"/>
            </a:endParaRPr>
          </a:p>
          <a:p>
            <a:pPr marL="0" marR="0" lvl="0" indent="0" algn="ctr" defTabSz="932597" rtl="0" eaLnBrk="1" fontAlgn="base" latinLnBrk="0" hangingPunct="1">
              <a:lnSpc>
                <a:spcPct val="90000"/>
              </a:lnSpc>
              <a:spcBef>
                <a:spcPct val="0"/>
              </a:spcBef>
              <a:spcAft>
                <a:spcPct val="0"/>
              </a:spcAft>
              <a:buClrTx/>
              <a:buSzTx/>
              <a:buFontTx/>
              <a:buNone/>
              <a:tabLst/>
              <a:defRPr/>
            </a:pPr>
            <a:r>
              <a:rPr kumimoji="0" lang="en-US" sz="4896" b="0" i="0" u="none" strike="noStrike" kern="0" cap="none" spc="0" normalizeH="0" baseline="0" noProof="0" dirty="0">
                <a:ln>
                  <a:noFill/>
                </a:ln>
                <a:solidFill>
                  <a:srgbClr val="52A5D8"/>
                </a:solidFill>
                <a:effectLst/>
                <a:uLnTx/>
                <a:uFillTx/>
                <a:latin typeface="Calibri"/>
                <a:ea typeface="+mn-ea"/>
                <a:cs typeface="Arial" pitchFamily="34" charset="0"/>
              </a:rPr>
              <a:t>REQUIREMENTS</a:t>
            </a:r>
          </a:p>
          <a:p>
            <a:pPr marL="0" marR="0" lvl="0" indent="0" algn="ctr" defTabSz="932597"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latin typeface="Calibri"/>
                <a:ea typeface="+mn-ea"/>
                <a:cs typeface="Arial" pitchFamily="34" charset="0"/>
              </a:rPr>
              <a:t>For a successful deployment – today and tomorrow</a:t>
            </a:r>
          </a:p>
        </p:txBody>
      </p:sp>
      <p:sp>
        <p:nvSpPr>
          <p:cNvPr id="28" name="TextBox 27"/>
          <p:cNvSpPr txBox="1"/>
          <p:nvPr/>
        </p:nvSpPr>
        <p:spPr>
          <a:xfrm>
            <a:off x="7497507" y="2150168"/>
            <a:ext cx="2560494" cy="1630703"/>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1" i="0" u="none" strike="noStrike" kern="0" cap="none" spc="0" normalizeH="0" baseline="0" noProof="0" dirty="0">
              <a:ln>
                <a:noFill/>
              </a:ln>
              <a:solidFill>
                <a:srgbClr val="333333"/>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0" cap="none" spc="0" normalizeH="0" baseline="0" noProof="0" dirty="0">
                <a:ln>
                  <a:noFill/>
                </a:ln>
                <a:solidFill>
                  <a:srgbClr val="333333">
                    <a:lumMod val="90000"/>
                    <a:lumOff val="10000"/>
                  </a:srgbClr>
                </a:solidFill>
                <a:effectLst/>
                <a:uLnTx/>
                <a:uFillTx/>
                <a:latin typeface="Calibri"/>
                <a:ea typeface="+mn-ea"/>
                <a:cs typeface="+mn-cs"/>
              </a:rPr>
              <a:t>Comprehensive Audit Trail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1"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333333">
                    <a:lumMod val="90000"/>
                    <a:lumOff val="10000"/>
                  </a:srgbClr>
                </a:solidFill>
                <a:effectLst/>
                <a:uLnTx/>
                <a:uFillTx/>
                <a:latin typeface="Calibri"/>
                <a:ea typeface="+mn-ea"/>
                <a:cs typeface="+mn-cs"/>
              </a:rPr>
              <a:t>Reliable and easy to prove what</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333333">
                    <a:lumMod val="90000"/>
                    <a:lumOff val="10000"/>
                  </a:srgbClr>
                </a:solidFill>
                <a:effectLst/>
                <a:uLnTx/>
                <a:uFillTx/>
                <a:latin typeface="Calibri"/>
                <a:ea typeface="+mn-ea"/>
                <a:cs typeface="+mn-cs"/>
              </a:rPr>
              <a:t>took place during the signing workflow</a:t>
            </a:r>
            <a:endParaRPr kumimoji="0" lang="en-US" sz="1428" b="0"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srgbClr val="333333"/>
              </a:solidFill>
              <a:effectLst/>
              <a:uLnTx/>
              <a:uFillTx/>
              <a:latin typeface="Calibri"/>
              <a:ea typeface="+mn-ea"/>
              <a:cs typeface="+mn-cs"/>
            </a:endParaRPr>
          </a:p>
        </p:txBody>
      </p:sp>
      <p:pic>
        <p:nvPicPr>
          <p:cNvPr id="31" name="Picture 30" descr="Audit-trails-circle.png"/>
          <p:cNvPicPr>
            <a:picLocks noChangeAspect="1"/>
          </p:cNvPicPr>
          <p:nvPr/>
        </p:nvPicPr>
        <p:blipFill>
          <a:blip r:embed="rId4"/>
          <a:stretch>
            <a:fillRect/>
          </a:stretch>
        </p:blipFill>
        <p:spPr>
          <a:xfrm>
            <a:off x="10052276" y="2266743"/>
            <a:ext cx="1594473" cy="1489575"/>
          </a:xfrm>
          <a:prstGeom prst="rect">
            <a:avLst/>
          </a:prstGeom>
        </p:spPr>
      </p:pic>
      <p:sp>
        <p:nvSpPr>
          <p:cNvPr id="25" name="TextBox 24"/>
          <p:cNvSpPr txBox="1"/>
          <p:nvPr/>
        </p:nvSpPr>
        <p:spPr>
          <a:xfrm>
            <a:off x="2328757" y="3868578"/>
            <a:ext cx="2570535" cy="1471031"/>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1" i="0" u="none" strike="noStrike" kern="0" cap="none" spc="0" normalizeH="0" baseline="0" noProof="0" dirty="0">
              <a:ln>
                <a:noFill/>
              </a:ln>
              <a:solidFill>
                <a:srgbClr val="333333"/>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0" cap="none" spc="0" normalizeH="0" baseline="0" noProof="0" dirty="0">
                <a:ln>
                  <a:noFill/>
                </a:ln>
                <a:solidFill>
                  <a:srgbClr val="333333">
                    <a:lumMod val="90000"/>
                    <a:lumOff val="10000"/>
                  </a:srgbClr>
                </a:solidFill>
                <a:effectLst/>
                <a:uLnTx/>
                <a:uFillTx/>
                <a:latin typeface="Calibri"/>
                <a:ea typeface="+mn-ea"/>
                <a:cs typeface="+mn-cs"/>
              </a:rPr>
              <a:t>Easy for Everyon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1"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333333">
                    <a:lumMod val="90000"/>
                    <a:lumOff val="10000"/>
                  </a:srgbClr>
                </a:solidFill>
                <a:effectLst/>
                <a:uLnTx/>
                <a:uFillTx/>
                <a:latin typeface="Calibri"/>
                <a:ea typeface="+mn-ea"/>
                <a:cs typeface="+mn-cs"/>
              </a:rPr>
              <a:t>Fully optimized user experience </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333333">
                    <a:lumMod val="90000"/>
                    <a:lumOff val="10000"/>
                  </a:srgbClr>
                </a:solidFill>
                <a:effectLst/>
                <a:uLnTx/>
                <a:uFillTx/>
                <a:latin typeface="Calibri"/>
                <a:ea typeface="+mn-ea"/>
                <a:cs typeface="+mn-cs"/>
              </a:rPr>
              <a:t>for signers, senders and developers</a:t>
            </a:r>
            <a:endParaRPr kumimoji="0" lang="en-US" sz="1224" b="1"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428" b="1" i="0" u="none" strike="noStrike" kern="0" cap="none" spc="0" normalizeH="0" baseline="0" noProof="0" dirty="0">
              <a:ln>
                <a:noFill/>
              </a:ln>
              <a:solidFill>
                <a:srgbClr val="333333"/>
              </a:solidFill>
              <a:effectLst/>
              <a:uLnTx/>
              <a:uFillTx/>
              <a:latin typeface="Calibri"/>
              <a:ea typeface="+mn-ea"/>
              <a:cs typeface="+mn-cs"/>
            </a:endParaRPr>
          </a:p>
        </p:txBody>
      </p:sp>
      <p:pic>
        <p:nvPicPr>
          <p:cNvPr id="35" name="Picture 34" descr="Easy-Circle.png"/>
          <p:cNvPicPr>
            <a:picLocks noChangeAspect="1"/>
          </p:cNvPicPr>
          <p:nvPr/>
        </p:nvPicPr>
        <p:blipFill>
          <a:blip r:embed="rId5"/>
          <a:stretch>
            <a:fillRect/>
          </a:stretch>
        </p:blipFill>
        <p:spPr>
          <a:xfrm>
            <a:off x="812593" y="4002424"/>
            <a:ext cx="1594475" cy="1489575"/>
          </a:xfrm>
          <a:prstGeom prst="rect">
            <a:avLst/>
          </a:prstGeom>
        </p:spPr>
      </p:pic>
      <p:sp>
        <p:nvSpPr>
          <p:cNvPr id="24" name="TextBox 23"/>
          <p:cNvSpPr txBox="1"/>
          <p:nvPr/>
        </p:nvSpPr>
        <p:spPr>
          <a:xfrm>
            <a:off x="2324081" y="2154479"/>
            <a:ext cx="2570535" cy="1439053"/>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1" i="0" u="none" strike="noStrike" kern="0" cap="none" spc="0" normalizeH="0" baseline="0" noProof="0" dirty="0">
              <a:ln>
                <a:noFill/>
              </a:ln>
              <a:solidFill>
                <a:srgbClr val="333333"/>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0" cap="none" spc="0" normalizeH="0" baseline="0" noProof="0" dirty="0">
                <a:ln>
                  <a:noFill/>
                </a:ln>
                <a:solidFill>
                  <a:srgbClr val="333333">
                    <a:lumMod val="90000"/>
                    <a:lumOff val="10000"/>
                  </a:srgbClr>
                </a:solidFill>
                <a:effectLst/>
                <a:uLnTx/>
                <a:uFillTx/>
                <a:latin typeface="Calibri"/>
                <a:ea typeface="+mn-ea"/>
                <a:cs typeface="+mn-cs"/>
              </a:rPr>
              <a:t>Highly Flexibl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1"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333333">
                    <a:lumMod val="90000"/>
                    <a:lumOff val="10000"/>
                  </a:srgbClr>
                </a:solidFill>
                <a:effectLst/>
                <a:uLnTx/>
                <a:uFillTx/>
                <a:latin typeface="Calibri"/>
                <a:ea typeface="+mn-ea"/>
                <a:cs typeface="+mn-cs"/>
              </a:rPr>
              <a:t>Automate any use case across</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333333">
                    <a:lumMod val="90000"/>
                    <a:lumOff val="10000"/>
                  </a:srgbClr>
                </a:solidFill>
                <a:effectLst/>
                <a:uLnTx/>
                <a:uFillTx/>
                <a:latin typeface="Calibri"/>
                <a:ea typeface="+mn-ea"/>
                <a:cs typeface="+mn-cs"/>
              </a:rPr>
              <a:t>your lines of business, channels, geographies or departments</a:t>
            </a:r>
          </a:p>
        </p:txBody>
      </p:sp>
      <p:pic>
        <p:nvPicPr>
          <p:cNvPr id="36" name="Picture 35" descr="Flexible-Circle.png"/>
          <p:cNvPicPr>
            <a:picLocks noChangeAspect="1"/>
          </p:cNvPicPr>
          <p:nvPr/>
        </p:nvPicPr>
        <p:blipFill>
          <a:blip r:embed="rId6"/>
          <a:stretch>
            <a:fillRect/>
          </a:stretch>
        </p:blipFill>
        <p:spPr>
          <a:xfrm>
            <a:off x="864407" y="2249474"/>
            <a:ext cx="1594474" cy="1489575"/>
          </a:xfrm>
          <a:prstGeom prst="rect">
            <a:avLst/>
          </a:prstGeom>
        </p:spPr>
      </p:pic>
      <p:sp>
        <p:nvSpPr>
          <p:cNvPr id="41" name="TextBox 40"/>
          <p:cNvSpPr txBox="1"/>
          <p:nvPr/>
        </p:nvSpPr>
        <p:spPr>
          <a:xfrm>
            <a:off x="7502186" y="3894482"/>
            <a:ext cx="2570535" cy="166316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1" i="0" u="none" strike="noStrike" kern="0" cap="none" spc="0" normalizeH="0" baseline="0" noProof="0" dirty="0">
              <a:ln>
                <a:noFill/>
              </a:ln>
              <a:solidFill>
                <a:srgbClr val="333333"/>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0" cap="none" spc="0" normalizeH="0" baseline="0" noProof="0" dirty="0">
                <a:ln>
                  <a:noFill/>
                </a:ln>
                <a:solidFill>
                  <a:srgbClr val="333333">
                    <a:lumMod val="90000"/>
                    <a:lumOff val="10000"/>
                  </a:srgbClr>
                </a:solidFill>
                <a:effectLst/>
                <a:uLnTx/>
                <a:uFillTx/>
                <a:latin typeface="Calibri"/>
                <a:ea typeface="+mn-ea"/>
                <a:cs typeface="+mn-cs"/>
              </a:rPr>
              <a:t>Scalable Platfor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333333">
                    <a:lumMod val="90000"/>
                    <a:lumOff val="10000"/>
                  </a:srgbClr>
                </a:solidFill>
                <a:effectLst/>
                <a:uLnTx/>
                <a:uFillTx/>
                <a:latin typeface="Calibri"/>
                <a:ea typeface="+mn-ea"/>
                <a:cs typeface="+mn-cs"/>
              </a:rPr>
              <a:t>E-signatures as a service.</a:t>
            </a:r>
            <a:br>
              <a:rPr kumimoji="0" lang="en-US" sz="1224" b="0" i="0" u="none" strike="noStrike" kern="0" cap="none" spc="0" normalizeH="0" baseline="0" noProof="0" dirty="0">
                <a:ln>
                  <a:noFill/>
                </a:ln>
                <a:solidFill>
                  <a:srgbClr val="333333">
                    <a:lumMod val="90000"/>
                    <a:lumOff val="10000"/>
                  </a:srgbClr>
                </a:solidFill>
                <a:effectLst/>
                <a:uLnTx/>
                <a:uFillTx/>
                <a:latin typeface="Calibri"/>
                <a:ea typeface="+mn-ea"/>
                <a:cs typeface="+mn-cs"/>
              </a:rPr>
            </a:br>
            <a:r>
              <a:rPr kumimoji="0" lang="en-US" sz="1224" b="0" i="0" u="none" strike="noStrike" kern="0" cap="none" spc="0" normalizeH="0" baseline="0" noProof="0" dirty="0">
                <a:ln>
                  <a:noFill/>
                </a:ln>
                <a:solidFill>
                  <a:srgbClr val="333333">
                    <a:lumMod val="90000"/>
                    <a:lumOff val="10000"/>
                  </a:srgbClr>
                </a:solidFill>
                <a:effectLst/>
                <a:uLnTx/>
                <a:uFillTx/>
                <a:latin typeface="Calibri"/>
                <a:ea typeface="+mn-ea"/>
                <a:cs typeface="+mn-cs"/>
              </a:rPr>
              <a:t>Scale across your operations </a:t>
            </a:r>
            <a:br>
              <a:rPr kumimoji="0" lang="en-US" sz="1224" b="0" i="0" u="none" strike="noStrike" kern="0" cap="none" spc="0" normalizeH="0" baseline="0" noProof="0" dirty="0">
                <a:ln>
                  <a:noFill/>
                </a:ln>
                <a:solidFill>
                  <a:srgbClr val="333333">
                    <a:lumMod val="90000"/>
                    <a:lumOff val="10000"/>
                  </a:srgbClr>
                </a:solidFill>
                <a:effectLst/>
                <a:uLnTx/>
                <a:uFillTx/>
                <a:latin typeface="Calibri"/>
                <a:ea typeface="+mn-ea"/>
                <a:cs typeface="+mn-cs"/>
              </a:rPr>
            </a:br>
            <a:r>
              <a:rPr kumimoji="0" lang="en-US" sz="1224" b="0" i="0" u="none" strike="noStrike" kern="0" cap="none" spc="0" normalizeH="0" baseline="0" noProof="0" dirty="0">
                <a:ln>
                  <a:noFill/>
                </a:ln>
                <a:solidFill>
                  <a:srgbClr val="333333">
                    <a:lumMod val="90000"/>
                    <a:lumOff val="10000"/>
                  </a:srgbClr>
                </a:solidFill>
                <a:effectLst/>
                <a:uLnTx/>
                <a:uFillTx/>
                <a:latin typeface="Calibri"/>
                <a:ea typeface="+mn-ea"/>
                <a:cs typeface="+mn-cs"/>
              </a:rPr>
              <a:t>– quickly and cost-effectively  </a:t>
            </a:r>
            <a:endParaRPr kumimoji="0" lang="en-US" sz="1224" b="1" i="0" u="none" strike="noStrike" kern="0" cap="none" spc="0" normalizeH="0" baseline="0" noProof="0" dirty="0">
              <a:ln>
                <a:noFill/>
              </a:ln>
              <a:solidFill>
                <a:srgbClr val="333333">
                  <a:lumMod val="90000"/>
                  <a:lumOff val="10000"/>
                </a:srgbClr>
              </a:solidFill>
              <a:effectLst/>
              <a:uLnTx/>
              <a:uFillTx/>
              <a:latin typeface="Calibr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1" i="0" u="none" strike="noStrike" kern="0" cap="none" spc="0" normalizeH="0" baseline="0" noProof="0" dirty="0">
              <a:ln>
                <a:noFill/>
              </a:ln>
              <a:solidFill>
                <a:srgbClr val="333333"/>
              </a:solidFill>
              <a:effectLst/>
              <a:uLnTx/>
              <a:uFillTx/>
              <a:latin typeface="Calibri"/>
              <a:ea typeface="+mn-ea"/>
              <a:cs typeface="+mn-cs"/>
            </a:endParaRPr>
          </a:p>
        </p:txBody>
      </p:sp>
      <p:pic>
        <p:nvPicPr>
          <p:cNvPr id="38" name="Picture 37" descr="Scalable-Circle.png"/>
          <p:cNvPicPr>
            <a:picLocks noChangeAspect="1"/>
          </p:cNvPicPr>
          <p:nvPr/>
        </p:nvPicPr>
        <p:blipFill>
          <a:blip r:embed="rId7"/>
          <a:stretch>
            <a:fillRect/>
          </a:stretch>
        </p:blipFill>
        <p:spPr>
          <a:xfrm>
            <a:off x="10026367" y="3933341"/>
            <a:ext cx="1594474" cy="1489575"/>
          </a:xfrm>
          <a:prstGeom prst="rect">
            <a:avLst/>
          </a:prstGeom>
        </p:spPr>
      </p:pic>
    </p:spTree>
    <p:extLst>
      <p:ext uri="{BB962C8B-B14F-4D97-AF65-F5344CB8AC3E}">
        <p14:creationId xmlns:p14="http://schemas.microsoft.com/office/powerpoint/2010/main" val="2861843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0"/>
          <p:cNvGrpSpPr/>
          <p:nvPr/>
        </p:nvGrpSpPr>
        <p:grpSpPr>
          <a:xfrm>
            <a:off x="882" y="956301"/>
            <a:ext cx="12106572" cy="5545049"/>
            <a:chOff x="0" y="1030780"/>
            <a:chExt cx="11870266" cy="5436816"/>
          </a:xfrm>
        </p:grpSpPr>
        <p:pic>
          <p:nvPicPr>
            <p:cNvPr id="36" name="Picture 35" descr="map.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193800"/>
              <a:ext cx="11797516" cy="5273796"/>
            </a:xfrm>
            <a:prstGeom prst="rect">
              <a:avLst/>
            </a:prstGeom>
          </p:spPr>
        </p:pic>
        <p:sp>
          <p:nvSpPr>
            <p:cNvPr id="37" name="Rectangle 36"/>
            <p:cNvSpPr/>
            <p:nvPr/>
          </p:nvSpPr>
          <p:spPr bwMode="auto">
            <a:xfrm>
              <a:off x="279400" y="1030780"/>
              <a:ext cx="11590866" cy="5420805"/>
            </a:xfrm>
            <a:prstGeom prst="rect">
              <a:avLst/>
            </a:prstGeom>
            <a:solidFill>
              <a:schemeClr val="bg1">
                <a:alpha val="65000"/>
              </a:schemeClr>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333333"/>
                </a:solidFill>
                <a:effectLst/>
                <a:uLnTx/>
                <a:uFillTx/>
                <a:latin typeface="Times New Roman" pitchFamily="18" charset="0"/>
                <a:ea typeface="+mn-ea"/>
                <a:cs typeface="+mn-cs"/>
              </a:endParaRPr>
            </a:p>
          </p:txBody>
        </p:sp>
      </p:grpSp>
      <p:sp>
        <p:nvSpPr>
          <p:cNvPr id="2" name="Slide Number Placeholder 1"/>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F71C7896-8E11-4384-BFC5-C0974CDBC83D}" type="slidenum">
              <a:rPr kumimoji="0" lang="en-US" sz="1836" b="0" i="0" u="none" strike="noStrike" kern="0" cap="none" spc="0" normalizeH="0" baseline="0" noProof="0">
                <a:ln>
                  <a:noFill/>
                </a:ln>
                <a:solidFill>
                  <a:sysClr val="windowText" lastClr="000000"/>
                </a:solidFill>
                <a:effectLst/>
                <a:uLnTx/>
                <a:uFillTx/>
                <a:latin typeface="Calibr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136</a:t>
            </a:fld>
            <a:endParaRPr kumimoji="0" lang="en-US" sz="1836"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3" name="Title 3"/>
          <p:cNvSpPr txBox="1">
            <a:spLocks/>
          </p:cNvSpPr>
          <p:nvPr/>
        </p:nvSpPr>
        <p:spPr bwMode="auto">
          <a:xfrm>
            <a:off x="882" y="273360"/>
            <a:ext cx="12434711" cy="564258"/>
          </a:xfrm>
          <a:prstGeom prst="rect">
            <a:avLst/>
          </a:prstGeom>
          <a:noFill/>
          <a:ln w="9525">
            <a:noFill/>
            <a:miter lim="800000"/>
            <a:headEnd/>
            <a:tailEnd/>
          </a:ln>
          <a:effectLst/>
        </p:spPr>
        <p:txBody>
          <a:bodyPr vert="horz" wrap="square" lIns="46630" tIns="46630" rIns="46630" bIns="0" numCol="1" anchor="ctr" anchorCtr="0" compatLnSpc="1">
            <a:prstTxWarp prst="textNoShape">
              <a:avLst/>
            </a:prstTxWarp>
          </a:bodyPr>
          <a:lstStyle/>
          <a:p>
            <a:pPr marL="0" marR="0" lvl="0" indent="0" algn="ctr" defTabSz="932597" rtl="0" eaLnBrk="1" fontAlgn="base" latinLnBrk="0" hangingPunct="1">
              <a:lnSpc>
                <a:spcPct val="90000"/>
              </a:lnSpc>
              <a:spcBef>
                <a:spcPct val="0"/>
              </a:spcBef>
              <a:spcAft>
                <a:spcPct val="0"/>
              </a:spcAft>
              <a:buClrTx/>
              <a:buSzTx/>
              <a:buFontTx/>
              <a:buNone/>
              <a:tabLst/>
              <a:defRPr/>
            </a:pPr>
            <a:endParaRPr kumimoji="0" lang="en-US" sz="2652" b="0" i="0" u="none" strike="noStrike" kern="0" cap="none" spc="0" normalizeH="0" baseline="0" noProof="0" dirty="0">
              <a:ln>
                <a:noFill/>
              </a:ln>
              <a:solidFill>
                <a:sysClr val="windowText" lastClr="000000"/>
              </a:solidFill>
              <a:effectLst/>
              <a:uLnTx/>
              <a:uFillTx/>
              <a:latin typeface="Calibri"/>
              <a:ea typeface="+mn-ea"/>
              <a:cs typeface="Arial" pitchFamily="34" charset="0"/>
            </a:endParaRPr>
          </a:p>
          <a:p>
            <a:pPr marL="0" marR="0" lvl="0" indent="0" algn="ctr" defTabSz="932597" rtl="0" eaLnBrk="1" fontAlgn="base" latinLnBrk="0" hangingPunct="1">
              <a:lnSpc>
                <a:spcPct val="90000"/>
              </a:lnSpc>
              <a:spcBef>
                <a:spcPct val="0"/>
              </a:spcBef>
              <a:spcAft>
                <a:spcPct val="0"/>
              </a:spcAft>
              <a:buClrTx/>
              <a:buSzTx/>
              <a:buFontTx/>
              <a:buNone/>
              <a:tabLst/>
              <a:defRPr/>
            </a:pPr>
            <a:r>
              <a:rPr kumimoji="0" lang="en-US" sz="4896" b="0" i="0" u="none" strike="noStrike" kern="0" cap="none" spc="0" normalizeH="0" baseline="0" noProof="0" dirty="0">
                <a:ln>
                  <a:noFill/>
                </a:ln>
                <a:solidFill>
                  <a:srgbClr val="52A5D8"/>
                </a:solidFill>
                <a:effectLst/>
                <a:uLnTx/>
                <a:uFillTx/>
                <a:latin typeface="Calibri"/>
                <a:ea typeface="+mn-ea"/>
                <a:cs typeface="Arial" pitchFamily="34" charset="0"/>
              </a:rPr>
              <a:t>MOST FLEXIBLE</a:t>
            </a:r>
          </a:p>
          <a:p>
            <a:pPr marL="0" marR="0" lvl="0" indent="0" algn="ctr" defTabSz="932597"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dirty="0">
                <a:ln>
                  <a:noFill/>
                </a:ln>
                <a:solidFill>
                  <a:srgbClr val="333333">
                    <a:lumMod val="90000"/>
                    <a:lumOff val="10000"/>
                  </a:srgbClr>
                </a:solidFill>
                <a:effectLst/>
                <a:uLnTx/>
                <a:uFillTx/>
                <a:latin typeface="Calibri"/>
                <a:ea typeface="+mn-ea"/>
                <a:cs typeface="Arial" pitchFamily="34" charset="0"/>
              </a:rPr>
              <a:t>Vast options for getting e-signatures out to your customer, partners &amp; employees</a:t>
            </a:r>
          </a:p>
        </p:txBody>
      </p:sp>
      <p:sp>
        <p:nvSpPr>
          <p:cNvPr id="71" name="Rectangle 70"/>
          <p:cNvSpPr/>
          <p:nvPr/>
        </p:nvSpPr>
        <p:spPr>
          <a:xfrm>
            <a:off x="581599" y="4706218"/>
            <a:ext cx="1204613" cy="662303"/>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tlCol="0" anchor="t"/>
          <a:lstStyle/>
          <a:p>
            <a:pPr marL="121238" marR="0" lvl="0" indent="-121238" algn="l" defTabSz="932597" rtl="0" eaLnBrk="1" fontAlgn="auto" latinLnBrk="0" hangingPunct="1">
              <a:lnSpc>
                <a:spcPct val="100000"/>
              </a:lnSpc>
              <a:spcBef>
                <a:spcPts val="0"/>
              </a:spcBef>
              <a:spcAft>
                <a:spcPts val="0"/>
              </a:spcAft>
              <a:buClrTx/>
              <a:buSzTx/>
              <a:buFont typeface="Arial"/>
              <a:buChar char="•"/>
              <a:tabLst/>
              <a:defRPr/>
            </a:pPr>
            <a:r>
              <a:rPr kumimoji="0" lang="en-US" sz="1071" b="0" i="0" u="none" strike="noStrike" kern="0" cap="none" spc="0" normalizeH="0" baseline="0" noProof="0" dirty="0">
                <a:ln>
                  <a:noFill/>
                </a:ln>
                <a:solidFill>
                  <a:prstClr val="white"/>
                </a:solidFill>
                <a:effectLst/>
                <a:uLnTx/>
                <a:uFillTx/>
                <a:latin typeface="Calibri"/>
                <a:ea typeface="+mn-ea"/>
                <a:cs typeface="+mn-cs"/>
              </a:rPr>
              <a:t>On-Premise</a:t>
            </a:r>
          </a:p>
          <a:p>
            <a:pPr marL="121238" marR="0" lvl="0" indent="-121238" algn="l" defTabSz="932597" rtl="0" eaLnBrk="1" fontAlgn="auto" latinLnBrk="0" hangingPunct="1">
              <a:lnSpc>
                <a:spcPct val="100000"/>
              </a:lnSpc>
              <a:spcBef>
                <a:spcPts val="0"/>
              </a:spcBef>
              <a:spcAft>
                <a:spcPts val="0"/>
              </a:spcAft>
              <a:buClrTx/>
              <a:buSzTx/>
              <a:buFont typeface="Arial"/>
              <a:buChar char="•"/>
              <a:tabLst/>
              <a:defRPr/>
            </a:pPr>
            <a:r>
              <a:rPr kumimoji="0" lang="en-US" sz="1071" b="0" i="0" u="none" strike="noStrike" kern="0" cap="none" spc="0" normalizeH="0" baseline="0" noProof="0" dirty="0">
                <a:ln>
                  <a:noFill/>
                </a:ln>
                <a:solidFill>
                  <a:prstClr val="white"/>
                </a:solidFill>
                <a:effectLst/>
                <a:uLnTx/>
                <a:uFillTx/>
                <a:latin typeface="Calibri"/>
                <a:ea typeface="+mn-ea"/>
                <a:cs typeface="+mn-cs"/>
              </a:rPr>
              <a:t>Private Cloud</a:t>
            </a:r>
          </a:p>
          <a:p>
            <a:pPr marL="121238" marR="0" lvl="0" indent="-121238" algn="l" defTabSz="932597" rtl="0" eaLnBrk="1" fontAlgn="auto" latinLnBrk="0" hangingPunct="1">
              <a:lnSpc>
                <a:spcPct val="100000"/>
              </a:lnSpc>
              <a:spcBef>
                <a:spcPts val="0"/>
              </a:spcBef>
              <a:spcAft>
                <a:spcPts val="0"/>
              </a:spcAft>
              <a:buClrTx/>
              <a:buSzTx/>
              <a:buFont typeface="Arial"/>
              <a:buChar char="•"/>
              <a:tabLst/>
              <a:defRPr/>
            </a:pPr>
            <a:r>
              <a:rPr kumimoji="0" lang="en-US" sz="1071" b="0" i="0" u="none" strike="noStrike" kern="0" cap="none" spc="0" normalizeH="0" baseline="0" noProof="0" dirty="0">
                <a:ln>
                  <a:noFill/>
                </a:ln>
                <a:solidFill>
                  <a:prstClr val="white"/>
                </a:solidFill>
                <a:effectLst/>
                <a:uLnTx/>
                <a:uFillTx/>
                <a:latin typeface="Calibri"/>
                <a:ea typeface="+mn-ea"/>
                <a:cs typeface="+mn-cs"/>
              </a:rPr>
              <a:t>Public Cloud</a:t>
            </a:r>
          </a:p>
          <a:p>
            <a:pPr marL="121238" marR="0" lvl="0" indent="-121238" algn="l" defTabSz="932597" rtl="0" eaLnBrk="1" fontAlgn="auto" latinLnBrk="0" hangingPunct="1">
              <a:lnSpc>
                <a:spcPct val="100000"/>
              </a:lnSpc>
              <a:spcBef>
                <a:spcPts val="0"/>
              </a:spcBef>
              <a:spcAft>
                <a:spcPts val="0"/>
              </a:spcAft>
              <a:buClrTx/>
              <a:buSzTx/>
              <a:buFont typeface="Arial"/>
              <a:buChar char="•"/>
              <a:tabLst/>
              <a:defRPr/>
            </a:pPr>
            <a:r>
              <a:rPr kumimoji="0" lang="en-US" sz="1071" b="0" i="0" u="none" strike="noStrike" kern="0" cap="none" spc="0" normalizeH="0" baseline="0" noProof="0" dirty="0">
                <a:ln>
                  <a:noFill/>
                </a:ln>
                <a:solidFill>
                  <a:prstClr val="white"/>
                </a:solidFill>
                <a:effectLst/>
                <a:uLnTx/>
                <a:uFillTx/>
                <a:latin typeface="Calibri"/>
                <a:ea typeface="+mn-ea"/>
                <a:cs typeface="+mn-cs"/>
              </a:rPr>
              <a:t>Global Data Centers</a:t>
            </a:r>
          </a:p>
          <a:p>
            <a:pPr marL="121238" marR="0" lvl="0" indent="-121238" algn="l" defTabSz="932597" rtl="0" eaLnBrk="1" fontAlgn="auto" latinLnBrk="0" hangingPunct="1">
              <a:lnSpc>
                <a:spcPct val="100000"/>
              </a:lnSpc>
              <a:spcBef>
                <a:spcPts val="0"/>
              </a:spcBef>
              <a:spcAft>
                <a:spcPts val="0"/>
              </a:spcAft>
              <a:buClrTx/>
              <a:buSzTx/>
              <a:buFont typeface="Arial"/>
              <a:buChar char="•"/>
              <a:tabLst/>
              <a:defRPr/>
            </a:pPr>
            <a:endParaRPr kumimoji="0" lang="en-US" sz="1071" b="0" i="0" u="none" strike="noStrike" kern="0" cap="none" spc="0" normalizeH="0" baseline="0" noProof="0" dirty="0">
              <a:ln>
                <a:noFill/>
              </a:ln>
              <a:solidFill>
                <a:prstClr val="white"/>
              </a:solidFill>
              <a:effectLst/>
              <a:uLnTx/>
              <a:uFillTx/>
              <a:latin typeface="Calibri"/>
              <a:ea typeface="+mn-ea"/>
              <a:cs typeface="+mn-cs"/>
            </a:endParaRPr>
          </a:p>
          <a:p>
            <a:pPr marL="121238" marR="0" lvl="0" indent="-121238" algn="l" defTabSz="932597" rtl="0" eaLnBrk="1" fontAlgn="auto" latinLnBrk="0" hangingPunct="1">
              <a:lnSpc>
                <a:spcPct val="100000"/>
              </a:lnSpc>
              <a:spcBef>
                <a:spcPts val="0"/>
              </a:spcBef>
              <a:spcAft>
                <a:spcPts val="0"/>
              </a:spcAft>
              <a:buClrTx/>
              <a:buSzTx/>
              <a:buFont typeface="Arial"/>
              <a:buChar char="•"/>
              <a:tabLst/>
              <a:defRPr/>
            </a:pPr>
            <a:endParaRPr kumimoji="0" lang="en-US" sz="1071" b="0" i="0" u="none" strike="noStrike" kern="0" cap="none" spc="0" normalizeH="0" baseline="0" noProof="0" dirty="0">
              <a:ln>
                <a:noFill/>
              </a:ln>
              <a:solidFill>
                <a:prstClr val="white"/>
              </a:solidFill>
              <a:effectLst/>
              <a:uLnTx/>
              <a:uFillTx/>
              <a:latin typeface="Calibri"/>
              <a:ea typeface="+mn-ea"/>
              <a:cs typeface="+mn-cs"/>
            </a:endParaRPr>
          </a:p>
        </p:txBody>
      </p:sp>
      <p:graphicFrame>
        <p:nvGraphicFramePr>
          <p:cNvPr id="78" name="Table 77"/>
          <p:cNvGraphicFramePr>
            <a:graphicFrameLocks noGrp="1"/>
          </p:cNvGraphicFramePr>
          <p:nvPr/>
        </p:nvGraphicFramePr>
        <p:xfrm>
          <a:off x="544895" y="4343513"/>
          <a:ext cx="1489575" cy="2037915"/>
        </p:xfrm>
        <a:graphic>
          <a:graphicData uri="http://schemas.openxmlformats.org/drawingml/2006/table">
            <a:tbl>
              <a:tblPr firstRow="1" bandRow="1">
                <a:tableStyleId>{22838BEF-8BB2-4498-84A7-C5851F593DF1}</a:tableStyleId>
              </a:tblPr>
              <a:tblGrid>
                <a:gridCol w="1489575">
                  <a:extLst>
                    <a:ext uri="{9D8B030D-6E8A-4147-A177-3AD203B41FA5}">
                      <a16:colId xmlns:a16="http://schemas.microsoft.com/office/drawing/2014/main" val="20000"/>
                    </a:ext>
                  </a:extLst>
                </a:gridCol>
              </a:tblGrid>
              <a:tr h="407583">
                <a:tc>
                  <a:txBody>
                    <a:bodyPr/>
                    <a:lstStyle/>
                    <a:p>
                      <a:pPr algn="ctr"/>
                      <a:r>
                        <a:rPr lang="en-US" sz="1200" dirty="0">
                          <a:solidFill>
                            <a:schemeClr val="bg1"/>
                          </a:solidFill>
                        </a:rPr>
                        <a:t>DEPLOYMENT</a:t>
                      </a:r>
                      <a:endParaRPr lang="en-US" sz="1200" b="0" dirty="0">
                        <a:solidFill>
                          <a:schemeClr val="bg1"/>
                        </a:solidFill>
                      </a:endParaRPr>
                    </a:p>
                  </a:txBody>
                  <a:tcPr marL="93260" marR="93260" marT="46630" marB="46630" anchor="ctr">
                    <a:solidFill>
                      <a:schemeClr val="bg2">
                        <a:lumMod val="50000"/>
                      </a:schemeClr>
                    </a:solidFill>
                  </a:tcPr>
                </a:tc>
                <a:extLst>
                  <a:ext uri="{0D108BD9-81ED-4DB2-BD59-A6C34878D82A}">
                    <a16:rowId xmlns:a16="http://schemas.microsoft.com/office/drawing/2014/main" val="10000"/>
                  </a:ext>
                </a:extLst>
              </a:tr>
              <a:tr h="407583">
                <a:tc>
                  <a:txBody>
                    <a:bodyPr/>
                    <a:lstStyle/>
                    <a:p>
                      <a:pPr algn="ctr"/>
                      <a:r>
                        <a:rPr lang="en-US" sz="1000" dirty="0"/>
                        <a:t>On-Premises</a:t>
                      </a:r>
                    </a:p>
                  </a:txBody>
                  <a:tcPr marL="93260" marR="93260" marT="46630" marB="46630"/>
                </a:tc>
                <a:extLst>
                  <a:ext uri="{0D108BD9-81ED-4DB2-BD59-A6C34878D82A}">
                    <a16:rowId xmlns:a16="http://schemas.microsoft.com/office/drawing/2014/main" val="10001"/>
                  </a:ext>
                </a:extLst>
              </a:tr>
              <a:tr h="407583">
                <a:tc>
                  <a:txBody>
                    <a:bodyPr/>
                    <a:lstStyle/>
                    <a:p>
                      <a:pPr algn="ctr"/>
                      <a:r>
                        <a:rPr lang="en-US" sz="1000" dirty="0"/>
                        <a:t>Public Cloud</a:t>
                      </a:r>
                    </a:p>
                  </a:txBody>
                  <a:tcPr marL="93260" marR="93260" marT="46630" marB="46630"/>
                </a:tc>
                <a:extLst>
                  <a:ext uri="{0D108BD9-81ED-4DB2-BD59-A6C34878D82A}">
                    <a16:rowId xmlns:a16="http://schemas.microsoft.com/office/drawing/2014/main" val="10002"/>
                  </a:ext>
                </a:extLst>
              </a:tr>
              <a:tr h="407583">
                <a:tc>
                  <a:txBody>
                    <a:bodyPr/>
                    <a:lstStyle/>
                    <a:p>
                      <a:pPr algn="ctr"/>
                      <a:r>
                        <a:rPr lang="en-US" sz="1000" dirty="0"/>
                        <a:t>Private Cloud</a:t>
                      </a:r>
                    </a:p>
                  </a:txBody>
                  <a:tcPr marL="93260" marR="93260" marT="46630" marB="46630"/>
                </a:tc>
                <a:extLst>
                  <a:ext uri="{0D108BD9-81ED-4DB2-BD59-A6C34878D82A}">
                    <a16:rowId xmlns:a16="http://schemas.microsoft.com/office/drawing/2014/main" val="10003"/>
                  </a:ext>
                </a:extLst>
              </a:tr>
              <a:tr h="407583">
                <a:tc>
                  <a:txBody>
                    <a:bodyPr/>
                    <a:lstStyle/>
                    <a:p>
                      <a:pPr algn="ctr"/>
                      <a:r>
                        <a:rPr lang="en-US" sz="1000" dirty="0"/>
                        <a:t>Global</a:t>
                      </a:r>
                      <a:r>
                        <a:rPr lang="en-US" sz="1000" baseline="0" dirty="0"/>
                        <a:t> Data Centers</a:t>
                      </a:r>
                      <a:endParaRPr lang="en-US" sz="1000" dirty="0"/>
                    </a:p>
                  </a:txBody>
                  <a:tcPr marL="93260" marR="93260" marT="46630" marB="46630"/>
                </a:tc>
                <a:extLst>
                  <a:ext uri="{0D108BD9-81ED-4DB2-BD59-A6C34878D82A}">
                    <a16:rowId xmlns:a16="http://schemas.microsoft.com/office/drawing/2014/main" val="10004"/>
                  </a:ext>
                </a:extLst>
              </a:tr>
            </a:tbl>
          </a:graphicData>
        </a:graphic>
      </p:graphicFrame>
      <p:graphicFrame>
        <p:nvGraphicFramePr>
          <p:cNvPr id="79" name="Table 78"/>
          <p:cNvGraphicFramePr>
            <a:graphicFrameLocks noGrp="1"/>
          </p:cNvGraphicFramePr>
          <p:nvPr/>
        </p:nvGraphicFramePr>
        <p:xfrm>
          <a:off x="2254670" y="4334877"/>
          <a:ext cx="1489575" cy="2037915"/>
        </p:xfrm>
        <a:graphic>
          <a:graphicData uri="http://schemas.openxmlformats.org/drawingml/2006/table">
            <a:tbl>
              <a:tblPr firstRow="1" bandRow="1">
                <a:tableStyleId>{22838BEF-8BB2-4498-84A7-C5851F593DF1}</a:tableStyleId>
              </a:tblPr>
              <a:tblGrid>
                <a:gridCol w="1489575">
                  <a:extLst>
                    <a:ext uri="{9D8B030D-6E8A-4147-A177-3AD203B41FA5}">
                      <a16:colId xmlns:a16="http://schemas.microsoft.com/office/drawing/2014/main" val="20000"/>
                    </a:ext>
                  </a:extLst>
                </a:gridCol>
              </a:tblGrid>
              <a:tr h="407583">
                <a:tc>
                  <a:txBody>
                    <a:bodyPr/>
                    <a:lstStyle/>
                    <a:p>
                      <a:pPr algn="ctr"/>
                      <a:r>
                        <a:rPr lang="en-US" sz="1200" dirty="0">
                          <a:solidFill>
                            <a:srgbClr val="FFFFFF"/>
                          </a:solidFill>
                        </a:rPr>
                        <a:t>IMPLEMENTATION</a:t>
                      </a:r>
                      <a:endParaRPr lang="en-US" sz="1200" b="0" dirty="0">
                        <a:solidFill>
                          <a:srgbClr val="FFFFFF"/>
                        </a:solidFill>
                      </a:endParaRPr>
                    </a:p>
                  </a:txBody>
                  <a:tcPr marL="93260" marR="93260" marT="46630" marB="46630" anchor="ctr">
                    <a:solidFill>
                      <a:schemeClr val="bg2">
                        <a:lumMod val="50000"/>
                      </a:schemeClr>
                    </a:solidFill>
                  </a:tcPr>
                </a:tc>
                <a:extLst>
                  <a:ext uri="{0D108BD9-81ED-4DB2-BD59-A6C34878D82A}">
                    <a16:rowId xmlns:a16="http://schemas.microsoft.com/office/drawing/2014/main" val="10000"/>
                  </a:ext>
                </a:extLst>
              </a:tr>
              <a:tr h="407583">
                <a:tc>
                  <a:txBody>
                    <a:bodyPr/>
                    <a:lstStyle/>
                    <a:p>
                      <a:pPr algn="ctr"/>
                      <a:r>
                        <a:rPr lang="en-US" sz="1000" dirty="0"/>
                        <a:t>Stand-alone web service</a:t>
                      </a:r>
                    </a:p>
                  </a:txBody>
                  <a:tcPr marL="93260" marR="93260" marT="46630" marB="46630" anchor="ctr"/>
                </a:tc>
                <a:extLst>
                  <a:ext uri="{0D108BD9-81ED-4DB2-BD59-A6C34878D82A}">
                    <a16:rowId xmlns:a16="http://schemas.microsoft.com/office/drawing/2014/main" val="10001"/>
                  </a:ext>
                </a:extLst>
              </a:tr>
              <a:tr h="407583">
                <a:tc>
                  <a:txBody>
                    <a:bodyPr/>
                    <a:lstStyle/>
                    <a:p>
                      <a:pPr algn="ctr"/>
                      <a:r>
                        <a:rPr lang="en-US" sz="1000" dirty="0"/>
                        <a:t>3</a:t>
                      </a:r>
                      <a:r>
                        <a:rPr lang="en-US" sz="1000" baseline="30000" dirty="0"/>
                        <a:t>rd</a:t>
                      </a:r>
                      <a:r>
                        <a:rPr lang="en-US" sz="1000" dirty="0"/>
                        <a:t> party connectors</a:t>
                      </a:r>
                    </a:p>
                  </a:txBody>
                  <a:tcPr marL="93260" marR="93260" marT="46630" marB="46630" anchor="ctr"/>
                </a:tc>
                <a:extLst>
                  <a:ext uri="{0D108BD9-81ED-4DB2-BD59-A6C34878D82A}">
                    <a16:rowId xmlns:a16="http://schemas.microsoft.com/office/drawing/2014/main" val="10002"/>
                  </a:ext>
                </a:extLst>
              </a:tr>
              <a:tr h="407583">
                <a:tc>
                  <a:txBody>
                    <a:bodyPr/>
                    <a:lstStyle/>
                    <a:p>
                      <a:pPr algn="ctr"/>
                      <a:r>
                        <a:rPr lang="en-US" sz="1000" dirty="0"/>
                        <a:t>Mobile Apps</a:t>
                      </a:r>
                    </a:p>
                  </a:txBody>
                  <a:tcPr marL="93260" marR="93260" marT="46630" marB="46630" anchor="ctr"/>
                </a:tc>
                <a:extLst>
                  <a:ext uri="{0D108BD9-81ED-4DB2-BD59-A6C34878D82A}">
                    <a16:rowId xmlns:a16="http://schemas.microsoft.com/office/drawing/2014/main" val="10003"/>
                  </a:ext>
                </a:extLst>
              </a:tr>
              <a:tr h="40758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dirty="0"/>
                        <a:t>API / SDKs</a:t>
                      </a:r>
                    </a:p>
                    <a:p>
                      <a:pPr algn="ctr"/>
                      <a:endParaRPr lang="en-US" sz="1000" dirty="0"/>
                    </a:p>
                  </a:txBody>
                  <a:tcPr marL="93260" marR="93260" marT="46630" marB="46630" anchor="ctr"/>
                </a:tc>
                <a:extLst>
                  <a:ext uri="{0D108BD9-81ED-4DB2-BD59-A6C34878D82A}">
                    <a16:rowId xmlns:a16="http://schemas.microsoft.com/office/drawing/2014/main" val="10004"/>
                  </a:ext>
                </a:extLst>
              </a:tr>
            </a:tbl>
          </a:graphicData>
        </a:graphic>
      </p:graphicFrame>
      <p:graphicFrame>
        <p:nvGraphicFramePr>
          <p:cNvPr id="80" name="Table 79"/>
          <p:cNvGraphicFramePr>
            <a:graphicFrameLocks noGrp="1"/>
          </p:cNvGraphicFramePr>
          <p:nvPr/>
        </p:nvGraphicFramePr>
        <p:xfrm>
          <a:off x="3981718" y="4352147"/>
          <a:ext cx="1489575" cy="2037915"/>
        </p:xfrm>
        <a:graphic>
          <a:graphicData uri="http://schemas.openxmlformats.org/drawingml/2006/table">
            <a:tbl>
              <a:tblPr firstRow="1" bandRow="1">
                <a:tableStyleId>{22838BEF-8BB2-4498-84A7-C5851F593DF1}</a:tableStyleId>
              </a:tblPr>
              <a:tblGrid>
                <a:gridCol w="1489575">
                  <a:extLst>
                    <a:ext uri="{9D8B030D-6E8A-4147-A177-3AD203B41FA5}">
                      <a16:colId xmlns:a16="http://schemas.microsoft.com/office/drawing/2014/main" val="20000"/>
                    </a:ext>
                  </a:extLst>
                </a:gridCol>
              </a:tblGrid>
              <a:tr h="407583">
                <a:tc>
                  <a:txBody>
                    <a:bodyPr/>
                    <a:lstStyle/>
                    <a:p>
                      <a:pPr algn="ctr"/>
                      <a:r>
                        <a:rPr lang="en-US" sz="1200" dirty="0">
                          <a:solidFill>
                            <a:srgbClr val="FFFFFF"/>
                          </a:solidFill>
                        </a:rPr>
                        <a:t>WORKFLOWS</a:t>
                      </a:r>
                      <a:endParaRPr lang="en-US" sz="1200" b="0" dirty="0">
                        <a:solidFill>
                          <a:srgbClr val="FFFFFF"/>
                        </a:solidFill>
                      </a:endParaRPr>
                    </a:p>
                  </a:txBody>
                  <a:tcPr marL="93260" marR="93260" marT="46630" marB="46630" anchor="ctr">
                    <a:solidFill>
                      <a:schemeClr val="bg2">
                        <a:lumMod val="50000"/>
                      </a:schemeClr>
                    </a:solidFill>
                  </a:tcPr>
                </a:tc>
                <a:extLst>
                  <a:ext uri="{0D108BD9-81ED-4DB2-BD59-A6C34878D82A}">
                    <a16:rowId xmlns:a16="http://schemas.microsoft.com/office/drawing/2014/main" val="10000"/>
                  </a:ext>
                </a:extLst>
              </a:tr>
              <a:tr h="407583">
                <a:tc>
                  <a:txBody>
                    <a:bodyPr/>
                    <a:lstStyle/>
                    <a:p>
                      <a:pPr algn="ctr"/>
                      <a:r>
                        <a:rPr lang="en-US" sz="1000" dirty="0"/>
                        <a:t>Out</a:t>
                      </a:r>
                      <a:r>
                        <a:rPr lang="en-US" sz="1000" baseline="0" dirty="0"/>
                        <a:t> of the box</a:t>
                      </a:r>
                      <a:endParaRPr lang="en-US" sz="1000" dirty="0"/>
                    </a:p>
                  </a:txBody>
                  <a:tcPr marL="93260" marR="93260" marT="46630" marB="46630"/>
                </a:tc>
                <a:extLst>
                  <a:ext uri="{0D108BD9-81ED-4DB2-BD59-A6C34878D82A}">
                    <a16:rowId xmlns:a16="http://schemas.microsoft.com/office/drawing/2014/main" val="10001"/>
                  </a:ext>
                </a:extLst>
              </a:tr>
              <a:tr h="407583">
                <a:tc>
                  <a:txBody>
                    <a:bodyPr/>
                    <a:lstStyle/>
                    <a:p>
                      <a:pPr algn="ctr"/>
                      <a:r>
                        <a:rPr lang="en-US" sz="1000" dirty="0"/>
                        <a:t>Fully integrated </a:t>
                      </a:r>
                      <a:br>
                        <a:rPr lang="en-US" sz="1000" dirty="0"/>
                      </a:br>
                      <a:r>
                        <a:rPr lang="en-US" sz="1000" dirty="0"/>
                        <a:t>and customized</a:t>
                      </a:r>
                    </a:p>
                  </a:txBody>
                  <a:tcPr marL="93260" marR="93260" marT="46630" marB="46630"/>
                </a:tc>
                <a:extLst>
                  <a:ext uri="{0D108BD9-81ED-4DB2-BD59-A6C34878D82A}">
                    <a16:rowId xmlns:a16="http://schemas.microsoft.com/office/drawing/2014/main" val="10002"/>
                  </a:ext>
                </a:extLst>
              </a:tr>
              <a:tr h="407583">
                <a:tc>
                  <a:txBody>
                    <a:bodyPr/>
                    <a:lstStyle/>
                    <a:p>
                      <a:pPr algn="ctr"/>
                      <a:endParaRPr lang="en-US" sz="1000" dirty="0"/>
                    </a:p>
                  </a:txBody>
                  <a:tcPr marL="93260" marR="93260" marT="46630" marB="46630"/>
                </a:tc>
                <a:extLst>
                  <a:ext uri="{0D108BD9-81ED-4DB2-BD59-A6C34878D82A}">
                    <a16:rowId xmlns:a16="http://schemas.microsoft.com/office/drawing/2014/main" val="10003"/>
                  </a:ext>
                </a:extLst>
              </a:tr>
              <a:tr h="407583">
                <a:tc>
                  <a:txBody>
                    <a:bodyPr/>
                    <a:lstStyle/>
                    <a:p>
                      <a:endParaRPr lang="en-US" sz="1000" dirty="0"/>
                    </a:p>
                  </a:txBody>
                  <a:tcPr marL="93260" marR="93260" marT="46630" marB="46630"/>
                </a:tc>
                <a:extLst>
                  <a:ext uri="{0D108BD9-81ED-4DB2-BD59-A6C34878D82A}">
                    <a16:rowId xmlns:a16="http://schemas.microsoft.com/office/drawing/2014/main" val="10004"/>
                  </a:ext>
                </a:extLst>
              </a:tr>
            </a:tbl>
          </a:graphicData>
        </a:graphic>
      </p:graphicFrame>
      <p:graphicFrame>
        <p:nvGraphicFramePr>
          <p:cNvPr id="81" name="Table 80"/>
          <p:cNvGraphicFramePr>
            <a:graphicFrameLocks noGrp="1"/>
          </p:cNvGraphicFramePr>
          <p:nvPr/>
        </p:nvGraphicFramePr>
        <p:xfrm>
          <a:off x="5717390" y="4343514"/>
          <a:ext cx="1489575" cy="2046549"/>
        </p:xfrm>
        <a:graphic>
          <a:graphicData uri="http://schemas.openxmlformats.org/drawingml/2006/table">
            <a:tbl>
              <a:tblPr firstRow="1" bandRow="1">
                <a:tableStyleId>{22838BEF-8BB2-4498-84A7-C5851F593DF1}</a:tableStyleId>
              </a:tblPr>
              <a:tblGrid>
                <a:gridCol w="1489575">
                  <a:extLst>
                    <a:ext uri="{9D8B030D-6E8A-4147-A177-3AD203B41FA5}">
                      <a16:colId xmlns:a16="http://schemas.microsoft.com/office/drawing/2014/main" val="20000"/>
                    </a:ext>
                  </a:extLst>
                </a:gridCol>
              </a:tblGrid>
              <a:tr h="416217">
                <a:tc>
                  <a:txBody>
                    <a:bodyPr/>
                    <a:lstStyle/>
                    <a:p>
                      <a:pPr algn="ctr"/>
                      <a:r>
                        <a:rPr lang="en-US" sz="1200" b="1" dirty="0">
                          <a:solidFill>
                            <a:srgbClr val="FFFFFF"/>
                          </a:solidFill>
                        </a:rPr>
                        <a:t>CHANNELS</a:t>
                      </a:r>
                      <a:endParaRPr lang="en-US" sz="1200" b="0" dirty="0">
                        <a:solidFill>
                          <a:srgbClr val="FFFFFF"/>
                        </a:solidFill>
                      </a:endParaRPr>
                    </a:p>
                  </a:txBody>
                  <a:tcPr marL="93260" marR="93260" marT="46630" marB="46630" anchor="ctr">
                    <a:solidFill>
                      <a:schemeClr val="bg2">
                        <a:lumMod val="50000"/>
                      </a:schemeClr>
                    </a:solidFill>
                  </a:tcPr>
                </a:tc>
                <a:extLst>
                  <a:ext uri="{0D108BD9-81ED-4DB2-BD59-A6C34878D82A}">
                    <a16:rowId xmlns:a16="http://schemas.microsoft.com/office/drawing/2014/main" val="10000"/>
                  </a:ext>
                </a:extLst>
              </a:tr>
              <a:tr h="407583">
                <a:tc>
                  <a:txBody>
                    <a:bodyPr/>
                    <a:lstStyle/>
                    <a:p>
                      <a:pPr algn="ctr"/>
                      <a:r>
                        <a:rPr lang="en-US" sz="1000" dirty="0"/>
                        <a:t>Web</a:t>
                      </a:r>
                    </a:p>
                  </a:txBody>
                  <a:tcPr marL="93260" marR="93260" marT="46630" marB="46630" anchor="ctr"/>
                </a:tc>
                <a:extLst>
                  <a:ext uri="{0D108BD9-81ED-4DB2-BD59-A6C34878D82A}">
                    <a16:rowId xmlns:a16="http://schemas.microsoft.com/office/drawing/2014/main" val="10001"/>
                  </a:ext>
                </a:extLst>
              </a:tr>
              <a:tr h="407583">
                <a:tc>
                  <a:txBody>
                    <a:bodyPr/>
                    <a:lstStyle/>
                    <a:p>
                      <a:pPr algn="ctr"/>
                      <a:r>
                        <a:rPr lang="en-US" sz="1000" dirty="0"/>
                        <a:t>Call Center</a:t>
                      </a:r>
                    </a:p>
                  </a:txBody>
                  <a:tcPr marL="93260" marR="93260" marT="46630" marB="46630" anchor="ctr"/>
                </a:tc>
                <a:extLst>
                  <a:ext uri="{0D108BD9-81ED-4DB2-BD59-A6C34878D82A}">
                    <a16:rowId xmlns:a16="http://schemas.microsoft.com/office/drawing/2014/main" val="10002"/>
                  </a:ext>
                </a:extLst>
              </a:tr>
              <a:tr h="407583">
                <a:tc>
                  <a:txBody>
                    <a:bodyPr/>
                    <a:lstStyle/>
                    <a:p>
                      <a:pPr algn="ctr"/>
                      <a:r>
                        <a:rPr lang="en-US" sz="1000" dirty="0"/>
                        <a:t>Retail</a:t>
                      </a:r>
                    </a:p>
                  </a:txBody>
                  <a:tcPr marL="93260" marR="93260" marT="46630" marB="46630" anchor="ctr"/>
                </a:tc>
                <a:extLst>
                  <a:ext uri="{0D108BD9-81ED-4DB2-BD59-A6C34878D82A}">
                    <a16:rowId xmlns:a16="http://schemas.microsoft.com/office/drawing/2014/main" val="10003"/>
                  </a:ext>
                </a:extLst>
              </a:tr>
              <a:tr h="407583">
                <a:tc>
                  <a:txBody>
                    <a:bodyPr/>
                    <a:lstStyle/>
                    <a:p>
                      <a:pPr algn="ctr"/>
                      <a:r>
                        <a:rPr lang="en-US" sz="1000" dirty="0"/>
                        <a:t>Mobile / Field</a:t>
                      </a:r>
                    </a:p>
                  </a:txBody>
                  <a:tcPr marL="93260" marR="93260" marT="46630" marB="46630" anchor="ctr"/>
                </a:tc>
                <a:extLst>
                  <a:ext uri="{0D108BD9-81ED-4DB2-BD59-A6C34878D82A}">
                    <a16:rowId xmlns:a16="http://schemas.microsoft.com/office/drawing/2014/main" val="10004"/>
                  </a:ext>
                </a:extLst>
              </a:tr>
            </a:tbl>
          </a:graphicData>
        </a:graphic>
      </p:graphicFrame>
      <p:graphicFrame>
        <p:nvGraphicFramePr>
          <p:cNvPr id="82" name="Table 81"/>
          <p:cNvGraphicFramePr>
            <a:graphicFrameLocks noGrp="1"/>
          </p:cNvGraphicFramePr>
          <p:nvPr/>
        </p:nvGraphicFramePr>
        <p:xfrm>
          <a:off x="7539424" y="4343512"/>
          <a:ext cx="1489575" cy="2096634"/>
        </p:xfrm>
        <a:graphic>
          <a:graphicData uri="http://schemas.openxmlformats.org/drawingml/2006/table">
            <a:tbl>
              <a:tblPr firstRow="1" bandRow="1">
                <a:tableStyleId>{22838BEF-8BB2-4498-84A7-C5851F593DF1}</a:tableStyleId>
              </a:tblPr>
              <a:tblGrid>
                <a:gridCol w="1489575">
                  <a:extLst>
                    <a:ext uri="{9D8B030D-6E8A-4147-A177-3AD203B41FA5}">
                      <a16:colId xmlns:a16="http://schemas.microsoft.com/office/drawing/2014/main" val="20000"/>
                    </a:ext>
                  </a:extLst>
                </a:gridCol>
              </a:tblGrid>
              <a:tr h="466302">
                <a:tc>
                  <a:txBody>
                    <a:bodyPr/>
                    <a:lstStyle/>
                    <a:p>
                      <a:pPr algn="ctr"/>
                      <a:r>
                        <a:rPr lang="en-US" sz="1200" b="1" dirty="0">
                          <a:solidFill>
                            <a:srgbClr val="FFFFFF"/>
                          </a:solidFill>
                        </a:rPr>
                        <a:t>SIGNATURE CAPTURE</a:t>
                      </a:r>
                      <a:endParaRPr lang="en-US" sz="1200" b="0" dirty="0">
                        <a:solidFill>
                          <a:srgbClr val="FFFFFF"/>
                        </a:solidFill>
                      </a:endParaRPr>
                    </a:p>
                  </a:txBody>
                  <a:tcPr marL="93260" marR="93260" marT="46630" marB="46630" anchor="ctr">
                    <a:solidFill>
                      <a:schemeClr val="bg2">
                        <a:lumMod val="50000"/>
                      </a:schemeClr>
                    </a:solidFill>
                  </a:tcPr>
                </a:tc>
                <a:extLst>
                  <a:ext uri="{0D108BD9-81ED-4DB2-BD59-A6C34878D82A}">
                    <a16:rowId xmlns:a16="http://schemas.microsoft.com/office/drawing/2014/main" val="10000"/>
                  </a:ext>
                </a:extLst>
              </a:tr>
              <a:tr h="407583">
                <a:tc>
                  <a:txBody>
                    <a:bodyPr/>
                    <a:lstStyle/>
                    <a:p>
                      <a:pPr algn="ctr"/>
                      <a:r>
                        <a:rPr lang="en-US" sz="1000" dirty="0"/>
                        <a:t>Click</a:t>
                      </a:r>
                      <a:r>
                        <a:rPr lang="en-US" sz="1000" baseline="0" dirty="0"/>
                        <a:t> / tap to sign</a:t>
                      </a:r>
                      <a:endParaRPr lang="en-US" sz="1000" dirty="0"/>
                    </a:p>
                  </a:txBody>
                  <a:tcPr marL="93260" marR="93260" marT="46630" marB="46630" anchor="ctr"/>
                </a:tc>
                <a:extLst>
                  <a:ext uri="{0D108BD9-81ED-4DB2-BD59-A6C34878D82A}">
                    <a16:rowId xmlns:a16="http://schemas.microsoft.com/office/drawing/2014/main" val="10001"/>
                  </a:ext>
                </a:extLst>
              </a:tr>
              <a:tr h="407583">
                <a:tc>
                  <a:txBody>
                    <a:bodyPr/>
                    <a:lstStyle/>
                    <a:p>
                      <a:pPr algn="ctr"/>
                      <a:r>
                        <a:rPr lang="en-US" sz="1000" dirty="0"/>
                        <a:t>Signature capture pad</a:t>
                      </a:r>
                    </a:p>
                  </a:txBody>
                  <a:tcPr marL="93260" marR="93260" marT="46630" marB="46630" anchor="ctr"/>
                </a:tc>
                <a:extLst>
                  <a:ext uri="{0D108BD9-81ED-4DB2-BD59-A6C34878D82A}">
                    <a16:rowId xmlns:a16="http://schemas.microsoft.com/office/drawing/2014/main" val="10002"/>
                  </a:ext>
                </a:extLst>
              </a:tr>
              <a:tr h="407583">
                <a:tc>
                  <a:txBody>
                    <a:bodyPr/>
                    <a:lstStyle/>
                    <a:p>
                      <a:pPr algn="ctr"/>
                      <a:r>
                        <a:rPr lang="en-US" sz="1000" dirty="0"/>
                        <a:t>Touch screen</a:t>
                      </a:r>
                    </a:p>
                  </a:txBody>
                  <a:tcPr marL="93260" marR="93260" marT="46630" marB="46630" anchor="ctr"/>
                </a:tc>
                <a:extLst>
                  <a:ext uri="{0D108BD9-81ED-4DB2-BD59-A6C34878D82A}">
                    <a16:rowId xmlns:a16="http://schemas.microsoft.com/office/drawing/2014/main" val="10003"/>
                  </a:ext>
                </a:extLst>
              </a:tr>
              <a:tr h="407583">
                <a:tc>
                  <a:txBody>
                    <a:bodyPr/>
                    <a:lstStyle/>
                    <a:p>
                      <a:pPr algn="ctr"/>
                      <a:r>
                        <a:rPr lang="en-US" sz="1000" dirty="0"/>
                        <a:t>Use your own device</a:t>
                      </a:r>
                    </a:p>
                  </a:txBody>
                  <a:tcPr marL="93260" marR="93260" marT="46630" marB="46630" anchor="ctr"/>
                </a:tc>
                <a:extLst>
                  <a:ext uri="{0D108BD9-81ED-4DB2-BD59-A6C34878D82A}">
                    <a16:rowId xmlns:a16="http://schemas.microsoft.com/office/drawing/2014/main" val="10004"/>
                  </a:ext>
                </a:extLst>
              </a:tr>
            </a:tbl>
          </a:graphicData>
        </a:graphic>
      </p:graphicFrame>
      <p:graphicFrame>
        <p:nvGraphicFramePr>
          <p:cNvPr id="84" name="Table 83"/>
          <p:cNvGraphicFramePr>
            <a:graphicFrameLocks noGrp="1"/>
          </p:cNvGraphicFramePr>
          <p:nvPr/>
        </p:nvGraphicFramePr>
        <p:xfrm>
          <a:off x="9301010" y="4352151"/>
          <a:ext cx="2607836" cy="2063815"/>
        </p:xfrm>
        <a:graphic>
          <a:graphicData uri="http://schemas.openxmlformats.org/drawingml/2006/table">
            <a:tbl>
              <a:tblPr firstRow="1" bandRow="1">
                <a:tableStyleId>{22838BEF-8BB2-4498-84A7-C5851F593DF1}</a:tableStyleId>
              </a:tblPr>
              <a:tblGrid>
                <a:gridCol w="1303918">
                  <a:extLst>
                    <a:ext uri="{9D8B030D-6E8A-4147-A177-3AD203B41FA5}">
                      <a16:colId xmlns:a16="http://schemas.microsoft.com/office/drawing/2014/main" val="20000"/>
                    </a:ext>
                  </a:extLst>
                </a:gridCol>
                <a:gridCol w="1303918">
                  <a:extLst>
                    <a:ext uri="{9D8B030D-6E8A-4147-A177-3AD203B41FA5}">
                      <a16:colId xmlns:a16="http://schemas.microsoft.com/office/drawing/2014/main" val="20001"/>
                    </a:ext>
                  </a:extLst>
                </a:gridCol>
              </a:tblGrid>
              <a:tr h="412763">
                <a:tc gridSpan="2">
                  <a:txBody>
                    <a:bodyPr/>
                    <a:lstStyle/>
                    <a:p>
                      <a:pPr algn="ctr"/>
                      <a:r>
                        <a:rPr lang="en-US" sz="1200" dirty="0">
                          <a:solidFill>
                            <a:srgbClr val="FFFFFF"/>
                          </a:solidFill>
                        </a:rPr>
                        <a:t>USER AUTHENTICATION</a:t>
                      </a:r>
                    </a:p>
                  </a:txBody>
                  <a:tcPr marL="93260" marR="93260" marT="46630" marB="46630" anchor="ctr">
                    <a:solidFill>
                      <a:schemeClr val="bg2">
                        <a:lumMod val="50000"/>
                      </a:schemeClr>
                    </a:solidFill>
                  </a:tcPr>
                </a:tc>
                <a:tc hMerge="1">
                  <a:txBody>
                    <a:bodyPr/>
                    <a:lstStyle/>
                    <a:p>
                      <a:endParaRPr lang="en-US" dirty="0"/>
                    </a:p>
                  </a:txBody>
                  <a:tcPr/>
                </a:tc>
                <a:extLst>
                  <a:ext uri="{0D108BD9-81ED-4DB2-BD59-A6C34878D82A}">
                    <a16:rowId xmlns:a16="http://schemas.microsoft.com/office/drawing/2014/main" val="10000"/>
                  </a:ext>
                </a:extLst>
              </a:tr>
              <a:tr h="412763">
                <a:tc>
                  <a:txBody>
                    <a:bodyPr/>
                    <a:lstStyle/>
                    <a:p>
                      <a:pPr algn="ctr"/>
                      <a:r>
                        <a:rPr lang="en-US" sz="1000" dirty="0"/>
                        <a:t>Username</a:t>
                      </a:r>
                      <a:r>
                        <a:rPr lang="en-US" sz="1000" baseline="0" dirty="0"/>
                        <a:t> password</a:t>
                      </a:r>
                      <a:endParaRPr lang="en-US" sz="1000" dirty="0"/>
                    </a:p>
                  </a:txBody>
                  <a:tcPr marL="93260" marR="93260" marT="46630" marB="46630" anchor="ctr"/>
                </a:tc>
                <a:tc>
                  <a:txBody>
                    <a:bodyPr/>
                    <a:lstStyle/>
                    <a:p>
                      <a:pPr algn="ctr"/>
                      <a:r>
                        <a:rPr lang="en-US" sz="1000" dirty="0"/>
                        <a:t>Challeng</a:t>
                      </a:r>
                      <a:r>
                        <a:rPr lang="en-US" sz="1000" baseline="0" dirty="0"/>
                        <a:t>e-response</a:t>
                      </a:r>
                      <a:endParaRPr lang="en-US" sz="1000" dirty="0"/>
                    </a:p>
                  </a:txBody>
                  <a:tcPr marL="93260" marR="93260" marT="46630" marB="46630" anchor="ctr"/>
                </a:tc>
                <a:extLst>
                  <a:ext uri="{0D108BD9-81ED-4DB2-BD59-A6C34878D82A}">
                    <a16:rowId xmlns:a16="http://schemas.microsoft.com/office/drawing/2014/main" val="10001"/>
                  </a:ext>
                </a:extLst>
              </a:tr>
              <a:tr h="412763">
                <a:tc>
                  <a:txBody>
                    <a:bodyPr/>
                    <a:lstStyle/>
                    <a:p>
                      <a:pPr algn="ctr"/>
                      <a:r>
                        <a:rPr lang="en-US" sz="1000" dirty="0"/>
                        <a:t>Email</a:t>
                      </a:r>
                    </a:p>
                  </a:txBody>
                  <a:tcPr marL="93260" marR="93260" marT="46630" marB="46630" anchor="ctr"/>
                </a:tc>
                <a:tc>
                  <a:txBody>
                    <a:bodyPr/>
                    <a:lstStyle/>
                    <a:p>
                      <a:pPr algn="ctr"/>
                      <a:r>
                        <a:rPr lang="en-US" sz="1000" dirty="0"/>
                        <a:t>SMS pass code</a:t>
                      </a:r>
                    </a:p>
                  </a:txBody>
                  <a:tcPr marL="93260" marR="93260" marT="46630" marB="46630" anchor="ctr"/>
                </a:tc>
                <a:extLst>
                  <a:ext uri="{0D108BD9-81ED-4DB2-BD59-A6C34878D82A}">
                    <a16:rowId xmlns:a16="http://schemas.microsoft.com/office/drawing/2014/main" val="10002"/>
                  </a:ext>
                </a:extLst>
              </a:tr>
              <a:tr h="412763">
                <a:tc>
                  <a:txBody>
                    <a:bodyPr/>
                    <a:lstStyle/>
                    <a:p>
                      <a:pPr algn="ctr"/>
                      <a:r>
                        <a:rPr lang="en-US" sz="1000" dirty="0"/>
                        <a:t>Digital certificates</a:t>
                      </a:r>
                    </a:p>
                  </a:txBody>
                  <a:tcPr marL="93260" marR="93260" marT="46630" marB="46630" anchor="ctr"/>
                </a:tc>
                <a:tc>
                  <a:txBody>
                    <a:bodyPr/>
                    <a:lstStyle/>
                    <a:p>
                      <a:pPr algn="ctr"/>
                      <a:r>
                        <a:rPr lang="en-US" sz="1000" dirty="0"/>
                        <a:t>Smart cards</a:t>
                      </a:r>
                    </a:p>
                  </a:txBody>
                  <a:tcPr marL="93260" marR="93260" marT="46630" marB="46630" anchor="ctr"/>
                </a:tc>
                <a:extLst>
                  <a:ext uri="{0D108BD9-81ED-4DB2-BD59-A6C34878D82A}">
                    <a16:rowId xmlns:a16="http://schemas.microsoft.com/office/drawing/2014/main" val="10003"/>
                  </a:ext>
                </a:extLst>
              </a:tr>
              <a:tr h="412763">
                <a:tc>
                  <a:txBody>
                    <a:bodyPr/>
                    <a:lstStyle/>
                    <a:p>
                      <a:pPr algn="ctr"/>
                      <a:r>
                        <a:rPr lang="en-US" sz="1000" dirty="0"/>
                        <a:t>3</a:t>
                      </a:r>
                      <a:r>
                        <a:rPr lang="en-US" sz="1000" baseline="30000" dirty="0"/>
                        <a:t>rd</a:t>
                      </a:r>
                      <a:r>
                        <a:rPr lang="en-US" sz="1000" baseline="0" dirty="0"/>
                        <a:t> party service</a:t>
                      </a:r>
                      <a:endParaRPr lang="en-US" sz="1000" dirty="0"/>
                    </a:p>
                  </a:txBody>
                  <a:tcPr marL="93260" marR="93260" marT="46630" marB="46630" anchor="ctr"/>
                </a:tc>
                <a:tc>
                  <a:txBody>
                    <a:bodyPr/>
                    <a:lstStyle/>
                    <a:p>
                      <a:pPr algn="ctr"/>
                      <a:r>
                        <a:rPr lang="en-US" sz="1000" dirty="0"/>
                        <a:t>DIGIPASS</a:t>
                      </a:r>
                    </a:p>
                  </a:txBody>
                  <a:tcPr marL="93260" marR="93260" marT="46630" marB="46630" anchor="ctr"/>
                </a:tc>
                <a:extLst>
                  <a:ext uri="{0D108BD9-81ED-4DB2-BD59-A6C34878D82A}">
                    <a16:rowId xmlns:a16="http://schemas.microsoft.com/office/drawing/2014/main" val="10004"/>
                  </a:ext>
                </a:extLst>
              </a:tr>
            </a:tbl>
          </a:graphicData>
        </a:graphic>
      </p:graphicFrame>
      <p:grpSp>
        <p:nvGrpSpPr>
          <p:cNvPr id="4" name="Group 31"/>
          <p:cNvGrpSpPr/>
          <p:nvPr/>
        </p:nvGrpSpPr>
        <p:grpSpPr>
          <a:xfrm>
            <a:off x="1823079" y="1623592"/>
            <a:ext cx="2028920" cy="2028920"/>
            <a:chOff x="485493" y="1169632"/>
            <a:chExt cx="1530951" cy="1552514"/>
          </a:xfrm>
        </p:grpSpPr>
        <p:grpSp>
          <p:nvGrpSpPr>
            <p:cNvPr id="5" name="Group 20"/>
            <p:cNvGrpSpPr/>
            <p:nvPr/>
          </p:nvGrpSpPr>
          <p:grpSpPr>
            <a:xfrm>
              <a:off x="485493" y="1169632"/>
              <a:ext cx="1530951" cy="1552514"/>
              <a:chOff x="526133" y="1252143"/>
              <a:chExt cx="1530951" cy="1552514"/>
            </a:xfrm>
          </p:grpSpPr>
          <p:pic>
            <p:nvPicPr>
              <p:cNvPr id="39" name="Picture 38" descr="shutterstock_254131945-png.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26133" y="1252143"/>
                <a:ext cx="1530951" cy="1552514"/>
              </a:xfrm>
              <a:prstGeom prst="rect">
                <a:avLst/>
              </a:prstGeom>
            </p:spPr>
          </p:pic>
          <p:sp>
            <p:nvSpPr>
              <p:cNvPr id="40" name="Oval 39"/>
              <p:cNvSpPr/>
              <p:nvPr/>
            </p:nvSpPr>
            <p:spPr bwMode="auto">
              <a:xfrm>
                <a:off x="530646" y="1253193"/>
                <a:ext cx="1525818" cy="1551463"/>
              </a:xfrm>
              <a:prstGeom prst="ellipse">
                <a:avLst/>
              </a:prstGeom>
              <a:noFill/>
              <a:ln w="127000" cap="flat" cmpd="sng" algn="ctr">
                <a:solidFill>
                  <a:schemeClr val="accent2"/>
                </a:solid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333333"/>
                  </a:solidFill>
                  <a:effectLst/>
                  <a:uLnTx/>
                  <a:uFillTx/>
                  <a:latin typeface="Times New Roman" pitchFamily="18" charset="0"/>
                  <a:ea typeface="+mn-ea"/>
                  <a:cs typeface="+mn-cs"/>
                </a:endParaRPr>
              </a:p>
            </p:txBody>
          </p:sp>
        </p:grpSp>
        <p:sp>
          <p:nvSpPr>
            <p:cNvPr id="38" name="TextBox 37"/>
            <p:cNvSpPr txBox="1"/>
            <p:nvPr/>
          </p:nvSpPr>
          <p:spPr>
            <a:xfrm>
              <a:off x="914400" y="2395283"/>
              <a:ext cx="663787" cy="292539"/>
            </a:xfrm>
            <a:prstGeom prst="rect">
              <a:avLst/>
            </a:prstGeom>
            <a:solidFill>
              <a:schemeClr val="accent2"/>
            </a:solid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dirty="0">
                  <a:ln>
                    <a:noFill/>
                  </a:ln>
                  <a:solidFill>
                    <a:srgbClr val="000000"/>
                  </a:solidFill>
                  <a:effectLst/>
                  <a:uLnTx/>
                  <a:uFillTx/>
                  <a:latin typeface="Calibri"/>
                  <a:ea typeface="+mn-ea"/>
                  <a:cs typeface="+mn-cs"/>
                </a:rPr>
                <a:t>B2C</a:t>
              </a:r>
            </a:p>
          </p:txBody>
        </p:sp>
      </p:grpSp>
      <p:grpSp>
        <p:nvGrpSpPr>
          <p:cNvPr id="6" name="Group 40"/>
          <p:cNvGrpSpPr/>
          <p:nvPr/>
        </p:nvGrpSpPr>
        <p:grpSpPr>
          <a:xfrm>
            <a:off x="5216289" y="1668433"/>
            <a:ext cx="2028920" cy="2028920"/>
            <a:chOff x="3811216" y="1170158"/>
            <a:chExt cx="1525818" cy="1551463"/>
          </a:xfrm>
        </p:grpSpPr>
        <p:grpSp>
          <p:nvGrpSpPr>
            <p:cNvPr id="7" name="Group 17"/>
            <p:cNvGrpSpPr/>
            <p:nvPr/>
          </p:nvGrpSpPr>
          <p:grpSpPr>
            <a:xfrm>
              <a:off x="3811216" y="1170158"/>
              <a:ext cx="1525818" cy="1551463"/>
              <a:chOff x="2287216" y="1279490"/>
              <a:chExt cx="1525818" cy="1551463"/>
            </a:xfrm>
          </p:grpSpPr>
          <p:pic>
            <p:nvPicPr>
              <p:cNvPr id="44" name="Picture 43" descr="shutterstock_70442089-circle.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04047" y="1293165"/>
                <a:ext cx="1492559" cy="1518930"/>
              </a:xfrm>
              <a:prstGeom prst="rect">
                <a:avLst/>
              </a:prstGeom>
            </p:spPr>
          </p:pic>
          <p:sp>
            <p:nvSpPr>
              <p:cNvPr id="45" name="Oval 44"/>
              <p:cNvSpPr/>
              <p:nvPr/>
            </p:nvSpPr>
            <p:spPr bwMode="auto">
              <a:xfrm>
                <a:off x="2287216" y="1279490"/>
                <a:ext cx="1525818" cy="1551463"/>
              </a:xfrm>
              <a:prstGeom prst="ellipse">
                <a:avLst/>
              </a:prstGeom>
              <a:noFill/>
              <a:ln w="127000" cap="flat" cmpd="sng" algn="ctr">
                <a:solidFill>
                  <a:schemeClr val="accent2"/>
                </a:solid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333333"/>
                  </a:solidFill>
                  <a:effectLst/>
                  <a:uLnTx/>
                  <a:uFillTx/>
                  <a:latin typeface="Times New Roman" pitchFamily="18" charset="0"/>
                  <a:ea typeface="+mn-ea"/>
                  <a:cs typeface="+mn-cs"/>
                </a:endParaRPr>
              </a:p>
            </p:txBody>
          </p:sp>
        </p:grpSp>
        <p:sp>
          <p:nvSpPr>
            <p:cNvPr id="43" name="TextBox 42"/>
            <p:cNvSpPr txBox="1"/>
            <p:nvPr/>
          </p:nvSpPr>
          <p:spPr>
            <a:xfrm>
              <a:off x="4257040" y="2391142"/>
              <a:ext cx="663786" cy="292341"/>
            </a:xfrm>
            <a:prstGeom prst="rect">
              <a:avLst/>
            </a:prstGeom>
            <a:solidFill>
              <a:srgbClr val="FFA800"/>
            </a:solid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dirty="0">
                  <a:ln>
                    <a:noFill/>
                  </a:ln>
                  <a:solidFill>
                    <a:srgbClr val="000000"/>
                  </a:solidFill>
                  <a:effectLst/>
                  <a:uLnTx/>
                  <a:uFillTx/>
                  <a:latin typeface="Calibri"/>
                  <a:ea typeface="+mn-ea"/>
                  <a:cs typeface="+mn-cs"/>
                </a:rPr>
                <a:t>B2B</a:t>
              </a:r>
            </a:p>
          </p:txBody>
        </p:sp>
      </p:grpSp>
      <p:grpSp>
        <p:nvGrpSpPr>
          <p:cNvPr id="8" name="Group 57"/>
          <p:cNvGrpSpPr/>
          <p:nvPr/>
        </p:nvGrpSpPr>
        <p:grpSpPr>
          <a:xfrm>
            <a:off x="8609970" y="1666946"/>
            <a:ext cx="2028920" cy="2028920"/>
            <a:chOff x="7065851" y="1160692"/>
            <a:chExt cx="1534589" cy="1570395"/>
          </a:xfrm>
        </p:grpSpPr>
        <p:grpSp>
          <p:nvGrpSpPr>
            <p:cNvPr id="9" name="Group 7"/>
            <p:cNvGrpSpPr/>
            <p:nvPr/>
          </p:nvGrpSpPr>
          <p:grpSpPr>
            <a:xfrm>
              <a:off x="7065851" y="1160692"/>
              <a:ext cx="1534589" cy="1570395"/>
              <a:chOff x="7065851" y="1107441"/>
              <a:chExt cx="1534589" cy="1570395"/>
            </a:xfrm>
          </p:grpSpPr>
          <p:pic>
            <p:nvPicPr>
              <p:cNvPr id="49" name="Picture 48" descr="shutterstock_244634278-circle.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69488" y="1107441"/>
                <a:ext cx="1530952" cy="1552514"/>
              </a:xfrm>
              <a:prstGeom prst="rect">
                <a:avLst/>
              </a:prstGeom>
            </p:spPr>
          </p:pic>
          <p:sp>
            <p:nvSpPr>
              <p:cNvPr id="50" name="Oval 49"/>
              <p:cNvSpPr/>
              <p:nvPr/>
            </p:nvSpPr>
            <p:spPr bwMode="auto">
              <a:xfrm>
                <a:off x="7065851" y="1126373"/>
                <a:ext cx="1525818" cy="1551463"/>
              </a:xfrm>
              <a:prstGeom prst="ellipse">
                <a:avLst/>
              </a:prstGeom>
              <a:noFill/>
              <a:ln w="127000" cap="flat" cmpd="sng" algn="ctr">
                <a:solidFill>
                  <a:schemeClr val="accent2"/>
                </a:solid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333333"/>
                  </a:solidFill>
                  <a:effectLst/>
                  <a:uLnTx/>
                  <a:uFillTx/>
                  <a:latin typeface="Times New Roman" pitchFamily="18" charset="0"/>
                  <a:ea typeface="+mn-ea"/>
                  <a:cs typeface="+mn-cs"/>
                </a:endParaRPr>
              </a:p>
            </p:txBody>
          </p:sp>
        </p:grpSp>
        <p:sp>
          <p:nvSpPr>
            <p:cNvPr id="48" name="TextBox 47"/>
            <p:cNvSpPr txBox="1"/>
            <p:nvPr/>
          </p:nvSpPr>
          <p:spPr>
            <a:xfrm>
              <a:off x="7505618" y="2392896"/>
              <a:ext cx="667512" cy="295909"/>
            </a:xfrm>
            <a:prstGeom prst="rect">
              <a:avLst/>
            </a:prstGeom>
            <a:solidFill>
              <a:srgbClr val="FFA800"/>
            </a:solid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dirty="0">
                  <a:ln>
                    <a:noFill/>
                  </a:ln>
                  <a:solidFill>
                    <a:srgbClr val="000000"/>
                  </a:solidFill>
                  <a:effectLst/>
                  <a:uLnTx/>
                  <a:uFillTx/>
                  <a:latin typeface="Calibri"/>
                  <a:ea typeface="+mn-ea"/>
                  <a:cs typeface="+mn-cs"/>
                </a:rPr>
                <a:t>B2E</a:t>
              </a:r>
            </a:p>
          </p:txBody>
        </p:sp>
      </p:grpSp>
      <p:cxnSp>
        <p:nvCxnSpPr>
          <p:cNvPr id="61" name="Straight Arrow Connector 60"/>
          <p:cNvCxnSpPr/>
          <p:nvPr/>
        </p:nvCxnSpPr>
        <p:spPr bwMode="auto">
          <a:xfrm rot="16200000" flipH="1">
            <a:off x="10427919" y="4062871"/>
            <a:ext cx="267692" cy="0"/>
          </a:xfrm>
          <a:prstGeom prst="straightConnector1">
            <a:avLst/>
          </a:prstGeom>
          <a:solidFill>
            <a:schemeClr val="accent1"/>
          </a:solidFill>
          <a:ln w="19050" cap="flat" cmpd="sng" algn="ctr">
            <a:solidFill>
              <a:schemeClr val="accent2"/>
            </a:solidFill>
            <a:prstDash val="sysDash"/>
            <a:miter lim="800000"/>
            <a:headEnd type="none" w="med" len="med"/>
            <a:tailEnd type="arrow"/>
          </a:ln>
          <a:effectLst/>
        </p:spPr>
      </p:cxnSp>
      <p:grpSp>
        <p:nvGrpSpPr>
          <p:cNvPr id="55" name="Group 54"/>
          <p:cNvGrpSpPr/>
          <p:nvPr/>
        </p:nvGrpSpPr>
        <p:grpSpPr>
          <a:xfrm>
            <a:off x="544901" y="3920389"/>
            <a:ext cx="11346673" cy="872156"/>
            <a:chOff x="533400" y="3843867"/>
            <a:chExt cx="11125199" cy="855133"/>
          </a:xfrm>
        </p:grpSpPr>
        <p:grpSp>
          <p:nvGrpSpPr>
            <p:cNvPr id="54" name="Group 53"/>
            <p:cNvGrpSpPr/>
            <p:nvPr/>
          </p:nvGrpSpPr>
          <p:grpSpPr>
            <a:xfrm>
              <a:off x="1244600" y="3843867"/>
              <a:ext cx="9135542" cy="304800"/>
              <a:chOff x="1244600" y="3843867"/>
              <a:chExt cx="9135542" cy="304800"/>
            </a:xfrm>
          </p:grpSpPr>
          <p:cxnSp>
            <p:nvCxnSpPr>
              <p:cNvPr id="32" name="Straight Connector 31"/>
              <p:cNvCxnSpPr/>
              <p:nvPr/>
            </p:nvCxnSpPr>
            <p:spPr bwMode="auto">
              <a:xfrm>
                <a:off x="1244600" y="3843867"/>
                <a:ext cx="9135542" cy="0"/>
              </a:xfrm>
              <a:prstGeom prst="line">
                <a:avLst/>
              </a:prstGeom>
              <a:solidFill>
                <a:schemeClr val="accent1"/>
              </a:solidFill>
              <a:ln w="19050" cap="flat" cmpd="sng" algn="ctr">
                <a:solidFill>
                  <a:schemeClr val="accent2"/>
                </a:solidFill>
                <a:prstDash val="sysDash"/>
                <a:miter lim="800000"/>
                <a:headEnd type="none" w="med" len="med"/>
                <a:tailEnd type="none" w="med" len="med"/>
              </a:ln>
              <a:effectLst/>
            </p:spPr>
          </p:cxnSp>
          <p:cxnSp>
            <p:nvCxnSpPr>
              <p:cNvPr id="53" name="Straight Arrow Connector 52"/>
              <p:cNvCxnSpPr/>
              <p:nvPr/>
            </p:nvCxnSpPr>
            <p:spPr bwMode="auto">
              <a:xfrm rot="16200000" flipH="1">
                <a:off x="1121841" y="3992034"/>
                <a:ext cx="262467" cy="0"/>
              </a:xfrm>
              <a:prstGeom prst="straightConnector1">
                <a:avLst/>
              </a:prstGeom>
              <a:solidFill>
                <a:schemeClr val="accent1"/>
              </a:solidFill>
              <a:ln w="19050" cap="flat" cmpd="sng" algn="ctr">
                <a:solidFill>
                  <a:schemeClr val="accent2"/>
                </a:solidFill>
                <a:prstDash val="sysDash"/>
                <a:miter lim="800000"/>
                <a:headEnd type="none" w="med" len="med"/>
                <a:tailEnd type="arrow"/>
              </a:ln>
              <a:effectLst/>
            </p:spPr>
          </p:cxnSp>
          <p:cxnSp>
            <p:nvCxnSpPr>
              <p:cNvPr id="57" name="Straight Arrow Connector 56"/>
              <p:cNvCxnSpPr/>
              <p:nvPr/>
            </p:nvCxnSpPr>
            <p:spPr bwMode="auto">
              <a:xfrm rot="16200000" flipH="1">
                <a:off x="2823642" y="4017434"/>
                <a:ext cx="262467" cy="0"/>
              </a:xfrm>
              <a:prstGeom prst="straightConnector1">
                <a:avLst/>
              </a:prstGeom>
              <a:solidFill>
                <a:schemeClr val="accent1"/>
              </a:solidFill>
              <a:ln w="19050" cap="flat" cmpd="sng" algn="ctr">
                <a:solidFill>
                  <a:schemeClr val="accent2"/>
                </a:solidFill>
                <a:prstDash val="sysDash"/>
                <a:miter lim="800000"/>
                <a:headEnd type="none" w="med" len="med"/>
                <a:tailEnd type="arrow"/>
              </a:ln>
              <a:effectLst/>
            </p:spPr>
          </p:cxnSp>
          <p:cxnSp>
            <p:nvCxnSpPr>
              <p:cNvPr id="58" name="Straight Arrow Connector 57"/>
              <p:cNvCxnSpPr/>
              <p:nvPr/>
            </p:nvCxnSpPr>
            <p:spPr bwMode="auto">
              <a:xfrm rot="16200000" flipH="1">
                <a:off x="4525444" y="3992035"/>
                <a:ext cx="262467" cy="0"/>
              </a:xfrm>
              <a:prstGeom prst="straightConnector1">
                <a:avLst/>
              </a:prstGeom>
              <a:solidFill>
                <a:schemeClr val="accent1"/>
              </a:solidFill>
              <a:ln w="19050" cap="flat" cmpd="sng" algn="ctr">
                <a:solidFill>
                  <a:schemeClr val="accent2"/>
                </a:solidFill>
                <a:prstDash val="sysDash"/>
                <a:miter lim="800000"/>
                <a:headEnd type="none" w="med" len="med"/>
                <a:tailEnd type="arrow"/>
              </a:ln>
              <a:effectLst/>
            </p:spPr>
          </p:cxnSp>
          <p:cxnSp>
            <p:nvCxnSpPr>
              <p:cNvPr id="59" name="Straight Arrow Connector 58"/>
              <p:cNvCxnSpPr/>
              <p:nvPr/>
            </p:nvCxnSpPr>
            <p:spPr bwMode="auto">
              <a:xfrm rot="16200000" flipH="1">
                <a:off x="6210311" y="4000502"/>
                <a:ext cx="262467" cy="0"/>
              </a:xfrm>
              <a:prstGeom prst="straightConnector1">
                <a:avLst/>
              </a:prstGeom>
              <a:solidFill>
                <a:schemeClr val="accent1"/>
              </a:solidFill>
              <a:ln w="19050" cap="flat" cmpd="sng" algn="ctr">
                <a:solidFill>
                  <a:schemeClr val="accent2"/>
                </a:solidFill>
                <a:prstDash val="sysDash"/>
                <a:miter lim="800000"/>
                <a:headEnd type="none" w="med" len="med"/>
                <a:tailEnd type="arrow"/>
              </a:ln>
              <a:effectLst/>
            </p:spPr>
          </p:cxnSp>
          <p:cxnSp>
            <p:nvCxnSpPr>
              <p:cNvPr id="60" name="Straight Arrow Connector 59"/>
              <p:cNvCxnSpPr/>
              <p:nvPr/>
            </p:nvCxnSpPr>
            <p:spPr bwMode="auto">
              <a:xfrm rot="16200000" flipH="1">
                <a:off x="7996779" y="4000502"/>
                <a:ext cx="262467" cy="0"/>
              </a:xfrm>
              <a:prstGeom prst="straightConnector1">
                <a:avLst/>
              </a:prstGeom>
              <a:solidFill>
                <a:schemeClr val="accent1"/>
              </a:solidFill>
              <a:ln w="19050" cap="flat" cmpd="sng" algn="ctr">
                <a:solidFill>
                  <a:schemeClr val="accent2"/>
                </a:solidFill>
                <a:prstDash val="sysDash"/>
                <a:miter lim="800000"/>
                <a:headEnd type="none" w="med" len="med"/>
                <a:tailEnd type="arrow"/>
              </a:ln>
              <a:effectLst/>
            </p:spPr>
          </p:cxnSp>
        </p:grpSp>
        <p:sp>
          <p:nvSpPr>
            <p:cNvPr id="41" name="Rectangle 40"/>
            <p:cNvSpPr/>
            <p:nvPr/>
          </p:nvSpPr>
          <p:spPr bwMode="auto">
            <a:xfrm>
              <a:off x="533400" y="4258733"/>
              <a:ext cx="1447799" cy="372535"/>
            </a:xfrm>
            <a:prstGeom prst="rect">
              <a:avLst/>
            </a:prstGeom>
            <a:solidFill>
              <a:schemeClr val="bg1">
                <a:lumMod val="50000"/>
              </a:schemeClr>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a:noFill/>
                  </a:ln>
                  <a:solidFill>
                    <a:prstClr val="white"/>
                  </a:solidFill>
                  <a:effectLst/>
                  <a:uLnTx/>
                  <a:uFillTx/>
                  <a:latin typeface="Calibri"/>
                  <a:ea typeface="+mn-ea"/>
                  <a:cs typeface="+mn-cs"/>
                </a:rPr>
                <a:t>DEPLOYMENT</a:t>
              </a:r>
            </a:p>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333333"/>
                </a:solidFill>
                <a:effectLst/>
                <a:uLnTx/>
                <a:uFillTx/>
                <a:latin typeface="Times New Roman" pitchFamily="18" charset="0"/>
                <a:ea typeface="+mn-ea"/>
                <a:cs typeface="+mn-cs"/>
              </a:endParaRPr>
            </a:p>
          </p:txBody>
        </p:sp>
        <p:sp>
          <p:nvSpPr>
            <p:cNvPr id="42" name="Rectangle 41"/>
            <p:cNvSpPr/>
            <p:nvPr/>
          </p:nvSpPr>
          <p:spPr bwMode="auto">
            <a:xfrm>
              <a:off x="2218265" y="4258733"/>
              <a:ext cx="1447799" cy="372535"/>
            </a:xfrm>
            <a:prstGeom prst="rect">
              <a:avLst/>
            </a:prstGeom>
            <a:solidFill>
              <a:schemeClr val="bg1">
                <a:lumMod val="50000"/>
              </a:schemeClr>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a:noFill/>
                  </a:ln>
                  <a:solidFill>
                    <a:prstClr val="white"/>
                  </a:solidFill>
                  <a:effectLst/>
                  <a:uLnTx/>
                  <a:uFillTx/>
                  <a:latin typeface="Calibri"/>
                  <a:ea typeface="+mn-ea"/>
                  <a:cs typeface="+mn-cs"/>
                </a:rPr>
                <a:t>IMPLEMENTATION</a:t>
              </a:r>
            </a:p>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333333"/>
                </a:solidFill>
                <a:effectLst/>
                <a:uLnTx/>
                <a:uFillTx/>
                <a:latin typeface="Times New Roman" pitchFamily="18" charset="0"/>
                <a:ea typeface="+mn-ea"/>
                <a:cs typeface="+mn-cs"/>
              </a:endParaRPr>
            </a:p>
          </p:txBody>
        </p:sp>
        <p:sp>
          <p:nvSpPr>
            <p:cNvPr id="46" name="Rectangle 45"/>
            <p:cNvSpPr/>
            <p:nvPr/>
          </p:nvSpPr>
          <p:spPr bwMode="auto">
            <a:xfrm>
              <a:off x="3911599" y="4275667"/>
              <a:ext cx="1447799" cy="372535"/>
            </a:xfrm>
            <a:prstGeom prst="rect">
              <a:avLst/>
            </a:prstGeom>
            <a:solidFill>
              <a:schemeClr val="bg1">
                <a:lumMod val="50000"/>
              </a:schemeClr>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a:noFill/>
                  </a:ln>
                  <a:solidFill>
                    <a:prstClr val="white"/>
                  </a:solidFill>
                  <a:effectLst/>
                  <a:uLnTx/>
                  <a:uFillTx/>
                  <a:latin typeface="Calibri"/>
                  <a:ea typeface="+mn-ea"/>
                  <a:cs typeface="+mn-cs"/>
                </a:rPr>
                <a:t>WORKFLOWS</a:t>
              </a:r>
            </a:p>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333333"/>
                </a:solidFill>
                <a:effectLst/>
                <a:uLnTx/>
                <a:uFillTx/>
                <a:latin typeface="Times New Roman" pitchFamily="18" charset="0"/>
                <a:ea typeface="+mn-ea"/>
                <a:cs typeface="+mn-cs"/>
              </a:endParaRPr>
            </a:p>
          </p:txBody>
        </p:sp>
        <p:sp>
          <p:nvSpPr>
            <p:cNvPr id="47" name="Rectangle 46"/>
            <p:cNvSpPr/>
            <p:nvPr/>
          </p:nvSpPr>
          <p:spPr bwMode="auto">
            <a:xfrm>
              <a:off x="5621866" y="4275668"/>
              <a:ext cx="1447799" cy="372535"/>
            </a:xfrm>
            <a:prstGeom prst="rect">
              <a:avLst/>
            </a:prstGeom>
            <a:solidFill>
              <a:schemeClr val="bg1">
                <a:lumMod val="50000"/>
              </a:schemeClr>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a:noFill/>
                  </a:ln>
                  <a:solidFill>
                    <a:prstClr val="white"/>
                  </a:solidFill>
                  <a:effectLst/>
                  <a:uLnTx/>
                  <a:uFillTx/>
                  <a:latin typeface="Calibri"/>
                  <a:ea typeface="+mn-ea"/>
                  <a:cs typeface="+mn-cs"/>
                </a:rPr>
                <a:t>CHANNELS</a:t>
              </a:r>
            </a:p>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333333"/>
                </a:solidFill>
                <a:effectLst/>
                <a:uLnTx/>
                <a:uFillTx/>
                <a:latin typeface="Times New Roman" pitchFamily="18" charset="0"/>
                <a:ea typeface="+mn-ea"/>
                <a:cs typeface="+mn-cs"/>
              </a:endParaRPr>
            </a:p>
          </p:txBody>
        </p:sp>
        <p:sp>
          <p:nvSpPr>
            <p:cNvPr id="51" name="Rectangle 50"/>
            <p:cNvSpPr/>
            <p:nvPr/>
          </p:nvSpPr>
          <p:spPr bwMode="auto">
            <a:xfrm>
              <a:off x="7391399" y="4267200"/>
              <a:ext cx="1447799" cy="431800"/>
            </a:xfrm>
            <a:prstGeom prst="rect">
              <a:avLst/>
            </a:prstGeom>
            <a:solidFill>
              <a:schemeClr val="bg1">
                <a:lumMod val="50000"/>
              </a:schemeClr>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a:noFill/>
                  </a:ln>
                  <a:solidFill>
                    <a:prstClr val="white"/>
                  </a:solidFill>
                  <a:effectLst/>
                  <a:uLnTx/>
                  <a:uFillTx/>
                  <a:latin typeface="Calibri"/>
                  <a:ea typeface="+mn-ea"/>
                  <a:cs typeface="+mn-cs"/>
                </a:rPr>
                <a:t>SIGNATURE</a:t>
              </a:r>
              <a:br>
                <a:rPr kumimoji="0" lang="en-US" sz="1224" b="1" i="0" u="none" strike="noStrike" kern="0" cap="none" spc="0" normalizeH="0" baseline="0" noProof="0" dirty="0">
                  <a:ln>
                    <a:noFill/>
                  </a:ln>
                  <a:solidFill>
                    <a:prstClr val="white"/>
                  </a:solidFill>
                  <a:effectLst/>
                  <a:uLnTx/>
                  <a:uFillTx/>
                  <a:latin typeface="Calibri"/>
                  <a:ea typeface="+mn-ea"/>
                  <a:cs typeface="+mn-cs"/>
                </a:rPr>
              </a:br>
              <a:r>
                <a:rPr kumimoji="0" lang="en-US" sz="1224" b="1" i="0" u="none" strike="noStrike" kern="0" cap="none" spc="0" normalizeH="0" baseline="0" noProof="0" dirty="0">
                  <a:ln>
                    <a:noFill/>
                  </a:ln>
                  <a:solidFill>
                    <a:prstClr val="white"/>
                  </a:solidFill>
                  <a:effectLst/>
                  <a:uLnTx/>
                  <a:uFillTx/>
                  <a:latin typeface="Calibri"/>
                  <a:ea typeface="+mn-ea"/>
                  <a:cs typeface="+mn-cs"/>
                </a:rPr>
                <a:t>CAPTURE</a:t>
              </a:r>
            </a:p>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333333"/>
                </a:solidFill>
                <a:effectLst/>
                <a:uLnTx/>
                <a:uFillTx/>
                <a:latin typeface="Times New Roman" pitchFamily="18" charset="0"/>
                <a:ea typeface="+mn-ea"/>
                <a:cs typeface="+mn-cs"/>
              </a:endParaRPr>
            </a:p>
          </p:txBody>
        </p:sp>
        <p:sp>
          <p:nvSpPr>
            <p:cNvPr id="52" name="Rectangle 51"/>
            <p:cNvSpPr/>
            <p:nvPr/>
          </p:nvSpPr>
          <p:spPr bwMode="auto">
            <a:xfrm>
              <a:off x="9127064" y="4267200"/>
              <a:ext cx="2531535" cy="381000"/>
            </a:xfrm>
            <a:prstGeom prst="rect">
              <a:avLst/>
            </a:prstGeom>
            <a:solidFill>
              <a:schemeClr val="bg1">
                <a:lumMod val="50000"/>
              </a:schemeClr>
            </a:solidFill>
            <a:ln w="9525" cap="flat" cmpd="sng" algn="ctr">
              <a:noFill/>
              <a:prstDash val="solid"/>
              <a:miter lim="800000"/>
              <a:headEnd type="none" w="med" len="med"/>
              <a:tailEnd type="none" w="med" len="med"/>
            </a:ln>
            <a:effectLst/>
          </p:spPr>
          <p:txBody>
            <a:bodyPr vert="horz" wrap="non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a:noFill/>
                  </a:ln>
                  <a:solidFill>
                    <a:prstClr val="white"/>
                  </a:solidFill>
                  <a:effectLst/>
                  <a:uLnTx/>
                  <a:uFillTx/>
                  <a:latin typeface="Calibri"/>
                  <a:ea typeface="+mn-ea"/>
                  <a:cs typeface="+mn-cs"/>
                </a:rPr>
                <a:t>USER AUTHENTICATION</a:t>
              </a:r>
            </a:p>
            <a:p>
              <a:pPr marL="0" marR="0" lvl="0" indent="0" algn="l" defTabSz="932597"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333333"/>
                </a:solidFill>
                <a:effectLst/>
                <a:uLnTx/>
                <a:uFillTx/>
                <a:latin typeface="Times New Roman" pitchFamily="18" charset="0"/>
                <a:ea typeface="+mn-ea"/>
                <a:cs typeface="+mn-cs"/>
              </a:endParaRPr>
            </a:p>
          </p:txBody>
        </p:sp>
      </p:grpSp>
    </p:spTree>
    <p:extLst>
      <p:ext uri="{BB962C8B-B14F-4D97-AF65-F5344CB8AC3E}">
        <p14:creationId xmlns:p14="http://schemas.microsoft.com/office/powerpoint/2010/main" val="394371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2905411"/>
          </a:xfrm>
        </p:spPr>
        <p:txBody>
          <a:bodyPr/>
          <a:lstStyle/>
          <a:p>
            <a:r>
              <a:rPr lang="en-US" dirty="0"/>
              <a:t>ISVs will come to you</a:t>
            </a:r>
          </a:p>
          <a:p>
            <a:r>
              <a:rPr lang="en-US" dirty="0"/>
              <a:t>10 minute follow up on elevator pitches</a:t>
            </a:r>
          </a:p>
          <a:p>
            <a:r>
              <a:rPr lang="en-US" dirty="0"/>
              <a:t>Come to Happy Hour at Westwood CC for more:</a:t>
            </a:r>
          </a:p>
          <a:p>
            <a:pPr lvl="1"/>
            <a:r>
              <a:rPr lang="en-US" dirty="0"/>
              <a:t>5-7 PM</a:t>
            </a:r>
          </a:p>
          <a:p>
            <a:pPr lvl="1"/>
            <a:r>
              <a:rPr lang="en-US" dirty="0"/>
              <a:t>800 Maple Avenue East (aka </a:t>
            </a:r>
            <a:r>
              <a:rPr lang="en-US" dirty="0" err="1"/>
              <a:t>Rt</a:t>
            </a:r>
            <a:r>
              <a:rPr lang="en-US" dirty="0"/>
              <a:t> 123), Vienna, VA </a:t>
            </a:r>
          </a:p>
        </p:txBody>
      </p:sp>
      <p:sp>
        <p:nvSpPr>
          <p:cNvPr id="3" name="Title 2"/>
          <p:cNvSpPr>
            <a:spLocks noGrp="1"/>
          </p:cNvSpPr>
          <p:nvPr>
            <p:ph type="title"/>
          </p:nvPr>
        </p:nvSpPr>
        <p:spPr/>
        <p:txBody>
          <a:bodyPr/>
          <a:lstStyle/>
          <a:p>
            <a:r>
              <a:rPr lang="en-US" dirty="0"/>
              <a:t>Afternoon Breakouts</a:t>
            </a:r>
          </a:p>
        </p:txBody>
      </p:sp>
    </p:spTree>
    <p:extLst>
      <p:ext uri="{BB962C8B-B14F-4D97-AF65-F5344CB8AC3E}">
        <p14:creationId xmlns:p14="http://schemas.microsoft.com/office/powerpoint/2010/main" val="2579562222"/>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unch until 1:30 PM</a:t>
            </a:r>
          </a:p>
        </p:txBody>
      </p:sp>
      <p:sp>
        <p:nvSpPr>
          <p:cNvPr id="3" name="Text Placeholder 2"/>
          <p:cNvSpPr>
            <a:spLocks noGrp="1"/>
          </p:cNvSpPr>
          <p:nvPr>
            <p:ph type="body" sz="quarter" idx="14"/>
          </p:nvPr>
        </p:nvSpPr>
        <p:spPr/>
        <p:txBody>
          <a:bodyPr/>
          <a:lstStyle/>
          <a:p>
            <a:r>
              <a:rPr lang="en-US" dirty="0"/>
              <a:t>Sessions Resume (in person only) </a:t>
            </a:r>
          </a:p>
          <a:p>
            <a:r>
              <a:rPr lang="en-US" dirty="0"/>
              <a:t>at 1:30 PM EST in designated rooms</a:t>
            </a:r>
          </a:p>
        </p:txBody>
      </p:sp>
    </p:spTree>
    <p:extLst>
      <p:ext uri="{BB962C8B-B14F-4D97-AF65-F5344CB8AC3E}">
        <p14:creationId xmlns:p14="http://schemas.microsoft.com/office/powerpoint/2010/main" val="3335694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1743581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33719" y="75574"/>
            <a:ext cx="3971085" cy="1649956"/>
          </a:xfrm>
        </p:spPr>
        <p:txBody>
          <a:bodyPr/>
          <a:lstStyle/>
          <a:p>
            <a:r>
              <a:rPr lang="en-US" sz="5507" dirty="0"/>
              <a:t>Working with the PGs</a:t>
            </a:r>
          </a:p>
        </p:txBody>
      </p:sp>
      <p:sp>
        <p:nvSpPr>
          <p:cNvPr id="3" name="Picture Placeholder 2"/>
          <p:cNvSpPr>
            <a:spLocks noGrp="1"/>
          </p:cNvSpPr>
          <p:nvPr>
            <p:ph type="pic" sz="quarter" idx="10"/>
          </p:nvPr>
        </p:nvSpPr>
        <p:spPr>
          <a:xfrm>
            <a:off x="7155216" y="1937"/>
            <a:ext cx="5259682" cy="6992587"/>
          </a:xfrm>
          <a:blipFill>
            <a:blip r:embed="rId3"/>
            <a:stretch>
              <a:fillRect/>
            </a:stretch>
          </a:blipFill>
        </p:spPr>
      </p:sp>
      <p:sp>
        <p:nvSpPr>
          <p:cNvPr id="4" name="Title 1"/>
          <p:cNvSpPr txBox="1">
            <a:spLocks/>
          </p:cNvSpPr>
          <p:nvPr/>
        </p:nvSpPr>
        <p:spPr>
          <a:xfrm>
            <a:off x="19601" y="2086103"/>
            <a:ext cx="3576317" cy="2427849"/>
          </a:xfrm>
          <a:prstGeom prst="rect">
            <a:avLst/>
          </a:prstGeom>
        </p:spPr>
        <p:txBody>
          <a:bodyPr vert="horz" wrap="square" lIns="93260" tIns="46630" rIns="93260" bIns="46630" rtlCol="0" anchor="ctr">
            <a:spAutoFit/>
          </a:bodyPr>
          <a:lstStyle>
            <a:lvl1pPr algn="l" defTabSz="914400" rtl="0" eaLnBrk="1" latinLnBrk="0" hangingPunct="1">
              <a:lnSpc>
                <a:spcPct val="90000"/>
              </a:lnSpc>
              <a:spcBef>
                <a:spcPct val="0"/>
              </a:spcBef>
              <a:buNone/>
              <a:defRPr sz="6470" kern="1200" baseline="0">
                <a:gradFill>
                  <a:gsLst>
                    <a:gs pos="1250">
                      <a:schemeClr val="tx1"/>
                    </a:gs>
                    <a:gs pos="100000">
                      <a:schemeClr val="tx1"/>
                    </a:gs>
                  </a:gsLst>
                  <a:lin ang="5400000" scaled="0"/>
                </a:gradFill>
                <a:latin typeface="+mj-lt"/>
                <a:ea typeface="+mj-ea"/>
                <a:cs typeface="+mj-cs"/>
              </a:defRPr>
            </a:lvl1pPr>
          </a:lstStyle>
          <a:p>
            <a:pPr defTabSz="932597"/>
            <a:r>
              <a:rPr lang="en-US" sz="5507" dirty="0">
                <a:gradFill>
                  <a:gsLst>
                    <a:gs pos="1250">
                      <a:prstClr val="black"/>
                    </a:gs>
                    <a:gs pos="100000">
                      <a:prstClr val="black"/>
                    </a:gs>
                  </a:gsLst>
                  <a:lin ang="5400000" scaled="0"/>
                </a:gradFill>
                <a:latin typeface="Calibri Light" panose="020F0302020204030204"/>
              </a:rPr>
              <a:t>Onboarding Services to MAG</a:t>
            </a:r>
          </a:p>
        </p:txBody>
      </p:sp>
      <p:sp>
        <p:nvSpPr>
          <p:cNvPr id="5" name="Title 1"/>
          <p:cNvSpPr txBox="1">
            <a:spLocks/>
          </p:cNvSpPr>
          <p:nvPr/>
        </p:nvSpPr>
        <p:spPr>
          <a:xfrm>
            <a:off x="2618187" y="4986064"/>
            <a:ext cx="4302008" cy="1649956"/>
          </a:xfrm>
          <a:prstGeom prst="rect">
            <a:avLst/>
          </a:prstGeom>
        </p:spPr>
        <p:txBody>
          <a:bodyPr vert="horz" wrap="square" lIns="93260" tIns="46630" rIns="93260" bIns="46630" rtlCol="0" anchor="ctr">
            <a:spAutoFit/>
          </a:bodyPr>
          <a:lstStyle>
            <a:lvl1pPr algn="l" defTabSz="914400" rtl="0" eaLnBrk="1" latinLnBrk="0" hangingPunct="1">
              <a:lnSpc>
                <a:spcPct val="90000"/>
              </a:lnSpc>
              <a:spcBef>
                <a:spcPct val="0"/>
              </a:spcBef>
              <a:buNone/>
              <a:defRPr sz="6470" kern="1200" baseline="0">
                <a:gradFill>
                  <a:gsLst>
                    <a:gs pos="1250">
                      <a:schemeClr val="tx1"/>
                    </a:gs>
                    <a:gs pos="100000">
                      <a:schemeClr val="tx1"/>
                    </a:gs>
                  </a:gsLst>
                  <a:lin ang="5400000" scaled="0"/>
                </a:gradFill>
                <a:latin typeface="+mj-lt"/>
                <a:ea typeface="+mj-ea"/>
                <a:cs typeface="+mj-cs"/>
              </a:defRPr>
            </a:lvl1pPr>
          </a:lstStyle>
          <a:p>
            <a:pPr defTabSz="932597"/>
            <a:r>
              <a:rPr lang="en-US" sz="5507" dirty="0">
                <a:gradFill>
                  <a:gsLst>
                    <a:gs pos="1250">
                      <a:prstClr val="black"/>
                    </a:gs>
                    <a:gs pos="100000">
                      <a:prstClr val="black"/>
                    </a:gs>
                  </a:gsLst>
                  <a:lin ang="5400000" scaled="0"/>
                </a:gradFill>
                <a:latin typeface="Calibri Light" panose="020F0302020204030204"/>
              </a:rPr>
              <a:t>Overcoming Obstacles</a:t>
            </a:r>
          </a:p>
        </p:txBody>
      </p:sp>
      <p:cxnSp>
        <p:nvCxnSpPr>
          <p:cNvPr id="6" name="Straight Connector 5"/>
          <p:cNvCxnSpPr>
            <a:cxnSpLocks/>
          </p:cNvCxnSpPr>
          <p:nvPr/>
        </p:nvCxnSpPr>
        <p:spPr>
          <a:xfrm flipV="1">
            <a:off x="184995" y="1793146"/>
            <a:ext cx="6735201" cy="1578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a:cxnSpLocks/>
          </p:cNvCxnSpPr>
          <p:nvPr/>
        </p:nvCxnSpPr>
        <p:spPr>
          <a:xfrm>
            <a:off x="277252" y="4693235"/>
            <a:ext cx="6642944" cy="33337"/>
          </a:xfrm>
          <a:prstGeom prst="line">
            <a:avLst/>
          </a:prstGeom>
        </p:spPr>
        <p:style>
          <a:lnRef idx="1">
            <a:schemeClr val="accent1"/>
          </a:lnRef>
          <a:fillRef idx="0">
            <a:schemeClr val="accent1"/>
          </a:fillRef>
          <a:effectRef idx="0">
            <a:schemeClr val="accent1"/>
          </a:effectRef>
          <a:fontRef idx="minor">
            <a:schemeClr val="tx1"/>
          </a:fontRef>
        </p:style>
      </p:cxnSp>
      <p:pic>
        <p:nvPicPr>
          <p:cNvPr id="108" name="Picture 107" descr="https://www.bing.com/images/search?q=Road+closed&amp;view=detailv2&amp;qft=+filterui%3alicense-L2_L3_L4&amp;id=8096462DE9F943961A3E2B7DFDF9076B1BCCA7D8&amp;selectedIndex=1&amp;ccid=bpmXl%2fHF&amp;simid=607999338421292430&amp;thid=OIP.M6e999797f1c5df2286ccd896978b4ac8o0&amp;ajaxhist=0" title="CCL - open"/>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4995" y="5215069"/>
            <a:ext cx="1405844" cy="1405844"/>
          </a:xfrm>
          <a:prstGeom prst="rect">
            <a:avLst/>
          </a:prstGeom>
        </p:spPr>
      </p:pic>
      <p:pic>
        <p:nvPicPr>
          <p:cNvPr id="261" name="Picture 26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723763" y="2187001"/>
            <a:ext cx="3196433" cy="2226052"/>
          </a:xfrm>
          <a:prstGeom prst="rect">
            <a:avLst/>
          </a:prstGeom>
        </p:spPr>
      </p:pic>
      <p:grpSp>
        <p:nvGrpSpPr>
          <p:cNvPr id="458" name="Group 457"/>
          <p:cNvGrpSpPr>
            <a:grpSpLocks noChangeAspect="1"/>
          </p:cNvGrpSpPr>
          <p:nvPr/>
        </p:nvGrpSpPr>
        <p:grpSpPr bwMode="auto">
          <a:xfrm>
            <a:off x="184995" y="141479"/>
            <a:ext cx="2613696" cy="1517418"/>
            <a:chOff x="302" y="1344"/>
            <a:chExt cx="3581" cy="2079"/>
          </a:xfrm>
        </p:grpSpPr>
        <p:sp>
          <p:nvSpPr>
            <p:cNvPr id="459" name="AutoShape 3"/>
            <p:cNvSpPr>
              <a:spLocks noChangeAspect="1" noChangeArrowheads="1" noTextEdit="1"/>
            </p:cNvSpPr>
            <p:nvPr/>
          </p:nvSpPr>
          <p:spPr bwMode="auto">
            <a:xfrm>
              <a:off x="302" y="1344"/>
              <a:ext cx="3581" cy="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60" name="Rectangle 5"/>
            <p:cNvSpPr>
              <a:spLocks noChangeArrowheads="1"/>
            </p:cNvSpPr>
            <p:nvPr/>
          </p:nvSpPr>
          <p:spPr bwMode="auto">
            <a:xfrm>
              <a:off x="821"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61" name="Rectangle 6"/>
            <p:cNvSpPr>
              <a:spLocks noChangeArrowheads="1"/>
            </p:cNvSpPr>
            <p:nvPr/>
          </p:nvSpPr>
          <p:spPr bwMode="auto">
            <a:xfrm>
              <a:off x="953"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62" name="Rectangle 7"/>
            <p:cNvSpPr>
              <a:spLocks noChangeArrowheads="1"/>
            </p:cNvSpPr>
            <p:nvPr/>
          </p:nvSpPr>
          <p:spPr bwMode="auto">
            <a:xfrm>
              <a:off x="1084" y="1883"/>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63" name="Rectangle 8"/>
            <p:cNvSpPr>
              <a:spLocks noChangeArrowheads="1"/>
            </p:cNvSpPr>
            <p:nvPr/>
          </p:nvSpPr>
          <p:spPr bwMode="auto">
            <a:xfrm>
              <a:off x="821"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64" name="Rectangle 9"/>
            <p:cNvSpPr>
              <a:spLocks noChangeArrowheads="1"/>
            </p:cNvSpPr>
            <p:nvPr/>
          </p:nvSpPr>
          <p:spPr bwMode="auto">
            <a:xfrm>
              <a:off x="953"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65" name="Rectangle 10"/>
            <p:cNvSpPr>
              <a:spLocks noChangeArrowheads="1"/>
            </p:cNvSpPr>
            <p:nvPr/>
          </p:nvSpPr>
          <p:spPr bwMode="auto">
            <a:xfrm>
              <a:off x="1084" y="2046"/>
              <a:ext cx="118"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66" name="Rectangle 11"/>
            <p:cNvSpPr>
              <a:spLocks noChangeArrowheads="1"/>
            </p:cNvSpPr>
            <p:nvPr/>
          </p:nvSpPr>
          <p:spPr bwMode="auto">
            <a:xfrm>
              <a:off x="821"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67" name="Rectangle 12"/>
            <p:cNvSpPr>
              <a:spLocks noChangeArrowheads="1"/>
            </p:cNvSpPr>
            <p:nvPr/>
          </p:nvSpPr>
          <p:spPr bwMode="auto">
            <a:xfrm>
              <a:off x="953"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68" name="Rectangle 13"/>
            <p:cNvSpPr>
              <a:spLocks noChangeArrowheads="1"/>
            </p:cNvSpPr>
            <p:nvPr/>
          </p:nvSpPr>
          <p:spPr bwMode="auto">
            <a:xfrm>
              <a:off x="1084" y="2210"/>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69" name="Freeform 14"/>
            <p:cNvSpPr>
              <a:spLocks/>
            </p:cNvSpPr>
            <p:nvPr/>
          </p:nvSpPr>
          <p:spPr bwMode="auto">
            <a:xfrm>
              <a:off x="821" y="1952"/>
              <a:ext cx="117" cy="79"/>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70" name="Freeform 15"/>
            <p:cNvSpPr>
              <a:spLocks/>
            </p:cNvSpPr>
            <p:nvPr/>
          </p:nvSpPr>
          <p:spPr bwMode="auto">
            <a:xfrm>
              <a:off x="821" y="2046"/>
              <a:ext cx="117" cy="6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71" name="Freeform 16"/>
            <p:cNvSpPr>
              <a:spLocks/>
            </p:cNvSpPr>
            <p:nvPr/>
          </p:nvSpPr>
          <p:spPr bwMode="auto">
            <a:xfrm>
              <a:off x="953" y="1973"/>
              <a:ext cx="72" cy="58"/>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72" name="Freeform 17"/>
            <p:cNvSpPr>
              <a:spLocks/>
            </p:cNvSpPr>
            <p:nvPr/>
          </p:nvSpPr>
          <p:spPr bwMode="auto">
            <a:xfrm>
              <a:off x="953" y="2046"/>
              <a:ext cx="104" cy="6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73" name="Rectangle 18"/>
            <p:cNvSpPr>
              <a:spLocks noChangeArrowheads="1"/>
            </p:cNvSpPr>
            <p:nvPr/>
          </p:nvSpPr>
          <p:spPr bwMode="auto">
            <a:xfrm>
              <a:off x="303" y="1345"/>
              <a:ext cx="3581" cy="207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74" name="Rectangle 19"/>
            <p:cNvSpPr>
              <a:spLocks noChangeArrowheads="1"/>
            </p:cNvSpPr>
            <p:nvPr/>
          </p:nvSpPr>
          <p:spPr bwMode="auto">
            <a:xfrm>
              <a:off x="308" y="2646"/>
              <a:ext cx="3576" cy="777"/>
            </a:xfrm>
            <a:prstGeom prst="rect">
              <a:avLst/>
            </a:prstGeom>
            <a:solidFill>
              <a:srgbClr val="9AB3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75" name="Rectangle 20"/>
            <p:cNvSpPr>
              <a:spLocks noChangeArrowheads="1"/>
            </p:cNvSpPr>
            <p:nvPr/>
          </p:nvSpPr>
          <p:spPr bwMode="auto">
            <a:xfrm>
              <a:off x="821"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76" name="Rectangle 21"/>
            <p:cNvSpPr>
              <a:spLocks noChangeArrowheads="1"/>
            </p:cNvSpPr>
            <p:nvPr/>
          </p:nvSpPr>
          <p:spPr bwMode="auto">
            <a:xfrm>
              <a:off x="953"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77" name="Rectangle 22"/>
            <p:cNvSpPr>
              <a:spLocks noChangeArrowheads="1"/>
            </p:cNvSpPr>
            <p:nvPr/>
          </p:nvSpPr>
          <p:spPr bwMode="auto">
            <a:xfrm>
              <a:off x="1084" y="1883"/>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78" name="Rectangle 23"/>
            <p:cNvSpPr>
              <a:spLocks noChangeArrowheads="1"/>
            </p:cNvSpPr>
            <p:nvPr/>
          </p:nvSpPr>
          <p:spPr bwMode="auto">
            <a:xfrm>
              <a:off x="821"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79" name="Rectangle 24"/>
            <p:cNvSpPr>
              <a:spLocks noChangeArrowheads="1"/>
            </p:cNvSpPr>
            <p:nvPr/>
          </p:nvSpPr>
          <p:spPr bwMode="auto">
            <a:xfrm>
              <a:off x="953"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80" name="Rectangle 25"/>
            <p:cNvSpPr>
              <a:spLocks noChangeArrowheads="1"/>
            </p:cNvSpPr>
            <p:nvPr/>
          </p:nvSpPr>
          <p:spPr bwMode="auto">
            <a:xfrm>
              <a:off x="1084" y="2046"/>
              <a:ext cx="118"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81" name="Rectangle 26"/>
            <p:cNvSpPr>
              <a:spLocks noChangeArrowheads="1"/>
            </p:cNvSpPr>
            <p:nvPr/>
          </p:nvSpPr>
          <p:spPr bwMode="auto">
            <a:xfrm>
              <a:off x="821"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82" name="Rectangle 27"/>
            <p:cNvSpPr>
              <a:spLocks noChangeArrowheads="1"/>
            </p:cNvSpPr>
            <p:nvPr/>
          </p:nvSpPr>
          <p:spPr bwMode="auto">
            <a:xfrm>
              <a:off x="953"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83" name="Rectangle 28"/>
            <p:cNvSpPr>
              <a:spLocks noChangeArrowheads="1"/>
            </p:cNvSpPr>
            <p:nvPr/>
          </p:nvSpPr>
          <p:spPr bwMode="auto">
            <a:xfrm>
              <a:off x="1084" y="2210"/>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84" name="Freeform 29"/>
            <p:cNvSpPr>
              <a:spLocks/>
            </p:cNvSpPr>
            <p:nvPr/>
          </p:nvSpPr>
          <p:spPr bwMode="auto">
            <a:xfrm>
              <a:off x="821" y="1952"/>
              <a:ext cx="117" cy="79"/>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85" name="Freeform 30"/>
            <p:cNvSpPr>
              <a:spLocks/>
            </p:cNvSpPr>
            <p:nvPr/>
          </p:nvSpPr>
          <p:spPr bwMode="auto">
            <a:xfrm>
              <a:off x="821" y="2046"/>
              <a:ext cx="117" cy="6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86" name="Freeform 31"/>
            <p:cNvSpPr>
              <a:spLocks/>
            </p:cNvSpPr>
            <p:nvPr/>
          </p:nvSpPr>
          <p:spPr bwMode="auto">
            <a:xfrm>
              <a:off x="953" y="1973"/>
              <a:ext cx="72" cy="58"/>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87" name="Freeform 32"/>
            <p:cNvSpPr>
              <a:spLocks/>
            </p:cNvSpPr>
            <p:nvPr/>
          </p:nvSpPr>
          <p:spPr bwMode="auto">
            <a:xfrm>
              <a:off x="953" y="2046"/>
              <a:ext cx="104" cy="6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88" name="Freeform 33"/>
            <p:cNvSpPr>
              <a:spLocks/>
            </p:cNvSpPr>
            <p:nvPr/>
          </p:nvSpPr>
          <p:spPr bwMode="auto">
            <a:xfrm>
              <a:off x="3125" y="1876"/>
              <a:ext cx="184" cy="182"/>
            </a:xfrm>
            <a:custGeom>
              <a:avLst/>
              <a:gdLst>
                <a:gd name="T0" fmla="*/ 7 w 197"/>
                <a:gd name="T1" fmla="*/ 87 h 197"/>
                <a:gd name="T2" fmla="*/ 87 w 197"/>
                <a:gd name="T3" fmla="*/ 191 h 197"/>
                <a:gd name="T4" fmla="*/ 191 w 197"/>
                <a:gd name="T5" fmla="*/ 110 h 197"/>
                <a:gd name="T6" fmla="*/ 111 w 197"/>
                <a:gd name="T7" fmla="*/ 7 h 197"/>
                <a:gd name="T8" fmla="*/ 7 w 197"/>
                <a:gd name="T9" fmla="*/ 87 h 197"/>
              </a:gdLst>
              <a:ahLst/>
              <a:cxnLst>
                <a:cxn ang="0">
                  <a:pos x="T0" y="T1"/>
                </a:cxn>
                <a:cxn ang="0">
                  <a:pos x="T2" y="T3"/>
                </a:cxn>
                <a:cxn ang="0">
                  <a:pos x="T4" y="T5"/>
                </a:cxn>
                <a:cxn ang="0">
                  <a:pos x="T6" y="T7"/>
                </a:cxn>
                <a:cxn ang="0">
                  <a:pos x="T8" y="T9"/>
                </a:cxn>
              </a:cxnLst>
              <a:rect l="0" t="0" r="r" b="b"/>
              <a:pathLst>
                <a:path w="197" h="197">
                  <a:moveTo>
                    <a:pt x="7" y="87"/>
                  </a:moveTo>
                  <a:cubicBezTo>
                    <a:pt x="0" y="137"/>
                    <a:pt x="36" y="184"/>
                    <a:pt x="87" y="191"/>
                  </a:cubicBezTo>
                  <a:cubicBezTo>
                    <a:pt x="138" y="197"/>
                    <a:pt x="184" y="161"/>
                    <a:pt x="191" y="110"/>
                  </a:cubicBezTo>
                  <a:cubicBezTo>
                    <a:pt x="197" y="60"/>
                    <a:pt x="161" y="13"/>
                    <a:pt x="111" y="7"/>
                  </a:cubicBezTo>
                  <a:cubicBezTo>
                    <a:pt x="60" y="0"/>
                    <a:pt x="14" y="36"/>
                    <a:pt x="7" y="8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89" name="Oval 34"/>
            <p:cNvSpPr>
              <a:spLocks noChangeArrowheads="1"/>
            </p:cNvSpPr>
            <p:nvPr/>
          </p:nvSpPr>
          <p:spPr bwMode="auto">
            <a:xfrm>
              <a:off x="2878" y="1881"/>
              <a:ext cx="173" cy="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90" name="Oval 35"/>
            <p:cNvSpPr>
              <a:spLocks noChangeArrowheads="1"/>
            </p:cNvSpPr>
            <p:nvPr/>
          </p:nvSpPr>
          <p:spPr bwMode="auto">
            <a:xfrm>
              <a:off x="2625" y="1881"/>
              <a:ext cx="173" cy="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91" name="Freeform 36"/>
            <p:cNvSpPr>
              <a:spLocks/>
            </p:cNvSpPr>
            <p:nvPr/>
          </p:nvSpPr>
          <p:spPr bwMode="auto">
            <a:xfrm>
              <a:off x="1689" y="2148"/>
              <a:ext cx="71" cy="92"/>
            </a:xfrm>
            <a:custGeom>
              <a:avLst/>
              <a:gdLst>
                <a:gd name="T0" fmla="*/ 52 w 76"/>
                <a:gd name="T1" fmla="*/ 74 h 99"/>
                <a:gd name="T2" fmla="*/ 73 w 76"/>
                <a:gd name="T3" fmla="*/ 34 h 99"/>
                <a:gd name="T4" fmla="*/ 69 w 76"/>
                <a:gd name="T5" fmla="*/ 22 h 99"/>
                <a:gd name="T6" fmla="*/ 64 w 76"/>
                <a:gd name="T7" fmla="*/ 10 h 99"/>
                <a:gd name="T8" fmla="*/ 60 w 76"/>
                <a:gd name="T9" fmla="*/ 0 h 99"/>
                <a:gd name="T10" fmla="*/ 55 w 76"/>
                <a:gd name="T11" fmla="*/ 9 h 99"/>
                <a:gd name="T12" fmla="*/ 46 w 76"/>
                <a:gd name="T13" fmla="*/ 14 h 99"/>
                <a:gd name="T14" fmla="*/ 41 w 76"/>
                <a:gd name="T15" fmla="*/ 25 h 99"/>
                <a:gd name="T16" fmla="*/ 32 w 76"/>
                <a:gd name="T17" fmla="*/ 16 h 99"/>
                <a:gd name="T18" fmla="*/ 28 w 76"/>
                <a:gd name="T19" fmla="*/ 47 h 99"/>
                <a:gd name="T20" fmla="*/ 28 w 76"/>
                <a:gd name="T21" fmla="*/ 53 h 99"/>
                <a:gd name="T22" fmla="*/ 0 w 76"/>
                <a:gd name="T23" fmla="*/ 91 h 99"/>
                <a:gd name="T24" fmla="*/ 34 w 76"/>
                <a:gd name="T25" fmla="*/ 99 h 99"/>
                <a:gd name="T26" fmla="*/ 52 w 76"/>
                <a:gd name="T27" fmla="*/ 7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99">
                  <a:moveTo>
                    <a:pt x="52" y="74"/>
                  </a:moveTo>
                  <a:cubicBezTo>
                    <a:pt x="67" y="59"/>
                    <a:pt x="69" y="51"/>
                    <a:pt x="73" y="34"/>
                  </a:cubicBezTo>
                  <a:cubicBezTo>
                    <a:pt x="76" y="23"/>
                    <a:pt x="73" y="19"/>
                    <a:pt x="69" y="22"/>
                  </a:cubicBezTo>
                  <a:cubicBezTo>
                    <a:pt x="74" y="13"/>
                    <a:pt x="68" y="3"/>
                    <a:pt x="64" y="10"/>
                  </a:cubicBezTo>
                  <a:cubicBezTo>
                    <a:pt x="65" y="7"/>
                    <a:pt x="64" y="1"/>
                    <a:pt x="60" y="0"/>
                  </a:cubicBezTo>
                  <a:cubicBezTo>
                    <a:pt x="56" y="0"/>
                    <a:pt x="55" y="6"/>
                    <a:pt x="55" y="9"/>
                  </a:cubicBezTo>
                  <a:cubicBezTo>
                    <a:pt x="52" y="6"/>
                    <a:pt x="47" y="6"/>
                    <a:pt x="46" y="14"/>
                  </a:cubicBezTo>
                  <a:cubicBezTo>
                    <a:pt x="45" y="21"/>
                    <a:pt x="41" y="25"/>
                    <a:pt x="41" y="25"/>
                  </a:cubicBezTo>
                  <a:cubicBezTo>
                    <a:pt x="40" y="17"/>
                    <a:pt x="36" y="14"/>
                    <a:pt x="32" y="16"/>
                  </a:cubicBezTo>
                  <a:cubicBezTo>
                    <a:pt x="32" y="24"/>
                    <a:pt x="28" y="36"/>
                    <a:pt x="28" y="47"/>
                  </a:cubicBezTo>
                  <a:cubicBezTo>
                    <a:pt x="28" y="49"/>
                    <a:pt x="28" y="51"/>
                    <a:pt x="28" y="53"/>
                  </a:cubicBezTo>
                  <a:cubicBezTo>
                    <a:pt x="0" y="91"/>
                    <a:pt x="0" y="91"/>
                    <a:pt x="0" y="91"/>
                  </a:cubicBezTo>
                  <a:cubicBezTo>
                    <a:pt x="34" y="99"/>
                    <a:pt x="34" y="99"/>
                    <a:pt x="34" y="99"/>
                  </a:cubicBezTo>
                  <a:lnTo>
                    <a:pt x="52"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92" name="Freeform 37"/>
            <p:cNvSpPr>
              <a:spLocks/>
            </p:cNvSpPr>
            <p:nvPr/>
          </p:nvSpPr>
          <p:spPr bwMode="auto">
            <a:xfrm>
              <a:off x="1698" y="2201"/>
              <a:ext cx="36" cy="32"/>
            </a:xfrm>
            <a:custGeom>
              <a:avLst/>
              <a:gdLst>
                <a:gd name="T0" fmla="*/ 36 w 36"/>
                <a:gd name="T1" fmla="*/ 23 h 32"/>
                <a:gd name="T2" fmla="*/ 7 w 36"/>
                <a:gd name="T3" fmla="*/ 0 h 32"/>
                <a:gd name="T4" fmla="*/ 0 w 36"/>
                <a:gd name="T5" fmla="*/ 9 h 32"/>
                <a:gd name="T6" fmla="*/ 29 w 36"/>
                <a:gd name="T7" fmla="*/ 32 h 32"/>
                <a:gd name="T8" fmla="*/ 36 w 36"/>
                <a:gd name="T9" fmla="*/ 23 h 32"/>
              </a:gdLst>
              <a:ahLst/>
              <a:cxnLst>
                <a:cxn ang="0">
                  <a:pos x="T0" y="T1"/>
                </a:cxn>
                <a:cxn ang="0">
                  <a:pos x="T2" y="T3"/>
                </a:cxn>
                <a:cxn ang="0">
                  <a:pos x="T4" y="T5"/>
                </a:cxn>
                <a:cxn ang="0">
                  <a:pos x="T6" y="T7"/>
                </a:cxn>
                <a:cxn ang="0">
                  <a:pos x="T8" y="T9"/>
                </a:cxn>
              </a:cxnLst>
              <a:rect l="0" t="0" r="r" b="b"/>
              <a:pathLst>
                <a:path w="36" h="32">
                  <a:moveTo>
                    <a:pt x="36" y="23"/>
                  </a:moveTo>
                  <a:lnTo>
                    <a:pt x="7" y="0"/>
                  </a:lnTo>
                  <a:lnTo>
                    <a:pt x="0" y="9"/>
                  </a:lnTo>
                  <a:lnTo>
                    <a:pt x="29" y="32"/>
                  </a:lnTo>
                  <a:lnTo>
                    <a:pt x="36" y="2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93" name="Freeform 38"/>
            <p:cNvSpPr>
              <a:spLocks/>
            </p:cNvSpPr>
            <p:nvPr/>
          </p:nvSpPr>
          <p:spPr bwMode="auto">
            <a:xfrm>
              <a:off x="1633" y="2263"/>
              <a:ext cx="52" cy="51"/>
            </a:xfrm>
            <a:custGeom>
              <a:avLst/>
              <a:gdLst>
                <a:gd name="T0" fmla="*/ 9 w 56"/>
                <a:gd name="T1" fmla="*/ 12 h 55"/>
                <a:gd name="T2" fmla="*/ 43 w 56"/>
                <a:gd name="T3" fmla="*/ 8 h 55"/>
                <a:gd name="T4" fmla="*/ 48 w 56"/>
                <a:gd name="T5" fmla="*/ 43 h 55"/>
                <a:gd name="T6" fmla="*/ 13 w 56"/>
                <a:gd name="T7" fmla="*/ 47 h 55"/>
                <a:gd name="T8" fmla="*/ 9 w 56"/>
                <a:gd name="T9" fmla="*/ 12 h 55"/>
              </a:gdLst>
              <a:ahLst/>
              <a:cxnLst>
                <a:cxn ang="0">
                  <a:pos x="T0" y="T1"/>
                </a:cxn>
                <a:cxn ang="0">
                  <a:pos x="T2" y="T3"/>
                </a:cxn>
                <a:cxn ang="0">
                  <a:pos x="T4" y="T5"/>
                </a:cxn>
                <a:cxn ang="0">
                  <a:pos x="T6" y="T7"/>
                </a:cxn>
                <a:cxn ang="0">
                  <a:pos x="T8" y="T9"/>
                </a:cxn>
              </a:cxnLst>
              <a:rect l="0" t="0" r="r" b="b"/>
              <a:pathLst>
                <a:path w="56" h="55">
                  <a:moveTo>
                    <a:pt x="9" y="12"/>
                  </a:moveTo>
                  <a:cubicBezTo>
                    <a:pt x="17" y="2"/>
                    <a:pt x="33" y="0"/>
                    <a:pt x="43" y="8"/>
                  </a:cubicBezTo>
                  <a:cubicBezTo>
                    <a:pt x="54" y="17"/>
                    <a:pt x="56" y="32"/>
                    <a:pt x="48" y="43"/>
                  </a:cubicBezTo>
                  <a:cubicBezTo>
                    <a:pt x="39" y="54"/>
                    <a:pt x="24" y="55"/>
                    <a:pt x="13" y="47"/>
                  </a:cubicBezTo>
                  <a:cubicBezTo>
                    <a:pt x="2" y="39"/>
                    <a:pt x="0" y="23"/>
                    <a:pt x="9" y="1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94" name="Freeform 39"/>
            <p:cNvSpPr>
              <a:spLocks/>
            </p:cNvSpPr>
            <p:nvPr/>
          </p:nvSpPr>
          <p:spPr bwMode="auto">
            <a:xfrm>
              <a:off x="1641" y="2210"/>
              <a:ext cx="87" cy="93"/>
            </a:xfrm>
            <a:custGeom>
              <a:avLst/>
              <a:gdLst>
                <a:gd name="T0" fmla="*/ 87 w 87"/>
                <a:gd name="T1" fmla="*/ 23 h 93"/>
                <a:gd name="T2" fmla="*/ 56 w 87"/>
                <a:gd name="T3" fmla="*/ 0 h 93"/>
                <a:gd name="T4" fmla="*/ 0 w 87"/>
                <a:gd name="T5" fmla="*/ 65 h 93"/>
                <a:gd name="T6" fmla="*/ 37 w 87"/>
                <a:gd name="T7" fmla="*/ 93 h 93"/>
                <a:gd name="T8" fmla="*/ 87 w 87"/>
                <a:gd name="T9" fmla="*/ 23 h 93"/>
              </a:gdLst>
              <a:ahLst/>
              <a:cxnLst>
                <a:cxn ang="0">
                  <a:pos x="T0" y="T1"/>
                </a:cxn>
                <a:cxn ang="0">
                  <a:pos x="T2" y="T3"/>
                </a:cxn>
                <a:cxn ang="0">
                  <a:pos x="T4" y="T5"/>
                </a:cxn>
                <a:cxn ang="0">
                  <a:pos x="T6" y="T7"/>
                </a:cxn>
                <a:cxn ang="0">
                  <a:pos x="T8" y="T9"/>
                </a:cxn>
              </a:cxnLst>
              <a:rect l="0" t="0" r="r" b="b"/>
              <a:pathLst>
                <a:path w="87" h="93">
                  <a:moveTo>
                    <a:pt x="87" y="23"/>
                  </a:moveTo>
                  <a:lnTo>
                    <a:pt x="56" y="0"/>
                  </a:lnTo>
                  <a:lnTo>
                    <a:pt x="0" y="65"/>
                  </a:lnTo>
                  <a:lnTo>
                    <a:pt x="37" y="93"/>
                  </a:lnTo>
                  <a:lnTo>
                    <a:pt x="87" y="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95" name="Freeform 40"/>
            <p:cNvSpPr>
              <a:spLocks/>
            </p:cNvSpPr>
            <p:nvPr/>
          </p:nvSpPr>
          <p:spPr bwMode="auto">
            <a:xfrm>
              <a:off x="1610" y="2025"/>
              <a:ext cx="328" cy="204"/>
            </a:xfrm>
            <a:custGeom>
              <a:avLst/>
              <a:gdLst>
                <a:gd name="T0" fmla="*/ 346 w 351"/>
                <a:gd name="T1" fmla="*/ 143 h 220"/>
                <a:gd name="T2" fmla="*/ 340 w 351"/>
                <a:gd name="T3" fmla="*/ 133 h 220"/>
                <a:gd name="T4" fmla="*/ 341 w 351"/>
                <a:gd name="T5" fmla="*/ 128 h 220"/>
                <a:gd name="T6" fmla="*/ 301 w 351"/>
                <a:gd name="T7" fmla="*/ 57 h 220"/>
                <a:gd name="T8" fmla="*/ 284 w 351"/>
                <a:gd name="T9" fmla="*/ 52 h 220"/>
                <a:gd name="T10" fmla="*/ 242 w 351"/>
                <a:gd name="T11" fmla="*/ 59 h 220"/>
                <a:gd name="T12" fmla="*/ 219 w 351"/>
                <a:gd name="T13" fmla="*/ 26 h 220"/>
                <a:gd name="T14" fmla="*/ 203 w 351"/>
                <a:gd name="T15" fmla="*/ 15 h 220"/>
                <a:gd name="T16" fmla="*/ 176 w 351"/>
                <a:gd name="T17" fmla="*/ 6 h 220"/>
                <a:gd name="T18" fmla="*/ 80 w 351"/>
                <a:gd name="T19" fmla="*/ 74 h 220"/>
                <a:gd name="T20" fmla="*/ 80 w 351"/>
                <a:gd name="T21" fmla="*/ 76 h 220"/>
                <a:gd name="T22" fmla="*/ 79 w 351"/>
                <a:gd name="T23" fmla="*/ 76 h 220"/>
                <a:gd name="T24" fmla="*/ 2 w 351"/>
                <a:gd name="T25" fmla="*/ 133 h 220"/>
                <a:gd name="T26" fmla="*/ 10 w 351"/>
                <a:gd name="T27" fmla="*/ 175 h 220"/>
                <a:gd name="T28" fmla="*/ 27 w 351"/>
                <a:gd name="T29" fmla="*/ 180 h 220"/>
                <a:gd name="T30" fmla="*/ 288 w 351"/>
                <a:gd name="T31" fmla="*/ 219 h 220"/>
                <a:gd name="T32" fmla="*/ 319 w 351"/>
                <a:gd name="T33" fmla="*/ 214 h 220"/>
                <a:gd name="T34" fmla="*/ 350 w 351"/>
                <a:gd name="T35" fmla="*/ 173 h 220"/>
                <a:gd name="T36" fmla="*/ 346 w 351"/>
                <a:gd name="T37" fmla="*/ 14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1" h="220">
                  <a:moveTo>
                    <a:pt x="346" y="143"/>
                  </a:moveTo>
                  <a:cubicBezTo>
                    <a:pt x="344" y="140"/>
                    <a:pt x="342" y="136"/>
                    <a:pt x="340" y="133"/>
                  </a:cubicBezTo>
                  <a:cubicBezTo>
                    <a:pt x="340" y="131"/>
                    <a:pt x="340" y="130"/>
                    <a:pt x="341" y="128"/>
                  </a:cubicBezTo>
                  <a:cubicBezTo>
                    <a:pt x="345" y="98"/>
                    <a:pt x="328" y="69"/>
                    <a:pt x="301" y="57"/>
                  </a:cubicBezTo>
                  <a:cubicBezTo>
                    <a:pt x="296" y="54"/>
                    <a:pt x="290" y="53"/>
                    <a:pt x="284" y="52"/>
                  </a:cubicBezTo>
                  <a:cubicBezTo>
                    <a:pt x="269" y="49"/>
                    <a:pt x="254" y="52"/>
                    <a:pt x="242" y="59"/>
                  </a:cubicBezTo>
                  <a:cubicBezTo>
                    <a:pt x="237" y="46"/>
                    <a:pt x="229" y="35"/>
                    <a:pt x="219" y="26"/>
                  </a:cubicBezTo>
                  <a:cubicBezTo>
                    <a:pt x="214" y="22"/>
                    <a:pt x="209" y="18"/>
                    <a:pt x="203" y="15"/>
                  </a:cubicBezTo>
                  <a:cubicBezTo>
                    <a:pt x="195" y="11"/>
                    <a:pt x="185" y="8"/>
                    <a:pt x="176" y="6"/>
                  </a:cubicBezTo>
                  <a:cubicBezTo>
                    <a:pt x="131" y="0"/>
                    <a:pt x="88" y="30"/>
                    <a:pt x="80" y="74"/>
                  </a:cubicBezTo>
                  <a:cubicBezTo>
                    <a:pt x="80" y="75"/>
                    <a:pt x="80" y="75"/>
                    <a:pt x="80" y="76"/>
                  </a:cubicBezTo>
                  <a:cubicBezTo>
                    <a:pt x="80" y="76"/>
                    <a:pt x="79" y="76"/>
                    <a:pt x="79" y="76"/>
                  </a:cubicBezTo>
                  <a:cubicBezTo>
                    <a:pt x="42" y="70"/>
                    <a:pt x="8" y="96"/>
                    <a:pt x="2" y="133"/>
                  </a:cubicBezTo>
                  <a:cubicBezTo>
                    <a:pt x="0" y="148"/>
                    <a:pt x="3" y="162"/>
                    <a:pt x="10" y="175"/>
                  </a:cubicBezTo>
                  <a:cubicBezTo>
                    <a:pt x="15" y="177"/>
                    <a:pt x="21" y="179"/>
                    <a:pt x="27" y="180"/>
                  </a:cubicBezTo>
                  <a:cubicBezTo>
                    <a:pt x="288" y="219"/>
                    <a:pt x="288" y="219"/>
                    <a:pt x="288" y="219"/>
                  </a:cubicBezTo>
                  <a:cubicBezTo>
                    <a:pt x="299" y="220"/>
                    <a:pt x="310" y="219"/>
                    <a:pt x="319" y="214"/>
                  </a:cubicBezTo>
                  <a:cubicBezTo>
                    <a:pt x="335" y="207"/>
                    <a:pt x="347" y="192"/>
                    <a:pt x="350" y="173"/>
                  </a:cubicBezTo>
                  <a:cubicBezTo>
                    <a:pt x="351" y="163"/>
                    <a:pt x="350" y="152"/>
                    <a:pt x="346" y="14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96" name="Freeform 41"/>
            <p:cNvSpPr>
              <a:spLocks/>
            </p:cNvSpPr>
            <p:nvPr/>
          </p:nvSpPr>
          <p:spPr bwMode="auto">
            <a:xfrm>
              <a:off x="1951" y="1647"/>
              <a:ext cx="395" cy="431"/>
            </a:xfrm>
            <a:custGeom>
              <a:avLst/>
              <a:gdLst>
                <a:gd name="T0" fmla="*/ 0 w 424"/>
                <a:gd name="T1" fmla="*/ 464 h 464"/>
                <a:gd name="T2" fmla="*/ 0 w 424"/>
                <a:gd name="T3" fmla="*/ 212 h 464"/>
                <a:gd name="T4" fmla="*/ 212 w 424"/>
                <a:gd name="T5" fmla="*/ 0 h 464"/>
                <a:gd name="T6" fmla="*/ 424 w 424"/>
                <a:gd name="T7" fmla="*/ 212 h 464"/>
                <a:gd name="T8" fmla="*/ 424 w 424"/>
                <a:gd name="T9" fmla="*/ 464 h 464"/>
                <a:gd name="T10" fmla="*/ 0 w 424"/>
                <a:gd name="T11" fmla="*/ 464 h 464"/>
              </a:gdLst>
              <a:ahLst/>
              <a:cxnLst>
                <a:cxn ang="0">
                  <a:pos x="T0" y="T1"/>
                </a:cxn>
                <a:cxn ang="0">
                  <a:pos x="T2" y="T3"/>
                </a:cxn>
                <a:cxn ang="0">
                  <a:pos x="T4" y="T5"/>
                </a:cxn>
                <a:cxn ang="0">
                  <a:pos x="T6" y="T7"/>
                </a:cxn>
                <a:cxn ang="0">
                  <a:pos x="T8" y="T9"/>
                </a:cxn>
                <a:cxn ang="0">
                  <a:pos x="T10" y="T11"/>
                </a:cxn>
              </a:cxnLst>
              <a:rect l="0" t="0" r="r" b="b"/>
              <a:pathLst>
                <a:path w="424" h="464">
                  <a:moveTo>
                    <a:pt x="0" y="464"/>
                  </a:moveTo>
                  <a:cubicBezTo>
                    <a:pt x="0" y="212"/>
                    <a:pt x="0" y="212"/>
                    <a:pt x="0" y="212"/>
                  </a:cubicBezTo>
                  <a:cubicBezTo>
                    <a:pt x="0" y="95"/>
                    <a:pt x="95" y="0"/>
                    <a:pt x="212" y="0"/>
                  </a:cubicBezTo>
                  <a:cubicBezTo>
                    <a:pt x="329" y="0"/>
                    <a:pt x="424" y="95"/>
                    <a:pt x="424" y="212"/>
                  </a:cubicBezTo>
                  <a:cubicBezTo>
                    <a:pt x="424" y="464"/>
                    <a:pt x="424" y="464"/>
                    <a:pt x="424" y="464"/>
                  </a:cubicBezTo>
                  <a:lnTo>
                    <a:pt x="0" y="4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97" name="Freeform 42"/>
            <p:cNvSpPr>
              <a:spLocks noEditPoints="1"/>
            </p:cNvSpPr>
            <p:nvPr/>
          </p:nvSpPr>
          <p:spPr bwMode="auto">
            <a:xfrm>
              <a:off x="1944" y="1641"/>
              <a:ext cx="409" cy="443"/>
            </a:xfrm>
            <a:custGeom>
              <a:avLst/>
              <a:gdLst>
                <a:gd name="T0" fmla="*/ 219 w 438"/>
                <a:gd name="T1" fmla="*/ 14 h 478"/>
                <a:gd name="T2" fmla="*/ 424 w 438"/>
                <a:gd name="T3" fmla="*/ 219 h 478"/>
                <a:gd name="T4" fmla="*/ 424 w 438"/>
                <a:gd name="T5" fmla="*/ 465 h 478"/>
                <a:gd name="T6" fmla="*/ 13 w 438"/>
                <a:gd name="T7" fmla="*/ 465 h 478"/>
                <a:gd name="T8" fmla="*/ 13 w 438"/>
                <a:gd name="T9" fmla="*/ 219 h 478"/>
                <a:gd name="T10" fmla="*/ 219 w 438"/>
                <a:gd name="T11" fmla="*/ 14 h 478"/>
                <a:gd name="T12" fmla="*/ 219 w 438"/>
                <a:gd name="T13" fmla="*/ 0 h 478"/>
                <a:gd name="T14" fmla="*/ 0 w 438"/>
                <a:gd name="T15" fmla="*/ 219 h 478"/>
                <a:gd name="T16" fmla="*/ 0 w 438"/>
                <a:gd name="T17" fmla="*/ 478 h 478"/>
                <a:gd name="T18" fmla="*/ 438 w 438"/>
                <a:gd name="T19" fmla="*/ 478 h 478"/>
                <a:gd name="T20" fmla="*/ 438 w 438"/>
                <a:gd name="T21" fmla="*/ 219 h 478"/>
                <a:gd name="T22" fmla="*/ 219 w 438"/>
                <a:gd name="T23"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478">
                  <a:moveTo>
                    <a:pt x="219" y="14"/>
                  </a:moveTo>
                  <a:cubicBezTo>
                    <a:pt x="332" y="14"/>
                    <a:pt x="424" y="106"/>
                    <a:pt x="424" y="219"/>
                  </a:cubicBezTo>
                  <a:cubicBezTo>
                    <a:pt x="424" y="465"/>
                    <a:pt x="424" y="465"/>
                    <a:pt x="424" y="465"/>
                  </a:cubicBezTo>
                  <a:cubicBezTo>
                    <a:pt x="13" y="465"/>
                    <a:pt x="13" y="465"/>
                    <a:pt x="13" y="465"/>
                  </a:cubicBezTo>
                  <a:cubicBezTo>
                    <a:pt x="13" y="219"/>
                    <a:pt x="13" y="219"/>
                    <a:pt x="13" y="219"/>
                  </a:cubicBezTo>
                  <a:cubicBezTo>
                    <a:pt x="13" y="106"/>
                    <a:pt x="105" y="14"/>
                    <a:pt x="219" y="14"/>
                  </a:cubicBezTo>
                  <a:moveTo>
                    <a:pt x="219" y="0"/>
                  </a:moveTo>
                  <a:cubicBezTo>
                    <a:pt x="98" y="0"/>
                    <a:pt x="0" y="98"/>
                    <a:pt x="0" y="219"/>
                  </a:cubicBezTo>
                  <a:cubicBezTo>
                    <a:pt x="0" y="478"/>
                    <a:pt x="0" y="478"/>
                    <a:pt x="0" y="478"/>
                  </a:cubicBezTo>
                  <a:cubicBezTo>
                    <a:pt x="438" y="478"/>
                    <a:pt x="438" y="478"/>
                    <a:pt x="438" y="478"/>
                  </a:cubicBezTo>
                  <a:cubicBezTo>
                    <a:pt x="438" y="219"/>
                    <a:pt x="438" y="219"/>
                    <a:pt x="438" y="219"/>
                  </a:cubicBezTo>
                  <a:cubicBezTo>
                    <a:pt x="438" y="98"/>
                    <a:pt x="340" y="0"/>
                    <a:pt x="219"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98" name="Oval 43"/>
            <p:cNvSpPr>
              <a:spLocks noChangeArrowheads="1"/>
            </p:cNvSpPr>
            <p:nvPr/>
          </p:nvSpPr>
          <p:spPr bwMode="auto">
            <a:xfrm>
              <a:off x="1983" y="1672"/>
              <a:ext cx="330" cy="328"/>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499" name="Oval 44"/>
            <p:cNvSpPr>
              <a:spLocks noChangeArrowheads="1"/>
            </p:cNvSpPr>
            <p:nvPr/>
          </p:nvSpPr>
          <p:spPr bwMode="auto">
            <a:xfrm>
              <a:off x="2012" y="1700"/>
              <a:ext cx="273" cy="271"/>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00" name="Freeform 45"/>
            <p:cNvSpPr>
              <a:spLocks/>
            </p:cNvSpPr>
            <p:nvPr/>
          </p:nvSpPr>
          <p:spPr bwMode="auto">
            <a:xfrm>
              <a:off x="2423" y="2663"/>
              <a:ext cx="415" cy="5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4"/>
                    <a:pt x="445" y="28"/>
                  </a:cubicBezTo>
                  <a:cubicBezTo>
                    <a:pt x="445" y="13"/>
                    <a:pt x="432" y="0"/>
                    <a:pt x="417" y="0"/>
                  </a:cubicBezTo>
                  <a:cubicBezTo>
                    <a:pt x="28" y="0"/>
                    <a:pt x="28" y="0"/>
                    <a:pt x="28" y="0"/>
                  </a:cubicBezTo>
                  <a:cubicBezTo>
                    <a:pt x="12" y="0"/>
                    <a:pt x="0" y="13"/>
                    <a:pt x="0" y="28"/>
                  </a:cubicBezTo>
                  <a:cubicBezTo>
                    <a:pt x="0" y="44"/>
                    <a:pt x="12" y="56"/>
                    <a:pt x="28"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01" name="Freeform 46"/>
            <p:cNvSpPr>
              <a:spLocks/>
            </p:cNvSpPr>
            <p:nvPr/>
          </p:nvSpPr>
          <p:spPr bwMode="auto">
            <a:xfrm>
              <a:off x="2431" y="2673"/>
              <a:ext cx="415" cy="5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02" name="Freeform 47"/>
            <p:cNvSpPr>
              <a:spLocks/>
            </p:cNvSpPr>
            <p:nvPr/>
          </p:nvSpPr>
          <p:spPr bwMode="auto">
            <a:xfrm>
              <a:off x="2756" y="2917"/>
              <a:ext cx="30" cy="12"/>
            </a:xfrm>
            <a:custGeom>
              <a:avLst/>
              <a:gdLst>
                <a:gd name="T0" fmla="*/ 0 w 33"/>
                <a:gd name="T1" fmla="*/ 13 h 13"/>
                <a:gd name="T2" fmla="*/ 17 w 33"/>
                <a:gd name="T3" fmla="*/ 0 h 13"/>
                <a:gd name="T4" fmla="*/ 33 w 33"/>
                <a:gd name="T5" fmla="*/ 13 h 13"/>
                <a:gd name="T6" fmla="*/ 0 w 33"/>
                <a:gd name="T7" fmla="*/ 13 h 13"/>
              </a:gdLst>
              <a:ahLst/>
              <a:cxnLst>
                <a:cxn ang="0">
                  <a:pos x="T0" y="T1"/>
                </a:cxn>
                <a:cxn ang="0">
                  <a:pos x="T2" y="T3"/>
                </a:cxn>
                <a:cxn ang="0">
                  <a:pos x="T4" y="T5"/>
                </a:cxn>
                <a:cxn ang="0">
                  <a:pos x="T6" y="T7"/>
                </a:cxn>
              </a:cxnLst>
              <a:rect l="0" t="0" r="r" b="b"/>
              <a:pathLst>
                <a:path w="33" h="13">
                  <a:moveTo>
                    <a:pt x="0" y="13"/>
                  </a:moveTo>
                  <a:cubicBezTo>
                    <a:pt x="2" y="6"/>
                    <a:pt x="9" y="0"/>
                    <a:pt x="17" y="0"/>
                  </a:cubicBezTo>
                  <a:cubicBezTo>
                    <a:pt x="24" y="0"/>
                    <a:pt x="31" y="6"/>
                    <a:pt x="33" y="13"/>
                  </a:cubicBezTo>
                  <a:lnTo>
                    <a:pt x="0" y="1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03" name="Rectangle 48"/>
            <p:cNvSpPr>
              <a:spLocks noChangeArrowheads="1"/>
            </p:cNvSpPr>
            <p:nvPr/>
          </p:nvSpPr>
          <p:spPr bwMode="auto">
            <a:xfrm>
              <a:off x="1944" y="2084"/>
              <a:ext cx="408" cy="21"/>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04" name="Freeform 49"/>
            <p:cNvSpPr>
              <a:spLocks/>
            </p:cNvSpPr>
            <p:nvPr/>
          </p:nvSpPr>
          <p:spPr bwMode="auto">
            <a:xfrm>
              <a:off x="2290" y="1905"/>
              <a:ext cx="240" cy="405"/>
            </a:xfrm>
            <a:custGeom>
              <a:avLst/>
              <a:gdLst>
                <a:gd name="T0" fmla="*/ 236 w 257"/>
                <a:gd name="T1" fmla="*/ 52 h 436"/>
                <a:gd name="T2" fmla="*/ 184 w 257"/>
                <a:gd name="T3" fmla="*/ 33 h 436"/>
                <a:gd name="T4" fmla="*/ 91 w 257"/>
                <a:gd name="T5" fmla="*/ 33 h 436"/>
                <a:gd name="T6" fmla="*/ 48 w 257"/>
                <a:gd name="T7" fmla="*/ 0 h 436"/>
                <a:gd name="T8" fmla="*/ 48 w 257"/>
                <a:gd name="T9" fmla="*/ 90 h 436"/>
                <a:gd name="T10" fmla="*/ 91 w 257"/>
                <a:gd name="T11" fmla="*/ 57 h 436"/>
                <a:gd name="T12" fmla="*/ 184 w 257"/>
                <a:gd name="T13" fmla="*/ 57 h 436"/>
                <a:gd name="T14" fmla="*/ 185 w 257"/>
                <a:gd name="T15" fmla="*/ 57 h 436"/>
                <a:gd name="T16" fmla="*/ 220 w 257"/>
                <a:gd name="T17" fmla="*/ 70 h 436"/>
                <a:gd name="T18" fmla="*/ 232 w 257"/>
                <a:gd name="T19" fmla="*/ 105 h 436"/>
                <a:gd name="T20" fmla="*/ 232 w 257"/>
                <a:gd name="T21" fmla="*/ 278 h 436"/>
                <a:gd name="T22" fmla="*/ 220 w 257"/>
                <a:gd name="T23" fmla="*/ 313 h 436"/>
                <a:gd name="T24" fmla="*/ 185 w 257"/>
                <a:gd name="T25" fmla="*/ 326 h 436"/>
                <a:gd name="T26" fmla="*/ 184 w 257"/>
                <a:gd name="T27" fmla="*/ 326 h 436"/>
                <a:gd name="T28" fmla="*/ 105 w 257"/>
                <a:gd name="T29" fmla="*/ 326 h 436"/>
                <a:gd name="T30" fmla="*/ 51 w 257"/>
                <a:gd name="T31" fmla="*/ 346 h 436"/>
                <a:gd name="T32" fmla="*/ 33 w 257"/>
                <a:gd name="T33" fmla="*/ 393 h 436"/>
                <a:gd name="T34" fmla="*/ 0 w 257"/>
                <a:gd name="T35" fmla="*/ 436 h 436"/>
                <a:gd name="T36" fmla="*/ 0 w 257"/>
                <a:gd name="T37" fmla="*/ 436 h 436"/>
                <a:gd name="T38" fmla="*/ 90 w 257"/>
                <a:gd name="T39" fmla="*/ 436 h 436"/>
                <a:gd name="T40" fmla="*/ 90 w 257"/>
                <a:gd name="T41" fmla="*/ 436 h 436"/>
                <a:gd name="T42" fmla="*/ 57 w 257"/>
                <a:gd name="T43" fmla="*/ 393 h 436"/>
                <a:gd name="T44" fmla="*/ 69 w 257"/>
                <a:gd name="T45" fmla="*/ 363 h 436"/>
                <a:gd name="T46" fmla="*/ 105 w 257"/>
                <a:gd name="T47" fmla="*/ 350 h 436"/>
                <a:gd name="T48" fmla="*/ 184 w 257"/>
                <a:gd name="T49" fmla="*/ 350 h 436"/>
                <a:gd name="T50" fmla="*/ 236 w 257"/>
                <a:gd name="T51" fmla="*/ 331 h 436"/>
                <a:gd name="T52" fmla="*/ 257 w 257"/>
                <a:gd name="T53" fmla="*/ 278 h 436"/>
                <a:gd name="T54" fmla="*/ 257 w 257"/>
                <a:gd name="T55" fmla="*/ 105 h 436"/>
                <a:gd name="T56" fmla="*/ 236 w 257"/>
                <a:gd name="T57" fmla="*/ 52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 h="436">
                  <a:moveTo>
                    <a:pt x="236" y="52"/>
                  </a:moveTo>
                  <a:cubicBezTo>
                    <a:pt x="216" y="33"/>
                    <a:pt x="188" y="33"/>
                    <a:pt x="184" y="33"/>
                  </a:cubicBezTo>
                  <a:cubicBezTo>
                    <a:pt x="91" y="33"/>
                    <a:pt x="91" y="33"/>
                    <a:pt x="91" y="33"/>
                  </a:cubicBezTo>
                  <a:cubicBezTo>
                    <a:pt x="86" y="14"/>
                    <a:pt x="69" y="0"/>
                    <a:pt x="48" y="0"/>
                  </a:cubicBezTo>
                  <a:cubicBezTo>
                    <a:pt x="48" y="90"/>
                    <a:pt x="48" y="90"/>
                    <a:pt x="48" y="90"/>
                  </a:cubicBezTo>
                  <a:cubicBezTo>
                    <a:pt x="69" y="90"/>
                    <a:pt x="86" y="76"/>
                    <a:pt x="91" y="57"/>
                  </a:cubicBezTo>
                  <a:cubicBezTo>
                    <a:pt x="184" y="57"/>
                    <a:pt x="184" y="57"/>
                    <a:pt x="184" y="57"/>
                  </a:cubicBezTo>
                  <a:cubicBezTo>
                    <a:pt x="185" y="57"/>
                    <a:pt x="185" y="57"/>
                    <a:pt x="185" y="57"/>
                  </a:cubicBezTo>
                  <a:cubicBezTo>
                    <a:pt x="185" y="57"/>
                    <a:pt x="206" y="57"/>
                    <a:pt x="220" y="70"/>
                  </a:cubicBezTo>
                  <a:cubicBezTo>
                    <a:pt x="228" y="78"/>
                    <a:pt x="232" y="90"/>
                    <a:pt x="232" y="105"/>
                  </a:cubicBezTo>
                  <a:cubicBezTo>
                    <a:pt x="232" y="278"/>
                    <a:pt x="232" y="278"/>
                    <a:pt x="232" y="278"/>
                  </a:cubicBezTo>
                  <a:cubicBezTo>
                    <a:pt x="232" y="293"/>
                    <a:pt x="228" y="305"/>
                    <a:pt x="220" y="313"/>
                  </a:cubicBezTo>
                  <a:cubicBezTo>
                    <a:pt x="206" y="327"/>
                    <a:pt x="185" y="326"/>
                    <a:pt x="185" y="326"/>
                  </a:cubicBezTo>
                  <a:cubicBezTo>
                    <a:pt x="184" y="326"/>
                    <a:pt x="184" y="326"/>
                    <a:pt x="184" y="326"/>
                  </a:cubicBezTo>
                  <a:cubicBezTo>
                    <a:pt x="184" y="326"/>
                    <a:pt x="121" y="326"/>
                    <a:pt x="105" y="326"/>
                  </a:cubicBezTo>
                  <a:cubicBezTo>
                    <a:pt x="82" y="326"/>
                    <a:pt x="64" y="333"/>
                    <a:pt x="51" y="346"/>
                  </a:cubicBezTo>
                  <a:cubicBezTo>
                    <a:pt x="36" y="362"/>
                    <a:pt x="33" y="383"/>
                    <a:pt x="33" y="393"/>
                  </a:cubicBezTo>
                  <a:cubicBezTo>
                    <a:pt x="14" y="398"/>
                    <a:pt x="0" y="415"/>
                    <a:pt x="0" y="436"/>
                  </a:cubicBezTo>
                  <a:cubicBezTo>
                    <a:pt x="0" y="436"/>
                    <a:pt x="0" y="436"/>
                    <a:pt x="0" y="436"/>
                  </a:cubicBezTo>
                  <a:cubicBezTo>
                    <a:pt x="90" y="436"/>
                    <a:pt x="90" y="436"/>
                    <a:pt x="90" y="436"/>
                  </a:cubicBezTo>
                  <a:cubicBezTo>
                    <a:pt x="90" y="436"/>
                    <a:pt x="90" y="436"/>
                    <a:pt x="90" y="436"/>
                  </a:cubicBezTo>
                  <a:cubicBezTo>
                    <a:pt x="90" y="415"/>
                    <a:pt x="76" y="398"/>
                    <a:pt x="57" y="393"/>
                  </a:cubicBezTo>
                  <a:cubicBezTo>
                    <a:pt x="58" y="386"/>
                    <a:pt x="60" y="373"/>
                    <a:pt x="69" y="363"/>
                  </a:cubicBezTo>
                  <a:cubicBezTo>
                    <a:pt x="77" y="354"/>
                    <a:pt x="89" y="350"/>
                    <a:pt x="105" y="350"/>
                  </a:cubicBezTo>
                  <a:cubicBezTo>
                    <a:pt x="121" y="350"/>
                    <a:pt x="180" y="350"/>
                    <a:pt x="184" y="350"/>
                  </a:cubicBezTo>
                  <a:cubicBezTo>
                    <a:pt x="188" y="350"/>
                    <a:pt x="216" y="351"/>
                    <a:pt x="236" y="331"/>
                  </a:cubicBezTo>
                  <a:cubicBezTo>
                    <a:pt x="250" y="318"/>
                    <a:pt x="257" y="301"/>
                    <a:pt x="257" y="278"/>
                  </a:cubicBezTo>
                  <a:cubicBezTo>
                    <a:pt x="257" y="105"/>
                    <a:pt x="257" y="105"/>
                    <a:pt x="257" y="105"/>
                  </a:cubicBezTo>
                  <a:cubicBezTo>
                    <a:pt x="257" y="83"/>
                    <a:pt x="250" y="65"/>
                    <a:pt x="236" y="52"/>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05" name="Freeform 50"/>
            <p:cNvSpPr>
              <a:spLocks/>
            </p:cNvSpPr>
            <p:nvPr/>
          </p:nvSpPr>
          <p:spPr bwMode="auto">
            <a:xfrm>
              <a:off x="2464" y="2414"/>
              <a:ext cx="152" cy="117"/>
            </a:xfrm>
            <a:custGeom>
              <a:avLst/>
              <a:gdLst>
                <a:gd name="T0" fmla="*/ 29 w 163"/>
                <a:gd name="T1" fmla="*/ 0 h 126"/>
                <a:gd name="T2" fmla="*/ 0 w 163"/>
                <a:gd name="T3" fmla="*/ 30 h 126"/>
                <a:gd name="T4" fmla="*/ 0 w 163"/>
                <a:gd name="T5" fmla="*/ 30 h 126"/>
                <a:gd name="T6" fmla="*/ 0 w 163"/>
                <a:gd name="T7" fmla="*/ 118 h 126"/>
                <a:gd name="T8" fmla="*/ 0 w 163"/>
                <a:gd name="T9" fmla="*/ 126 h 126"/>
                <a:gd name="T10" fmla="*/ 133 w 163"/>
                <a:gd name="T11" fmla="*/ 126 h 126"/>
                <a:gd name="T12" fmla="*/ 163 w 163"/>
                <a:gd name="T13" fmla="*/ 97 h 126"/>
                <a:gd name="T14" fmla="*/ 163 w 163"/>
                <a:gd name="T15" fmla="*/ 97 h 126"/>
                <a:gd name="T16" fmla="*/ 163 w 163"/>
                <a:gd name="T17" fmla="*/ 8 h 126"/>
                <a:gd name="T18" fmla="*/ 163 w 163"/>
                <a:gd name="T19" fmla="*/ 0 h 126"/>
                <a:gd name="T20" fmla="*/ 29 w 163"/>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26">
                  <a:moveTo>
                    <a:pt x="29" y="0"/>
                  </a:moveTo>
                  <a:cubicBezTo>
                    <a:pt x="13" y="0"/>
                    <a:pt x="0" y="14"/>
                    <a:pt x="0" y="30"/>
                  </a:cubicBezTo>
                  <a:cubicBezTo>
                    <a:pt x="0" y="30"/>
                    <a:pt x="0" y="30"/>
                    <a:pt x="0" y="30"/>
                  </a:cubicBezTo>
                  <a:cubicBezTo>
                    <a:pt x="0" y="118"/>
                    <a:pt x="0" y="118"/>
                    <a:pt x="0" y="118"/>
                  </a:cubicBezTo>
                  <a:cubicBezTo>
                    <a:pt x="0" y="126"/>
                    <a:pt x="0" y="126"/>
                    <a:pt x="0" y="126"/>
                  </a:cubicBezTo>
                  <a:cubicBezTo>
                    <a:pt x="133" y="126"/>
                    <a:pt x="133" y="126"/>
                    <a:pt x="133" y="126"/>
                  </a:cubicBezTo>
                  <a:cubicBezTo>
                    <a:pt x="150" y="126"/>
                    <a:pt x="163" y="113"/>
                    <a:pt x="163" y="97"/>
                  </a:cubicBezTo>
                  <a:cubicBezTo>
                    <a:pt x="163" y="97"/>
                    <a:pt x="163" y="97"/>
                    <a:pt x="163" y="97"/>
                  </a:cubicBezTo>
                  <a:cubicBezTo>
                    <a:pt x="163" y="8"/>
                    <a:pt x="163" y="8"/>
                    <a:pt x="163" y="8"/>
                  </a:cubicBezTo>
                  <a:cubicBezTo>
                    <a:pt x="163" y="0"/>
                    <a:pt x="163" y="0"/>
                    <a:pt x="163" y="0"/>
                  </a:cubicBezTo>
                  <a:lnTo>
                    <a:pt x="2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06" name="Oval 51"/>
            <p:cNvSpPr>
              <a:spLocks noChangeArrowheads="1"/>
            </p:cNvSpPr>
            <p:nvPr/>
          </p:nvSpPr>
          <p:spPr bwMode="auto">
            <a:xfrm>
              <a:off x="2521" y="2433"/>
              <a:ext cx="81" cy="80"/>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07" name="Freeform 52"/>
            <p:cNvSpPr>
              <a:spLocks/>
            </p:cNvSpPr>
            <p:nvPr/>
          </p:nvSpPr>
          <p:spPr bwMode="auto">
            <a:xfrm>
              <a:off x="2548" y="2443"/>
              <a:ext cx="27" cy="60"/>
            </a:xfrm>
            <a:custGeom>
              <a:avLst/>
              <a:gdLst>
                <a:gd name="T0" fmla="*/ 12 w 29"/>
                <a:gd name="T1" fmla="*/ 64 h 64"/>
                <a:gd name="T2" fmla="*/ 12 w 29"/>
                <a:gd name="T3" fmla="*/ 56 h 64"/>
                <a:gd name="T4" fmla="*/ 0 w 29"/>
                <a:gd name="T5" fmla="*/ 52 h 64"/>
                <a:gd name="T6" fmla="*/ 2 w 29"/>
                <a:gd name="T7" fmla="*/ 47 h 64"/>
                <a:gd name="T8" fmla="*/ 13 w 29"/>
                <a:gd name="T9" fmla="*/ 50 h 64"/>
                <a:gd name="T10" fmla="*/ 22 w 29"/>
                <a:gd name="T11" fmla="*/ 43 h 64"/>
                <a:gd name="T12" fmla="*/ 14 w 29"/>
                <a:gd name="T13" fmla="*/ 34 h 64"/>
                <a:gd name="T14" fmla="*/ 1 w 29"/>
                <a:gd name="T15" fmla="*/ 20 h 64"/>
                <a:gd name="T16" fmla="*/ 13 w 29"/>
                <a:gd name="T17" fmla="*/ 8 h 64"/>
                <a:gd name="T18" fmla="*/ 13 w 29"/>
                <a:gd name="T19" fmla="*/ 0 h 64"/>
                <a:gd name="T20" fmla="*/ 18 w 29"/>
                <a:gd name="T21" fmla="*/ 0 h 64"/>
                <a:gd name="T22" fmla="*/ 18 w 29"/>
                <a:gd name="T23" fmla="*/ 8 h 64"/>
                <a:gd name="T24" fmla="*/ 28 w 29"/>
                <a:gd name="T25" fmla="*/ 10 h 64"/>
                <a:gd name="T26" fmla="*/ 26 w 29"/>
                <a:gd name="T27" fmla="*/ 16 h 64"/>
                <a:gd name="T28" fmla="*/ 16 w 29"/>
                <a:gd name="T29" fmla="*/ 13 h 64"/>
                <a:gd name="T30" fmla="*/ 8 w 29"/>
                <a:gd name="T31" fmla="*/ 19 h 64"/>
                <a:gd name="T32" fmla="*/ 17 w 29"/>
                <a:gd name="T33" fmla="*/ 28 h 64"/>
                <a:gd name="T34" fmla="*/ 29 w 29"/>
                <a:gd name="T35" fmla="*/ 43 h 64"/>
                <a:gd name="T36" fmla="*/ 17 w 29"/>
                <a:gd name="T37" fmla="*/ 56 h 64"/>
                <a:gd name="T38" fmla="*/ 16 w 29"/>
                <a:gd name="T39" fmla="*/ 64 h 64"/>
                <a:gd name="T40" fmla="*/ 12 w 29"/>
                <a:gd name="T4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4">
                  <a:moveTo>
                    <a:pt x="12" y="64"/>
                  </a:moveTo>
                  <a:cubicBezTo>
                    <a:pt x="12" y="56"/>
                    <a:pt x="12" y="56"/>
                    <a:pt x="12" y="56"/>
                  </a:cubicBezTo>
                  <a:cubicBezTo>
                    <a:pt x="7" y="56"/>
                    <a:pt x="3" y="54"/>
                    <a:pt x="0" y="52"/>
                  </a:cubicBezTo>
                  <a:cubicBezTo>
                    <a:pt x="2" y="47"/>
                    <a:pt x="2" y="47"/>
                    <a:pt x="2" y="47"/>
                  </a:cubicBezTo>
                  <a:cubicBezTo>
                    <a:pt x="5" y="49"/>
                    <a:pt x="9" y="50"/>
                    <a:pt x="13" y="50"/>
                  </a:cubicBezTo>
                  <a:cubicBezTo>
                    <a:pt x="18" y="51"/>
                    <a:pt x="22" y="47"/>
                    <a:pt x="22" y="43"/>
                  </a:cubicBezTo>
                  <a:cubicBezTo>
                    <a:pt x="22" y="39"/>
                    <a:pt x="19" y="36"/>
                    <a:pt x="14" y="34"/>
                  </a:cubicBezTo>
                  <a:cubicBezTo>
                    <a:pt x="6" y="30"/>
                    <a:pt x="1" y="27"/>
                    <a:pt x="1" y="20"/>
                  </a:cubicBezTo>
                  <a:cubicBezTo>
                    <a:pt x="1" y="14"/>
                    <a:pt x="6" y="9"/>
                    <a:pt x="13" y="8"/>
                  </a:cubicBezTo>
                  <a:cubicBezTo>
                    <a:pt x="13" y="0"/>
                    <a:pt x="13" y="0"/>
                    <a:pt x="13" y="0"/>
                  </a:cubicBezTo>
                  <a:cubicBezTo>
                    <a:pt x="18" y="0"/>
                    <a:pt x="18" y="0"/>
                    <a:pt x="18" y="0"/>
                  </a:cubicBezTo>
                  <a:cubicBezTo>
                    <a:pt x="18" y="8"/>
                    <a:pt x="18" y="8"/>
                    <a:pt x="18" y="8"/>
                  </a:cubicBezTo>
                  <a:cubicBezTo>
                    <a:pt x="22" y="8"/>
                    <a:pt x="26" y="9"/>
                    <a:pt x="28" y="10"/>
                  </a:cubicBezTo>
                  <a:cubicBezTo>
                    <a:pt x="26" y="16"/>
                    <a:pt x="26" y="16"/>
                    <a:pt x="26" y="16"/>
                  </a:cubicBezTo>
                  <a:cubicBezTo>
                    <a:pt x="24" y="15"/>
                    <a:pt x="21" y="13"/>
                    <a:pt x="16" y="13"/>
                  </a:cubicBezTo>
                  <a:cubicBezTo>
                    <a:pt x="10" y="13"/>
                    <a:pt x="8" y="16"/>
                    <a:pt x="8" y="19"/>
                  </a:cubicBezTo>
                  <a:cubicBezTo>
                    <a:pt x="8" y="23"/>
                    <a:pt x="11" y="25"/>
                    <a:pt x="17" y="28"/>
                  </a:cubicBezTo>
                  <a:cubicBezTo>
                    <a:pt x="25" y="32"/>
                    <a:pt x="29" y="36"/>
                    <a:pt x="29" y="43"/>
                  </a:cubicBezTo>
                  <a:cubicBezTo>
                    <a:pt x="29" y="49"/>
                    <a:pt x="25" y="54"/>
                    <a:pt x="17" y="56"/>
                  </a:cubicBezTo>
                  <a:cubicBezTo>
                    <a:pt x="16" y="64"/>
                    <a:pt x="16" y="64"/>
                    <a:pt x="16" y="64"/>
                  </a:cubicBezTo>
                  <a:lnTo>
                    <a:pt x="12" y="64"/>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08" name="Freeform 53"/>
            <p:cNvSpPr>
              <a:spLocks/>
            </p:cNvSpPr>
            <p:nvPr/>
          </p:nvSpPr>
          <p:spPr bwMode="auto">
            <a:xfrm>
              <a:off x="2575" y="2364"/>
              <a:ext cx="41" cy="142"/>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09" name="Freeform 54"/>
            <p:cNvSpPr>
              <a:spLocks/>
            </p:cNvSpPr>
            <p:nvPr/>
          </p:nvSpPr>
          <p:spPr bwMode="auto">
            <a:xfrm>
              <a:off x="2575" y="2364"/>
              <a:ext cx="41" cy="142"/>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10" name="Freeform 55"/>
            <p:cNvSpPr>
              <a:spLocks/>
            </p:cNvSpPr>
            <p:nvPr/>
          </p:nvSpPr>
          <p:spPr bwMode="auto">
            <a:xfrm>
              <a:off x="2616" y="2500"/>
              <a:ext cx="0" cy="6"/>
            </a:xfrm>
            <a:custGeom>
              <a:avLst/>
              <a:gdLst>
                <a:gd name="T0" fmla="*/ 7 h 7"/>
                <a:gd name="T1" fmla="*/ 0 h 7"/>
                <a:gd name="T2" fmla="*/ 3 h 7"/>
                <a:gd name="T3" fmla="*/ 7 h 7"/>
              </a:gdLst>
              <a:ahLst/>
              <a:cxnLst>
                <a:cxn ang="0">
                  <a:pos x="0" y="T0"/>
                </a:cxn>
                <a:cxn ang="0">
                  <a:pos x="0" y="T1"/>
                </a:cxn>
                <a:cxn ang="0">
                  <a:pos x="0" y="T2"/>
                </a:cxn>
                <a:cxn ang="0">
                  <a:pos x="0" y="T3"/>
                </a:cxn>
              </a:cxnLst>
              <a:rect l="0" t="0" r="r" b="b"/>
              <a:pathLst>
                <a:path h="7">
                  <a:moveTo>
                    <a:pt x="0" y="7"/>
                  </a:moveTo>
                  <a:cubicBezTo>
                    <a:pt x="0" y="0"/>
                    <a:pt x="0" y="0"/>
                    <a:pt x="0" y="0"/>
                  </a:cubicBezTo>
                  <a:cubicBezTo>
                    <a:pt x="0" y="1"/>
                    <a:pt x="0" y="2"/>
                    <a:pt x="0" y="3"/>
                  </a:cubicBezTo>
                  <a:cubicBezTo>
                    <a:pt x="0" y="4"/>
                    <a:pt x="0" y="5"/>
                    <a:pt x="0" y="7"/>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11" name="Oval 56"/>
            <p:cNvSpPr>
              <a:spLocks noChangeArrowheads="1"/>
            </p:cNvSpPr>
            <p:nvPr/>
          </p:nvSpPr>
          <p:spPr bwMode="auto">
            <a:xfrm>
              <a:off x="2596" y="2519"/>
              <a:ext cx="130" cy="128"/>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12" name="Oval 57"/>
            <p:cNvSpPr>
              <a:spLocks noChangeArrowheads="1"/>
            </p:cNvSpPr>
            <p:nvPr/>
          </p:nvSpPr>
          <p:spPr bwMode="auto">
            <a:xfrm>
              <a:off x="2596" y="2511"/>
              <a:ext cx="130" cy="129"/>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13" name="Oval 58"/>
            <p:cNvSpPr>
              <a:spLocks noChangeArrowheads="1"/>
            </p:cNvSpPr>
            <p:nvPr/>
          </p:nvSpPr>
          <p:spPr bwMode="auto">
            <a:xfrm>
              <a:off x="2610" y="2525"/>
              <a:ext cx="102" cy="101"/>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14" name="Oval 59"/>
            <p:cNvSpPr>
              <a:spLocks noChangeArrowheads="1"/>
            </p:cNvSpPr>
            <p:nvPr/>
          </p:nvSpPr>
          <p:spPr bwMode="auto">
            <a:xfrm>
              <a:off x="2793"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15" name="Oval 60"/>
            <p:cNvSpPr>
              <a:spLocks noChangeArrowheads="1"/>
            </p:cNvSpPr>
            <p:nvPr/>
          </p:nvSpPr>
          <p:spPr bwMode="auto">
            <a:xfrm>
              <a:off x="2759" y="2689"/>
              <a:ext cx="22"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16" name="Oval 61"/>
            <p:cNvSpPr>
              <a:spLocks noChangeArrowheads="1"/>
            </p:cNvSpPr>
            <p:nvPr/>
          </p:nvSpPr>
          <p:spPr bwMode="auto">
            <a:xfrm>
              <a:off x="2727"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17" name="Oval 62"/>
            <p:cNvSpPr>
              <a:spLocks noChangeArrowheads="1"/>
            </p:cNvSpPr>
            <p:nvPr/>
          </p:nvSpPr>
          <p:spPr bwMode="auto">
            <a:xfrm>
              <a:off x="2694"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18" name="Oval 63"/>
            <p:cNvSpPr>
              <a:spLocks noChangeArrowheads="1"/>
            </p:cNvSpPr>
            <p:nvPr/>
          </p:nvSpPr>
          <p:spPr bwMode="auto">
            <a:xfrm>
              <a:off x="2660" y="2689"/>
              <a:ext cx="22"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19" name="Oval 64"/>
            <p:cNvSpPr>
              <a:spLocks noChangeArrowheads="1"/>
            </p:cNvSpPr>
            <p:nvPr/>
          </p:nvSpPr>
          <p:spPr bwMode="auto">
            <a:xfrm>
              <a:off x="2628"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20" name="Oval 65"/>
            <p:cNvSpPr>
              <a:spLocks noChangeArrowheads="1"/>
            </p:cNvSpPr>
            <p:nvPr/>
          </p:nvSpPr>
          <p:spPr bwMode="auto">
            <a:xfrm>
              <a:off x="2595"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21" name="Oval 66"/>
            <p:cNvSpPr>
              <a:spLocks noChangeArrowheads="1"/>
            </p:cNvSpPr>
            <p:nvPr/>
          </p:nvSpPr>
          <p:spPr bwMode="auto">
            <a:xfrm>
              <a:off x="2563"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22" name="Oval 67"/>
            <p:cNvSpPr>
              <a:spLocks noChangeArrowheads="1"/>
            </p:cNvSpPr>
            <p:nvPr/>
          </p:nvSpPr>
          <p:spPr bwMode="auto">
            <a:xfrm>
              <a:off x="2529"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23" name="Oval 68"/>
            <p:cNvSpPr>
              <a:spLocks noChangeArrowheads="1"/>
            </p:cNvSpPr>
            <p:nvPr/>
          </p:nvSpPr>
          <p:spPr bwMode="auto">
            <a:xfrm>
              <a:off x="2496"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24" name="Oval 69"/>
            <p:cNvSpPr>
              <a:spLocks noChangeArrowheads="1"/>
            </p:cNvSpPr>
            <p:nvPr/>
          </p:nvSpPr>
          <p:spPr bwMode="auto">
            <a:xfrm>
              <a:off x="2464"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25" name="Rectangle 70"/>
            <p:cNvSpPr>
              <a:spLocks noChangeArrowheads="1"/>
            </p:cNvSpPr>
            <p:nvPr/>
          </p:nvSpPr>
          <p:spPr bwMode="auto">
            <a:xfrm>
              <a:off x="2764" y="2725"/>
              <a:ext cx="14" cy="19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26" name="Rectangle 71"/>
            <p:cNvSpPr>
              <a:spLocks noChangeArrowheads="1"/>
            </p:cNvSpPr>
            <p:nvPr/>
          </p:nvSpPr>
          <p:spPr bwMode="auto">
            <a:xfrm>
              <a:off x="2771" y="2725"/>
              <a:ext cx="7" cy="19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27" name="Freeform 72"/>
            <p:cNvSpPr>
              <a:spLocks/>
            </p:cNvSpPr>
            <p:nvPr/>
          </p:nvSpPr>
          <p:spPr bwMode="auto">
            <a:xfrm>
              <a:off x="2770" y="2917"/>
              <a:ext cx="16" cy="12"/>
            </a:xfrm>
            <a:custGeom>
              <a:avLst/>
              <a:gdLst>
                <a:gd name="T0" fmla="*/ 0 w 17"/>
                <a:gd name="T1" fmla="*/ 0 h 13"/>
                <a:gd name="T2" fmla="*/ 1 w 17"/>
                <a:gd name="T3" fmla="*/ 0 h 13"/>
                <a:gd name="T4" fmla="*/ 17 w 17"/>
                <a:gd name="T5" fmla="*/ 13 h 13"/>
                <a:gd name="T6" fmla="*/ 9 w 17"/>
                <a:gd name="T7" fmla="*/ 13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0" y="0"/>
                    <a:pt x="1" y="0"/>
                    <a:pt x="1" y="0"/>
                  </a:cubicBezTo>
                  <a:cubicBezTo>
                    <a:pt x="8" y="0"/>
                    <a:pt x="15" y="6"/>
                    <a:pt x="17" y="13"/>
                  </a:cubicBezTo>
                  <a:cubicBezTo>
                    <a:pt x="9" y="13"/>
                    <a:pt x="9" y="13"/>
                    <a:pt x="9" y="13"/>
                  </a:cubicBezTo>
                  <a:cubicBezTo>
                    <a:pt x="8" y="8"/>
                    <a:pt x="5" y="3"/>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28" name="Freeform 73"/>
            <p:cNvSpPr>
              <a:spLocks/>
            </p:cNvSpPr>
            <p:nvPr/>
          </p:nvSpPr>
          <p:spPr bwMode="auto">
            <a:xfrm>
              <a:off x="1730" y="2011"/>
              <a:ext cx="434" cy="698"/>
            </a:xfrm>
            <a:custGeom>
              <a:avLst/>
              <a:gdLst>
                <a:gd name="T0" fmla="*/ 431 w 466"/>
                <a:gd name="T1" fmla="*/ 0 h 752"/>
                <a:gd name="T2" fmla="*/ 431 w 466"/>
                <a:gd name="T3" fmla="*/ 698 h 752"/>
                <a:gd name="T4" fmla="*/ 412 w 466"/>
                <a:gd name="T5" fmla="*/ 717 h 752"/>
                <a:gd name="T6" fmla="*/ 392 w 466"/>
                <a:gd name="T7" fmla="*/ 698 h 752"/>
                <a:gd name="T8" fmla="*/ 392 w 466"/>
                <a:gd name="T9" fmla="*/ 490 h 752"/>
                <a:gd name="T10" fmla="*/ 338 w 466"/>
                <a:gd name="T11" fmla="*/ 438 h 752"/>
                <a:gd name="T12" fmla="*/ 284 w 466"/>
                <a:gd name="T13" fmla="*/ 492 h 752"/>
                <a:gd name="T14" fmla="*/ 284 w 466"/>
                <a:gd name="T15" fmla="*/ 698 h 752"/>
                <a:gd name="T16" fmla="*/ 265 w 466"/>
                <a:gd name="T17" fmla="*/ 717 h 752"/>
                <a:gd name="T18" fmla="*/ 246 w 466"/>
                <a:gd name="T19" fmla="*/ 698 h 752"/>
                <a:gd name="T20" fmla="*/ 246 w 466"/>
                <a:gd name="T21" fmla="*/ 588 h 752"/>
                <a:gd name="T22" fmla="*/ 192 w 466"/>
                <a:gd name="T23" fmla="*/ 534 h 752"/>
                <a:gd name="T24" fmla="*/ 137 w 466"/>
                <a:gd name="T25" fmla="*/ 588 h 752"/>
                <a:gd name="T26" fmla="*/ 137 w 466"/>
                <a:gd name="T27" fmla="*/ 698 h 752"/>
                <a:gd name="T28" fmla="*/ 118 w 466"/>
                <a:gd name="T29" fmla="*/ 717 h 752"/>
                <a:gd name="T30" fmla="*/ 99 w 466"/>
                <a:gd name="T31" fmla="*/ 698 h 752"/>
                <a:gd name="T32" fmla="*/ 99 w 466"/>
                <a:gd name="T33" fmla="*/ 531 h 752"/>
                <a:gd name="T34" fmla="*/ 161 w 466"/>
                <a:gd name="T35" fmla="*/ 436 h 752"/>
                <a:gd name="T36" fmla="*/ 163 w 466"/>
                <a:gd name="T37" fmla="*/ 433 h 752"/>
                <a:gd name="T38" fmla="*/ 163 w 466"/>
                <a:gd name="T39" fmla="*/ 433 h 752"/>
                <a:gd name="T40" fmla="*/ 163 w 466"/>
                <a:gd name="T41" fmla="*/ 433 h 752"/>
                <a:gd name="T42" fmla="*/ 81 w 466"/>
                <a:gd name="T43" fmla="*/ 419 h 752"/>
                <a:gd name="T44" fmla="*/ 0 w 466"/>
                <a:gd name="T45" fmla="*/ 433 h 752"/>
                <a:gd name="T46" fmla="*/ 0 w 466"/>
                <a:gd name="T47" fmla="*/ 433 h 752"/>
                <a:gd name="T48" fmla="*/ 0 w 466"/>
                <a:gd name="T49" fmla="*/ 433 h 752"/>
                <a:gd name="T50" fmla="*/ 2 w 466"/>
                <a:gd name="T51" fmla="*/ 436 h 752"/>
                <a:gd name="T52" fmla="*/ 64 w 466"/>
                <a:gd name="T53" fmla="*/ 531 h 752"/>
                <a:gd name="T54" fmla="*/ 64 w 466"/>
                <a:gd name="T55" fmla="*/ 698 h 752"/>
                <a:gd name="T56" fmla="*/ 118 w 466"/>
                <a:gd name="T57" fmla="*/ 752 h 752"/>
                <a:gd name="T58" fmla="*/ 172 w 466"/>
                <a:gd name="T59" fmla="*/ 698 h 752"/>
                <a:gd name="T60" fmla="*/ 172 w 466"/>
                <a:gd name="T61" fmla="*/ 588 h 752"/>
                <a:gd name="T62" fmla="*/ 192 w 466"/>
                <a:gd name="T63" fmla="*/ 569 h 752"/>
                <a:gd name="T64" fmla="*/ 211 w 466"/>
                <a:gd name="T65" fmla="*/ 588 h 752"/>
                <a:gd name="T66" fmla="*/ 211 w 466"/>
                <a:gd name="T67" fmla="*/ 704 h 752"/>
                <a:gd name="T68" fmla="*/ 211 w 466"/>
                <a:gd name="T69" fmla="*/ 704 h 752"/>
                <a:gd name="T70" fmla="*/ 265 w 466"/>
                <a:gd name="T71" fmla="*/ 752 h 752"/>
                <a:gd name="T72" fmla="*/ 319 w 466"/>
                <a:gd name="T73" fmla="*/ 698 h 752"/>
                <a:gd name="T74" fmla="*/ 319 w 466"/>
                <a:gd name="T75" fmla="*/ 492 h 752"/>
                <a:gd name="T76" fmla="*/ 338 w 466"/>
                <a:gd name="T77" fmla="*/ 473 h 752"/>
                <a:gd name="T78" fmla="*/ 358 w 466"/>
                <a:gd name="T79" fmla="*/ 492 h 752"/>
                <a:gd name="T80" fmla="*/ 358 w 466"/>
                <a:gd name="T81" fmla="*/ 698 h 752"/>
                <a:gd name="T82" fmla="*/ 412 w 466"/>
                <a:gd name="T83" fmla="*/ 752 h 752"/>
                <a:gd name="T84" fmla="*/ 466 w 466"/>
                <a:gd name="T85" fmla="*/ 698 h 752"/>
                <a:gd name="T86" fmla="*/ 466 w 466"/>
                <a:gd name="T87" fmla="*/ 0 h 752"/>
                <a:gd name="T88" fmla="*/ 431 w 466"/>
                <a:gd name="T89"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6" h="752">
                  <a:moveTo>
                    <a:pt x="431" y="0"/>
                  </a:moveTo>
                  <a:cubicBezTo>
                    <a:pt x="431" y="698"/>
                    <a:pt x="431" y="698"/>
                    <a:pt x="431" y="698"/>
                  </a:cubicBezTo>
                  <a:cubicBezTo>
                    <a:pt x="431" y="709"/>
                    <a:pt x="422" y="717"/>
                    <a:pt x="412" y="717"/>
                  </a:cubicBezTo>
                  <a:cubicBezTo>
                    <a:pt x="401" y="717"/>
                    <a:pt x="392" y="709"/>
                    <a:pt x="392" y="698"/>
                  </a:cubicBezTo>
                  <a:cubicBezTo>
                    <a:pt x="392" y="490"/>
                    <a:pt x="392" y="490"/>
                    <a:pt x="392" y="490"/>
                  </a:cubicBezTo>
                  <a:cubicBezTo>
                    <a:pt x="391" y="461"/>
                    <a:pt x="367" y="438"/>
                    <a:pt x="338" y="438"/>
                  </a:cubicBezTo>
                  <a:cubicBezTo>
                    <a:pt x="308" y="438"/>
                    <a:pt x="284" y="462"/>
                    <a:pt x="284" y="492"/>
                  </a:cubicBezTo>
                  <a:cubicBezTo>
                    <a:pt x="284" y="698"/>
                    <a:pt x="284" y="698"/>
                    <a:pt x="284" y="698"/>
                  </a:cubicBezTo>
                  <a:cubicBezTo>
                    <a:pt x="284" y="709"/>
                    <a:pt x="276" y="717"/>
                    <a:pt x="265" y="717"/>
                  </a:cubicBezTo>
                  <a:cubicBezTo>
                    <a:pt x="254" y="717"/>
                    <a:pt x="246" y="709"/>
                    <a:pt x="246" y="698"/>
                  </a:cubicBezTo>
                  <a:cubicBezTo>
                    <a:pt x="246" y="588"/>
                    <a:pt x="246" y="588"/>
                    <a:pt x="246" y="588"/>
                  </a:cubicBezTo>
                  <a:cubicBezTo>
                    <a:pt x="246" y="558"/>
                    <a:pt x="221" y="534"/>
                    <a:pt x="192" y="534"/>
                  </a:cubicBezTo>
                  <a:cubicBezTo>
                    <a:pt x="162" y="534"/>
                    <a:pt x="137" y="558"/>
                    <a:pt x="137" y="588"/>
                  </a:cubicBezTo>
                  <a:cubicBezTo>
                    <a:pt x="137" y="698"/>
                    <a:pt x="137" y="698"/>
                    <a:pt x="137" y="698"/>
                  </a:cubicBezTo>
                  <a:cubicBezTo>
                    <a:pt x="137" y="709"/>
                    <a:pt x="129" y="717"/>
                    <a:pt x="118" y="717"/>
                  </a:cubicBezTo>
                  <a:cubicBezTo>
                    <a:pt x="108" y="717"/>
                    <a:pt x="99" y="709"/>
                    <a:pt x="99" y="698"/>
                  </a:cubicBezTo>
                  <a:cubicBezTo>
                    <a:pt x="99" y="531"/>
                    <a:pt x="99" y="531"/>
                    <a:pt x="99" y="531"/>
                  </a:cubicBezTo>
                  <a:cubicBezTo>
                    <a:pt x="161" y="436"/>
                    <a:pt x="161" y="436"/>
                    <a:pt x="161" y="436"/>
                  </a:cubicBezTo>
                  <a:cubicBezTo>
                    <a:pt x="162" y="435"/>
                    <a:pt x="163" y="434"/>
                    <a:pt x="163" y="433"/>
                  </a:cubicBezTo>
                  <a:cubicBezTo>
                    <a:pt x="163" y="433"/>
                    <a:pt x="163" y="433"/>
                    <a:pt x="163" y="433"/>
                  </a:cubicBezTo>
                  <a:cubicBezTo>
                    <a:pt x="163" y="433"/>
                    <a:pt x="163" y="433"/>
                    <a:pt x="163" y="433"/>
                  </a:cubicBezTo>
                  <a:cubicBezTo>
                    <a:pt x="162" y="425"/>
                    <a:pt x="126" y="419"/>
                    <a:pt x="81" y="419"/>
                  </a:cubicBezTo>
                  <a:cubicBezTo>
                    <a:pt x="37" y="419"/>
                    <a:pt x="1" y="425"/>
                    <a:pt x="0" y="433"/>
                  </a:cubicBezTo>
                  <a:cubicBezTo>
                    <a:pt x="0" y="433"/>
                    <a:pt x="0" y="433"/>
                    <a:pt x="0" y="433"/>
                  </a:cubicBezTo>
                  <a:cubicBezTo>
                    <a:pt x="0" y="433"/>
                    <a:pt x="0" y="433"/>
                    <a:pt x="0" y="433"/>
                  </a:cubicBezTo>
                  <a:cubicBezTo>
                    <a:pt x="0" y="434"/>
                    <a:pt x="1" y="435"/>
                    <a:pt x="2" y="436"/>
                  </a:cubicBezTo>
                  <a:cubicBezTo>
                    <a:pt x="64" y="531"/>
                    <a:pt x="64" y="531"/>
                    <a:pt x="64" y="531"/>
                  </a:cubicBezTo>
                  <a:cubicBezTo>
                    <a:pt x="64" y="698"/>
                    <a:pt x="64" y="698"/>
                    <a:pt x="64" y="698"/>
                  </a:cubicBezTo>
                  <a:cubicBezTo>
                    <a:pt x="64" y="728"/>
                    <a:pt x="88" y="752"/>
                    <a:pt x="118" y="752"/>
                  </a:cubicBezTo>
                  <a:cubicBezTo>
                    <a:pt x="148" y="752"/>
                    <a:pt x="172" y="728"/>
                    <a:pt x="172" y="698"/>
                  </a:cubicBezTo>
                  <a:cubicBezTo>
                    <a:pt x="172" y="588"/>
                    <a:pt x="172" y="588"/>
                    <a:pt x="172" y="588"/>
                  </a:cubicBezTo>
                  <a:cubicBezTo>
                    <a:pt x="172" y="577"/>
                    <a:pt x="181" y="569"/>
                    <a:pt x="192" y="569"/>
                  </a:cubicBezTo>
                  <a:cubicBezTo>
                    <a:pt x="202" y="569"/>
                    <a:pt x="211" y="577"/>
                    <a:pt x="211" y="588"/>
                  </a:cubicBezTo>
                  <a:cubicBezTo>
                    <a:pt x="211" y="704"/>
                    <a:pt x="211" y="704"/>
                    <a:pt x="211" y="704"/>
                  </a:cubicBezTo>
                  <a:cubicBezTo>
                    <a:pt x="211" y="704"/>
                    <a:pt x="211" y="704"/>
                    <a:pt x="211" y="704"/>
                  </a:cubicBezTo>
                  <a:cubicBezTo>
                    <a:pt x="214" y="731"/>
                    <a:pt x="237" y="752"/>
                    <a:pt x="265" y="752"/>
                  </a:cubicBezTo>
                  <a:cubicBezTo>
                    <a:pt x="295" y="752"/>
                    <a:pt x="319" y="728"/>
                    <a:pt x="319" y="698"/>
                  </a:cubicBezTo>
                  <a:cubicBezTo>
                    <a:pt x="319" y="492"/>
                    <a:pt x="319" y="492"/>
                    <a:pt x="319" y="492"/>
                  </a:cubicBezTo>
                  <a:cubicBezTo>
                    <a:pt x="319" y="481"/>
                    <a:pt x="328" y="473"/>
                    <a:pt x="338" y="473"/>
                  </a:cubicBezTo>
                  <a:cubicBezTo>
                    <a:pt x="349" y="473"/>
                    <a:pt x="358" y="481"/>
                    <a:pt x="358" y="492"/>
                  </a:cubicBezTo>
                  <a:cubicBezTo>
                    <a:pt x="358" y="698"/>
                    <a:pt x="358" y="698"/>
                    <a:pt x="358" y="698"/>
                  </a:cubicBezTo>
                  <a:cubicBezTo>
                    <a:pt x="358" y="728"/>
                    <a:pt x="382" y="752"/>
                    <a:pt x="412" y="752"/>
                  </a:cubicBezTo>
                  <a:cubicBezTo>
                    <a:pt x="442" y="752"/>
                    <a:pt x="466" y="728"/>
                    <a:pt x="466" y="698"/>
                  </a:cubicBezTo>
                  <a:cubicBezTo>
                    <a:pt x="466" y="0"/>
                    <a:pt x="466" y="0"/>
                    <a:pt x="466" y="0"/>
                  </a:cubicBezTo>
                  <a:lnTo>
                    <a:pt x="431"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29" name="Oval 74"/>
            <p:cNvSpPr>
              <a:spLocks noChangeArrowheads="1"/>
            </p:cNvSpPr>
            <p:nvPr/>
          </p:nvSpPr>
          <p:spPr bwMode="auto">
            <a:xfrm>
              <a:off x="1730" y="2400"/>
              <a:ext cx="152" cy="26"/>
            </a:xfrm>
            <a:prstGeom prst="ellipse">
              <a:avLst/>
            </a:pr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30" name="Freeform 75"/>
            <p:cNvSpPr>
              <a:spLocks/>
            </p:cNvSpPr>
            <p:nvPr/>
          </p:nvSpPr>
          <p:spPr bwMode="auto">
            <a:xfrm>
              <a:off x="2329" y="2268"/>
              <a:ext cx="45" cy="42"/>
            </a:xfrm>
            <a:custGeom>
              <a:avLst/>
              <a:gdLst>
                <a:gd name="T0" fmla="*/ 3 w 48"/>
                <a:gd name="T1" fmla="*/ 0 h 45"/>
                <a:gd name="T2" fmla="*/ 0 w 48"/>
                <a:gd name="T3" fmla="*/ 0 h 45"/>
                <a:gd name="T4" fmla="*/ 31 w 48"/>
                <a:gd name="T5" fmla="*/ 45 h 45"/>
                <a:gd name="T6" fmla="*/ 48 w 48"/>
                <a:gd name="T7" fmla="*/ 45 h 45"/>
                <a:gd name="T8" fmla="*/ 48 w 48"/>
                <a:gd name="T9" fmla="*/ 45 h 45"/>
                <a:gd name="T10" fmla="*/ 3 w 48"/>
                <a:gd name="T11" fmla="*/ 0 h 45"/>
              </a:gdLst>
              <a:ahLst/>
              <a:cxnLst>
                <a:cxn ang="0">
                  <a:pos x="T0" y="T1"/>
                </a:cxn>
                <a:cxn ang="0">
                  <a:pos x="T2" y="T3"/>
                </a:cxn>
                <a:cxn ang="0">
                  <a:pos x="T4" y="T5"/>
                </a:cxn>
                <a:cxn ang="0">
                  <a:pos x="T6" y="T7"/>
                </a:cxn>
                <a:cxn ang="0">
                  <a:pos x="T8" y="T9"/>
                </a:cxn>
                <a:cxn ang="0">
                  <a:pos x="T10" y="T11"/>
                </a:cxn>
              </a:cxnLst>
              <a:rect l="0" t="0" r="r" b="b"/>
              <a:pathLst>
                <a:path w="48" h="45">
                  <a:moveTo>
                    <a:pt x="3" y="0"/>
                  </a:moveTo>
                  <a:cubicBezTo>
                    <a:pt x="2" y="0"/>
                    <a:pt x="1" y="0"/>
                    <a:pt x="0" y="0"/>
                  </a:cubicBezTo>
                  <a:cubicBezTo>
                    <a:pt x="17" y="9"/>
                    <a:pt x="29" y="26"/>
                    <a:pt x="31" y="45"/>
                  </a:cubicBezTo>
                  <a:cubicBezTo>
                    <a:pt x="48" y="45"/>
                    <a:pt x="48" y="45"/>
                    <a:pt x="48" y="45"/>
                  </a:cubicBezTo>
                  <a:cubicBezTo>
                    <a:pt x="48" y="45"/>
                    <a:pt x="48" y="45"/>
                    <a:pt x="48" y="45"/>
                  </a:cubicBezTo>
                  <a:cubicBezTo>
                    <a:pt x="48" y="20"/>
                    <a:pt x="27" y="0"/>
                    <a:pt x="3" y="0"/>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31" name="Freeform 76"/>
            <p:cNvSpPr>
              <a:spLocks/>
            </p:cNvSpPr>
            <p:nvPr/>
          </p:nvSpPr>
          <p:spPr bwMode="auto">
            <a:xfrm>
              <a:off x="2411" y="2909"/>
              <a:ext cx="23" cy="12"/>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32" name="Freeform 77"/>
            <p:cNvSpPr>
              <a:spLocks/>
            </p:cNvSpPr>
            <p:nvPr/>
          </p:nvSpPr>
          <p:spPr bwMode="auto">
            <a:xfrm>
              <a:off x="2224" y="2909"/>
              <a:ext cx="21" cy="12"/>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33" name="Rectangle 78"/>
            <p:cNvSpPr>
              <a:spLocks noChangeArrowheads="1"/>
            </p:cNvSpPr>
            <p:nvPr/>
          </p:nvSpPr>
          <p:spPr bwMode="auto">
            <a:xfrm>
              <a:off x="2459" y="2364"/>
              <a:ext cx="24" cy="299"/>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34" name="Freeform 79"/>
            <p:cNvSpPr>
              <a:spLocks/>
            </p:cNvSpPr>
            <p:nvPr/>
          </p:nvSpPr>
          <p:spPr bwMode="auto">
            <a:xfrm>
              <a:off x="2191" y="2310"/>
              <a:ext cx="275" cy="605"/>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35" name="Freeform 80"/>
            <p:cNvSpPr>
              <a:spLocks/>
            </p:cNvSpPr>
            <p:nvPr/>
          </p:nvSpPr>
          <p:spPr bwMode="auto">
            <a:xfrm>
              <a:off x="2240" y="2365"/>
              <a:ext cx="178" cy="89"/>
            </a:xfrm>
            <a:custGeom>
              <a:avLst/>
              <a:gdLst>
                <a:gd name="T0" fmla="*/ 95 w 191"/>
                <a:gd name="T1" fmla="*/ 0 h 96"/>
                <a:gd name="T2" fmla="*/ 0 w 191"/>
                <a:gd name="T3" fmla="*/ 96 h 96"/>
                <a:gd name="T4" fmla="*/ 191 w 191"/>
                <a:gd name="T5" fmla="*/ 96 h 96"/>
                <a:gd name="T6" fmla="*/ 95 w 191"/>
                <a:gd name="T7" fmla="*/ 0 h 96"/>
              </a:gdLst>
              <a:ahLst/>
              <a:cxnLst>
                <a:cxn ang="0">
                  <a:pos x="T0" y="T1"/>
                </a:cxn>
                <a:cxn ang="0">
                  <a:pos x="T2" y="T3"/>
                </a:cxn>
                <a:cxn ang="0">
                  <a:pos x="T4" y="T5"/>
                </a:cxn>
                <a:cxn ang="0">
                  <a:pos x="T6" y="T7"/>
                </a:cxn>
              </a:cxnLst>
              <a:rect l="0" t="0" r="r" b="b"/>
              <a:pathLst>
                <a:path w="191" h="96">
                  <a:moveTo>
                    <a:pt x="95" y="0"/>
                  </a:moveTo>
                  <a:cubicBezTo>
                    <a:pt x="43" y="0"/>
                    <a:pt x="0" y="43"/>
                    <a:pt x="0" y="96"/>
                  </a:cubicBezTo>
                  <a:cubicBezTo>
                    <a:pt x="191" y="96"/>
                    <a:pt x="191" y="96"/>
                    <a:pt x="191" y="96"/>
                  </a:cubicBezTo>
                  <a:cubicBezTo>
                    <a:pt x="191" y="43"/>
                    <a:pt x="148" y="0"/>
                    <a:pt x="95" y="0"/>
                  </a:cubicBez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36" name="Oval 81"/>
            <p:cNvSpPr>
              <a:spLocks noChangeArrowheads="1"/>
            </p:cNvSpPr>
            <p:nvPr/>
          </p:nvSpPr>
          <p:spPr bwMode="auto">
            <a:xfrm>
              <a:off x="2318" y="2426"/>
              <a:ext cx="22" cy="2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37" name="Freeform 82"/>
            <p:cNvSpPr>
              <a:spLocks/>
            </p:cNvSpPr>
            <p:nvPr/>
          </p:nvSpPr>
          <p:spPr bwMode="auto">
            <a:xfrm>
              <a:off x="2319" y="2389"/>
              <a:ext cx="66" cy="57"/>
            </a:xfrm>
            <a:custGeom>
              <a:avLst/>
              <a:gdLst>
                <a:gd name="T0" fmla="*/ 7 w 66"/>
                <a:gd name="T1" fmla="*/ 57 h 57"/>
                <a:gd name="T2" fmla="*/ 0 w 66"/>
                <a:gd name="T3" fmla="*/ 48 h 57"/>
                <a:gd name="T4" fmla="*/ 66 w 66"/>
                <a:gd name="T5" fmla="*/ 0 h 57"/>
                <a:gd name="T6" fmla="*/ 7 w 66"/>
                <a:gd name="T7" fmla="*/ 57 h 57"/>
              </a:gdLst>
              <a:ahLst/>
              <a:cxnLst>
                <a:cxn ang="0">
                  <a:pos x="T0" y="T1"/>
                </a:cxn>
                <a:cxn ang="0">
                  <a:pos x="T2" y="T3"/>
                </a:cxn>
                <a:cxn ang="0">
                  <a:pos x="T4" y="T5"/>
                </a:cxn>
                <a:cxn ang="0">
                  <a:pos x="T6" y="T7"/>
                </a:cxn>
              </a:cxnLst>
              <a:rect l="0" t="0" r="r" b="b"/>
              <a:pathLst>
                <a:path w="66" h="57">
                  <a:moveTo>
                    <a:pt x="7" y="57"/>
                  </a:moveTo>
                  <a:lnTo>
                    <a:pt x="0" y="48"/>
                  </a:lnTo>
                  <a:lnTo>
                    <a:pt x="66" y="0"/>
                  </a:lnTo>
                  <a:lnTo>
                    <a:pt x="7" y="57"/>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38" name="Freeform 83"/>
            <p:cNvSpPr>
              <a:spLocks/>
            </p:cNvSpPr>
            <p:nvPr/>
          </p:nvSpPr>
          <p:spPr bwMode="auto">
            <a:xfrm>
              <a:off x="2304" y="2480"/>
              <a:ext cx="49" cy="49"/>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39" name="Oval 84"/>
            <p:cNvSpPr>
              <a:spLocks noChangeArrowheads="1"/>
            </p:cNvSpPr>
            <p:nvPr/>
          </p:nvSpPr>
          <p:spPr bwMode="auto">
            <a:xfrm>
              <a:off x="2376" y="2482"/>
              <a:ext cx="44" cy="44"/>
            </a:xfrm>
            <a:prstGeom prst="ellipse">
              <a:avLst/>
            </a:prstGeom>
            <a:solidFill>
              <a:srgbClr val="FF8C00"/>
            </a:solidFill>
            <a:ln w="11113" cap="flat">
              <a:solidFill>
                <a:srgbClr val="505050"/>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40" name="Freeform 85"/>
            <p:cNvSpPr>
              <a:spLocks/>
            </p:cNvSpPr>
            <p:nvPr/>
          </p:nvSpPr>
          <p:spPr bwMode="auto">
            <a:xfrm>
              <a:off x="2235" y="2480"/>
              <a:ext cx="49" cy="49"/>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A940"/>
            </a:solidFill>
            <a:ln w="11113" cap="flat">
              <a:solidFill>
                <a:srgbClr val="505050"/>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41" name="Freeform 86"/>
            <p:cNvSpPr>
              <a:spLocks/>
            </p:cNvSpPr>
            <p:nvPr/>
          </p:nvSpPr>
          <p:spPr bwMode="auto">
            <a:xfrm>
              <a:off x="2335" y="1944"/>
              <a:ext cx="42" cy="45"/>
            </a:xfrm>
            <a:custGeom>
              <a:avLst/>
              <a:gdLst>
                <a:gd name="T0" fmla="*/ 45 w 45"/>
                <a:gd name="T1" fmla="*/ 3 h 48"/>
                <a:gd name="T2" fmla="*/ 45 w 45"/>
                <a:gd name="T3" fmla="*/ 0 h 48"/>
                <a:gd name="T4" fmla="*/ 0 w 45"/>
                <a:gd name="T5" fmla="*/ 31 h 48"/>
                <a:gd name="T6" fmla="*/ 0 w 45"/>
                <a:gd name="T7" fmla="*/ 48 h 48"/>
                <a:gd name="T8" fmla="*/ 0 w 45"/>
                <a:gd name="T9" fmla="*/ 48 h 48"/>
                <a:gd name="T10" fmla="*/ 45 w 45"/>
                <a:gd name="T11" fmla="*/ 3 h 48"/>
              </a:gdLst>
              <a:ahLst/>
              <a:cxnLst>
                <a:cxn ang="0">
                  <a:pos x="T0" y="T1"/>
                </a:cxn>
                <a:cxn ang="0">
                  <a:pos x="T2" y="T3"/>
                </a:cxn>
                <a:cxn ang="0">
                  <a:pos x="T4" y="T5"/>
                </a:cxn>
                <a:cxn ang="0">
                  <a:pos x="T6" y="T7"/>
                </a:cxn>
                <a:cxn ang="0">
                  <a:pos x="T8" y="T9"/>
                </a:cxn>
                <a:cxn ang="0">
                  <a:pos x="T10" y="T11"/>
                </a:cxn>
              </a:cxnLst>
              <a:rect l="0" t="0" r="r" b="b"/>
              <a:pathLst>
                <a:path w="45" h="48">
                  <a:moveTo>
                    <a:pt x="45" y="3"/>
                  </a:moveTo>
                  <a:cubicBezTo>
                    <a:pt x="45" y="2"/>
                    <a:pt x="45" y="1"/>
                    <a:pt x="45" y="0"/>
                  </a:cubicBezTo>
                  <a:cubicBezTo>
                    <a:pt x="36" y="18"/>
                    <a:pt x="19" y="29"/>
                    <a:pt x="0" y="31"/>
                  </a:cubicBezTo>
                  <a:cubicBezTo>
                    <a:pt x="0" y="48"/>
                    <a:pt x="0" y="48"/>
                    <a:pt x="0" y="48"/>
                  </a:cubicBezTo>
                  <a:cubicBezTo>
                    <a:pt x="0" y="48"/>
                    <a:pt x="0" y="48"/>
                    <a:pt x="0" y="48"/>
                  </a:cubicBezTo>
                  <a:cubicBezTo>
                    <a:pt x="25" y="48"/>
                    <a:pt x="45" y="28"/>
                    <a:pt x="45" y="3"/>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42" name="Freeform 87"/>
            <p:cNvSpPr>
              <a:spLocks/>
            </p:cNvSpPr>
            <p:nvPr/>
          </p:nvSpPr>
          <p:spPr bwMode="auto">
            <a:xfrm>
              <a:off x="2038" y="1728"/>
              <a:ext cx="221" cy="2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solidFill>
              <a:srgbClr val="FFF2E2"/>
            </a:solid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43" name="Freeform 88"/>
            <p:cNvSpPr>
              <a:spLocks/>
            </p:cNvSpPr>
            <p:nvPr/>
          </p:nvSpPr>
          <p:spPr bwMode="auto">
            <a:xfrm>
              <a:off x="2038" y="1728"/>
              <a:ext cx="221" cy="2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44" name="Freeform 89"/>
            <p:cNvSpPr>
              <a:spLocks/>
            </p:cNvSpPr>
            <p:nvPr/>
          </p:nvSpPr>
          <p:spPr bwMode="auto">
            <a:xfrm>
              <a:off x="2069" y="1758"/>
              <a:ext cx="79" cy="80"/>
            </a:xfrm>
            <a:custGeom>
              <a:avLst/>
              <a:gdLst>
                <a:gd name="T0" fmla="*/ 0 w 85"/>
                <a:gd name="T1" fmla="*/ 86 h 86"/>
                <a:gd name="T2" fmla="*/ 85 w 85"/>
                <a:gd name="T3" fmla="*/ 0 h 86"/>
              </a:gdLst>
              <a:ahLst/>
              <a:cxnLst>
                <a:cxn ang="0">
                  <a:pos x="T0" y="T1"/>
                </a:cxn>
                <a:cxn ang="0">
                  <a:pos x="T2" y="T3"/>
                </a:cxn>
              </a:cxnLst>
              <a:rect l="0" t="0" r="r" b="b"/>
              <a:pathLst>
                <a:path w="85" h="86">
                  <a:moveTo>
                    <a:pt x="0" y="86"/>
                  </a:moveTo>
                  <a:cubicBezTo>
                    <a:pt x="0" y="39"/>
                    <a:pt x="38" y="0"/>
                    <a:pt x="85" y="0"/>
                  </a:cubicBezTo>
                </a:path>
              </a:pathLst>
            </a:cu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45" name="Freeform 90"/>
            <p:cNvSpPr>
              <a:spLocks/>
            </p:cNvSpPr>
            <p:nvPr/>
          </p:nvSpPr>
          <p:spPr bwMode="auto">
            <a:xfrm>
              <a:off x="2646" y="1912"/>
              <a:ext cx="120" cy="93"/>
            </a:xfrm>
            <a:custGeom>
              <a:avLst/>
              <a:gdLst>
                <a:gd name="T0" fmla="*/ 127 w 128"/>
                <a:gd name="T1" fmla="*/ 97 h 101"/>
                <a:gd name="T2" fmla="*/ 82 w 128"/>
                <a:gd name="T3" fmla="*/ 66 h 101"/>
                <a:gd name="T4" fmla="*/ 84 w 128"/>
                <a:gd name="T5" fmla="*/ 60 h 101"/>
                <a:gd name="T6" fmla="*/ 78 w 128"/>
                <a:gd name="T7" fmla="*/ 48 h 101"/>
                <a:gd name="T8" fmla="*/ 78 w 128"/>
                <a:gd name="T9" fmla="*/ 8 h 101"/>
                <a:gd name="T10" fmla="*/ 70 w 128"/>
                <a:gd name="T11" fmla="*/ 0 h 101"/>
                <a:gd name="T12" fmla="*/ 62 w 128"/>
                <a:gd name="T13" fmla="*/ 8 h 101"/>
                <a:gd name="T14" fmla="*/ 62 w 128"/>
                <a:gd name="T15" fmla="*/ 48 h 101"/>
                <a:gd name="T16" fmla="*/ 56 w 128"/>
                <a:gd name="T17" fmla="*/ 56 h 101"/>
                <a:gd name="T18" fmla="*/ 5 w 128"/>
                <a:gd name="T19" fmla="*/ 77 h 101"/>
                <a:gd name="T20" fmla="*/ 1 w 128"/>
                <a:gd name="T21" fmla="*/ 87 h 101"/>
                <a:gd name="T22" fmla="*/ 8 w 128"/>
                <a:gd name="T23" fmla="*/ 92 h 101"/>
                <a:gd name="T24" fmla="*/ 11 w 128"/>
                <a:gd name="T25" fmla="*/ 91 h 101"/>
                <a:gd name="T26" fmla="*/ 62 w 128"/>
                <a:gd name="T27" fmla="*/ 71 h 101"/>
                <a:gd name="T28" fmla="*/ 70 w 128"/>
                <a:gd name="T29" fmla="*/ 74 h 101"/>
                <a:gd name="T30" fmla="*/ 80 w 128"/>
                <a:gd name="T31" fmla="*/ 69 h 101"/>
                <a:gd name="T32" fmla="*/ 125 w 128"/>
                <a:gd name="T33" fmla="*/ 101 h 101"/>
                <a:gd name="T34" fmla="*/ 126 w 128"/>
                <a:gd name="T35" fmla="*/ 101 h 101"/>
                <a:gd name="T36" fmla="*/ 128 w 128"/>
                <a:gd name="T37" fmla="*/ 100 h 101"/>
                <a:gd name="T38" fmla="*/ 127 w 128"/>
                <a:gd name="T39" fmla="*/ 9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01">
                  <a:moveTo>
                    <a:pt x="127" y="97"/>
                  </a:moveTo>
                  <a:cubicBezTo>
                    <a:pt x="82" y="66"/>
                    <a:pt x="82" y="66"/>
                    <a:pt x="82" y="66"/>
                  </a:cubicBezTo>
                  <a:cubicBezTo>
                    <a:pt x="83" y="64"/>
                    <a:pt x="84" y="62"/>
                    <a:pt x="84" y="60"/>
                  </a:cubicBezTo>
                  <a:cubicBezTo>
                    <a:pt x="84" y="55"/>
                    <a:pt x="81" y="50"/>
                    <a:pt x="78" y="48"/>
                  </a:cubicBezTo>
                  <a:cubicBezTo>
                    <a:pt x="78" y="8"/>
                    <a:pt x="78" y="8"/>
                    <a:pt x="78" y="8"/>
                  </a:cubicBezTo>
                  <a:cubicBezTo>
                    <a:pt x="78" y="3"/>
                    <a:pt x="74" y="0"/>
                    <a:pt x="70" y="0"/>
                  </a:cubicBezTo>
                  <a:cubicBezTo>
                    <a:pt x="66" y="0"/>
                    <a:pt x="62" y="3"/>
                    <a:pt x="62" y="8"/>
                  </a:cubicBezTo>
                  <a:cubicBezTo>
                    <a:pt x="62" y="48"/>
                    <a:pt x="62" y="48"/>
                    <a:pt x="62" y="48"/>
                  </a:cubicBezTo>
                  <a:cubicBezTo>
                    <a:pt x="59" y="50"/>
                    <a:pt x="57" y="53"/>
                    <a:pt x="56" y="56"/>
                  </a:cubicBezTo>
                  <a:cubicBezTo>
                    <a:pt x="5" y="77"/>
                    <a:pt x="5" y="77"/>
                    <a:pt x="5" y="77"/>
                  </a:cubicBezTo>
                  <a:cubicBezTo>
                    <a:pt x="2" y="79"/>
                    <a:pt x="0" y="83"/>
                    <a:pt x="1" y="87"/>
                  </a:cubicBezTo>
                  <a:cubicBezTo>
                    <a:pt x="3" y="90"/>
                    <a:pt x="5" y="92"/>
                    <a:pt x="8" y="92"/>
                  </a:cubicBezTo>
                  <a:cubicBezTo>
                    <a:pt x="9" y="92"/>
                    <a:pt x="10" y="92"/>
                    <a:pt x="11" y="91"/>
                  </a:cubicBezTo>
                  <a:cubicBezTo>
                    <a:pt x="62" y="71"/>
                    <a:pt x="62" y="71"/>
                    <a:pt x="62" y="71"/>
                  </a:cubicBezTo>
                  <a:cubicBezTo>
                    <a:pt x="64" y="72"/>
                    <a:pt x="67" y="74"/>
                    <a:pt x="70" y="74"/>
                  </a:cubicBezTo>
                  <a:cubicBezTo>
                    <a:pt x="74" y="74"/>
                    <a:pt x="78" y="72"/>
                    <a:pt x="80" y="69"/>
                  </a:cubicBezTo>
                  <a:cubicBezTo>
                    <a:pt x="125" y="101"/>
                    <a:pt x="125" y="101"/>
                    <a:pt x="125" y="101"/>
                  </a:cubicBezTo>
                  <a:cubicBezTo>
                    <a:pt x="125" y="101"/>
                    <a:pt x="126" y="101"/>
                    <a:pt x="126" y="101"/>
                  </a:cubicBezTo>
                  <a:cubicBezTo>
                    <a:pt x="127" y="101"/>
                    <a:pt x="127" y="101"/>
                    <a:pt x="128" y="100"/>
                  </a:cubicBezTo>
                  <a:cubicBezTo>
                    <a:pt x="128" y="99"/>
                    <a:pt x="128" y="98"/>
                    <a:pt x="127" y="97"/>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46" name="Freeform 91"/>
            <p:cNvSpPr>
              <a:spLocks noEditPoints="1"/>
            </p:cNvSpPr>
            <p:nvPr/>
          </p:nvSpPr>
          <p:spPr bwMode="auto">
            <a:xfrm>
              <a:off x="3106" y="1857"/>
              <a:ext cx="222" cy="220"/>
            </a:xfrm>
            <a:custGeom>
              <a:avLst/>
              <a:gdLst>
                <a:gd name="T0" fmla="*/ 230 w 238"/>
                <a:gd name="T1" fmla="*/ 133 h 237"/>
                <a:gd name="T2" fmla="*/ 105 w 238"/>
                <a:gd name="T3" fmla="*/ 229 h 237"/>
                <a:gd name="T4" fmla="*/ 8 w 238"/>
                <a:gd name="T5" fmla="*/ 104 h 237"/>
                <a:gd name="T6" fmla="*/ 133 w 238"/>
                <a:gd name="T7" fmla="*/ 8 h 237"/>
                <a:gd name="T8" fmla="*/ 230 w 238"/>
                <a:gd name="T9" fmla="*/ 133 h 237"/>
                <a:gd name="T10" fmla="*/ 27 w 238"/>
                <a:gd name="T11" fmla="*/ 107 h 237"/>
                <a:gd name="T12" fmla="*/ 107 w 238"/>
                <a:gd name="T13" fmla="*/ 211 h 237"/>
                <a:gd name="T14" fmla="*/ 211 w 238"/>
                <a:gd name="T15" fmla="*/ 130 h 237"/>
                <a:gd name="T16" fmla="*/ 131 w 238"/>
                <a:gd name="T17" fmla="*/ 27 h 237"/>
                <a:gd name="T18" fmla="*/ 27 w 238"/>
                <a:gd name="T19" fmla="*/ 10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37">
                  <a:moveTo>
                    <a:pt x="230" y="133"/>
                  </a:moveTo>
                  <a:cubicBezTo>
                    <a:pt x="222" y="194"/>
                    <a:pt x="166" y="237"/>
                    <a:pt x="105" y="229"/>
                  </a:cubicBezTo>
                  <a:cubicBezTo>
                    <a:pt x="44" y="222"/>
                    <a:pt x="0" y="165"/>
                    <a:pt x="8" y="104"/>
                  </a:cubicBezTo>
                  <a:cubicBezTo>
                    <a:pt x="16" y="43"/>
                    <a:pt x="72" y="0"/>
                    <a:pt x="133" y="8"/>
                  </a:cubicBezTo>
                  <a:cubicBezTo>
                    <a:pt x="194" y="16"/>
                    <a:pt x="238" y="72"/>
                    <a:pt x="230" y="133"/>
                  </a:cubicBezTo>
                  <a:close/>
                  <a:moveTo>
                    <a:pt x="27" y="107"/>
                  </a:moveTo>
                  <a:cubicBezTo>
                    <a:pt x="20" y="157"/>
                    <a:pt x="56" y="204"/>
                    <a:pt x="107" y="211"/>
                  </a:cubicBezTo>
                  <a:cubicBezTo>
                    <a:pt x="158" y="217"/>
                    <a:pt x="204" y="181"/>
                    <a:pt x="211" y="130"/>
                  </a:cubicBezTo>
                  <a:cubicBezTo>
                    <a:pt x="217" y="80"/>
                    <a:pt x="181" y="33"/>
                    <a:pt x="131" y="27"/>
                  </a:cubicBezTo>
                  <a:cubicBezTo>
                    <a:pt x="80" y="20"/>
                    <a:pt x="34" y="56"/>
                    <a:pt x="27" y="107"/>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47" name="Freeform 92"/>
            <p:cNvSpPr>
              <a:spLocks/>
            </p:cNvSpPr>
            <p:nvPr/>
          </p:nvSpPr>
          <p:spPr bwMode="auto">
            <a:xfrm>
              <a:off x="3168" y="1918"/>
              <a:ext cx="94" cy="116"/>
            </a:xfrm>
            <a:custGeom>
              <a:avLst/>
              <a:gdLst>
                <a:gd name="T0" fmla="*/ 98 w 101"/>
                <a:gd name="T1" fmla="*/ 1 h 125"/>
                <a:gd name="T2" fmla="*/ 61 w 101"/>
                <a:gd name="T3" fmla="*/ 41 h 125"/>
                <a:gd name="T4" fmla="*/ 55 w 101"/>
                <a:gd name="T5" fmla="*/ 39 h 125"/>
                <a:gd name="T6" fmla="*/ 42 w 101"/>
                <a:gd name="T7" fmla="*/ 44 h 125"/>
                <a:gd name="T8" fmla="*/ 14 w 101"/>
                <a:gd name="T9" fmla="*/ 15 h 125"/>
                <a:gd name="T10" fmla="*/ 3 w 101"/>
                <a:gd name="T11" fmla="*/ 15 h 125"/>
                <a:gd name="T12" fmla="*/ 3 w 101"/>
                <a:gd name="T13" fmla="*/ 26 h 125"/>
                <a:gd name="T14" fmla="*/ 36 w 101"/>
                <a:gd name="T15" fmla="*/ 55 h 125"/>
                <a:gd name="T16" fmla="*/ 48 w 101"/>
                <a:gd name="T17" fmla="*/ 66 h 125"/>
                <a:gd name="T18" fmla="*/ 62 w 101"/>
                <a:gd name="T19" fmla="*/ 119 h 125"/>
                <a:gd name="T20" fmla="*/ 72 w 101"/>
                <a:gd name="T21" fmla="*/ 124 h 125"/>
                <a:gd name="T22" fmla="*/ 77 w 101"/>
                <a:gd name="T23" fmla="*/ 118 h 125"/>
                <a:gd name="T24" fmla="*/ 77 w 101"/>
                <a:gd name="T25" fmla="*/ 115 h 125"/>
                <a:gd name="T26" fmla="*/ 63 w 101"/>
                <a:gd name="T27" fmla="*/ 62 h 125"/>
                <a:gd name="T28" fmla="*/ 67 w 101"/>
                <a:gd name="T29" fmla="*/ 54 h 125"/>
                <a:gd name="T30" fmla="*/ 64 w 101"/>
                <a:gd name="T31" fmla="*/ 44 h 125"/>
                <a:gd name="T32" fmla="*/ 101 w 101"/>
                <a:gd name="T33" fmla="*/ 3 h 125"/>
                <a:gd name="T34" fmla="*/ 101 w 101"/>
                <a:gd name="T35" fmla="*/ 2 h 125"/>
                <a:gd name="T36" fmla="*/ 101 w 101"/>
                <a:gd name="T37" fmla="*/ 1 h 125"/>
                <a:gd name="T38" fmla="*/ 98 w 101"/>
                <a:gd name="T39" fmla="*/ 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25">
                  <a:moveTo>
                    <a:pt x="98" y="1"/>
                  </a:moveTo>
                  <a:cubicBezTo>
                    <a:pt x="61" y="41"/>
                    <a:pt x="61" y="41"/>
                    <a:pt x="61" y="41"/>
                  </a:cubicBezTo>
                  <a:cubicBezTo>
                    <a:pt x="59" y="40"/>
                    <a:pt x="57" y="39"/>
                    <a:pt x="55" y="39"/>
                  </a:cubicBezTo>
                  <a:cubicBezTo>
                    <a:pt x="50" y="38"/>
                    <a:pt x="45" y="40"/>
                    <a:pt x="42" y="44"/>
                  </a:cubicBezTo>
                  <a:cubicBezTo>
                    <a:pt x="14" y="15"/>
                    <a:pt x="14" y="15"/>
                    <a:pt x="14" y="15"/>
                  </a:cubicBezTo>
                  <a:cubicBezTo>
                    <a:pt x="11" y="12"/>
                    <a:pt x="6" y="12"/>
                    <a:pt x="3" y="15"/>
                  </a:cubicBezTo>
                  <a:cubicBezTo>
                    <a:pt x="0" y="18"/>
                    <a:pt x="0" y="23"/>
                    <a:pt x="3" y="26"/>
                  </a:cubicBezTo>
                  <a:cubicBezTo>
                    <a:pt x="36" y="55"/>
                    <a:pt x="36" y="55"/>
                    <a:pt x="36" y="55"/>
                  </a:cubicBezTo>
                  <a:cubicBezTo>
                    <a:pt x="37" y="58"/>
                    <a:pt x="45" y="64"/>
                    <a:pt x="48" y="66"/>
                  </a:cubicBezTo>
                  <a:cubicBezTo>
                    <a:pt x="62" y="119"/>
                    <a:pt x="62" y="119"/>
                    <a:pt x="62" y="119"/>
                  </a:cubicBezTo>
                  <a:cubicBezTo>
                    <a:pt x="63" y="123"/>
                    <a:pt x="68" y="125"/>
                    <a:pt x="72" y="124"/>
                  </a:cubicBezTo>
                  <a:cubicBezTo>
                    <a:pt x="75" y="123"/>
                    <a:pt x="77" y="121"/>
                    <a:pt x="77" y="118"/>
                  </a:cubicBezTo>
                  <a:cubicBezTo>
                    <a:pt x="77" y="117"/>
                    <a:pt x="77" y="116"/>
                    <a:pt x="77" y="115"/>
                  </a:cubicBezTo>
                  <a:cubicBezTo>
                    <a:pt x="63" y="62"/>
                    <a:pt x="63" y="62"/>
                    <a:pt x="63" y="62"/>
                  </a:cubicBezTo>
                  <a:cubicBezTo>
                    <a:pt x="65" y="60"/>
                    <a:pt x="66" y="58"/>
                    <a:pt x="67" y="54"/>
                  </a:cubicBezTo>
                  <a:cubicBezTo>
                    <a:pt x="67" y="50"/>
                    <a:pt x="66" y="46"/>
                    <a:pt x="64" y="44"/>
                  </a:cubicBezTo>
                  <a:cubicBezTo>
                    <a:pt x="101" y="3"/>
                    <a:pt x="101" y="3"/>
                    <a:pt x="101" y="3"/>
                  </a:cubicBezTo>
                  <a:cubicBezTo>
                    <a:pt x="101" y="3"/>
                    <a:pt x="101" y="3"/>
                    <a:pt x="101" y="2"/>
                  </a:cubicBezTo>
                  <a:cubicBezTo>
                    <a:pt x="101" y="2"/>
                    <a:pt x="101" y="1"/>
                    <a:pt x="101" y="1"/>
                  </a:cubicBezTo>
                  <a:cubicBezTo>
                    <a:pt x="100" y="0"/>
                    <a:pt x="99" y="0"/>
                    <a:pt x="98" y="1"/>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48" name="Freeform 93"/>
            <p:cNvSpPr>
              <a:spLocks noEditPoints="1"/>
            </p:cNvSpPr>
            <p:nvPr/>
          </p:nvSpPr>
          <p:spPr bwMode="auto">
            <a:xfrm>
              <a:off x="2860" y="1864"/>
              <a:ext cx="209" cy="206"/>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49" name="Freeform 94"/>
            <p:cNvSpPr>
              <a:spLocks noEditPoints="1"/>
            </p:cNvSpPr>
            <p:nvPr/>
          </p:nvSpPr>
          <p:spPr bwMode="auto">
            <a:xfrm>
              <a:off x="2607" y="1864"/>
              <a:ext cx="209" cy="206"/>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50" name="Freeform 95"/>
            <p:cNvSpPr>
              <a:spLocks/>
            </p:cNvSpPr>
            <p:nvPr/>
          </p:nvSpPr>
          <p:spPr bwMode="auto">
            <a:xfrm>
              <a:off x="2908" y="1905"/>
              <a:ext cx="70" cy="126"/>
            </a:xfrm>
            <a:custGeom>
              <a:avLst/>
              <a:gdLst>
                <a:gd name="T0" fmla="*/ 60 w 74"/>
                <a:gd name="T1" fmla="*/ 2 h 135"/>
                <a:gd name="T2" fmla="*/ 66 w 74"/>
                <a:gd name="T3" fmla="*/ 54 h 135"/>
                <a:gd name="T4" fmla="*/ 60 w 74"/>
                <a:gd name="T5" fmla="*/ 53 h 135"/>
                <a:gd name="T6" fmla="*/ 48 w 74"/>
                <a:gd name="T7" fmla="*/ 59 h 135"/>
                <a:gd name="T8" fmla="*/ 8 w 74"/>
                <a:gd name="T9" fmla="*/ 59 h 135"/>
                <a:gd name="T10" fmla="*/ 0 w 74"/>
                <a:gd name="T11" fmla="*/ 67 h 135"/>
                <a:gd name="T12" fmla="*/ 8 w 74"/>
                <a:gd name="T13" fmla="*/ 74 h 135"/>
                <a:gd name="T14" fmla="*/ 48 w 74"/>
                <a:gd name="T15" fmla="*/ 74 h 135"/>
                <a:gd name="T16" fmla="*/ 57 w 74"/>
                <a:gd name="T17" fmla="*/ 80 h 135"/>
                <a:gd name="T18" fmla="*/ 45 w 74"/>
                <a:gd name="T19" fmla="*/ 125 h 135"/>
                <a:gd name="T20" fmla="*/ 50 w 74"/>
                <a:gd name="T21" fmla="*/ 134 h 135"/>
                <a:gd name="T22" fmla="*/ 58 w 74"/>
                <a:gd name="T23" fmla="*/ 131 h 135"/>
                <a:gd name="T24" fmla="*/ 59 w 74"/>
                <a:gd name="T25" fmla="*/ 128 h 135"/>
                <a:gd name="T26" fmla="*/ 71 w 74"/>
                <a:gd name="T27" fmla="*/ 75 h 135"/>
                <a:gd name="T28" fmla="*/ 74 w 74"/>
                <a:gd name="T29" fmla="*/ 67 h 135"/>
                <a:gd name="T30" fmla="*/ 69 w 74"/>
                <a:gd name="T31" fmla="*/ 56 h 135"/>
                <a:gd name="T32" fmla="*/ 64 w 74"/>
                <a:gd name="T33" fmla="*/ 2 h 135"/>
                <a:gd name="T34" fmla="*/ 64 w 74"/>
                <a:gd name="T35" fmla="*/ 1 h 135"/>
                <a:gd name="T36" fmla="*/ 62 w 74"/>
                <a:gd name="T37" fmla="*/ 0 h 135"/>
                <a:gd name="T38" fmla="*/ 60 w 74"/>
                <a:gd name="T39" fmla="*/ 2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135">
                  <a:moveTo>
                    <a:pt x="60" y="2"/>
                  </a:moveTo>
                  <a:cubicBezTo>
                    <a:pt x="66" y="54"/>
                    <a:pt x="66" y="54"/>
                    <a:pt x="66" y="54"/>
                  </a:cubicBezTo>
                  <a:cubicBezTo>
                    <a:pt x="64" y="53"/>
                    <a:pt x="62" y="53"/>
                    <a:pt x="60" y="53"/>
                  </a:cubicBezTo>
                  <a:cubicBezTo>
                    <a:pt x="55" y="53"/>
                    <a:pt x="51" y="55"/>
                    <a:pt x="48" y="59"/>
                  </a:cubicBezTo>
                  <a:cubicBezTo>
                    <a:pt x="8" y="59"/>
                    <a:pt x="8" y="59"/>
                    <a:pt x="8" y="59"/>
                  </a:cubicBezTo>
                  <a:cubicBezTo>
                    <a:pt x="4" y="59"/>
                    <a:pt x="0" y="62"/>
                    <a:pt x="0" y="67"/>
                  </a:cubicBezTo>
                  <a:cubicBezTo>
                    <a:pt x="0" y="71"/>
                    <a:pt x="4" y="74"/>
                    <a:pt x="8" y="74"/>
                  </a:cubicBezTo>
                  <a:cubicBezTo>
                    <a:pt x="48" y="74"/>
                    <a:pt x="48" y="74"/>
                    <a:pt x="48" y="74"/>
                  </a:cubicBezTo>
                  <a:cubicBezTo>
                    <a:pt x="50" y="77"/>
                    <a:pt x="53" y="79"/>
                    <a:pt x="57" y="80"/>
                  </a:cubicBezTo>
                  <a:cubicBezTo>
                    <a:pt x="45" y="125"/>
                    <a:pt x="45" y="125"/>
                    <a:pt x="45" y="125"/>
                  </a:cubicBezTo>
                  <a:cubicBezTo>
                    <a:pt x="44" y="129"/>
                    <a:pt x="46" y="133"/>
                    <a:pt x="50" y="134"/>
                  </a:cubicBezTo>
                  <a:cubicBezTo>
                    <a:pt x="53" y="135"/>
                    <a:pt x="57" y="133"/>
                    <a:pt x="58" y="131"/>
                  </a:cubicBezTo>
                  <a:cubicBezTo>
                    <a:pt x="59" y="130"/>
                    <a:pt x="59" y="129"/>
                    <a:pt x="59" y="128"/>
                  </a:cubicBezTo>
                  <a:cubicBezTo>
                    <a:pt x="71" y="75"/>
                    <a:pt x="71" y="75"/>
                    <a:pt x="71" y="75"/>
                  </a:cubicBezTo>
                  <a:cubicBezTo>
                    <a:pt x="73" y="73"/>
                    <a:pt x="74" y="70"/>
                    <a:pt x="74" y="67"/>
                  </a:cubicBezTo>
                  <a:cubicBezTo>
                    <a:pt x="74" y="62"/>
                    <a:pt x="72" y="59"/>
                    <a:pt x="69" y="56"/>
                  </a:cubicBezTo>
                  <a:cubicBezTo>
                    <a:pt x="64" y="2"/>
                    <a:pt x="64" y="2"/>
                    <a:pt x="64" y="2"/>
                  </a:cubicBezTo>
                  <a:cubicBezTo>
                    <a:pt x="64" y="1"/>
                    <a:pt x="64" y="1"/>
                    <a:pt x="64" y="1"/>
                  </a:cubicBezTo>
                  <a:cubicBezTo>
                    <a:pt x="63" y="0"/>
                    <a:pt x="63" y="0"/>
                    <a:pt x="62" y="0"/>
                  </a:cubicBezTo>
                  <a:cubicBezTo>
                    <a:pt x="61" y="0"/>
                    <a:pt x="60" y="1"/>
                    <a:pt x="60" y="2"/>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51" name="Freeform 96"/>
            <p:cNvSpPr>
              <a:spLocks/>
            </p:cNvSpPr>
            <p:nvPr/>
          </p:nvSpPr>
          <p:spPr bwMode="auto">
            <a:xfrm>
              <a:off x="1926" y="2905"/>
              <a:ext cx="1400" cy="49"/>
            </a:xfrm>
            <a:custGeom>
              <a:avLst/>
              <a:gdLst>
                <a:gd name="T0" fmla="*/ 1476 w 1502"/>
                <a:gd name="T1" fmla="*/ 52 h 52"/>
                <a:gd name="T2" fmla="*/ 26 w 1502"/>
                <a:gd name="T3" fmla="*/ 52 h 52"/>
                <a:gd name="T4" fmla="*/ 0 w 1502"/>
                <a:gd name="T5" fmla="*/ 26 h 52"/>
                <a:gd name="T6" fmla="*/ 26 w 1502"/>
                <a:gd name="T7" fmla="*/ 0 h 52"/>
                <a:gd name="T8" fmla="*/ 1476 w 1502"/>
                <a:gd name="T9" fmla="*/ 0 h 52"/>
                <a:gd name="T10" fmla="*/ 1502 w 1502"/>
                <a:gd name="T11" fmla="*/ 26 h 52"/>
                <a:gd name="T12" fmla="*/ 1476 w 150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02" h="52">
                  <a:moveTo>
                    <a:pt x="1476" y="52"/>
                  </a:moveTo>
                  <a:cubicBezTo>
                    <a:pt x="26" y="52"/>
                    <a:pt x="26" y="52"/>
                    <a:pt x="26" y="52"/>
                  </a:cubicBezTo>
                  <a:cubicBezTo>
                    <a:pt x="12" y="52"/>
                    <a:pt x="0" y="40"/>
                    <a:pt x="0" y="26"/>
                  </a:cubicBezTo>
                  <a:cubicBezTo>
                    <a:pt x="0" y="11"/>
                    <a:pt x="12" y="0"/>
                    <a:pt x="26" y="0"/>
                  </a:cubicBezTo>
                  <a:cubicBezTo>
                    <a:pt x="1476" y="0"/>
                    <a:pt x="1476" y="0"/>
                    <a:pt x="1476" y="0"/>
                  </a:cubicBezTo>
                  <a:cubicBezTo>
                    <a:pt x="1490" y="0"/>
                    <a:pt x="1502" y="11"/>
                    <a:pt x="1502" y="26"/>
                  </a:cubicBezTo>
                  <a:cubicBezTo>
                    <a:pt x="1502" y="40"/>
                    <a:pt x="1490" y="52"/>
                    <a:pt x="1476" y="52"/>
                  </a:cubicBez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52" name="Freeform 97"/>
            <p:cNvSpPr>
              <a:spLocks/>
            </p:cNvSpPr>
            <p:nvPr/>
          </p:nvSpPr>
          <p:spPr bwMode="auto">
            <a:xfrm>
              <a:off x="1156" y="2792"/>
              <a:ext cx="772" cy="48"/>
            </a:xfrm>
            <a:custGeom>
              <a:avLst/>
              <a:gdLst>
                <a:gd name="T0" fmla="*/ 801 w 828"/>
                <a:gd name="T1" fmla="*/ 52 h 52"/>
                <a:gd name="T2" fmla="*/ 26 w 828"/>
                <a:gd name="T3" fmla="*/ 52 h 52"/>
                <a:gd name="T4" fmla="*/ 0 w 828"/>
                <a:gd name="T5" fmla="*/ 26 h 52"/>
                <a:gd name="T6" fmla="*/ 26 w 828"/>
                <a:gd name="T7" fmla="*/ 0 h 52"/>
                <a:gd name="T8" fmla="*/ 801 w 828"/>
                <a:gd name="T9" fmla="*/ 0 h 52"/>
                <a:gd name="T10" fmla="*/ 828 w 828"/>
                <a:gd name="T11" fmla="*/ 26 h 52"/>
                <a:gd name="T12" fmla="*/ 801 w 8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828" h="52">
                  <a:moveTo>
                    <a:pt x="801" y="52"/>
                  </a:moveTo>
                  <a:cubicBezTo>
                    <a:pt x="26" y="52"/>
                    <a:pt x="26" y="52"/>
                    <a:pt x="26" y="52"/>
                  </a:cubicBezTo>
                  <a:cubicBezTo>
                    <a:pt x="11" y="52"/>
                    <a:pt x="0" y="41"/>
                    <a:pt x="0" y="26"/>
                  </a:cubicBezTo>
                  <a:cubicBezTo>
                    <a:pt x="0" y="12"/>
                    <a:pt x="11" y="0"/>
                    <a:pt x="26" y="0"/>
                  </a:cubicBezTo>
                  <a:cubicBezTo>
                    <a:pt x="801" y="0"/>
                    <a:pt x="801" y="0"/>
                    <a:pt x="801" y="0"/>
                  </a:cubicBezTo>
                  <a:cubicBezTo>
                    <a:pt x="816" y="0"/>
                    <a:pt x="828" y="12"/>
                    <a:pt x="828" y="26"/>
                  </a:cubicBezTo>
                  <a:cubicBezTo>
                    <a:pt x="828" y="41"/>
                    <a:pt x="816" y="52"/>
                    <a:pt x="801" y="52"/>
                  </a:cubicBez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53" name="Freeform 98"/>
            <p:cNvSpPr>
              <a:spLocks/>
            </p:cNvSpPr>
            <p:nvPr/>
          </p:nvSpPr>
          <p:spPr bwMode="auto">
            <a:xfrm>
              <a:off x="1764" y="2249"/>
              <a:ext cx="17" cy="46"/>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54" name="Freeform 99"/>
            <p:cNvSpPr>
              <a:spLocks/>
            </p:cNvSpPr>
            <p:nvPr/>
          </p:nvSpPr>
          <p:spPr bwMode="auto">
            <a:xfrm>
              <a:off x="1756" y="2339"/>
              <a:ext cx="17" cy="4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55" name="Freeform 100"/>
            <p:cNvSpPr>
              <a:spLocks/>
            </p:cNvSpPr>
            <p:nvPr/>
          </p:nvSpPr>
          <p:spPr bwMode="auto">
            <a:xfrm>
              <a:off x="1831" y="2326"/>
              <a:ext cx="17" cy="4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56" name="Freeform 101"/>
            <p:cNvSpPr>
              <a:spLocks noEditPoints="1"/>
            </p:cNvSpPr>
            <p:nvPr/>
          </p:nvSpPr>
          <p:spPr bwMode="auto">
            <a:xfrm>
              <a:off x="1786" y="2298"/>
              <a:ext cx="30" cy="46"/>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57" name="Freeform 102"/>
            <p:cNvSpPr>
              <a:spLocks noEditPoints="1"/>
            </p:cNvSpPr>
            <p:nvPr/>
          </p:nvSpPr>
          <p:spPr bwMode="auto">
            <a:xfrm>
              <a:off x="1799" y="236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58" name="Freeform 103"/>
            <p:cNvSpPr>
              <a:spLocks noEditPoints="1"/>
            </p:cNvSpPr>
            <p:nvPr/>
          </p:nvSpPr>
          <p:spPr bwMode="auto">
            <a:xfrm>
              <a:off x="1719" y="2303"/>
              <a:ext cx="31" cy="4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59" name="Freeform 104"/>
            <p:cNvSpPr>
              <a:spLocks noEditPoints="1"/>
            </p:cNvSpPr>
            <p:nvPr/>
          </p:nvSpPr>
          <p:spPr bwMode="auto">
            <a:xfrm>
              <a:off x="1859" y="229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60" name="Freeform 105"/>
            <p:cNvSpPr>
              <a:spLocks/>
            </p:cNvSpPr>
            <p:nvPr/>
          </p:nvSpPr>
          <p:spPr bwMode="auto">
            <a:xfrm>
              <a:off x="1764" y="2249"/>
              <a:ext cx="17" cy="46"/>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61" name="Freeform 106"/>
            <p:cNvSpPr>
              <a:spLocks/>
            </p:cNvSpPr>
            <p:nvPr/>
          </p:nvSpPr>
          <p:spPr bwMode="auto">
            <a:xfrm>
              <a:off x="1756" y="2339"/>
              <a:ext cx="17" cy="4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62" name="Freeform 107"/>
            <p:cNvSpPr>
              <a:spLocks/>
            </p:cNvSpPr>
            <p:nvPr/>
          </p:nvSpPr>
          <p:spPr bwMode="auto">
            <a:xfrm>
              <a:off x="1831" y="2326"/>
              <a:ext cx="17" cy="4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63" name="Freeform 108"/>
            <p:cNvSpPr>
              <a:spLocks noEditPoints="1"/>
            </p:cNvSpPr>
            <p:nvPr/>
          </p:nvSpPr>
          <p:spPr bwMode="auto">
            <a:xfrm>
              <a:off x="1786" y="2298"/>
              <a:ext cx="30" cy="46"/>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64" name="Freeform 109"/>
            <p:cNvSpPr>
              <a:spLocks noEditPoints="1"/>
            </p:cNvSpPr>
            <p:nvPr/>
          </p:nvSpPr>
          <p:spPr bwMode="auto">
            <a:xfrm>
              <a:off x="1799" y="236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65" name="Freeform 110"/>
            <p:cNvSpPr>
              <a:spLocks noEditPoints="1"/>
            </p:cNvSpPr>
            <p:nvPr/>
          </p:nvSpPr>
          <p:spPr bwMode="auto">
            <a:xfrm>
              <a:off x="1719" y="2303"/>
              <a:ext cx="31" cy="4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66" name="Freeform 111"/>
            <p:cNvSpPr>
              <a:spLocks noEditPoints="1"/>
            </p:cNvSpPr>
            <p:nvPr/>
          </p:nvSpPr>
          <p:spPr bwMode="auto">
            <a:xfrm>
              <a:off x="1859" y="229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67" name="Freeform 112"/>
            <p:cNvSpPr>
              <a:spLocks/>
            </p:cNvSpPr>
            <p:nvPr/>
          </p:nvSpPr>
          <p:spPr bwMode="auto">
            <a:xfrm>
              <a:off x="1620" y="2158"/>
              <a:ext cx="349" cy="98"/>
            </a:xfrm>
            <a:custGeom>
              <a:avLst/>
              <a:gdLst>
                <a:gd name="T0" fmla="*/ 336 w 375"/>
                <a:gd name="T1" fmla="*/ 0 h 106"/>
                <a:gd name="T2" fmla="*/ 340 w 375"/>
                <a:gd name="T3" fmla="*/ 30 h 106"/>
                <a:gd name="T4" fmla="*/ 309 w 375"/>
                <a:gd name="T5" fmla="*/ 71 h 106"/>
                <a:gd name="T6" fmla="*/ 278 w 375"/>
                <a:gd name="T7" fmla="*/ 76 h 106"/>
                <a:gd name="T8" fmla="*/ 17 w 375"/>
                <a:gd name="T9" fmla="*/ 37 h 106"/>
                <a:gd name="T10" fmla="*/ 0 w 375"/>
                <a:gd name="T11" fmla="*/ 32 h 106"/>
                <a:gd name="T12" fmla="*/ 49 w 375"/>
                <a:gd name="T13" fmla="*/ 66 h 106"/>
                <a:gd name="T14" fmla="*/ 310 w 375"/>
                <a:gd name="T15" fmla="*/ 105 h 106"/>
                <a:gd name="T16" fmla="*/ 340 w 375"/>
                <a:gd name="T17" fmla="*/ 100 h 106"/>
                <a:gd name="T18" fmla="*/ 371 w 375"/>
                <a:gd name="T19" fmla="*/ 59 h 106"/>
                <a:gd name="T20" fmla="*/ 336 w 375"/>
                <a:gd name="T2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 h="106">
                  <a:moveTo>
                    <a:pt x="336" y="0"/>
                  </a:moveTo>
                  <a:cubicBezTo>
                    <a:pt x="340" y="9"/>
                    <a:pt x="341" y="20"/>
                    <a:pt x="340" y="30"/>
                  </a:cubicBezTo>
                  <a:cubicBezTo>
                    <a:pt x="337" y="49"/>
                    <a:pt x="325" y="64"/>
                    <a:pt x="309" y="71"/>
                  </a:cubicBezTo>
                  <a:cubicBezTo>
                    <a:pt x="300" y="76"/>
                    <a:pt x="289" y="77"/>
                    <a:pt x="278" y="76"/>
                  </a:cubicBezTo>
                  <a:cubicBezTo>
                    <a:pt x="17" y="37"/>
                    <a:pt x="17" y="37"/>
                    <a:pt x="17" y="37"/>
                  </a:cubicBezTo>
                  <a:cubicBezTo>
                    <a:pt x="11" y="36"/>
                    <a:pt x="5" y="34"/>
                    <a:pt x="0" y="32"/>
                  </a:cubicBezTo>
                  <a:cubicBezTo>
                    <a:pt x="10" y="50"/>
                    <a:pt x="28" y="63"/>
                    <a:pt x="49" y="66"/>
                  </a:cubicBezTo>
                  <a:cubicBezTo>
                    <a:pt x="310" y="105"/>
                    <a:pt x="310" y="105"/>
                    <a:pt x="310" y="105"/>
                  </a:cubicBezTo>
                  <a:cubicBezTo>
                    <a:pt x="321" y="106"/>
                    <a:pt x="331" y="105"/>
                    <a:pt x="340" y="100"/>
                  </a:cubicBezTo>
                  <a:cubicBezTo>
                    <a:pt x="357" y="93"/>
                    <a:pt x="369" y="78"/>
                    <a:pt x="371" y="59"/>
                  </a:cubicBezTo>
                  <a:cubicBezTo>
                    <a:pt x="375" y="33"/>
                    <a:pt x="360" y="9"/>
                    <a:pt x="336"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68" name="Freeform 113"/>
            <p:cNvSpPr>
              <a:spLocks/>
            </p:cNvSpPr>
            <p:nvPr/>
          </p:nvSpPr>
          <p:spPr bwMode="auto">
            <a:xfrm>
              <a:off x="2969" y="2677"/>
              <a:ext cx="174" cy="346"/>
            </a:xfrm>
            <a:custGeom>
              <a:avLst/>
              <a:gdLst>
                <a:gd name="T0" fmla="*/ 103 w 187"/>
                <a:gd name="T1" fmla="*/ 0 h 373"/>
                <a:gd name="T2" fmla="*/ 0 w 187"/>
                <a:gd name="T3" fmla="*/ 33 h 373"/>
                <a:gd name="T4" fmla="*/ 75 w 187"/>
                <a:gd name="T5" fmla="*/ 331 h 373"/>
                <a:gd name="T6" fmla="*/ 112 w 187"/>
                <a:gd name="T7" fmla="*/ 370 h 373"/>
                <a:gd name="T8" fmla="*/ 141 w 187"/>
                <a:gd name="T9" fmla="*/ 370 h 373"/>
                <a:gd name="T10" fmla="*/ 180 w 187"/>
                <a:gd name="T11" fmla="*/ 305 h 373"/>
                <a:gd name="T12" fmla="*/ 103 w 187"/>
                <a:gd name="T13" fmla="*/ 0 h 373"/>
              </a:gdLst>
              <a:ahLst/>
              <a:cxnLst>
                <a:cxn ang="0">
                  <a:pos x="T0" y="T1"/>
                </a:cxn>
                <a:cxn ang="0">
                  <a:pos x="T2" y="T3"/>
                </a:cxn>
                <a:cxn ang="0">
                  <a:pos x="T4" y="T5"/>
                </a:cxn>
                <a:cxn ang="0">
                  <a:pos x="T6" y="T7"/>
                </a:cxn>
                <a:cxn ang="0">
                  <a:pos x="T8" y="T9"/>
                </a:cxn>
                <a:cxn ang="0">
                  <a:pos x="T10" y="T11"/>
                </a:cxn>
                <a:cxn ang="0">
                  <a:pos x="T12" y="T13"/>
                </a:cxn>
              </a:cxnLst>
              <a:rect l="0" t="0" r="r" b="b"/>
              <a:pathLst>
                <a:path w="187" h="373">
                  <a:moveTo>
                    <a:pt x="103" y="0"/>
                  </a:moveTo>
                  <a:cubicBezTo>
                    <a:pt x="71" y="17"/>
                    <a:pt x="37" y="28"/>
                    <a:pt x="0" y="33"/>
                  </a:cubicBezTo>
                  <a:cubicBezTo>
                    <a:pt x="75" y="331"/>
                    <a:pt x="75" y="331"/>
                    <a:pt x="75" y="331"/>
                  </a:cubicBezTo>
                  <a:cubicBezTo>
                    <a:pt x="80" y="350"/>
                    <a:pt x="94" y="364"/>
                    <a:pt x="112" y="370"/>
                  </a:cubicBezTo>
                  <a:cubicBezTo>
                    <a:pt x="121" y="373"/>
                    <a:pt x="131" y="373"/>
                    <a:pt x="141" y="370"/>
                  </a:cubicBezTo>
                  <a:cubicBezTo>
                    <a:pt x="170" y="363"/>
                    <a:pt x="187" y="334"/>
                    <a:pt x="180" y="305"/>
                  </a:cubicBezTo>
                  <a:lnTo>
                    <a:pt x="103"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69" name="Freeform 114"/>
            <p:cNvSpPr>
              <a:spLocks/>
            </p:cNvSpPr>
            <p:nvPr/>
          </p:nvSpPr>
          <p:spPr bwMode="auto">
            <a:xfrm>
              <a:off x="2967" y="2671"/>
              <a:ext cx="107" cy="68"/>
            </a:xfrm>
            <a:custGeom>
              <a:avLst/>
              <a:gdLst>
                <a:gd name="T0" fmla="*/ 55 w 114"/>
                <a:gd name="T1" fmla="*/ 21 h 74"/>
                <a:gd name="T2" fmla="*/ 0 w 114"/>
                <a:gd name="T3" fmla="*/ 32 h 74"/>
                <a:gd name="T4" fmla="*/ 10 w 114"/>
                <a:gd name="T5" fmla="*/ 74 h 74"/>
                <a:gd name="T6" fmla="*/ 114 w 114"/>
                <a:gd name="T7" fmla="*/ 42 h 74"/>
                <a:gd name="T8" fmla="*/ 103 w 114"/>
                <a:gd name="T9" fmla="*/ 0 h 74"/>
                <a:gd name="T10" fmla="*/ 55 w 114"/>
                <a:gd name="T11" fmla="*/ 21 h 74"/>
              </a:gdLst>
              <a:ahLst/>
              <a:cxnLst>
                <a:cxn ang="0">
                  <a:pos x="T0" y="T1"/>
                </a:cxn>
                <a:cxn ang="0">
                  <a:pos x="T2" y="T3"/>
                </a:cxn>
                <a:cxn ang="0">
                  <a:pos x="T4" y="T5"/>
                </a:cxn>
                <a:cxn ang="0">
                  <a:pos x="T6" y="T7"/>
                </a:cxn>
                <a:cxn ang="0">
                  <a:pos x="T8" y="T9"/>
                </a:cxn>
                <a:cxn ang="0">
                  <a:pos x="T10" y="T11"/>
                </a:cxn>
              </a:cxnLst>
              <a:rect l="0" t="0" r="r" b="b"/>
              <a:pathLst>
                <a:path w="114" h="74">
                  <a:moveTo>
                    <a:pt x="55" y="21"/>
                  </a:moveTo>
                  <a:cubicBezTo>
                    <a:pt x="37" y="27"/>
                    <a:pt x="18" y="30"/>
                    <a:pt x="0" y="32"/>
                  </a:cubicBezTo>
                  <a:cubicBezTo>
                    <a:pt x="10" y="74"/>
                    <a:pt x="10" y="74"/>
                    <a:pt x="10" y="74"/>
                  </a:cubicBezTo>
                  <a:cubicBezTo>
                    <a:pt x="47" y="70"/>
                    <a:pt x="82" y="59"/>
                    <a:pt x="114" y="42"/>
                  </a:cubicBezTo>
                  <a:cubicBezTo>
                    <a:pt x="103" y="0"/>
                    <a:pt x="103" y="0"/>
                    <a:pt x="103" y="0"/>
                  </a:cubicBezTo>
                  <a:cubicBezTo>
                    <a:pt x="88" y="8"/>
                    <a:pt x="72" y="15"/>
                    <a:pt x="55" y="21"/>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70" name="Freeform 115"/>
            <p:cNvSpPr>
              <a:spLocks/>
            </p:cNvSpPr>
            <p:nvPr/>
          </p:nvSpPr>
          <p:spPr bwMode="auto">
            <a:xfrm>
              <a:off x="2916" y="2715"/>
              <a:ext cx="587" cy="708"/>
            </a:xfrm>
            <a:custGeom>
              <a:avLst/>
              <a:gdLst>
                <a:gd name="T0" fmla="*/ 21 w 629"/>
                <a:gd name="T1" fmla="*/ 183 h 763"/>
                <a:gd name="T2" fmla="*/ 21 w 629"/>
                <a:gd name="T3" fmla="*/ 184 h 763"/>
                <a:gd name="T4" fmla="*/ 8 w 629"/>
                <a:gd name="T5" fmla="*/ 198 h 763"/>
                <a:gd name="T6" fmla="*/ 20 w 629"/>
                <a:gd name="T7" fmla="*/ 241 h 763"/>
                <a:gd name="T8" fmla="*/ 5 w 629"/>
                <a:gd name="T9" fmla="*/ 265 h 763"/>
                <a:gd name="T10" fmla="*/ 25 w 629"/>
                <a:gd name="T11" fmla="*/ 299 h 763"/>
                <a:gd name="T12" fmla="*/ 92 w 629"/>
                <a:gd name="T13" fmla="*/ 331 h 763"/>
                <a:gd name="T14" fmla="*/ 424 w 629"/>
                <a:gd name="T15" fmla="*/ 763 h 763"/>
                <a:gd name="T16" fmla="*/ 629 w 629"/>
                <a:gd name="T17" fmla="*/ 763 h 763"/>
                <a:gd name="T18" fmla="*/ 411 w 629"/>
                <a:gd name="T19" fmla="*/ 431 h 763"/>
                <a:gd name="T20" fmla="*/ 295 w 629"/>
                <a:gd name="T21" fmla="*/ 279 h 763"/>
                <a:gd name="T22" fmla="*/ 295 w 629"/>
                <a:gd name="T23" fmla="*/ 279 h 763"/>
                <a:gd name="T24" fmla="*/ 304 w 629"/>
                <a:gd name="T25" fmla="*/ 155 h 763"/>
                <a:gd name="T26" fmla="*/ 193 w 629"/>
                <a:gd name="T27" fmla="*/ 0 h 763"/>
                <a:gd name="T28" fmla="*/ 157 w 629"/>
                <a:gd name="T29" fmla="*/ 57 h 763"/>
                <a:gd name="T30" fmla="*/ 160 w 629"/>
                <a:gd name="T31" fmla="*/ 65 h 763"/>
                <a:gd name="T32" fmla="*/ 204 w 629"/>
                <a:gd name="T33" fmla="*/ 134 h 763"/>
                <a:gd name="T34" fmla="*/ 128 w 629"/>
                <a:gd name="T35" fmla="*/ 107 h 763"/>
                <a:gd name="T36" fmla="*/ 82 w 629"/>
                <a:gd name="T37" fmla="*/ 85 h 763"/>
                <a:gd name="T38" fmla="*/ 38 w 629"/>
                <a:gd name="T39" fmla="*/ 100 h 763"/>
                <a:gd name="T40" fmla="*/ 35 w 629"/>
                <a:gd name="T41" fmla="*/ 121 h 763"/>
                <a:gd name="T42" fmla="*/ 2 w 629"/>
                <a:gd name="T43" fmla="*/ 154 h 763"/>
                <a:gd name="T44" fmla="*/ 21 w 629"/>
                <a:gd name="T45" fmla="*/ 183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9" h="763">
                  <a:moveTo>
                    <a:pt x="21" y="183"/>
                  </a:moveTo>
                  <a:cubicBezTo>
                    <a:pt x="21" y="184"/>
                    <a:pt x="21" y="184"/>
                    <a:pt x="21" y="184"/>
                  </a:cubicBezTo>
                  <a:cubicBezTo>
                    <a:pt x="16" y="187"/>
                    <a:pt x="11" y="192"/>
                    <a:pt x="8" y="198"/>
                  </a:cubicBezTo>
                  <a:cubicBezTo>
                    <a:pt x="0" y="213"/>
                    <a:pt x="6" y="232"/>
                    <a:pt x="20" y="241"/>
                  </a:cubicBezTo>
                  <a:cubicBezTo>
                    <a:pt x="12" y="246"/>
                    <a:pt x="6" y="253"/>
                    <a:pt x="5" y="265"/>
                  </a:cubicBezTo>
                  <a:cubicBezTo>
                    <a:pt x="3" y="279"/>
                    <a:pt x="12" y="292"/>
                    <a:pt x="25" y="299"/>
                  </a:cubicBezTo>
                  <a:cubicBezTo>
                    <a:pt x="92" y="331"/>
                    <a:pt x="92" y="331"/>
                    <a:pt x="92" y="331"/>
                  </a:cubicBezTo>
                  <a:cubicBezTo>
                    <a:pt x="424" y="763"/>
                    <a:pt x="424" y="763"/>
                    <a:pt x="424" y="763"/>
                  </a:cubicBezTo>
                  <a:cubicBezTo>
                    <a:pt x="629" y="763"/>
                    <a:pt x="629" y="763"/>
                    <a:pt x="629" y="763"/>
                  </a:cubicBezTo>
                  <a:cubicBezTo>
                    <a:pt x="411" y="431"/>
                    <a:pt x="411" y="431"/>
                    <a:pt x="411" y="431"/>
                  </a:cubicBezTo>
                  <a:cubicBezTo>
                    <a:pt x="295" y="279"/>
                    <a:pt x="295" y="279"/>
                    <a:pt x="295" y="279"/>
                  </a:cubicBezTo>
                  <a:cubicBezTo>
                    <a:pt x="295" y="279"/>
                    <a:pt x="295" y="279"/>
                    <a:pt x="295" y="279"/>
                  </a:cubicBezTo>
                  <a:cubicBezTo>
                    <a:pt x="310" y="256"/>
                    <a:pt x="324" y="202"/>
                    <a:pt x="304" y="155"/>
                  </a:cubicBezTo>
                  <a:cubicBezTo>
                    <a:pt x="283" y="109"/>
                    <a:pt x="271" y="127"/>
                    <a:pt x="193" y="0"/>
                  </a:cubicBezTo>
                  <a:cubicBezTo>
                    <a:pt x="154" y="3"/>
                    <a:pt x="156" y="43"/>
                    <a:pt x="157" y="57"/>
                  </a:cubicBezTo>
                  <a:cubicBezTo>
                    <a:pt x="157" y="60"/>
                    <a:pt x="158" y="63"/>
                    <a:pt x="160" y="65"/>
                  </a:cubicBezTo>
                  <a:cubicBezTo>
                    <a:pt x="204" y="134"/>
                    <a:pt x="204" y="134"/>
                    <a:pt x="204" y="134"/>
                  </a:cubicBezTo>
                  <a:cubicBezTo>
                    <a:pt x="128" y="107"/>
                    <a:pt x="128" y="107"/>
                    <a:pt x="128" y="107"/>
                  </a:cubicBezTo>
                  <a:cubicBezTo>
                    <a:pt x="82" y="85"/>
                    <a:pt x="82" y="85"/>
                    <a:pt x="82" y="85"/>
                  </a:cubicBezTo>
                  <a:cubicBezTo>
                    <a:pt x="66" y="77"/>
                    <a:pt x="46" y="84"/>
                    <a:pt x="38" y="100"/>
                  </a:cubicBezTo>
                  <a:cubicBezTo>
                    <a:pt x="34" y="107"/>
                    <a:pt x="34" y="114"/>
                    <a:pt x="35" y="121"/>
                  </a:cubicBezTo>
                  <a:cubicBezTo>
                    <a:pt x="18" y="121"/>
                    <a:pt x="3" y="133"/>
                    <a:pt x="2" y="154"/>
                  </a:cubicBezTo>
                  <a:cubicBezTo>
                    <a:pt x="2" y="167"/>
                    <a:pt x="10" y="178"/>
                    <a:pt x="21" y="183"/>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71" name="Freeform 116"/>
            <p:cNvSpPr>
              <a:spLocks/>
            </p:cNvSpPr>
            <p:nvPr/>
          </p:nvSpPr>
          <p:spPr bwMode="auto">
            <a:xfrm>
              <a:off x="3045" y="3000"/>
              <a:ext cx="519" cy="423"/>
            </a:xfrm>
            <a:custGeom>
              <a:avLst/>
              <a:gdLst>
                <a:gd name="T0" fmla="*/ 263 w 557"/>
                <a:gd name="T1" fmla="*/ 456 h 456"/>
                <a:gd name="T2" fmla="*/ 557 w 557"/>
                <a:gd name="T3" fmla="*/ 456 h 456"/>
                <a:gd name="T4" fmla="*/ 204 w 557"/>
                <a:gd name="T5" fmla="*/ 1 h 456"/>
                <a:gd name="T6" fmla="*/ 0 w 557"/>
                <a:gd name="T7" fmla="*/ 118 h 456"/>
                <a:gd name="T8" fmla="*/ 263 w 557"/>
                <a:gd name="T9" fmla="*/ 456 h 456"/>
              </a:gdLst>
              <a:ahLst/>
              <a:cxnLst>
                <a:cxn ang="0">
                  <a:pos x="T0" y="T1"/>
                </a:cxn>
                <a:cxn ang="0">
                  <a:pos x="T2" y="T3"/>
                </a:cxn>
                <a:cxn ang="0">
                  <a:pos x="T4" y="T5"/>
                </a:cxn>
                <a:cxn ang="0">
                  <a:pos x="T6" y="T7"/>
                </a:cxn>
                <a:cxn ang="0">
                  <a:pos x="T8" y="T9"/>
                </a:cxn>
              </a:cxnLst>
              <a:rect l="0" t="0" r="r" b="b"/>
              <a:pathLst>
                <a:path w="557" h="456">
                  <a:moveTo>
                    <a:pt x="263" y="456"/>
                  </a:moveTo>
                  <a:cubicBezTo>
                    <a:pt x="557" y="456"/>
                    <a:pt x="557" y="456"/>
                    <a:pt x="557" y="456"/>
                  </a:cubicBezTo>
                  <a:cubicBezTo>
                    <a:pt x="204" y="1"/>
                    <a:pt x="204" y="1"/>
                    <a:pt x="204" y="1"/>
                  </a:cubicBezTo>
                  <a:cubicBezTo>
                    <a:pt x="204" y="0"/>
                    <a:pt x="0" y="118"/>
                    <a:pt x="0" y="118"/>
                  </a:cubicBezTo>
                  <a:lnTo>
                    <a:pt x="263" y="45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72" name="Freeform 117"/>
            <p:cNvSpPr>
              <a:spLocks/>
            </p:cNvSpPr>
            <p:nvPr/>
          </p:nvSpPr>
          <p:spPr bwMode="auto">
            <a:xfrm>
              <a:off x="2668" y="2185"/>
              <a:ext cx="548" cy="545"/>
            </a:xfrm>
            <a:custGeom>
              <a:avLst/>
              <a:gdLst>
                <a:gd name="T0" fmla="*/ 544 w 588"/>
                <a:gd name="T1" fmla="*/ 213 h 588"/>
                <a:gd name="T2" fmla="*/ 375 w 588"/>
                <a:gd name="T3" fmla="*/ 544 h 588"/>
                <a:gd name="T4" fmla="*/ 45 w 588"/>
                <a:gd name="T5" fmla="*/ 375 h 588"/>
                <a:gd name="T6" fmla="*/ 213 w 588"/>
                <a:gd name="T7" fmla="*/ 45 h 588"/>
                <a:gd name="T8" fmla="*/ 544 w 588"/>
                <a:gd name="T9" fmla="*/ 213 h 588"/>
              </a:gdLst>
              <a:ahLst/>
              <a:cxnLst>
                <a:cxn ang="0">
                  <a:pos x="T0" y="T1"/>
                </a:cxn>
                <a:cxn ang="0">
                  <a:pos x="T2" y="T3"/>
                </a:cxn>
                <a:cxn ang="0">
                  <a:pos x="T4" y="T5"/>
                </a:cxn>
                <a:cxn ang="0">
                  <a:pos x="T6" y="T7"/>
                </a:cxn>
                <a:cxn ang="0">
                  <a:pos x="T8" y="T9"/>
                </a:cxn>
              </a:cxnLst>
              <a:rect l="0" t="0" r="r" b="b"/>
              <a:pathLst>
                <a:path w="588" h="588">
                  <a:moveTo>
                    <a:pt x="544" y="213"/>
                  </a:moveTo>
                  <a:cubicBezTo>
                    <a:pt x="588" y="351"/>
                    <a:pt x="513" y="499"/>
                    <a:pt x="375" y="544"/>
                  </a:cubicBezTo>
                  <a:cubicBezTo>
                    <a:pt x="238" y="588"/>
                    <a:pt x="90" y="513"/>
                    <a:pt x="45" y="375"/>
                  </a:cubicBezTo>
                  <a:cubicBezTo>
                    <a:pt x="0" y="238"/>
                    <a:pt x="75" y="90"/>
                    <a:pt x="213" y="45"/>
                  </a:cubicBezTo>
                  <a:cubicBezTo>
                    <a:pt x="351" y="0"/>
                    <a:pt x="499" y="75"/>
                    <a:pt x="544" y="213"/>
                  </a:cubicBezTo>
                  <a:close/>
                </a:path>
              </a:pathLst>
            </a:custGeom>
            <a:solidFill>
              <a:srgbClr val="D2D2D2"/>
            </a:solidFill>
            <a:ln w="19050" cap="flat">
              <a:solidFill>
                <a:srgbClr val="409AE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73" name="Freeform 118"/>
            <p:cNvSpPr>
              <a:spLocks/>
            </p:cNvSpPr>
            <p:nvPr/>
          </p:nvSpPr>
          <p:spPr bwMode="auto">
            <a:xfrm>
              <a:off x="2747" y="2314"/>
              <a:ext cx="208" cy="204"/>
            </a:xfrm>
            <a:custGeom>
              <a:avLst/>
              <a:gdLst>
                <a:gd name="T0" fmla="*/ 43 w 223"/>
                <a:gd name="T1" fmla="*/ 188 h 220"/>
                <a:gd name="T2" fmla="*/ 51 w 223"/>
                <a:gd name="T3" fmla="*/ 195 h 220"/>
                <a:gd name="T4" fmla="*/ 113 w 223"/>
                <a:gd name="T5" fmla="*/ 218 h 220"/>
                <a:gd name="T6" fmla="*/ 222 w 223"/>
                <a:gd name="T7" fmla="*/ 116 h 220"/>
                <a:gd name="T8" fmla="*/ 209 w 223"/>
                <a:gd name="T9" fmla="*/ 61 h 220"/>
                <a:gd name="T10" fmla="*/ 168 w 223"/>
                <a:gd name="T11" fmla="*/ 20 h 220"/>
                <a:gd name="T12" fmla="*/ 142 w 223"/>
                <a:gd name="T13" fmla="*/ 10 h 220"/>
                <a:gd name="T14" fmla="*/ 41 w 223"/>
                <a:gd name="T15" fmla="*/ 39 h 220"/>
                <a:gd name="T16" fmla="*/ 41 w 223"/>
                <a:gd name="T17" fmla="*/ 39 h 220"/>
                <a:gd name="T18" fmla="*/ 43 w 223"/>
                <a:gd name="T19" fmla="*/ 18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220">
                  <a:moveTo>
                    <a:pt x="43" y="188"/>
                  </a:moveTo>
                  <a:cubicBezTo>
                    <a:pt x="46" y="191"/>
                    <a:pt x="48" y="193"/>
                    <a:pt x="51" y="195"/>
                  </a:cubicBezTo>
                  <a:cubicBezTo>
                    <a:pt x="70" y="210"/>
                    <a:pt x="90" y="217"/>
                    <a:pt x="113" y="218"/>
                  </a:cubicBezTo>
                  <a:cubicBezTo>
                    <a:pt x="171" y="220"/>
                    <a:pt x="220" y="175"/>
                    <a:pt x="222" y="116"/>
                  </a:cubicBezTo>
                  <a:cubicBezTo>
                    <a:pt x="223" y="96"/>
                    <a:pt x="219" y="79"/>
                    <a:pt x="209" y="61"/>
                  </a:cubicBezTo>
                  <a:cubicBezTo>
                    <a:pt x="199" y="43"/>
                    <a:pt x="186" y="30"/>
                    <a:pt x="168" y="20"/>
                  </a:cubicBezTo>
                  <a:cubicBezTo>
                    <a:pt x="160" y="16"/>
                    <a:pt x="151" y="12"/>
                    <a:pt x="142" y="10"/>
                  </a:cubicBezTo>
                  <a:cubicBezTo>
                    <a:pt x="104" y="0"/>
                    <a:pt x="68" y="11"/>
                    <a:pt x="41" y="39"/>
                  </a:cubicBezTo>
                  <a:cubicBezTo>
                    <a:pt x="41" y="39"/>
                    <a:pt x="41" y="39"/>
                    <a:pt x="41" y="39"/>
                  </a:cubicBezTo>
                  <a:cubicBezTo>
                    <a:pt x="0" y="81"/>
                    <a:pt x="1" y="148"/>
                    <a:pt x="43" y="18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74" name="Freeform 119"/>
            <p:cNvSpPr>
              <a:spLocks/>
            </p:cNvSpPr>
            <p:nvPr/>
          </p:nvSpPr>
          <p:spPr bwMode="auto">
            <a:xfrm>
              <a:off x="2795" y="2324"/>
              <a:ext cx="160" cy="194"/>
            </a:xfrm>
            <a:custGeom>
              <a:avLst/>
              <a:gdLst>
                <a:gd name="T0" fmla="*/ 62 w 172"/>
                <a:gd name="T1" fmla="*/ 208 h 210"/>
                <a:gd name="T2" fmla="*/ 171 w 172"/>
                <a:gd name="T3" fmla="*/ 106 h 210"/>
                <a:gd name="T4" fmla="*/ 158 w 172"/>
                <a:gd name="T5" fmla="*/ 51 h 210"/>
                <a:gd name="T6" fmla="*/ 117 w 172"/>
                <a:gd name="T7" fmla="*/ 10 h 210"/>
                <a:gd name="T8" fmla="*/ 91 w 172"/>
                <a:gd name="T9" fmla="*/ 0 h 210"/>
                <a:gd name="T10" fmla="*/ 66 w 172"/>
                <a:gd name="T11" fmla="*/ 102 h 210"/>
                <a:gd name="T12" fmla="*/ 0 w 172"/>
                <a:gd name="T13" fmla="*/ 185 h 210"/>
                <a:gd name="T14" fmla="*/ 62 w 172"/>
                <a:gd name="T15" fmla="*/ 208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210">
                  <a:moveTo>
                    <a:pt x="62" y="208"/>
                  </a:moveTo>
                  <a:cubicBezTo>
                    <a:pt x="120" y="210"/>
                    <a:pt x="169" y="165"/>
                    <a:pt x="171" y="106"/>
                  </a:cubicBezTo>
                  <a:cubicBezTo>
                    <a:pt x="172" y="86"/>
                    <a:pt x="168" y="69"/>
                    <a:pt x="158" y="51"/>
                  </a:cubicBezTo>
                  <a:cubicBezTo>
                    <a:pt x="148" y="33"/>
                    <a:pt x="135" y="20"/>
                    <a:pt x="117" y="10"/>
                  </a:cubicBezTo>
                  <a:cubicBezTo>
                    <a:pt x="109" y="6"/>
                    <a:pt x="100" y="2"/>
                    <a:pt x="91" y="0"/>
                  </a:cubicBezTo>
                  <a:cubicBezTo>
                    <a:pt x="66" y="102"/>
                    <a:pt x="66" y="102"/>
                    <a:pt x="66" y="102"/>
                  </a:cubicBezTo>
                  <a:cubicBezTo>
                    <a:pt x="0" y="185"/>
                    <a:pt x="0" y="185"/>
                    <a:pt x="0" y="185"/>
                  </a:cubicBezTo>
                  <a:cubicBezTo>
                    <a:pt x="19" y="200"/>
                    <a:pt x="39" y="207"/>
                    <a:pt x="62" y="208"/>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75" name="Freeform 120"/>
            <p:cNvSpPr>
              <a:spLocks/>
            </p:cNvSpPr>
            <p:nvPr/>
          </p:nvSpPr>
          <p:spPr bwMode="auto">
            <a:xfrm>
              <a:off x="2785" y="2314"/>
              <a:ext cx="95" cy="104"/>
            </a:xfrm>
            <a:custGeom>
              <a:avLst/>
              <a:gdLst>
                <a:gd name="T0" fmla="*/ 76 w 101"/>
                <a:gd name="T1" fmla="*/ 112 h 112"/>
                <a:gd name="T2" fmla="*/ 101 w 101"/>
                <a:gd name="T3" fmla="*/ 10 h 112"/>
                <a:gd name="T4" fmla="*/ 0 w 101"/>
                <a:gd name="T5" fmla="*/ 39 h 112"/>
                <a:gd name="T6" fmla="*/ 76 w 101"/>
                <a:gd name="T7" fmla="*/ 112 h 112"/>
              </a:gdLst>
              <a:ahLst/>
              <a:cxnLst>
                <a:cxn ang="0">
                  <a:pos x="T0" y="T1"/>
                </a:cxn>
                <a:cxn ang="0">
                  <a:pos x="T2" y="T3"/>
                </a:cxn>
                <a:cxn ang="0">
                  <a:pos x="T4" y="T5"/>
                </a:cxn>
                <a:cxn ang="0">
                  <a:pos x="T6" y="T7"/>
                </a:cxn>
              </a:cxnLst>
              <a:rect l="0" t="0" r="r" b="b"/>
              <a:pathLst>
                <a:path w="101" h="112">
                  <a:moveTo>
                    <a:pt x="76" y="112"/>
                  </a:moveTo>
                  <a:cubicBezTo>
                    <a:pt x="101" y="10"/>
                    <a:pt x="101" y="10"/>
                    <a:pt x="101" y="10"/>
                  </a:cubicBezTo>
                  <a:cubicBezTo>
                    <a:pt x="63" y="0"/>
                    <a:pt x="27" y="11"/>
                    <a:pt x="0" y="39"/>
                  </a:cubicBezTo>
                  <a:lnTo>
                    <a:pt x="76" y="1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76" name="Freeform 121"/>
            <p:cNvSpPr>
              <a:spLocks/>
            </p:cNvSpPr>
            <p:nvPr/>
          </p:nvSpPr>
          <p:spPr bwMode="auto">
            <a:xfrm>
              <a:off x="2896" y="2463"/>
              <a:ext cx="60" cy="150"/>
            </a:xfrm>
            <a:custGeom>
              <a:avLst/>
              <a:gdLst>
                <a:gd name="T0" fmla="*/ 64 w 64"/>
                <a:gd name="T1" fmla="*/ 151 h 162"/>
                <a:gd name="T2" fmla="*/ 64 w 64"/>
                <a:gd name="T3" fmla="*/ 11 h 162"/>
                <a:gd name="T4" fmla="*/ 53 w 64"/>
                <a:gd name="T5" fmla="*/ 0 h 162"/>
                <a:gd name="T6" fmla="*/ 45 w 64"/>
                <a:gd name="T7" fmla="*/ 0 h 162"/>
                <a:gd name="T8" fmla="*/ 11 w 64"/>
                <a:gd name="T9" fmla="*/ 0 h 162"/>
                <a:gd name="T10" fmla="*/ 0 w 64"/>
                <a:gd name="T11" fmla="*/ 11 h 162"/>
                <a:gd name="T12" fmla="*/ 0 w 64"/>
                <a:gd name="T13" fmla="*/ 151 h 162"/>
                <a:gd name="T14" fmla="*/ 11 w 64"/>
                <a:gd name="T15" fmla="*/ 162 h 162"/>
                <a:gd name="T16" fmla="*/ 45 w 64"/>
                <a:gd name="T17" fmla="*/ 162 h 162"/>
                <a:gd name="T18" fmla="*/ 53 w 64"/>
                <a:gd name="T19" fmla="*/ 162 h 162"/>
                <a:gd name="T20" fmla="*/ 64 w 64"/>
                <a:gd name="T21" fmla="*/ 15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62">
                  <a:moveTo>
                    <a:pt x="64" y="151"/>
                  </a:moveTo>
                  <a:cubicBezTo>
                    <a:pt x="64" y="11"/>
                    <a:pt x="64" y="11"/>
                    <a:pt x="64" y="11"/>
                  </a:cubicBezTo>
                  <a:cubicBezTo>
                    <a:pt x="64" y="5"/>
                    <a:pt x="59" y="0"/>
                    <a:pt x="53" y="0"/>
                  </a:cubicBezTo>
                  <a:cubicBezTo>
                    <a:pt x="45" y="0"/>
                    <a:pt x="45" y="0"/>
                    <a:pt x="45" y="0"/>
                  </a:cubicBezTo>
                  <a:cubicBezTo>
                    <a:pt x="11" y="0"/>
                    <a:pt x="11" y="0"/>
                    <a:pt x="11" y="0"/>
                  </a:cubicBezTo>
                  <a:cubicBezTo>
                    <a:pt x="5" y="0"/>
                    <a:pt x="0" y="5"/>
                    <a:pt x="0" y="11"/>
                  </a:cubicBezTo>
                  <a:cubicBezTo>
                    <a:pt x="0" y="151"/>
                    <a:pt x="0" y="151"/>
                    <a:pt x="0" y="151"/>
                  </a:cubicBezTo>
                  <a:cubicBezTo>
                    <a:pt x="0" y="157"/>
                    <a:pt x="5" y="162"/>
                    <a:pt x="11" y="162"/>
                  </a:cubicBezTo>
                  <a:cubicBezTo>
                    <a:pt x="45" y="162"/>
                    <a:pt x="45" y="162"/>
                    <a:pt x="45" y="162"/>
                  </a:cubicBezTo>
                  <a:cubicBezTo>
                    <a:pt x="53" y="162"/>
                    <a:pt x="53" y="162"/>
                    <a:pt x="53" y="162"/>
                  </a:cubicBezTo>
                  <a:cubicBezTo>
                    <a:pt x="59" y="162"/>
                    <a:pt x="64" y="157"/>
                    <a:pt x="64" y="151"/>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77" name="Freeform 122"/>
            <p:cNvSpPr>
              <a:spLocks/>
            </p:cNvSpPr>
            <p:nvPr/>
          </p:nvSpPr>
          <p:spPr bwMode="auto">
            <a:xfrm>
              <a:off x="2938" y="2463"/>
              <a:ext cx="18" cy="150"/>
            </a:xfrm>
            <a:custGeom>
              <a:avLst/>
              <a:gdLst>
                <a:gd name="T0" fmla="*/ 8 w 19"/>
                <a:gd name="T1" fmla="*/ 0 h 162"/>
                <a:gd name="T2" fmla="*/ 0 w 19"/>
                <a:gd name="T3" fmla="*/ 0 h 162"/>
                <a:gd name="T4" fmla="*/ 0 w 19"/>
                <a:gd name="T5" fmla="*/ 162 h 162"/>
                <a:gd name="T6" fmla="*/ 8 w 19"/>
                <a:gd name="T7" fmla="*/ 162 h 162"/>
                <a:gd name="T8" fmla="*/ 19 w 19"/>
                <a:gd name="T9" fmla="*/ 151 h 162"/>
                <a:gd name="T10" fmla="*/ 19 w 19"/>
                <a:gd name="T11" fmla="*/ 11 h 162"/>
                <a:gd name="T12" fmla="*/ 8 w 19"/>
                <a:gd name="T13" fmla="*/ 0 h 162"/>
              </a:gdLst>
              <a:ahLst/>
              <a:cxnLst>
                <a:cxn ang="0">
                  <a:pos x="T0" y="T1"/>
                </a:cxn>
                <a:cxn ang="0">
                  <a:pos x="T2" y="T3"/>
                </a:cxn>
                <a:cxn ang="0">
                  <a:pos x="T4" y="T5"/>
                </a:cxn>
                <a:cxn ang="0">
                  <a:pos x="T6" y="T7"/>
                </a:cxn>
                <a:cxn ang="0">
                  <a:pos x="T8" y="T9"/>
                </a:cxn>
                <a:cxn ang="0">
                  <a:pos x="T10" y="T11"/>
                </a:cxn>
                <a:cxn ang="0">
                  <a:pos x="T12" y="T13"/>
                </a:cxn>
              </a:cxnLst>
              <a:rect l="0" t="0" r="r" b="b"/>
              <a:pathLst>
                <a:path w="19" h="162">
                  <a:moveTo>
                    <a:pt x="8" y="0"/>
                  </a:moveTo>
                  <a:cubicBezTo>
                    <a:pt x="0" y="0"/>
                    <a:pt x="0" y="0"/>
                    <a:pt x="0" y="0"/>
                  </a:cubicBezTo>
                  <a:cubicBezTo>
                    <a:pt x="0" y="162"/>
                    <a:pt x="0" y="162"/>
                    <a:pt x="0" y="162"/>
                  </a:cubicBezTo>
                  <a:cubicBezTo>
                    <a:pt x="8" y="162"/>
                    <a:pt x="8" y="162"/>
                    <a:pt x="8" y="162"/>
                  </a:cubicBezTo>
                  <a:cubicBezTo>
                    <a:pt x="14" y="162"/>
                    <a:pt x="19" y="157"/>
                    <a:pt x="19" y="151"/>
                  </a:cubicBezTo>
                  <a:cubicBezTo>
                    <a:pt x="19" y="11"/>
                    <a:pt x="19" y="11"/>
                    <a:pt x="19" y="11"/>
                  </a:cubicBezTo>
                  <a:cubicBezTo>
                    <a:pt x="19" y="5"/>
                    <a:pt x="14" y="0"/>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78" name="Freeform 123"/>
            <p:cNvSpPr>
              <a:spLocks/>
            </p:cNvSpPr>
            <p:nvPr/>
          </p:nvSpPr>
          <p:spPr bwMode="auto">
            <a:xfrm>
              <a:off x="2964" y="2439"/>
              <a:ext cx="59" cy="174"/>
            </a:xfrm>
            <a:custGeom>
              <a:avLst/>
              <a:gdLst>
                <a:gd name="T0" fmla="*/ 63 w 63"/>
                <a:gd name="T1" fmla="*/ 177 h 188"/>
                <a:gd name="T2" fmla="*/ 63 w 63"/>
                <a:gd name="T3" fmla="*/ 11 h 188"/>
                <a:gd name="T4" fmla="*/ 52 w 63"/>
                <a:gd name="T5" fmla="*/ 0 h 188"/>
                <a:gd name="T6" fmla="*/ 44 w 63"/>
                <a:gd name="T7" fmla="*/ 0 h 188"/>
                <a:gd name="T8" fmla="*/ 44 w 63"/>
                <a:gd name="T9" fmla="*/ 0 h 188"/>
                <a:gd name="T10" fmla="*/ 11 w 63"/>
                <a:gd name="T11" fmla="*/ 0 h 188"/>
                <a:gd name="T12" fmla="*/ 0 w 63"/>
                <a:gd name="T13" fmla="*/ 11 h 188"/>
                <a:gd name="T14" fmla="*/ 0 w 63"/>
                <a:gd name="T15" fmla="*/ 177 h 188"/>
                <a:gd name="T16" fmla="*/ 10 w 63"/>
                <a:gd name="T17" fmla="*/ 188 h 188"/>
                <a:gd name="T18" fmla="*/ 44 w 63"/>
                <a:gd name="T19" fmla="*/ 188 h 188"/>
                <a:gd name="T20" fmla="*/ 44 w 63"/>
                <a:gd name="T21" fmla="*/ 188 h 188"/>
                <a:gd name="T22" fmla="*/ 52 w 63"/>
                <a:gd name="T23" fmla="*/ 188 h 188"/>
                <a:gd name="T24" fmla="*/ 63 w 63"/>
                <a:gd name="T25" fmla="*/ 17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188">
                  <a:moveTo>
                    <a:pt x="63" y="177"/>
                  </a:moveTo>
                  <a:cubicBezTo>
                    <a:pt x="63" y="11"/>
                    <a:pt x="63" y="11"/>
                    <a:pt x="63" y="11"/>
                  </a:cubicBezTo>
                  <a:cubicBezTo>
                    <a:pt x="63" y="5"/>
                    <a:pt x="58" y="1"/>
                    <a:pt x="52" y="0"/>
                  </a:cubicBezTo>
                  <a:cubicBezTo>
                    <a:pt x="44" y="0"/>
                    <a:pt x="44" y="0"/>
                    <a:pt x="44" y="0"/>
                  </a:cubicBezTo>
                  <a:cubicBezTo>
                    <a:pt x="44" y="0"/>
                    <a:pt x="44" y="0"/>
                    <a:pt x="44" y="0"/>
                  </a:cubicBezTo>
                  <a:cubicBezTo>
                    <a:pt x="11" y="0"/>
                    <a:pt x="11" y="0"/>
                    <a:pt x="11" y="0"/>
                  </a:cubicBezTo>
                  <a:cubicBezTo>
                    <a:pt x="5" y="0"/>
                    <a:pt x="0" y="5"/>
                    <a:pt x="0" y="11"/>
                  </a:cubicBezTo>
                  <a:cubicBezTo>
                    <a:pt x="0" y="177"/>
                    <a:pt x="0" y="177"/>
                    <a:pt x="0" y="177"/>
                  </a:cubicBezTo>
                  <a:cubicBezTo>
                    <a:pt x="0" y="183"/>
                    <a:pt x="4" y="188"/>
                    <a:pt x="10" y="188"/>
                  </a:cubicBezTo>
                  <a:cubicBezTo>
                    <a:pt x="44" y="188"/>
                    <a:pt x="44" y="188"/>
                    <a:pt x="44" y="188"/>
                  </a:cubicBezTo>
                  <a:cubicBezTo>
                    <a:pt x="44" y="188"/>
                    <a:pt x="44" y="188"/>
                    <a:pt x="44" y="188"/>
                  </a:cubicBezTo>
                  <a:cubicBezTo>
                    <a:pt x="52" y="188"/>
                    <a:pt x="52" y="188"/>
                    <a:pt x="52" y="188"/>
                  </a:cubicBezTo>
                  <a:cubicBezTo>
                    <a:pt x="58" y="188"/>
                    <a:pt x="63" y="183"/>
                    <a:pt x="63" y="177"/>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79" name="Freeform 124"/>
            <p:cNvSpPr>
              <a:spLocks/>
            </p:cNvSpPr>
            <p:nvPr/>
          </p:nvSpPr>
          <p:spPr bwMode="auto">
            <a:xfrm>
              <a:off x="3005" y="2439"/>
              <a:ext cx="18" cy="174"/>
            </a:xfrm>
            <a:custGeom>
              <a:avLst/>
              <a:gdLst>
                <a:gd name="T0" fmla="*/ 8 w 19"/>
                <a:gd name="T1" fmla="*/ 0 h 188"/>
                <a:gd name="T2" fmla="*/ 0 w 19"/>
                <a:gd name="T3" fmla="*/ 0 h 188"/>
                <a:gd name="T4" fmla="*/ 0 w 19"/>
                <a:gd name="T5" fmla="*/ 188 h 188"/>
                <a:gd name="T6" fmla="*/ 8 w 19"/>
                <a:gd name="T7" fmla="*/ 188 h 188"/>
                <a:gd name="T8" fmla="*/ 19 w 19"/>
                <a:gd name="T9" fmla="*/ 177 h 188"/>
                <a:gd name="T10" fmla="*/ 19 w 19"/>
                <a:gd name="T11" fmla="*/ 11 h 188"/>
                <a:gd name="T12" fmla="*/ 8 w 19"/>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19" h="188">
                  <a:moveTo>
                    <a:pt x="8" y="0"/>
                  </a:moveTo>
                  <a:cubicBezTo>
                    <a:pt x="0" y="0"/>
                    <a:pt x="0" y="0"/>
                    <a:pt x="0" y="0"/>
                  </a:cubicBezTo>
                  <a:cubicBezTo>
                    <a:pt x="0" y="188"/>
                    <a:pt x="0" y="188"/>
                    <a:pt x="0" y="188"/>
                  </a:cubicBezTo>
                  <a:cubicBezTo>
                    <a:pt x="8" y="188"/>
                    <a:pt x="8" y="188"/>
                    <a:pt x="8" y="188"/>
                  </a:cubicBezTo>
                  <a:cubicBezTo>
                    <a:pt x="14" y="188"/>
                    <a:pt x="19" y="183"/>
                    <a:pt x="19" y="177"/>
                  </a:cubicBezTo>
                  <a:cubicBezTo>
                    <a:pt x="19" y="11"/>
                    <a:pt x="19" y="11"/>
                    <a:pt x="19" y="11"/>
                  </a:cubicBezTo>
                  <a:cubicBezTo>
                    <a:pt x="19" y="5"/>
                    <a:pt x="14" y="1"/>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80" name="Freeform 125"/>
            <p:cNvSpPr>
              <a:spLocks/>
            </p:cNvSpPr>
            <p:nvPr/>
          </p:nvSpPr>
          <p:spPr bwMode="auto">
            <a:xfrm>
              <a:off x="3034" y="2394"/>
              <a:ext cx="59" cy="219"/>
            </a:xfrm>
            <a:custGeom>
              <a:avLst/>
              <a:gdLst>
                <a:gd name="T0" fmla="*/ 63 w 63"/>
                <a:gd name="T1" fmla="*/ 225 h 236"/>
                <a:gd name="T2" fmla="*/ 63 w 63"/>
                <a:gd name="T3" fmla="*/ 11 h 236"/>
                <a:gd name="T4" fmla="*/ 53 w 63"/>
                <a:gd name="T5" fmla="*/ 0 h 236"/>
                <a:gd name="T6" fmla="*/ 45 w 63"/>
                <a:gd name="T7" fmla="*/ 0 h 236"/>
                <a:gd name="T8" fmla="*/ 11 w 63"/>
                <a:gd name="T9" fmla="*/ 0 h 236"/>
                <a:gd name="T10" fmla="*/ 0 w 63"/>
                <a:gd name="T11" fmla="*/ 11 h 236"/>
                <a:gd name="T12" fmla="*/ 0 w 63"/>
                <a:gd name="T13" fmla="*/ 225 h 236"/>
                <a:gd name="T14" fmla="*/ 11 w 63"/>
                <a:gd name="T15" fmla="*/ 236 h 236"/>
                <a:gd name="T16" fmla="*/ 44 w 63"/>
                <a:gd name="T17" fmla="*/ 236 h 236"/>
                <a:gd name="T18" fmla="*/ 52 w 63"/>
                <a:gd name="T19" fmla="*/ 236 h 236"/>
                <a:gd name="T20" fmla="*/ 63 w 63"/>
                <a:gd name="T21" fmla="*/ 2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236">
                  <a:moveTo>
                    <a:pt x="63" y="225"/>
                  </a:moveTo>
                  <a:cubicBezTo>
                    <a:pt x="63" y="11"/>
                    <a:pt x="63" y="11"/>
                    <a:pt x="63" y="11"/>
                  </a:cubicBezTo>
                  <a:cubicBezTo>
                    <a:pt x="63" y="5"/>
                    <a:pt x="58" y="0"/>
                    <a:pt x="53" y="0"/>
                  </a:cubicBezTo>
                  <a:cubicBezTo>
                    <a:pt x="45" y="0"/>
                    <a:pt x="45" y="0"/>
                    <a:pt x="45" y="0"/>
                  </a:cubicBezTo>
                  <a:cubicBezTo>
                    <a:pt x="11" y="0"/>
                    <a:pt x="11" y="0"/>
                    <a:pt x="11" y="0"/>
                  </a:cubicBezTo>
                  <a:cubicBezTo>
                    <a:pt x="5" y="0"/>
                    <a:pt x="0" y="5"/>
                    <a:pt x="0" y="11"/>
                  </a:cubicBezTo>
                  <a:cubicBezTo>
                    <a:pt x="0" y="225"/>
                    <a:pt x="0" y="225"/>
                    <a:pt x="0" y="225"/>
                  </a:cubicBezTo>
                  <a:cubicBezTo>
                    <a:pt x="0" y="231"/>
                    <a:pt x="5" y="236"/>
                    <a:pt x="11" y="236"/>
                  </a:cubicBezTo>
                  <a:cubicBezTo>
                    <a:pt x="44" y="236"/>
                    <a:pt x="44" y="236"/>
                    <a:pt x="44" y="236"/>
                  </a:cubicBezTo>
                  <a:cubicBezTo>
                    <a:pt x="52" y="236"/>
                    <a:pt x="52" y="236"/>
                    <a:pt x="52" y="236"/>
                  </a:cubicBezTo>
                  <a:cubicBezTo>
                    <a:pt x="58" y="236"/>
                    <a:pt x="63" y="231"/>
                    <a:pt x="63" y="22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81" name="Freeform 126"/>
            <p:cNvSpPr>
              <a:spLocks/>
            </p:cNvSpPr>
            <p:nvPr/>
          </p:nvSpPr>
          <p:spPr bwMode="auto">
            <a:xfrm>
              <a:off x="3075" y="2394"/>
              <a:ext cx="18" cy="219"/>
            </a:xfrm>
            <a:custGeom>
              <a:avLst/>
              <a:gdLst>
                <a:gd name="T0" fmla="*/ 9 w 19"/>
                <a:gd name="T1" fmla="*/ 0 h 236"/>
                <a:gd name="T2" fmla="*/ 1 w 19"/>
                <a:gd name="T3" fmla="*/ 0 h 236"/>
                <a:gd name="T4" fmla="*/ 0 w 19"/>
                <a:gd name="T5" fmla="*/ 236 h 236"/>
                <a:gd name="T6" fmla="*/ 8 w 19"/>
                <a:gd name="T7" fmla="*/ 236 h 236"/>
                <a:gd name="T8" fmla="*/ 19 w 19"/>
                <a:gd name="T9" fmla="*/ 225 h 236"/>
                <a:gd name="T10" fmla="*/ 19 w 19"/>
                <a:gd name="T11" fmla="*/ 11 h 236"/>
                <a:gd name="T12" fmla="*/ 9 w 19"/>
                <a:gd name="T13" fmla="*/ 0 h 236"/>
              </a:gdLst>
              <a:ahLst/>
              <a:cxnLst>
                <a:cxn ang="0">
                  <a:pos x="T0" y="T1"/>
                </a:cxn>
                <a:cxn ang="0">
                  <a:pos x="T2" y="T3"/>
                </a:cxn>
                <a:cxn ang="0">
                  <a:pos x="T4" y="T5"/>
                </a:cxn>
                <a:cxn ang="0">
                  <a:pos x="T6" y="T7"/>
                </a:cxn>
                <a:cxn ang="0">
                  <a:pos x="T8" y="T9"/>
                </a:cxn>
                <a:cxn ang="0">
                  <a:pos x="T10" y="T11"/>
                </a:cxn>
                <a:cxn ang="0">
                  <a:pos x="T12" y="T13"/>
                </a:cxn>
              </a:cxnLst>
              <a:rect l="0" t="0" r="r" b="b"/>
              <a:pathLst>
                <a:path w="19" h="236">
                  <a:moveTo>
                    <a:pt x="9" y="0"/>
                  </a:moveTo>
                  <a:cubicBezTo>
                    <a:pt x="1" y="0"/>
                    <a:pt x="1" y="0"/>
                    <a:pt x="1" y="0"/>
                  </a:cubicBezTo>
                  <a:cubicBezTo>
                    <a:pt x="0" y="236"/>
                    <a:pt x="0" y="236"/>
                    <a:pt x="0" y="236"/>
                  </a:cubicBezTo>
                  <a:cubicBezTo>
                    <a:pt x="8" y="236"/>
                    <a:pt x="8" y="236"/>
                    <a:pt x="8" y="236"/>
                  </a:cubicBezTo>
                  <a:cubicBezTo>
                    <a:pt x="14" y="236"/>
                    <a:pt x="19" y="231"/>
                    <a:pt x="19" y="225"/>
                  </a:cubicBezTo>
                  <a:cubicBezTo>
                    <a:pt x="19" y="11"/>
                    <a:pt x="19" y="11"/>
                    <a:pt x="19" y="11"/>
                  </a:cubicBezTo>
                  <a:cubicBezTo>
                    <a:pt x="19" y="5"/>
                    <a:pt x="14" y="0"/>
                    <a:pt x="9"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82" name="Freeform 127"/>
            <p:cNvSpPr>
              <a:spLocks/>
            </p:cNvSpPr>
            <p:nvPr/>
          </p:nvSpPr>
          <p:spPr bwMode="auto">
            <a:xfrm>
              <a:off x="2927" y="2351"/>
              <a:ext cx="138" cy="91"/>
            </a:xfrm>
            <a:custGeom>
              <a:avLst/>
              <a:gdLst>
                <a:gd name="T0" fmla="*/ 68 w 138"/>
                <a:gd name="T1" fmla="*/ 65 h 91"/>
                <a:gd name="T2" fmla="*/ 1 w 138"/>
                <a:gd name="T3" fmla="*/ 91 h 91"/>
                <a:gd name="T4" fmla="*/ 0 w 138"/>
                <a:gd name="T5" fmla="*/ 88 h 91"/>
                <a:gd name="T6" fmla="*/ 67 w 138"/>
                <a:gd name="T7" fmla="*/ 61 h 91"/>
                <a:gd name="T8" fmla="*/ 135 w 138"/>
                <a:gd name="T9" fmla="*/ 0 h 91"/>
                <a:gd name="T10" fmla="*/ 138 w 138"/>
                <a:gd name="T11" fmla="*/ 2 h 91"/>
                <a:gd name="T12" fmla="*/ 68 w 138"/>
                <a:gd name="T13" fmla="*/ 65 h 91"/>
              </a:gdLst>
              <a:ahLst/>
              <a:cxnLst>
                <a:cxn ang="0">
                  <a:pos x="T0" y="T1"/>
                </a:cxn>
                <a:cxn ang="0">
                  <a:pos x="T2" y="T3"/>
                </a:cxn>
                <a:cxn ang="0">
                  <a:pos x="T4" y="T5"/>
                </a:cxn>
                <a:cxn ang="0">
                  <a:pos x="T6" y="T7"/>
                </a:cxn>
                <a:cxn ang="0">
                  <a:pos x="T8" y="T9"/>
                </a:cxn>
                <a:cxn ang="0">
                  <a:pos x="T10" y="T11"/>
                </a:cxn>
                <a:cxn ang="0">
                  <a:pos x="T12" y="T13"/>
                </a:cxn>
              </a:cxnLst>
              <a:rect l="0" t="0" r="r" b="b"/>
              <a:pathLst>
                <a:path w="138" h="91">
                  <a:moveTo>
                    <a:pt x="68" y="65"/>
                  </a:moveTo>
                  <a:lnTo>
                    <a:pt x="1" y="91"/>
                  </a:lnTo>
                  <a:lnTo>
                    <a:pt x="0" y="88"/>
                  </a:lnTo>
                  <a:lnTo>
                    <a:pt x="67" y="61"/>
                  </a:lnTo>
                  <a:lnTo>
                    <a:pt x="135" y="0"/>
                  </a:lnTo>
                  <a:lnTo>
                    <a:pt x="138" y="2"/>
                  </a:lnTo>
                  <a:lnTo>
                    <a:pt x="68" y="65"/>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83" name="Freeform 128"/>
            <p:cNvSpPr>
              <a:spLocks/>
            </p:cNvSpPr>
            <p:nvPr/>
          </p:nvSpPr>
          <p:spPr bwMode="auto">
            <a:xfrm>
              <a:off x="2915" y="2428"/>
              <a:ext cx="25" cy="25"/>
            </a:xfrm>
            <a:custGeom>
              <a:avLst/>
              <a:gdLst>
                <a:gd name="T0" fmla="*/ 22 w 27"/>
                <a:gd name="T1" fmla="*/ 5 h 26"/>
                <a:gd name="T2" fmla="*/ 22 w 27"/>
                <a:gd name="T3" fmla="*/ 22 h 26"/>
                <a:gd name="T4" fmla="*/ 5 w 27"/>
                <a:gd name="T5" fmla="*/ 21 h 26"/>
                <a:gd name="T6" fmla="*/ 5 w 27"/>
                <a:gd name="T7" fmla="*/ 4 h 26"/>
                <a:gd name="T8" fmla="*/ 22 w 27"/>
                <a:gd name="T9" fmla="*/ 5 h 26"/>
              </a:gdLst>
              <a:ahLst/>
              <a:cxnLst>
                <a:cxn ang="0">
                  <a:pos x="T0" y="T1"/>
                </a:cxn>
                <a:cxn ang="0">
                  <a:pos x="T2" y="T3"/>
                </a:cxn>
                <a:cxn ang="0">
                  <a:pos x="T4" y="T5"/>
                </a:cxn>
                <a:cxn ang="0">
                  <a:pos x="T6" y="T7"/>
                </a:cxn>
                <a:cxn ang="0">
                  <a:pos x="T8" y="T9"/>
                </a:cxn>
              </a:cxnLst>
              <a:rect l="0" t="0" r="r" b="b"/>
              <a:pathLst>
                <a:path w="27" h="26">
                  <a:moveTo>
                    <a:pt x="22" y="5"/>
                  </a:moveTo>
                  <a:cubicBezTo>
                    <a:pt x="27" y="9"/>
                    <a:pt x="27" y="17"/>
                    <a:pt x="22" y="22"/>
                  </a:cubicBezTo>
                  <a:cubicBezTo>
                    <a:pt x="17" y="26"/>
                    <a:pt x="9" y="26"/>
                    <a:pt x="5" y="21"/>
                  </a:cubicBezTo>
                  <a:cubicBezTo>
                    <a:pt x="0" y="16"/>
                    <a:pt x="0" y="9"/>
                    <a:pt x="5" y="4"/>
                  </a:cubicBezTo>
                  <a:cubicBezTo>
                    <a:pt x="10" y="0"/>
                    <a:pt x="18" y="0"/>
                    <a:pt x="22" y="5"/>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84" name="Freeform 129"/>
            <p:cNvSpPr>
              <a:spLocks/>
            </p:cNvSpPr>
            <p:nvPr/>
          </p:nvSpPr>
          <p:spPr bwMode="auto">
            <a:xfrm>
              <a:off x="2984" y="2403"/>
              <a:ext cx="22" cy="22"/>
            </a:xfrm>
            <a:custGeom>
              <a:avLst/>
              <a:gdLst>
                <a:gd name="T0" fmla="*/ 24 w 24"/>
                <a:gd name="T1" fmla="*/ 12 h 24"/>
                <a:gd name="T2" fmla="*/ 12 w 24"/>
                <a:gd name="T3" fmla="*/ 24 h 24"/>
                <a:gd name="T4" fmla="*/ 0 w 24"/>
                <a:gd name="T5" fmla="*/ 12 h 24"/>
                <a:gd name="T6" fmla="*/ 12 w 24"/>
                <a:gd name="T7" fmla="*/ 0 h 24"/>
                <a:gd name="T8" fmla="*/ 24 w 24"/>
                <a:gd name="T9" fmla="*/ 12 h 24"/>
              </a:gdLst>
              <a:ahLst/>
              <a:cxnLst>
                <a:cxn ang="0">
                  <a:pos x="T0" y="T1"/>
                </a:cxn>
                <a:cxn ang="0">
                  <a:pos x="T2" y="T3"/>
                </a:cxn>
                <a:cxn ang="0">
                  <a:pos x="T4" y="T5"/>
                </a:cxn>
                <a:cxn ang="0">
                  <a:pos x="T6" y="T7"/>
                </a:cxn>
                <a:cxn ang="0">
                  <a:pos x="T8" y="T9"/>
                </a:cxn>
              </a:cxnLst>
              <a:rect l="0" t="0" r="r" b="b"/>
              <a:pathLst>
                <a:path w="24" h="24">
                  <a:moveTo>
                    <a:pt x="24" y="12"/>
                  </a:moveTo>
                  <a:cubicBezTo>
                    <a:pt x="24" y="19"/>
                    <a:pt x="18" y="24"/>
                    <a:pt x="12" y="24"/>
                  </a:cubicBezTo>
                  <a:cubicBezTo>
                    <a:pt x="5" y="24"/>
                    <a:pt x="0" y="19"/>
                    <a:pt x="0" y="12"/>
                  </a:cubicBezTo>
                  <a:cubicBezTo>
                    <a:pt x="0" y="5"/>
                    <a:pt x="5" y="0"/>
                    <a:pt x="12" y="0"/>
                  </a:cubicBezTo>
                  <a:cubicBezTo>
                    <a:pt x="19" y="0"/>
                    <a:pt x="24" y="5"/>
                    <a:pt x="24" y="12"/>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85" name="Oval 130"/>
            <p:cNvSpPr>
              <a:spLocks noChangeArrowheads="1"/>
            </p:cNvSpPr>
            <p:nvPr/>
          </p:nvSpPr>
          <p:spPr bwMode="auto">
            <a:xfrm>
              <a:off x="3053" y="2340"/>
              <a:ext cx="22" cy="23"/>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86" name="Freeform 131"/>
            <p:cNvSpPr>
              <a:spLocks/>
            </p:cNvSpPr>
            <p:nvPr/>
          </p:nvSpPr>
          <p:spPr bwMode="auto">
            <a:xfrm>
              <a:off x="3235" y="3001"/>
              <a:ext cx="329" cy="422"/>
            </a:xfrm>
            <a:custGeom>
              <a:avLst/>
              <a:gdLst>
                <a:gd name="T0" fmla="*/ 0 w 329"/>
                <a:gd name="T1" fmla="*/ 0 h 422"/>
                <a:gd name="T2" fmla="*/ 329 w 329"/>
                <a:gd name="T3" fmla="*/ 422 h 422"/>
                <a:gd name="T4" fmla="*/ 288 w 329"/>
                <a:gd name="T5" fmla="*/ 422 h 422"/>
                <a:gd name="T6" fmla="*/ 0 w 329"/>
                <a:gd name="T7" fmla="*/ 0 h 422"/>
              </a:gdLst>
              <a:ahLst/>
              <a:cxnLst>
                <a:cxn ang="0">
                  <a:pos x="T0" y="T1"/>
                </a:cxn>
                <a:cxn ang="0">
                  <a:pos x="T2" y="T3"/>
                </a:cxn>
                <a:cxn ang="0">
                  <a:pos x="T4" y="T5"/>
                </a:cxn>
                <a:cxn ang="0">
                  <a:pos x="T6" y="T7"/>
                </a:cxn>
              </a:cxnLst>
              <a:rect l="0" t="0" r="r" b="b"/>
              <a:pathLst>
                <a:path w="329" h="422">
                  <a:moveTo>
                    <a:pt x="0" y="0"/>
                  </a:moveTo>
                  <a:lnTo>
                    <a:pt x="329" y="422"/>
                  </a:lnTo>
                  <a:lnTo>
                    <a:pt x="288" y="422"/>
                  </a:ln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87" name="Freeform 132"/>
            <p:cNvSpPr>
              <a:spLocks/>
            </p:cNvSpPr>
            <p:nvPr/>
          </p:nvSpPr>
          <p:spPr bwMode="auto">
            <a:xfrm>
              <a:off x="2137" y="1728"/>
              <a:ext cx="122" cy="251"/>
            </a:xfrm>
            <a:custGeom>
              <a:avLst/>
              <a:gdLst>
                <a:gd name="T0" fmla="*/ 130 w 130"/>
                <a:gd name="T1" fmla="*/ 118 h 271"/>
                <a:gd name="T2" fmla="*/ 12 w 130"/>
                <a:gd name="T3" fmla="*/ 0 h 271"/>
                <a:gd name="T4" fmla="*/ 0 w 130"/>
                <a:gd name="T5" fmla="*/ 1 h 271"/>
                <a:gd name="T6" fmla="*/ 107 w 130"/>
                <a:gd name="T7" fmla="*/ 118 h 271"/>
                <a:gd name="T8" fmla="*/ 82 w 130"/>
                <a:gd name="T9" fmla="*/ 190 h 271"/>
                <a:gd name="T10" fmla="*/ 82 w 130"/>
                <a:gd name="T11" fmla="*/ 190 h 271"/>
                <a:gd name="T12" fmla="*/ 82 w 130"/>
                <a:gd name="T13" fmla="*/ 190 h 271"/>
                <a:gd name="T14" fmla="*/ 75 w 130"/>
                <a:gd name="T15" fmla="*/ 199 h 271"/>
                <a:gd name="T16" fmla="*/ 43 w 130"/>
                <a:gd name="T17" fmla="*/ 271 h 271"/>
                <a:gd name="T18" fmla="*/ 67 w 130"/>
                <a:gd name="T19" fmla="*/ 271 h 271"/>
                <a:gd name="T20" fmla="*/ 98 w 130"/>
                <a:gd name="T21" fmla="*/ 199 h 271"/>
                <a:gd name="T22" fmla="*/ 105 w 130"/>
                <a:gd name="T23" fmla="*/ 190 h 271"/>
                <a:gd name="T24" fmla="*/ 105 w 130"/>
                <a:gd name="T25" fmla="*/ 190 h 271"/>
                <a:gd name="T26" fmla="*/ 105 w 130"/>
                <a:gd name="T27" fmla="*/ 190 h 271"/>
                <a:gd name="T28" fmla="*/ 130 w 130"/>
                <a:gd name="T29"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71">
                  <a:moveTo>
                    <a:pt x="130" y="118"/>
                  </a:moveTo>
                  <a:cubicBezTo>
                    <a:pt x="130" y="53"/>
                    <a:pt x="77" y="0"/>
                    <a:pt x="12" y="0"/>
                  </a:cubicBezTo>
                  <a:cubicBezTo>
                    <a:pt x="8" y="0"/>
                    <a:pt x="4" y="1"/>
                    <a:pt x="0" y="1"/>
                  </a:cubicBezTo>
                  <a:cubicBezTo>
                    <a:pt x="60" y="7"/>
                    <a:pt x="107" y="57"/>
                    <a:pt x="107" y="118"/>
                  </a:cubicBezTo>
                  <a:cubicBezTo>
                    <a:pt x="107" y="145"/>
                    <a:pt x="97" y="170"/>
                    <a:pt x="82" y="190"/>
                  </a:cubicBezTo>
                  <a:cubicBezTo>
                    <a:pt x="82" y="190"/>
                    <a:pt x="82" y="190"/>
                    <a:pt x="82" y="190"/>
                  </a:cubicBezTo>
                  <a:cubicBezTo>
                    <a:pt x="82" y="190"/>
                    <a:pt x="82" y="190"/>
                    <a:pt x="82" y="190"/>
                  </a:cubicBezTo>
                  <a:cubicBezTo>
                    <a:pt x="80" y="193"/>
                    <a:pt x="77" y="196"/>
                    <a:pt x="75" y="199"/>
                  </a:cubicBezTo>
                  <a:cubicBezTo>
                    <a:pt x="64" y="213"/>
                    <a:pt x="43" y="242"/>
                    <a:pt x="43" y="271"/>
                  </a:cubicBezTo>
                  <a:cubicBezTo>
                    <a:pt x="67" y="271"/>
                    <a:pt x="67" y="271"/>
                    <a:pt x="67" y="271"/>
                  </a:cubicBezTo>
                  <a:cubicBezTo>
                    <a:pt x="67" y="242"/>
                    <a:pt x="87" y="213"/>
                    <a:pt x="98" y="199"/>
                  </a:cubicBezTo>
                  <a:cubicBezTo>
                    <a:pt x="101" y="196"/>
                    <a:pt x="103" y="193"/>
                    <a:pt x="105" y="190"/>
                  </a:cubicBezTo>
                  <a:cubicBezTo>
                    <a:pt x="105" y="190"/>
                    <a:pt x="105" y="190"/>
                    <a:pt x="105" y="190"/>
                  </a:cubicBezTo>
                  <a:cubicBezTo>
                    <a:pt x="105" y="190"/>
                    <a:pt x="105" y="190"/>
                    <a:pt x="105" y="190"/>
                  </a:cubicBezTo>
                  <a:cubicBezTo>
                    <a:pt x="121" y="170"/>
                    <a:pt x="130" y="145"/>
                    <a:pt x="130" y="118"/>
                  </a:cubicBezTo>
                </a:path>
              </a:pathLst>
            </a:custGeom>
            <a:solidFill>
              <a:srgbClr val="FFE3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88" name="Freeform 133"/>
            <p:cNvSpPr>
              <a:spLocks/>
            </p:cNvSpPr>
            <p:nvPr/>
          </p:nvSpPr>
          <p:spPr bwMode="auto">
            <a:xfrm>
              <a:off x="1735" y="2216"/>
              <a:ext cx="17" cy="45"/>
            </a:xfrm>
            <a:custGeom>
              <a:avLst/>
              <a:gdLst>
                <a:gd name="T0" fmla="*/ 11 w 17"/>
                <a:gd name="T1" fmla="*/ 7 h 45"/>
                <a:gd name="T2" fmla="*/ 3 w 17"/>
                <a:gd name="T3" fmla="*/ 13 h 45"/>
                <a:gd name="T4" fmla="*/ 0 w 17"/>
                <a:gd name="T5" fmla="*/ 8 h 45"/>
                <a:gd name="T6" fmla="*/ 11 w 17"/>
                <a:gd name="T7" fmla="*/ 0 h 45"/>
                <a:gd name="T8" fmla="*/ 17 w 17"/>
                <a:gd name="T9" fmla="*/ 0 h 45"/>
                <a:gd name="T10" fmla="*/ 17 w 17"/>
                <a:gd name="T11" fmla="*/ 45 h 45"/>
                <a:gd name="T12" fmla="*/ 11 w 17"/>
                <a:gd name="T13" fmla="*/ 45 h 45"/>
                <a:gd name="T14" fmla="*/ 11 w 17"/>
                <a:gd name="T15" fmla="*/ 7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7"/>
                  </a:moveTo>
                  <a:lnTo>
                    <a:pt x="3" y="13"/>
                  </a:lnTo>
                  <a:lnTo>
                    <a:pt x="0" y="8"/>
                  </a:lnTo>
                  <a:lnTo>
                    <a:pt x="11" y="0"/>
                  </a:lnTo>
                  <a:lnTo>
                    <a:pt x="17" y="0"/>
                  </a:lnTo>
                  <a:lnTo>
                    <a:pt x="17" y="45"/>
                  </a:lnTo>
                  <a:lnTo>
                    <a:pt x="11" y="45"/>
                  </a:lnTo>
                  <a:lnTo>
                    <a:pt x="11" y="7"/>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89" name="Freeform 134"/>
            <p:cNvSpPr>
              <a:spLocks/>
            </p:cNvSpPr>
            <p:nvPr/>
          </p:nvSpPr>
          <p:spPr bwMode="auto">
            <a:xfrm>
              <a:off x="1855" y="2227"/>
              <a:ext cx="16" cy="46"/>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90" name="Freeform 135"/>
            <p:cNvSpPr>
              <a:spLocks noEditPoints="1"/>
            </p:cNvSpPr>
            <p:nvPr/>
          </p:nvSpPr>
          <p:spPr bwMode="auto">
            <a:xfrm>
              <a:off x="1808" y="2231"/>
              <a:ext cx="31" cy="46"/>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91" name="Freeform 136"/>
            <p:cNvSpPr>
              <a:spLocks/>
            </p:cNvSpPr>
            <p:nvPr/>
          </p:nvSpPr>
          <p:spPr bwMode="auto">
            <a:xfrm>
              <a:off x="1855" y="2227"/>
              <a:ext cx="16" cy="46"/>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92" name="Freeform 137"/>
            <p:cNvSpPr>
              <a:spLocks noEditPoints="1"/>
            </p:cNvSpPr>
            <p:nvPr/>
          </p:nvSpPr>
          <p:spPr bwMode="auto">
            <a:xfrm>
              <a:off x="1808" y="2231"/>
              <a:ext cx="31" cy="46"/>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93" name="Freeform 138"/>
            <p:cNvSpPr>
              <a:spLocks/>
            </p:cNvSpPr>
            <p:nvPr/>
          </p:nvSpPr>
          <p:spPr bwMode="auto">
            <a:xfrm>
              <a:off x="3130" y="2974"/>
              <a:ext cx="81" cy="58"/>
            </a:xfrm>
            <a:custGeom>
              <a:avLst/>
              <a:gdLst>
                <a:gd name="T0" fmla="*/ 87 w 87"/>
                <a:gd name="T1" fmla="*/ 29 h 62"/>
                <a:gd name="T2" fmla="*/ 0 w 87"/>
                <a:gd name="T3" fmla="*/ 58 h 62"/>
                <a:gd name="T4" fmla="*/ 66 w 87"/>
                <a:gd name="T5" fmla="*/ 0 h 62"/>
                <a:gd name="T6" fmla="*/ 87 w 87"/>
                <a:gd name="T7" fmla="*/ 29 h 62"/>
              </a:gdLst>
              <a:ahLst/>
              <a:cxnLst>
                <a:cxn ang="0">
                  <a:pos x="T0" y="T1"/>
                </a:cxn>
                <a:cxn ang="0">
                  <a:pos x="T2" y="T3"/>
                </a:cxn>
                <a:cxn ang="0">
                  <a:pos x="T4" y="T5"/>
                </a:cxn>
                <a:cxn ang="0">
                  <a:pos x="T6" y="T7"/>
                </a:cxn>
              </a:cxnLst>
              <a:rect l="0" t="0" r="r" b="b"/>
              <a:pathLst>
                <a:path w="87" h="62">
                  <a:moveTo>
                    <a:pt x="87" y="29"/>
                  </a:moveTo>
                  <a:cubicBezTo>
                    <a:pt x="87" y="29"/>
                    <a:pt x="48" y="62"/>
                    <a:pt x="0" y="58"/>
                  </a:cubicBezTo>
                  <a:cubicBezTo>
                    <a:pt x="34" y="39"/>
                    <a:pt x="66" y="0"/>
                    <a:pt x="66" y="0"/>
                  </a:cubicBezTo>
                  <a:lnTo>
                    <a:pt x="87" y="29"/>
                  </a:lnTo>
                  <a:close/>
                </a:path>
              </a:pathLst>
            </a:custGeom>
            <a:solidFill>
              <a:srgbClr val="4D2F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94" name="Rectangle 139"/>
            <p:cNvSpPr>
              <a:spLocks noChangeArrowheads="1"/>
            </p:cNvSpPr>
            <p:nvPr/>
          </p:nvSpPr>
          <p:spPr bwMode="auto">
            <a:xfrm>
              <a:off x="2246"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95" name="Rectangle 140"/>
            <p:cNvSpPr>
              <a:spLocks noChangeArrowheads="1"/>
            </p:cNvSpPr>
            <p:nvPr/>
          </p:nvSpPr>
          <p:spPr bwMode="auto">
            <a:xfrm>
              <a:off x="2281"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96" name="Rectangle 141"/>
            <p:cNvSpPr>
              <a:spLocks noChangeArrowheads="1"/>
            </p:cNvSpPr>
            <p:nvPr/>
          </p:nvSpPr>
          <p:spPr bwMode="auto">
            <a:xfrm>
              <a:off x="2315" y="2594"/>
              <a:ext cx="18"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97" name="Rectangle 142"/>
            <p:cNvSpPr>
              <a:spLocks noChangeArrowheads="1"/>
            </p:cNvSpPr>
            <p:nvPr/>
          </p:nvSpPr>
          <p:spPr bwMode="auto">
            <a:xfrm>
              <a:off x="2350" y="2594"/>
              <a:ext cx="18"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98" name="Rectangle 143"/>
            <p:cNvSpPr>
              <a:spLocks noChangeArrowheads="1"/>
            </p:cNvSpPr>
            <p:nvPr/>
          </p:nvSpPr>
          <p:spPr bwMode="auto">
            <a:xfrm>
              <a:off x="2383"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599" name="Rectangle 144"/>
            <p:cNvSpPr>
              <a:spLocks noChangeArrowheads="1"/>
            </p:cNvSpPr>
            <p:nvPr/>
          </p:nvSpPr>
          <p:spPr bwMode="auto">
            <a:xfrm>
              <a:off x="2273" y="2627"/>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00" name="Rectangle 145"/>
            <p:cNvSpPr>
              <a:spLocks noChangeArrowheads="1"/>
            </p:cNvSpPr>
            <p:nvPr/>
          </p:nvSpPr>
          <p:spPr bwMode="auto">
            <a:xfrm>
              <a:off x="2239" y="2671"/>
              <a:ext cx="33"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01" name="Rectangle 146"/>
            <p:cNvSpPr>
              <a:spLocks noChangeArrowheads="1"/>
            </p:cNvSpPr>
            <p:nvPr/>
          </p:nvSpPr>
          <p:spPr bwMode="auto">
            <a:xfrm>
              <a:off x="2308" y="2671"/>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02" name="Rectangle 147"/>
            <p:cNvSpPr>
              <a:spLocks noChangeArrowheads="1"/>
            </p:cNvSpPr>
            <p:nvPr/>
          </p:nvSpPr>
          <p:spPr bwMode="auto">
            <a:xfrm>
              <a:off x="2342" y="2698"/>
              <a:ext cx="33" cy="1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03" name="Rectangle 148"/>
            <p:cNvSpPr>
              <a:spLocks noChangeArrowheads="1"/>
            </p:cNvSpPr>
            <p:nvPr/>
          </p:nvSpPr>
          <p:spPr bwMode="auto">
            <a:xfrm>
              <a:off x="2376" y="2618"/>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04" name="Freeform 149"/>
            <p:cNvSpPr>
              <a:spLocks/>
            </p:cNvSpPr>
            <p:nvPr/>
          </p:nvSpPr>
          <p:spPr bwMode="auto">
            <a:xfrm>
              <a:off x="2630" y="2548"/>
              <a:ext cx="51" cy="55"/>
            </a:xfrm>
            <a:custGeom>
              <a:avLst/>
              <a:gdLst>
                <a:gd name="T0" fmla="*/ 37 w 55"/>
                <a:gd name="T1" fmla="*/ 51 h 59"/>
                <a:gd name="T2" fmla="*/ 18 w 55"/>
                <a:gd name="T3" fmla="*/ 38 h 59"/>
                <a:gd name="T4" fmla="*/ 43 w 55"/>
                <a:gd name="T5" fmla="*/ 38 h 59"/>
                <a:gd name="T6" fmla="*/ 43 w 55"/>
                <a:gd name="T7" fmla="*/ 32 h 59"/>
                <a:gd name="T8" fmla="*/ 16 w 55"/>
                <a:gd name="T9" fmla="*/ 32 h 59"/>
                <a:gd name="T10" fmla="*/ 16 w 55"/>
                <a:gd name="T11" fmla="*/ 29 h 59"/>
                <a:gd name="T12" fmla="*/ 16 w 55"/>
                <a:gd name="T13" fmla="*/ 26 h 59"/>
                <a:gd name="T14" fmla="*/ 43 w 55"/>
                <a:gd name="T15" fmla="*/ 26 h 59"/>
                <a:gd name="T16" fmla="*/ 43 w 55"/>
                <a:gd name="T17" fmla="*/ 20 h 59"/>
                <a:gd name="T18" fmla="*/ 18 w 55"/>
                <a:gd name="T19" fmla="*/ 20 h 59"/>
                <a:gd name="T20" fmla="*/ 37 w 55"/>
                <a:gd name="T21" fmla="*/ 8 h 59"/>
                <a:gd name="T22" fmla="*/ 50 w 55"/>
                <a:gd name="T23" fmla="*/ 12 h 59"/>
                <a:gd name="T24" fmla="*/ 55 w 55"/>
                <a:gd name="T25" fmla="*/ 6 h 59"/>
                <a:gd name="T26" fmla="*/ 37 w 55"/>
                <a:gd name="T27" fmla="*/ 0 h 59"/>
                <a:gd name="T28" fmla="*/ 10 w 55"/>
                <a:gd name="T29" fmla="*/ 20 h 59"/>
                <a:gd name="T30" fmla="*/ 0 w 55"/>
                <a:gd name="T31" fmla="*/ 20 h 59"/>
                <a:gd name="T32" fmla="*/ 0 w 55"/>
                <a:gd name="T33" fmla="*/ 26 h 59"/>
                <a:gd name="T34" fmla="*/ 8 w 55"/>
                <a:gd name="T35" fmla="*/ 26 h 59"/>
                <a:gd name="T36" fmla="*/ 8 w 55"/>
                <a:gd name="T37" fmla="*/ 29 h 59"/>
                <a:gd name="T38" fmla="*/ 8 w 55"/>
                <a:gd name="T39" fmla="*/ 32 h 59"/>
                <a:gd name="T40" fmla="*/ 0 w 55"/>
                <a:gd name="T41" fmla="*/ 32 h 59"/>
                <a:gd name="T42" fmla="*/ 0 w 55"/>
                <a:gd name="T43" fmla="*/ 38 h 59"/>
                <a:gd name="T44" fmla="*/ 10 w 55"/>
                <a:gd name="T45" fmla="*/ 38 h 59"/>
                <a:gd name="T46" fmla="*/ 37 w 55"/>
                <a:gd name="T47" fmla="*/ 59 h 59"/>
                <a:gd name="T48" fmla="*/ 55 w 55"/>
                <a:gd name="T49" fmla="*/ 52 h 59"/>
                <a:gd name="T50" fmla="*/ 50 w 55"/>
                <a:gd name="T51" fmla="*/ 47 h 59"/>
                <a:gd name="T52" fmla="*/ 37 w 55"/>
                <a:gd name="T53" fmla="*/ 5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9">
                  <a:moveTo>
                    <a:pt x="37" y="51"/>
                  </a:moveTo>
                  <a:cubicBezTo>
                    <a:pt x="29" y="51"/>
                    <a:pt x="21" y="46"/>
                    <a:pt x="18" y="38"/>
                  </a:cubicBezTo>
                  <a:cubicBezTo>
                    <a:pt x="43" y="38"/>
                    <a:pt x="43" y="38"/>
                    <a:pt x="43" y="38"/>
                  </a:cubicBezTo>
                  <a:cubicBezTo>
                    <a:pt x="43" y="32"/>
                    <a:pt x="43" y="32"/>
                    <a:pt x="43" y="32"/>
                  </a:cubicBezTo>
                  <a:cubicBezTo>
                    <a:pt x="16" y="32"/>
                    <a:pt x="16" y="32"/>
                    <a:pt x="16" y="32"/>
                  </a:cubicBezTo>
                  <a:cubicBezTo>
                    <a:pt x="16" y="31"/>
                    <a:pt x="16" y="30"/>
                    <a:pt x="16" y="29"/>
                  </a:cubicBezTo>
                  <a:cubicBezTo>
                    <a:pt x="16" y="28"/>
                    <a:pt x="16" y="27"/>
                    <a:pt x="16" y="26"/>
                  </a:cubicBezTo>
                  <a:cubicBezTo>
                    <a:pt x="43" y="26"/>
                    <a:pt x="43" y="26"/>
                    <a:pt x="43" y="26"/>
                  </a:cubicBezTo>
                  <a:cubicBezTo>
                    <a:pt x="43" y="20"/>
                    <a:pt x="43" y="20"/>
                    <a:pt x="43" y="20"/>
                  </a:cubicBezTo>
                  <a:cubicBezTo>
                    <a:pt x="18" y="20"/>
                    <a:pt x="18" y="20"/>
                    <a:pt x="18" y="20"/>
                  </a:cubicBezTo>
                  <a:cubicBezTo>
                    <a:pt x="21" y="13"/>
                    <a:pt x="29" y="8"/>
                    <a:pt x="37" y="8"/>
                  </a:cubicBezTo>
                  <a:cubicBezTo>
                    <a:pt x="42" y="8"/>
                    <a:pt x="46" y="9"/>
                    <a:pt x="50" y="12"/>
                  </a:cubicBezTo>
                  <a:cubicBezTo>
                    <a:pt x="55" y="6"/>
                    <a:pt x="55" y="6"/>
                    <a:pt x="55" y="6"/>
                  </a:cubicBezTo>
                  <a:cubicBezTo>
                    <a:pt x="50" y="2"/>
                    <a:pt x="44" y="0"/>
                    <a:pt x="37" y="0"/>
                  </a:cubicBezTo>
                  <a:cubicBezTo>
                    <a:pt x="24" y="0"/>
                    <a:pt x="13" y="9"/>
                    <a:pt x="10" y="20"/>
                  </a:cubicBezTo>
                  <a:cubicBezTo>
                    <a:pt x="0" y="20"/>
                    <a:pt x="0" y="20"/>
                    <a:pt x="0" y="20"/>
                  </a:cubicBezTo>
                  <a:cubicBezTo>
                    <a:pt x="0" y="26"/>
                    <a:pt x="0" y="26"/>
                    <a:pt x="0" y="26"/>
                  </a:cubicBezTo>
                  <a:cubicBezTo>
                    <a:pt x="8" y="26"/>
                    <a:pt x="8" y="26"/>
                    <a:pt x="8" y="26"/>
                  </a:cubicBezTo>
                  <a:cubicBezTo>
                    <a:pt x="8" y="27"/>
                    <a:pt x="8" y="28"/>
                    <a:pt x="8" y="29"/>
                  </a:cubicBezTo>
                  <a:cubicBezTo>
                    <a:pt x="8" y="30"/>
                    <a:pt x="8" y="31"/>
                    <a:pt x="8" y="32"/>
                  </a:cubicBezTo>
                  <a:cubicBezTo>
                    <a:pt x="0" y="32"/>
                    <a:pt x="0" y="32"/>
                    <a:pt x="0" y="32"/>
                  </a:cubicBezTo>
                  <a:cubicBezTo>
                    <a:pt x="0" y="38"/>
                    <a:pt x="0" y="38"/>
                    <a:pt x="0" y="38"/>
                  </a:cubicBezTo>
                  <a:cubicBezTo>
                    <a:pt x="10" y="38"/>
                    <a:pt x="10" y="38"/>
                    <a:pt x="10" y="38"/>
                  </a:cubicBezTo>
                  <a:cubicBezTo>
                    <a:pt x="13" y="50"/>
                    <a:pt x="24" y="59"/>
                    <a:pt x="37" y="59"/>
                  </a:cubicBezTo>
                  <a:cubicBezTo>
                    <a:pt x="44" y="59"/>
                    <a:pt x="50" y="56"/>
                    <a:pt x="55" y="52"/>
                  </a:cubicBezTo>
                  <a:cubicBezTo>
                    <a:pt x="50" y="47"/>
                    <a:pt x="50" y="47"/>
                    <a:pt x="50" y="47"/>
                  </a:cubicBezTo>
                  <a:cubicBezTo>
                    <a:pt x="46" y="49"/>
                    <a:pt x="42" y="51"/>
                    <a:pt x="37" y="5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05" name="Rectangle 150"/>
            <p:cNvSpPr>
              <a:spLocks noChangeArrowheads="1"/>
            </p:cNvSpPr>
            <p:nvPr/>
          </p:nvSpPr>
          <p:spPr bwMode="auto">
            <a:xfrm>
              <a:off x="2224" y="2811"/>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06" name="Rectangle 151"/>
            <p:cNvSpPr>
              <a:spLocks noChangeArrowheads="1"/>
            </p:cNvSpPr>
            <p:nvPr/>
          </p:nvSpPr>
          <p:spPr bwMode="auto">
            <a:xfrm>
              <a:off x="2224" y="2824"/>
              <a:ext cx="210" cy="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07" name="Rectangle 152"/>
            <p:cNvSpPr>
              <a:spLocks noChangeArrowheads="1"/>
            </p:cNvSpPr>
            <p:nvPr/>
          </p:nvSpPr>
          <p:spPr bwMode="auto">
            <a:xfrm>
              <a:off x="2224" y="2838"/>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08" name="Rectangle 153"/>
            <p:cNvSpPr>
              <a:spLocks noChangeArrowheads="1"/>
            </p:cNvSpPr>
            <p:nvPr/>
          </p:nvSpPr>
          <p:spPr bwMode="auto">
            <a:xfrm>
              <a:off x="2224" y="2852"/>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09" name="Freeform 154"/>
            <p:cNvSpPr>
              <a:spLocks/>
            </p:cNvSpPr>
            <p:nvPr/>
          </p:nvSpPr>
          <p:spPr bwMode="auto">
            <a:xfrm>
              <a:off x="2090" y="1978"/>
              <a:ext cx="116" cy="17"/>
            </a:xfrm>
            <a:custGeom>
              <a:avLst/>
              <a:gdLst>
                <a:gd name="T0" fmla="*/ 119 w 125"/>
                <a:gd name="T1" fmla="*/ 0 h 19"/>
                <a:gd name="T2" fmla="*/ 125 w 125"/>
                <a:gd name="T3" fmla="*/ 6 h 19"/>
                <a:gd name="T4" fmla="*/ 125 w 125"/>
                <a:gd name="T5" fmla="*/ 13 h 19"/>
                <a:gd name="T6" fmla="*/ 119 w 125"/>
                <a:gd name="T7" fmla="*/ 19 h 19"/>
                <a:gd name="T8" fmla="*/ 6 w 125"/>
                <a:gd name="T9" fmla="*/ 19 h 19"/>
                <a:gd name="T10" fmla="*/ 0 w 125"/>
                <a:gd name="T11" fmla="*/ 13 h 19"/>
                <a:gd name="T12" fmla="*/ 0 w 125"/>
                <a:gd name="T13" fmla="*/ 6 h 19"/>
                <a:gd name="T14" fmla="*/ 6 w 125"/>
                <a:gd name="T15" fmla="*/ 0 h 19"/>
                <a:gd name="T16" fmla="*/ 119 w 12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9">
                  <a:moveTo>
                    <a:pt x="119" y="0"/>
                  </a:moveTo>
                  <a:cubicBezTo>
                    <a:pt x="119" y="0"/>
                    <a:pt x="125" y="0"/>
                    <a:pt x="125" y="6"/>
                  </a:cubicBezTo>
                  <a:cubicBezTo>
                    <a:pt x="125" y="13"/>
                    <a:pt x="125" y="13"/>
                    <a:pt x="125" y="13"/>
                  </a:cubicBezTo>
                  <a:cubicBezTo>
                    <a:pt x="125" y="13"/>
                    <a:pt x="125" y="19"/>
                    <a:pt x="119" y="19"/>
                  </a:cubicBezTo>
                  <a:cubicBezTo>
                    <a:pt x="6" y="19"/>
                    <a:pt x="6" y="19"/>
                    <a:pt x="6" y="19"/>
                  </a:cubicBezTo>
                  <a:cubicBezTo>
                    <a:pt x="6" y="19"/>
                    <a:pt x="0" y="19"/>
                    <a:pt x="0" y="13"/>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10" name="Freeform 155"/>
            <p:cNvSpPr>
              <a:spLocks/>
            </p:cNvSpPr>
            <p:nvPr/>
          </p:nvSpPr>
          <p:spPr bwMode="auto">
            <a:xfrm>
              <a:off x="2090" y="1995"/>
              <a:ext cx="116" cy="19"/>
            </a:xfrm>
            <a:custGeom>
              <a:avLst/>
              <a:gdLst>
                <a:gd name="T0" fmla="*/ 119 w 125"/>
                <a:gd name="T1" fmla="*/ 0 h 20"/>
                <a:gd name="T2" fmla="*/ 125 w 125"/>
                <a:gd name="T3" fmla="*/ 7 h 20"/>
                <a:gd name="T4" fmla="*/ 125 w 125"/>
                <a:gd name="T5" fmla="*/ 14 h 20"/>
                <a:gd name="T6" fmla="*/ 119 w 125"/>
                <a:gd name="T7" fmla="*/ 20 h 20"/>
                <a:gd name="T8" fmla="*/ 6 w 125"/>
                <a:gd name="T9" fmla="*/ 20 h 20"/>
                <a:gd name="T10" fmla="*/ 0 w 125"/>
                <a:gd name="T11" fmla="*/ 14 h 20"/>
                <a:gd name="T12" fmla="*/ 0 w 125"/>
                <a:gd name="T13" fmla="*/ 7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7"/>
                  </a:cubicBezTo>
                  <a:cubicBezTo>
                    <a:pt x="125" y="14"/>
                    <a:pt x="125" y="14"/>
                    <a:pt x="125" y="14"/>
                  </a:cubicBezTo>
                  <a:cubicBezTo>
                    <a:pt x="125" y="14"/>
                    <a:pt x="125" y="20"/>
                    <a:pt x="119" y="20"/>
                  </a:cubicBezTo>
                  <a:cubicBezTo>
                    <a:pt x="6" y="20"/>
                    <a:pt x="6" y="20"/>
                    <a:pt x="6" y="20"/>
                  </a:cubicBezTo>
                  <a:cubicBezTo>
                    <a:pt x="6" y="20"/>
                    <a:pt x="0" y="20"/>
                    <a:pt x="0" y="14"/>
                  </a:cubicBezTo>
                  <a:cubicBezTo>
                    <a:pt x="0" y="7"/>
                    <a:pt x="0" y="7"/>
                    <a:pt x="0" y="7"/>
                  </a:cubicBezTo>
                  <a:cubicBezTo>
                    <a:pt x="0" y="7"/>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11" name="Freeform 156"/>
            <p:cNvSpPr>
              <a:spLocks/>
            </p:cNvSpPr>
            <p:nvPr/>
          </p:nvSpPr>
          <p:spPr bwMode="auto">
            <a:xfrm>
              <a:off x="2090" y="2032"/>
              <a:ext cx="116" cy="19"/>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12" name="Freeform 157"/>
            <p:cNvSpPr>
              <a:spLocks/>
            </p:cNvSpPr>
            <p:nvPr/>
          </p:nvSpPr>
          <p:spPr bwMode="auto">
            <a:xfrm>
              <a:off x="2090" y="2014"/>
              <a:ext cx="116" cy="18"/>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13" name="Freeform 158"/>
            <p:cNvSpPr>
              <a:spLocks/>
            </p:cNvSpPr>
            <p:nvPr/>
          </p:nvSpPr>
          <p:spPr bwMode="auto">
            <a:xfrm>
              <a:off x="1540" y="2454"/>
              <a:ext cx="59" cy="65"/>
            </a:xfrm>
            <a:custGeom>
              <a:avLst/>
              <a:gdLst>
                <a:gd name="T0" fmla="*/ 64 w 64"/>
                <a:gd name="T1" fmla="*/ 36 h 70"/>
                <a:gd name="T2" fmla="*/ 28 w 64"/>
                <a:gd name="T3" fmla="*/ 69 h 70"/>
                <a:gd name="T4" fmla="*/ 0 w 64"/>
                <a:gd name="T5" fmla="*/ 34 h 70"/>
                <a:gd name="T6" fmla="*/ 30 w 64"/>
                <a:gd name="T7" fmla="*/ 0 h 70"/>
                <a:gd name="T8" fmla="*/ 64 w 64"/>
                <a:gd name="T9" fmla="*/ 36 h 70"/>
              </a:gdLst>
              <a:ahLst/>
              <a:cxnLst>
                <a:cxn ang="0">
                  <a:pos x="T0" y="T1"/>
                </a:cxn>
                <a:cxn ang="0">
                  <a:pos x="T2" y="T3"/>
                </a:cxn>
                <a:cxn ang="0">
                  <a:pos x="T4" y="T5"/>
                </a:cxn>
                <a:cxn ang="0">
                  <a:pos x="T6" y="T7"/>
                </a:cxn>
                <a:cxn ang="0">
                  <a:pos x="T8" y="T9"/>
                </a:cxn>
              </a:cxnLst>
              <a:rect l="0" t="0" r="r" b="b"/>
              <a:pathLst>
                <a:path w="64" h="70">
                  <a:moveTo>
                    <a:pt x="64" y="36"/>
                  </a:moveTo>
                  <a:cubicBezTo>
                    <a:pt x="63" y="55"/>
                    <a:pt x="47" y="70"/>
                    <a:pt x="28" y="69"/>
                  </a:cubicBezTo>
                  <a:cubicBezTo>
                    <a:pt x="9" y="69"/>
                    <a:pt x="0" y="53"/>
                    <a:pt x="0" y="34"/>
                  </a:cubicBezTo>
                  <a:cubicBezTo>
                    <a:pt x="1" y="15"/>
                    <a:pt x="11" y="0"/>
                    <a:pt x="30" y="0"/>
                  </a:cubicBezTo>
                  <a:cubicBezTo>
                    <a:pt x="49" y="1"/>
                    <a:pt x="64" y="17"/>
                    <a:pt x="64" y="3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14" name="Freeform 159"/>
            <p:cNvSpPr>
              <a:spLocks/>
            </p:cNvSpPr>
            <p:nvPr/>
          </p:nvSpPr>
          <p:spPr bwMode="auto">
            <a:xfrm>
              <a:off x="1537" y="2486"/>
              <a:ext cx="62" cy="138"/>
            </a:xfrm>
            <a:custGeom>
              <a:avLst/>
              <a:gdLst>
                <a:gd name="T0" fmla="*/ 53 w 62"/>
                <a:gd name="T1" fmla="*/ 138 h 138"/>
                <a:gd name="T2" fmla="*/ 0 w 62"/>
                <a:gd name="T3" fmla="*/ 137 h 138"/>
                <a:gd name="T4" fmla="*/ 3 w 62"/>
                <a:gd name="T5" fmla="*/ 0 h 138"/>
                <a:gd name="T6" fmla="*/ 62 w 62"/>
                <a:gd name="T7" fmla="*/ 2 h 138"/>
                <a:gd name="T8" fmla="*/ 53 w 62"/>
                <a:gd name="T9" fmla="*/ 138 h 138"/>
              </a:gdLst>
              <a:ahLst/>
              <a:cxnLst>
                <a:cxn ang="0">
                  <a:pos x="T0" y="T1"/>
                </a:cxn>
                <a:cxn ang="0">
                  <a:pos x="T2" y="T3"/>
                </a:cxn>
                <a:cxn ang="0">
                  <a:pos x="T4" y="T5"/>
                </a:cxn>
                <a:cxn ang="0">
                  <a:pos x="T6" y="T7"/>
                </a:cxn>
                <a:cxn ang="0">
                  <a:pos x="T8" y="T9"/>
                </a:cxn>
              </a:cxnLst>
              <a:rect l="0" t="0" r="r" b="b"/>
              <a:pathLst>
                <a:path w="62" h="138">
                  <a:moveTo>
                    <a:pt x="53" y="138"/>
                  </a:moveTo>
                  <a:lnTo>
                    <a:pt x="0" y="137"/>
                  </a:lnTo>
                  <a:lnTo>
                    <a:pt x="3" y="0"/>
                  </a:lnTo>
                  <a:lnTo>
                    <a:pt x="62" y="2"/>
                  </a:lnTo>
                  <a:lnTo>
                    <a:pt x="53" y="13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15" name="Freeform 160"/>
            <p:cNvSpPr>
              <a:spLocks/>
            </p:cNvSpPr>
            <p:nvPr/>
          </p:nvSpPr>
          <p:spPr bwMode="auto">
            <a:xfrm>
              <a:off x="1479" y="2459"/>
              <a:ext cx="116" cy="95"/>
            </a:xfrm>
            <a:custGeom>
              <a:avLst/>
              <a:gdLst>
                <a:gd name="T0" fmla="*/ 0 w 125"/>
                <a:gd name="T1" fmla="*/ 102 h 102"/>
                <a:gd name="T2" fmla="*/ 57 w 125"/>
                <a:gd name="T3" fmla="*/ 87 h 102"/>
                <a:gd name="T4" fmla="*/ 113 w 125"/>
                <a:gd name="T5" fmla="*/ 102 h 102"/>
                <a:gd name="T6" fmla="*/ 125 w 125"/>
                <a:gd name="T7" fmla="*/ 0 h 102"/>
                <a:gd name="T8" fmla="*/ 0 w 125"/>
                <a:gd name="T9" fmla="*/ 0 h 102"/>
                <a:gd name="T10" fmla="*/ 0 w 125"/>
                <a:gd name="T11" fmla="*/ 102 h 102"/>
              </a:gdLst>
              <a:ahLst/>
              <a:cxnLst>
                <a:cxn ang="0">
                  <a:pos x="T0" y="T1"/>
                </a:cxn>
                <a:cxn ang="0">
                  <a:pos x="T2" y="T3"/>
                </a:cxn>
                <a:cxn ang="0">
                  <a:pos x="T4" y="T5"/>
                </a:cxn>
                <a:cxn ang="0">
                  <a:pos x="T6" y="T7"/>
                </a:cxn>
                <a:cxn ang="0">
                  <a:pos x="T8" y="T9"/>
                </a:cxn>
                <a:cxn ang="0">
                  <a:pos x="T10" y="T11"/>
                </a:cxn>
              </a:cxnLst>
              <a:rect l="0" t="0" r="r" b="b"/>
              <a:pathLst>
                <a:path w="125" h="102">
                  <a:moveTo>
                    <a:pt x="0" y="102"/>
                  </a:moveTo>
                  <a:cubicBezTo>
                    <a:pt x="0" y="97"/>
                    <a:pt x="26" y="87"/>
                    <a:pt x="57" y="87"/>
                  </a:cubicBezTo>
                  <a:cubicBezTo>
                    <a:pt x="88" y="87"/>
                    <a:pt x="113" y="97"/>
                    <a:pt x="113" y="102"/>
                  </a:cubicBezTo>
                  <a:cubicBezTo>
                    <a:pt x="125" y="0"/>
                    <a:pt x="125" y="0"/>
                    <a:pt x="125" y="0"/>
                  </a:cubicBezTo>
                  <a:cubicBezTo>
                    <a:pt x="0" y="0"/>
                    <a:pt x="0" y="0"/>
                    <a:pt x="0" y="0"/>
                  </a:cubicBezTo>
                  <a:lnTo>
                    <a:pt x="0" y="10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16" name="Freeform 161"/>
            <p:cNvSpPr>
              <a:spLocks/>
            </p:cNvSpPr>
            <p:nvPr/>
          </p:nvSpPr>
          <p:spPr bwMode="auto">
            <a:xfrm>
              <a:off x="1456" y="2268"/>
              <a:ext cx="94" cy="247"/>
            </a:xfrm>
            <a:custGeom>
              <a:avLst/>
              <a:gdLst>
                <a:gd name="T0" fmla="*/ 70 w 94"/>
                <a:gd name="T1" fmla="*/ 247 h 247"/>
                <a:gd name="T2" fmla="*/ 0 w 94"/>
                <a:gd name="T3" fmla="*/ 240 h 247"/>
                <a:gd name="T4" fmla="*/ 14 w 94"/>
                <a:gd name="T5" fmla="*/ 142 h 247"/>
                <a:gd name="T6" fmla="*/ 29 w 94"/>
                <a:gd name="T7" fmla="*/ 27 h 247"/>
                <a:gd name="T8" fmla="*/ 48 w 94"/>
                <a:gd name="T9" fmla="*/ 5 h 247"/>
                <a:gd name="T10" fmla="*/ 94 w 94"/>
                <a:gd name="T11" fmla="*/ 0 h 247"/>
                <a:gd name="T12" fmla="*/ 82 w 94"/>
                <a:gd name="T13" fmla="*/ 211 h 247"/>
                <a:gd name="T14" fmla="*/ 70 w 94"/>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7">
                  <a:moveTo>
                    <a:pt x="70" y="247"/>
                  </a:moveTo>
                  <a:lnTo>
                    <a:pt x="0" y="240"/>
                  </a:lnTo>
                  <a:lnTo>
                    <a:pt x="14" y="142"/>
                  </a:lnTo>
                  <a:lnTo>
                    <a:pt x="29" y="27"/>
                  </a:lnTo>
                  <a:lnTo>
                    <a:pt x="48" y="5"/>
                  </a:lnTo>
                  <a:lnTo>
                    <a:pt x="94" y="0"/>
                  </a:lnTo>
                  <a:lnTo>
                    <a:pt x="82" y="211"/>
                  </a:lnTo>
                  <a:lnTo>
                    <a:pt x="7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17" name="Freeform 162"/>
            <p:cNvSpPr>
              <a:spLocks/>
            </p:cNvSpPr>
            <p:nvPr/>
          </p:nvSpPr>
          <p:spPr bwMode="auto">
            <a:xfrm>
              <a:off x="1468" y="2456"/>
              <a:ext cx="72" cy="66"/>
            </a:xfrm>
            <a:custGeom>
              <a:avLst/>
              <a:gdLst>
                <a:gd name="T0" fmla="*/ 1 w 77"/>
                <a:gd name="T1" fmla="*/ 33 h 71"/>
                <a:gd name="T2" fmla="*/ 33 w 77"/>
                <a:gd name="T3" fmla="*/ 70 h 71"/>
                <a:gd name="T4" fmla="*/ 76 w 77"/>
                <a:gd name="T5" fmla="*/ 38 h 71"/>
                <a:gd name="T6" fmla="*/ 38 w 77"/>
                <a:gd name="T7" fmla="*/ 1 h 71"/>
                <a:gd name="T8" fmla="*/ 1 w 77"/>
                <a:gd name="T9" fmla="*/ 33 h 71"/>
              </a:gdLst>
              <a:ahLst/>
              <a:cxnLst>
                <a:cxn ang="0">
                  <a:pos x="T0" y="T1"/>
                </a:cxn>
                <a:cxn ang="0">
                  <a:pos x="T2" y="T3"/>
                </a:cxn>
                <a:cxn ang="0">
                  <a:pos x="T4" y="T5"/>
                </a:cxn>
                <a:cxn ang="0">
                  <a:pos x="T6" y="T7"/>
                </a:cxn>
                <a:cxn ang="0">
                  <a:pos x="T8" y="T9"/>
                </a:cxn>
              </a:cxnLst>
              <a:rect l="0" t="0" r="r" b="b"/>
              <a:pathLst>
                <a:path w="77" h="71">
                  <a:moveTo>
                    <a:pt x="1" y="33"/>
                  </a:moveTo>
                  <a:cubicBezTo>
                    <a:pt x="0" y="52"/>
                    <a:pt x="14" y="69"/>
                    <a:pt x="33" y="70"/>
                  </a:cubicBezTo>
                  <a:cubicBezTo>
                    <a:pt x="52" y="71"/>
                    <a:pt x="74" y="57"/>
                    <a:pt x="76" y="38"/>
                  </a:cubicBezTo>
                  <a:cubicBezTo>
                    <a:pt x="77" y="19"/>
                    <a:pt x="57" y="2"/>
                    <a:pt x="38" y="1"/>
                  </a:cubicBezTo>
                  <a:cubicBezTo>
                    <a:pt x="19" y="0"/>
                    <a:pt x="2" y="14"/>
                    <a:pt x="1" y="3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18" name="Freeform 163"/>
            <p:cNvSpPr>
              <a:spLocks/>
            </p:cNvSpPr>
            <p:nvPr/>
          </p:nvSpPr>
          <p:spPr bwMode="auto">
            <a:xfrm>
              <a:off x="1466" y="2487"/>
              <a:ext cx="73" cy="140"/>
            </a:xfrm>
            <a:custGeom>
              <a:avLst/>
              <a:gdLst>
                <a:gd name="T0" fmla="*/ 0 w 73"/>
                <a:gd name="T1" fmla="*/ 137 h 140"/>
                <a:gd name="T2" fmla="*/ 53 w 73"/>
                <a:gd name="T3" fmla="*/ 140 h 140"/>
                <a:gd name="T4" fmla="*/ 73 w 73"/>
                <a:gd name="T5" fmla="*/ 5 h 140"/>
                <a:gd name="T6" fmla="*/ 3 w 73"/>
                <a:gd name="T7" fmla="*/ 0 h 140"/>
                <a:gd name="T8" fmla="*/ 0 w 73"/>
                <a:gd name="T9" fmla="*/ 137 h 140"/>
              </a:gdLst>
              <a:ahLst/>
              <a:cxnLst>
                <a:cxn ang="0">
                  <a:pos x="T0" y="T1"/>
                </a:cxn>
                <a:cxn ang="0">
                  <a:pos x="T2" y="T3"/>
                </a:cxn>
                <a:cxn ang="0">
                  <a:pos x="T4" y="T5"/>
                </a:cxn>
                <a:cxn ang="0">
                  <a:pos x="T6" y="T7"/>
                </a:cxn>
                <a:cxn ang="0">
                  <a:pos x="T8" y="T9"/>
                </a:cxn>
              </a:cxnLst>
              <a:rect l="0" t="0" r="r" b="b"/>
              <a:pathLst>
                <a:path w="73" h="140">
                  <a:moveTo>
                    <a:pt x="0" y="137"/>
                  </a:moveTo>
                  <a:lnTo>
                    <a:pt x="53" y="140"/>
                  </a:lnTo>
                  <a:lnTo>
                    <a:pt x="73" y="5"/>
                  </a:lnTo>
                  <a:lnTo>
                    <a:pt x="3" y="0"/>
                  </a:lnTo>
                  <a:lnTo>
                    <a:pt x="0" y="13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19" name="Freeform 164"/>
            <p:cNvSpPr>
              <a:spLocks/>
            </p:cNvSpPr>
            <p:nvPr/>
          </p:nvSpPr>
          <p:spPr bwMode="auto">
            <a:xfrm>
              <a:off x="1472" y="2757"/>
              <a:ext cx="34" cy="39"/>
            </a:xfrm>
            <a:custGeom>
              <a:avLst/>
              <a:gdLst>
                <a:gd name="T0" fmla="*/ 34 w 34"/>
                <a:gd name="T1" fmla="*/ 39 h 39"/>
                <a:gd name="T2" fmla="*/ 0 w 34"/>
                <a:gd name="T3" fmla="*/ 37 h 39"/>
                <a:gd name="T4" fmla="*/ 2 w 34"/>
                <a:gd name="T5" fmla="*/ 0 h 39"/>
                <a:gd name="T6" fmla="*/ 33 w 34"/>
                <a:gd name="T7" fmla="*/ 1 h 39"/>
                <a:gd name="T8" fmla="*/ 34 w 34"/>
                <a:gd name="T9" fmla="*/ 39 h 39"/>
              </a:gdLst>
              <a:ahLst/>
              <a:cxnLst>
                <a:cxn ang="0">
                  <a:pos x="T0" y="T1"/>
                </a:cxn>
                <a:cxn ang="0">
                  <a:pos x="T2" y="T3"/>
                </a:cxn>
                <a:cxn ang="0">
                  <a:pos x="T4" y="T5"/>
                </a:cxn>
                <a:cxn ang="0">
                  <a:pos x="T6" y="T7"/>
                </a:cxn>
                <a:cxn ang="0">
                  <a:pos x="T8" y="T9"/>
                </a:cxn>
              </a:cxnLst>
              <a:rect l="0" t="0" r="r" b="b"/>
              <a:pathLst>
                <a:path w="34" h="39">
                  <a:moveTo>
                    <a:pt x="34" y="39"/>
                  </a:moveTo>
                  <a:lnTo>
                    <a:pt x="0" y="37"/>
                  </a:lnTo>
                  <a:lnTo>
                    <a:pt x="2" y="0"/>
                  </a:lnTo>
                  <a:lnTo>
                    <a:pt x="33" y="1"/>
                  </a:lnTo>
                  <a:lnTo>
                    <a:pt x="34" y="3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20" name="Freeform 165"/>
            <p:cNvSpPr>
              <a:spLocks/>
            </p:cNvSpPr>
            <p:nvPr/>
          </p:nvSpPr>
          <p:spPr bwMode="auto">
            <a:xfrm>
              <a:off x="1410" y="2777"/>
              <a:ext cx="98" cy="37"/>
            </a:xfrm>
            <a:custGeom>
              <a:avLst/>
              <a:gdLst>
                <a:gd name="T0" fmla="*/ 104 w 105"/>
                <a:gd name="T1" fmla="*/ 39 h 40"/>
                <a:gd name="T2" fmla="*/ 73 w 105"/>
                <a:gd name="T3" fmla="*/ 40 h 40"/>
                <a:gd name="T4" fmla="*/ 72 w 105"/>
                <a:gd name="T5" fmla="*/ 35 h 40"/>
                <a:gd name="T6" fmla="*/ 29 w 105"/>
                <a:gd name="T7" fmla="*/ 40 h 40"/>
                <a:gd name="T8" fmla="*/ 2 w 105"/>
                <a:gd name="T9" fmla="*/ 37 h 40"/>
                <a:gd name="T10" fmla="*/ 0 w 105"/>
                <a:gd name="T11" fmla="*/ 33 h 40"/>
                <a:gd name="T12" fmla="*/ 64 w 105"/>
                <a:gd name="T13" fmla="*/ 0 h 40"/>
                <a:gd name="T14" fmla="*/ 66 w 105"/>
                <a:gd name="T15" fmla="*/ 0 h 40"/>
                <a:gd name="T16" fmla="*/ 81 w 105"/>
                <a:gd name="T17" fmla="*/ 10 h 40"/>
                <a:gd name="T18" fmla="*/ 100 w 105"/>
                <a:gd name="T19" fmla="*/ 0 h 40"/>
                <a:gd name="T20" fmla="*/ 104 w 105"/>
                <a:gd name="T21"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40">
                  <a:moveTo>
                    <a:pt x="104" y="39"/>
                  </a:moveTo>
                  <a:cubicBezTo>
                    <a:pt x="73" y="40"/>
                    <a:pt x="73" y="40"/>
                    <a:pt x="73" y="40"/>
                  </a:cubicBezTo>
                  <a:cubicBezTo>
                    <a:pt x="72" y="35"/>
                    <a:pt x="72" y="35"/>
                    <a:pt x="72" y="35"/>
                  </a:cubicBezTo>
                  <a:cubicBezTo>
                    <a:pt x="62" y="37"/>
                    <a:pt x="40" y="40"/>
                    <a:pt x="29" y="40"/>
                  </a:cubicBezTo>
                  <a:cubicBezTo>
                    <a:pt x="21" y="40"/>
                    <a:pt x="8" y="40"/>
                    <a:pt x="2" y="37"/>
                  </a:cubicBezTo>
                  <a:cubicBezTo>
                    <a:pt x="1" y="36"/>
                    <a:pt x="0" y="34"/>
                    <a:pt x="0" y="33"/>
                  </a:cubicBezTo>
                  <a:cubicBezTo>
                    <a:pt x="1" y="20"/>
                    <a:pt x="51" y="15"/>
                    <a:pt x="64" y="0"/>
                  </a:cubicBezTo>
                  <a:cubicBezTo>
                    <a:pt x="66" y="0"/>
                    <a:pt x="66" y="0"/>
                    <a:pt x="66" y="0"/>
                  </a:cubicBezTo>
                  <a:cubicBezTo>
                    <a:pt x="69" y="3"/>
                    <a:pt x="73" y="10"/>
                    <a:pt x="81" y="10"/>
                  </a:cubicBezTo>
                  <a:cubicBezTo>
                    <a:pt x="89" y="10"/>
                    <a:pt x="97" y="3"/>
                    <a:pt x="100" y="0"/>
                  </a:cubicBezTo>
                  <a:cubicBezTo>
                    <a:pt x="105" y="4"/>
                    <a:pt x="105" y="39"/>
                    <a:pt x="104" y="3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21" name="Freeform 166"/>
            <p:cNvSpPr>
              <a:spLocks/>
            </p:cNvSpPr>
            <p:nvPr/>
          </p:nvSpPr>
          <p:spPr bwMode="auto">
            <a:xfrm>
              <a:off x="1465" y="2598"/>
              <a:ext cx="55" cy="55"/>
            </a:xfrm>
            <a:custGeom>
              <a:avLst/>
              <a:gdLst>
                <a:gd name="T0" fmla="*/ 58 w 59"/>
                <a:gd name="T1" fmla="*/ 31 h 59"/>
                <a:gd name="T2" fmla="*/ 31 w 59"/>
                <a:gd name="T3" fmla="*/ 1 h 59"/>
                <a:gd name="T4" fmla="*/ 1 w 59"/>
                <a:gd name="T5" fmla="*/ 28 h 59"/>
                <a:gd name="T6" fmla="*/ 28 w 59"/>
                <a:gd name="T7" fmla="*/ 59 h 59"/>
                <a:gd name="T8" fmla="*/ 58 w 59"/>
                <a:gd name="T9" fmla="*/ 31 h 59"/>
              </a:gdLst>
              <a:ahLst/>
              <a:cxnLst>
                <a:cxn ang="0">
                  <a:pos x="T0" y="T1"/>
                </a:cxn>
                <a:cxn ang="0">
                  <a:pos x="T2" y="T3"/>
                </a:cxn>
                <a:cxn ang="0">
                  <a:pos x="T4" y="T5"/>
                </a:cxn>
                <a:cxn ang="0">
                  <a:pos x="T6" y="T7"/>
                </a:cxn>
                <a:cxn ang="0">
                  <a:pos x="T8" y="T9"/>
                </a:cxn>
              </a:cxnLst>
              <a:rect l="0" t="0" r="r" b="b"/>
              <a:pathLst>
                <a:path w="59" h="59">
                  <a:moveTo>
                    <a:pt x="58" y="31"/>
                  </a:moveTo>
                  <a:cubicBezTo>
                    <a:pt x="59" y="15"/>
                    <a:pt x="47" y="2"/>
                    <a:pt x="31" y="1"/>
                  </a:cubicBezTo>
                  <a:cubicBezTo>
                    <a:pt x="15" y="0"/>
                    <a:pt x="2" y="13"/>
                    <a:pt x="1" y="28"/>
                  </a:cubicBezTo>
                  <a:cubicBezTo>
                    <a:pt x="0" y="44"/>
                    <a:pt x="12" y="58"/>
                    <a:pt x="28" y="59"/>
                  </a:cubicBezTo>
                  <a:cubicBezTo>
                    <a:pt x="44" y="59"/>
                    <a:pt x="57" y="47"/>
                    <a:pt x="58" y="3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22" name="Freeform 167"/>
            <p:cNvSpPr>
              <a:spLocks/>
            </p:cNvSpPr>
            <p:nvPr/>
          </p:nvSpPr>
          <p:spPr bwMode="auto">
            <a:xfrm>
              <a:off x="1461" y="2624"/>
              <a:ext cx="58" cy="166"/>
            </a:xfrm>
            <a:custGeom>
              <a:avLst/>
              <a:gdLst>
                <a:gd name="T0" fmla="*/ 58 w 58"/>
                <a:gd name="T1" fmla="*/ 3 h 166"/>
                <a:gd name="T2" fmla="*/ 5 w 58"/>
                <a:gd name="T3" fmla="*/ 0 h 166"/>
                <a:gd name="T4" fmla="*/ 0 w 58"/>
                <a:gd name="T5" fmla="*/ 161 h 166"/>
                <a:gd name="T6" fmla="*/ 49 w 58"/>
                <a:gd name="T7" fmla="*/ 166 h 166"/>
                <a:gd name="T8" fmla="*/ 58 w 58"/>
                <a:gd name="T9" fmla="*/ 3 h 166"/>
              </a:gdLst>
              <a:ahLst/>
              <a:cxnLst>
                <a:cxn ang="0">
                  <a:pos x="T0" y="T1"/>
                </a:cxn>
                <a:cxn ang="0">
                  <a:pos x="T2" y="T3"/>
                </a:cxn>
                <a:cxn ang="0">
                  <a:pos x="T4" y="T5"/>
                </a:cxn>
                <a:cxn ang="0">
                  <a:pos x="T6" y="T7"/>
                </a:cxn>
                <a:cxn ang="0">
                  <a:pos x="T8" y="T9"/>
                </a:cxn>
              </a:cxnLst>
              <a:rect l="0" t="0" r="r" b="b"/>
              <a:pathLst>
                <a:path w="58" h="166">
                  <a:moveTo>
                    <a:pt x="58" y="3"/>
                  </a:moveTo>
                  <a:lnTo>
                    <a:pt x="5" y="0"/>
                  </a:lnTo>
                  <a:lnTo>
                    <a:pt x="0" y="161"/>
                  </a:lnTo>
                  <a:lnTo>
                    <a:pt x="49" y="166"/>
                  </a:lnTo>
                  <a:lnTo>
                    <a:pt x="58"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23" name="Freeform 168"/>
            <p:cNvSpPr>
              <a:spLocks/>
            </p:cNvSpPr>
            <p:nvPr/>
          </p:nvSpPr>
          <p:spPr bwMode="auto">
            <a:xfrm>
              <a:off x="1537" y="2755"/>
              <a:ext cx="34" cy="38"/>
            </a:xfrm>
            <a:custGeom>
              <a:avLst/>
              <a:gdLst>
                <a:gd name="T0" fmla="*/ 0 w 34"/>
                <a:gd name="T1" fmla="*/ 37 h 38"/>
                <a:gd name="T2" fmla="*/ 33 w 34"/>
                <a:gd name="T3" fmla="*/ 38 h 38"/>
                <a:gd name="T4" fmla="*/ 34 w 34"/>
                <a:gd name="T5" fmla="*/ 0 h 38"/>
                <a:gd name="T6" fmla="*/ 3 w 34"/>
                <a:gd name="T7" fmla="*/ 0 h 38"/>
                <a:gd name="T8" fmla="*/ 0 w 34"/>
                <a:gd name="T9" fmla="*/ 37 h 38"/>
              </a:gdLst>
              <a:ahLst/>
              <a:cxnLst>
                <a:cxn ang="0">
                  <a:pos x="T0" y="T1"/>
                </a:cxn>
                <a:cxn ang="0">
                  <a:pos x="T2" y="T3"/>
                </a:cxn>
                <a:cxn ang="0">
                  <a:pos x="T4" y="T5"/>
                </a:cxn>
                <a:cxn ang="0">
                  <a:pos x="T6" y="T7"/>
                </a:cxn>
                <a:cxn ang="0">
                  <a:pos x="T8" y="T9"/>
                </a:cxn>
              </a:cxnLst>
              <a:rect l="0" t="0" r="r" b="b"/>
              <a:pathLst>
                <a:path w="34" h="38">
                  <a:moveTo>
                    <a:pt x="0" y="37"/>
                  </a:moveTo>
                  <a:lnTo>
                    <a:pt x="33" y="38"/>
                  </a:lnTo>
                  <a:lnTo>
                    <a:pt x="34" y="0"/>
                  </a:lnTo>
                  <a:lnTo>
                    <a:pt x="3" y="0"/>
                  </a:lnTo>
                  <a:lnTo>
                    <a:pt x="0" y="37"/>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24" name="Freeform 169"/>
            <p:cNvSpPr>
              <a:spLocks/>
            </p:cNvSpPr>
            <p:nvPr/>
          </p:nvSpPr>
          <p:spPr bwMode="auto">
            <a:xfrm>
              <a:off x="1533" y="2778"/>
              <a:ext cx="99" cy="38"/>
            </a:xfrm>
            <a:custGeom>
              <a:avLst/>
              <a:gdLst>
                <a:gd name="T0" fmla="*/ 1 w 106"/>
                <a:gd name="T1" fmla="*/ 38 h 41"/>
                <a:gd name="T2" fmla="*/ 32 w 106"/>
                <a:gd name="T3" fmla="*/ 39 h 41"/>
                <a:gd name="T4" fmla="*/ 34 w 106"/>
                <a:gd name="T5" fmla="*/ 35 h 41"/>
                <a:gd name="T6" fmla="*/ 76 w 106"/>
                <a:gd name="T7" fmla="*/ 41 h 41"/>
                <a:gd name="T8" fmla="*/ 103 w 106"/>
                <a:gd name="T9" fmla="*/ 38 h 41"/>
                <a:gd name="T10" fmla="*/ 105 w 106"/>
                <a:gd name="T11" fmla="*/ 34 h 41"/>
                <a:gd name="T12" fmla="*/ 42 w 106"/>
                <a:gd name="T13" fmla="*/ 0 h 41"/>
                <a:gd name="T14" fmla="*/ 40 w 106"/>
                <a:gd name="T15" fmla="*/ 0 h 41"/>
                <a:gd name="T16" fmla="*/ 25 w 106"/>
                <a:gd name="T17" fmla="*/ 10 h 41"/>
                <a:gd name="T18" fmla="*/ 6 w 106"/>
                <a:gd name="T19" fmla="*/ 0 h 41"/>
                <a:gd name="T20" fmla="*/ 1 w 106"/>
                <a:gd name="T21"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41">
                  <a:moveTo>
                    <a:pt x="1" y="38"/>
                  </a:moveTo>
                  <a:cubicBezTo>
                    <a:pt x="32" y="39"/>
                    <a:pt x="32" y="39"/>
                    <a:pt x="32" y="39"/>
                  </a:cubicBezTo>
                  <a:cubicBezTo>
                    <a:pt x="34" y="35"/>
                    <a:pt x="34" y="35"/>
                    <a:pt x="34" y="35"/>
                  </a:cubicBezTo>
                  <a:cubicBezTo>
                    <a:pt x="43" y="37"/>
                    <a:pt x="66" y="40"/>
                    <a:pt x="76" y="41"/>
                  </a:cubicBezTo>
                  <a:cubicBezTo>
                    <a:pt x="85" y="41"/>
                    <a:pt x="97" y="41"/>
                    <a:pt x="103" y="38"/>
                  </a:cubicBezTo>
                  <a:cubicBezTo>
                    <a:pt x="104" y="37"/>
                    <a:pt x="106" y="35"/>
                    <a:pt x="105" y="34"/>
                  </a:cubicBezTo>
                  <a:cubicBezTo>
                    <a:pt x="104" y="21"/>
                    <a:pt x="54" y="15"/>
                    <a:pt x="42" y="0"/>
                  </a:cubicBezTo>
                  <a:cubicBezTo>
                    <a:pt x="40" y="0"/>
                    <a:pt x="40" y="0"/>
                    <a:pt x="40" y="0"/>
                  </a:cubicBezTo>
                  <a:cubicBezTo>
                    <a:pt x="37" y="3"/>
                    <a:pt x="33" y="10"/>
                    <a:pt x="25" y="10"/>
                  </a:cubicBezTo>
                  <a:cubicBezTo>
                    <a:pt x="17" y="10"/>
                    <a:pt x="9" y="2"/>
                    <a:pt x="6" y="0"/>
                  </a:cubicBezTo>
                  <a:cubicBezTo>
                    <a:pt x="1" y="3"/>
                    <a:pt x="0" y="38"/>
                    <a:pt x="1" y="3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25" name="Freeform 170"/>
            <p:cNvSpPr>
              <a:spLocks/>
            </p:cNvSpPr>
            <p:nvPr/>
          </p:nvSpPr>
          <p:spPr bwMode="auto">
            <a:xfrm>
              <a:off x="1536" y="2596"/>
              <a:ext cx="54" cy="55"/>
            </a:xfrm>
            <a:custGeom>
              <a:avLst/>
              <a:gdLst>
                <a:gd name="T0" fmla="*/ 0 w 58"/>
                <a:gd name="T1" fmla="*/ 29 h 59"/>
                <a:gd name="T2" fmla="*/ 30 w 58"/>
                <a:gd name="T3" fmla="*/ 1 h 59"/>
                <a:gd name="T4" fmla="*/ 58 w 58"/>
                <a:gd name="T5" fmla="*/ 30 h 59"/>
                <a:gd name="T6" fmla="*/ 28 w 58"/>
                <a:gd name="T7" fmla="*/ 58 h 59"/>
                <a:gd name="T8" fmla="*/ 0 w 58"/>
                <a:gd name="T9" fmla="*/ 29 h 59"/>
              </a:gdLst>
              <a:ahLst/>
              <a:cxnLst>
                <a:cxn ang="0">
                  <a:pos x="T0" y="T1"/>
                </a:cxn>
                <a:cxn ang="0">
                  <a:pos x="T2" y="T3"/>
                </a:cxn>
                <a:cxn ang="0">
                  <a:pos x="T4" y="T5"/>
                </a:cxn>
                <a:cxn ang="0">
                  <a:pos x="T6" y="T7"/>
                </a:cxn>
                <a:cxn ang="0">
                  <a:pos x="T8" y="T9"/>
                </a:cxn>
              </a:cxnLst>
              <a:rect l="0" t="0" r="r" b="b"/>
              <a:pathLst>
                <a:path w="58" h="59">
                  <a:moveTo>
                    <a:pt x="0" y="29"/>
                  </a:moveTo>
                  <a:cubicBezTo>
                    <a:pt x="1" y="13"/>
                    <a:pt x="14" y="0"/>
                    <a:pt x="30" y="1"/>
                  </a:cubicBezTo>
                  <a:cubicBezTo>
                    <a:pt x="46" y="1"/>
                    <a:pt x="58" y="14"/>
                    <a:pt x="58" y="30"/>
                  </a:cubicBezTo>
                  <a:cubicBezTo>
                    <a:pt x="57" y="46"/>
                    <a:pt x="44" y="59"/>
                    <a:pt x="28" y="58"/>
                  </a:cubicBezTo>
                  <a:cubicBezTo>
                    <a:pt x="13" y="58"/>
                    <a:pt x="0" y="45"/>
                    <a:pt x="0" y="2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26" name="Freeform 171"/>
            <p:cNvSpPr>
              <a:spLocks/>
            </p:cNvSpPr>
            <p:nvPr/>
          </p:nvSpPr>
          <p:spPr bwMode="auto">
            <a:xfrm>
              <a:off x="1534" y="2623"/>
              <a:ext cx="56" cy="164"/>
            </a:xfrm>
            <a:custGeom>
              <a:avLst/>
              <a:gdLst>
                <a:gd name="T0" fmla="*/ 2 w 56"/>
                <a:gd name="T1" fmla="*/ 0 h 164"/>
                <a:gd name="T2" fmla="*/ 56 w 56"/>
                <a:gd name="T3" fmla="*/ 1 h 164"/>
                <a:gd name="T4" fmla="*/ 48 w 56"/>
                <a:gd name="T5" fmla="*/ 161 h 164"/>
                <a:gd name="T6" fmla="*/ 0 w 56"/>
                <a:gd name="T7" fmla="*/ 164 h 164"/>
                <a:gd name="T8" fmla="*/ 2 w 56"/>
                <a:gd name="T9" fmla="*/ 0 h 164"/>
              </a:gdLst>
              <a:ahLst/>
              <a:cxnLst>
                <a:cxn ang="0">
                  <a:pos x="T0" y="T1"/>
                </a:cxn>
                <a:cxn ang="0">
                  <a:pos x="T2" y="T3"/>
                </a:cxn>
                <a:cxn ang="0">
                  <a:pos x="T4" y="T5"/>
                </a:cxn>
                <a:cxn ang="0">
                  <a:pos x="T6" y="T7"/>
                </a:cxn>
                <a:cxn ang="0">
                  <a:pos x="T8" y="T9"/>
                </a:cxn>
              </a:cxnLst>
              <a:rect l="0" t="0" r="r" b="b"/>
              <a:pathLst>
                <a:path w="56" h="164">
                  <a:moveTo>
                    <a:pt x="2" y="0"/>
                  </a:moveTo>
                  <a:lnTo>
                    <a:pt x="56" y="1"/>
                  </a:lnTo>
                  <a:lnTo>
                    <a:pt x="48" y="161"/>
                  </a:lnTo>
                  <a:lnTo>
                    <a:pt x="0" y="164"/>
                  </a:lnTo>
                  <a:lnTo>
                    <a:pt x="2"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27" name="Freeform 172"/>
            <p:cNvSpPr>
              <a:spLocks/>
            </p:cNvSpPr>
            <p:nvPr/>
          </p:nvSpPr>
          <p:spPr bwMode="auto">
            <a:xfrm>
              <a:off x="1591" y="2266"/>
              <a:ext cx="77" cy="69"/>
            </a:xfrm>
            <a:custGeom>
              <a:avLst/>
              <a:gdLst>
                <a:gd name="T0" fmla="*/ 77 w 77"/>
                <a:gd name="T1" fmla="*/ 44 h 69"/>
                <a:gd name="T2" fmla="*/ 65 w 77"/>
                <a:gd name="T3" fmla="*/ 0 h 69"/>
                <a:gd name="T4" fmla="*/ 0 w 77"/>
                <a:gd name="T5" fmla="*/ 9 h 69"/>
                <a:gd name="T6" fmla="*/ 19 w 77"/>
                <a:gd name="T7" fmla="*/ 69 h 69"/>
                <a:gd name="T8" fmla="*/ 77 w 77"/>
                <a:gd name="T9" fmla="*/ 44 h 69"/>
              </a:gdLst>
              <a:ahLst/>
              <a:cxnLst>
                <a:cxn ang="0">
                  <a:pos x="T0" y="T1"/>
                </a:cxn>
                <a:cxn ang="0">
                  <a:pos x="T2" y="T3"/>
                </a:cxn>
                <a:cxn ang="0">
                  <a:pos x="T4" y="T5"/>
                </a:cxn>
                <a:cxn ang="0">
                  <a:pos x="T6" y="T7"/>
                </a:cxn>
                <a:cxn ang="0">
                  <a:pos x="T8" y="T9"/>
                </a:cxn>
              </a:cxnLst>
              <a:rect l="0" t="0" r="r" b="b"/>
              <a:pathLst>
                <a:path w="77" h="69">
                  <a:moveTo>
                    <a:pt x="77" y="44"/>
                  </a:moveTo>
                  <a:lnTo>
                    <a:pt x="65" y="0"/>
                  </a:lnTo>
                  <a:lnTo>
                    <a:pt x="0" y="9"/>
                  </a:lnTo>
                  <a:lnTo>
                    <a:pt x="19" y="69"/>
                  </a:lnTo>
                  <a:lnTo>
                    <a:pt x="77" y="4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28" name="Freeform 173"/>
            <p:cNvSpPr>
              <a:spLocks/>
            </p:cNvSpPr>
            <p:nvPr/>
          </p:nvSpPr>
          <p:spPr bwMode="auto">
            <a:xfrm>
              <a:off x="1565" y="2270"/>
              <a:ext cx="71" cy="70"/>
            </a:xfrm>
            <a:custGeom>
              <a:avLst/>
              <a:gdLst>
                <a:gd name="T0" fmla="*/ 49 w 77"/>
                <a:gd name="T1" fmla="*/ 70 h 76"/>
                <a:gd name="T2" fmla="*/ 6 w 77"/>
                <a:gd name="T3" fmla="*/ 49 h 76"/>
                <a:gd name="T4" fmla="*/ 28 w 77"/>
                <a:gd name="T5" fmla="*/ 6 h 76"/>
                <a:gd name="T6" fmla="*/ 71 w 77"/>
                <a:gd name="T7" fmla="*/ 27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2" y="76"/>
                    <a:pt x="12" y="67"/>
                    <a:pt x="6" y="49"/>
                  </a:cubicBezTo>
                  <a:cubicBezTo>
                    <a:pt x="0" y="31"/>
                    <a:pt x="10" y="12"/>
                    <a:pt x="28" y="6"/>
                  </a:cubicBezTo>
                  <a:cubicBezTo>
                    <a:pt x="46" y="0"/>
                    <a:pt x="65" y="9"/>
                    <a:pt x="71" y="27"/>
                  </a:cubicBezTo>
                  <a:cubicBezTo>
                    <a:pt x="77" y="45"/>
                    <a:pt x="67" y="64"/>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29" name="Freeform 174"/>
            <p:cNvSpPr>
              <a:spLocks/>
            </p:cNvSpPr>
            <p:nvPr/>
          </p:nvSpPr>
          <p:spPr bwMode="auto">
            <a:xfrm>
              <a:off x="1532" y="2268"/>
              <a:ext cx="86" cy="252"/>
            </a:xfrm>
            <a:custGeom>
              <a:avLst/>
              <a:gdLst>
                <a:gd name="T0" fmla="*/ 0 w 86"/>
                <a:gd name="T1" fmla="*/ 247 h 252"/>
                <a:gd name="T2" fmla="*/ 65 w 86"/>
                <a:gd name="T3" fmla="*/ 252 h 252"/>
                <a:gd name="T4" fmla="*/ 86 w 86"/>
                <a:gd name="T5" fmla="*/ 46 h 252"/>
                <a:gd name="T6" fmla="*/ 77 w 86"/>
                <a:gd name="T7" fmla="*/ 6 h 252"/>
                <a:gd name="T8" fmla="*/ 18 w 86"/>
                <a:gd name="T9" fmla="*/ 0 h 252"/>
                <a:gd name="T10" fmla="*/ 6 w 86"/>
                <a:gd name="T11" fmla="*/ 211 h 252"/>
                <a:gd name="T12" fmla="*/ 0 w 86"/>
                <a:gd name="T13" fmla="*/ 247 h 252"/>
              </a:gdLst>
              <a:ahLst/>
              <a:cxnLst>
                <a:cxn ang="0">
                  <a:pos x="T0" y="T1"/>
                </a:cxn>
                <a:cxn ang="0">
                  <a:pos x="T2" y="T3"/>
                </a:cxn>
                <a:cxn ang="0">
                  <a:pos x="T4" y="T5"/>
                </a:cxn>
                <a:cxn ang="0">
                  <a:pos x="T6" y="T7"/>
                </a:cxn>
                <a:cxn ang="0">
                  <a:pos x="T8" y="T9"/>
                </a:cxn>
                <a:cxn ang="0">
                  <a:pos x="T10" y="T11"/>
                </a:cxn>
                <a:cxn ang="0">
                  <a:pos x="T12" y="T13"/>
                </a:cxn>
              </a:cxnLst>
              <a:rect l="0" t="0" r="r" b="b"/>
              <a:pathLst>
                <a:path w="86" h="252">
                  <a:moveTo>
                    <a:pt x="0" y="247"/>
                  </a:moveTo>
                  <a:lnTo>
                    <a:pt x="65" y="252"/>
                  </a:lnTo>
                  <a:lnTo>
                    <a:pt x="86" y="46"/>
                  </a:lnTo>
                  <a:lnTo>
                    <a:pt x="77" y="6"/>
                  </a:lnTo>
                  <a:lnTo>
                    <a:pt x="18" y="0"/>
                  </a:lnTo>
                  <a:lnTo>
                    <a:pt x="6" y="211"/>
                  </a:lnTo>
                  <a:lnTo>
                    <a:pt x="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30" name="Freeform 175"/>
            <p:cNvSpPr>
              <a:spLocks/>
            </p:cNvSpPr>
            <p:nvPr/>
          </p:nvSpPr>
          <p:spPr bwMode="auto">
            <a:xfrm>
              <a:off x="1528" y="2236"/>
              <a:ext cx="45" cy="52"/>
            </a:xfrm>
            <a:custGeom>
              <a:avLst/>
              <a:gdLst>
                <a:gd name="T0" fmla="*/ 45 w 48"/>
                <a:gd name="T1" fmla="*/ 40 h 57"/>
                <a:gd name="T2" fmla="*/ 48 w 48"/>
                <a:gd name="T3" fmla="*/ 4 h 57"/>
                <a:gd name="T4" fmla="*/ 4 w 48"/>
                <a:gd name="T5" fmla="*/ 0 h 57"/>
                <a:gd name="T6" fmla="*/ 1 w 48"/>
                <a:gd name="T7" fmla="*/ 36 h 57"/>
                <a:gd name="T8" fmla="*/ 21 w 48"/>
                <a:gd name="T9" fmla="*/ 55 h 57"/>
                <a:gd name="T10" fmla="*/ 45 w 48"/>
                <a:gd name="T11" fmla="*/ 40 h 57"/>
              </a:gdLst>
              <a:ahLst/>
              <a:cxnLst>
                <a:cxn ang="0">
                  <a:pos x="T0" y="T1"/>
                </a:cxn>
                <a:cxn ang="0">
                  <a:pos x="T2" y="T3"/>
                </a:cxn>
                <a:cxn ang="0">
                  <a:pos x="T4" y="T5"/>
                </a:cxn>
                <a:cxn ang="0">
                  <a:pos x="T6" y="T7"/>
                </a:cxn>
                <a:cxn ang="0">
                  <a:pos x="T8" y="T9"/>
                </a:cxn>
                <a:cxn ang="0">
                  <a:pos x="T10" y="T11"/>
                </a:cxn>
              </a:cxnLst>
              <a:rect l="0" t="0" r="r" b="b"/>
              <a:pathLst>
                <a:path w="48" h="57">
                  <a:moveTo>
                    <a:pt x="45" y="40"/>
                  </a:moveTo>
                  <a:cubicBezTo>
                    <a:pt x="48" y="4"/>
                    <a:pt x="48" y="4"/>
                    <a:pt x="48" y="4"/>
                  </a:cubicBezTo>
                  <a:cubicBezTo>
                    <a:pt x="4" y="0"/>
                    <a:pt x="4" y="0"/>
                    <a:pt x="4" y="0"/>
                  </a:cubicBezTo>
                  <a:cubicBezTo>
                    <a:pt x="1" y="36"/>
                    <a:pt x="1" y="36"/>
                    <a:pt x="1" y="36"/>
                  </a:cubicBezTo>
                  <a:cubicBezTo>
                    <a:pt x="0" y="45"/>
                    <a:pt x="5" y="54"/>
                    <a:pt x="21" y="55"/>
                  </a:cubicBezTo>
                  <a:cubicBezTo>
                    <a:pt x="37" y="57"/>
                    <a:pt x="44" y="48"/>
                    <a:pt x="45" y="4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31" name="Freeform 176"/>
            <p:cNvSpPr>
              <a:spLocks/>
            </p:cNvSpPr>
            <p:nvPr/>
          </p:nvSpPr>
          <p:spPr bwMode="auto">
            <a:xfrm>
              <a:off x="1528" y="2228"/>
              <a:ext cx="45" cy="41"/>
            </a:xfrm>
            <a:custGeom>
              <a:avLst/>
              <a:gdLst>
                <a:gd name="T0" fmla="*/ 0 w 48"/>
                <a:gd name="T1" fmla="*/ 9 h 44"/>
                <a:gd name="T2" fmla="*/ 45 w 48"/>
                <a:gd name="T3" fmla="*/ 44 h 44"/>
                <a:gd name="T4" fmla="*/ 48 w 48"/>
                <a:gd name="T5" fmla="*/ 10 h 44"/>
                <a:gd name="T6" fmla="*/ 0 w 48"/>
                <a:gd name="T7" fmla="*/ 0 h 44"/>
                <a:gd name="T8" fmla="*/ 0 w 48"/>
                <a:gd name="T9" fmla="*/ 9 h 44"/>
              </a:gdLst>
              <a:ahLst/>
              <a:cxnLst>
                <a:cxn ang="0">
                  <a:pos x="T0" y="T1"/>
                </a:cxn>
                <a:cxn ang="0">
                  <a:pos x="T2" y="T3"/>
                </a:cxn>
                <a:cxn ang="0">
                  <a:pos x="T4" y="T5"/>
                </a:cxn>
                <a:cxn ang="0">
                  <a:pos x="T6" y="T7"/>
                </a:cxn>
                <a:cxn ang="0">
                  <a:pos x="T8" y="T9"/>
                </a:cxn>
              </a:cxnLst>
              <a:rect l="0" t="0" r="r" b="b"/>
              <a:pathLst>
                <a:path w="48" h="44">
                  <a:moveTo>
                    <a:pt x="0" y="9"/>
                  </a:moveTo>
                  <a:cubicBezTo>
                    <a:pt x="12" y="27"/>
                    <a:pt x="24" y="36"/>
                    <a:pt x="45" y="44"/>
                  </a:cubicBezTo>
                  <a:cubicBezTo>
                    <a:pt x="48" y="10"/>
                    <a:pt x="48" y="10"/>
                    <a:pt x="48" y="10"/>
                  </a:cubicBezTo>
                  <a:cubicBezTo>
                    <a:pt x="0" y="0"/>
                    <a:pt x="0" y="0"/>
                    <a:pt x="0" y="0"/>
                  </a:cubicBezTo>
                  <a:lnTo>
                    <a:pt x="0" y="9"/>
                  </a:ln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32" name="Freeform 177"/>
            <p:cNvSpPr>
              <a:spLocks/>
            </p:cNvSpPr>
            <p:nvPr/>
          </p:nvSpPr>
          <p:spPr bwMode="auto">
            <a:xfrm>
              <a:off x="1499" y="2168"/>
              <a:ext cx="96" cy="104"/>
            </a:xfrm>
            <a:custGeom>
              <a:avLst/>
              <a:gdLst>
                <a:gd name="T0" fmla="*/ 101 w 103"/>
                <a:gd name="T1" fmla="*/ 70 h 112"/>
                <a:gd name="T2" fmla="*/ 91 w 103"/>
                <a:gd name="T3" fmla="*/ 48 h 112"/>
                <a:gd name="T4" fmla="*/ 92 w 103"/>
                <a:gd name="T5" fmla="*/ 45 h 112"/>
                <a:gd name="T6" fmla="*/ 97 w 103"/>
                <a:gd name="T7" fmla="*/ 43 h 112"/>
                <a:gd name="T8" fmla="*/ 98 w 103"/>
                <a:gd name="T9" fmla="*/ 39 h 112"/>
                <a:gd name="T10" fmla="*/ 87 w 103"/>
                <a:gd name="T11" fmla="*/ 25 h 112"/>
                <a:gd name="T12" fmla="*/ 84 w 103"/>
                <a:gd name="T13" fmla="*/ 21 h 112"/>
                <a:gd name="T14" fmla="*/ 75 w 103"/>
                <a:gd name="T15" fmla="*/ 0 h 112"/>
                <a:gd name="T16" fmla="*/ 6 w 103"/>
                <a:gd name="T17" fmla="*/ 15 h 112"/>
                <a:gd name="T18" fmla="*/ 8 w 103"/>
                <a:gd name="T19" fmla="*/ 25 h 112"/>
                <a:gd name="T20" fmla="*/ 0 w 103"/>
                <a:gd name="T21" fmla="*/ 27 h 112"/>
                <a:gd name="T22" fmla="*/ 98 w 103"/>
                <a:gd name="T23" fmla="*/ 77 h 112"/>
                <a:gd name="T24" fmla="*/ 101 w 103"/>
                <a:gd name="T25"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12">
                  <a:moveTo>
                    <a:pt x="101" y="70"/>
                  </a:moveTo>
                  <a:cubicBezTo>
                    <a:pt x="95" y="64"/>
                    <a:pt x="91" y="48"/>
                    <a:pt x="91" y="48"/>
                  </a:cubicBezTo>
                  <a:cubicBezTo>
                    <a:pt x="90" y="46"/>
                    <a:pt x="91" y="45"/>
                    <a:pt x="92" y="45"/>
                  </a:cubicBezTo>
                  <a:cubicBezTo>
                    <a:pt x="97" y="43"/>
                    <a:pt x="97" y="43"/>
                    <a:pt x="97" y="43"/>
                  </a:cubicBezTo>
                  <a:cubicBezTo>
                    <a:pt x="98" y="42"/>
                    <a:pt x="99" y="40"/>
                    <a:pt x="98" y="39"/>
                  </a:cubicBezTo>
                  <a:cubicBezTo>
                    <a:pt x="87" y="25"/>
                    <a:pt x="87" y="25"/>
                    <a:pt x="87" y="25"/>
                  </a:cubicBezTo>
                  <a:cubicBezTo>
                    <a:pt x="86" y="24"/>
                    <a:pt x="85" y="23"/>
                    <a:pt x="84" y="21"/>
                  </a:cubicBezTo>
                  <a:cubicBezTo>
                    <a:pt x="75" y="0"/>
                    <a:pt x="75" y="0"/>
                    <a:pt x="75" y="0"/>
                  </a:cubicBezTo>
                  <a:cubicBezTo>
                    <a:pt x="6" y="15"/>
                    <a:pt x="6" y="15"/>
                    <a:pt x="6" y="15"/>
                  </a:cubicBezTo>
                  <a:cubicBezTo>
                    <a:pt x="8" y="25"/>
                    <a:pt x="8" y="25"/>
                    <a:pt x="8" y="25"/>
                  </a:cubicBezTo>
                  <a:cubicBezTo>
                    <a:pt x="0" y="27"/>
                    <a:pt x="0" y="27"/>
                    <a:pt x="0" y="27"/>
                  </a:cubicBezTo>
                  <a:cubicBezTo>
                    <a:pt x="0" y="27"/>
                    <a:pt x="2" y="112"/>
                    <a:pt x="98" y="77"/>
                  </a:cubicBezTo>
                  <a:cubicBezTo>
                    <a:pt x="101" y="76"/>
                    <a:pt x="103" y="73"/>
                    <a:pt x="101" y="7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33" name="Freeform 178"/>
            <p:cNvSpPr>
              <a:spLocks/>
            </p:cNvSpPr>
            <p:nvPr/>
          </p:nvSpPr>
          <p:spPr bwMode="auto">
            <a:xfrm>
              <a:off x="1493" y="2144"/>
              <a:ext cx="84" cy="100"/>
            </a:xfrm>
            <a:custGeom>
              <a:avLst/>
              <a:gdLst>
                <a:gd name="T0" fmla="*/ 16 w 90"/>
                <a:gd name="T1" fmla="*/ 24 h 108"/>
                <a:gd name="T2" fmla="*/ 63 w 90"/>
                <a:gd name="T3" fmla="*/ 2 h 108"/>
                <a:gd name="T4" fmla="*/ 87 w 90"/>
                <a:gd name="T5" fmla="*/ 13 h 108"/>
                <a:gd name="T6" fmla="*/ 67 w 90"/>
                <a:gd name="T7" fmla="*/ 32 h 108"/>
                <a:gd name="T8" fmla="*/ 57 w 90"/>
                <a:gd name="T9" fmla="*/ 34 h 108"/>
                <a:gd name="T10" fmla="*/ 53 w 90"/>
                <a:gd name="T11" fmla="*/ 43 h 108"/>
                <a:gd name="T12" fmla="*/ 63 w 90"/>
                <a:gd name="T13" fmla="*/ 64 h 108"/>
                <a:gd name="T14" fmla="*/ 58 w 90"/>
                <a:gd name="T15" fmla="*/ 67 h 108"/>
                <a:gd name="T16" fmla="*/ 55 w 90"/>
                <a:gd name="T17" fmla="*/ 67 h 108"/>
                <a:gd name="T18" fmla="*/ 39 w 90"/>
                <a:gd name="T19" fmla="*/ 60 h 108"/>
                <a:gd name="T20" fmla="*/ 39 w 90"/>
                <a:gd name="T21" fmla="*/ 76 h 108"/>
                <a:gd name="T22" fmla="*/ 49 w 90"/>
                <a:gd name="T23" fmla="*/ 85 h 108"/>
                <a:gd name="T24" fmla="*/ 41 w 90"/>
                <a:gd name="T25" fmla="*/ 108 h 108"/>
                <a:gd name="T26" fmla="*/ 8 w 90"/>
                <a:gd name="T27" fmla="*/ 78 h 108"/>
                <a:gd name="T28" fmla="*/ 9 w 90"/>
                <a:gd name="T29" fmla="*/ 33 h 108"/>
                <a:gd name="T30" fmla="*/ 16 w 90"/>
                <a:gd name="T31"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8">
                  <a:moveTo>
                    <a:pt x="16" y="24"/>
                  </a:moveTo>
                  <a:cubicBezTo>
                    <a:pt x="26" y="15"/>
                    <a:pt x="44" y="6"/>
                    <a:pt x="63" y="2"/>
                  </a:cubicBezTo>
                  <a:cubicBezTo>
                    <a:pt x="74" y="0"/>
                    <a:pt x="85" y="2"/>
                    <a:pt x="87" y="13"/>
                  </a:cubicBezTo>
                  <a:cubicBezTo>
                    <a:pt x="90" y="28"/>
                    <a:pt x="74" y="31"/>
                    <a:pt x="67" y="32"/>
                  </a:cubicBezTo>
                  <a:cubicBezTo>
                    <a:pt x="57" y="34"/>
                    <a:pt x="57" y="34"/>
                    <a:pt x="57" y="34"/>
                  </a:cubicBezTo>
                  <a:cubicBezTo>
                    <a:pt x="54" y="35"/>
                    <a:pt x="51" y="39"/>
                    <a:pt x="53" y="43"/>
                  </a:cubicBezTo>
                  <a:cubicBezTo>
                    <a:pt x="63" y="64"/>
                    <a:pt x="63" y="64"/>
                    <a:pt x="63" y="64"/>
                  </a:cubicBezTo>
                  <a:cubicBezTo>
                    <a:pt x="58" y="67"/>
                    <a:pt x="58" y="67"/>
                    <a:pt x="58" y="67"/>
                  </a:cubicBezTo>
                  <a:cubicBezTo>
                    <a:pt x="57" y="68"/>
                    <a:pt x="56" y="68"/>
                    <a:pt x="55" y="67"/>
                  </a:cubicBezTo>
                  <a:cubicBezTo>
                    <a:pt x="52" y="63"/>
                    <a:pt x="46" y="56"/>
                    <a:pt x="39" y="60"/>
                  </a:cubicBezTo>
                  <a:cubicBezTo>
                    <a:pt x="32" y="65"/>
                    <a:pt x="35" y="72"/>
                    <a:pt x="39" y="76"/>
                  </a:cubicBezTo>
                  <a:cubicBezTo>
                    <a:pt x="43" y="79"/>
                    <a:pt x="48" y="80"/>
                    <a:pt x="49" y="85"/>
                  </a:cubicBezTo>
                  <a:cubicBezTo>
                    <a:pt x="50" y="87"/>
                    <a:pt x="55" y="101"/>
                    <a:pt x="41" y="108"/>
                  </a:cubicBezTo>
                  <a:cubicBezTo>
                    <a:pt x="23" y="102"/>
                    <a:pt x="13" y="89"/>
                    <a:pt x="8" y="78"/>
                  </a:cubicBezTo>
                  <a:cubicBezTo>
                    <a:pt x="0" y="64"/>
                    <a:pt x="1" y="47"/>
                    <a:pt x="9" y="33"/>
                  </a:cubicBezTo>
                  <a:cubicBezTo>
                    <a:pt x="11" y="29"/>
                    <a:pt x="13" y="26"/>
                    <a:pt x="16" y="24"/>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34" name="Freeform 179"/>
            <p:cNvSpPr>
              <a:spLocks/>
            </p:cNvSpPr>
            <p:nvPr/>
          </p:nvSpPr>
          <p:spPr bwMode="auto">
            <a:xfrm>
              <a:off x="1566" y="2191"/>
              <a:ext cx="6" cy="6"/>
            </a:xfrm>
            <a:custGeom>
              <a:avLst/>
              <a:gdLst>
                <a:gd name="T0" fmla="*/ 7 w 7"/>
                <a:gd name="T1" fmla="*/ 2 h 6"/>
                <a:gd name="T2" fmla="*/ 4 w 7"/>
                <a:gd name="T3" fmla="*/ 6 h 6"/>
                <a:gd name="T4" fmla="*/ 1 w 7"/>
                <a:gd name="T5" fmla="*/ 3 h 6"/>
                <a:gd name="T6" fmla="*/ 3 w 7"/>
                <a:gd name="T7" fmla="*/ 0 h 6"/>
                <a:gd name="T8" fmla="*/ 7 w 7"/>
                <a:gd name="T9" fmla="*/ 2 h 6"/>
              </a:gdLst>
              <a:ahLst/>
              <a:cxnLst>
                <a:cxn ang="0">
                  <a:pos x="T0" y="T1"/>
                </a:cxn>
                <a:cxn ang="0">
                  <a:pos x="T2" y="T3"/>
                </a:cxn>
                <a:cxn ang="0">
                  <a:pos x="T4" y="T5"/>
                </a:cxn>
                <a:cxn ang="0">
                  <a:pos x="T6" y="T7"/>
                </a:cxn>
                <a:cxn ang="0">
                  <a:pos x="T8" y="T9"/>
                </a:cxn>
              </a:cxnLst>
              <a:rect l="0" t="0" r="r" b="b"/>
              <a:pathLst>
                <a:path w="7" h="6">
                  <a:moveTo>
                    <a:pt x="7" y="2"/>
                  </a:moveTo>
                  <a:cubicBezTo>
                    <a:pt x="7" y="4"/>
                    <a:pt x="6" y="5"/>
                    <a:pt x="4" y="6"/>
                  </a:cubicBezTo>
                  <a:cubicBezTo>
                    <a:pt x="3" y="6"/>
                    <a:pt x="1" y="5"/>
                    <a:pt x="1" y="3"/>
                  </a:cubicBezTo>
                  <a:cubicBezTo>
                    <a:pt x="0" y="2"/>
                    <a:pt x="1" y="0"/>
                    <a:pt x="3" y="0"/>
                  </a:cubicBezTo>
                  <a:cubicBezTo>
                    <a:pt x="5" y="0"/>
                    <a:pt x="6" y="1"/>
                    <a:pt x="7"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35" name="Freeform 180"/>
            <p:cNvSpPr>
              <a:spLocks/>
            </p:cNvSpPr>
            <p:nvPr/>
          </p:nvSpPr>
          <p:spPr bwMode="auto">
            <a:xfrm>
              <a:off x="1542" y="2270"/>
              <a:ext cx="39" cy="149"/>
            </a:xfrm>
            <a:custGeom>
              <a:avLst/>
              <a:gdLst>
                <a:gd name="T0" fmla="*/ 7 w 39"/>
                <a:gd name="T1" fmla="*/ 14 h 149"/>
                <a:gd name="T2" fmla="*/ 0 w 39"/>
                <a:gd name="T3" fmla="*/ 149 h 149"/>
                <a:gd name="T4" fmla="*/ 21 w 39"/>
                <a:gd name="T5" fmla="*/ 65 h 149"/>
                <a:gd name="T6" fmla="*/ 39 w 39"/>
                <a:gd name="T7" fmla="*/ 6 h 149"/>
                <a:gd name="T8" fmla="*/ 37 w 39"/>
                <a:gd name="T9" fmla="*/ 0 h 149"/>
                <a:gd name="T10" fmla="*/ 7 w 39"/>
                <a:gd name="T11" fmla="*/ 14 h 149"/>
              </a:gdLst>
              <a:ahLst/>
              <a:cxnLst>
                <a:cxn ang="0">
                  <a:pos x="T0" y="T1"/>
                </a:cxn>
                <a:cxn ang="0">
                  <a:pos x="T2" y="T3"/>
                </a:cxn>
                <a:cxn ang="0">
                  <a:pos x="T4" y="T5"/>
                </a:cxn>
                <a:cxn ang="0">
                  <a:pos x="T6" y="T7"/>
                </a:cxn>
                <a:cxn ang="0">
                  <a:pos x="T8" y="T9"/>
                </a:cxn>
                <a:cxn ang="0">
                  <a:pos x="T10" y="T11"/>
                </a:cxn>
              </a:cxnLst>
              <a:rect l="0" t="0" r="r" b="b"/>
              <a:pathLst>
                <a:path w="39" h="149">
                  <a:moveTo>
                    <a:pt x="7" y="14"/>
                  </a:moveTo>
                  <a:lnTo>
                    <a:pt x="0" y="149"/>
                  </a:lnTo>
                  <a:lnTo>
                    <a:pt x="21" y="65"/>
                  </a:lnTo>
                  <a:lnTo>
                    <a:pt x="39" y="6"/>
                  </a:lnTo>
                  <a:lnTo>
                    <a:pt x="37" y="0"/>
                  </a:lnTo>
                  <a:lnTo>
                    <a:pt x="7" y="1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36" name="Freeform 181"/>
            <p:cNvSpPr>
              <a:spLocks/>
            </p:cNvSpPr>
            <p:nvPr/>
          </p:nvSpPr>
          <p:spPr bwMode="auto">
            <a:xfrm>
              <a:off x="1519" y="2265"/>
              <a:ext cx="30" cy="154"/>
            </a:xfrm>
            <a:custGeom>
              <a:avLst/>
              <a:gdLst>
                <a:gd name="T0" fmla="*/ 30 w 30"/>
                <a:gd name="T1" fmla="*/ 19 h 154"/>
                <a:gd name="T2" fmla="*/ 23 w 30"/>
                <a:gd name="T3" fmla="*/ 154 h 154"/>
                <a:gd name="T4" fmla="*/ 8 w 30"/>
                <a:gd name="T5" fmla="*/ 71 h 154"/>
                <a:gd name="T6" fmla="*/ 0 w 30"/>
                <a:gd name="T7" fmla="*/ 6 h 154"/>
                <a:gd name="T8" fmla="*/ 3 w 30"/>
                <a:gd name="T9" fmla="*/ 0 h 154"/>
                <a:gd name="T10" fmla="*/ 30 w 30"/>
                <a:gd name="T11" fmla="*/ 19 h 154"/>
              </a:gdLst>
              <a:ahLst/>
              <a:cxnLst>
                <a:cxn ang="0">
                  <a:pos x="T0" y="T1"/>
                </a:cxn>
                <a:cxn ang="0">
                  <a:pos x="T2" y="T3"/>
                </a:cxn>
                <a:cxn ang="0">
                  <a:pos x="T4" y="T5"/>
                </a:cxn>
                <a:cxn ang="0">
                  <a:pos x="T6" y="T7"/>
                </a:cxn>
                <a:cxn ang="0">
                  <a:pos x="T8" y="T9"/>
                </a:cxn>
                <a:cxn ang="0">
                  <a:pos x="T10" y="T11"/>
                </a:cxn>
              </a:cxnLst>
              <a:rect l="0" t="0" r="r" b="b"/>
              <a:pathLst>
                <a:path w="30" h="154">
                  <a:moveTo>
                    <a:pt x="30" y="19"/>
                  </a:moveTo>
                  <a:lnTo>
                    <a:pt x="23" y="154"/>
                  </a:lnTo>
                  <a:lnTo>
                    <a:pt x="8" y="71"/>
                  </a:lnTo>
                  <a:lnTo>
                    <a:pt x="0" y="6"/>
                  </a:lnTo>
                  <a:lnTo>
                    <a:pt x="3" y="0"/>
                  </a:lnTo>
                  <a:lnTo>
                    <a:pt x="3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37" name="Freeform 182"/>
            <p:cNvSpPr>
              <a:spLocks/>
            </p:cNvSpPr>
            <p:nvPr/>
          </p:nvSpPr>
          <p:spPr bwMode="auto">
            <a:xfrm>
              <a:off x="1522" y="2257"/>
              <a:ext cx="27" cy="38"/>
            </a:xfrm>
            <a:custGeom>
              <a:avLst/>
              <a:gdLst>
                <a:gd name="T0" fmla="*/ 27 w 27"/>
                <a:gd name="T1" fmla="*/ 27 h 38"/>
                <a:gd name="T2" fmla="*/ 7 w 27"/>
                <a:gd name="T3" fmla="*/ 0 h 38"/>
                <a:gd name="T4" fmla="*/ 0 w 27"/>
                <a:gd name="T5" fmla="*/ 8 h 38"/>
                <a:gd name="T6" fmla="*/ 4 w 27"/>
                <a:gd name="T7" fmla="*/ 38 h 38"/>
                <a:gd name="T8" fmla="*/ 21 w 27"/>
                <a:gd name="T9" fmla="*/ 23 h 38"/>
                <a:gd name="T10" fmla="*/ 27 w 27"/>
                <a:gd name="T11" fmla="*/ 27 h 38"/>
              </a:gdLst>
              <a:ahLst/>
              <a:cxnLst>
                <a:cxn ang="0">
                  <a:pos x="T0" y="T1"/>
                </a:cxn>
                <a:cxn ang="0">
                  <a:pos x="T2" y="T3"/>
                </a:cxn>
                <a:cxn ang="0">
                  <a:pos x="T4" y="T5"/>
                </a:cxn>
                <a:cxn ang="0">
                  <a:pos x="T6" y="T7"/>
                </a:cxn>
                <a:cxn ang="0">
                  <a:pos x="T8" y="T9"/>
                </a:cxn>
                <a:cxn ang="0">
                  <a:pos x="T10" y="T11"/>
                </a:cxn>
              </a:cxnLst>
              <a:rect l="0" t="0" r="r" b="b"/>
              <a:pathLst>
                <a:path w="27" h="38">
                  <a:moveTo>
                    <a:pt x="27" y="27"/>
                  </a:moveTo>
                  <a:lnTo>
                    <a:pt x="7" y="0"/>
                  </a:lnTo>
                  <a:lnTo>
                    <a:pt x="0" y="8"/>
                  </a:lnTo>
                  <a:lnTo>
                    <a:pt x="4" y="38"/>
                  </a:lnTo>
                  <a:lnTo>
                    <a:pt x="21" y="23"/>
                  </a:lnTo>
                  <a:lnTo>
                    <a:pt x="27"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38" name="Freeform 183"/>
            <p:cNvSpPr>
              <a:spLocks/>
            </p:cNvSpPr>
            <p:nvPr/>
          </p:nvSpPr>
          <p:spPr bwMode="auto">
            <a:xfrm>
              <a:off x="1549" y="2261"/>
              <a:ext cx="31" cy="38"/>
            </a:xfrm>
            <a:custGeom>
              <a:avLst/>
              <a:gdLst>
                <a:gd name="T0" fmla="*/ 0 w 31"/>
                <a:gd name="T1" fmla="*/ 23 h 38"/>
                <a:gd name="T2" fmla="*/ 24 w 31"/>
                <a:gd name="T3" fmla="*/ 0 h 38"/>
                <a:gd name="T4" fmla="*/ 31 w 31"/>
                <a:gd name="T5" fmla="*/ 9 h 38"/>
                <a:gd name="T6" fmla="*/ 20 w 31"/>
                <a:gd name="T7" fmla="*/ 38 h 38"/>
                <a:gd name="T8" fmla="*/ 6 w 31"/>
                <a:gd name="T9" fmla="*/ 20 h 38"/>
                <a:gd name="T10" fmla="*/ 0 w 31"/>
                <a:gd name="T11" fmla="*/ 23 h 38"/>
              </a:gdLst>
              <a:ahLst/>
              <a:cxnLst>
                <a:cxn ang="0">
                  <a:pos x="T0" y="T1"/>
                </a:cxn>
                <a:cxn ang="0">
                  <a:pos x="T2" y="T3"/>
                </a:cxn>
                <a:cxn ang="0">
                  <a:pos x="T4" y="T5"/>
                </a:cxn>
                <a:cxn ang="0">
                  <a:pos x="T6" y="T7"/>
                </a:cxn>
                <a:cxn ang="0">
                  <a:pos x="T8" y="T9"/>
                </a:cxn>
                <a:cxn ang="0">
                  <a:pos x="T10" y="T11"/>
                </a:cxn>
              </a:cxnLst>
              <a:rect l="0" t="0" r="r" b="b"/>
              <a:pathLst>
                <a:path w="31" h="38">
                  <a:moveTo>
                    <a:pt x="0" y="23"/>
                  </a:moveTo>
                  <a:lnTo>
                    <a:pt x="24" y="0"/>
                  </a:lnTo>
                  <a:lnTo>
                    <a:pt x="31" y="9"/>
                  </a:lnTo>
                  <a:lnTo>
                    <a:pt x="20" y="38"/>
                  </a:lnTo>
                  <a:lnTo>
                    <a:pt x="6" y="2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39" name="Freeform 184"/>
            <p:cNvSpPr>
              <a:spLocks/>
            </p:cNvSpPr>
            <p:nvPr/>
          </p:nvSpPr>
          <p:spPr bwMode="auto">
            <a:xfrm>
              <a:off x="1541" y="2280"/>
              <a:ext cx="16" cy="14"/>
            </a:xfrm>
            <a:custGeom>
              <a:avLst/>
              <a:gdLst>
                <a:gd name="T0" fmla="*/ 2 w 16"/>
                <a:gd name="T1" fmla="*/ 0 h 14"/>
                <a:gd name="T2" fmla="*/ 0 w 16"/>
                <a:gd name="T3" fmla="*/ 2 h 14"/>
                <a:gd name="T4" fmla="*/ 4 w 16"/>
                <a:gd name="T5" fmla="*/ 14 h 14"/>
                <a:gd name="T6" fmla="*/ 10 w 16"/>
                <a:gd name="T7" fmla="*/ 14 h 14"/>
                <a:gd name="T8" fmla="*/ 16 w 16"/>
                <a:gd name="T9" fmla="*/ 4 h 14"/>
                <a:gd name="T10" fmla="*/ 14 w 16"/>
                <a:gd name="T11" fmla="*/ 2 h 14"/>
                <a:gd name="T12" fmla="*/ 2 w 1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2" y="0"/>
                  </a:moveTo>
                  <a:lnTo>
                    <a:pt x="0" y="2"/>
                  </a:lnTo>
                  <a:lnTo>
                    <a:pt x="4" y="14"/>
                  </a:lnTo>
                  <a:lnTo>
                    <a:pt x="10" y="14"/>
                  </a:lnTo>
                  <a:lnTo>
                    <a:pt x="16" y="4"/>
                  </a:lnTo>
                  <a:lnTo>
                    <a:pt x="14" y="2"/>
                  </a:lnTo>
                  <a:lnTo>
                    <a:pt x="2"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40" name="Freeform 185"/>
            <p:cNvSpPr>
              <a:spLocks/>
            </p:cNvSpPr>
            <p:nvPr/>
          </p:nvSpPr>
          <p:spPr bwMode="auto">
            <a:xfrm>
              <a:off x="1537" y="2294"/>
              <a:ext cx="14" cy="127"/>
            </a:xfrm>
            <a:custGeom>
              <a:avLst/>
              <a:gdLst>
                <a:gd name="T0" fmla="*/ 8 w 14"/>
                <a:gd name="T1" fmla="*/ 0 h 127"/>
                <a:gd name="T2" fmla="*/ 0 w 14"/>
                <a:gd name="T3" fmla="*/ 106 h 127"/>
                <a:gd name="T4" fmla="*/ 5 w 14"/>
                <a:gd name="T5" fmla="*/ 127 h 127"/>
                <a:gd name="T6" fmla="*/ 12 w 14"/>
                <a:gd name="T7" fmla="*/ 115 h 127"/>
                <a:gd name="T8" fmla="*/ 14 w 14"/>
                <a:gd name="T9" fmla="*/ 0 h 127"/>
                <a:gd name="T10" fmla="*/ 8 w 14"/>
                <a:gd name="T11" fmla="*/ 0 h 127"/>
              </a:gdLst>
              <a:ahLst/>
              <a:cxnLst>
                <a:cxn ang="0">
                  <a:pos x="T0" y="T1"/>
                </a:cxn>
                <a:cxn ang="0">
                  <a:pos x="T2" y="T3"/>
                </a:cxn>
                <a:cxn ang="0">
                  <a:pos x="T4" y="T5"/>
                </a:cxn>
                <a:cxn ang="0">
                  <a:pos x="T6" y="T7"/>
                </a:cxn>
                <a:cxn ang="0">
                  <a:pos x="T8" y="T9"/>
                </a:cxn>
                <a:cxn ang="0">
                  <a:pos x="T10" y="T11"/>
                </a:cxn>
              </a:cxnLst>
              <a:rect l="0" t="0" r="r" b="b"/>
              <a:pathLst>
                <a:path w="14" h="127">
                  <a:moveTo>
                    <a:pt x="8" y="0"/>
                  </a:moveTo>
                  <a:lnTo>
                    <a:pt x="0" y="106"/>
                  </a:lnTo>
                  <a:lnTo>
                    <a:pt x="5" y="127"/>
                  </a:lnTo>
                  <a:lnTo>
                    <a:pt x="12" y="115"/>
                  </a:lnTo>
                  <a:lnTo>
                    <a:pt x="14" y="0"/>
                  </a:lnTo>
                  <a:lnTo>
                    <a:pt x="8"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41" name="Freeform 186"/>
            <p:cNvSpPr>
              <a:spLocks/>
            </p:cNvSpPr>
            <p:nvPr/>
          </p:nvSpPr>
          <p:spPr bwMode="auto">
            <a:xfrm>
              <a:off x="1541" y="2270"/>
              <a:ext cx="54" cy="158"/>
            </a:xfrm>
            <a:custGeom>
              <a:avLst/>
              <a:gdLst>
                <a:gd name="T0" fmla="*/ 58 w 58"/>
                <a:gd name="T1" fmla="*/ 15 h 171"/>
                <a:gd name="T2" fmla="*/ 50 w 58"/>
                <a:gd name="T3" fmla="*/ 24 h 171"/>
                <a:gd name="T4" fmla="*/ 55 w 58"/>
                <a:gd name="T5" fmla="*/ 27 h 171"/>
                <a:gd name="T6" fmla="*/ 0 w 58"/>
                <a:gd name="T7" fmla="*/ 171 h 171"/>
                <a:gd name="T8" fmla="*/ 2 w 58"/>
                <a:gd name="T9" fmla="*/ 157 h 171"/>
                <a:gd name="T10" fmla="*/ 40 w 58"/>
                <a:gd name="T11" fmla="*/ 0 h 171"/>
                <a:gd name="T12" fmla="*/ 58 w 58"/>
                <a:gd name="T13" fmla="*/ 15 h 171"/>
              </a:gdLst>
              <a:ahLst/>
              <a:cxnLst>
                <a:cxn ang="0">
                  <a:pos x="T0" y="T1"/>
                </a:cxn>
                <a:cxn ang="0">
                  <a:pos x="T2" y="T3"/>
                </a:cxn>
                <a:cxn ang="0">
                  <a:pos x="T4" y="T5"/>
                </a:cxn>
                <a:cxn ang="0">
                  <a:pos x="T6" y="T7"/>
                </a:cxn>
                <a:cxn ang="0">
                  <a:pos x="T8" y="T9"/>
                </a:cxn>
                <a:cxn ang="0">
                  <a:pos x="T10" y="T11"/>
                </a:cxn>
                <a:cxn ang="0">
                  <a:pos x="T12" y="T13"/>
                </a:cxn>
              </a:cxnLst>
              <a:rect l="0" t="0" r="r" b="b"/>
              <a:pathLst>
                <a:path w="58" h="171">
                  <a:moveTo>
                    <a:pt x="58" y="15"/>
                  </a:moveTo>
                  <a:cubicBezTo>
                    <a:pt x="50" y="24"/>
                    <a:pt x="50" y="24"/>
                    <a:pt x="50" y="24"/>
                  </a:cubicBezTo>
                  <a:cubicBezTo>
                    <a:pt x="55" y="27"/>
                    <a:pt x="55" y="27"/>
                    <a:pt x="55" y="27"/>
                  </a:cubicBezTo>
                  <a:cubicBezTo>
                    <a:pt x="38" y="69"/>
                    <a:pt x="0" y="171"/>
                    <a:pt x="0" y="171"/>
                  </a:cubicBezTo>
                  <a:cubicBezTo>
                    <a:pt x="2" y="157"/>
                    <a:pt x="2" y="157"/>
                    <a:pt x="2" y="157"/>
                  </a:cubicBezTo>
                  <a:cubicBezTo>
                    <a:pt x="13" y="120"/>
                    <a:pt x="40" y="0"/>
                    <a:pt x="40" y="0"/>
                  </a:cubicBezTo>
                  <a:lnTo>
                    <a:pt x="58" y="15"/>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42" name="Freeform 187"/>
            <p:cNvSpPr>
              <a:spLocks/>
            </p:cNvSpPr>
            <p:nvPr/>
          </p:nvSpPr>
          <p:spPr bwMode="auto">
            <a:xfrm>
              <a:off x="1503" y="2264"/>
              <a:ext cx="40" cy="164"/>
            </a:xfrm>
            <a:custGeom>
              <a:avLst/>
              <a:gdLst>
                <a:gd name="T0" fmla="*/ 0 w 43"/>
                <a:gd name="T1" fmla="*/ 13 h 177"/>
                <a:gd name="T2" fmla="*/ 7 w 43"/>
                <a:gd name="T3" fmla="*/ 22 h 177"/>
                <a:gd name="T4" fmla="*/ 1 w 43"/>
                <a:gd name="T5" fmla="*/ 25 h 177"/>
                <a:gd name="T6" fmla="*/ 41 w 43"/>
                <a:gd name="T7" fmla="*/ 177 h 177"/>
                <a:gd name="T8" fmla="*/ 43 w 43"/>
                <a:gd name="T9" fmla="*/ 163 h 177"/>
                <a:gd name="T10" fmla="*/ 20 w 43"/>
                <a:gd name="T11" fmla="*/ 0 h 177"/>
                <a:gd name="T12" fmla="*/ 0 w 43"/>
                <a:gd name="T13" fmla="*/ 13 h 177"/>
              </a:gdLst>
              <a:ahLst/>
              <a:cxnLst>
                <a:cxn ang="0">
                  <a:pos x="T0" y="T1"/>
                </a:cxn>
                <a:cxn ang="0">
                  <a:pos x="T2" y="T3"/>
                </a:cxn>
                <a:cxn ang="0">
                  <a:pos x="T4" y="T5"/>
                </a:cxn>
                <a:cxn ang="0">
                  <a:pos x="T6" y="T7"/>
                </a:cxn>
                <a:cxn ang="0">
                  <a:pos x="T8" y="T9"/>
                </a:cxn>
                <a:cxn ang="0">
                  <a:pos x="T10" y="T11"/>
                </a:cxn>
                <a:cxn ang="0">
                  <a:pos x="T12" y="T13"/>
                </a:cxn>
              </a:cxnLst>
              <a:rect l="0" t="0" r="r" b="b"/>
              <a:pathLst>
                <a:path w="43" h="177">
                  <a:moveTo>
                    <a:pt x="0" y="13"/>
                  </a:moveTo>
                  <a:cubicBezTo>
                    <a:pt x="7" y="22"/>
                    <a:pt x="7" y="22"/>
                    <a:pt x="7" y="22"/>
                  </a:cubicBezTo>
                  <a:cubicBezTo>
                    <a:pt x="1" y="25"/>
                    <a:pt x="1" y="25"/>
                    <a:pt x="1" y="25"/>
                  </a:cubicBezTo>
                  <a:cubicBezTo>
                    <a:pt x="11" y="69"/>
                    <a:pt x="41" y="177"/>
                    <a:pt x="41" y="177"/>
                  </a:cubicBezTo>
                  <a:cubicBezTo>
                    <a:pt x="43" y="163"/>
                    <a:pt x="43" y="163"/>
                    <a:pt x="43" y="163"/>
                  </a:cubicBezTo>
                  <a:cubicBezTo>
                    <a:pt x="38" y="125"/>
                    <a:pt x="20" y="0"/>
                    <a:pt x="20" y="0"/>
                  </a:cubicBezTo>
                  <a:lnTo>
                    <a:pt x="0" y="13"/>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43" name="Freeform 188"/>
            <p:cNvSpPr>
              <a:spLocks/>
            </p:cNvSpPr>
            <p:nvPr/>
          </p:nvSpPr>
          <p:spPr bwMode="auto">
            <a:xfrm>
              <a:off x="1469" y="2480"/>
              <a:ext cx="127" cy="46"/>
            </a:xfrm>
            <a:custGeom>
              <a:avLst/>
              <a:gdLst>
                <a:gd name="T0" fmla="*/ 0 w 127"/>
                <a:gd name="T1" fmla="*/ 29 h 46"/>
                <a:gd name="T2" fmla="*/ 60 w 127"/>
                <a:gd name="T3" fmla="*/ 35 h 46"/>
                <a:gd name="T4" fmla="*/ 68 w 127"/>
                <a:gd name="T5" fmla="*/ 0 h 46"/>
                <a:gd name="T6" fmla="*/ 66 w 127"/>
                <a:gd name="T7" fmla="*/ 35 h 46"/>
                <a:gd name="T8" fmla="*/ 127 w 127"/>
                <a:gd name="T9" fmla="*/ 40 h 46"/>
                <a:gd name="T10" fmla="*/ 127 w 127"/>
                <a:gd name="T11" fmla="*/ 45 h 46"/>
                <a:gd name="T12" fmla="*/ 66 w 127"/>
                <a:gd name="T13" fmla="*/ 43 h 46"/>
                <a:gd name="T14" fmla="*/ 62 w 127"/>
                <a:gd name="T15" fmla="*/ 35 h 46"/>
                <a:gd name="T16" fmla="*/ 58 w 127"/>
                <a:gd name="T17" fmla="*/ 43 h 46"/>
                <a:gd name="T18" fmla="*/ 0 w 127"/>
                <a:gd name="T19" fmla="*/ 46 h 46"/>
                <a:gd name="T20" fmla="*/ 0 w 127"/>
                <a:gd name="T21"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46">
                  <a:moveTo>
                    <a:pt x="0" y="29"/>
                  </a:moveTo>
                  <a:lnTo>
                    <a:pt x="60" y="35"/>
                  </a:lnTo>
                  <a:lnTo>
                    <a:pt x="68" y="0"/>
                  </a:lnTo>
                  <a:lnTo>
                    <a:pt x="66" y="35"/>
                  </a:lnTo>
                  <a:lnTo>
                    <a:pt x="127" y="40"/>
                  </a:lnTo>
                  <a:lnTo>
                    <a:pt x="127" y="45"/>
                  </a:lnTo>
                  <a:lnTo>
                    <a:pt x="66" y="43"/>
                  </a:lnTo>
                  <a:lnTo>
                    <a:pt x="62" y="35"/>
                  </a:lnTo>
                  <a:lnTo>
                    <a:pt x="58" y="43"/>
                  </a:lnTo>
                  <a:lnTo>
                    <a:pt x="0" y="46"/>
                  </a:lnTo>
                  <a:lnTo>
                    <a:pt x="0" y="2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44" name="Freeform 189"/>
            <p:cNvSpPr>
              <a:spLocks/>
            </p:cNvSpPr>
            <p:nvPr/>
          </p:nvSpPr>
          <p:spPr bwMode="auto">
            <a:xfrm>
              <a:off x="1540" y="2423"/>
              <a:ext cx="5" cy="6"/>
            </a:xfrm>
            <a:custGeom>
              <a:avLst/>
              <a:gdLst>
                <a:gd name="T0" fmla="*/ 6 w 6"/>
                <a:gd name="T1" fmla="*/ 4 h 7"/>
                <a:gd name="T2" fmla="*/ 3 w 6"/>
                <a:gd name="T3" fmla="*/ 7 h 7"/>
                <a:gd name="T4" fmla="*/ 0 w 6"/>
                <a:gd name="T5" fmla="*/ 3 h 7"/>
                <a:gd name="T6" fmla="*/ 3 w 6"/>
                <a:gd name="T7" fmla="*/ 1 h 7"/>
                <a:gd name="T8" fmla="*/ 6 w 6"/>
                <a:gd name="T9" fmla="*/ 4 h 7"/>
              </a:gdLst>
              <a:ahLst/>
              <a:cxnLst>
                <a:cxn ang="0">
                  <a:pos x="T0" y="T1"/>
                </a:cxn>
                <a:cxn ang="0">
                  <a:pos x="T2" y="T3"/>
                </a:cxn>
                <a:cxn ang="0">
                  <a:pos x="T4" y="T5"/>
                </a:cxn>
                <a:cxn ang="0">
                  <a:pos x="T6" y="T7"/>
                </a:cxn>
                <a:cxn ang="0">
                  <a:pos x="T8" y="T9"/>
                </a:cxn>
              </a:cxnLst>
              <a:rect l="0" t="0" r="r" b="b"/>
              <a:pathLst>
                <a:path w="6" h="7">
                  <a:moveTo>
                    <a:pt x="6" y="4"/>
                  </a:moveTo>
                  <a:cubicBezTo>
                    <a:pt x="6" y="6"/>
                    <a:pt x="5" y="7"/>
                    <a:pt x="3" y="7"/>
                  </a:cubicBezTo>
                  <a:cubicBezTo>
                    <a:pt x="1" y="7"/>
                    <a:pt x="0" y="5"/>
                    <a:pt x="0" y="3"/>
                  </a:cubicBezTo>
                  <a:cubicBezTo>
                    <a:pt x="0" y="2"/>
                    <a:pt x="2" y="0"/>
                    <a:pt x="3" y="1"/>
                  </a:cubicBezTo>
                  <a:cubicBezTo>
                    <a:pt x="5" y="1"/>
                    <a:pt x="6" y="2"/>
                    <a:pt x="6" y="4"/>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45" name="Freeform 190"/>
            <p:cNvSpPr>
              <a:spLocks/>
            </p:cNvSpPr>
            <p:nvPr/>
          </p:nvSpPr>
          <p:spPr bwMode="auto">
            <a:xfrm>
              <a:off x="1536" y="2463"/>
              <a:ext cx="6" cy="5"/>
            </a:xfrm>
            <a:custGeom>
              <a:avLst/>
              <a:gdLst>
                <a:gd name="T0" fmla="*/ 7 w 7"/>
                <a:gd name="T1" fmla="*/ 3 h 6"/>
                <a:gd name="T2" fmla="*/ 3 w 7"/>
                <a:gd name="T3" fmla="*/ 6 h 6"/>
                <a:gd name="T4" fmla="*/ 0 w 7"/>
                <a:gd name="T5" fmla="*/ 3 h 6"/>
                <a:gd name="T6" fmla="*/ 4 w 7"/>
                <a:gd name="T7" fmla="*/ 0 h 6"/>
                <a:gd name="T8" fmla="*/ 7 w 7"/>
                <a:gd name="T9" fmla="*/ 3 h 6"/>
              </a:gdLst>
              <a:ahLst/>
              <a:cxnLst>
                <a:cxn ang="0">
                  <a:pos x="T0" y="T1"/>
                </a:cxn>
                <a:cxn ang="0">
                  <a:pos x="T2" y="T3"/>
                </a:cxn>
                <a:cxn ang="0">
                  <a:pos x="T4" y="T5"/>
                </a:cxn>
                <a:cxn ang="0">
                  <a:pos x="T6" y="T7"/>
                </a:cxn>
                <a:cxn ang="0">
                  <a:pos x="T8" y="T9"/>
                </a:cxn>
              </a:cxnLst>
              <a:rect l="0" t="0" r="r" b="b"/>
              <a:pathLst>
                <a:path w="7" h="6">
                  <a:moveTo>
                    <a:pt x="7" y="3"/>
                  </a:moveTo>
                  <a:cubicBezTo>
                    <a:pt x="7" y="5"/>
                    <a:pt x="5" y="6"/>
                    <a:pt x="3" y="6"/>
                  </a:cubicBezTo>
                  <a:cubicBezTo>
                    <a:pt x="2" y="6"/>
                    <a:pt x="0" y="4"/>
                    <a:pt x="0" y="3"/>
                  </a:cubicBezTo>
                  <a:cubicBezTo>
                    <a:pt x="1" y="1"/>
                    <a:pt x="2" y="0"/>
                    <a:pt x="4" y="0"/>
                  </a:cubicBezTo>
                  <a:cubicBezTo>
                    <a:pt x="6" y="0"/>
                    <a:pt x="7" y="2"/>
                    <a:pt x="7" y="3"/>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46" name="Freeform 191"/>
            <p:cNvSpPr>
              <a:spLocks/>
            </p:cNvSpPr>
            <p:nvPr/>
          </p:nvSpPr>
          <p:spPr bwMode="auto">
            <a:xfrm>
              <a:off x="1568" y="2220"/>
              <a:ext cx="22" cy="11"/>
            </a:xfrm>
            <a:custGeom>
              <a:avLst/>
              <a:gdLst>
                <a:gd name="T0" fmla="*/ 19 w 23"/>
                <a:gd name="T1" fmla="*/ 0 h 12"/>
                <a:gd name="T2" fmla="*/ 0 w 23"/>
                <a:gd name="T3" fmla="*/ 8 h 12"/>
                <a:gd name="T4" fmla="*/ 23 w 23"/>
                <a:gd name="T5" fmla="*/ 8 h 12"/>
                <a:gd name="T6" fmla="*/ 19 w 23"/>
                <a:gd name="T7" fmla="*/ 0 h 12"/>
              </a:gdLst>
              <a:ahLst/>
              <a:cxnLst>
                <a:cxn ang="0">
                  <a:pos x="T0" y="T1"/>
                </a:cxn>
                <a:cxn ang="0">
                  <a:pos x="T2" y="T3"/>
                </a:cxn>
                <a:cxn ang="0">
                  <a:pos x="T4" y="T5"/>
                </a:cxn>
                <a:cxn ang="0">
                  <a:pos x="T6" y="T7"/>
                </a:cxn>
              </a:cxnLst>
              <a:rect l="0" t="0" r="r" b="b"/>
              <a:pathLst>
                <a:path w="23" h="12">
                  <a:moveTo>
                    <a:pt x="19" y="0"/>
                  </a:moveTo>
                  <a:cubicBezTo>
                    <a:pt x="0" y="8"/>
                    <a:pt x="0" y="8"/>
                    <a:pt x="0" y="8"/>
                  </a:cubicBezTo>
                  <a:cubicBezTo>
                    <a:pt x="0" y="8"/>
                    <a:pt x="10" y="12"/>
                    <a:pt x="23" y="8"/>
                  </a:cubicBezTo>
                  <a:lnTo>
                    <a:pt x="19" y="0"/>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47" name="Freeform 192"/>
            <p:cNvSpPr>
              <a:spLocks/>
            </p:cNvSpPr>
            <p:nvPr/>
          </p:nvSpPr>
          <p:spPr bwMode="auto">
            <a:xfrm>
              <a:off x="1568" y="2220"/>
              <a:ext cx="21" cy="10"/>
            </a:xfrm>
            <a:custGeom>
              <a:avLst/>
              <a:gdLst>
                <a:gd name="T0" fmla="*/ 19 w 22"/>
                <a:gd name="T1" fmla="*/ 0 h 11"/>
                <a:gd name="T2" fmla="*/ 0 w 22"/>
                <a:gd name="T3" fmla="*/ 8 h 11"/>
                <a:gd name="T4" fmla="*/ 22 w 22"/>
                <a:gd name="T5" fmla="*/ 6 h 11"/>
                <a:gd name="T6" fmla="*/ 19 w 22"/>
                <a:gd name="T7" fmla="*/ 0 h 11"/>
              </a:gdLst>
              <a:ahLst/>
              <a:cxnLst>
                <a:cxn ang="0">
                  <a:pos x="T0" y="T1"/>
                </a:cxn>
                <a:cxn ang="0">
                  <a:pos x="T2" y="T3"/>
                </a:cxn>
                <a:cxn ang="0">
                  <a:pos x="T4" y="T5"/>
                </a:cxn>
                <a:cxn ang="0">
                  <a:pos x="T6" y="T7"/>
                </a:cxn>
              </a:cxnLst>
              <a:rect l="0" t="0" r="r" b="b"/>
              <a:pathLst>
                <a:path w="22" h="11">
                  <a:moveTo>
                    <a:pt x="19" y="0"/>
                  </a:moveTo>
                  <a:cubicBezTo>
                    <a:pt x="0" y="8"/>
                    <a:pt x="0" y="8"/>
                    <a:pt x="0" y="8"/>
                  </a:cubicBezTo>
                  <a:cubicBezTo>
                    <a:pt x="0" y="8"/>
                    <a:pt x="10" y="11"/>
                    <a:pt x="22" y="6"/>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48" name="Freeform 193"/>
            <p:cNvSpPr>
              <a:spLocks/>
            </p:cNvSpPr>
            <p:nvPr/>
          </p:nvSpPr>
          <p:spPr bwMode="auto">
            <a:xfrm>
              <a:off x="1512" y="2248"/>
              <a:ext cx="106" cy="80"/>
            </a:xfrm>
            <a:custGeom>
              <a:avLst/>
              <a:gdLst>
                <a:gd name="T0" fmla="*/ 106 w 106"/>
                <a:gd name="T1" fmla="*/ 43 h 80"/>
                <a:gd name="T2" fmla="*/ 92 w 106"/>
                <a:gd name="T3" fmla="*/ 0 h 80"/>
                <a:gd name="T4" fmla="*/ 0 w 106"/>
                <a:gd name="T5" fmla="*/ 19 h 80"/>
                <a:gd name="T6" fmla="*/ 14 w 106"/>
                <a:gd name="T7" fmla="*/ 80 h 80"/>
                <a:gd name="T8" fmla="*/ 106 w 106"/>
                <a:gd name="T9" fmla="*/ 43 h 80"/>
              </a:gdLst>
              <a:ahLst/>
              <a:cxnLst>
                <a:cxn ang="0">
                  <a:pos x="T0" y="T1"/>
                </a:cxn>
                <a:cxn ang="0">
                  <a:pos x="T2" y="T3"/>
                </a:cxn>
                <a:cxn ang="0">
                  <a:pos x="T4" y="T5"/>
                </a:cxn>
                <a:cxn ang="0">
                  <a:pos x="T6" y="T7"/>
                </a:cxn>
                <a:cxn ang="0">
                  <a:pos x="T8" y="T9"/>
                </a:cxn>
              </a:cxnLst>
              <a:rect l="0" t="0" r="r" b="b"/>
              <a:pathLst>
                <a:path w="106" h="80">
                  <a:moveTo>
                    <a:pt x="106" y="43"/>
                  </a:moveTo>
                  <a:lnTo>
                    <a:pt x="92" y="0"/>
                  </a:lnTo>
                  <a:lnTo>
                    <a:pt x="0" y="19"/>
                  </a:lnTo>
                  <a:lnTo>
                    <a:pt x="14" y="80"/>
                  </a:lnTo>
                  <a:lnTo>
                    <a:pt x="106" y="4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49" name="Freeform 194"/>
            <p:cNvSpPr>
              <a:spLocks/>
            </p:cNvSpPr>
            <p:nvPr/>
          </p:nvSpPr>
          <p:spPr bwMode="auto">
            <a:xfrm>
              <a:off x="1481" y="2263"/>
              <a:ext cx="72" cy="71"/>
            </a:xfrm>
            <a:custGeom>
              <a:avLst/>
              <a:gdLst>
                <a:gd name="T0" fmla="*/ 49 w 77"/>
                <a:gd name="T1" fmla="*/ 70 h 76"/>
                <a:gd name="T2" fmla="*/ 6 w 77"/>
                <a:gd name="T3" fmla="*/ 48 h 76"/>
                <a:gd name="T4" fmla="*/ 28 w 77"/>
                <a:gd name="T5" fmla="*/ 5 h 76"/>
                <a:gd name="T6" fmla="*/ 71 w 77"/>
                <a:gd name="T7" fmla="*/ 28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1" y="76"/>
                    <a:pt x="12" y="66"/>
                    <a:pt x="6" y="48"/>
                  </a:cubicBezTo>
                  <a:cubicBezTo>
                    <a:pt x="0" y="30"/>
                    <a:pt x="10" y="11"/>
                    <a:pt x="28" y="5"/>
                  </a:cubicBezTo>
                  <a:cubicBezTo>
                    <a:pt x="46" y="0"/>
                    <a:pt x="65" y="10"/>
                    <a:pt x="71" y="28"/>
                  </a:cubicBezTo>
                  <a:cubicBezTo>
                    <a:pt x="77" y="46"/>
                    <a:pt x="67" y="65"/>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50" name="Freeform 195"/>
            <p:cNvSpPr>
              <a:spLocks/>
            </p:cNvSpPr>
            <p:nvPr/>
          </p:nvSpPr>
          <p:spPr bwMode="auto">
            <a:xfrm>
              <a:off x="1636" y="2114"/>
              <a:ext cx="68" cy="93"/>
            </a:xfrm>
            <a:custGeom>
              <a:avLst/>
              <a:gdLst>
                <a:gd name="T0" fmla="*/ 51 w 73"/>
                <a:gd name="T1" fmla="*/ 74 h 100"/>
                <a:gd name="T2" fmla="*/ 71 w 73"/>
                <a:gd name="T3" fmla="*/ 33 h 100"/>
                <a:gd name="T4" fmla="*/ 66 w 73"/>
                <a:gd name="T5" fmla="*/ 22 h 100"/>
                <a:gd name="T6" fmla="*/ 61 w 73"/>
                <a:gd name="T7" fmla="*/ 9 h 100"/>
                <a:gd name="T8" fmla="*/ 56 w 73"/>
                <a:gd name="T9" fmla="*/ 0 h 100"/>
                <a:gd name="T10" fmla="*/ 52 w 73"/>
                <a:gd name="T11" fmla="*/ 9 h 100"/>
                <a:gd name="T12" fmla="*/ 43 w 73"/>
                <a:gd name="T13" fmla="*/ 15 h 100"/>
                <a:gd name="T14" fmla="*/ 38 w 73"/>
                <a:gd name="T15" fmla="*/ 26 h 100"/>
                <a:gd name="T16" fmla="*/ 29 w 73"/>
                <a:gd name="T17" fmla="*/ 17 h 100"/>
                <a:gd name="T18" fmla="*/ 26 w 73"/>
                <a:gd name="T19" fmla="*/ 48 h 100"/>
                <a:gd name="T20" fmla="*/ 26 w 73"/>
                <a:gd name="T21" fmla="*/ 54 h 100"/>
                <a:gd name="T22" fmla="*/ 0 w 73"/>
                <a:gd name="T23" fmla="*/ 94 h 100"/>
                <a:gd name="T24" fmla="*/ 35 w 73"/>
                <a:gd name="T25" fmla="*/ 100 h 100"/>
                <a:gd name="T26" fmla="*/ 51 w 73"/>
                <a:gd name="T27" fmla="*/ 7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100">
                  <a:moveTo>
                    <a:pt x="51" y="74"/>
                  </a:moveTo>
                  <a:cubicBezTo>
                    <a:pt x="65" y="59"/>
                    <a:pt x="67" y="51"/>
                    <a:pt x="71" y="33"/>
                  </a:cubicBezTo>
                  <a:cubicBezTo>
                    <a:pt x="73" y="22"/>
                    <a:pt x="70" y="18"/>
                    <a:pt x="66" y="22"/>
                  </a:cubicBezTo>
                  <a:cubicBezTo>
                    <a:pt x="71" y="12"/>
                    <a:pt x="64" y="3"/>
                    <a:pt x="61" y="9"/>
                  </a:cubicBezTo>
                  <a:cubicBezTo>
                    <a:pt x="61" y="7"/>
                    <a:pt x="60" y="1"/>
                    <a:pt x="56" y="0"/>
                  </a:cubicBezTo>
                  <a:cubicBezTo>
                    <a:pt x="53" y="0"/>
                    <a:pt x="52" y="6"/>
                    <a:pt x="52" y="9"/>
                  </a:cubicBezTo>
                  <a:cubicBezTo>
                    <a:pt x="49" y="6"/>
                    <a:pt x="44" y="6"/>
                    <a:pt x="43" y="15"/>
                  </a:cubicBezTo>
                  <a:cubicBezTo>
                    <a:pt x="42" y="22"/>
                    <a:pt x="38" y="26"/>
                    <a:pt x="38" y="26"/>
                  </a:cubicBezTo>
                  <a:cubicBezTo>
                    <a:pt x="37" y="18"/>
                    <a:pt x="33" y="15"/>
                    <a:pt x="29" y="17"/>
                  </a:cubicBezTo>
                  <a:cubicBezTo>
                    <a:pt x="29" y="25"/>
                    <a:pt x="26" y="37"/>
                    <a:pt x="26" y="48"/>
                  </a:cubicBezTo>
                  <a:cubicBezTo>
                    <a:pt x="26" y="50"/>
                    <a:pt x="26" y="52"/>
                    <a:pt x="26" y="54"/>
                  </a:cubicBezTo>
                  <a:cubicBezTo>
                    <a:pt x="0" y="94"/>
                    <a:pt x="0" y="94"/>
                    <a:pt x="0" y="94"/>
                  </a:cubicBezTo>
                  <a:cubicBezTo>
                    <a:pt x="35" y="100"/>
                    <a:pt x="35" y="100"/>
                    <a:pt x="35" y="100"/>
                  </a:cubicBezTo>
                  <a:lnTo>
                    <a:pt x="51"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51" name="Freeform 196"/>
            <p:cNvSpPr>
              <a:spLocks/>
            </p:cNvSpPr>
            <p:nvPr/>
          </p:nvSpPr>
          <p:spPr bwMode="auto">
            <a:xfrm>
              <a:off x="1585" y="2241"/>
              <a:ext cx="53" cy="53"/>
            </a:xfrm>
            <a:custGeom>
              <a:avLst/>
              <a:gdLst>
                <a:gd name="T0" fmla="*/ 8 w 57"/>
                <a:gd name="T1" fmla="*/ 15 h 57"/>
                <a:gd name="T2" fmla="*/ 42 w 57"/>
                <a:gd name="T3" fmla="*/ 8 h 57"/>
                <a:gd name="T4" fmla="*/ 49 w 57"/>
                <a:gd name="T5" fmla="*/ 42 h 57"/>
                <a:gd name="T6" fmla="*/ 15 w 57"/>
                <a:gd name="T7" fmla="*/ 49 h 57"/>
                <a:gd name="T8" fmla="*/ 8 w 57"/>
                <a:gd name="T9" fmla="*/ 15 h 57"/>
              </a:gdLst>
              <a:ahLst/>
              <a:cxnLst>
                <a:cxn ang="0">
                  <a:pos x="T0" y="T1"/>
                </a:cxn>
                <a:cxn ang="0">
                  <a:pos x="T2" y="T3"/>
                </a:cxn>
                <a:cxn ang="0">
                  <a:pos x="T4" y="T5"/>
                </a:cxn>
                <a:cxn ang="0">
                  <a:pos x="T6" y="T7"/>
                </a:cxn>
                <a:cxn ang="0">
                  <a:pos x="T8" y="T9"/>
                </a:cxn>
              </a:cxnLst>
              <a:rect l="0" t="0" r="r" b="b"/>
              <a:pathLst>
                <a:path w="57" h="57">
                  <a:moveTo>
                    <a:pt x="8" y="15"/>
                  </a:moveTo>
                  <a:cubicBezTo>
                    <a:pt x="15" y="4"/>
                    <a:pt x="31" y="0"/>
                    <a:pt x="42" y="8"/>
                  </a:cubicBezTo>
                  <a:cubicBezTo>
                    <a:pt x="53" y="15"/>
                    <a:pt x="57" y="31"/>
                    <a:pt x="49" y="42"/>
                  </a:cubicBezTo>
                  <a:cubicBezTo>
                    <a:pt x="42" y="53"/>
                    <a:pt x="26" y="57"/>
                    <a:pt x="15" y="49"/>
                  </a:cubicBezTo>
                  <a:cubicBezTo>
                    <a:pt x="3" y="42"/>
                    <a:pt x="0" y="26"/>
                    <a:pt x="8" y="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52" name="Freeform 197"/>
            <p:cNvSpPr>
              <a:spLocks/>
            </p:cNvSpPr>
            <p:nvPr/>
          </p:nvSpPr>
          <p:spPr bwMode="auto">
            <a:xfrm>
              <a:off x="1593" y="2185"/>
              <a:ext cx="83" cy="95"/>
            </a:xfrm>
            <a:custGeom>
              <a:avLst/>
              <a:gdLst>
                <a:gd name="T0" fmla="*/ 83 w 83"/>
                <a:gd name="T1" fmla="*/ 21 h 95"/>
                <a:gd name="T2" fmla="*/ 50 w 83"/>
                <a:gd name="T3" fmla="*/ 0 h 95"/>
                <a:gd name="T4" fmla="*/ 0 w 83"/>
                <a:gd name="T5" fmla="*/ 70 h 95"/>
                <a:gd name="T6" fmla="*/ 38 w 83"/>
                <a:gd name="T7" fmla="*/ 95 h 95"/>
                <a:gd name="T8" fmla="*/ 83 w 83"/>
                <a:gd name="T9" fmla="*/ 21 h 95"/>
              </a:gdLst>
              <a:ahLst/>
              <a:cxnLst>
                <a:cxn ang="0">
                  <a:pos x="T0" y="T1"/>
                </a:cxn>
                <a:cxn ang="0">
                  <a:pos x="T2" y="T3"/>
                </a:cxn>
                <a:cxn ang="0">
                  <a:pos x="T4" y="T5"/>
                </a:cxn>
                <a:cxn ang="0">
                  <a:pos x="T6" y="T7"/>
                </a:cxn>
                <a:cxn ang="0">
                  <a:pos x="T8" y="T9"/>
                </a:cxn>
              </a:cxnLst>
              <a:rect l="0" t="0" r="r" b="b"/>
              <a:pathLst>
                <a:path w="83" h="95">
                  <a:moveTo>
                    <a:pt x="83" y="21"/>
                  </a:moveTo>
                  <a:lnTo>
                    <a:pt x="50" y="0"/>
                  </a:lnTo>
                  <a:lnTo>
                    <a:pt x="0" y="70"/>
                  </a:lnTo>
                  <a:lnTo>
                    <a:pt x="38" y="95"/>
                  </a:lnTo>
                  <a:lnTo>
                    <a:pt x="83" y="2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sp>
          <p:nvSpPr>
            <p:cNvPr id="653" name="Freeform 198"/>
            <p:cNvSpPr>
              <a:spLocks/>
            </p:cNvSpPr>
            <p:nvPr/>
          </p:nvSpPr>
          <p:spPr bwMode="auto">
            <a:xfrm>
              <a:off x="1644" y="2176"/>
              <a:ext cx="37" cy="30"/>
            </a:xfrm>
            <a:custGeom>
              <a:avLst/>
              <a:gdLst>
                <a:gd name="T0" fmla="*/ 37 w 37"/>
                <a:gd name="T1" fmla="*/ 21 h 30"/>
                <a:gd name="T2" fmla="*/ 6 w 37"/>
                <a:gd name="T3" fmla="*/ 0 h 30"/>
                <a:gd name="T4" fmla="*/ 0 w 37"/>
                <a:gd name="T5" fmla="*/ 9 h 30"/>
                <a:gd name="T6" fmla="*/ 31 w 37"/>
                <a:gd name="T7" fmla="*/ 30 h 30"/>
                <a:gd name="T8" fmla="*/ 37 w 37"/>
                <a:gd name="T9" fmla="*/ 21 h 30"/>
              </a:gdLst>
              <a:ahLst/>
              <a:cxnLst>
                <a:cxn ang="0">
                  <a:pos x="T0" y="T1"/>
                </a:cxn>
                <a:cxn ang="0">
                  <a:pos x="T2" y="T3"/>
                </a:cxn>
                <a:cxn ang="0">
                  <a:pos x="T4" y="T5"/>
                </a:cxn>
                <a:cxn ang="0">
                  <a:pos x="T6" y="T7"/>
                </a:cxn>
                <a:cxn ang="0">
                  <a:pos x="T8" y="T9"/>
                </a:cxn>
              </a:cxnLst>
              <a:rect l="0" t="0" r="r" b="b"/>
              <a:pathLst>
                <a:path w="37" h="30">
                  <a:moveTo>
                    <a:pt x="37" y="21"/>
                  </a:moveTo>
                  <a:lnTo>
                    <a:pt x="6" y="0"/>
                  </a:lnTo>
                  <a:lnTo>
                    <a:pt x="0" y="9"/>
                  </a:lnTo>
                  <a:lnTo>
                    <a:pt x="31" y="30"/>
                  </a:lnTo>
                  <a:lnTo>
                    <a:pt x="37" y="2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Calibri" panose="020F0502020204030204"/>
              </a:endParaRPr>
            </a:p>
          </p:txBody>
        </p:sp>
      </p:grpSp>
    </p:spTree>
    <p:extLst>
      <p:ext uri="{BB962C8B-B14F-4D97-AF65-F5344CB8AC3E}">
        <p14:creationId xmlns:p14="http://schemas.microsoft.com/office/powerpoint/2010/main" val="26713267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58"/>
                                        </p:tgtEl>
                                        <p:attrNameLst>
                                          <p:attrName>style.visibility</p:attrName>
                                        </p:attrNameLst>
                                      </p:cBhvr>
                                      <p:to>
                                        <p:strVal val="visible"/>
                                      </p:to>
                                    </p:set>
                                    <p:animEffect transition="in" filter="fade">
                                      <p:cBhvr>
                                        <p:cTn id="11" dur="500"/>
                                        <p:tgtEl>
                                          <p:spTgt spid="45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par>
                                <p:cTn id="15" presetID="10"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par>
                                <p:cTn id="23" presetID="10" presetClass="entr" presetSubtype="0" fill="hold" nodeType="withEffect">
                                  <p:stCondLst>
                                    <p:cond delay="0"/>
                                  </p:stCondLst>
                                  <p:childTnLst>
                                    <p:set>
                                      <p:cBhvr>
                                        <p:cTn id="24" dur="1" fill="hold">
                                          <p:stCondLst>
                                            <p:cond delay="0"/>
                                          </p:stCondLst>
                                        </p:cTn>
                                        <p:tgtEl>
                                          <p:spTgt spid="261"/>
                                        </p:tgtEl>
                                        <p:attrNameLst>
                                          <p:attrName>style.visibility</p:attrName>
                                        </p:attrNameLst>
                                      </p:cBhvr>
                                      <p:to>
                                        <p:strVal val="visible"/>
                                      </p:to>
                                    </p:set>
                                    <p:animEffect transition="in" filter="fade">
                                      <p:cBhvr>
                                        <p:cTn id="25" dur="500"/>
                                        <p:tgtEl>
                                          <p:spTgt spid="261"/>
                                        </p:tgtEl>
                                      </p:cBhvr>
                                    </p:animEffect>
                                  </p:childTnLst>
                                </p:cTn>
                              </p:par>
                              <p:par>
                                <p:cTn id="26" presetID="10" presetClass="entr" presetSubtype="0" fill="hold" nodeType="with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08"/>
                                        </p:tgtEl>
                                        <p:attrNameLst>
                                          <p:attrName>style.visibility</p:attrName>
                                        </p:attrNameLst>
                                      </p:cBhvr>
                                      <p:to>
                                        <p:strVal val="visible"/>
                                      </p:to>
                                    </p:set>
                                    <p:animEffect transition="in" filter="fade">
                                      <p:cBhvr>
                                        <p:cTn id="33" dur="500"/>
                                        <p:tgtEl>
                                          <p:spTgt spid="10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fade">
                                      <p:cBhvr>
                                        <p:cTn id="3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1" y="1993498"/>
            <a:ext cx="9905936" cy="1828800"/>
          </a:xfrm>
        </p:spPr>
        <p:txBody>
          <a:bodyPr/>
          <a:lstStyle/>
          <a:p>
            <a:r>
              <a:rPr lang="en-US" dirty="0"/>
              <a:t>Dev/Test Environments in Azure</a:t>
            </a:r>
          </a:p>
        </p:txBody>
      </p:sp>
      <p:sp>
        <p:nvSpPr>
          <p:cNvPr id="5" name="Text Placeholder 4"/>
          <p:cNvSpPr>
            <a:spLocks noGrp="1"/>
          </p:cNvSpPr>
          <p:nvPr>
            <p:ph type="body" sz="quarter" idx="14"/>
          </p:nvPr>
        </p:nvSpPr>
        <p:spPr/>
        <p:txBody>
          <a:bodyPr/>
          <a:lstStyle/>
          <a:p>
            <a:r>
              <a:rPr lang="en-US" dirty="0"/>
              <a:t>Jessica Wilson</a:t>
            </a:r>
          </a:p>
          <a:p>
            <a:r>
              <a:rPr lang="en-US" dirty="0"/>
              <a:t>Azure Principal Solution Specialist</a:t>
            </a:r>
          </a:p>
        </p:txBody>
      </p:sp>
    </p:spTree>
    <p:extLst>
      <p:ext uri="{BB962C8B-B14F-4D97-AF65-F5344CB8AC3E}">
        <p14:creationId xmlns:p14="http://schemas.microsoft.com/office/powerpoint/2010/main" val="1384128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63490" name="think-cell Slide" r:id="rId5" imgW="360" imgH="360" progId="TCLayout.ActiveDocument.1">
                  <p:embed/>
                </p:oleObj>
              </mc:Choice>
              <mc:Fallback>
                <p:oleObj name="think-cell Slide"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9" name="Rectangle 168"/>
          <p:cNvSpPr/>
          <p:nvPr/>
        </p:nvSpPr>
        <p:spPr bwMode="auto">
          <a:xfrm>
            <a:off x="0" y="6523347"/>
            <a:ext cx="12436475" cy="4711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marL="0" marR="0" lvl="0" indent="0" algn="ctr" defTabSz="932384" rtl="0"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Slide Number Placeholder 7"/>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1800" b="0" i="0" u="none" strike="noStrike" kern="0" cap="none" spc="0" normalizeH="0" baseline="0" noProof="0" smtClean="0">
                <a:ln>
                  <a:noFill/>
                </a:ln>
                <a:solidFill>
                  <a:sysClr val="windowText" lastClr="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20" name="Group 19"/>
          <p:cNvGrpSpPr/>
          <p:nvPr/>
        </p:nvGrpSpPr>
        <p:grpSpPr>
          <a:xfrm>
            <a:off x="579439" y="1414419"/>
            <a:ext cx="5618161" cy="978409"/>
            <a:chOff x="579438" y="1401763"/>
            <a:chExt cx="5618161" cy="978409"/>
          </a:xfrm>
        </p:grpSpPr>
        <p:sp>
          <p:nvSpPr>
            <p:cNvPr id="171" name="Rectangle 170"/>
            <p:cNvSpPr/>
            <p:nvPr/>
          </p:nvSpPr>
          <p:spPr bwMode="auto">
            <a:xfrm>
              <a:off x="579438" y="1401764"/>
              <a:ext cx="5618161" cy="978408"/>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dirty="0">
                  <a:ln>
                    <a:noFill/>
                  </a:ln>
                  <a:solidFill>
                    <a:srgbClr val="505050"/>
                  </a:solidFill>
                  <a:effectLst/>
                  <a:uLnTx/>
                  <a:uFillTx/>
                  <a:latin typeface="Segoe UI"/>
                  <a:ea typeface="+mn-ea"/>
                  <a:cs typeface="+mn-cs"/>
                </a:rPr>
                <a:t>Rapidly self-provision as many virtual machines as needed for application </a:t>
              </a:r>
              <a:r>
                <a:rPr kumimoji="0" lang="en-IN" sz="1600" b="0" i="0" u="none" strike="noStrike" kern="0" cap="none" spc="0" normalizeH="0" baseline="0" noProof="0" dirty="0" err="1">
                  <a:ln>
                    <a:noFill/>
                  </a:ln>
                  <a:solidFill>
                    <a:srgbClr val="505050"/>
                  </a:solidFill>
                  <a:effectLst/>
                  <a:uLnTx/>
                  <a:uFillTx/>
                  <a:latin typeface="Segoe UI"/>
                  <a:ea typeface="+mn-ea"/>
                  <a:cs typeface="+mn-cs"/>
                </a:rPr>
                <a:t>dev</a:t>
              </a:r>
              <a:r>
                <a:rPr kumimoji="0" lang="en-IN" sz="1600" b="0" i="0" u="none" strike="noStrike" kern="0" cap="none" spc="0" normalizeH="0" baseline="0" noProof="0" dirty="0">
                  <a:ln>
                    <a:noFill/>
                  </a:ln>
                  <a:solidFill>
                    <a:srgbClr val="505050"/>
                  </a:solidFill>
                  <a:effectLst/>
                  <a:uLnTx/>
                  <a:uFillTx/>
                  <a:latin typeface="Segoe UI"/>
                  <a:ea typeface="+mn-ea"/>
                  <a:cs typeface="+mn-cs"/>
                </a:rPr>
                <a:t> &amp; testing in the cloud without waiting for hardware, procurement, or internal processes.</a:t>
              </a:r>
            </a:p>
          </p:txBody>
        </p:sp>
        <p:sp>
          <p:nvSpPr>
            <p:cNvPr id="172" name="Rectangle 171"/>
            <p:cNvSpPr/>
            <p:nvPr/>
          </p:nvSpPr>
          <p:spPr bwMode="auto">
            <a:xfrm rot="5400000">
              <a:off x="122239" y="1858963"/>
              <a:ext cx="978408" cy="64008"/>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4289" marR="0" lvl="0" indent="0" algn="l" defTabSz="932193" rtl="0" eaLnBrk="1" fontAlgn="auto" latinLnBrk="0" hangingPunct="1">
                <a:lnSpc>
                  <a:spcPct val="100000"/>
                </a:lnSpc>
                <a:spcBef>
                  <a:spcPts val="60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173" name="Group 172"/>
            <p:cNvGrpSpPr/>
            <p:nvPr/>
          </p:nvGrpSpPr>
          <p:grpSpPr>
            <a:xfrm rot="16200000">
              <a:off x="534454" y="1769140"/>
              <a:ext cx="373576" cy="243655"/>
              <a:chOff x="1489931" y="3087745"/>
              <a:chExt cx="373576" cy="243655"/>
            </a:xfrm>
          </p:grpSpPr>
          <p:sp>
            <p:nvSpPr>
              <p:cNvPr id="174" name="Isosceles Triangle 173"/>
              <p:cNvSpPr/>
              <p:nvPr/>
            </p:nvSpPr>
            <p:spPr bwMode="auto">
              <a:xfrm rot="10800000">
                <a:off x="1489931" y="3133472"/>
                <a:ext cx="373576" cy="197928"/>
              </a:xfrm>
              <a:prstGeom prst="triangle">
                <a:avLst/>
              </a:prstGeom>
              <a:solidFill>
                <a:schemeClr val="accent1"/>
              </a:solidFill>
              <a:ln>
                <a:noFill/>
              </a:ln>
            </p:spPr>
            <p:txBody>
              <a:bodyPr vert="horz" wrap="square" lIns="137160" tIns="91440" rIns="137160" bIns="91440" rtlCol="0" anchor="ctr">
                <a:noAutofit/>
              </a:bodyPr>
              <a:lstStyle/>
              <a:p>
                <a:pPr marL="342868" marR="0" lvl="0" indent="-342868" algn="l" defTabSz="914400"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4000" b="0" i="0" u="none" strike="noStrike" kern="0" cap="none" spc="0" normalizeH="0" baseline="0" noProof="0" dirty="0" err="1">
                  <a:ln>
                    <a:noFill/>
                  </a:ln>
                  <a:solidFill>
                    <a:srgbClr val="505050"/>
                  </a:solidFill>
                  <a:effectLst/>
                  <a:uLnTx/>
                  <a:uFillTx/>
                  <a:latin typeface="Segoe UI Light"/>
                  <a:ea typeface="+mn-ea"/>
                  <a:cs typeface="+mn-cs"/>
                </a:endParaRPr>
              </a:p>
            </p:txBody>
          </p:sp>
          <p:grpSp>
            <p:nvGrpSpPr>
              <p:cNvPr id="175" name="Group 174"/>
              <p:cNvGrpSpPr/>
              <p:nvPr/>
            </p:nvGrpSpPr>
            <p:grpSpPr>
              <a:xfrm>
                <a:off x="1616383" y="3087745"/>
                <a:ext cx="120672" cy="165145"/>
                <a:chOff x="4566931" y="2464595"/>
                <a:chExt cx="286063" cy="391495"/>
              </a:xfrm>
              <a:solidFill>
                <a:schemeClr val="bg1"/>
              </a:solidFill>
            </p:grpSpPr>
            <p:sp>
              <p:nvSpPr>
                <p:cNvPr id="176" name="Rectangle 175"/>
                <p:cNvSpPr/>
                <p:nvPr/>
              </p:nvSpPr>
              <p:spPr>
                <a:xfrm rot="16200000" flipH="1">
                  <a:off x="4543638" y="2581043"/>
                  <a:ext cx="332648" cy="99752"/>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77" name="Freeform 176"/>
                <p:cNvSpPr/>
                <p:nvPr/>
              </p:nvSpPr>
              <p:spPr bwMode="auto">
                <a:xfrm rot="18900000" flipH="1">
                  <a:off x="4566931" y="2570030"/>
                  <a:ext cx="286063" cy="286060"/>
                </a:xfrm>
                <a:custGeom>
                  <a:avLst/>
                  <a:gdLst>
                    <a:gd name="connsiteX0" fmla="*/ 0 w 286063"/>
                    <a:gd name="connsiteY0" fmla="*/ 202874 h 286060"/>
                    <a:gd name="connsiteX1" fmla="*/ 0 w 286063"/>
                    <a:gd name="connsiteY1" fmla="*/ 286060 h 286060"/>
                    <a:gd name="connsiteX2" fmla="*/ 285865 w 286063"/>
                    <a:gd name="connsiteY2" fmla="*/ 286060 h 286060"/>
                    <a:gd name="connsiteX3" fmla="*/ 285865 w 286063"/>
                    <a:gd name="connsiteY3" fmla="*/ 285860 h 286060"/>
                    <a:gd name="connsiteX4" fmla="*/ 286063 w 286063"/>
                    <a:gd name="connsiteY4" fmla="*/ 285861 h 286060"/>
                    <a:gd name="connsiteX5" fmla="*/ 286063 w 286063"/>
                    <a:gd name="connsiteY5" fmla="*/ 0 h 286060"/>
                    <a:gd name="connsiteX6" fmla="*/ 202877 w 286063"/>
                    <a:gd name="connsiteY6" fmla="*/ 0 h 286060"/>
                    <a:gd name="connsiteX7" fmla="*/ 202877 w 286063"/>
                    <a:gd name="connsiteY7" fmla="*/ 202674 h 286060"/>
                    <a:gd name="connsiteX8" fmla="*/ 202679 w 286063"/>
                    <a:gd name="connsiteY8" fmla="*/ 202674 h 286060"/>
                    <a:gd name="connsiteX9" fmla="*/ 202679 w 286063"/>
                    <a:gd name="connsiteY9" fmla="*/ 202874 h 28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063" h="286060">
                      <a:moveTo>
                        <a:pt x="0" y="202874"/>
                      </a:moveTo>
                      <a:lnTo>
                        <a:pt x="0" y="286060"/>
                      </a:lnTo>
                      <a:lnTo>
                        <a:pt x="285865" y="286060"/>
                      </a:lnTo>
                      <a:lnTo>
                        <a:pt x="285865" y="285860"/>
                      </a:lnTo>
                      <a:lnTo>
                        <a:pt x="286063" y="285861"/>
                      </a:lnTo>
                      <a:lnTo>
                        <a:pt x="286063" y="0"/>
                      </a:lnTo>
                      <a:lnTo>
                        <a:pt x="202877" y="0"/>
                      </a:lnTo>
                      <a:lnTo>
                        <a:pt x="202877" y="202674"/>
                      </a:lnTo>
                      <a:lnTo>
                        <a:pt x="202679" y="202674"/>
                      </a:lnTo>
                      <a:lnTo>
                        <a:pt x="202679" y="20287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84"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132" name="Rectangle 131"/>
          <p:cNvSpPr/>
          <p:nvPr/>
        </p:nvSpPr>
        <p:spPr bwMode="auto">
          <a:xfrm>
            <a:off x="0" y="1"/>
            <a:ext cx="12436475" cy="14017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marL="0" marR="0" lvl="0" indent="0" algn="ctr" defTabSz="932384" rtl="0"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8"/>
          <p:cNvSpPr>
            <a:spLocks noGrp="1"/>
          </p:cNvSpPr>
          <p:nvPr>
            <p:ph type="title"/>
          </p:nvPr>
        </p:nvSpPr>
        <p:spPr/>
        <p:txBody>
          <a:bodyPr/>
          <a:lstStyle/>
          <a:p>
            <a:r>
              <a:rPr lang="en-US" dirty="0"/>
              <a:t>Develop &amp; test applications</a:t>
            </a:r>
          </a:p>
        </p:txBody>
      </p:sp>
      <p:grpSp>
        <p:nvGrpSpPr>
          <p:cNvPr id="21" name="Group 20"/>
          <p:cNvGrpSpPr/>
          <p:nvPr/>
        </p:nvGrpSpPr>
        <p:grpSpPr>
          <a:xfrm>
            <a:off x="579439" y="2461574"/>
            <a:ext cx="5618161" cy="916625"/>
            <a:chOff x="579438" y="2452082"/>
            <a:chExt cx="5618161" cy="916625"/>
          </a:xfrm>
        </p:grpSpPr>
        <p:sp>
          <p:nvSpPr>
            <p:cNvPr id="338" name="Rectangle 337"/>
            <p:cNvSpPr/>
            <p:nvPr/>
          </p:nvSpPr>
          <p:spPr bwMode="auto">
            <a:xfrm>
              <a:off x="579438" y="2452082"/>
              <a:ext cx="5618161" cy="91662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dirty="0">
                  <a:ln>
                    <a:noFill/>
                  </a:ln>
                  <a:solidFill>
                    <a:srgbClr val="505050"/>
                  </a:solidFill>
                  <a:effectLst/>
                  <a:uLnTx/>
                  <a:uFillTx/>
                  <a:latin typeface="Segoe UI"/>
                  <a:ea typeface="+mn-ea"/>
                  <a:cs typeface="+mn-cs"/>
                </a:rPr>
                <a:t>Speed the application lifecycle with an end-to-end platform for agile, team-based development.</a:t>
              </a:r>
            </a:p>
          </p:txBody>
        </p:sp>
        <p:grpSp>
          <p:nvGrpSpPr>
            <p:cNvPr id="18" name="Group 17"/>
            <p:cNvGrpSpPr/>
            <p:nvPr/>
          </p:nvGrpSpPr>
          <p:grpSpPr>
            <a:xfrm>
              <a:off x="579439" y="2453194"/>
              <a:ext cx="263630" cy="914400"/>
              <a:chOff x="579439" y="2453194"/>
              <a:chExt cx="263630" cy="914400"/>
            </a:xfrm>
          </p:grpSpPr>
          <p:sp>
            <p:nvSpPr>
              <p:cNvPr id="339" name="Rectangle 338"/>
              <p:cNvSpPr/>
              <p:nvPr/>
            </p:nvSpPr>
            <p:spPr bwMode="auto">
              <a:xfrm rot="5400000">
                <a:off x="154243" y="2878390"/>
                <a:ext cx="914400" cy="64008"/>
              </a:xfrm>
              <a:prstGeom prst="rect">
                <a:avLst/>
              </a:prstGeom>
              <a:solidFill>
                <a:schemeClr val="accent2"/>
              </a:solid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4289" marR="0" lvl="0" indent="0" algn="l" defTabSz="932193" rtl="0" eaLnBrk="1" fontAlgn="auto" latinLnBrk="0" hangingPunct="1">
                  <a:lnSpc>
                    <a:spcPct val="100000"/>
                  </a:lnSpc>
                  <a:spcBef>
                    <a:spcPts val="60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340" name="Group 339"/>
              <p:cNvGrpSpPr/>
              <p:nvPr/>
            </p:nvGrpSpPr>
            <p:grpSpPr>
              <a:xfrm rot="16200000">
                <a:off x="534454" y="2788567"/>
                <a:ext cx="373576" cy="243655"/>
                <a:chOff x="1489931" y="3087745"/>
                <a:chExt cx="373576" cy="243655"/>
              </a:xfrm>
            </p:grpSpPr>
            <p:sp>
              <p:nvSpPr>
                <p:cNvPr id="341" name="Isosceles Triangle 340"/>
                <p:cNvSpPr/>
                <p:nvPr/>
              </p:nvSpPr>
              <p:spPr bwMode="auto">
                <a:xfrm rot="10800000">
                  <a:off x="1489931" y="3133472"/>
                  <a:ext cx="373576" cy="197928"/>
                </a:xfrm>
                <a:prstGeom prst="triangle">
                  <a:avLst/>
                </a:prstGeom>
                <a:solidFill>
                  <a:schemeClr val="accent2"/>
                </a:solidFill>
                <a:ln>
                  <a:noFill/>
                </a:ln>
              </p:spPr>
              <p:txBody>
                <a:bodyPr vert="horz" wrap="square" lIns="137160" tIns="91440" rIns="137160" bIns="91440" rtlCol="0" anchor="ctr">
                  <a:noAutofit/>
                </a:bodyPr>
                <a:lstStyle/>
                <a:p>
                  <a:pPr marL="342868" marR="0" lvl="0" indent="-342868" algn="l" defTabSz="914400"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4000" b="0" i="0" u="none" strike="noStrike" kern="0" cap="none" spc="0" normalizeH="0" baseline="0" noProof="0" dirty="0" err="1">
                    <a:ln>
                      <a:noFill/>
                    </a:ln>
                    <a:solidFill>
                      <a:srgbClr val="505050"/>
                    </a:solidFill>
                    <a:effectLst/>
                    <a:uLnTx/>
                    <a:uFillTx/>
                    <a:latin typeface="Segoe UI Light"/>
                    <a:ea typeface="+mn-ea"/>
                    <a:cs typeface="+mn-cs"/>
                  </a:endParaRPr>
                </a:p>
              </p:txBody>
            </p:sp>
            <p:grpSp>
              <p:nvGrpSpPr>
                <p:cNvPr id="342" name="Group 341"/>
                <p:cNvGrpSpPr/>
                <p:nvPr/>
              </p:nvGrpSpPr>
              <p:grpSpPr>
                <a:xfrm>
                  <a:off x="1616383" y="3087745"/>
                  <a:ext cx="120672" cy="165145"/>
                  <a:chOff x="4566931" y="2464595"/>
                  <a:chExt cx="286063" cy="391495"/>
                </a:xfrm>
                <a:solidFill>
                  <a:schemeClr val="bg1"/>
                </a:solidFill>
              </p:grpSpPr>
              <p:sp>
                <p:nvSpPr>
                  <p:cNvPr id="343" name="Rectangle 342"/>
                  <p:cNvSpPr/>
                  <p:nvPr/>
                </p:nvSpPr>
                <p:spPr>
                  <a:xfrm rot="16200000" flipH="1">
                    <a:off x="4543638" y="2581043"/>
                    <a:ext cx="332648" cy="99752"/>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44" name="Freeform 343"/>
                  <p:cNvSpPr/>
                  <p:nvPr/>
                </p:nvSpPr>
                <p:spPr bwMode="auto">
                  <a:xfrm rot="18900000" flipH="1">
                    <a:off x="4566931" y="2570030"/>
                    <a:ext cx="286063" cy="286060"/>
                  </a:xfrm>
                  <a:custGeom>
                    <a:avLst/>
                    <a:gdLst>
                      <a:gd name="connsiteX0" fmla="*/ 0 w 286063"/>
                      <a:gd name="connsiteY0" fmla="*/ 202874 h 286060"/>
                      <a:gd name="connsiteX1" fmla="*/ 0 w 286063"/>
                      <a:gd name="connsiteY1" fmla="*/ 286060 h 286060"/>
                      <a:gd name="connsiteX2" fmla="*/ 285865 w 286063"/>
                      <a:gd name="connsiteY2" fmla="*/ 286060 h 286060"/>
                      <a:gd name="connsiteX3" fmla="*/ 285865 w 286063"/>
                      <a:gd name="connsiteY3" fmla="*/ 285860 h 286060"/>
                      <a:gd name="connsiteX4" fmla="*/ 286063 w 286063"/>
                      <a:gd name="connsiteY4" fmla="*/ 285861 h 286060"/>
                      <a:gd name="connsiteX5" fmla="*/ 286063 w 286063"/>
                      <a:gd name="connsiteY5" fmla="*/ 0 h 286060"/>
                      <a:gd name="connsiteX6" fmla="*/ 202877 w 286063"/>
                      <a:gd name="connsiteY6" fmla="*/ 0 h 286060"/>
                      <a:gd name="connsiteX7" fmla="*/ 202877 w 286063"/>
                      <a:gd name="connsiteY7" fmla="*/ 202674 h 286060"/>
                      <a:gd name="connsiteX8" fmla="*/ 202679 w 286063"/>
                      <a:gd name="connsiteY8" fmla="*/ 202674 h 286060"/>
                      <a:gd name="connsiteX9" fmla="*/ 202679 w 286063"/>
                      <a:gd name="connsiteY9" fmla="*/ 202874 h 28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063" h="286060">
                        <a:moveTo>
                          <a:pt x="0" y="202874"/>
                        </a:moveTo>
                        <a:lnTo>
                          <a:pt x="0" y="286060"/>
                        </a:lnTo>
                        <a:lnTo>
                          <a:pt x="285865" y="286060"/>
                        </a:lnTo>
                        <a:lnTo>
                          <a:pt x="285865" y="285860"/>
                        </a:lnTo>
                        <a:lnTo>
                          <a:pt x="286063" y="285861"/>
                        </a:lnTo>
                        <a:lnTo>
                          <a:pt x="286063" y="0"/>
                        </a:lnTo>
                        <a:lnTo>
                          <a:pt x="202877" y="0"/>
                        </a:lnTo>
                        <a:lnTo>
                          <a:pt x="202877" y="202674"/>
                        </a:lnTo>
                        <a:lnTo>
                          <a:pt x="202679" y="202674"/>
                        </a:lnTo>
                        <a:lnTo>
                          <a:pt x="202679" y="20287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84"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grpSp>
        <p:nvGrpSpPr>
          <p:cNvPr id="22" name="Group 21"/>
          <p:cNvGrpSpPr/>
          <p:nvPr/>
        </p:nvGrpSpPr>
        <p:grpSpPr>
          <a:xfrm>
            <a:off x="579439" y="3446946"/>
            <a:ext cx="5618161" cy="916625"/>
            <a:chOff x="579438" y="3440617"/>
            <a:chExt cx="5618161" cy="916625"/>
          </a:xfrm>
        </p:grpSpPr>
        <p:sp>
          <p:nvSpPr>
            <p:cNvPr id="345" name="Rectangle 344"/>
            <p:cNvSpPr/>
            <p:nvPr/>
          </p:nvSpPr>
          <p:spPr bwMode="auto">
            <a:xfrm>
              <a:off x="579438" y="3440617"/>
              <a:ext cx="5618161" cy="91662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dirty="0">
                  <a:ln>
                    <a:noFill/>
                  </a:ln>
                  <a:solidFill>
                    <a:srgbClr val="505050"/>
                  </a:solidFill>
                  <a:effectLst/>
                  <a:uLnTx/>
                  <a:uFillTx/>
                  <a:latin typeface="Segoe UI"/>
                  <a:ea typeface="+mn-ea"/>
                  <a:cs typeface="+mn-cs"/>
                </a:rPr>
                <a:t>Use existing development tools and languages.</a:t>
              </a:r>
            </a:p>
          </p:txBody>
        </p:sp>
        <p:grpSp>
          <p:nvGrpSpPr>
            <p:cNvPr id="348" name="Group 347"/>
            <p:cNvGrpSpPr/>
            <p:nvPr/>
          </p:nvGrpSpPr>
          <p:grpSpPr>
            <a:xfrm>
              <a:off x="579439" y="3442842"/>
              <a:ext cx="263630" cy="914400"/>
              <a:chOff x="579439" y="2453194"/>
              <a:chExt cx="263630" cy="914400"/>
            </a:xfrm>
          </p:grpSpPr>
          <p:sp>
            <p:nvSpPr>
              <p:cNvPr id="349" name="Rectangle 348"/>
              <p:cNvSpPr/>
              <p:nvPr/>
            </p:nvSpPr>
            <p:spPr bwMode="auto">
              <a:xfrm rot="5400000">
                <a:off x="154243" y="2878390"/>
                <a:ext cx="914400" cy="64008"/>
              </a:xfrm>
              <a:prstGeom prst="rect">
                <a:avLst/>
              </a:prstGeom>
              <a:solidFill>
                <a:schemeClr val="accent3"/>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4289" marR="0" lvl="0" indent="0" algn="l" defTabSz="932193" rtl="0" eaLnBrk="1" fontAlgn="auto" latinLnBrk="0" hangingPunct="1">
                  <a:lnSpc>
                    <a:spcPct val="100000"/>
                  </a:lnSpc>
                  <a:spcBef>
                    <a:spcPts val="60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350" name="Group 349"/>
              <p:cNvGrpSpPr/>
              <p:nvPr/>
            </p:nvGrpSpPr>
            <p:grpSpPr>
              <a:xfrm rot="16200000">
                <a:off x="534454" y="2788567"/>
                <a:ext cx="373576" cy="243655"/>
                <a:chOff x="1489931" y="3087745"/>
                <a:chExt cx="373576" cy="243655"/>
              </a:xfrm>
            </p:grpSpPr>
            <p:sp>
              <p:nvSpPr>
                <p:cNvPr id="351" name="Isosceles Triangle 350"/>
                <p:cNvSpPr/>
                <p:nvPr/>
              </p:nvSpPr>
              <p:spPr bwMode="auto">
                <a:xfrm rot="10800000">
                  <a:off x="1489931" y="3133472"/>
                  <a:ext cx="373576" cy="197928"/>
                </a:xfrm>
                <a:prstGeom prst="triangle">
                  <a:avLst/>
                </a:prstGeom>
                <a:solidFill>
                  <a:schemeClr val="accent3"/>
                </a:solidFill>
                <a:ln>
                  <a:noFill/>
                </a:ln>
              </p:spPr>
              <p:txBody>
                <a:bodyPr vert="horz" wrap="square" lIns="137160" tIns="91440" rIns="137160" bIns="91440" rtlCol="0" anchor="ctr">
                  <a:noAutofit/>
                </a:bodyPr>
                <a:lstStyle/>
                <a:p>
                  <a:pPr marL="342868" marR="0" lvl="0" indent="-342868" algn="l" defTabSz="914400"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4000" b="0" i="0" u="none" strike="noStrike" kern="0" cap="none" spc="0" normalizeH="0" baseline="0" noProof="0" dirty="0" err="1">
                    <a:ln>
                      <a:noFill/>
                    </a:ln>
                    <a:solidFill>
                      <a:srgbClr val="505050"/>
                    </a:solidFill>
                    <a:effectLst/>
                    <a:uLnTx/>
                    <a:uFillTx/>
                    <a:latin typeface="Segoe UI Light"/>
                    <a:ea typeface="+mn-ea"/>
                    <a:cs typeface="+mn-cs"/>
                  </a:endParaRPr>
                </a:p>
              </p:txBody>
            </p:sp>
            <p:grpSp>
              <p:nvGrpSpPr>
                <p:cNvPr id="352" name="Group 351"/>
                <p:cNvGrpSpPr/>
                <p:nvPr/>
              </p:nvGrpSpPr>
              <p:grpSpPr>
                <a:xfrm>
                  <a:off x="1616383" y="3087745"/>
                  <a:ext cx="120672" cy="165145"/>
                  <a:chOff x="4566931" y="2464595"/>
                  <a:chExt cx="286063" cy="391495"/>
                </a:xfrm>
                <a:solidFill>
                  <a:schemeClr val="bg1"/>
                </a:solidFill>
              </p:grpSpPr>
              <p:sp>
                <p:nvSpPr>
                  <p:cNvPr id="353" name="Rectangle 352"/>
                  <p:cNvSpPr/>
                  <p:nvPr/>
                </p:nvSpPr>
                <p:spPr>
                  <a:xfrm rot="16200000" flipH="1">
                    <a:off x="4543638" y="2581043"/>
                    <a:ext cx="332648" cy="99752"/>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4" name="Freeform 353"/>
                  <p:cNvSpPr/>
                  <p:nvPr/>
                </p:nvSpPr>
                <p:spPr bwMode="auto">
                  <a:xfrm rot="18900000" flipH="1">
                    <a:off x="4566931" y="2570030"/>
                    <a:ext cx="286063" cy="286060"/>
                  </a:xfrm>
                  <a:custGeom>
                    <a:avLst/>
                    <a:gdLst>
                      <a:gd name="connsiteX0" fmla="*/ 0 w 286063"/>
                      <a:gd name="connsiteY0" fmla="*/ 202874 h 286060"/>
                      <a:gd name="connsiteX1" fmla="*/ 0 w 286063"/>
                      <a:gd name="connsiteY1" fmla="*/ 286060 h 286060"/>
                      <a:gd name="connsiteX2" fmla="*/ 285865 w 286063"/>
                      <a:gd name="connsiteY2" fmla="*/ 286060 h 286060"/>
                      <a:gd name="connsiteX3" fmla="*/ 285865 w 286063"/>
                      <a:gd name="connsiteY3" fmla="*/ 285860 h 286060"/>
                      <a:gd name="connsiteX4" fmla="*/ 286063 w 286063"/>
                      <a:gd name="connsiteY4" fmla="*/ 285861 h 286060"/>
                      <a:gd name="connsiteX5" fmla="*/ 286063 w 286063"/>
                      <a:gd name="connsiteY5" fmla="*/ 0 h 286060"/>
                      <a:gd name="connsiteX6" fmla="*/ 202877 w 286063"/>
                      <a:gd name="connsiteY6" fmla="*/ 0 h 286060"/>
                      <a:gd name="connsiteX7" fmla="*/ 202877 w 286063"/>
                      <a:gd name="connsiteY7" fmla="*/ 202674 h 286060"/>
                      <a:gd name="connsiteX8" fmla="*/ 202679 w 286063"/>
                      <a:gd name="connsiteY8" fmla="*/ 202674 h 286060"/>
                      <a:gd name="connsiteX9" fmla="*/ 202679 w 286063"/>
                      <a:gd name="connsiteY9" fmla="*/ 202874 h 28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063" h="286060">
                        <a:moveTo>
                          <a:pt x="0" y="202874"/>
                        </a:moveTo>
                        <a:lnTo>
                          <a:pt x="0" y="286060"/>
                        </a:lnTo>
                        <a:lnTo>
                          <a:pt x="285865" y="286060"/>
                        </a:lnTo>
                        <a:lnTo>
                          <a:pt x="285865" y="285860"/>
                        </a:lnTo>
                        <a:lnTo>
                          <a:pt x="286063" y="285861"/>
                        </a:lnTo>
                        <a:lnTo>
                          <a:pt x="286063" y="0"/>
                        </a:lnTo>
                        <a:lnTo>
                          <a:pt x="202877" y="0"/>
                        </a:lnTo>
                        <a:lnTo>
                          <a:pt x="202877" y="202674"/>
                        </a:lnTo>
                        <a:lnTo>
                          <a:pt x="202679" y="202674"/>
                        </a:lnTo>
                        <a:lnTo>
                          <a:pt x="202679" y="20287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84"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grpSp>
        <p:nvGrpSpPr>
          <p:cNvPr id="23" name="Group 22"/>
          <p:cNvGrpSpPr/>
          <p:nvPr/>
        </p:nvGrpSpPr>
        <p:grpSpPr>
          <a:xfrm>
            <a:off x="579439" y="4432317"/>
            <a:ext cx="5618161" cy="916625"/>
            <a:chOff x="579438" y="4429152"/>
            <a:chExt cx="5618161" cy="916625"/>
          </a:xfrm>
        </p:grpSpPr>
        <p:sp>
          <p:nvSpPr>
            <p:cNvPr id="346" name="Rectangle 345"/>
            <p:cNvSpPr/>
            <p:nvPr/>
          </p:nvSpPr>
          <p:spPr bwMode="auto">
            <a:xfrm>
              <a:off x="579438" y="4429152"/>
              <a:ext cx="5618161" cy="91662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dirty="0">
                  <a:ln>
                    <a:noFill/>
                  </a:ln>
                  <a:solidFill>
                    <a:srgbClr val="505050"/>
                  </a:solidFill>
                  <a:effectLst/>
                  <a:uLnTx/>
                  <a:uFillTx/>
                  <a:latin typeface="Segoe UI"/>
                  <a:ea typeface="+mn-ea"/>
                  <a:cs typeface="+mn-cs"/>
                </a:rPr>
                <a:t>Deploy apps on-premises or in the cloud.</a:t>
              </a:r>
            </a:p>
          </p:txBody>
        </p:sp>
        <p:grpSp>
          <p:nvGrpSpPr>
            <p:cNvPr id="355" name="Group 354"/>
            <p:cNvGrpSpPr/>
            <p:nvPr/>
          </p:nvGrpSpPr>
          <p:grpSpPr>
            <a:xfrm>
              <a:off x="579439" y="4431377"/>
              <a:ext cx="263630" cy="914400"/>
              <a:chOff x="579439" y="2453194"/>
              <a:chExt cx="263630" cy="914400"/>
            </a:xfrm>
          </p:grpSpPr>
          <p:sp>
            <p:nvSpPr>
              <p:cNvPr id="356" name="Rectangle 355"/>
              <p:cNvSpPr/>
              <p:nvPr/>
            </p:nvSpPr>
            <p:spPr bwMode="auto">
              <a:xfrm rot="5400000">
                <a:off x="154243" y="2878390"/>
                <a:ext cx="914400" cy="64008"/>
              </a:xfrm>
              <a:prstGeom prst="rect">
                <a:avLst/>
              </a:prstGeom>
              <a:solidFill>
                <a:schemeClr val="accent4"/>
              </a:solidFill>
              <a:ln w="31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4289" marR="0" lvl="0" indent="0" algn="l" defTabSz="932193" rtl="0" eaLnBrk="1" fontAlgn="auto" latinLnBrk="0" hangingPunct="1">
                  <a:lnSpc>
                    <a:spcPct val="100000"/>
                  </a:lnSpc>
                  <a:spcBef>
                    <a:spcPts val="60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357" name="Group 356"/>
              <p:cNvGrpSpPr/>
              <p:nvPr/>
            </p:nvGrpSpPr>
            <p:grpSpPr>
              <a:xfrm rot="16200000">
                <a:off x="534454" y="2788567"/>
                <a:ext cx="373576" cy="243655"/>
                <a:chOff x="1489931" y="3087745"/>
                <a:chExt cx="373576" cy="243655"/>
              </a:xfrm>
            </p:grpSpPr>
            <p:sp>
              <p:nvSpPr>
                <p:cNvPr id="358" name="Isosceles Triangle 357"/>
                <p:cNvSpPr/>
                <p:nvPr/>
              </p:nvSpPr>
              <p:spPr bwMode="auto">
                <a:xfrm rot="10800000">
                  <a:off x="1489931" y="3133472"/>
                  <a:ext cx="373576" cy="197928"/>
                </a:xfrm>
                <a:prstGeom prst="triangle">
                  <a:avLst/>
                </a:prstGeom>
                <a:solidFill>
                  <a:schemeClr val="accent4"/>
                </a:solidFill>
                <a:ln>
                  <a:noFill/>
                </a:ln>
              </p:spPr>
              <p:txBody>
                <a:bodyPr vert="horz" wrap="square" lIns="137160" tIns="91440" rIns="137160" bIns="91440" rtlCol="0" anchor="ctr">
                  <a:noAutofit/>
                </a:bodyPr>
                <a:lstStyle/>
                <a:p>
                  <a:pPr marL="342868" marR="0" lvl="0" indent="-342868" algn="l" defTabSz="914400"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4000" b="0" i="0" u="none" strike="noStrike" kern="0" cap="none" spc="0" normalizeH="0" baseline="0" noProof="0" dirty="0" err="1">
                    <a:ln>
                      <a:noFill/>
                    </a:ln>
                    <a:solidFill>
                      <a:srgbClr val="505050"/>
                    </a:solidFill>
                    <a:effectLst/>
                    <a:uLnTx/>
                    <a:uFillTx/>
                    <a:latin typeface="Segoe UI Light"/>
                    <a:ea typeface="+mn-ea"/>
                    <a:cs typeface="+mn-cs"/>
                  </a:endParaRPr>
                </a:p>
              </p:txBody>
            </p:sp>
            <p:grpSp>
              <p:nvGrpSpPr>
                <p:cNvPr id="359" name="Group 358"/>
                <p:cNvGrpSpPr/>
                <p:nvPr/>
              </p:nvGrpSpPr>
              <p:grpSpPr>
                <a:xfrm>
                  <a:off x="1616383" y="3087745"/>
                  <a:ext cx="120672" cy="165145"/>
                  <a:chOff x="4566931" y="2464595"/>
                  <a:chExt cx="286063" cy="391495"/>
                </a:xfrm>
                <a:solidFill>
                  <a:schemeClr val="bg1"/>
                </a:solidFill>
              </p:grpSpPr>
              <p:sp>
                <p:nvSpPr>
                  <p:cNvPr id="360" name="Rectangle 359"/>
                  <p:cNvSpPr/>
                  <p:nvPr/>
                </p:nvSpPr>
                <p:spPr>
                  <a:xfrm rot="16200000" flipH="1">
                    <a:off x="4543638" y="2581043"/>
                    <a:ext cx="332648" cy="99752"/>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1" name="Freeform 360"/>
                  <p:cNvSpPr/>
                  <p:nvPr/>
                </p:nvSpPr>
                <p:spPr bwMode="auto">
                  <a:xfrm rot="18900000" flipH="1">
                    <a:off x="4566931" y="2570030"/>
                    <a:ext cx="286063" cy="286060"/>
                  </a:xfrm>
                  <a:custGeom>
                    <a:avLst/>
                    <a:gdLst>
                      <a:gd name="connsiteX0" fmla="*/ 0 w 286063"/>
                      <a:gd name="connsiteY0" fmla="*/ 202874 h 286060"/>
                      <a:gd name="connsiteX1" fmla="*/ 0 w 286063"/>
                      <a:gd name="connsiteY1" fmla="*/ 286060 h 286060"/>
                      <a:gd name="connsiteX2" fmla="*/ 285865 w 286063"/>
                      <a:gd name="connsiteY2" fmla="*/ 286060 h 286060"/>
                      <a:gd name="connsiteX3" fmla="*/ 285865 w 286063"/>
                      <a:gd name="connsiteY3" fmla="*/ 285860 h 286060"/>
                      <a:gd name="connsiteX4" fmla="*/ 286063 w 286063"/>
                      <a:gd name="connsiteY4" fmla="*/ 285861 h 286060"/>
                      <a:gd name="connsiteX5" fmla="*/ 286063 w 286063"/>
                      <a:gd name="connsiteY5" fmla="*/ 0 h 286060"/>
                      <a:gd name="connsiteX6" fmla="*/ 202877 w 286063"/>
                      <a:gd name="connsiteY6" fmla="*/ 0 h 286060"/>
                      <a:gd name="connsiteX7" fmla="*/ 202877 w 286063"/>
                      <a:gd name="connsiteY7" fmla="*/ 202674 h 286060"/>
                      <a:gd name="connsiteX8" fmla="*/ 202679 w 286063"/>
                      <a:gd name="connsiteY8" fmla="*/ 202674 h 286060"/>
                      <a:gd name="connsiteX9" fmla="*/ 202679 w 286063"/>
                      <a:gd name="connsiteY9" fmla="*/ 202874 h 28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063" h="286060">
                        <a:moveTo>
                          <a:pt x="0" y="202874"/>
                        </a:moveTo>
                        <a:lnTo>
                          <a:pt x="0" y="286060"/>
                        </a:lnTo>
                        <a:lnTo>
                          <a:pt x="285865" y="286060"/>
                        </a:lnTo>
                        <a:lnTo>
                          <a:pt x="285865" y="285860"/>
                        </a:lnTo>
                        <a:lnTo>
                          <a:pt x="286063" y="285861"/>
                        </a:lnTo>
                        <a:lnTo>
                          <a:pt x="286063" y="0"/>
                        </a:lnTo>
                        <a:lnTo>
                          <a:pt x="202877" y="0"/>
                        </a:lnTo>
                        <a:lnTo>
                          <a:pt x="202877" y="202674"/>
                        </a:lnTo>
                        <a:lnTo>
                          <a:pt x="202679" y="202674"/>
                        </a:lnTo>
                        <a:lnTo>
                          <a:pt x="202679" y="20287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84"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grpSp>
        <p:nvGrpSpPr>
          <p:cNvPr id="24" name="Group 23"/>
          <p:cNvGrpSpPr/>
          <p:nvPr/>
        </p:nvGrpSpPr>
        <p:grpSpPr>
          <a:xfrm>
            <a:off x="579439" y="5417688"/>
            <a:ext cx="5618161" cy="916625"/>
            <a:chOff x="579438" y="5417688"/>
            <a:chExt cx="5618161" cy="916625"/>
          </a:xfrm>
        </p:grpSpPr>
        <p:sp>
          <p:nvSpPr>
            <p:cNvPr id="347" name="Rectangle 346"/>
            <p:cNvSpPr/>
            <p:nvPr/>
          </p:nvSpPr>
          <p:spPr bwMode="auto">
            <a:xfrm>
              <a:off x="579438" y="5417688"/>
              <a:ext cx="5618161" cy="91662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dirty="0">
                  <a:ln>
                    <a:noFill/>
                  </a:ln>
                  <a:solidFill>
                    <a:srgbClr val="505050"/>
                  </a:solidFill>
                  <a:effectLst/>
                  <a:uLnTx/>
                  <a:uFillTx/>
                  <a:latin typeface="Segoe UI"/>
                  <a:ea typeface="+mn-ea"/>
                  <a:cs typeface="+mn-cs"/>
                </a:rPr>
                <a:t>Access on-premises resources when needed.</a:t>
              </a:r>
            </a:p>
          </p:txBody>
        </p:sp>
        <p:grpSp>
          <p:nvGrpSpPr>
            <p:cNvPr id="362" name="Group 361"/>
            <p:cNvGrpSpPr/>
            <p:nvPr/>
          </p:nvGrpSpPr>
          <p:grpSpPr>
            <a:xfrm>
              <a:off x="579439" y="5419913"/>
              <a:ext cx="263630" cy="914400"/>
              <a:chOff x="579439" y="2453194"/>
              <a:chExt cx="263630" cy="914400"/>
            </a:xfrm>
          </p:grpSpPr>
          <p:sp>
            <p:nvSpPr>
              <p:cNvPr id="363" name="Rectangle 362"/>
              <p:cNvSpPr/>
              <p:nvPr/>
            </p:nvSpPr>
            <p:spPr bwMode="auto">
              <a:xfrm rot="5400000">
                <a:off x="154243" y="2878390"/>
                <a:ext cx="914400" cy="64008"/>
              </a:xfrm>
              <a:prstGeom prst="rect">
                <a:avLst/>
              </a:prstGeom>
              <a:solidFill>
                <a:schemeClr val="accent5"/>
              </a:solidFill>
              <a:ln w="31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4289" marR="0" lvl="0" indent="0" algn="l" defTabSz="932193" rtl="0" eaLnBrk="1" fontAlgn="auto" latinLnBrk="0" hangingPunct="1">
                  <a:lnSpc>
                    <a:spcPct val="100000"/>
                  </a:lnSpc>
                  <a:spcBef>
                    <a:spcPts val="60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364" name="Group 363"/>
              <p:cNvGrpSpPr/>
              <p:nvPr/>
            </p:nvGrpSpPr>
            <p:grpSpPr>
              <a:xfrm rot="16200000">
                <a:off x="534454" y="2788567"/>
                <a:ext cx="373576" cy="243655"/>
                <a:chOff x="1489931" y="3087745"/>
                <a:chExt cx="373576" cy="243655"/>
              </a:xfrm>
            </p:grpSpPr>
            <p:sp>
              <p:nvSpPr>
                <p:cNvPr id="365" name="Isosceles Triangle 364"/>
                <p:cNvSpPr/>
                <p:nvPr/>
              </p:nvSpPr>
              <p:spPr bwMode="auto">
                <a:xfrm rot="10800000">
                  <a:off x="1489931" y="3133472"/>
                  <a:ext cx="373576" cy="197928"/>
                </a:xfrm>
                <a:prstGeom prst="triangle">
                  <a:avLst/>
                </a:prstGeom>
                <a:solidFill>
                  <a:schemeClr val="accent5"/>
                </a:solidFill>
                <a:ln>
                  <a:noFill/>
                </a:ln>
              </p:spPr>
              <p:txBody>
                <a:bodyPr vert="horz" wrap="square" lIns="137160" tIns="91440" rIns="137160" bIns="91440" rtlCol="0" anchor="ctr">
                  <a:noAutofit/>
                </a:bodyPr>
                <a:lstStyle/>
                <a:p>
                  <a:pPr marL="342868" marR="0" lvl="0" indent="-342868" algn="l" defTabSz="914400"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4000" b="0" i="0" u="none" strike="noStrike" kern="0" cap="none" spc="0" normalizeH="0" baseline="0" noProof="0" dirty="0" err="1">
                    <a:ln>
                      <a:noFill/>
                    </a:ln>
                    <a:solidFill>
                      <a:srgbClr val="505050"/>
                    </a:solidFill>
                    <a:effectLst/>
                    <a:uLnTx/>
                    <a:uFillTx/>
                    <a:latin typeface="Segoe UI Light"/>
                    <a:ea typeface="+mn-ea"/>
                    <a:cs typeface="+mn-cs"/>
                  </a:endParaRPr>
                </a:p>
              </p:txBody>
            </p:sp>
            <p:grpSp>
              <p:nvGrpSpPr>
                <p:cNvPr id="366" name="Group 365"/>
                <p:cNvGrpSpPr/>
                <p:nvPr/>
              </p:nvGrpSpPr>
              <p:grpSpPr>
                <a:xfrm>
                  <a:off x="1616383" y="3087745"/>
                  <a:ext cx="120672" cy="165145"/>
                  <a:chOff x="4566931" y="2464595"/>
                  <a:chExt cx="286063" cy="391495"/>
                </a:xfrm>
                <a:solidFill>
                  <a:schemeClr val="bg1"/>
                </a:solidFill>
              </p:grpSpPr>
              <p:sp>
                <p:nvSpPr>
                  <p:cNvPr id="367" name="Rectangle 366"/>
                  <p:cNvSpPr/>
                  <p:nvPr/>
                </p:nvSpPr>
                <p:spPr>
                  <a:xfrm rot="16200000" flipH="1">
                    <a:off x="4543638" y="2581043"/>
                    <a:ext cx="332648" cy="99752"/>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8" name="Freeform 367"/>
                  <p:cNvSpPr/>
                  <p:nvPr/>
                </p:nvSpPr>
                <p:spPr bwMode="auto">
                  <a:xfrm rot="18900000" flipH="1">
                    <a:off x="4566931" y="2570030"/>
                    <a:ext cx="286063" cy="286060"/>
                  </a:xfrm>
                  <a:custGeom>
                    <a:avLst/>
                    <a:gdLst>
                      <a:gd name="connsiteX0" fmla="*/ 0 w 286063"/>
                      <a:gd name="connsiteY0" fmla="*/ 202874 h 286060"/>
                      <a:gd name="connsiteX1" fmla="*/ 0 w 286063"/>
                      <a:gd name="connsiteY1" fmla="*/ 286060 h 286060"/>
                      <a:gd name="connsiteX2" fmla="*/ 285865 w 286063"/>
                      <a:gd name="connsiteY2" fmla="*/ 286060 h 286060"/>
                      <a:gd name="connsiteX3" fmla="*/ 285865 w 286063"/>
                      <a:gd name="connsiteY3" fmla="*/ 285860 h 286060"/>
                      <a:gd name="connsiteX4" fmla="*/ 286063 w 286063"/>
                      <a:gd name="connsiteY4" fmla="*/ 285861 h 286060"/>
                      <a:gd name="connsiteX5" fmla="*/ 286063 w 286063"/>
                      <a:gd name="connsiteY5" fmla="*/ 0 h 286060"/>
                      <a:gd name="connsiteX6" fmla="*/ 202877 w 286063"/>
                      <a:gd name="connsiteY6" fmla="*/ 0 h 286060"/>
                      <a:gd name="connsiteX7" fmla="*/ 202877 w 286063"/>
                      <a:gd name="connsiteY7" fmla="*/ 202674 h 286060"/>
                      <a:gd name="connsiteX8" fmla="*/ 202679 w 286063"/>
                      <a:gd name="connsiteY8" fmla="*/ 202674 h 286060"/>
                      <a:gd name="connsiteX9" fmla="*/ 202679 w 286063"/>
                      <a:gd name="connsiteY9" fmla="*/ 202874 h 28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063" h="286060">
                        <a:moveTo>
                          <a:pt x="0" y="202874"/>
                        </a:moveTo>
                        <a:lnTo>
                          <a:pt x="0" y="286060"/>
                        </a:lnTo>
                        <a:lnTo>
                          <a:pt x="285865" y="286060"/>
                        </a:lnTo>
                        <a:lnTo>
                          <a:pt x="285865" y="285860"/>
                        </a:lnTo>
                        <a:lnTo>
                          <a:pt x="286063" y="285861"/>
                        </a:lnTo>
                        <a:lnTo>
                          <a:pt x="286063" y="0"/>
                        </a:lnTo>
                        <a:lnTo>
                          <a:pt x="202877" y="0"/>
                        </a:lnTo>
                        <a:lnTo>
                          <a:pt x="202877" y="202674"/>
                        </a:lnTo>
                        <a:lnTo>
                          <a:pt x="202679" y="202674"/>
                        </a:lnTo>
                        <a:lnTo>
                          <a:pt x="202679" y="20287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84"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sp>
        <p:nvSpPr>
          <p:cNvPr id="370" name="Rectangle 369"/>
          <p:cNvSpPr/>
          <p:nvPr/>
        </p:nvSpPr>
        <p:spPr bwMode="auto">
          <a:xfrm>
            <a:off x="1" y="1414419"/>
            <a:ext cx="567523" cy="509274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marL="0" marR="0" lvl="0" indent="0" algn="ctr" defTabSz="932384" rtl="0"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71" name="Group 370"/>
          <p:cNvGrpSpPr/>
          <p:nvPr/>
        </p:nvGrpSpPr>
        <p:grpSpPr>
          <a:xfrm>
            <a:off x="6276928" y="1414419"/>
            <a:ext cx="5577840" cy="4919894"/>
            <a:chOff x="6276927" y="1414419"/>
            <a:chExt cx="5577840" cy="4919894"/>
          </a:xfrm>
        </p:grpSpPr>
        <p:sp>
          <p:nvSpPr>
            <p:cNvPr id="372" name="Rectangle 371"/>
            <p:cNvSpPr/>
            <p:nvPr/>
          </p:nvSpPr>
          <p:spPr bwMode="auto">
            <a:xfrm>
              <a:off x="6276927" y="1414419"/>
              <a:ext cx="5577840" cy="4919894"/>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3" tIns="146234" rIns="182793" bIns="146234" numCol="1" spcCol="0" rtlCol="0" fromWordArt="0" anchor="t" anchorCtr="0" forceAA="0" compatLnSpc="1">
              <a:prstTxWarp prst="textNoShape">
                <a:avLst/>
              </a:prstTxWarp>
              <a:noAutofit/>
            </a:bodyPr>
            <a:lstStyle/>
            <a:p>
              <a:pPr marL="0" marR="0" lvl="0" indent="0" algn="ctr" defTabSz="931939"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73" name="Group 372"/>
            <p:cNvGrpSpPr/>
            <p:nvPr/>
          </p:nvGrpSpPr>
          <p:grpSpPr>
            <a:xfrm>
              <a:off x="6415961" y="1693428"/>
              <a:ext cx="5299772" cy="4361876"/>
              <a:chOff x="6460567" y="1672714"/>
              <a:chExt cx="5299772" cy="4361876"/>
            </a:xfrm>
          </p:grpSpPr>
          <p:grpSp>
            <p:nvGrpSpPr>
              <p:cNvPr id="374" name="Group 373"/>
              <p:cNvGrpSpPr/>
              <p:nvPr/>
            </p:nvGrpSpPr>
            <p:grpSpPr>
              <a:xfrm>
                <a:off x="10659869" y="3293840"/>
                <a:ext cx="1100470" cy="1107405"/>
                <a:chOff x="10659869" y="3293840"/>
                <a:chExt cx="1100470" cy="1107405"/>
              </a:xfrm>
            </p:grpSpPr>
            <p:sp>
              <p:nvSpPr>
                <p:cNvPr id="404" name="Rectangle 403"/>
                <p:cNvSpPr/>
                <p:nvPr/>
              </p:nvSpPr>
              <p:spPr>
                <a:xfrm>
                  <a:off x="10659869" y="4118732"/>
                  <a:ext cx="1100470" cy="282513"/>
                </a:xfrm>
                <a:prstGeom prst="rect">
                  <a:avLst/>
                </a:prstGeom>
              </p:spPr>
              <p:txBody>
                <a:bodyPr wrap="square" anchor="ctr">
                  <a:spAutoFit/>
                </a:bodyPr>
                <a:lstStyle/>
                <a:p>
                  <a:pPr marL="0" marR="0" lvl="0" indent="0" algn="ctr" defTabSz="932207"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mn-cs"/>
                    </a:rPr>
                    <a:t>Refine</a:t>
                  </a:r>
                </a:p>
              </p:txBody>
            </p:sp>
            <p:sp>
              <p:nvSpPr>
                <p:cNvPr id="405" name="Rounded Rectangle 26"/>
                <p:cNvSpPr/>
                <p:nvPr/>
              </p:nvSpPr>
              <p:spPr bwMode="auto">
                <a:xfrm>
                  <a:off x="10710032" y="3293840"/>
                  <a:ext cx="1000144" cy="815908"/>
                </a:xfrm>
                <a:custGeom>
                  <a:avLst/>
                  <a:gdLst/>
                  <a:ahLst/>
                  <a:cxnLst/>
                  <a:rect l="l" t="t" r="r" b="b"/>
                  <a:pathLst>
                    <a:path w="1220522" h="964681">
                      <a:moveTo>
                        <a:pt x="559258" y="386372"/>
                      </a:moveTo>
                      <a:cubicBezTo>
                        <a:pt x="562047" y="386397"/>
                        <a:pt x="565124" y="386617"/>
                        <a:pt x="567855" y="386565"/>
                      </a:cubicBezTo>
                      <a:lnTo>
                        <a:pt x="800288" y="386565"/>
                      </a:lnTo>
                      <a:cubicBezTo>
                        <a:pt x="823984" y="384504"/>
                        <a:pt x="830372" y="396044"/>
                        <a:pt x="828724" y="413765"/>
                      </a:cubicBezTo>
                      <a:lnTo>
                        <a:pt x="828724" y="647434"/>
                      </a:lnTo>
                      <a:lnTo>
                        <a:pt x="827246" y="662808"/>
                      </a:lnTo>
                      <a:cubicBezTo>
                        <a:pt x="825751" y="665144"/>
                        <a:pt x="823485" y="665125"/>
                        <a:pt x="821141" y="664056"/>
                      </a:cubicBezTo>
                      <a:lnTo>
                        <a:pt x="779726" y="623057"/>
                      </a:lnTo>
                      <a:cubicBezTo>
                        <a:pt x="769820" y="613250"/>
                        <a:pt x="753840" y="613330"/>
                        <a:pt x="744033" y="623236"/>
                      </a:cubicBezTo>
                      <a:lnTo>
                        <a:pt x="586701" y="782164"/>
                      </a:lnTo>
                      <a:cubicBezTo>
                        <a:pt x="576534" y="788645"/>
                        <a:pt x="568273" y="785413"/>
                        <a:pt x="545600" y="764887"/>
                      </a:cubicBezTo>
                      <a:lnTo>
                        <a:pt x="441747" y="661034"/>
                      </a:lnTo>
                      <a:cubicBezTo>
                        <a:pt x="433059" y="649954"/>
                        <a:pt x="426448" y="641643"/>
                        <a:pt x="429639" y="631905"/>
                      </a:cubicBezTo>
                      <a:lnTo>
                        <a:pt x="493177" y="567132"/>
                      </a:lnTo>
                      <a:lnTo>
                        <a:pt x="585163" y="476818"/>
                      </a:lnTo>
                      <a:cubicBezTo>
                        <a:pt x="589458" y="471052"/>
                        <a:pt x="592339" y="466235"/>
                        <a:pt x="593970" y="462072"/>
                      </a:cubicBezTo>
                      <a:cubicBezTo>
                        <a:pt x="594660" y="461336"/>
                        <a:pt x="595025" y="460451"/>
                        <a:pt x="595168" y="459492"/>
                      </a:cubicBezTo>
                      <a:cubicBezTo>
                        <a:pt x="596240" y="456608"/>
                        <a:pt x="596681" y="454116"/>
                        <a:pt x="596565" y="451928"/>
                      </a:cubicBezTo>
                      <a:cubicBezTo>
                        <a:pt x="596760" y="450714"/>
                        <a:pt x="596705" y="449495"/>
                        <a:pt x="596187" y="448327"/>
                      </a:cubicBezTo>
                      <a:cubicBezTo>
                        <a:pt x="596211" y="448107"/>
                        <a:pt x="596157" y="447908"/>
                        <a:pt x="596063" y="447722"/>
                      </a:cubicBezTo>
                      <a:cubicBezTo>
                        <a:pt x="595725" y="442366"/>
                        <a:pt x="593286" y="437267"/>
                        <a:pt x="589171" y="433231"/>
                      </a:cubicBezTo>
                      <a:lnTo>
                        <a:pt x="559042" y="403676"/>
                      </a:lnTo>
                      <a:lnTo>
                        <a:pt x="550829" y="389095"/>
                      </a:lnTo>
                      <a:cubicBezTo>
                        <a:pt x="551574" y="386726"/>
                        <a:pt x="555092" y="386333"/>
                        <a:pt x="559258" y="386372"/>
                      </a:cubicBezTo>
                      <a:close/>
                      <a:moveTo>
                        <a:pt x="60829" y="232763"/>
                      </a:moveTo>
                      <a:lnTo>
                        <a:pt x="60829" y="903358"/>
                      </a:lnTo>
                      <a:lnTo>
                        <a:pt x="1154748" y="903358"/>
                      </a:lnTo>
                      <a:lnTo>
                        <a:pt x="1154748" y="232763"/>
                      </a:lnTo>
                      <a:close/>
                      <a:moveTo>
                        <a:pt x="55440" y="173418"/>
                      </a:moveTo>
                      <a:lnTo>
                        <a:pt x="1166071" y="173418"/>
                      </a:lnTo>
                      <a:cubicBezTo>
                        <a:pt x="1195871" y="173418"/>
                        <a:pt x="1220027" y="197575"/>
                        <a:pt x="1220027" y="227375"/>
                      </a:cubicBezTo>
                      <a:lnTo>
                        <a:pt x="1220027" y="910725"/>
                      </a:lnTo>
                      <a:cubicBezTo>
                        <a:pt x="1220027" y="940524"/>
                        <a:pt x="1195871" y="964681"/>
                        <a:pt x="1166071" y="964681"/>
                      </a:cubicBezTo>
                      <a:lnTo>
                        <a:pt x="55440" y="964681"/>
                      </a:lnTo>
                      <a:cubicBezTo>
                        <a:pt x="25641" y="964681"/>
                        <a:pt x="1484" y="940524"/>
                        <a:pt x="1484" y="910725"/>
                      </a:cubicBezTo>
                      <a:lnTo>
                        <a:pt x="1484" y="227375"/>
                      </a:lnTo>
                      <a:cubicBezTo>
                        <a:pt x="1484" y="197575"/>
                        <a:pt x="25641" y="173418"/>
                        <a:pt x="55440" y="173418"/>
                      </a:cubicBezTo>
                      <a:close/>
                      <a:moveTo>
                        <a:pt x="926601" y="75829"/>
                      </a:moveTo>
                      <a:lnTo>
                        <a:pt x="926601" y="82951"/>
                      </a:lnTo>
                      <a:lnTo>
                        <a:pt x="974077" y="82951"/>
                      </a:lnTo>
                      <a:lnTo>
                        <a:pt x="974077" y="75829"/>
                      </a:lnTo>
                      <a:close/>
                      <a:moveTo>
                        <a:pt x="1011167" y="42530"/>
                      </a:moveTo>
                      <a:lnTo>
                        <a:pt x="1049412" y="42530"/>
                      </a:lnTo>
                      <a:lnTo>
                        <a:pt x="1049412" y="80775"/>
                      </a:lnTo>
                      <a:lnTo>
                        <a:pt x="1011167" y="80775"/>
                      </a:lnTo>
                      <a:close/>
                      <a:moveTo>
                        <a:pt x="1006552" y="37915"/>
                      </a:moveTo>
                      <a:lnTo>
                        <a:pt x="1006552" y="85390"/>
                      </a:lnTo>
                      <a:lnTo>
                        <a:pt x="1054027" y="85390"/>
                      </a:lnTo>
                      <a:lnTo>
                        <a:pt x="1054027" y="37915"/>
                      </a:lnTo>
                      <a:close/>
                      <a:moveTo>
                        <a:pt x="1098521" y="37176"/>
                      </a:moveTo>
                      <a:lnTo>
                        <a:pt x="1092165" y="44484"/>
                      </a:lnTo>
                      <a:lnTo>
                        <a:pt x="1112093" y="61817"/>
                      </a:lnTo>
                      <a:lnTo>
                        <a:pt x="1092165" y="79151"/>
                      </a:lnTo>
                      <a:lnTo>
                        <a:pt x="1098521" y="86458"/>
                      </a:lnTo>
                      <a:lnTo>
                        <a:pt x="1119471" y="68235"/>
                      </a:lnTo>
                      <a:lnTo>
                        <a:pt x="1140422" y="86458"/>
                      </a:lnTo>
                      <a:lnTo>
                        <a:pt x="1146778" y="79151"/>
                      </a:lnTo>
                      <a:lnTo>
                        <a:pt x="1126850" y="61817"/>
                      </a:lnTo>
                      <a:lnTo>
                        <a:pt x="1146778" y="44484"/>
                      </a:lnTo>
                      <a:lnTo>
                        <a:pt x="1140422" y="37176"/>
                      </a:lnTo>
                      <a:lnTo>
                        <a:pt x="1119471" y="55399"/>
                      </a:lnTo>
                      <a:close/>
                      <a:moveTo>
                        <a:pt x="52157" y="0"/>
                      </a:moveTo>
                      <a:lnTo>
                        <a:pt x="68906" y="0"/>
                      </a:lnTo>
                      <a:lnTo>
                        <a:pt x="1168365" y="0"/>
                      </a:lnTo>
                      <a:cubicBezTo>
                        <a:pt x="1197171" y="0"/>
                        <a:pt x="1220522" y="23351"/>
                        <a:pt x="1220522" y="52157"/>
                      </a:cubicBezTo>
                      <a:lnTo>
                        <a:pt x="1220522" y="123899"/>
                      </a:lnTo>
                      <a:cubicBezTo>
                        <a:pt x="1220522" y="130737"/>
                        <a:pt x="1219206" y="137268"/>
                        <a:pt x="1216729" y="143217"/>
                      </a:cubicBezTo>
                      <a:cubicBezTo>
                        <a:pt x="1207843" y="130493"/>
                        <a:pt x="1192977" y="122646"/>
                        <a:pt x="1176278" y="122646"/>
                      </a:cubicBezTo>
                      <a:lnTo>
                        <a:pt x="40741" y="123058"/>
                      </a:lnTo>
                      <a:cubicBezTo>
                        <a:pt x="27573" y="121821"/>
                        <a:pt x="11108" y="123882"/>
                        <a:pt x="1237" y="132948"/>
                      </a:cubicBezTo>
                      <a:cubicBezTo>
                        <a:pt x="824" y="106018"/>
                        <a:pt x="412" y="79087"/>
                        <a:pt x="0" y="52157"/>
                      </a:cubicBezTo>
                      <a:cubicBezTo>
                        <a:pt x="0" y="48556"/>
                        <a:pt x="365" y="45040"/>
                        <a:pt x="1060" y="41645"/>
                      </a:cubicBezTo>
                      <a:cubicBezTo>
                        <a:pt x="1755" y="38250"/>
                        <a:pt x="2779" y="34975"/>
                        <a:pt x="4099" y="31855"/>
                      </a:cubicBezTo>
                      <a:cubicBezTo>
                        <a:pt x="6738" y="25615"/>
                        <a:pt x="10557" y="19996"/>
                        <a:pt x="15277" y="15276"/>
                      </a:cubicBezTo>
                      <a:cubicBezTo>
                        <a:pt x="19996" y="10557"/>
                        <a:pt x="25615" y="6738"/>
                        <a:pt x="31855" y="4099"/>
                      </a:cubicBezTo>
                      <a:cubicBezTo>
                        <a:pt x="34975" y="2779"/>
                        <a:pt x="38250" y="1754"/>
                        <a:pt x="41645" y="1060"/>
                      </a:cubicBezTo>
                      <a:cubicBezTo>
                        <a:pt x="45041" y="365"/>
                        <a:pt x="48556" y="0"/>
                        <a:pt x="52157" y="0"/>
                      </a:cubicBezTo>
                      <a:close/>
                    </a:path>
                  </a:pathLst>
                </a:custGeom>
                <a:solidFill>
                  <a:schemeClr val="bg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solidFill>
                        <a:srgbClr val="FFFFFF">
                          <a:alpha val="0"/>
                        </a:srgbClr>
                      </a:solidFill>
                    </a:ln>
                    <a:solidFill>
                      <a:srgbClr val="DC3C00"/>
                    </a:solidFill>
                    <a:effectLst/>
                    <a:uLnTx/>
                    <a:uFillTx/>
                    <a:latin typeface="Segoe UI"/>
                    <a:ea typeface="Segoe UI" pitchFamily="34" charset="0"/>
                    <a:cs typeface="Segoe UI" pitchFamily="34" charset="0"/>
                  </a:endParaRPr>
                </a:p>
              </p:txBody>
            </p:sp>
          </p:grpSp>
          <p:grpSp>
            <p:nvGrpSpPr>
              <p:cNvPr id="375" name="Group 374"/>
              <p:cNvGrpSpPr/>
              <p:nvPr/>
            </p:nvGrpSpPr>
            <p:grpSpPr>
              <a:xfrm>
                <a:off x="6460567" y="3293840"/>
                <a:ext cx="1008772" cy="1107405"/>
                <a:chOff x="6460567" y="3293840"/>
                <a:chExt cx="1008772" cy="1107405"/>
              </a:xfrm>
              <a:solidFill>
                <a:schemeClr val="bg1">
                  <a:lumMod val="50000"/>
                </a:schemeClr>
              </a:solidFill>
            </p:grpSpPr>
            <p:sp>
              <p:nvSpPr>
                <p:cNvPr id="402" name="Rectangle 401"/>
                <p:cNvSpPr/>
                <p:nvPr/>
              </p:nvSpPr>
              <p:spPr>
                <a:xfrm>
                  <a:off x="6460567" y="4118732"/>
                  <a:ext cx="1008772" cy="282513"/>
                </a:xfrm>
                <a:prstGeom prst="rect">
                  <a:avLst/>
                </a:prstGeom>
                <a:noFill/>
              </p:spPr>
              <p:txBody>
                <a:bodyPr wrap="square" anchor="ctr">
                  <a:spAutoFit/>
                </a:bodyPr>
                <a:lstStyle/>
                <a:p>
                  <a:pPr marL="0" marR="0" lvl="0" indent="0" algn="ctr" defTabSz="932207"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mn-cs"/>
                    </a:rPr>
                    <a:t>Release</a:t>
                  </a:r>
                </a:p>
              </p:txBody>
            </p:sp>
            <p:sp>
              <p:nvSpPr>
                <p:cNvPr id="403" name="Rounded Rectangle 26"/>
                <p:cNvSpPr/>
                <p:nvPr/>
              </p:nvSpPr>
              <p:spPr bwMode="auto">
                <a:xfrm>
                  <a:off x="6464881" y="3293840"/>
                  <a:ext cx="1000145" cy="815908"/>
                </a:xfrm>
                <a:custGeom>
                  <a:avLst/>
                  <a:gdLst/>
                  <a:ahLst/>
                  <a:cxnLst/>
                  <a:rect l="l" t="t" r="r" b="b"/>
                  <a:pathLst>
                    <a:path w="1220522" h="964681">
                      <a:moveTo>
                        <a:pt x="559258" y="386372"/>
                      </a:moveTo>
                      <a:cubicBezTo>
                        <a:pt x="562047" y="386397"/>
                        <a:pt x="565124" y="386617"/>
                        <a:pt x="567855" y="386565"/>
                      </a:cubicBezTo>
                      <a:lnTo>
                        <a:pt x="800288" y="386565"/>
                      </a:lnTo>
                      <a:cubicBezTo>
                        <a:pt x="823984" y="384504"/>
                        <a:pt x="830372" y="396044"/>
                        <a:pt x="828724" y="413765"/>
                      </a:cubicBezTo>
                      <a:lnTo>
                        <a:pt x="828724" y="647434"/>
                      </a:lnTo>
                      <a:lnTo>
                        <a:pt x="827246" y="662808"/>
                      </a:lnTo>
                      <a:cubicBezTo>
                        <a:pt x="825751" y="665144"/>
                        <a:pt x="823485" y="665125"/>
                        <a:pt x="821141" y="664056"/>
                      </a:cubicBezTo>
                      <a:lnTo>
                        <a:pt x="779726" y="623057"/>
                      </a:lnTo>
                      <a:cubicBezTo>
                        <a:pt x="769820" y="613250"/>
                        <a:pt x="753840" y="613330"/>
                        <a:pt x="744033" y="623236"/>
                      </a:cubicBezTo>
                      <a:lnTo>
                        <a:pt x="586701" y="782164"/>
                      </a:lnTo>
                      <a:cubicBezTo>
                        <a:pt x="576534" y="788645"/>
                        <a:pt x="568273" y="785413"/>
                        <a:pt x="545600" y="764887"/>
                      </a:cubicBezTo>
                      <a:lnTo>
                        <a:pt x="441747" y="661034"/>
                      </a:lnTo>
                      <a:cubicBezTo>
                        <a:pt x="433059" y="649954"/>
                        <a:pt x="426448" y="641643"/>
                        <a:pt x="429639" y="631905"/>
                      </a:cubicBezTo>
                      <a:lnTo>
                        <a:pt x="493177" y="567132"/>
                      </a:lnTo>
                      <a:lnTo>
                        <a:pt x="585163" y="476818"/>
                      </a:lnTo>
                      <a:cubicBezTo>
                        <a:pt x="589458" y="471052"/>
                        <a:pt x="592339" y="466235"/>
                        <a:pt x="593970" y="462072"/>
                      </a:cubicBezTo>
                      <a:cubicBezTo>
                        <a:pt x="594660" y="461336"/>
                        <a:pt x="595025" y="460451"/>
                        <a:pt x="595168" y="459492"/>
                      </a:cubicBezTo>
                      <a:cubicBezTo>
                        <a:pt x="596240" y="456608"/>
                        <a:pt x="596681" y="454116"/>
                        <a:pt x="596565" y="451928"/>
                      </a:cubicBezTo>
                      <a:cubicBezTo>
                        <a:pt x="596760" y="450714"/>
                        <a:pt x="596705" y="449495"/>
                        <a:pt x="596187" y="448327"/>
                      </a:cubicBezTo>
                      <a:cubicBezTo>
                        <a:pt x="596211" y="448107"/>
                        <a:pt x="596157" y="447908"/>
                        <a:pt x="596063" y="447722"/>
                      </a:cubicBezTo>
                      <a:cubicBezTo>
                        <a:pt x="595725" y="442366"/>
                        <a:pt x="593286" y="437267"/>
                        <a:pt x="589171" y="433231"/>
                      </a:cubicBezTo>
                      <a:lnTo>
                        <a:pt x="559042" y="403676"/>
                      </a:lnTo>
                      <a:lnTo>
                        <a:pt x="550829" y="389095"/>
                      </a:lnTo>
                      <a:cubicBezTo>
                        <a:pt x="551574" y="386726"/>
                        <a:pt x="555092" y="386333"/>
                        <a:pt x="559258" y="386372"/>
                      </a:cubicBezTo>
                      <a:close/>
                      <a:moveTo>
                        <a:pt x="60829" y="232763"/>
                      </a:moveTo>
                      <a:lnTo>
                        <a:pt x="60829" y="903358"/>
                      </a:lnTo>
                      <a:lnTo>
                        <a:pt x="1154748" y="903358"/>
                      </a:lnTo>
                      <a:lnTo>
                        <a:pt x="1154748" y="232763"/>
                      </a:lnTo>
                      <a:close/>
                      <a:moveTo>
                        <a:pt x="55440" y="173418"/>
                      </a:moveTo>
                      <a:lnTo>
                        <a:pt x="1166071" y="173418"/>
                      </a:lnTo>
                      <a:cubicBezTo>
                        <a:pt x="1195871" y="173418"/>
                        <a:pt x="1220027" y="197575"/>
                        <a:pt x="1220027" y="227375"/>
                      </a:cubicBezTo>
                      <a:lnTo>
                        <a:pt x="1220027" y="910725"/>
                      </a:lnTo>
                      <a:cubicBezTo>
                        <a:pt x="1220027" y="940524"/>
                        <a:pt x="1195871" y="964681"/>
                        <a:pt x="1166071" y="964681"/>
                      </a:cubicBezTo>
                      <a:lnTo>
                        <a:pt x="55440" y="964681"/>
                      </a:lnTo>
                      <a:cubicBezTo>
                        <a:pt x="25641" y="964681"/>
                        <a:pt x="1484" y="940524"/>
                        <a:pt x="1484" y="910725"/>
                      </a:cubicBezTo>
                      <a:lnTo>
                        <a:pt x="1484" y="227375"/>
                      </a:lnTo>
                      <a:cubicBezTo>
                        <a:pt x="1484" y="197575"/>
                        <a:pt x="25641" y="173418"/>
                        <a:pt x="55440" y="173418"/>
                      </a:cubicBezTo>
                      <a:close/>
                      <a:moveTo>
                        <a:pt x="926601" y="75829"/>
                      </a:moveTo>
                      <a:lnTo>
                        <a:pt x="926601" y="82951"/>
                      </a:lnTo>
                      <a:lnTo>
                        <a:pt x="974077" y="82951"/>
                      </a:lnTo>
                      <a:lnTo>
                        <a:pt x="974077" y="75829"/>
                      </a:lnTo>
                      <a:close/>
                      <a:moveTo>
                        <a:pt x="1011167" y="42530"/>
                      </a:moveTo>
                      <a:lnTo>
                        <a:pt x="1049412" y="42530"/>
                      </a:lnTo>
                      <a:lnTo>
                        <a:pt x="1049412" y="80775"/>
                      </a:lnTo>
                      <a:lnTo>
                        <a:pt x="1011167" y="80775"/>
                      </a:lnTo>
                      <a:close/>
                      <a:moveTo>
                        <a:pt x="1006552" y="37915"/>
                      </a:moveTo>
                      <a:lnTo>
                        <a:pt x="1006552" y="85390"/>
                      </a:lnTo>
                      <a:lnTo>
                        <a:pt x="1054027" y="85390"/>
                      </a:lnTo>
                      <a:lnTo>
                        <a:pt x="1054027" y="37915"/>
                      </a:lnTo>
                      <a:close/>
                      <a:moveTo>
                        <a:pt x="1098521" y="37176"/>
                      </a:moveTo>
                      <a:lnTo>
                        <a:pt x="1092165" y="44484"/>
                      </a:lnTo>
                      <a:lnTo>
                        <a:pt x="1112093" y="61817"/>
                      </a:lnTo>
                      <a:lnTo>
                        <a:pt x="1092165" y="79151"/>
                      </a:lnTo>
                      <a:lnTo>
                        <a:pt x="1098521" y="86458"/>
                      </a:lnTo>
                      <a:lnTo>
                        <a:pt x="1119471" y="68235"/>
                      </a:lnTo>
                      <a:lnTo>
                        <a:pt x="1140422" y="86458"/>
                      </a:lnTo>
                      <a:lnTo>
                        <a:pt x="1146778" y="79151"/>
                      </a:lnTo>
                      <a:lnTo>
                        <a:pt x="1126850" y="61817"/>
                      </a:lnTo>
                      <a:lnTo>
                        <a:pt x="1146778" y="44484"/>
                      </a:lnTo>
                      <a:lnTo>
                        <a:pt x="1140422" y="37176"/>
                      </a:lnTo>
                      <a:lnTo>
                        <a:pt x="1119471" y="55399"/>
                      </a:lnTo>
                      <a:close/>
                      <a:moveTo>
                        <a:pt x="52157" y="0"/>
                      </a:moveTo>
                      <a:lnTo>
                        <a:pt x="68906" y="0"/>
                      </a:lnTo>
                      <a:lnTo>
                        <a:pt x="1168365" y="0"/>
                      </a:lnTo>
                      <a:cubicBezTo>
                        <a:pt x="1197171" y="0"/>
                        <a:pt x="1220522" y="23351"/>
                        <a:pt x="1220522" y="52157"/>
                      </a:cubicBezTo>
                      <a:lnTo>
                        <a:pt x="1220522" y="123899"/>
                      </a:lnTo>
                      <a:cubicBezTo>
                        <a:pt x="1220522" y="130737"/>
                        <a:pt x="1219206" y="137268"/>
                        <a:pt x="1216729" y="143217"/>
                      </a:cubicBezTo>
                      <a:cubicBezTo>
                        <a:pt x="1207843" y="130493"/>
                        <a:pt x="1192977" y="122646"/>
                        <a:pt x="1176278" y="122646"/>
                      </a:cubicBezTo>
                      <a:lnTo>
                        <a:pt x="40741" y="123058"/>
                      </a:lnTo>
                      <a:cubicBezTo>
                        <a:pt x="27573" y="121821"/>
                        <a:pt x="11108" y="123882"/>
                        <a:pt x="1237" y="132948"/>
                      </a:cubicBezTo>
                      <a:cubicBezTo>
                        <a:pt x="824" y="106018"/>
                        <a:pt x="412" y="79087"/>
                        <a:pt x="0" y="52157"/>
                      </a:cubicBezTo>
                      <a:cubicBezTo>
                        <a:pt x="0" y="48556"/>
                        <a:pt x="365" y="45040"/>
                        <a:pt x="1060" y="41645"/>
                      </a:cubicBezTo>
                      <a:cubicBezTo>
                        <a:pt x="1755" y="38250"/>
                        <a:pt x="2779" y="34975"/>
                        <a:pt x="4099" y="31855"/>
                      </a:cubicBezTo>
                      <a:cubicBezTo>
                        <a:pt x="6738" y="25615"/>
                        <a:pt x="10557" y="19996"/>
                        <a:pt x="15277" y="15276"/>
                      </a:cubicBezTo>
                      <a:cubicBezTo>
                        <a:pt x="19996" y="10557"/>
                        <a:pt x="25615" y="6738"/>
                        <a:pt x="31855" y="4099"/>
                      </a:cubicBezTo>
                      <a:cubicBezTo>
                        <a:pt x="34975" y="2779"/>
                        <a:pt x="38250" y="1754"/>
                        <a:pt x="41645" y="1060"/>
                      </a:cubicBezTo>
                      <a:cubicBezTo>
                        <a:pt x="45041" y="365"/>
                        <a:pt x="48556" y="0"/>
                        <a:pt x="52157" y="0"/>
                      </a:cubicBezTo>
                      <a:close/>
                    </a:path>
                  </a:pathLst>
                </a:custGeom>
                <a:solidFill>
                  <a:schemeClr val="bg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solidFill>
                        <a:srgbClr val="FFFFFF">
                          <a:alpha val="0"/>
                        </a:srgbClr>
                      </a:solidFill>
                    </a:ln>
                    <a:solidFill>
                      <a:srgbClr val="DC3C00"/>
                    </a:solidFill>
                    <a:effectLst/>
                    <a:uLnTx/>
                    <a:uFillTx/>
                    <a:latin typeface="Segoe UI"/>
                    <a:ea typeface="Segoe UI" pitchFamily="34" charset="0"/>
                    <a:cs typeface="Segoe UI" pitchFamily="34" charset="0"/>
                  </a:endParaRPr>
                </a:p>
              </p:txBody>
            </p:sp>
          </p:grpSp>
          <p:sp>
            <p:nvSpPr>
              <p:cNvPr id="376" name="Rectangle 32"/>
              <p:cNvSpPr>
                <a:spLocks noChangeAspect="1"/>
              </p:cNvSpPr>
              <p:nvPr/>
            </p:nvSpPr>
            <p:spPr bwMode="auto">
              <a:xfrm rot="5163044">
                <a:off x="10275075" y="2205243"/>
                <a:ext cx="769589" cy="920752"/>
              </a:xfrm>
              <a:custGeom>
                <a:avLst/>
                <a:gdLst>
                  <a:gd name="connsiteX0" fmla="*/ 2649803 w 3501451"/>
                  <a:gd name="connsiteY0" fmla="*/ 0 h 4011326"/>
                  <a:gd name="connsiteX1" fmla="*/ 2667414 w 3501451"/>
                  <a:gd name="connsiteY1" fmla="*/ 0 h 4011326"/>
                  <a:gd name="connsiteX2" fmla="*/ 3501451 w 3501451"/>
                  <a:gd name="connsiteY2" fmla="*/ 602911 h 4011326"/>
                  <a:gd name="connsiteX3" fmla="*/ 2829043 w 3501451"/>
                  <a:gd name="connsiteY3" fmla="*/ 1526567 h 4011326"/>
                  <a:gd name="connsiteX4" fmla="*/ 2783825 w 3501451"/>
                  <a:gd name="connsiteY4" fmla="*/ 1141448 h 4011326"/>
                  <a:gd name="connsiteX5" fmla="*/ 5166 w 3501451"/>
                  <a:gd name="connsiteY5" fmla="*/ 4011326 h 4011326"/>
                  <a:gd name="connsiteX6" fmla="*/ 608148 w 3501451"/>
                  <a:gd name="connsiteY6" fmla="*/ 2562905 h 4011326"/>
                  <a:gd name="connsiteX7" fmla="*/ 2693387 w 3501451"/>
                  <a:gd name="connsiteY7" fmla="*/ 371208 h 4011326"/>
                  <a:gd name="connsiteX8" fmla="*/ 2649803 w 3501451"/>
                  <a:gd name="connsiteY8" fmla="*/ 0 h 4011326"/>
                  <a:gd name="connsiteX0" fmla="*/ 2649803 w 3501451"/>
                  <a:gd name="connsiteY0" fmla="*/ 0 h 4011326"/>
                  <a:gd name="connsiteX1" fmla="*/ 2667414 w 3501451"/>
                  <a:gd name="connsiteY1" fmla="*/ 0 h 4011326"/>
                  <a:gd name="connsiteX2" fmla="*/ 3501451 w 3501451"/>
                  <a:gd name="connsiteY2" fmla="*/ 602911 h 4011326"/>
                  <a:gd name="connsiteX3" fmla="*/ 2829043 w 3501451"/>
                  <a:gd name="connsiteY3" fmla="*/ 1526567 h 4011326"/>
                  <a:gd name="connsiteX4" fmla="*/ 2783825 w 3501451"/>
                  <a:gd name="connsiteY4" fmla="*/ 1141448 h 4011326"/>
                  <a:gd name="connsiteX5" fmla="*/ 5166 w 3501451"/>
                  <a:gd name="connsiteY5" fmla="*/ 4011326 h 4011326"/>
                  <a:gd name="connsiteX6" fmla="*/ 2693387 w 3501451"/>
                  <a:gd name="connsiteY6" fmla="*/ 371208 h 4011326"/>
                  <a:gd name="connsiteX7" fmla="*/ 2649803 w 3501451"/>
                  <a:gd name="connsiteY7" fmla="*/ 0 h 4011326"/>
                  <a:gd name="connsiteX0" fmla="*/ 2649803 w 3501451"/>
                  <a:gd name="connsiteY0" fmla="*/ 0 h 4011326"/>
                  <a:gd name="connsiteX1" fmla="*/ 2667414 w 3501451"/>
                  <a:gd name="connsiteY1" fmla="*/ 0 h 4011326"/>
                  <a:gd name="connsiteX2" fmla="*/ 3501451 w 3501451"/>
                  <a:gd name="connsiteY2" fmla="*/ 602911 h 4011326"/>
                  <a:gd name="connsiteX3" fmla="*/ 2829043 w 3501451"/>
                  <a:gd name="connsiteY3" fmla="*/ 1526567 h 4011326"/>
                  <a:gd name="connsiteX4" fmla="*/ 2783825 w 3501451"/>
                  <a:gd name="connsiteY4" fmla="*/ 1141448 h 4011326"/>
                  <a:gd name="connsiteX5" fmla="*/ 5166 w 3501451"/>
                  <a:gd name="connsiteY5" fmla="*/ 4011326 h 4011326"/>
                  <a:gd name="connsiteX6" fmla="*/ 2693387 w 3501451"/>
                  <a:gd name="connsiteY6" fmla="*/ 371208 h 4011326"/>
                  <a:gd name="connsiteX7" fmla="*/ 2649803 w 3501451"/>
                  <a:gd name="connsiteY7" fmla="*/ 0 h 4011326"/>
                  <a:gd name="connsiteX0" fmla="*/ 2669558 w 3521206"/>
                  <a:gd name="connsiteY0" fmla="*/ 0 h 4011326"/>
                  <a:gd name="connsiteX1" fmla="*/ 2687169 w 3521206"/>
                  <a:gd name="connsiteY1" fmla="*/ 0 h 4011326"/>
                  <a:gd name="connsiteX2" fmla="*/ 3521206 w 3521206"/>
                  <a:gd name="connsiteY2" fmla="*/ 602911 h 4011326"/>
                  <a:gd name="connsiteX3" fmla="*/ 2848798 w 3521206"/>
                  <a:gd name="connsiteY3" fmla="*/ 1526567 h 4011326"/>
                  <a:gd name="connsiteX4" fmla="*/ 2803580 w 3521206"/>
                  <a:gd name="connsiteY4" fmla="*/ 1141448 h 4011326"/>
                  <a:gd name="connsiteX5" fmla="*/ 24921 w 3521206"/>
                  <a:gd name="connsiteY5" fmla="*/ 4011326 h 4011326"/>
                  <a:gd name="connsiteX6" fmla="*/ 2713142 w 3521206"/>
                  <a:gd name="connsiteY6" fmla="*/ 371208 h 4011326"/>
                  <a:gd name="connsiteX7" fmla="*/ 2669558 w 3521206"/>
                  <a:gd name="connsiteY7" fmla="*/ 0 h 4011326"/>
                  <a:gd name="connsiteX0" fmla="*/ 2669558 w 3521206"/>
                  <a:gd name="connsiteY0" fmla="*/ 0 h 4011326"/>
                  <a:gd name="connsiteX1" fmla="*/ 2687169 w 3521206"/>
                  <a:gd name="connsiteY1" fmla="*/ 0 h 4011326"/>
                  <a:gd name="connsiteX2" fmla="*/ 3521206 w 3521206"/>
                  <a:gd name="connsiteY2" fmla="*/ 602911 h 4011326"/>
                  <a:gd name="connsiteX3" fmla="*/ 2848798 w 3521206"/>
                  <a:gd name="connsiteY3" fmla="*/ 1526567 h 4011326"/>
                  <a:gd name="connsiteX4" fmla="*/ 2803580 w 3521206"/>
                  <a:gd name="connsiteY4" fmla="*/ 1141448 h 4011326"/>
                  <a:gd name="connsiteX5" fmla="*/ 24921 w 3521206"/>
                  <a:gd name="connsiteY5" fmla="*/ 4011326 h 4011326"/>
                  <a:gd name="connsiteX6" fmla="*/ 2713142 w 3521206"/>
                  <a:gd name="connsiteY6" fmla="*/ 371208 h 4011326"/>
                  <a:gd name="connsiteX7" fmla="*/ 2669558 w 3521206"/>
                  <a:gd name="connsiteY7" fmla="*/ 0 h 4011326"/>
                  <a:gd name="connsiteX0" fmla="*/ 2729985 w 3581633"/>
                  <a:gd name="connsiteY0" fmla="*/ 0 h 4011326"/>
                  <a:gd name="connsiteX1" fmla="*/ 2747596 w 3581633"/>
                  <a:gd name="connsiteY1" fmla="*/ 0 h 4011326"/>
                  <a:gd name="connsiteX2" fmla="*/ 3581633 w 3581633"/>
                  <a:gd name="connsiteY2" fmla="*/ 602911 h 4011326"/>
                  <a:gd name="connsiteX3" fmla="*/ 2909225 w 3581633"/>
                  <a:gd name="connsiteY3" fmla="*/ 1526567 h 4011326"/>
                  <a:gd name="connsiteX4" fmla="*/ 2864007 w 3581633"/>
                  <a:gd name="connsiteY4" fmla="*/ 1141448 h 4011326"/>
                  <a:gd name="connsiteX5" fmla="*/ 85348 w 3581633"/>
                  <a:gd name="connsiteY5" fmla="*/ 4011326 h 4011326"/>
                  <a:gd name="connsiteX6" fmla="*/ 2773569 w 3581633"/>
                  <a:gd name="connsiteY6" fmla="*/ 371208 h 4011326"/>
                  <a:gd name="connsiteX7" fmla="*/ 2729985 w 3581633"/>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3876039 w 4727687"/>
                  <a:gd name="connsiteY0" fmla="*/ 0 h 4842753"/>
                  <a:gd name="connsiteX1" fmla="*/ 3893650 w 4727687"/>
                  <a:gd name="connsiteY1" fmla="*/ 0 h 4842753"/>
                  <a:gd name="connsiteX2" fmla="*/ 4727687 w 4727687"/>
                  <a:gd name="connsiteY2" fmla="*/ 602911 h 4842753"/>
                  <a:gd name="connsiteX3" fmla="*/ 4055279 w 4727687"/>
                  <a:gd name="connsiteY3" fmla="*/ 1526567 h 4842753"/>
                  <a:gd name="connsiteX4" fmla="*/ 4010061 w 4727687"/>
                  <a:gd name="connsiteY4" fmla="*/ 1141448 h 4842753"/>
                  <a:gd name="connsiteX5" fmla="*/ 39356 w 4727687"/>
                  <a:gd name="connsiteY5" fmla="*/ 4842753 h 4842753"/>
                  <a:gd name="connsiteX6" fmla="*/ 3919623 w 4727687"/>
                  <a:gd name="connsiteY6" fmla="*/ 371208 h 4842753"/>
                  <a:gd name="connsiteX7" fmla="*/ 3876039 w 4727687"/>
                  <a:gd name="connsiteY7" fmla="*/ 0 h 4842753"/>
                  <a:gd name="connsiteX0" fmla="*/ 3876040 w 4727688"/>
                  <a:gd name="connsiteY0" fmla="*/ 0 h 4842753"/>
                  <a:gd name="connsiteX1" fmla="*/ 3893651 w 4727688"/>
                  <a:gd name="connsiteY1" fmla="*/ 0 h 4842753"/>
                  <a:gd name="connsiteX2" fmla="*/ 4727688 w 4727688"/>
                  <a:gd name="connsiteY2" fmla="*/ 602911 h 4842753"/>
                  <a:gd name="connsiteX3" fmla="*/ 4055280 w 4727688"/>
                  <a:gd name="connsiteY3" fmla="*/ 1526567 h 4842753"/>
                  <a:gd name="connsiteX4" fmla="*/ 4010062 w 4727688"/>
                  <a:gd name="connsiteY4" fmla="*/ 1141448 h 4842753"/>
                  <a:gd name="connsiteX5" fmla="*/ 39357 w 4727688"/>
                  <a:gd name="connsiteY5" fmla="*/ 4842753 h 4842753"/>
                  <a:gd name="connsiteX6" fmla="*/ 3919624 w 4727688"/>
                  <a:gd name="connsiteY6" fmla="*/ 371208 h 4842753"/>
                  <a:gd name="connsiteX7" fmla="*/ 3876040 w 4727688"/>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4394580 w 5246228"/>
                  <a:gd name="connsiteY0" fmla="*/ 0 h 5634111"/>
                  <a:gd name="connsiteX1" fmla="*/ 4412191 w 5246228"/>
                  <a:gd name="connsiteY1" fmla="*/ 0 h 5634111"/>
                  <a:gd name="connsiteX2" fmla="*/ 5246228 w 5246228"/>
                  <a:gd name="connsiteY2" fmla="*/ 602911 h 5634111"/>
                  <a:gd name="connsiteX3" fmla="*/ 4573820 w 5246228"/>
                  <a:gd name="connsiteY3" fmla="*/ 1526567 h 5634111"/>
                  <a:gd name="connsiteX4" fmla="*/ 4528602 w 5246228"/>
                  <a:gd name="connsiteY4" fmla="*/ 1141448 h 5634111"/>
                  <a:gd name="connsiteX5" fmla="*/ 16969 w 5246228"/>
                  <a:gd name="connsiteY5" fmla="*/ 5634111 h 5634111"/>
                  <a:gd name="connsiteX6" fmla="*/ 4438164 w 5246228"/>
                  <a:gd name="connsiteY6" fmla="*/ 371208 h 5634111"/>
                  <a:gd name="connsiteX7" fmla="*/ 4394580 w 5246228"/>
                  <a:gd name="connsiteY7" fmla="*/ 0 h 5634111"/>
                  <a:gd name="connsiteX0" fmla="*/ 4394580 w 5246228"/>
                  <a:gd name="connsiteY0" fmla="*/ 0 h 5634111"/>
                  <a:gd name="connsiteX1" fmla="*/ 4412191 w 5246228"/>
                  <a:gd name="connsiteY1" fmla="*/ 0 h 5634111"/>
                  <a:gd name="connsiteX2" fmla="*/ 5246228 w 5246228"/>
                  <a:gd name="connsiteY2" fmla="*/ 602911 h 5634111"/>
                  <a:gd name="connsiteX3" fmla="*/ 4573820 w 5246228"/>
                  <a:gd name="connsiteY3" fmla="*/ 1526567 h 5634111"/>
                  <a:gd name="connsiteX4" fmla="*/ 4528602 w 5246228"/>
                  <a:gd name="connsiteY4" fmla="*/ 1141448 h 5634111"/>
                  <a:gd name="connsiteX5" fmla="*/ 16969 w 5246228"/>
                  <a:gd name="connsiteY5" fmla="*/ 5634111 h 5634111"/>
                  <a:gd name="connsiteX6" fmla="*/ 4438164 w 5246228"/>
                  <a:gd name="connsiteY6" fmla="*/ 371208 h 5634111"/>
                  <a:gd name="connsiteX7" fmla="*/ 4394580 w 5246228"/>
                  <a:gd name="connsiteY7" fmla="*/ 0 h 5634111"/>
                  <a:gd name="connsiteX0" fmla="*/ 4377611 w 5229259"/>
                  <a:gd name="connsiteY0" fmla="*/ 0 h 5634111"/>
                  <a:gd name="connsiteX1" fmla="*/ 4395222 w 5229259"/>
                  <a:gd name="connsiteY1" fmla="*/ 0 h 5634111"/>
                  <a:gd name="connsiteX2" fmla="*/ 5229259 w 5229259"/>
                  <a:gd name="connsiteY2" fmla="*/ 602911 h 5634111"/>
                  <a:gd name="connsiteX3" fmla="*/ 4556851 w 5229259"/>
                  <a:gd name="connsiteY3" fmla="*/ 1526567 h 5634111"/>
                  <a:gd name="connsiteX4" fmla="*/ 4511633 w 5229259"/>
                  <a:gd name="connsiteY4" fmla="*/ 1141448 h 5634111"/>
                  <a:gd name="connsiteX5" fmla="*/ 0 w 5229259"/>
                  <a:gd name="connsiteY5" fmla="*/ 5634111 h 5634111"/>
                  <a:gd name="connsiteX6" fmla="*/ 4421195 w 5229259"/>
                  <a:gd name="connsiteY6" fmla="*/ 371208 h 5634111"/>
                  <a:gd name="connsiteX7" fmla="*/ 4377611 w 5229259"/>
                  <a:gd name="connsiteY7" fmla="*/ 0 h 5634111"/>
                  <a:gd name="connsiteX0" fmla="*/ 4377611 w 5229259"/>
                  <a:gd name="connsiteY0" fmla="*/ 0 h 5634111"/>
                  <a:gd name="connsiteX1" fmla="*/ 4395222 w 5229259"/>
                  <a:gd name="connsiteY1" fmla="*/ 0 h 5634111"/>
                  <a:gd name="connsiteX2" fmla="*/ 5229259 w 5229259"/>
                  <a:gd name="connsiteY2" fmla="*/ 602911 h 5634111"/>
                  <a:gd name="connsiteX3" fmla="*/ 4556851 w 5229259"/>
                  <a:gd name="connsiteY3" fmla="*/ 1526567 h 5634111"/>
                  <a:gd name="connsiteX4" fmla="*/ 4511633 w 5229259"/>
                  <a:gd name="connsiteY4" fmla="*/ 1141448 h 5634111"/>
                  <a:gd name="connsiteX5" fmla="*/ 0 w 5229259"/>
                  <a:gd name="connsiteY5" fmla="*/ 5634111 h 5634111"/>
                  <a:gd name="connsiteX6" fmla="*/ 4421195 w 5229259"/>
                  <a:gd name="connsiteY6" fmla="*/ 371208 h 5634111"/>
                  <a:gd name="connsiteX7" fmla="*/ 4377611 w 5229259"/>
                  <a:gd name="connsiteY7" fmla="*/ 0 h 5634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29259" h="5634111">
                    <a:moveTo>
                      <a:pt x="4377611" y="0"/>
                    </a:moveTo>
                    <a:lnTo>
                      <a:pt x="4395222" y="0"/>
                    </a:lnTo>
                    <a:lnTo>
                      <a:pt x="5229259" y="602911"/>
                    </a:lnTo>
                    <a:lnTo>
                      <a:pt x="4556851" y="1526567"/>
                    </a:lnTo>
                    <a:lnTo>
                      <a:pt x="4511633" y="1141448"/>
                    </a:lnTo>
                    <a:cubicBezTo>
                      <a:pt x="3177881" y="1527269"/>
                      <a:pt x="664705" y="2400651"/>
                      <a:pt x="0" y="5634111"/>
                    </a:cubicBezTo>
                    <a:cubicBezTo>
                      <a:pt x="285524" y="2169055"/>
                      <a:pt x="2466010" y="943273"/>
                      <a:pt x="4421195" y="371208"/>
                    </a:cubicBezTo>
                    <a:lnTo>
                      <a:pt x="4377611" y="0"/>
                    </a:lnTo>
                    <a:close/>
                  </a:path>
                </a:pathLst>
              </a:cu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193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endParaRPr>
              </a:p>
            </p:txBody>
          </p:sp>
          <p:sp>
            <p:nvSpPr>
              <p:cNvPr id="377" name="Rectangle 32"/>
              <p:cNvSpPr>
                <a:spLocks noChangeAspect="1"/>
              </p:cNvSpPr>
              <p:nvPr/>
            </p:nvSpPr>
            <p:spPr bwMode="auto">
              <a:xfrm rot="10800000">
                <a:off x="10288439" y="4376908"/>
                <a:ext cx="742861" cy="953881"/>
              </a:xfrm>
              <a:custGeom>
                <a:avLst/>
                <a:gdLst>
                  <a:gd name="connsiteX0" fmla="*/ 2649803 w 3501451"/>
                  <a:gd name="connsiteY0" fmla="*/ 0 h 4011326"/>
                  <a:gd name="connsiteX1" fmla="*/ 2667414 w 3501451"/>
                  <a:gd name="connsiteY1" fmla="*/ 0 h 4011326"/>
                  <a:gd name="connsiteX2" fmla="*/ 3501451 w 3501451"/>
                  <a:gd name="connsiteY2" fmla="*/ 602911 h 4011326"/>
                  <a:gd name="connsiteX3" fmla="*/ 2829043 w 3501451"/>
                  <a:gd name="connsiteY3" fmla="*/ 1526567 h 4011326"/>
                  <a:gd name="connsiteX4" fmla="*/ 2783825 w 3501451"/>
                  <a:gd name="connsiteY4" fmla="*/ 1141448 h 4011326"/>
                  <a:gd name="connsiteX5" fmla="*/ 5166 w 3501451"/>
                  <a:gd name="connsiteY5" fmla="*/ 4011326 h 4011326"/>
                  <a:gd name="connsiteX6" fmla="*/ 608148 w 3501451"/>
                  <a:gd name="connsiteY6" fmla="*/ 2562905 h 4011326"/>
                  <a:gd name="connsiteX7" fmla="*/ 2693387 w 3501451"/>
                  <a:gd name="connsiteY7" fmla="*/ 371208 h 4011326"/>
                  <a:gd name="connsiteX8" fmla="*/ 2649803 w 3501451"/>
                  <a:gd name="connsiteY8" fmla="*/ 0 h 4011326"/>
                  <a:gd name="connsiteX0" fmla="*/ 2649803 w 3501451"/>
                  <a:gd name="connsiteY0" fmla="*/ 0 h 4011326"/>
                  <a:gd name="connsiteX1" fmla="*/ 2667414 w 3501451"/>
                  <a:gd name="connsiteY1" fmla="*/ 0 h 4011326"/>
                  <a:gd name="connsiteX2" fmla="*/ 3501451 w 3501451"/>
                  <a:gd name="connsiteY2" fmla="*/ 602911 h 4011326"/>
                  <a:gd name="connsiteX3" fmla="*/ 2829043 w 3501451"/>
                  <a:gd name="connsiteY3" fmla="*/ 1526567 h 4011326"/>
                  <a:gd name="connsiteX4" fmla="*/ 2783825 w 3501451"/>
                  <a:gd name="connsiteY4" fmla="*/ 1141448 h 4011326"/>
                  <a:gd name="connsiteX5" fmla="*/ 5166 w 3501451"/>
                  <a:gd name="connsiteY5" fmla="*/ 4011326 h 4011326"/>
                  <a:gd name="connsiteX6" fmla="*/ 2693387 w 3501451"/>
                  <a:gd name="connsiteY6" fmla="*/ 371208 h 4011326"/>
                  <a:gd name="connsiteX7" fmla="*/ 2649803 w 3501451"/>
                  <a:gd name="connsiteY7" fmla="*/ 0 h 4011326"/>
                  <a:gd name="connsiteX0" fmla="*/ 2649803 w 3501451"/>
                  <a:gd name="connsiteY0" fmla="*/ 0 h 4011326"/>
                  <a:gd name="connsiteX1" fmla="*/ 2667414 w 3501451"/>
                  <a:gd name="connsiteY1" fmla="*/ 0 h 4011326"/>
                  <a:gd name="connsiteX2" fmla="*/ 3501451 w 3501451"/>
                  <a:gd name="connsiteY2" fmla="*/ 602911 h 4011326"/>
                  <a:gd name="connsiteX3" fmla="*/ 2829043 w 3501451"/>
                  <a:gd name="connsiteY3" fmla="*/ 1526567 h 4011326"/>
                  <a:gd name="connsiteX4" fmla="*/ 2783825 w 3501451"/>
                  <a:gd name="connsiteY4" fmla="*/ 1141448 h 4011326"/>
                  <a:gd name="connsiteX5" fmla="*/ 5166 w 3501451"/>
                  <a:gd name="connsiteY5" fmla="*/ 4011326 h 4011326"/>
                  <a:gd name="connsiteX6" fmla="*/ 2693387 w 3501451"/>
                  <a:gd name="connsiteY6" fmla="*/ 371208 h 4011326"/>
                  <a:gd name="connsiteX7" fmla="*/ 2649803 w 3501451"/>
                  <a:gd name="connsiteY7" fmla="*/ 0 h 4011326"/>
                  <a:gd name="connsiteX0" fmla="*/ 2669558 w 3521206"/>
                  <a:gd name="connsiteY0" fmla="*/ 0 h 4011326"/>
                  <a:gd name="connsiteX1" fmla="*/ 2687169 w 3521206"/>
                  <a:gd name="connsiteY1" fmla="*/ 0 h 4011326"/>
                  <a:gd name="connsiteX2" fmla="*/ 3521206 w 3521206"/>
                  <a:gd name="connsiteY2" fmla="*/ 602911 h 4011326"/>
                  <a:gd name="connsiteX3" fmla="*/ 2848798 w 3521206"/>
                  <a:gd name="connsiteY3" fmla="*/ 1526567 h 4011326"/>
                  <a:gd name="connsiteX4" fmla="*/ 2803580 w 3521206"/>
                  <a:gd name="connsiteY4" fmla="*/ 1141448 h 4011326"/>
                  <a:gd name="connsiteX5" fmla="*/ 24921 w 3521206"/>
                  <a:gd name="connsiteY5" fmla="*/ 4011326 h 4011326"/>
                  <a:gd name="connsiteX6" fmla="*/ 2713142 w 3521206"/>
                  <a:gd name="connsiteY6" fmla="*/ 371208 h 4011326"/>
                  <a:gd name="connsiteX7" fmla="*/ 2669558 w 3521206"/>
                  <a:gd name="connsiteY7" fmla="*/ 0 h 4011326"/>
                  <a:gd name="connsiteX0" fmla="*/ 2669558 w 3521206"/>
                  <a:gd name="connsiteY0" fmla="*/ 0 h 4011326"/>
                  <a:gd name="connsiteX1" fmla="*/ 2687169 w 3521206"/>
                  <a:gd name="connsiteY1" fmla="*/ 0 h 4011326"/>
                  <a:gd name="connsiteX2" fmla="*/ 3521206 w 3521206"/>
                  <a:gd name="connsiteY2" fmla="*/ 602911 h 4011326"/>
                  <a:gd name="connsiteX3" fmla="*/ 2848798 w 3521206"/>
                  <a:gd name="connsiteY3" fmla="*/ 1526567 h 4011326"/>
                  <a:gd name="connsiteX4" fmla="*/ 2803580 w 3521206"/>
                  <a:gd name="connsiteY4" fmla="*/ 1141448 h 4011326"/>
                  <a:gd name="connsiteX5" fmla="*/ 24921 w 3521206"/>
                  <a:gd name="connsiteY5" fmla="*/ 4011326 h 4011326"/>
                  <a:gd name="connsiteX6" fmla="*/ 2713142 w 3521206"/>
                  <a:gd name="connsiteY6" fmla="*/ 371208 h 4011326"/>
                  <a:gd name="connsiteX7" fmla="*/ 2669558 w 3521206"/>
                  <a:gd name="connsiteY7" fmla="*/ 0 h 4011326"/>
                  <a:gd name="connsiteX0" fmla="*/ 2729985 w 3581633"/>
                  <a:gd name="connsiteY0" fmla="*/ 0 h 4011326"/>
                  <a:gd name="connsiteX1" fmla="*/ 2747596 w 3581633"/>
                  <a:gd name="connsiteY1" fmla="*/ 0 h 4011326"/>
                  <a:gd name="connsiteX2" fmla="*/ 3581633 w 3581633"/>
                  <a:gd name="connsiteY2" fmla="*/ 602911 h 4011326"/>
                  <a:gd name="connsiteX3" fmla="*/ 2909225 w 3581633"/>
                  <a:gd name="connsiteY3" fmla="*/ 1526567 h 4011326"/>
                  <a:gd name="connsiteX4" fmla="*/ 2864007 w 3581633"/>
                  <a:gd name="connsiteY4" fmla="*/ 1141448 h 4011326"/>
                  <a:gd name="connsiteX5" fmla="*/ 85348 w 3581633"/>
                  <a:gd name="connsiteY5" fmla="*/ 4011326 h 4011326"/>
                  <a:gd name="connsiteX6" fmla="*/ 2773569 w 3581633"/>
                  <a:gd name="connsiteY6" fmla="*/ 371208 h 4011326"/>
                  <a:gd name="connsiteX7" fmla="*/ 2729985 w 3581633"/>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3876039 w 4727687"/>
                  <a:gd name="connsiteY0" fmla="*/ 0 h 4842753"/>
                  <a:gd name="connsiteX1" fmla="*/ 3893650 w 4727687"/>
                  <a:gd name="connsiteY1" fmla="*/ 0 h 4842753"/>
                  <a:gd name="connsiteX2" fmla="*/ 4727687 w 4727687"/>
                  <a:gd name="connsiteY2" fmla="*/ 602911 h 4842753"/>
                  <a:gd name="connsiteX3" fmla="*/ 4055279 w 4727687"/>
                  <a:gd name="connsiteY3" fmla="*/ 1526567 h 4842753"/>
                  <a:gd name="connsiteX4" fmla="*/ 4010061 w 4727687"/>
                  <a:gd name="connsiteY4" fmla="*/ 1141448 h 4842753"/>
                  <a:gd name="connsiteX5" fmla="*/ 39356 w 4727687"/>
                  <a:gd name="connsiteY5" fmla="*/ 4842753 h 4842753"/>
                  <a:gd name="connsiteX6" fmla="*/ 3919623 w 4727687"/>
                  <a:gd name="connsiteY6" fmla="*/ 371208 h 4842753"/>
                  <a:gd name="connsiteX7" fmla="*/ 3876039 w 4727687"/>
                  <a:gd name="connsiteY7" fmla="*/ 0 h 4842753"/>
                  <a:gd name="connsiteX0" fmla="*/ 3876040 w 4727688"/>
                  <a:gd name="connsiteY0" fmla="*/ 0 h 4842753"/>
                  <a:gd name="connsiteX1" fmla="*/ 3893651 w 4727688"/>
                  <a:gd name="connsiteY1" fmla="*/ 0 h 4842753"/>
                  <a:gd name="connsiteX2" fmla="*/ 4727688 w 4727688"/>
                  <a:gd name="connsiteY2" fmla="*/ 602911 h 4842753"/>
                  <a:gd name="connsiteX3" fmla="*/ 4055280 w 4727688"/>
                  <a:gd name="connsiteY3" fmla="*/ 1526567 h 4842753"/>
                  <a:gd name="connsiteX4" fmla="*/ 4010062 w 4727688"/>
                  <a:gd name="connsiteY4" fmla="*/ 1141448 h 4842753"/>
                  <a:gd name="connsiteX5" fmla="*/ 39357 w 4727688"/>
                  <a:gd name="connsiteY5" fmla="*/ 4842753 h 4842753"/>
                  <a:gd name="connsiteX6" fmla="*/ 3919624 w 4727688"/>
                  <a:gd name="connsiteY6" fmla="*/ 371208 h 4842753"/>
                  <a:gd name="connsiteX7" fmla="*/ 3876040 w 4727688"/>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4394580 w 5246228"/>
                  <a:gd name="connsiteY0" fmla="*/ 0 h 5634111"/>
                  <a:gd name="connsiteX1" fmla="*/ 4412191 w 5246228"/>
                  <a:gd name="connsiteY1" fmla="*/ 0 h 5634111"/>
                  <a:gd name="connsiteX2" fmla="*/ 5246228 w 5246228"/>
                  <a:gd name="connsiteY2" fmla="*/ 602911 h 5634111"/>
                  <a:gd name="connsiteX3" fmla="*/ 4573820 w 5246228"/>
                  <a:gd name="connsiteY3" fmla="*/ 1526567 h 5634111"/>
                  <a:gd name="connsiteX4" fmla="*/ 4528602 w 5246228"/>
                  <a:gd name="connsiteY4" fmla="*/ 1141448 h 5634111"/>
                  <a:gd name="connsiteX5" fmla="*/ 16969 w 5246228"/>
                  <a:gd name="connsiteY5" fmla="*/ 5634111 h 5634111"/>
                  <a:gd name="connsiteX6" fmla="*/ 4438164 w 5246228"/>
                  <a:gd name="connsiteY6" fmla="*/ 371208 h 5634111"/>
                  <a:gd name="connsiteX7" fmla="*/ 4394580 w 5246228"/>
                  <a:gd name="connsiteY7" fmla="*/ 0 h 5634111"/>
                  <a:gd name="connsiteX0" fmla="*/ 4394580 w 5246228"/>
                  <a:gd name="connsiteY0" fmla="*/ 0 h 5634111"/>
                  <a:gd name="connsiteX1" fmla="*/ 4412191 w 5246228"/>
                  <a:gd name="connsiteY1" fmla="*/ 0 h 5634111"/>
                  <a:gd name="connsiteX2" fmla="*/ 5246228 w 5246228"/>
                  <a:gd name="connsiteY2" fmla="*/ 602911 h 5634111"/>
                  <a:gd name="connsiteX3" fmla="*/ 4573820 w 5246228"/>
                  <a:gd name="connsiteY3" fmla="*/ 1526567 h 5634111"/>
                  <a:gd name="connsiteX4" fmla="*/ 4528602 w 5246228"/>
                  <a:gd name="connsiteY4" fmla="*/ 1141448 h 5634111"/>
                  <a:gd name="connsiteX5" fmla="*/ 16969 w 5246228"/>
                  <a:gd name="connsiteY5" fmla="*/ 5634111 h 5634111"/>
                  <a:gd name="connsiteX6" fmla="*/ 4438164 w 5246228"/>
                  <a:gd name="connsiteY6" fmla="*/ 371208 h 5634111"/>
                  <a:gd name="connsiteX7" fmla="*/ 4394580 w 5246228"/>
                  <a:gd name="connsiteY7" fmla="*/ 0 h 5634111"/>
                  <a:gd name="connsiteX0" fmla="*/ 4377611 w 5229259"/>
                  <a:gd name="connsiteY0" fmla="*/ 0 h 5634111"/>
                  <a:gd name="connsiteX1" fmla="*/ 4395222 w 5229259"/>
                  <a:gd name="connsiteY1" fmla="*/ 0 h 5634111"/>
                  <a:gd name="connsiteX2" fmla="*/ 5229259 w 5229259"/>
                  <a:gd name="connsiteY2" fmla="*/ 602911 h 5634111"/>
                  <a:gd name="connsiteX3" fmla="*/ 4556851 w 5229259"/>
                  <a:gd name="connsiteY3" fmla="*/ 1526567 h 5634111"/>
                  <a:gd name="connsiteX4" fmla="*/ 4511633 w 5229259"/>
                  <a:gd name="connsiteY4" fmla="*/ 1141448 h 5634111"/>
                  <a:gd name="connsiteX5" fmla="*/ 0 w 5229259"/>
                  <a:gd name="connsiteY5" fmla="*/ 5634111 h 5634111"/>
                  <a:gd name="connsiteX6" fmla="*/ 4421195 w 5229259"/>
                  <a:gd name="connsiteY6" fmla="*/ 371208 h 5634111"/>
                  <a:gd name="connsiteX7" fmla="*/ 4377611 w 5229259"/>
                  <a:gd name="connsiteY7" fmla="*/ 0 h 5634111"/>
                  <a:gd name="connsiteX0" fmla="*/ 4377611 w 5229259"/>
                  <a:gd name="connsiteY0" fmla="*/ 0 h 5634111"/>
                  <a:gd name="connsiteX1" fmla="*/ 4395222 w 5229259"/>
                  <a:gd name="connsiteY1" fmla="*/ 0 h 5634111"/>
                  <a:gd name="connsiteX2" fmla="*/ 5229259 w 5229259"/>
                  <a:gd name="connsiteY2" fmla="*/ 602911 h 5634111"/>
                  <a:gd name="connsiteX3" fmla="*/ 4556851 w 5229259"/>
                  <a:gd name="connsiteY3" fmla="*/ 1526567 h 5634111"/>
                  <a:gd name="connsiteX4" fmla="*/ 4511633 w 5229259"/>
                  <a:gd name="connsiteY4" fmla="*/ 1141448 h 5634111"/>
                  <a:gd name="connsiteX5" fmla="*/ 0 w 5229259"/>
                  <a:gd name="connsiteY5" fmla="*/ 5634111 h 5634111"/>
                  <a:gd name="connsiteX6" fmla="*/ 4421195 w 5229259"/>
                  <a:gd name="connsiteY6" fmla="*/ 371208 h 5634111"/>
                  <a:gd name="connsiteX7" fmla="*/ 4377611 w 5229259"/>
                  <a:gd name="connsiteY7" fmla="*/ 0 h 5634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29259" h="5634111">
                    <a:moveTo>
                      <a:pt x="4377611" y="0"/>
                    </a:moveTo>
                    <a:lnTo>
                      <a:pt x="4395222" y="0"/>
                    </a:lnTo>
                    <a:lnTo>
                      <a:pt x="5229259" y="602911"/>
                    </a:lnTo>
                    <a:lnTo>
                      <a:pt x="4556851" y="1526567"/>
                    </a:lnTo>
                    <a:lnTo>
                      <a:pt x="4511633" y="1141448"/>
                    </a:lnTo>
                    <a:cubicBezTo>
                      <a:pt x="3177881" y="1527269"/>
                      <a:pt x="664705" y="2400651"/>
                      <a:pt x="0" y="5634111"/>
                    </a:cubicBezTo>
                    <a:cubicBezTo>
                      <a:pt x="285524" y="2169055"/>
                      <a:pt x="2466010" y="943273"/>
                      <a:pt x="4421195" y="371208"/>
                    </a:cubicBezTo>
                    <a:lnTo>
                      <a:pt x="4377611" y="0"/>
                    </a:lnTo>
                    <a:close/>
                  </a:path>
                </a:pathLst>
              </a:cu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193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endParaRPr>
              </a:p>
            </p:txBody>
          </p:sp>
          <p:sp>
            <p:nvSpPr>
              <p:cNvPr id="378" name="Rectangle 32"/>
              <p:cNvSpPr>
                <a:spLocks noChangeAspect="1"/>
              </p:cNvSpPr>
              <p:nvPr/>
            </p:nvSpPr>
            <p:spPr bwMode="auto">
              <a:xfrm rot="5163044" flipH="1" flipV="1">
                <a:off x="7075282" y="4485619"/>
                <a:ext cx="769589" cy="920752"/>
              </a:xfrm>
              <a:custGeom>
                <a:avLst/>
                <a:gdLst>
                  <a:gd name="connsiteX0" fmla="*/ 2649803 w 3501451"/>
                  <a:gd name="connsiteY0" fmla="*/ 0 h 4011326"/>
                  <a:gd name="connsiteX1" fmla="*/ 2667414 w 3501451"/>
                  <a:gd name="connsiteY1" fmla="*/ 0 h 4011326"/>
                  <a:gd name="connsiteX2" fmla="*/ 3501451 w 3501451"/>
                  <a:gd name="connsiteY2" fmla="*/ 602911 h 4011326"/>
                  <a:gd name="connsiteX3" fmla="*/ 2829043 w 3501451"/>
                  <a:gd name="connsiteY3" fmla="*/ 1526567 h 4011326"/>
                  <a:gd name="connsiteX4" fmla="*/ 2783825 w 3501451"/>
                  <a:gd name="connsiteY4" fmla="*/ 1141448 h 4011326"/>
                  <a:gd name="connsiteX5" fmla="*/ 5166 w 3501451"/>
                  <a:gd name="connsiteY5" fmla="*/ 4011326 h 4011326"/>
                  <a:gd name="connsiteX6" fmla="*/ 608148 w 3501451"/>
                  <a:gd name="connsiteY6" fmla="*/ 2562905 h 4011326"/>
                  <a:gd name="connsiteX7" fmla="*/ 2693387 w 3501451"/>
                  <a:gd name="connsiteY7" fmla="*/ 371208 h 4011326"/>
                  <a:gd name="connsiteX8" fmla="*/ 2649803 w 3501451"/>
                  <a:gd name="connsiteY8" fmla="*/ 0 h 4011326"/>
                  <a:gd name="connsiteX0" fmla="*/ 2649803 w 3501451"/>
                  <a:gd name="connsiteY0" fmla="*/ 0 h 4011326"/>
                  <a:gd name="connsiteX1" fmla="*/ 2667414 w 3501451"/>
                  <a:gd name="connsiteY1" fmla="*/ 0 h 4011326"/>
                  <a:gd name="connsiteX2" fmla="*/ 3501451 w 3501451"/>
                  <a:gd name="connsiteY2" fmla="*/ 602911 h 4011326"/>
                  <a:gd name="connsiteX3" fmla="*/ 2829043 w 3501451"/>
                  <a:gd name="connsiteY3" fmla="*/ 1526567 h 4011326"/>
                  <a:gd name="connsiteX4" fmla="*/ 2783825 w 3501451"/>
                  <a:gd name="connsiteY4" fmla="*/ 1141448 h 4011326"/>
                  <a:gd name="connsiteX5" fmla="*/ 5166 w 3501451"/>
                  <a:gd name="connsiteY5" fmla="*/ 4011326 h 4011326"/>
                  <a:gd name="connsiteX6" fmla="*/ 2693387 w 3501451"/>
                  <a:gd name="connsiteY6" fmla="*/ 371208 h 4011326"/>
                  <a:gd name="connsiteX7" fmla="*/ 2649803 w 3501451"/>
                  <a:gd name="connsiteY7" fmla="*/ 0 h 4011326"/>
                  <a:gd name="connsiteX0" fmla="*/ 2649803 w 3501451"/>
                  <a:gd name="connsiteY0" fmla="*/ 0 h 4011326"/>
                  <a:gd name="connsiteX1" fmla="*/ 2667414 w 3501451"/>
                  <a:gd name="connsiteY1" fmla="*/ 0 h 4011326"/>
                  <a:gd name="connsiteX2" fmla="*/ 3501451 w 3501451"/>
                  <a:gd name="connsiteY2" fmla="*/ 602911 h 4011326"/>
                  <a:gd name="connsiteX3" fmla="*/ 2829043 w 3501451"/>
                  <a:gd name="connsiteY3" fmla="*/ 1526567 h 4011326"/>
                  <a:gd name="connsiteX4" fmla="*/ 2783825 w 3501451"/>
                  <a:gd name="connsiteY4" fmla="*/ 1141448 h 4011326"/>
                  <a:gd name="connsiteX5" fmla="*/ 5166 w 3501451"/>
                  <a:gd name="connsiteY5" fmla="*/ 4011326 h 4011326"/>
                  <a:gd name="connsiteX6" fmla="*/ 2693387 w 3501451"/>
                  <a:gd name="connsiteY6" fmla="*/ 371208 h 4011326"/>
                  <a:gd name="connsiteX7" fmla="*/ 2649803 w 3501451"/>
                  <a:gd name="connsiteY7" fmla="*/ 0 h 4011326"/>
                  <a:gd name="connsiteX0" fmla="*/ 2669558 w 3521206"/>
                  <a:gd name="connsiteY0" fmla="*/ 0 h 4011326"/>
                  <a:gd name="connsiteX1" fmla="*/ 2687169 w 3521206"/>
                  <a:gd name="connsiteY1" fmla="*/ 0 h 4011326"/>
                  <a:gd name="connsiteX2" fmla="*/ 3521206 w 3521206"/>
                  <a:gd name="connsiteY2" fmla="*/ 602911 h 4011326"/>
                  <a:gd name="connsiteX3" fmla="*/ 2848798 w 3521206"/>
                  <a:gd name="connsiteY3" fmla="*/ 1526567 h 4011326"/>
                  <a:gd name="connsiteX4" fmla="*/ 2803580 w 3521206"/>
                  <a:gd name="connsiteY4" fmla="*/ 1141448 h 4011326"/>
                  <a:gd name="connsiteX5" fmla="*/ 24921 w 3521206"/>
                  <a:gd name="connsiteY5" fmla="*/ 4011326 h 4011326"/>
                  <a:gd name="connsiteX6" fmla="*/ 2713142 w 3521206"/>
                  <a:gd name="connsiteY6" fmla="*/ 371208 h 4011326"/>
                  <a:gd name="connsiteX7" fmla="*/ 2669558 w 3521206"/>
                  <a:gd name="connsiteY7" fmla="*/ 0 h 4011326"/>
                  <a:gd name="connsiteX0" fmla="*/ 2669558 w 3521206"/>
                  <a:gd name="connsiteY0" fmla="*/ 0 h 4011326"/>
                  <a:gd name="connsiteX1" fmla="*/ 2687169 w 3521206"/>
                  <a:gd name="connsiteY1" fmla="*/ 0 h 4011326"/>
                  <a:gd name="connsiteX2" fmla="*/ 3521206 w 3521206"/>
                  <a:gd name="connsiteY2" fmla="*/ 602911 h 4011326"/>
                  <a:gd name="connsiteX3" fmla="*/ 2848798 w 3521206"/>
                  <a:gd name="connsiteY3" fmla="*/ 1526567 h 4011326"/>
                  <a:gd name="connsiteX4" fmla="*/ 2803580 w 3521206"/>
                  <a:gd name="connsiteY4" fmla="*/ 1141448 h 4011326"/>
                  <a:gd name="connsiteX5" fmla="*/ 24921 w 3521206"/>
                  <a:gd name="connsiteY5" fmla="*/ 4011326 h 4011326"/>
                  <a:gd name="connsiteX6" fmla="*/ 2713142 w 3521206"/>
                  <a:gd name="connsiteY6" fmla="*/ 371208 h 4011326"/>
                  <a:gd name="connsiteX7" fmla="*/ 2669558 w 3521206"/>
                  <a:gd name="connsiteY7" fmla="*/ 0 h 4011326"/>
                  <a:gd name="connsiteX0" fmla="*/ 2729985 w 3581633"/>
                  <a:gd name="connsiteY0" fmla="*/ 0 h 4011326"/>
                  <a:gd name="connsiteX1" fmla="*/ 2747596 w 3581633"/>
                  <a:gd name="connsiteY1" fmla="*/ 0 h 4011326"/>
                  <a:gd name="connsiteX2" fmla="*/ 3581633 w 3581633"/>
                  <a:gd name="connsiteY2" fmla="*/ 602911 h 4011326"/>
                  <a:gd name="connsiteX3" fmla="*/ 2909225 w 3581633"/>
                  <a:gd name="connsiteY3" fmla="*/ 1526567 h 4011326"/>
                  <a:gd name="connsiteX4" fmla="*/ 2864007 w 3581633"/>
                  <a:gd name="connsiteY4" fmla="*/ 1141448 h 4011326"/>
                  <a:gd name="connsiteX5" fmla="*/ 85348 w 3581633"/>
                  <a:gd name="connsiteY5" fmla="*/ 4011326 h 4011326"/>
                  <a:gd name="connsiteX6" fmla="*/ 2773569 w 3581633"/>
                  <a:gd name="connsiteY6" fmla="*/ 371208 h 4011326"/>
                  <a:gd name="connsiteX7" fmla="*/ 2729985 w 3581633"/>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3876039 w 4727687"/>
                  <a:gd name="connsiteY0" fmla="*/ 0 h 4842753"/>
                  <a:gd name="connsiteX1" fmla="*/ 3893650 w 4727687"/>
                  <a:gd name="connsiteY1" fmla="*/ 0 h 4842753"/>
                  <a:gd name="connsiteX2" fmla="*/ 4727687 w 4727687"/>
                  <a:gd name="connsiteY2" fmla="*/ 602911 h 4842753"/>
                  <a:gd name="connsiteX3" fmla="*/ 4055279 w 4727687"/>
                  <a:gd name="connsiteY3" fmla="*/ 1526567 h 4842753"/>
                  <a:gd name="connsiteX4" fmla="*/ 4010061 w 4727687"/>
                  <a:gd name="connsiteY4" fmla="*/ 1141448 h 4842753"/>
                  <a:gd name="connsiteX5" fmla="*/ 39356 w 4727687"/>
                  <a:gd name="connsiteY5" fmla="*/ 4842753 h 4842753"/>
                  <a:gd name="connsiteX6" fmla="*/ 3919623 w 4727687"/>
                  <a:gd name="connsiteY6" fmla="*/ 371208 h 4842753"/>
                  <a:gd name="connsiteX7" fmla="*/ 3876039 w 4727687"/>
                  <a:gd name="connsiteY7" fmla="*/ 0 h 4842753"/>
                  <a:gd name="connsiteX0" fmla="*/ 3876040 w 4727688"/>
                  <a:gd name="connsiteY0" fmla="*/ 0 h 4842753"/>
                  <a:gd name="connsiteX1" fmla="*/ 3893651 w 4727688"/>
                  <a:gd name="connsiteY1" fmla="*/ 0 h 4842753"/>
                  <a:gd name="connsiteX2" fmla="*/ 4727688 w 4727688"/>
                  <a:gd name="connsiteY2" fmla="*/ 602911 h 4842753"/>
                  <a:gd name="connsiteX3" fmla="*/ 4055280 w 4727688"/>
                  <a:gd name="connsiteY3" fmla="*/ 1526567 h 4842753"/>
                  <a:gd name="connsiteX4" fmla="*/ 4010062 w 4727688"/>
                  <a:gd name="connsiteY4" fmla="*/ 1141448 h 4842753"/>
                  <a:gd name="connsiteX5" fmla="*/ 39357 w 4727688"/>
                  <a:gd name="connsiteY5" fmla="*/ 4842753 h 4842753"/>
                  <a:gd name="connsiteX6" fmla="*/ 3919624 w 4727688"/>
                  <a:gd name="connsiteY6" fmla="*/ 371208 h 4842753"/>
                  <a:gd name="connsiteX7" fmla="*/ 3876040 w 4727688"/>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4394580 w 5246228"/>
                  <a:gd name="connsiteY0" fmla="*/ 0 h 5634111"/>
                  <a:gd name="connsiteX1" fmla="*/ 4412191 w 5246228"/>
                  <a:gd name="connsiteY1" fmla="*/ 0 h 5634111"/>
                  <a:gd name="connsiteX2" fmla="*/ 5246228 w 5246228"/>
                  <a:gd name="connsiteY2" fmla="*/ 602911 h 5634111"/>
                  <a:gd name="connsiteX3" fmla="*/ 4573820 w 5246228"/>
                  <a:gd name="connsiteY3" fmla="*/ 1526567 h 5634111"/>
                  <a:gd name="connsiteX4" fmla="*/ 4528602 w 5246228"/>
                  <a:gd name="connsiteY4" fmla="*/ 1141448 h 5634111"/>
                  <a:gd name="connsiteX5" fmla="*/ 16969 w 5246228"/>
                  <a:gd name="connsiteY5" fmla="*/ 5634111 h 5634111"/>
                  <a:gd name="connsiteX6" fmla="*/ 4438164 w 5246228"/>
                  <a:gd name="connsiteY6" fmla="*/ 371208 h 5634111"/>
                  <a:gd name="connsiteX7" fmla="*/ 4394580 w 5246228"/>
                  <a:gd name="connsiteY7" fmla="*/ 0 h 5634111"/>
                  <a:gd name="connsiteX0" fmla="*/ 4394580 w 5246228"/>
                  <a:gd name="connsiteY0" fmla="*/ 0 h 5634111"/>
                  <a:gd name="connsiteX1" fmla="*/ 4412191 w 5246228"/>
                  <a:gd name="connsiteY1" fmla="*/ 0 h 5634111"/>
                  <a:gd name="connsiteX2" fmla="*/ 5246228 w 5246228"/>
                  <a:gd name="connsiteY2" fmla="*/ 602911 h 5634111"/>
                  <a:gd name="connsiteX3" fmla="*/ 4573820 w 5246228"/>
                  <a:gd name="connsiteY3" fmla="*/ 1526567 h 5634111"/>
                  <a:gd name="connsiteX4" fmla="*/ 4528602 w 5246228"/>
                  <a:gd name="connsiteY4" fmla="*/ 1141448 h 5634111"/>
                  <a:gd name="connsiteX5" fmla="*/ 16969 w 5246228"/>
                  <a:gd name="connsiteY5" fmla="*/ 5634111 h 5634111"/>
                  <a:gd name="connsiteX6" fmla="*/ 4438164 w 5246228"/>
                  <a:gd name="connsiteY6" fmla="*/ 371208 h 5634111"/>
                  <a:gd name="connsiteX7" fmla="*/ 4394580 w 5246228"/>
                  <a:gd name="connsiteY7" fmla="*/ 0 h 5634111"/>
                  <a:gd name="connsiteX0" fmla="*/ 4377611 w 5229259"/>
                  <a:gd name="connsiteY0" fmla="*/ 0 h 5634111"/>
                  <a:gd name="connsiteX1" fmla="*/ 4395222 w 5229259"/>
                  <a:gd name="connsiteY1" fmla="*/ 0 h 5634111"/>
                  <a:gd name="connsiteX2" fmla="*/ 5229259 w 5229259"/>
                  <a:gd name="connsiteY2" fmla="*/ 602911 h 5634111"/>
                  <a:gd name="connsiteX3" fmla="*/ 4556851 w 5229259"/>
                  <a:gd name="connsiteY3" fmla="*/ 1526567 h 5634111"/>
                  <a:gd name="connsiteX4" fmla="*/ 4511633 w 5229259"/>
                  <a:gd name="connsiteY4" fmla="*/ 1141448 h 5634111"/>
                  <a:gd name="connsiteX5" fmla="*/ 0 w 5229259"/>
                  <a:gd name="connsiteY5" fmla="*/ 5634111 h 5634111"/>
                  <a:gd name="connsiteX6" fmla="*/ 4421195 w 5229259"/>
                  <a:gd name="connsiteY6" fmla="*/ 371208 h 5634111"/>
                  <a:gd name="connsiteX7" fmla="*/ 4377611 w 5229259"/>
                  <a:gd name="connsiteY7" fmla="*/ 0 h 5634111"/>
                  <a:gd name="connsiteX0" fmla="*/ 4377611 w 5229259"/>
                  <a:gd name="connsiteY0" fmla="*/ 0 h 5634111"/>
                  <a:gd name="connsiteX1" fmla="*/ 4395222 w 5229259"/>
                  <a:gd name="connsiteY1" fmla="*/ 0 h 5634111"/>
                  <a:gd name="connsiteX2" fmla="*/ 5229259 w 5229259"/>
                  <a:gd name="connsiteY2" fmla="*/ 602911 h 5634111"/>
                  <a:gd name="connsiteX3" fmla="*/ 4556851 w 5229259"/>
                  <a:gd name="connsiteY3" fmla="*/ 1526567 h 5634111"/>
                  <a:gd name="connsiteX4" fmla="*/ 4511633 w 5229259"/>
                  <a:gd name="connsiteY4" fmla="*/ 1141448 h 5634111"/>
                  <a:gd name="connsiteX5" fmla="*/ 0 w 5229259"/>
                  <a:gd name="connsiteY5" fmla="*/ 5634111 h 5634111"/>
                  <a:gd name="connsiteX6" fmla="*/ 4421195 w 5229259"/>
                  <a:gd name="connsiteY6" fmla="*/ 371208 h 5634111"/>
                  <a:gd name="connsiteX7" fmla="*/ 4377611 w 5229259"/>
                  <a:gd name="connsiteY7" fmla="*/ 0 h 5634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29259" h="5634111">
                    <a:moveTo>
                      <a:pt x="4377611" y="0"/>
                    </a:moveTo>
                    <a:lnTo>
                      <a:pt x="4395222" y="0"/>
                    </a:lnTo>
                    <a:lnTo>
                      <a:pt x="5229259" y="602911"/>
                    </a:lnTo>
                    <a:lnTo>
                      <a:pt x="4556851" y="1526567"/>
                    </a:lnTo>
                    <a:lnTo>
                      <a:pt x="4511633" y="1141448"/>
                    </a:lnTo>
                    <a:cubicBezTo>
                      <a:pt x="3177881" y="1527269"/>
                      <a:pt x="664705" y="2400651"/>
                      <a:pt x="0" y="5634111"/>
                    </a:cubicBezTo>
                    <a:cubicBezTo>
                      <a:pt x="285524" y="2169055"/>
                      <a:pt x="2466010" y="943273"/>
                      <a:pt x="4421195" y="371208"/>
                    </a:cubicBezTo>
                    <a:lnTo>
                      <a:pt x="4377611" y="0"/>
                    </a:lnTo>
                    <a:close/>
                  </a:path>
                </a:pathLst>
              </a:cu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193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endParaRPr>
              </a:p>
            </p:txBody>
          </p:sp>
          <p:sp>
            <p:nvSpPr>
              <p:cNvPr id="379" name="Rectangle 32"/>
              <p:cNvSpPr>
                <a:spLocks noChangeAspect="1"/>
              </p:cNvSpPr>
              <p:nvPr/>
            </p:nvSpPr>
            <p:spPr bwMode="auto">
              <a:xfrm rot="10800000" flipH="1" flipV="1">
                <a:off x="7088646" y="2248889"/>
                <a:ext cx="742861" cy="953881"/>
              </a:xfrm>
              <a:custGeom>
                <a:avLst/>
                <a:gdLst>
                  <a:gd name="connsiteX0" fmla="*/ 2649803 w 3501451"/>
                  <a:gd name="connsiteY0" fmla="*/ 0 h 4011326"/>
                  <a:gd name="connsiteX1" fmla="*/ 2667414 w 3501451"/>
                  <a:gd name="connsiteY1" fmla="*/ 0 h 4011326"/>
                  <a:gd name="connsiteX2" fmla="*/ 3501451 w 3501451"/>
                  <a:gd name="connsiteY2" fmla="*/ 602911 h 4011326"/>
                  <a:gd name="connsiteX3" fmla="*/ 2829043 w 3501451"/>
                  <a:gd name="connsiteY3" fmla="*/ 1526567 h 4011326"/>
                  <a:gd name="connsiteX4" fmla="*/ 2783825 w 3501451"/>
                  <a:gd name="connsiteY4" fmla="*/ 1141448 h 4011326"/>
                  <a:gd name="connsiteX5" fmla="*/ 5166 w 3501451"/>
                  <a:gd name="connsiteY5" fmla="*/ 4011326 h 4011326"/>
                  <a:gd name="connsiteX6" fmla="*/ 608148 w 3501451"/>
                  <a:gd name="connsiteY6" fmla="*/ 2562905 h 4011326"/>
                  <a:gd name="connsiteX7" fmla="*/ 2693387 w 3501451"/>
                  <a:gd name="connsiteY7" fmla="*/ 371208 h 4011326"/>
                  <a:gd name="connsiteX8" fmla="*/ 2649803 w 3501451"/>
                  <a:gd name="connsiteY8" fmla="*/ 0 h 4011326"/>
                  <a:gd name="connsiteX0" fmla="*/ 2649803 w 3501451"/>
                  <a:gd name="connsiteY0" fmla="*/ 0 h 4011326"/>
                  <a:gd name="connsiteX1" fmla="*/ 2667414 w 3501451"/>
                  <a:gd name="connsiteY1" fmla="*/ 0 h 4011326"/>
                  <a:gd name="connsiteX2" fmla="*/ 3501451 w 3501451"/>
                  <a:gd name="connsiteY2" fmla="*/ 602911 h 4011326"/>
                  <a:gd name="connsiteX3" fmla="*/ 2829043 w 3501451"/>
                  <a:gd name="connsiteY3" fmla="*/ 1526567 h 4011326"/>
                  <a:gd name="connsiteX4" fmla="*/ 2783825 w 3501451"/>
                  <a:gd name="connsiteY4" fmla="*/ 1141448 h 4011326"/>
                  <a:gd name="connsiteX5" fmla="*/ 5166 w 3501451"/>
                  <a:gd name="connsiteY5" fmla="*/ 4011326 h 4011326"/>
                  <a:gd name="connsiteX6" fmla="*/ 2693387 w 3501451"/>
                  <a:gd name="connsiteY6" fmla="*/ 371208 h 4011326"/>
                  <a:gd name="connsiteX7" fmla="*/ 2649803 w 3501451"/>
                  <a:gd name="connsiteY7" fmla="*/ 0 h 4011326"/>
                  <a:gd name="connsiteX0" fmla="*/ 2649803 w 3501451"/>
                  <a:gd name="connsiteY0" fmla="*/ 0 h 4011326"/>
                  <a:gd name="connsiteX1" fmla="*/ 2667414 w 3501451"/>
                  <a:gd name="connsiteY1" fmla="*/ 0 h 4011326"/>
                  <a:gd name="connsiteX2" fmla="*/ 3501451 w 3501451"/>
                  <a:gd name="connsiteY2" fmla="*/ 602911 h 4011326"/>
                  <a:gd name="connsiteX3" fmla="*/ 2829043 w 3501451"/>
                  <a:gd name="connsiteY3" fmla="*/ 1526567 h 4011326"/>
                  <a:gd name="connsiteX4" fmla="*/ 2783825 w 3501451"/>
                  <a:gd name="connsiteY4" fmla="*/ 1141448 h 4011326"/>
                  <a:gd name="connsiteX5" fmla="*/ 5166 w 3501451"/>
                  <a:gd name="connsiteY5" fmla="*/ 4011326 h 4011326"/>
                  <a:gd name="connsiteX6" fmla="*/ 2693387 w 3501451"/>
                  <a:gd name="connsiteY6" fmla="*/ 371208 h 4011326"/>
                  <a:gd name="connsiteX7" fmla="*/ 2649803 w 3501451"/>
                  <a:gd name="connsiteY7" fmla="*/ 0 h 4011326"/>
                  <a:gd name="connsiteX0" fmla="*/ 2669558 w 3521206"/>
                  <a:gd name="connsiteY0" fmla="*/ 0 h 4011326"/>
                  <a:gd name="connsiteX1" fmla="*/ 2687169 w 3521206"/>
                  <a:gd name="connsiteY1" fmla="*/ 0 h 4011326"/>
                  <a:gd name="connsiteX2" fmla="*/ 3521206 w 3521206"/>
                  <a:gd name="connsiteY2" fmla="*/ 602911 h 4011326"/>
                  <a:gd name="connsiteX3" fmla="*/ 2848798 w 3521206"/>
                  <a:gd name="connsiteY3" fmla="*/ 1526567 h 4011326"/>
                  <a:gd name="connsiteX4" fmla="*/ 2803580 w 3521206"/>
                  <a:gd name="connsiteY4" fmla="*/ 1141448 h 4011326"/>
                  <a:gd name="connsiteX5" fmla="*/ 24921 w 3521206"/>
                  <a:gd name="connsiteY5" fmla="*/ 4011326 h 4011326"/>
                  <a:gd name="connsiteX6" fmla="*/ 2713142 w 3521206"/>
                  <a:gd name="connsiteY6" fmla="*/ 371208 h 4011326"/>
                  <a:gd name="connsiteX7" fmla="*/ 2669558 w 3521206"/>
                  <a:gd name="connsiteY7" fmla="*/ 0 h 4011326"/>
                  <a:gd name="connsiteX0" fmla="*/ 2669558 w 3521206"/>
                  <a:gd name="connsiteY0" fmla="*/ 0 h 4011326"/>
                  <a:gd name="connsiteX1" fmla="*/ 2687169 w 3521206"/>
                  <a:gd name="connsiteY1" fmla="*/ 0 h 4011326"/>
                  <a:gd name="connsiteX2" fmla="*/ 3521206 w 3521206"/>
                  <a:gd name="connsiteY2" fmla="*/ 602911 h 4011326"/>
                  <a:gd name="connsiteX3" fmla="*/ 2848798 w 3521206"/>
                  <a:gd name="connsiteY3" fmla="*/ 1526567 h 4011326"/>
                  <a:gd name="connsiteX4" fmla="*/ 2803580 w 3521206"/>
                  <a:gd name="connsiteY4" fmla="*/ 1141448 h 4011326"/>
                  <a:gd name="connsiteX5" fmla="*/ 24921 w 3521206"/>
                  <a:gd name="connsiteY5" fmla="*/ 4011326 h 4011326"/>
                  <a:gd name="connsiteX6" fmla="*/ 2713142 w 3521206"/>
                  <a:gd name="connsiteY6" fmla="*/ 371208 h 4011326"/>
                  <a:gd name="connsiteX7" fmla="*/ 2669558 w 3521206"/>
                  <a:gd name="connsiteY7" fmla="*/ 0 h 4011326"/>
                  <a:gd name="connsiteX0" fmla="*/ 2729985 w 3581633"/>
                  <a:gd name="connsiteY0" fmla="*/ 0 h 4011326"/>
                  <a:gd name="connsiteX1" fmla="*/ 2747596 w 3581633"/>
                  <a:gd name="connsiteY1" fmla="*/ 0 h 4011326"/>
                  <a:gd name="connsiteX2" fmla="*/ 3581633 w 3581633"/>
                  <a:gd name="connsiteY2" fmla="*/ 602911 h 4011326"/>
                  <a:gd name="connsiteX3" fmla="*/ 2909225 w 3581633"/>
                  <a:gd name="connsiteY3" fmla="*/ 1526567 h 4011326"/>
                  <a:gd name="connsiteX4" fmla="*/ 2864007 w 3581633"/>
                  <a:gd name="connsiteY4" fmla="*/ 1141448 h 4011326"/>
                  <a:gd name="connsiteX5" fmla="*/ 85348 w 3581633"/>
                  <a:gd name="connsiteY5" fmla="*/ 4011326 h 4011326"/>
                  <a:gd name="connsiteX6" fmla="*/ 2773569 w 3581633"/>
                  <a:gd name="connsiteY6" fmla="*/ 371208 h 4011326"/>
                  <a:gd name="connsiteX7" fmla="*/ 2729985 w 3581633"/>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3876039 w 4727687"/>
                  <a:gd name="connsiteY0" fmla="*/ 0 h 4842753"/>
                  <a:gd name="connsiteX1" fmla="*/ 3893650 w 4727687"/>
                  <a:gd name="connsiteY1" fmla="*/ 0 h 4842753"/>
                  <a:gd name="connsiteX2" fmla="*/ 4727687 w 4727687"/>
                  <a:gd name="connsiteY2" fmla="*/ 602911 h 4842753"/>
                  <a:gd name="connsiteX3" fmla="*/ 4055279 w 4727687"/>
                  <a:gd name="connsiteY3" fmla="*/ 1526567 h 4842753"/>
                  <a:gd name="connsiteX4" fmla="*/ 4010061 w 4727687"/>
                  <a:gd name="connsiteY4" fmla="*/ 1141448 h 4842753"/>
                  <a:gd name="connsiteX5" fmla="*/ 39356 w 4727687"/>
                  <a:gd name="connsiteY5" fmla="*/ 4842753 h 4842753"/>
                  <a:gd name="connsiteX6" fmla="*/ 3919623 w 4727687"/>
                  <a:gd name="connsiteY6" fmla="*/ 371208 h 4842753"/>
                  <a:gd name="connsiteX7" fmla="*/ 3876039 w 4727687"/>
                  <a:gd name="connsiteY7" fmla="*/ 0 h 4842753"/>
                  <a:gd name="connsiteX0" fmla="*/ 3876040 w 4727688"/>
                  <a:gd name="connsiteY0" fmla="*/ 0 h 4842753"/>
                  <a:gd name="connsiteX1" fmla="*/ 3893651 w 4727688"/>
                  <a:gd name="connsiteY1" fmla="*/ 0 h 4842753"/>
                  <a:gd name="connsiteX2" fmla="*/ 4727688 w 4727688"/>
                  <a:gd name="connsiteY2" fmla="*/ 602911 h 4842753"/>
                  <a:gd name="connsiteX3" fmla="*/ 4055280 w 4727688"/>
                  <a:gd name="connsiteY3" fmla="*/ 1526567 h 4842753"/>
                  <a:gd name="connsiteX4" fmla="*/ 4010062 w 4727688"/>
                  <a:gd name="connsiteY4" fmla="*/ 1141448 h 4842753"/>
                  <a:gd name="connsiteX5" fmla="*/ 39357 w 4727688"/>
                  <a:gd name="connsiteY5" fmla="*/ 4842753 h 4842753"/>
                  <a:gd name="connsiteX6" fmla="*/ 3919624 w 4727688"/>
                  <a:gd name="connsiteY6" fmla="*/ 371208 h 4842753"/>
                  <a:gd name="connsiteX7" fmla="*/ 3876040 w 4727688"/>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4394580 w 5246228"/>
                  <a:gd name="connsiteY0" fmla="*/ 0 h 5634111"/>
                  <a:gd name="connsiteX1" fmla="*/ 4412191 w 5246228"/>
                  <a:gd name="connsiteY1" fmla="*/ 0 h 5634111"/>
                  <a:gd name="connsiteX2" fmla="*/ 5246228 w 5246228"/>
                  <a:gd name="connsiteY2" fmla="*/ 602911 h 5634111"/>
                  <a:gd name="connsiteX3" fmla="*/ 4573820 w 5246228"/>
                  <a:gd name="connsiteY3" fmla="*/ 1526567 h 5634111"/>
                  <a:gd name="connsiteX4" fmla="*/ 4528602 w 5246228"/>
                  <a:gd name="connsiteY4" fmla="*/ 1141448 h 5634111"/>
                  <a:gd name="connsiteX5" fmla="*/ 16969 w 5246228"/>
                  <a:gd name="connsiteY5" fmla="*/ 5634111 h 5634111"/>
                  <a:gd name="connsiteX6" fmla="*/ 4438164 w 5246228"/>
                  <a:gd name="connsiteY6" fmla="*/ 371208 h 5634111"/>
                  <a:gd name="connsiteX7" fmla="*/ 4394580 w 5246228"/>
                  <a:gd name="connsiteY7" fmla="*/ 0 h 5634111"/>
                  <a:gd name="connsiteX0" fmla="*/ 4394580 w 5246228"/>
                  <a:gd name="connsiteY0" fmla="*/ 0 h 5634111"/>
                  <a:gd name="connsiteX1" fmla="*/ 4412191 w 5246228"/>
                  <a:gd name="connsiteY1" fmla="*/ 0 h 5634111"/>
                  <a:gd name="connsiteX2" fmla="*/ 5246228 w 5246228"/>
                  <a:gd name="connsiteY2" fmla="*/ 602911 h 5634111"/>
                  <a:gd name="connsiteX3" fmla="*/ 4573820 w 5246228"/>
                  <a:gd name="connsiteY3" fmla="*/ 1526567 h 5634111"/>
                  <a:gd name="connsiteX4" fmla="*/ 4528602 w 5246228"/>
                  <a:gd name="connsiteY4" fmla="*/ 1141448 h 5634111"/>
                  <a:gd name="connsiteX5" fmla="*/ 16969 w 5246228"/>
                  <a:gd name="connsiteY5" fmla="*/ 5634111 h 5634111"/>
                  <a:gd name="connsiteX6" fmla="*/ 4438164 w 5246228"/>
                  <a:gd name="connsiteY6" fmla="*/ 371208 h 5634111"/>
                  <a:gd name="connsiteX7" fmla="*/ 4394580 w 5246228"/>
                  <a:gd name="connsiteY7" fmla="*/ 0 h 5634111"/>
                  <a:gd name="connsiteX0" fmla="*/ 4377611 w 5229259"/>
                  <a:gd name="connsiteY0" fmla="*/ 0 h 5634111"/>
                  <a:gd name="connsiteX1" fmla="*/ 4395222 w 5229259"/>
                  <a:gd name="connsiteY1" fmla="*/ 0 h 5634111"/>
                  <a:gd name="connsiteX2" fmla="*/ 5229259 w 5229259"/>
                  <a:gd name="connsiteY2" fmla="*/ 602911 h 5634111"/>
                  <a:gd name="connsiteX3" fmla="*/ 4556851 w 5229259"/>
                  <a:gd name="connsiteY3" fmla="*/ 1526567 h 5634111"/>
                  <a:gd name="connsiteX4" fmla="*/ 4511633 w 5229259"/>
                  <a:gd name="connsiteY4" fmla="*/ 1141448 h 5634111"/>
                  <a:gd name="connsiteX5" fmla="*/ 0 w 5229259"/>
                  <a:gd name="connsiteY5" fmla="*/ 5634111 h 5634111"/>
                  <a:gd name="connsiteX6" fmla="*/ 4421195 w 5229259"/>
                  <a:gd name="connsiteY6" fmla="*/ 371208 h 5634111"/>
                  <a:gd name="connsiteX7" fmla="*/ 4377611 w 5229259"/>
                  <a:gd name="connsiteY7" fmla="*/ 0 h 5634111"/>
                  <a:gd name="connsiteX0" fmla="*/ 4377611 w 5229259"/>
                  <a:gd name="connsiteY0" fmla="*/ 0 h 5634111"/>
                  <a:gd name="connsiteX1" fmla="*/ 4395222 w 5229259"/>
                  <a:gd name="connsiteY1" fmla="*/ 0 h 5634111"/>
                  <a:gd name="connsiteX2" fmla="*/ 5229259 w 5229259"/>
                  <a:gd name="connsiteY2" fmla="*/ 602911 h 5634111"/>
                  <a:gd name="connsiteX3" fmla="*/ 4556851 w 5229259"/>
                  <a:gd name="connsiteY3" fmla="*/ 1526567 h 5634111"/>
                  <a:gd name="connsiteX4" fmla="*/ 4511633 w 5229259"/>
                  <a:gd name="connsiteY4" fmla="*/ 1141448 h 5634111"/>
                  <a:gd name="connsiteX5" fmla="*/ 0 w 5229259"/>
                  <a:gd name="connsiteY5" fmla="*/ 5634111 h 5634111"/>
                  <a:gd name="connsiteX6" fmla="*/ 4421195 w 5229259"/>
                  <a:gd name="connsiteY6" fmla="*/ 371208 h 5634111"/>
                  <a:gd name="connsiteX7" fmla="*/ 4377611 w 5229259"/>
                  <a:gd name="connsiteY7" fmla="*/ 0 h 5634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29259" h="5634111">
                    <a:moveTo>
                      <a:pt x="4377611" y="0"/>
                    </a:moveTo>
                    <a:lnTo>
                      <a:pt x="4395222" y="0"/>
                    </a:lnTo>
                    <a:lnTo>
                      <a:pt x="5229259" y="602911"/>
                    </a:lnTo>
                    <a:lnTo>
                      <a:pt x="4556851" y="1526567"/>
                    </a:lnTo>
                    <a:lnTo>
                      <a:pt x="4511633" y="1141448"/>
                    </a:lnTo>
                    <a:cubicBezTo>
                      <a:pt x="3177881" y="1527269"/>
                      <a:pt x="664705" y="2400651"/>
                      <a:pt x="0" y="5634111"/>
                    </a:cubicBezTo>
                    <a:cubicBezTo>
                      <a:pt x="285524" y="2169055"/>
                      <a:pt x="2466010" y="943273"/>
                      <a:pt x="4421195" y="371208"/>
                    </a:cubicBezTo>
                    <a:lnTo>
                      <a:pt x="4377611" y="0"/>
                    </a:lnTo>
                    <a:close/>
                  </a:path>
                </a:pathLst>
              </a:cu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193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endParaRPr>
              </a:p>
            </p:txBody>
          </p:sp>
          <p:grpSp>
            <p:nvGrpSpPr>
              <p:cNvPr id="380" name="Group 379"/>
              <p:cNvGrpSpPr/>
              <p:nvPr/>
            </p:nvGrpSpPr>
            <p:grpSpPr>
              <a:xfrm>
                <a:off x="8031129" y="1672714"/>
                <a:ext cx="2112264" cy="2115005"/>
                <a:chOff x="8031129" y="1672714"/>
                <a:chExt cx="2112264" cy="2115005"/>
              </a:xfrm>
            </p:grpSpPr>
            <p:sp>
              <p:nvSpPr>
                <p:cNvPr id="393" name="Freeform 18"/>
                <p:cNvSpPr>
                  <a:spLocks noEditPoints="1"/>
                </p:cNvSpPr>
                <p:nvPr/>
              </p:nvSpPr>
              <p:spPr bwMode="auto">
                <a:xfrm>
                  <a:off x="8031129" y="1672714"/>
                  <a:ext cx="2112264" cy="2115005"/>
                </a:xfrm>
                <a:prstGeom prst="ellipse">
                  <a:avLst/>
                </a:prstGeom>
                <a:solidFill>
                  <a:schemeClr val="bg1"/>
                </a:solidFill>
                <a:ln w="19050">
                  <a:solidFill>
                    <a:schemeClr val="bg1">
                      <a:lumMod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1371600" numCol="1" spcCol="0" rtlCol="0" fromWordArt="0" anchor="b" anchorCtr="0" forceAA="0" compatLnSpc="1">
                  <a:prstTxWarp prst="textNoShape">
                    <a:avLst/>
                  </a:prstTxWarp>
                  <a:noAutofit/>
                </a:bodyPr>
                <a:lstStyle/>
                <a:p>
                  <a:pPr marL="0" marR="0" lvl="0" indent="0" algn="ctr" defTabSz="931939"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Azure</a:t>
                  </a:r>
                </a:p>
              </p:txBody>
            </p:sp>
            <p:sp>
              <p:nvSpPr>
                <p:cNvPr id="394" name="Oval 15"/>
                <p:cNvSpPr/>
                <p:nvPr/>
              </p:nvSpPr>
              <p:spPr>
                <a:xfrm>
                  <a:off x="8726812" y="2300129"/>
                  <a:ext cx="936626" cy="495377"/>
                </a:xfrm>
                <a:custGeom>
                  <a:avLst/>
                  <a:gdLst/>
                  <a:ahLst/>
                  <a:cxnLst/>
                  <a:rect l="l" t="t" r="r" b="b"/>
                  <a:pathLst>
                    <a:path w="2895600" h="1478280">
                      <a:moveTo>
                        <a:pt x="1112520" y="0"/>
                      </a:moveTo>
                      <a:cubicBezTo>
                        <a:pt x="1435175" y="0"/>
                        <a:pt x="1705787" y="222820"/>
                        <a:pt x="1776897" y="523460"/>
                      </a:cubicBezTo>
                      <a:cubicBezTo>
                        <a:pt x="1830330" y="473455"/>
                        <a:pt x="1902261" y="443446"/>
                        <a:pt x="1981200" y="443446"/>
                      </a:cubicBezTo>
                      <a:cubicBezTo>
                        <a:pt x="2141537" y="443446"/>
                        <a:pt x="2272959" y="567249"/>
                        <a:pt x="2283615" y="724590"/>
                      </a:cubicBezTo>
                      <a:cubicBezTo>
                        <a:pt x="2337590" y="699394"/>
                        <a:pt x="2397838" y="685800"/>
                        <a:pt x="2461260" y="685800"/>
                      </a:cubicBezTo>
                      <a:cubicBezTo>
                        <a:pt x="2701139" y="685800"/>
                        <a:pt x="2895600" y="880261"/>
                        <a:pt x="2895600" y="1120140"/>
                      </a:cubicBezTo>
                      <a:cubicBezTo>
                        <a:pt x="2895600" y="1271517"/>
                        <a:pt x="2818161" y="1404807"/>
                        <a:pt x="2698117" y="1478280"/>
                      </a:cubicBezTo>
                      <a:lnTo>
                        <a:pt x="64333" y="1478280"/>
                      </a:lnTo>
                      <a:cubicBezTo>
                        <a:pt x="23189" y="1414624"/>
                        <a:pt x="0" y="1338670"/>
                        <a:pt x="0" y="1257300"/>
                      </a:cubicBezTo>
                      <a:cubicBezTo>
                        <a:pt x="0" y="1025837"/>
                        <a:pt x="187637" y="838200"/>
                        <a:pt x="419100" y="838200"/>
                      </a:cubicBezTo>
                      <a:lnTo>
                        <a:pt x="445895" y="840901"/>
                      </a:lnTo>
                      <a:cubicBezTo>
                        <a:pt x="432838" y="791300"/>
                        <a:pt x="426720" y="739265"/>
                        <a:pt x="426720" y="685800"/>
                      </a:cubicBezTo>
                      <a:cubicBezTo>
                        <a:pt x="426720" y="307043"/>
                        <a:pt x="733763" y="0"/>
                        <a:pt x="1112520" y="0"/>
                      </a:cubicBezTo>
                      <a:close/>
                    </a:path>
                  </a:pathLst>
                </a:custGeom>
                <a:solidFill>
                  <a:schemeClr val="bg1">
                    <a:lumMod val="50000"/>
                  </a:schemeClr>
                </a:solidFill>
                <a:ln w="9525">
                  <a:solidFill>
                    <a:schemeClr val="bg1"/>
                  </a:solidFill>
                </a:ln>
              </p:spPr>
              <p:txBody>
                <a:bodyPr vert="horz" wrap="square" lIns="0" tIns="182714" rIns="365428" bIns="45679" numCol="1" anchor="t" anchorCtr="0" compatLnSpc="1">
                  <a:prstTxWarp prst="textNoShape">
                    <a:avLst/>
                  </a:prstTxWarp>
                </a:bodyPr>
                <a:lstStyle/>
                <a:p>
                  <a:pPr marL="0" marR="0" lvl="0" indent="0" algn="ctr" defTabSz="932207"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0072C6"/>
                    </a:solidFill>
                    <a:effectLst/>
                    <a:uLnTx/>
                    <a:uFillTx/>
                    <a:latin typeface="Segoe UI"/>
                    <a:ea typeface="+mn-ea"/>
                    <a:cs typeface="+mn-cs"/>
                  </a:endParaRPr>
                </a:p>
              </p:txBody>
            </p:sp>
            <p:sp>
              <p:nvSpPr>
                <p:cNvPr id="395" name="Oval 15"/>
                <p:cNvSpPr/>
                <p:nvPr/>
              </p:nvSpPr>
              <p:spPr>
                <a:xfrm>
                  <a:off x="8596292" y="2423973"/>
                  <a:ext cx="936626" cy="495377"/>
                </a:xfrm>
                <a:custGeom>
                  <a:avLst/>
                  <a:gdLst/>
                  <a:ahLst/>
                  <a:cxnLst/>
                  <a:rect l="l" t="t" r="r" b="b"/>
                  <a:pathLst>
                    <a:path w="2895600" h="1478280">
                      <a:moveTo>
                        <a:pt x="1112520" y="0"/>
                      </a:moveTo>
                      <a:cubicBezTo>
                        <a:pt x="1435175" y="0"/>
                        <a:pt x="1705787" y="222820"/>
                        <a:pt x="1776897" y="523460"/>
                      </a:cubicBezTo>
                      <a:cubicBezTo>
                        <a:pt x="1830330" y="473455"/>
                        <a:pt x="1902261" y="443446"/>
                        <a:pt x="1981200" y="443446"/>
                      </a:cubicBezTo>
                      <a:cubicBezTo>
                        <a:pt x="2141537" y="443446"/>
                        <a:pt x="2272959" y="567249"/>
                        <a:pt x="2283615" y="724590"/>
                      </a:cubicBezTo>
                      <a:cubicBezTo>
                        <a:pt x="2337590" y="699394"/>
                        <a:pt x="2397838" y="685800"/>
                        <a:pt x="2461260" y="685800"/>
                      </a:cubicBezTo>
                      <a:cubicBezTo>
                        <a:pt x="2701139" y="685800"/>
                        <a:pt x="2895600" y="880261"/>
                        <a:pt x="2895600" y="1120140"/>
                      </a:cubicBezTo>
                      <a:cubicBezTo>
                        <a:pt x="2895600" y="1271517"/>
                        <a:pt x="2818161" y="1404807"/>
                        <a:pt x="2698117" y="1478280"/>
                      </a:cubicBezTo>
                      <a:lnTo>
                        <a:pt x="64333" y="1478280"/>
                      </a:lnTo>
                      <a:cubicBezTo>
                        <a:pt x="23189" y="1414624"/>
                        <a:pt x="0" y="1338670"/>
                        <a:pt x="0" y="1257300"/>
                      </a:cubicBezTo>
                      <a:cubicBezTo>
                        <a:pt x="0" y="1025837"/>
                        <a:pt x="187637" y="838200"/>
                        <a:pt x="419100" y="838200"/>
                      </a:cubicBezTo>
                      <a:lnTo>
                        <a:pt x="445895" y="840901"/>
                      </a:lnTo>
                      <a:cubicBezTo>
                        <a:pt x="432838" y="791300"/>
                        <a:pt x="426720" y="739265"/>
                        <a:pt x="426720" y="685800"/>
                      </a:cubicBezTo>
                      <a:cubicBezTo>
                        <a:pt x="426720" y="307043"/>
                        <a:pt x="733763" y="0"/>
                        <a:pt x="1112520" y="0"/>
                      </a:cubicBezTo>
                      <a:close/>
                    </a:path>
                  </a:pathLst>
                </a:custGeom>
                <a:solidFill>
                  <a:schemeClr val="bg1">
                    <a:lumMod val="50000"/>
                  </a:schemeClr>
                </a:solidFill>
                <a:ln w="9525">
                  <a:solidFill>
                    <a:schemeClr val="bg1"/>
                  </a:solidFill>
                </a:ln>
              </p:spPr>
              <p:txBody>
                <a:bodyPr vert="horz" wrap="square" lIns="0" tIns="182714" rIns="365428" bIns="45679" numCol="1" anchor="t" anchorCtr="0" compatLnSpc="1">
                  <a:prstTxWarp prst="textNoShape">
                    <a:avLst/>
                  </a:prstTxWarp>
                </a:bodyPr>
                <a:lstStyle/>
                <a:p>
                  <a:pPr marL="0" marR="0" lvl="0" indent="0" algn="ctr" defTabSz="932207"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0072C6"/>
                    </a:solidFill>
                    <a:effectLst/>
                    <a:uLnTx/>
                    <a:uFillTx/>
                    <a:latin typeface="Segoe UI"/>
                    <a:ea typeface="+mn-ea"/>
                    <a:cs typeface="+mn-cs"/>
                  </a:endParaRPr>
                </a:p>
              </p:txBody>
            </p:sp>
            <p:sp>
              <p:nvSpPr>
                <p:cNvPr id="396" name="Oval 15"/>
                <p:cNvSpPr/>
                <p:nvPr/>
              </p:nvSpPr>
              <p:spPr>
                <a:xfrm>
                  <a:off x="8465771" y="2547818"/>
                  <a:ext cx="936626" cy="495377"/>
                </a:xfrm>
                <a:custGeom>
                  <a:avLst/>
                  <a:gdLst/>
                  <a:ahLst/>
                  <a:cxnLst/>
                  <a:rect l="l" t="t" r="r" b="b"/>
                  <a:pathLst>
                    <a:path w="2895600" h="1478280">
                      <a:moveTo>
                        <a:pt x="1112520" y="0"/>
                      </a:moveTo>
                      <a:cubicBezTo>
                        <a:pt x="1435175" y="0"/>
                        <a:pt x="1705787" y="222820"/>
                        <a:pt x="1776897" y="523460"/>
                      </a:cubicBezTo>
                      <a:cubicBezTo>
                        <a:pt x="1830330" y="473455"/>
                        <a:pt x="1902261" y="443446"/>
                        <a:pt x="1981200" y="443446"/>
                      </a:cubicBezTo>
                      <a:cubicBezTo>
                        <a:pt x="2141537" y="443446"/>
                        <a:pt x="2272959" y="567249"/>
                        <a:pt x="2283615" y="724590"/>
                      </a:cubicBezTo>
                      <a:cubicBezTo>
                        <a:pt x="2337590" y="699394"/>
                        <a:pt x="2397838" y="685800"/>
                        <a:pt x="2461260" y="685800"/>
                      </a:cubicBezTo>
                      <a:cubicBezTo>
                        <a:pt x="2701139" y="685800"/>
                        <a:pt x="2895600" y="880261"/>
                        <a:pt x="2895600" y="1120140"/>
                      </a:cubicBezTo>
                      <a:cubicBezTo>
                        <a:pt x="2895600" y="1271517"/>
                        <a:pt x="2818161" y="1404807"/>
                        <a:pt x="2698117" y="1478280"/>
                      </a:cubicBezTo>
                      <a:lnTo>
                        <a:pt x="64333" y="1478280"/>
                      </a:lnTo>
                      <a:cubicBezTo>
                        <a:pt x="23189" y="1414624"/>
                        <a:pt x="0" y="1338670"/>
                        <a:pt x="0" y="1257300"/>
                      </a:cubicBezTo>
                      <a:cubicBezTo>
                        <a:pt x="0" y="1025837"/>
                        <a:pt x="187637" y="838200"/>
                        <a:pt x="419100" y="838200"/>
                      </a:cubicBezTo>
                      <a:lnTo>
                        <a:pt x="445895" y="840901"/>
                      </a:lnTo>
                      <a:cubicBezTo>
                        <a:pt x="432838" y="791300"/>
                        <a:pt x="426720" y="739265"/>
                        <a:pt x="426720" y="685800"/>
                      </a:cubicBezTo>
                      <a:cubicBezTo>
                        <a:pt x="426720" y="307043"/>
                        <a:pt x="733763" y="0"/>
                        <a:pt x="1112520" y="0"/>
                      </a:cubicBezTo>
                      <a:close/>
                    </a:path>
                  </a:pathLst>
                </a:custGeom>
                <a:solidFill>
                  <a:schemeClr val="bg1">
                    <a:lumMod val="50000"/>
                  </a:schemeClr>
                </a:solidFill>
                <a:ln w="9525">
                  <a:solidFill>
                    <a:schemeClr val="bg1"/>
                  </a:solidFill>
                </a:ln>
              </p:spPr>
              <p:txBody>
                <a:bodyPr vert="horz" wrap="square" lIns="0" tIns="182714" rIns="365428" bIns="45679" numCol="1" anchor="t" anchorCtr="0" compatLnSpc="1">
                  <a:prstTxWarp prst="textNoShape">
                    <a:avLst/>
                  </a:prstTxWarp>
                </a:bodyPr>
                <a:lstStyle/>
                <a:p>
                  <a:pPr marL="0" marR="0" lvl="0" indent="0" algn="ctr" defTabSz="932207"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0072C6"/>
                    </a:solidFill>
                    <a:effectLst/>
                    <a:uLnTx/>
                    <a:uFillTx/>
                    <a:latin typeface="Segoe UI"/>
                    <a:ea typeface="+mn-ea"/>
                    <a:cs typeface="+mn-cs"/>
                  </a:endParaRPr>
                </a:p>
              </p:txBody>
            </p:sp>
            <p:sp>
              <p:nvSpPr>
                <p:cNvPr id="397" name="Rectangle 396"/>
                <p:cNvSpPr/>
                <p:nvPr/>
              </p:nvSpPr>
              <p:spPr>
                <a:xfrm>
                  <a:off x="8316037" y="3066771"/>
                  <a:ext cx="1526966" cy="470856"/>
                </a:xfrm>
                <a:prstGeom prst="rect">
                  <a:avLst/>
                </a:prstGeom>
                <a:noFill/>
              </p:spPr>
              <p:txBody>
                <a:bodyPr wrap="square" lIns="45720" rIns="45720">
                  <a:spAutoFit/>
                </a:bodyPr>
                <a:lstStyle/>
                <a:p>
                  <a:pPr marL="0" marR="0" lvl="0" indent="0" algn="ctr" defTabSz="932207"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mn-cs"/>
                    </a:rPr>
                    <a:t>Fast, scalable </a:t>
                  </a:r>
                  <a:r>
                    <a:rPr kumimoji="0" lang="en-US" sz="120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mn-cs"/>
                    </a:rPr>
                    <a:t>dev</a:t>
                  </a:r>
                  <a:r>
                    <a:rPr kumimoji="0" lang="en-US" sz="12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mn-cs"/>
                    </a:rPr>
                    <a:t> &amp; test environments</a:t>
                  </a:r>
                </a:p>
              </p:txBody>
            </p:sp>
            <p:grpSp>
              <p:nvGrpSpPr>
                <p:cNvPr id="398" name="Group 397"/>
                <p:cNvGrpSpPr/>
                <p:nvPr/>
              </p:nvGrpSpPr>
              <p:grpSpPr>
                <a:xfrm>
                  <a:off x="8693888" y="2685973"/>
                  <a:ext cx="406109" cy="298182"/>
                  <a:chOff x="7547887" y="5511595"/>
                  <a:chExt cx="869554" cy="616289"/>
                </a:xfrm>
              </p:grpSpPr>
              <p:sp>
                <p:nvSpPr>
                  <p:cNvPr id="399" name="Freeform 398"/>
                  <p:cNvSpPr/>
                  <p:nvPr/>
                </p:nvSpPr>
                <p:spPr>
                  <a:xfrm>
                    <a:off x="7547887" y="5511599"/>
                    <a:ext cx="869554" cy="616279"/>
                  </a:xfrm>
                  <a:custGeom>
                    <a:avLst/>
                    <a:gdLst/>
                    <a:ahLst/>
                    <a:cxnLst/>
                    <a:rect l="l" t="t" r="r" b="b"/>
                    <a:pathLst>
                      <a:path w="1826451" h="1189272">
                        <a:moveTo>
                          <a:pt x="1818756" y="403536"/>
                        </a:moveTo>
                        <a:lnTo>
                          <a:pt x="1816158" y="405046"/>
                        </a:lnTo>
                        <a:lnTo>
                          <a:pt x="1818756" y="419335"/>
                        </a:lnTo>
                        <a:close/>
                        <a:moveTo>
                          <a:pt x="946881" y="0"/>
                        </a:moveTo>
                        <a:lnTo>
                          <a:pt x="1826451" y="397244"/>
                        </a:lnTo>
                        <a:lnTo>
                          <a:pt x="1826451" y="680968"/>
                        </a:lnTo>
                        <a:lnTo>
                          <a:pt x="1045061" y="1172585"/>
                        </a:lnTo>
                        <a:lnTo>
                          <a:pt x="1045042" y="1168142"/>
                        </a:lnTo>
                        <a:lnTo>
                          <a:pt x="1004853" y="1188236"/>
                        </a:lnTo>
                        <a:lnTo>
                          <a:pt x="1004853" y="1188835"/>
                        </a:lnTo>
                        <a:lnTo>
                          <a:pt x="1004278" y="1188523"/>
                        </a:lnTo>
                        <a:lnTo>
                          <a:pt x="1002781" y="1189272"/>
                        </a:lnTo>
                        <a:lnTo>
                          <a:pt x="999370" y="1185861"/>
                        </a:lnTo>
                        <a:lnTo>
                          <a:pt x="941272" y="1154347"/>
                        </a:lnTo>
                        <a:lnTo>
                          <a:pt x="939815" y="1154347"/>
                        </a:lnTo>
                        <a:lnTo>
                          <a:pt x="879189" y="1189132"/>
                        </a:lnTo>
                        <a:cubicBezTo>
                          <a:pt x="853875" y="1188276"/>
                          <a:pt x="847388" y="1175252"/>
                          <a:pt x="842538" y="1161469"/>
                        </a:cubicBezTo>
                        <a:lnTo>
                          <a:pt x="842538" y="1105070"/>
                        </a:lnTo>
                        <a:lnTo>
                          <a:pt x="838887" y="1098811"/>
                        </a:lnTo>
                        <a:lnTo>
                          <a:pt x="131333" y="715015"/>
                        </a:lnTo>
                        <a:lnTo>
                          <a:pt x="85519" y="746225"/>
                        </a:lnTo>
                        <a:cubicBezTo>
                          <a:pt x="39005" y="756538"/>
                          <a:pt x="13772" y="734914"/>
                          <a:pt x="0" y="717852"/>
                        </a:cubicBezTo>
                        <a:lnTo>
                          <a:pt x="0" y="513570"/>
                        </a:lnTo>
                        <a:cubicBezTo>
                          <a:pt x="1795" y="502055"/>
                          <a:pt x="10140" y="478373"/>
                          <a:pt x="27489" y="465337"/>
                        </a:cubicBezTo>
                        <a:lnTo>
                          <a:pt x="64140" y="442639"/>
                        </a:lnTo>
                        <a:lnTo>
                          <a:pt x="58672" y="394388"/>
                        </a:lnTo>
                        <a:lnTo>
                          <a:pt x="56631" y="392347"/>
                        </a:lnTo>
                        <a:lnTo>
                          <a:pt x="58357" y="391607"/>
                        </a:lnTo>
                        <a:lnTo>
                          <a:pt x="58031" y="388731"/>
                        </a:lnTo>
                        <a:lnTo>
                          <a:pt x="61196" y="390391"/>
                        </a:lnTo>
                        <a:lnTo>
                          <a:pt x="167756" y="344722"/>
                        </a:lnTo>
                        <a:lnTo>
                          <a:pt x="169844" y="345183"/>
                        </a:lnTo>
                        <a:close/>
                      </a:path>
                    </a:pathLst>
                  </a:custGeom>
                  <a:solidFill>
                    <a:schemeClr val="bg1"/>
                  </a:solidFill>
                  <a:ln w="6350" cap="flat" cmpd="sng" algn="ctr">
                    <a:solidFill>
                      <a:schemeClr val="bg1">
                        <a:lumMod val="50000"/>
                      </a:schemeClr>
                    </a:solidFill>
                    <a:prstDash val="solid"/>
                  </a:ln>
                  <a:effectLst/>
                </p:spPr>
                <p:txBody>
                  <a:bodyPr rtlCol="0" anchor="ctr"/>
                  <a:lstStyle/>
                  <a:p>
                    <a:pPr marL="0" marR="0" lvl="0" indent="0" algn="ctr" defTabSz="9138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0" name="Freeform 399"/>
                  <p:cNvSpPr/>
                  <p:nvPr/>
                </p:nvSpPr>
                <p:spPr>
                  <a:xfrm>
                    <a:off x="7593710" y="5511595"/>
                    <a:ext cx="823728" cy="607083"/>
                  </a:xfrm>
                  <a:custGeom>
                    <a:avLst/>
                    <a:gdLst>
                      <a:gd name="connsiteX0" fmla="*/ 2461071 w 4815616"/>
                      <a:gd name="connsiteY0" fmla="*/ 0 h 3604855"/>
                      <a:gd name="connsiteX1" fmla="*/ 4815616 w 4815616"/>
                      <a:gd name="connsiteY1" fmla="*/ 1350532 h 3604855"/>
                      <a:gd name="connsiteX2" fmla="*/ 4815616 w 4815616"/>
                      <a:gd name="connsiteY2" fmla="*/ 2239039 h 3604855"/>
                      <a:gd name="connsiteX3" fmla="*/ 2609582 w 4815616"/>
                      <a:gd name="connsiteY3" fmla="*/ 3604855 h 3604855"/>
                      <a:gd name="connsiteX4" fmla="*/ 2603232 w 4815616"/>
                      <a:gd name="connsiteY4" fmla="*/ 2861839 h 3604855"/>
                      <a:gd name="connsiteX5" fmla="*/ 4793230 w 4815616"/>
                      <a:gd name="connsiteY5" fmla="*/ 1461676 h 3604855"/>
                      <a:gd name="connsiteX6" fmla="*/ 4793230 w 4815616"/>
                      <a:gd name="connsiteY6" fmla="*/ 1370236 h 3604855"/>
                      <a:gd name="connsiteX7" fmla="*/ 2594161 w 4815616"/>
                      <a:gd name="connsiteY7" fmla="*/ 2766942 h 3604855"/>
                      <a:gd name="connsiteX8" fmla="*/ 0 w 4815616"/>
                      <a:gd name="connsiteY8" fmla="*/ 1279510 h 3604855"/>
                      <a:gd name="connsiteX9" fmla="*/ 2461071 w 4815616"/>
                      <a:gd name="connsiteY9" fmla="*/ 0 h 3604855"/>
                      <a:gd name="connsiteX0" fmla="*/ 2461071 w 4815616"/>
                      <a:gd name="connsiteY0" fmla="*/ 0 h 3655655"/>
                      <a:gd name="connsiteX1" fmla="*/ 4815616 w 4815616"/>
                      <a:gd name="connsiteY1" fmla="*/ 1350532 h 3655655"/>
                      <a:gd name="connsiteX2" fmla="*/ 4815616 w 4815616"/>
                      <a:gd name="connsiteY2" fmla="*/ 2239039 h 3655655"/>
                      <a:gd name="connsiteX3" fmla="*/ 2603232 w 4815616"/>
                      <a:gd name="connsiteY3" fmla="*/ 3655655 h 3655655"/>
                      <a:gd name="connsiteX4" fmla="*/ 2603232 w 4815616"/>
                      <a:gd name="connsiteY4" fmla="*/ 2861839 h 3655655"/>
                      <a:gd name="connsiteX5" fmla="*/ 4793230 w 4815616"/>
                      <a:gd name="connsiteY5" fmla="*/ 1461676 h 3655655"/>
                      <a:gd name="connsiteX6" fmla="*/ 4793230 w 4815616"/>
                      <a:gd name="connsiteY6" fmla="*/ 1370236 h 3655655"/>
                      <a:gd name="connsiteX7" fmla="*/ 2594161 w 4815616"/>
                      <a:gd name="connsiteY7" fmla="*/ 2766942 h 3655655"/>
                      <a:gd name="connsiteX8" fmla="*/ 0 w 4815616"/>
                      <a:gd name="connsiteY8" fmla="*/ 1279510 h 3655655"/>
                      <a:gd name="connsiteX9" fmla="*/ 2461071 w 4815616"/>
                      <a:gd name="connsiteY9" fmla="*/ 0 h 3655655"/>
                      <a:gd name="connsiteX0" fmla="*/ 2256885 w 4815616"/>
                      <a:gd name="connsiteY0" fmla="*/ 0 h 3549123"/>
                      <a:gd name="connsiteX1" fmla="*/ 4815616 w 4815616"/>
                      <a:gd name="connsiteY1" fmla="*/ 1244000 h 3549123"/>
                      <a:gd name="connsiteX2" fmla="*/ 4815616 w 4815616"/>
                      <a:gd name="connsiteY2" fmla="*/ 2132507 h 3549123"/>
                      <a:gd name="connsiteX3" fmla="*/ 2603232 w 4815616"/>
                      <a:gd name="connsiteY3" fmla="*/ 3549123 h 3549123"/>
                      <a:gd name="connsiteX4" fmla="*/ 2603232 w 4815616"/>
                      <a:gd name="connsiteY4" fmla="*/ 2755307 h 3549123"/>
                      <a:gd name="connsiteX5" fmla="*/ 4793230 w 4815616"/>
                      <a:gd name="connsiteY5" fmla="*/ 1355144 h 3549123"/>
                      <a:gd name="connsiteX6" fmla="*/ 4793230 w 4815616"/>
                      <a:gd name="connsiteY6" fmla="*/ 1263704 h 3549123"/>
                      <a:gd name="connsiteX7" fmla="*/ 2594161 w 4815616"/>
                      <a:gd name="connsiteY7" fmla="*/ 2660410 h 3549123"/>
                      <a:gd name="connsiteX8" fmla="*/ 0 w 4815616"/>
                      <a:gd name="connsiteY8" fmla="*/ 1172978 h 3549123"/>
                      <a:gd name="connsiteX9" fmla="*/ 2256885 w 4815616"/>
                      <a:gd name="connsiteY9" fmla="*/ 0 h 3549123"/>
                      <a:gd name="connsiteX0" fmla="*/ 2474537 w 5033268"/>
                      <a:gd name="connsiteY0" fmla="*/ 0 h 3549123"/>
                      <a:gd name="connsiteX1" fmla="*/ 5033268 w 5033268"/>
                      <a:gd name="connsiteY1" fmla="*/ 1244000 h 3549123"/>
                      <a:gd name="connsiteX2" fmla="*/ 5033268 w 5033268"/>
                      <a:gd name="connsiteY2" fmla="*/ 2132507 h 3549123"/>
                      <a:gd name="connsiteX3" fmla="*/ 2820884 w 5033268"/>
                      <a:gd name="connsiteY3" fmla="*/ 3549123 h 3549123"/>
                      <a:gd name="connsiteX4" fmla="*/ 2820884 w 5033268"/>
                      <a:gd name="connsiteY4" fmla="*/ 2755307 h 3549123"/>
                      <a:gd name="connsiteX5" fmla="*/ 5010882 w 5033268"/>
                      <a:gd name="connsiteY5" fmla="*/ 1355144 h 3549123"/>
                      <a:gd name="connsiteX6" fmla="*/ 5010882 w 5033268"/>
                      <a:gd name="connsiteY6" fmla="*/ 1263704 h 3549123"/>
                      <a:gd name="connsiteX7" fmla="*/ 2811813 w 5033268"/>
                      <a:gd name="connsiteY7" fmla="*/ 2660410 h 3549123"/>
                      <a:gd name="connsiteX8" fmla="*/ 0 w 5033268"/>
                      <a:gd name="connsiteY8" fmla="*/ 1183342 h 3549123"/>
                      <a:gd name="connsiteX9" fmla="*/ 2474537 w 5033268"/>
                      <a:gd name="connsiteY9" fmla="*/ 0 h 3549123"/>
                      <a:gd name="connsiteX0" fmla="*/ 2474537 w 5033268"/>
                      <a:gd name="connsiteY0" fmla="*/ 0 h 3549123"/>
                      <a:gd name="connsiteX1" fmla="*/ 5033268 w 5033268"/>
                      <a:gd name="connsiteY1" fmla="*/ 1244000 h 3549123"/>
                      <a:gd name="connsiteX2" fmla="*/ 5033268 w 5033268"/>
                      <a:gd name="connsiteY2" fmla="*/ 2132507 h 3549123"/>
                      <a:gd name="connsiteX3" fmla="*/ 2820884 w 5033268"/>
                      <a:gd name="connsiteY3" fmla="*/ 3549123 h 3549123"/>
                      <a:gd name="connsiteX4" fmla="*/ 2820884 w 5033268"/>
                      <a:gd name="connsiteY4" fmla="*/ 2755307 h 3549123"/>
                      <a:gd name="connsiteX5" fmla="*/ 5010882 w 5033268"/>
                      <a:gd name="connsiteY5" fmla="*/ 1355144 h 3549123"/>
                      <a:gd name="connsiteX6" fmla="*/ 5010882 w 5033268"/>
                      <a:gd name="connsiteY6" fmla="*/ 1263704 h 3549123"/>
                      <a:gd name="connsiteX7" fmla="*/ 2744445 w 5033268"/>
                      <a:gd name="connsiteY7" fmla="*/ 2707049 h 3549123"/>
                      <a:gd name="connsiteX8" fmla="*/ 0 w 5033268"/>
                      <a:gd name="connsiteY8" fmla="*/ 1183342 h 3549123"/>
                      <a:gd name="connsiteX9" fmla="*/ 2474537 w 5033268"/>
                      <a:gd name="connsiteY9" fmla="*/ 0 h 3549123"/>
                      <a:gd name="connsiteX0" fmla="*/ 2474537 w 5033268"/>
                      <a:gd name="connsiteY0" fmla="*/ 0 h 3549123"/>
                      <a:gd name="connsiteX1" fmla="*/ 5033268 w 5033268"/>
                      <a:gd name="connsiteY1" fmla="*/ 1244000 h 3549123"/>
                      <a:gd name="connsiteX2" fmla="*/ 5033268 w 5033268"/>
                      <a:gd name="connsiteY2" fmla="*/ 2132507 h 3549123"/>
                      <a:gd name="connsiteX3" fmla="*/ 2820884 w 5033268"/>
                      <a:gd name="connsiteY3" fmla="*/ 3549123 h 3549123"/>
                      <a:gd name="connsiteX4" fmla="*/ 2758697 w 5033268"/>
                      <a:gd name="connsiteY4" fmla="*/ 2786402 h 3549123"/>
                      <a:gd name="connsiteX5" fmla="*/ 5010882 w 5033268"/>
                      <a:gd name="connsiteY5" fmla="*/ 1355144 h 3549123"/>
                      <a:gd name="connsiteX6" fmla="*/ 5010882 w 5033268"/>
                      <a:gd name="connsiteY6" fmla="*/ 1263704 h 3549123"/>
                      <a:gd name="connsiteX7" fmla="*/ 2744445 w 5033268"/>
                      <a:gd name="connsiteY7" fmla="*/ 2707049 h 3549123"/>
                      <a:gd name="connsiteX8" fmla="*/ 0 w 5033268"/>
                      <a:gd name="connsiteY8" fmla="*/ 1183342 h 3549123"/>
                      <a:gd name="connsiteX9" fmla="*/ 2474537 w 5033268"/>
                      <a:gd name="connsiteY9" fmla="*/ 0 h 3549123"/>
                      <a:gd name="connsiteX0" fmla="*/ 2474537 w 5033268"/>
                      <a:gd name="connsiteY0" fmla="*/ 0 h 3678678"/>
                      <a:gd name="connsiteX1" fmla="*/ 5033268 w 5033268"/>
                      <a:gd name="connsiteY1" fmla="*/ 1244000 h 3678678"/>
                      <a:gd name="connsiteX2" fmla="*/ 5033268 w 5033268"/>
                      <a:gd name="connsiteY2" fmla="*/ 2132507 h 3678678"/>
                      <a:gd name="connsiteX3" fmla="*/ 2758697 w 5033268"/>
                      <a:gd name="connsiteY3" fmla="*/ 3678678 h 3678678"/>
                      <a:gd name="connsiteX4" fmla="*/ 2758697 w 5033268"/>
                      <a:gd name="connsiteY4" fmla="*/ 2786402 h 3678678"/>
                      <a:gd name="connsiteX5" fmla="*/ 5010882 w 5033268"/>
                      <a:gd name="connsiteY5" fmla="*/ 1355144 h 3678678"/>
                      <a:gd name="connsiteX6" fmla="*/ 5010882 w 5033268"/>
                      <a:gd name="connsiteY6" fmla="*/ 1263704 h 3678678"/>
                      <a:gd name="connsiteX7" fmla="*/ 2744445 w 5033268"/>
                      <a:gd name="connsiteY7" fmla="*/ 2707049 h 3678678"/>
                      <a:gd name="connsiteX8" fmla="*/ 0 w 5033268"/>
                      <a:gd name="connsiteY8" fmla="*/ 1183342 h 3678678"/>
                      <a:gd name="connsiteX9" fmla="*/ 2474537 w 5033268"/>
                      <a:gd name="connsiteY9" fmla="*/ 0 h 3678678"/>
                      <a:gd name="connsiteX0" fmla="*/ 2474537 w 5033268"/>
                      <a:gd name="connsiteY0" fmla="*/ 0 h 3678678"/>
                      <a:gd name="connsiteX1" fmla="*/ 5033268 w 5033268"/>
                      <a:gd name="connsiteY1" fmla="*/ 1244000 h 3678678"/>
                      <a:gd name="connsiteX2" fmla="*/ 5033268 w 5033268"/>
                      <a:gd name="connsiteY2" fmla="*/ 2132507 h 3678678"/>
                      <a:gd name="connsiteX3" fmla="*/ 2774243 w 5033268"/>
                      <a:gd name="connsiteY3" fmla="*/ 3678678 h 3678678"/>
                      <a:gd name="connsiteX4" fmla="*/ 2758697 w 5033268"/>
                      <a:gd name="connsiteY4" fmla="*/ 2786402 h 3678678"/>
                      <a:gd name="connsiteX5" fmla="*/ 5010882 w 5033268"/>
                      <a:gd name="connsiteY5" fmla="*/ 1355144 h 3678678"/>
                      <a:gd name="connsiteX6" fmla="*/ 5010882 w 5033268"/>
                      <a:gd name="connsiteY6" fmla="*/ 1263704 h 3678678"/>
                      <a:gd name="connsiteX7" fmla="*/ 2744445 w 5033268"/>
                      <a:gd name="connsiteY7" fmla="*/ 2707049 h 3678678"/>
                      <a:gd name="connsiteX8" fmla="*/ 0 w 5033268"/>
                      <a:gd name="connsiteY8" fmla="*/ 1183342 h 3678678"/>
                      <a:gd name="connsiteX9" fmla="*/ 2474537 w 5033268"/>
                      <a:gd name="connsiteY9" fmla="*/ 0 h 3678678"/>
                      <a:gd name="connsiteX0" fmla="*/ 2474537 w 5033268"/>
                      <a:gd name="connsiteY0" fmla="*/ 0 h 3683860"/>
                      <a:gd name="connsiteX1" fmla="*/ 5033268 w 5033268"/>
                      <a:gd name="connsiteY1" fmla="*/ 1244000 h 3683860"/>
                      <a:gd name="connsiteX2" fmla="*/ 5033268 w 5033268"/>
                      <a:gd name="connsiteY2" fmla="*/ 2132507 h 3683860"/>
                      <a:gd name="connsiteX3" fmla="*/ 2769061 w 5033268"/>
                      <a:gd name="connsiteY3" fmla="*/ 3683860 h 3683860"/>
                      <a:gd name="connsiteX4" fmla="*/ 2758697 w 5033268"/>
                      <a:gd name="connsiteY4" fmla="*/ 2786402 h 3683860"/>
                      <a:gd name="connsiteX5" fmla="*/ 5010882 w 5033268"/>
                      <a:gd name="connsiteY5" fmla="*/ 1355144 h 3683860"/>
                      <a:gd name="connsiteX6" fmla="*/ 5010882 w 5033268"/>
                      <a:gd name="connsiteY6" fmla="*/ 1263704 h 3683860"/>
                      <a:gd name="connsiteX7" fmla="*/ 2744445 w 5033268"/>
                      <a:gd name="connsiteY7" fmla="*/ 2707049 h 3683860"/>
                      <a:gd name="connsiteX8" fmla="*/ 0 w 5033268"/>
                      <a:gd name="connsiteY8" fmla="*/ 1183342 h 3683860"/>
                      <a:gd name="connsiteX9" fmla="*/ 2474537 w 5033268"/>
                      <a:gd name="connsiteY9" fmla="*/ 0 h 3683860"/>
                      <a:gd name="connsiteX0" fmla="*/ 2474537 w 5033268"/>
                      <a:gd name="connsiteY0" fmla="*/ 0 h 3668315"/>
                      <a:gd name="connsiteX1" fmla="*/ 5033268 w 5033268"/>
                      <a:gd name="connsiteY1" fmla="*/ 1244000 h 3668315"/>
                      <a:gd name="connsiteX2" fmla="*/ 5033268 w 5033268"/>
                      <a:gd name="connsiteY2" fmla="*/ 2132507 h 3668315"/>
                      <a:gd name="connsiteX3" fmla="*/ 2763879 w 5033268"/>
                      <a:gd name="connsiteY3" fmla="*/ 3668315 h 3668315"/>
                      <a:gd name="connsiteX4" fmla="*/ 2758697 w 5033268"/>
                      <a:gd name="connsiteY4" fmla="*/ 2786402 h 3668315"/>
                      <a:gd name="connsiteX5" fmla="*/ 5010882 w 5033268"/>
                      <a:gd name="connsiteY5" fmla="*/ 1355144 h 3668315"/>
                      <a:gd name="connsiteX6" fmla="*/ 5010882 w 5033268"/>
                      <a:gd name="connsiteY6" fmla="*/ 1263704 h 3668315"/>
                      <a:gd name="connsiteX7" fmla="*/ 2744445 w 5033268"/>
                      <a:gd name="connsiteY7" fmla="*/ 2707049 h 3668315"/>
                      <a:gd name="connsiteX8" fmla="*/ 0 w 5033268"/>
                      <a:gd name="connsiteY8" fmla="*/ 1183342 h 3668315"/>
                      <a:gd name="connsiteX9" fmla="*/ 2474537 w 5033268"/>
                      <a:gd name="connsiteY9" fmla="*/ 0 h 3668315"/>
                      <a:gd name="connsiteX0" fmla="*/ 2474537 w 5033268"/>
                      <a:gd name="connsiteY0" fmla="*/ 0 h 3668315"/>
                      <a:gd name="connsiteX1" fmla="*/ 5033268 w 5033268"/>
                      <a:gd name="connsiteY1" fmla="*/ 1244000 h 3668315"/>
                      <a:gd name="connsiteX2" fmla="*/ 5033268 w 5033268"/>
                      <a:gd name="connsiteY2" fmla="*/ 2132507 h 3668315"/>
                      <a:gd name="connsiteX3" fmla="*/ 2763879 w 5033268"/>
                      <a:gd name="connsiteY3" fmla="*/ 3668315 h 3668315"/>
                      <a:gd name="connsiteX4" fmla="*/ 2758697 w 5033268"/>
                      <a:gd name="connsiteY4" fmla="*/ 2786402 h 3668315"/>
                      <a:gd name="connsiteX5" fmla="*/ 5010882 w 5033268"/>
                      <a:gd name="connsiteY5" fmla="*/ 1355144 h 3668315"/>
                      <a:gd name="connsiteX6" fmla="*/ 5010882 w 5033268"/>
                      <a:gd name="connsiteY6" fmla="*/ 1263704 h 3668315"/>
                      <a:gd name="connsiteX7" fmla="*/ 2728898 w 5033268"/>
                      <a:gd name="connsiteY7" fmla="*/ 2691502 h 3668315"/>
                      <a:gd name="connsiteX8" fmla="*/ 0 w 5033268"/>
                      <a:gd name="connsiteY8" fmla="*/ 1183342 h 3668315"/>
                      <a:gd name="connsiteX9" fmla="*/ 2474537 w 5033268"/>
                      <a:gd name="connsiteY9" fmla="*/ 0 h 3668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33268" h="3668315">
                        <a:moveTo>
                          <a:pt x="2474537" y="0"/>
                        </a:moveTo>
                        <a:lnTo>
                          <a:pt x="5033268" y="1244000"/>
                        </a:lnTo>
                        <a:lnTo>
                          <a:pt x="5033268" y="2132507"/>
                        </a:lnTo>
                        <a:lnTo>
                          <a:pt x="2763879" y="3668315"/>
                        </a:lnTo>
                        <a:cubicBezTo>
                          <a:pt x="2761762" y="3420643"/>
                          <a:pt x="2760814" y="3034074"/>
                          <a:pt x="2758697" y="2786402"/>
                        </a:cubicBezTo>
                        <a:lnTo>
                          <a:pt x="5010882" y="1355144"/>
                        </a:lnTo>
                        <a:lnTo>
                          <a:pt x="5010882" y="1263704"/>
                        </a:lnTo>
                        <a:lnTo>
                          <a:pt x="2728898" y="2691502"/>
                        </a:lnTo>
                        <a:lnTo>
                          <a:pt x="0" y="1183342"/>
                        </a:lnTo>
                        <a:lnTo>
                          <a:pt x="2474537" y="0"/>
                        </a:lnTo>
                        <a:close/>
                      </a:path>
                    </a:pathLst>
                  </a:cu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1" name="Freeform 400"/>
                  <p:cNvSpPr/>
                  <p:nvPr/>
                </p:nvSpPr>
                <p:spPr>
                  <a:xfrm>
                    <a:off x="7547887" y="5712126"/>
                    <a:ext cx="478400" cy="415758"/>
                  </a:xfrm>
                  <a:custGeom>
                    <a:avLst/>
                    <a:gdLst>
                      <a:gd name="connsiteX0" fmla="*/ 1816809 w 3209223"/>
                      <a:gd name="connsiteY0" fmla="*/ 1536464 h 2758031"/>
                      <a:gd name="connsiteX1" fmla="*/ 1816809 w 3209223"/>
                      <a:gd name="connsiteY1" fmla="*/ 1745604 h 2758031"/>
                      <a:gd name="connsiteX2" fmla="*/ 2611543 w 3209223"/>
                      <a:gd name="connsiteY2" fmla="*/ 2198742 h 2758031"/>
                      <a:gd name="connsiteX3" fmla="*/ 2611543 w 3209223"/>
                      <a:gd name="connsiteY3" fmla="*/ 1989602 h 2758031"/>
                      <a:gd name="connsiteX4" fmla="*/ 1816809 w 3209223"/>
                      <a:gd name="connsiteY4" fmla="*/ 1536464 h 2758031"/>
                      <a:gd name="connsiteX5" fmla="*/ 1816809 w 3209223"/>
                      <a:gd name="connsiteY5" fmla="*/ 1187897 h 2758031"/>
                      <a:gd name="connsiteX6" fmla="*/ 1816809 w 3209223"/>
                      <a:gd name="connsiteY6" fmla="*/ 1397037 h 2758031"/>
                      <a:gd name="connsiteX7" fmla="*/ 2611543 w 3209223"/>
                      <a:gd name="connsiteY7" fmla="*/ 1850175 h 2758031"/>
                      <a:gd name="connsiteX8" fmla="*/ 2611543 w 3209223"/>
                      <a:gd name="connsiteY8" fmla="*/ 1641034 h 2758031"/>
                      <a:gd name="connsiteX9" fmla="*/ 1816809 w 3209223"/>
                      <a:gd name="connsiteY9" fmla="*/ 1187897 h 2758031"/>
                      <a:gd name="connsiteX10" fmla="*/ 703563 w 3209223"/>
                      <a:gd name="connsiteY10" fmla="*/ 946529 h 2758031"/>
                      <a:gd name="connsiteX11" fmla="*/ 669031 w 3209223"/>
                      <a:gd name="connsiteY11" fmla="*/ 1014695 h 2758031"/>
                      <a:gd name="connsiteX12" fmla="*/ 703563 w 3209223"/>
                      <a:gd name="connsiteY12" fmla="*/ 1082861 h 2758031"/>
                      <a:gd name="connsiteX13" fmla="*/ 738095 w 3209223"/>
                      <a:gd name="connsiteY13" fmla="*/ 1014695 h 2758031"/>
                      <a:gd name="connsiteX14" fmla="*/ 703563 w 3209223"/>
                      <a:gd name="connsiteY14" fmla="*/ 946529 h 2758031"/>
                      <a:gd name="connsiteX15" fmla="*/ 703563 w 3209223"/>
                      <a:gd name="connsiteY15" fmla="*/ 737721 h 2758031"/>
                      <a:gd name="connsiteX16" fmla="*/ 669031 w 3209223"/>
                      <a:gd name="connsiteY16" fmla="*/ 805887 h 2758031"/>
                      <a:gd name="connsiteX17" fmla="*/ 703563 w 3209223"/>
                      <a:gd name="connsiteY17" fmla="*/ 874053 h 2758031"/>
                      <a:gd name="connsiteX18" fmla="*/ 738095 w 3209223"/>
                      <a:gd name="connsiteY18" fmla="*/ 805887 h 2758031"/>
                      <a:gd name="connsiteX19" fmla="*/ 703563 w 3209223"/>
                      <a:gd name="connsiteY19" fmla="*/ 737721 h 2758031"/>
                      <a:gd name="connsiteX20" fmla="*/ 703563 w 3209223"/>
                      <a:gd name="connsiteY20" fmla="*/ 528913 h 2758031"/>
                      <a:gd name="connsiteX21" fmla="*/ 669031 w 3209223"/>
                      <a:gd name="connsiteY21" fmla="*/ 597079 h 2758031"/>
                      <a:gd name="connsiteX22" fmla="*/ 703563 w 3209223"/>
                      <a:gd name="connsiteY22" fmla="*/ 665245 h 2758031"/>
                      <a:gd name="connsiteX23" fmla="*/ 738095 w 3209223"/>
                      <a:gd name="connsiteY23" fmla="*/ 597079 h 2758031"/>
                      <a:gd name="connsiteX24" fmla="*/ 703563 w 3209223"/>
                      <a:gd name="connsiteY24" fmla="*/ 528913 h 2758031"/>
                      <a:gd name="connsiteX25" fmla="*/ 416668 w 3209223"/>
                      <a:gd name="connsiteY25" fmla="*/ 229150 h 2758031"/>
                      <a:gd name="connsiteX26" fmla="*/ 391056 w 3209223"/>
                      <a:gd name="connsiteY26" fmla="*/ 233387 h 2758031"/>
                      <a:gd name="connsiteX27" fmla="*/ 165827 w 3209223"/>
                      <a:gd name="connsiteY27" fmla="*/ 345216 h 2758031"/>
                      <a:gd name="connsiteX28" fmla="*/ 70721 w 3209223"/>
                      <a:gd name="connsiteY28" fmla="*/ 491533 h 2758031"/>
                      <a:gd name="connsiteX29" fmla="*/ 70721 w 3209223"/>
                      <a:gd name="connsiteY29" fmla="*/ 1076802 h 2758031"/>
                      <a:gd name="connsiteX30" fmla="*/ 187775 w 3209223"/>
                      <a:gd name="connsiteY30" fmla="*/ 1171910 h 2758031"/>
                      <a:gd name="connsiteX31" fmla="*/ 436513 w 3209223"/>
                      <a:gd name="connsiteY31" fmla="*/ 1018274 h 2758031"/>
                      <a:gd name="connsiteX32" fmla="*/ 419815 w 3209223"/>
                      <a:gd name="connsiteY32" fmla="*/ 846869 h 2758031"/>
                      <a:gd name="connsiteX33" fmla="*/ 268251 w 3209223"/>
                      <a:gd name="connsiteY33" fmla="*/ 930485 h 2758031"/>
                      <a:gd name="connsiteX34" fmla="*/ 268251 w 3209223"/>
                      <a:gd name="connsiteY34" fmla="*/ 491533 h 2758031"/>
                      <a:gd name="connsiteX35" fmla="*/ 419247 w 3209223"/>
                      <a:gd name="connsiteY35" fmla="*/ 395921 h 2758031"/>
                      <a:gd name="connsiteX36" fmla="*/ 416668 w 3209223"/>
                      <a:gd name="connsiteY36" fmla="*/ 229150 h 2758031"/>
                      <a:gd name="connsiteX37" fmla="*/ 204083 w 3209223"/>
                      <a:gd name="connsiteY37" fmla="*/ 0 h 2758031"/>
                      <a:gd name="connsiteX38" fmla="*/ 3209223 w 3209223"/>
                      <a:gd name="connsiteY38" fmla="*/ 1713282 h 2758031"/>
                      <a:gd name="connsiteX39" fmla="*/ 3209223 w 3209223"/>
                      <a:gd name="connsiteY39" fmla="*/ 2757011 h 2758031"/>
                      <a:gd name="connsiteX40" fmla="*/ 3003769 w 3209223"/>
                      <a:gd name="connsiteY40" fmla="*/ 2637043 h 2758031"/>
                      <a:gd name="connsiteX41" fmla="*/ 2807887 w 3209223"/>
                      <a:gd name="connsiteY41" fmla="*/ 2758031 h 2758031"/>
                      <a:gd name="connsiteX42" fmla="*/ 2690833 w 3209223"/>
                      <a:gd name="connsiteY42" fmla="*/ 2662924 h 2758031"/>
                      <a:gd name="connsiteX43" fmla="*/ 2690833 w 3209223"/>
                      <a:gd name="connsiteY43" fmla="*/ 2454314 h 2758031"/>
                      <a:gd name="connsiteX44" fmla="*/ 2734996 w 3209223"/>
                      <a:gd name="connsiteY44" fmla="*/ 2480102 h 2758031"/>
                      <a:gd name="connsiteX45" fmla="*/ 2734996 w 3209223"/>
                      <a:gd name="connsiteY45" fmla="*/ 2665990 h 2758031"/>
                      <a:gd name="connsiteX46" fmla="*/ 2816959 w 3209223"/>
                      <a:gd name="connsiteY46" fmla="*/ 2708610 h 2758031"/>
                      <a:gd name="connsiteX47" fmla="*/ 2960049 w 3209223"/>
                      <a:gd name="connsiteY47" fmla="*/ 2611514 h 2758031"/>
                      <a:gd name="connsiteX48" fmla="*/ 3003768 w 3209223"/>
                      <a:gd name="connsiteY48" fmla="*/ 2637042 h 2758031"/>
                      <a:gd name="connsiteX49" fmla="*/ 3056623 w 3209223"/>
                      <a:gd name="connsiteY49" fmla="*/ 2604396 h 2758031"/>
                      <a:gd name="connsiteX50" fmla="*/ 3039926 w 3209223"/>
                      <a:gd name="connsiteY50" fmla="*/ 2432990 h 2758031"/>
                      <a:gd name="connsiteX51" fmla="*/ 2888361 w 3209223"/>
                      <a:gd name="connsiteY51" fmla="*/ 2516606 h 2758031"/>
                      <a:gd name="connsiteX52" fmla="*/ 2888361 w 3209223"/>
                      <a:gd name="connsiteY52" fmla="*/ 2077654 h 2758031"/>
                      <a:gd name="connsiteX53" fmla="*/ 3039357 w 3209223"/>
                      <a:gd name="connsiteY53" fmla="*/ 1982042 h 2758031"/>
                      <a:gd name="connsiteX54" fmla="*/ 3011167 w 3209223"/>
                      <a:gd name="connsiteY54" fmla="*/ 1819510 h 2758031"/>
                      <a:gd name="connsiteX55" fmla="*/ 2785937 w 3209223"/>
                      <a:gd name="connsiteY55" fmla="*/ 1931337 h 2758031"/>
                      <a:gd name="connsiteX56" fmla="*/ 2690831 w 3209223"/>
                      <a:gd name="connsiteY56" fmla="*/ 2077654 h 2758031"/>
                      <a:gd name="connsiteX57" fmla="*/ 2690831 w 3209223"/>
                      <a:gd name="connsiteY57" fmla="*/ 2454314 h 2758031"/>
                      <a:gd name="connsiteX58" fmla="*/ 419442 w 3209223"/>
                      <a:gd name="connsiteY58" fmla="*/ 1128013 h 2758031"/>
                      <a:gd name="connsiteX59" fmla="*/ 273125 w 3209223"/>
                      <a:gd name="connsiteY59" fmla="*/ 1235313 h 2758031"/>
                      <a:gd name="connsiteX60" fmla="*/ 0 w 3209223"/>
                      <a:gd name="connsiteY60" fmla="*/ 1137768 h 2758031"/>
                      <a:gd name="connsiteX61" fmla="*/ 0 w 3209223"/>
                      <a:gd name="connsiteY61" fmla="*/ 435445 h 2758031"/>
                      <a:gd name="connsiteX62" fmla="*/ 87791 w 3209223"/>
                      <a:gd name="connsiteY62" fmla="*/ 269619 h 2758031"/>
                      <a:gd name="connsiteX63" fmla="*/ 204844 w 3209223"/>
                      <a:gd name="connsiteY63" fmla="*/ 191583 h 2758031"/>
                      <a:gd name="connsiteX64" fmla="*/ 204083 w 3209223"/>
                      <a:gd name="connsiteY64" fmla="*/ 0 h 275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209223" h="2758031">
                        <a:moveTo>
                          <a:pt x="1816809" y="1536464"/>
                        </a:moveTo>
                        <a:lnTo>
                          <a:pt x="1816809" y="1745604"/>
                        </a:lnTo>
                        <a:lnTo>
                          <a:pt x="2611543" y="2198742"/>
                        </a:lnTo>
                        <a:lnTo>
                          <a:pt x="2611543" y="1989602"/>
                        </a:lnTo>
                        <a:lnTo>
                          <a:pt x="1816809" y="1536464"/>
                        </a:lnTo>
                        <a:close/>
                        <a:moveTo>
                          <a:pt x="1816809" y="1187897"/>
                        </a:moveTo>
                        <a:lnTo>
                          <a:pt x="1816809" y="1397037"/>
                        </a:lnTo>
                        <a:lnTo>
                          <a:pt x="2611543" y="1850175"/>
                        </a:lnTo>
                        <a:lnTo>
                          <a:pt x="2611543" y="1641034"/>
                        </a:lnTo>
                        <a:lnTo>
                          <a:pt x="1816809" y="1187897"/>
                        </a:lnTo>
                        <a:close/>
                        <a:moveTo>
                          <a:pt x="703563" y="946529"/>
                        </a:moveTo>
                        <a:cubicBezTo>
                          <a:pt x="684492" y="946529"/>
                          <a:pt x="669031" y="977048"/>
                          <a:pt x="669031" y="1014695"/>
                        </a:cubicBezTo>
                        <a:cubicBezTo>
                          <a:pt x="669031" y="1052342"/>
                          <a:pt x="684492" y="1082861"/>
                          <a:pt x="703563" y="1082861"/>
                        </a:cubicBezTo>
                        <a:cubicBezTo>
                          <a:pt x="722634" y="1082861"/>
                          <a:pt x="738095" y="1052342"/>
                          <a:pt x="738095" y="1014695"/>
                        </a:cubicBezTo>
                        <a:cubicBezTo>
                          <a:pt x="738095" y="977048"/>
                          <a:pt x="722634" y="946529"/>
                          <a:pt x="703563" y="946529"/>
                        </a:cubicBezTo>
                        <a:close/>
                        <a:moveTo>
                          <a:pt x="703563" y="737721"/>
                        </a:moveTo>
                        <a:cubicBezTo>
                          <a:pt x="684492" y="737721"/>
                          <a:pt x="669031" y="768240"/>
                          <a:pt x="669031" y="805887"/>
                        </a:cubicBezTo>
                        <a:cubicBezTo>
                          <a:pt x="669031" y="843534"/>
                          <a:pt x="684492" y="874053"/>
                          <a:pt x="703563" y="874053"/>
                        </a:cubicBezTo>
                        <a:cubicBezTo>
                          <a:pt x="722634" y="874053"/>
                          <a:pt x="738095" y="843534"/>
                          <a:pt x="738095" y="805887"/>
                        </a:cubicBezTo>
                        <a:cubicBezTo>
                          <a:pt x="738095" y="768240"/>
                          <a:pt x="722634" y="737721"/>
                          <a:pt x="703563" y="737721"/>
                        </a:cubicBezTo>
                        <a:close/>
                        <a:moveTo>
                          <a:pt x="703563" y="528913"/>
                        </a:moveTo>
                        <a:cubicBezTo>
                          <a:pt x="684492" y="528913"/>
                          <a:pt x="669031" y="559432"/>
                          <a:pt x="669031" y="597079"/>
                        </a:cubicBezTo>
                        <a:cubicBezTo>
                          <a:pt x="669031" y="634726"/>
                          <a:pt x="684492" y="665245"/>
                          <a:pt x="703563" y="665245"/>
                        </a:cubicBezTo>
                        <a:cubicBezTo>
                          <a:pt x="722634" y="665245"/>
                          <a:pt x="738095" y="634726"/>
                          <a:pt x="738095" y="597079"/>
                        </a:cubicBezTo>
                        <a:cubicBezTo>
                          <a:pt x="738095" y="559432"/>
                          <a:pt x="722634" y="528913"/>
                          <a:pt x="703563" y="528913"/>
                        </a:cubicBezTo>
                        <a:close/>
                        <a:moveTo>
                          <a:pt x="416668" y="229150"/>
                        </a:moveTo>
                        <a:cubicBezTo>
                          <a:pt x="408587" y="228428"/>
                          <a:pt x="399964" y="229703"/>
                          <a:pt x="391056" y="233387"/>
                        </a:cubicBezTo>
                        <a:lnTo>
                          <a:pt x="165827" y="345216"/>
                        </a:lnTo>
                        <a:cubicBezTo>
                          <a:pt x="107982" y="378301"/>
                          <a:pt x="71053" y="393091"/>
                          <a:pt x="70721" y="491533"/>
                        </a:cubicBezTo>
                        <a:lnTo>
                          <a:pt x="70721" y="1076802"/>
                        </a:lnTo>
                        <a:cubicBezTo>
                          <a:pt x="86212" y="1124188"/>
                          <a:pt x="106928" y="1168963"/>
                          <a:pt x="187775" y="1171910"/>
                        </a:cubicBezTo>
                        <a:lnTo>
                          <a:pt x="436513" y="1018274"/>
                        </a:lnTo>
                        <a:cubicBezTo>
                          <a:pt x="475386" y="963754"/>
                          <a:pt x="493354" y="880477"/>
                          <a:pt x="419815" y="846869"/>
                        </a:cubicBezTo>
                        <a:lnTo>
                          <a:pt x="268251" y="930485"/>
                        </a:lnTo>
                        <a:cubicBezTo>
                          <a:pt x="249952" y="886124"/>
                          <a:pt x="244723" y="509751"/>
                          <a:pt x="268251" y="491533"/>
                        </a:cubicBezTo>
                        <a:lnTo>
                          <a:pt x="419247" y="395921"/>
                        </a:lnTo>
                        <a:cubicBezTo>
                          <a:pt x="503287" y="337078"/>
                          <a:pt x="473237" y="234201"/>
                          <a:pt x="416668" y="229150"/>
                        </a:cubicBezTo>
                        <a:close/>
                        <a:moveTo>
                          <a:pt x="204083" y="0"/>
                        </a:moveTo>
                        <a:lnTo>
                          <a:pt x="3209223" y="1713282"/>
                        </a:lnTo>
                        <a:lnTo>
                          <a:pt x="3209223" y="2757011"/>
                        </a:lnTo>
                        <a:lnTo>
                          <a:pt x="3003769" y="2637043"/>
                        </a:lnTo>
                        <a:lnTo>
                          <a:pt x="2807887" y="2758031"/>
                        </a:lnTo>
                        <a:cubicBezTo>
                          <a:pt x="2727040" y="2755086"/>
                          <a:pt x="2706324" y="2710310"/>
                          <a:pt x="2690833" y="2662924"/>
                        </a:cubicBezTo>
                        <a:lnTo>
                          <a:pt x="2690833" y="2454314"/>
                        </a:lnTo>
                        <a:lnTo>
                          <a:pt x="2734996" y="2480102"/>
                        </a:lnTo>
                        <a:lnTo>
                          <a:pt x="2734996" y="2665990"/>
                        </a:lnTo>
                        <a:cubicBezTo>
                          <a:pt x="2755760" y="2696589"/>
                          <a:pt x="2783081" y="2723910"/>
                          <a:pt x="2816959" y="2708610"/>
                        </a:cubicBezTo>
                        <a:lnTo>
                          <a:pt x="2960049" y="2611514"/>
                        </a:lnTo>
                        <a:lnTo>
                          <a:pt x="3003768" y="2637042"/>
                        </a:lnTo>
                        <a:lnTo>
                          <a:pt x="3056623" y="2604396"/>
                        </a:lnTo>
                        <a:cubicBezTo>
                          <a:pt x="3095497" y="2549875"/>
                          <a:pt x="3113464" y="2466598"/>
                          <a:pt x="3039926" y="2432990"/>
                        </a:cubicBezTo>
                        <a:lnTo>
                          <a:pt x="2888361" y="2516606"/>
                        </a:lnTo>
                        <a:cubicBezTo>
                          <a:pt x="2870062" y="2472245"/>
                          <a:pt x="2864833" y="2095872"/>
                          <a:pt x="2888361" y="2077654"/>
                        </a:cubicBezTo>
                        <a:lnTo>
                          <a:pt x="3039357" y="1982042"/>
                        </a:lnTo>
                        <a:cubicBezTo>
                          <a:pt x="3135403" y="1914793"/>
                          <a:pt x="3082434" y="1790031"/>
                          <a:pt x="3011167" y="1819510"/>
                        </a:cubicBezTo>
                        <a:lnTo>
                          <a:pt x="2785937" y="1931337"/>
                        </a:lnTo>
                        <a:cubicBezTo>
                          <a:pt x="2728093" y="1964422"/>
                          <a:pt x="2691163" y="1979213"/>
                          <a:pt x="2690831" y="2077654"/>
                        </a:cubicBezTo>
                        <a:lnTo>
                          <a:pt x="2690831" y="2454314"/>
                        </a:lnTo>
                        <a:lnTo>
                          <a:pt x="419442" y="1128013"/>
                        </a:lnTo>
                        <a:lnTo>
                          <a:pt x="273125" y="1235313"/>
                        </a:lnTo>
                        <a:cubicBezTo>
                          <a:pt x="124570" y="1270769"/>
                          <a:pt x="43984" y="1196426"/>
                          <a:pt x="0" y="1137768"/>
                        </a:cubicBezTo>
                        <a:lnTo>
                          <a:pt x="0" y="435445"/>
                        </a:lnTo>
                        <a:cubicBezTo>
                          <a:pt x="5734" y="395855"/>
                          <a:pt x="32384" y="314437"/>
                          <a:pt x="87791" y="269619"/>
                        </a:cubicBezTo>
                        <a:lnTo>
                          <a:pt x="204844" y="191583"/>
                        </a:lnTo>
                        <a:cubicBezTo>
                          <a:pt x="198341" y="129805"/>
                          <a:pt x="210586" y="61778"/>
                          <a:pt x="204083" y="0"/>
                        </a:cubicBezTo>
                        <a:close/>
                      </a:path>
                    </a:pathLst>
                  </a:cu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381" name="Group 380"/>
              <p:cNvGrpSpPr/>
              <p:nvPr/>
            </p:nvGrpSpPr>
            <p:grpSpPr>
              <a:xfrm>
                <a:off x="8031129" y="3919585"/>
                <a:ext cx="2112264" cy="2115005"/>
                <a:chOff x="8031129" y="3919585"/>
                <a:chExt cx="2112264" cy="2115005"/>
              </a:xfrm>
            </p:grpSpPr>
            <p:sp>
              <p:nvSpPr>
                <p:cNvPr id="383" name="Freeform 18"/>
                <p:cNvSpPr>
                  <a:spLocks noEditPoints="1"/>
                </p:cNvSpPr>
                <p:nvPr/>
              </p:nvSpPr>
              <p:spPr bwMode="auto">
                <a:xfrm>
                  <a:off x="8031129" y="3919585"/>
                  <a:ext cx="2112264" cy="2115005"/>
                </a:xfrm>
                <a:prstGeom prst="ellipse">
                  <a:avLst/>
                </a:prstGeom>
                <a:solidFill>
                  <a:schemeClr val="bg1"/>
                </a:solidFill>
                <a:ln w="19050">
                  <a:solidFill>
                    <a:schemeClr val="bg1">
                      <a:lumMod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1371600" numCol="1" spcCol="0" rtlCol="0" fromWordArt="0" anchor="b" anchorCtr="0" forceAA="0" compatLnSpc="1">
                  <a:prstTxWarp prst="textNoShape">
                    <a:avLst/>
                  </a:prstTxWarp>
                  <a:noAutofit/>
                </a:bodyPr>
                <a:lstStyle/>
                <a:p>
                  <a:pPr marL="0" marR="0" lvl="0" indent="0" algn="ctr" defTabSz="931939"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On-premises</a:t>
                  </a:r>
                </a:p>
              </p:txBody>
            </p:sp>
            <p:sp>
              <p:nvSpPr>
                <p:cNvPr id="384" name="Rectangle 383"/>
                <p:cNvSpPr/>
                <p:nvPr/>
              </p:nvSpPr>
              <p:spPr>
                <a:xfrm>
                  <a:off x="8250041" y="5365290"/>
                  <a:ext cx="1629128" cy="659198"/>
                </a:xfrm>
                <a:prstGeom prst="rect">
                  <a:avLst/>
                </a:prstGeom>
              </p:spPr>
              <p:txBody>
                <a:bodyPr wrap="square" lIns="91440" rIns="91440" anchor="ctr">
                  <a:spAutoFit/>
                </a:bodyPr>
                <a:lstStyle/>
                <a:p>
                  <a:pPr marL="0" marR="0" lvl="0" indent="0" algn="ctr" defTabSz="932207"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mn-cs"/>
                    </a:rPr>
                    <a:t>Familiar tools across </a:t>
                  </a:r>
                  <a:br>
                    <a:rPr kumimoji="0" lang="en-US" sz="12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mn-cs"/>
                    </a:rPr>
                  </a:br>
                  <a:r>
                    <a:rPr kumimoji="0" lang="en-US" sz="12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mn-cs"/>
                    </a:rPr>
                    <a:t>on-premises and cloud</a:t>
                  </a:r>
                </a:p>
              </p:txBody>
            </p:sp>
            <p:grpSp>
              <p:nvGrpSpPr>
                <p:cNvPr id="385" name="Group 384"/>
                <p:cNvGrpSpPr/>
                <p:nvPr/>
              </p:nvGrpSpPr>
              <p:grpSpPr>
                <a:xfrm>
                  <a:off x="8227310" y="4551434"/>
                  <a:ext cx="950920" cy="567813"/>
                  <a:chOff x="9447443" y="5146554"/>
                  <a:chExt cx="890173" cy="549760"/>
                </a:xfrm>
                <a:solidFill>
                  <a:schemeClr val="accent5"/>
                </a:solidFill>
              </p:grpSpPr>
              <p:sp>
                <p:nvSpPr>
                  <p:cNvPr id="391" name="Freeform 390"/>
                  <p:cNvSpPr>
                    <a:spLocks noEditPoints="1"/>
                  </p:cNvSpPr>
                  <p:nvPr/>
                </p:nvSpPr>
                <p:spPr bwMode="auto">
                  <a:xfrm>
                    <a:off x="10129909" y="5277347"/>
                    <a:ext cx="207707" cy="4189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bg1">
                      <a:lumMod val="50000"/>
                    </a:schemeClr>
                  </a:solidFill>
                  <a:ln w="25400"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marL="0" marR="0" lvl="0" indent="0" algn="l" defTabSz="822484" rtl="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srgbClr val="000000">
                          <a:alpha val="99000"/>
                        </a:srgbClr>
                      </a:solidFill>
                      <a:effectLst/>
                      <a:uLnTx/>
                      <a:uFillTx/>
                      <a:latin typeface="Segoe UI"/>
                      <a:ea typeface="+mn-ea"/>
                      <a:cs typeface="+mn-cs"/>
                      <a:sym typeface="Segoe UI"/>
                    </a:endParaRPr>
                  </a:p>
                </p:txBody>
              </p:sp>
              <p:sp>
                <p:nvSpPr>
                  <p:cNvPr id="392" name="Freeform 88"/>
                  <p:cNvSpPr>
                    <a:spLocks noEditPoints="1"/>
                  </p:cNvSpPr>
                  <p:nvPr/>
                </p:nvSpPr>
                <p:spPr bwMode="auto">
                  <a:xfrm>
                    <a:off x="9447443" y="5146554"/>
                    <a:ext cx="648131" cy="54975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bg1">
                      <a:lumMod val="50000"/>
                    </a:schemeClr>
                  </a:solidFill>
                  <a:ln w="25400"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marL="0" marR="0" lvl="0" indent="0" algn="l" defTabSz="822484" rtl="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srgbClr val="000000">
                          <a:alpha val="99000"/>
                        </a:srgbClr>
                      </a:solidFill>
                      <a:effectLst/>
                      <a:uLnTx/>
                      <a:uFillTx/>
                      <a:latin typeface="Segoe UI"/>
                      <a:ea typeface="+mn-ea"/>
                      <a:cs typeface="+mn-cs"/>
                      <a:sym typeface="Segoe UI"/>
                    </a:endParaRPr>
                  </a:p>
                </p:txBody>
              </p:sp>
            </p:grpSp>
            <p:sp>
              <p:nvSpPr>
                <p:cNvPr id="386" name="TextBox 385"/>
                <p:cNvSpPr txBox="1"/>
                <p:nvPr/>
              </p:nvSpPr>
              <p:spPr>
                <a:xfrm>
                  <a:off x="8256758" y="4852711"/>
                  <a:ext cx="654981" cy="12556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505050"/>
                      </a:solidFill>
                      <a:effectLst/>
                      <a:uLnTx/>
                      <a:uFillTx/>
                      <a:latin typeface="Segoe UI"/>
                      <a:ea typeface="+mn-ea"/>
                      <a:cs typeface="+mn-cs"/>
                    </a:rPr>
                    <a:t>Visual Studio</a:t>
                  </a:r>
                </a:p>
              </p:txBody>
            </p:sp>
            <p:grpSp>
              <p:nvGrpSpPr>
                <p:cNvPr id="387" name="Group 386"/>
                <p:cNvGrpSpPr/>
                <p:nvPr/>
              </p:nvGrpSpPr>
              <p:grpSpPr>
                <a:xfrm>
                  <a:off x="9124667" y="4818774"/>
                  <a:ext cx="718336" cy="505714"/>
                  <a:chOff x="7239737" y="4561429"/>
                  <a:chExt cx="1785824" cy="1300331"/>
                </a:xfrm>
                <a:solidFill>
                  <a:schemeClr val="accent5"/>
                </a:solidFill>
              </p:grpSpPr>
              <p:sp>
                <p:nvSpPr>
                  <p:cNvPr id="388" name="Man's Body"/>
                  <p:cNvSpPr>
                    <a:spLocks/>
                  </p:cNvSpPr>
                  <p:nvPr/>
                </p:nvSpPr>
                <p:spPr bwMode="auto">
                  <a:xfrm flipH="1">
                    <a:off x="7239737" y="4561429"/>
                    <a:ext cx="1020574" cy="1300331"/>
                  </a:xfrm>
                  <a:custGeom>
                    <a:avLst/>
                    <a:gdLst>
                      <a:gd name="connsiteX0" fmla="*/ 452684 w 673603"/>
                      <a:gd name="connsiteY0" fmla="*/ 499119 h 858249"/>
                      <a:gd name="connsiteX1" fmla="*/ 364244 w 673603"/>
                      <a:gd name="connsiteY1" fmla="*/ 552651 h 858249"/>
                      <a:gd name="connsiteX2" fmla="*/ 310399 w 673603"/>
                      <a:gd name="connsiteY2" fmla="*/ 763544 h 858249"/>
                      <a:gd name="connsiteX3" fmla="*/ 343737 w 673603"/>
                      <a:gd name="connsiteY3" fmla="*/ 794501 h 858249"/>
                      <a:gd name="connsiteX4" fmla="*/ 367549 w 673603"/>
                      <a:gd name="connsiteY4" fmla="*/ 777832 h 858249"/>
                      <a:gd name="connsiteX5" fmla="*/ 362787 w 673603"/>
                      <a:gd name="connsiteY5" fmla="*/ 754019 h 858249"/>
                      <a:gd name="connsiteX6" fmla="*/ 386599 w 673603"/>
                      <a:gd name="connsiteY6" fmla="*/ 746876 h 858249"/>
                      <a:gd name="connsiteX7" fmla="*/ 398506 w 673603"/>
                      <a:gd name="connsiteY7" fmla="*/ 777832 h 858249"/>
                      <a:gd name="connsiteX8" fmla="*/ 343737 w 673603"/>
                      <a:gd name="connsiteY8" fmla="*/ 815932 h 858249"/>
                      <a:gd name="connsiteX9" fmla="*/ 279443 w 673603"/>
                      <a:gd name="connsiteY9" fmla="*/ 773069 h 858249"/>
                      <a:gd name="connsiteX10" fmla="*/ 331831 w 673603"/>
                      <a:gd name="connsiteY10" fmla="*/ 577807 h 858249"/>
                      <a:gd name="connsiteX11" fmla="*/ 305637 w 673603"/>
                      <a:gd name="connsiteY11" fmla="*/ 563519 h 858249"/>
                      <a:gd name="connsiteX12" fmla="*/ 311779 w 673603"/>
                      <a:gd name="connsiteY12" fmla="*/ 547549 h 858249"/>
                      <a:gd name="connsiteX13" fmla="*/ 237741 w 673603"/>
                      <a:gd name="connsiteY13" fmla="*/ 500485 h 858249"/>
                      <a:gd name="connsiteX14" fmla="*/ 224038 w 673603"/>
                      <a:gd name="connsiteY14" fmla="*/ 528452 h 858249"/>
                      <a:gd name="connsiteX15" fmla="*/ 153447 w 673603"/>
                      <a:gd name="connsiteY15" fmla="*/ 578809 h 858249"/>
                      <a:gd name="connsiteX16" fmla="*/ 8401 w 673603"/>
                      <a:gd name="connsiteY16" fmla="*/ 653033 h 858249"/>
                      <a:gd name="connsiteX17" fmla="*/ 67793 w 673603"/>
                      <a:gd name="connsiteY17" fmla="*/ 850206 h 858249"/>
                      <a:gd name="connsiteX18" fmla="*/ 124357 w 673603"/>
                      <a:gd name="connsiteY18" fmla="*/ 749115 h 858249"/>
                      <a:gd name="connsiteX19" fmla="*/ 100924 w 673603"/>
                      <a:gd name="connsiteY19" fmla="*/ 852938 h 858249"/>
                      <a:gd name="connsiteX20" fmla="*/ 488320 w 673603"/>
                      <a:gd name="connsiteY20" fmla="*/ 858165 h 858249"/>
                      <a:gd name="connsiteX21" fmla="*/ 488345 w 673603"/>
                      <a:gd name="connsiteY21" fmla="*/ 858249 h 858249"/>
                      <a:gd name="connsiteX22" fmla="*/ 489349 w 673603"/>
                      <a:gd name="connsiteY22" fmla="*/ 858186 h 858249"/>
                      <a:gd name="connsiteX23" fmla="*/ 492440 w 673603"/>
                      <a:gd name="connsiteY23" fmla="*/ 858249 h 858249"/>
                      <a:gd name="connsiteX24" fmla="*/ 492755 w 673603"/>
                      <a:gd name="connsiteY24" fmla="*/ 857971 h 858249"/>
                      <a:gd name="connsiteX25" fmla="*/ 572680 w 673603"/>
                      <a:gd name="connsiteY25" fmla="*/ 852938 h 858249"/>
                      <a:gd name="connsiteX26" fmla="*/ 549247 w 673603"/>
                      <a:gd name="connsiteY26" fmla="*/ 749115 h 858249"/>
                      <a:gd name="connsiteX27" fmla="*/ 605811 w 673603"/>
                      <a:gd name="connsiteY27" fmla="*/ 850206 h 858249"/>
                      <a:gd name="connsiteX28" fmla="*/ 665203 w 673603"/>
                      <a:gd name="connsiteY28" fmla="*/ 653033 h 858249"/>
                      <a:gd name="connsiteX29" fmla="*/ 520157 w 673603"/>
                      <a:gd name="connsiteY29" fmla="*/ 578809 h 858249"/>
                      <a:gd name="connsiteX30" fmla="*/ 416545 w 673603"/>
                      <a:gd name="connsiteY30" fmla="*/ 619374 h 858249"/>
                      <a:gd name="connsiteX31" fmla="*/ 402735 w 673603"/>
                      <a:gd name="connsiteY31" fmla="*/ 611762 h 858249"/>
                      <a:gd name="connsiteX32" fmla="*/ 480966 w 673603"/>
                      <a:gd name="connsiteY32" fmla="*/ 558317 h 858249"/>
                      <a:gd name="connsiteX33" fmla="*/ 452684 w 673603"/>
                      <a:gd name="connsiteY33" fmla="*/ 499119 h 858249"/>
                      <a:gd name="connsiteX34" fmla="*/ 360713 w 673603"/>
                      <a:gd name="connsiteY34" fmla="*/ 167 h 858249"/>
                      <a:gd name="connsiteX35" fmla="*/ 241395 w 673603"/>
                      <a:gd name="connsiteY35" fmla="*/ 59839 h 858249"/>
                      <a:gd name="connsiteX36" fmla="*/ 169081 w 673603"/>
                      <a:gd name="connsiteY36" fmla="*/ 160974 h 858249"/>
                      <a:gd name="connsiteX37" fmla="*/ 192109 w 673603"/>
                      <a:gd name="connsiteY37" fmla="*/ 186030 h 858249"/>
                      <a:gd name="connsiteX38" fmla="*/ 209480 w 673603"/>
                      <a:gd name="connsiteY38" fmla="*/ 168263 h 858249"/>
                      <a:gd name="connsiteX39" fmla="*/ 352895 w 673603"/>
                      <a:gd name="connsiteY39" fmla="*/ 122251 h 858249"/>
                      <a:gd name="connsiteX40" fmla="*/ 205036 w 673603"/>
                      <a:gd name="connsiteY40" fmla="*/ 213819 h 858249"/>
                      <a:gd name="connsiteX41" fmla="*/ 205036 w 673603"/>
                      <a:gd name="connsiteY41" fmla="*/ 254364 h 858249"/>
                      <a:gd name="connsiteX42" fmla="*/ 186453 w 673603"/>
                      <a:gd name="connsiteY42" fmla="*/ 269397 h 858249"/>
                      <a:gd name="connsiteX43" fmla="*/ 206248 w 673603"/>
                      <a:gd name="connsiteY43" fmla="*/ 358232 h 858249"/>
                      <a:gd name="connsiteX44" fmla="*/ 217560 w 673603"/>
                      <a:gd name="connsiteY44" fmla="*/ 365976 h 858249"/>
                      <a:gd name="connsiteX45" fmla="*/ 265230 w 673603"/>
                      <a:gd name="connsiteY45" fmla="*/ 473033 h 858249"/>
                      <a:gd name="connsiteX46" fmla="*/ 352895 w 673603"/>
                      <a:gd name="connsiteY46" fmla="*/ 522690 h 858249"/>
                      <a:gd name="connsiteX47" fmla="*/ 447024 w 673603"/>
                      <a:gd name="connsiteY47" fmla="*/ 460733 h 858249"/>
                      <a:gd name="connsiteX48" fmla="*/ 488231 w 673603"/>
                      <a:gd name="connsiteY48" fmla="*/ 361421 h 858249"/>
                      <a:gd name="connsiteX49" fmla="*/ 521357 w 673603"/>
                      <a:gd name="connsiteY49" fmla="*/ 283520 h 858249"/>
                      <a:gd name="connsiteX50" fmla="*/ 508430 w 673603"/>
                      <a:gd name="connsiteY50" fmla="*/ 261653 h 858249"/>
                      <a:gd name="connsiteX51" fmla="*/ 535901 w 673603"/>
                      <a:gd name="connsiteY51" fmla="*/ 181930 h 858249"/>
                      <a:gd name="connsiteX52" fmla="*/ 426016 w 673603"/>
                      <a:gd name="connsiteY52" fmla="*/ 17472 h 858249"/>
                      <a:gd name="connsiteX53" fmla="*/ 360713 w 673603"/>
                      <a:gd name="connsiteY53" fmla="*/ 167 h 858249"/>
                      <a:gd name="connsiteX0" fmla="*/ 452684 w 673603"/>
                      <a:gd name="connsiteY0" fmla="*/ 499119 h 858249"/>
                      <a:gd name="connsiteX1" fmla="*/ 364244 w 673603"/>
                      <a:gd name="connsiteY1" fmla="*/ 552651 h 858249"/>
                      <a:gd name="connsiteX2" fmla="*/ 303255 w 673603"/>
                      <a:gd name="connsiteY2" fmla="*/ 763544 h 858249"/>
                      <a:gd name="connsiteX3" fmla="*/ 343737 w 673603"/>
                      <a:gd name="connsiteY3" fmla="*/ 794501 h 858249"/>
                      <a:gd name="connsiteX4" fmla="*/ 367549 w 673603"/>
                      <a:gd name="connsiteY4" fmla="*/ 777832 h 858249"/>
                      <a:gd name="connsiteX5" fmla="*/ 362787 w 673603"/>
                      <a:gd name="connsiteY5" fmla="*/ 754019 h 858249"/>
                      <a:gd name="connsiteX6" fmla="*/ 386599 w 673603"/>
                      <a:gd name="connsiteY6" fmla="*/ 746876 h 858249"/>
                      <a:gd name="connsiteX7" fmla="*/ 398506 w 673603"/>
                      <a:gd name="connsiteY7" fmla="*/ 777832 h 858249"/>
                      <a:gd name="connsiteX8" fmla="*/ 343737 w 673603"/>
                      <a:gd name="connsiteY8" fmla="*/ 815932 h 858249"/>
                      <a:gd name="connsiteX9" fmla="*/ 279443 w 673603"/>
                      <a:gd name="connsiteY9" fmla="*/ 773069 h 858249"/>
                      <a:gd name="connsiteX10" fmla="*/ 331831 w 673603"/>
                      <a:gd name="connsiteY10" fmla="*/ 577807 h 858249"/>
                      <a:gd name="connsiteX11" fmla="*/ 305637 w 673603"/>
                      <a:gd name="connsiteY11" fmla="*/ 563519 h 858249"/>
                      <a:gd name="connsiteX12" fmla="*/ 311779 w 673603"/>
                      <a:gd name="connsiteY12" fmla="*/ 547549 h 858249"/>
                      <a:gd name="connsiteX13" fmla="*/ 237741 w 673603"/>
                      <a:gd name="connsiteY13" fmla="*/ 500485 h 858249"/>
                      <a:gd name="connsiteX14" fmla="*/ 224038 w 673603"/>
                      <a:gd name="connsiteY14" fmla="*/ 528452 h 858249"/>
                      <a:gd name="connsiteX15" fmla="*/ 153447 w 673603"/>
                      <a:gd name="connsiteY15" fmla="*/ 578809 h 858249"/>
                      <a:gd name="connsiteX16" fmla="*/ 8401 w 673603"/>
                      <a:gd name="connsiteY16" fmla="*/ 653033 h 858249"/>
                      <a:gd name="connsiteX17" fmla="*/ 67793 w 673603"/>
                      <a:gd name="connsiteY17" fmla="*/ 850206 h 858249"/>
                      <a:gd name="connsiteX18" fmla="*/ 124357 w 673603"/>
                      <a:gd name="connsiteY18" fmla="*/ 749115 h 858249"/>
                      <a:gd name="connsiteX19" fmla="*/ 100924 w 673603"/>
                      <a:gd name="connsiteY19" fmla="*/ 852938 h 858249"/>
                      <a:gd name="connsiteX20" fmla="*/ 488320 w 673603"/>
                      <a:gd name="connsiteY20" fmla="*/ 858165 h 858249"/>
                      <a:gd name="connsiteX21" fmla="*/ 488345 w 673603"/>
                      <a:gd name="connsiteY21" fmla="*/ 858249 h 858249"/>
                      <a:gd name="connsiteX22" fmla="*/ 489349 w 673603"/>
                      <a:gd name="connsiteY22" fmla="*/ 858186 h 858249"/>
                      <a:gd name="connsiteX23" fmla="*/ 492440 w 673603"/>
                      <a:gd name="connsiteY23" fmla="*/ 858249 h 858249"/>
                      <a:gd name="connsiteX24" fmla="*/ 492755 w 673603"/>
                      <a:gd name="connsiteY24" fmla="*/ 857971 h 858249"/>
                      <a:gd name="connsiteX25" fmla="*/ 572680 w 673603"/>
                      <a:gd name="connsiteY25" fmla="*/ 852938 h 858249"/>
                      <a:gd name="connsiteX26" fmla="*/ 549247 w 673603"/>
                      <a:gd name="connsiteY26" fmla="*/ 749115 h 858249"/>
                      <a:gd name="connsiteX27" fmla="*/ 605811 w 673603"/>
                      <a:gd name="connsiteY27" fmla="*/ 850206 h 858249"/>
                      <a:gd name="connsiteX28" fmla="*/ 665203 w 673603"/>
                      <a:gd name="connsiteY28" fmla="*/ 653033 h 858249"/>
                      <a:gd name="connsiteX29" fmla="*/ 520157 w 673603"/>
                      <a:gd name="connsiteY29" fmla="*/ 578809 h 858249"/>
                      <a:gd name="connsiteX30" fmla="*/ 416545 w 673603"/>
                      <a:gd name="connsiteY30" fmla="*/ 619374 h 858249"/>
                      <a:gd name="connsiteX31" fmla="*/ 402735 w 673603"/>
                      <a:gd name="connsiteY31" fmla="*/ 611762 h 858249"/>
                      <a:gd name="connsiteX32" fmla="*/ 480966 w 673603"/>
                      <a:gd name="connsiteY32" fmla="*/ 558317 h 858249"/>
                      <a:gd name="connsiteX33" fmla="*/ 452684 w 673603"/>
                      <a:gd name="connsiteY33" fmla="*/ 499119 h 858249"/>
                      <a:gd name="connsiteX34" fmla="*/ 360713 w 673603"/>
                      <a:gd name="connsiteY34" fmla="*/ 167 h 858249"/>
                      <a:gd name="connsiteX35" fmla="*/ 241395 w 673603"/>
                      <a:gd name="connsiteY35" fmla="*/ 59839 h 858249"/>
                      <a:gd name="connsiteX36" fmla="*/ 169081 w 673603"/>
                      <a:gd name="connsiteY36" fmla="*/ 160974 h 858249"/>
                      <a:gd name="connsiteX37" fmla="*/ 192109 w 673603"/>
                      <a:gd name="connsiteY37" fmla="*/ 186030 h 858249"/>
                      <a:gd name="connsiteX38" fmla="*/ 209480 w 673603"/>
                      <a:gd name="connsiteY38" fmla="*/ 168263 h 858249"/>
                      <a:gd name="connsiteX39" fmla="*/ 352895 w 673603"/>
                      <a:gd name="connsiteY39" fmla="*/ 122251 h 858249"/>
                      <a:gd name="connsiteX40" fmla="*/ 205036 w 673603"/>
                      <a:gd name="connsiteY40" fmla="*/ 213819 h 858249"/>
                      <a:gd name="connsiteX41" fmla="*/ 205036 w 673603"/>
                      <a:gd name="connsiteY41" fmla="*/ 254364 h 858249"/>
                      <a:gd name="connsiteX42" fmla="*/ 186453 w 673603"/>
                      <a:gd name="connsiteY42" fmla="*/ 269397 h 858249"/>
                      <a:gd name="connsiteX43" fmla="*/ 206248 w 673603"/>
                      <a:gd name="connsiteY43" fmla="*/ 358232 h 858249"/>
                      <a:gd name="connsiteX44" fmla="*/ 217560 w 673603"/>
                      <a:gd name="connsiteY44" fmla="*/ 365976 h 858249"/>
                      <a:gd name="connsiteX45" fmla="*/ 265230 w 673603"/>
                      <a:gd name="connsiteY45" fmla="*/ 473033 h 858249"/>
                      <a:gd name="connsiteX46" fmla="*/ 352895 w 673603"/>
                      <a:gd name="connsiteY46" fmla="*/ 522690 h 858249"/>
                      <a:gd name="connsiteX47" fmla="*/ 447024 w 673603"/>
                      <a:gd name="connsiteY47" fmla="*/ 460733 h 858249"/>
                      <a:gd name="connsiteX48" fmla="*/ 488231 w 673603"/>
                      <a:gd name="connsiteY48" fmla="*/ 361421 h 858249"/>
                      <a:gd name="connsiteX49" fmla="*/ 521357 w 673603"/>
                      <a:gd name="connsiteY49" fmla="*/ 283520 h 858249"/>
                      <a:gd name="connsiteX50" fmla="*/ 508430 w 673603"/>
                      <a:gd name="connsiteY50" fmla="*/ 261653 h 858249"/>
                      <a:gd name="connsiteX51" fmla="*/ 535901 w 673603"/>
                      <a:gd name="connsiteY51" fmla="*/ 181930 h 858249"/>
                      <a:gd name="connsiteX52" fmla="*/ 426016 w 673603"/>
                      <a:gd name="connsiteY52" fmla="*/ 17472 h 858249"/>
                      <a:gd name="connsiteX53" fmla="*/ 360713 w 673603"/>
                      <a:gd name="connsiteY53" fmla="*/ 167 h 858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73603" h="858249">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9463" y="855236"/>
                          <a:pt x="441914" y="856925"/>
                          <a:pt x="488320" y="858165"/>
                        </a:cubicBezTo>
                        <a:cubicBezTo>
                          <a:pt x="488326" y="858194"/>
                          <a:pt x="488336" y="858221"/>
                          <a:pt x="488345" y="858249"/>
                        </a:cubicBezTo>
                        <a:lnTo>
                          <a:pt x="489349" y="858186"/>
                        </a:lnTo>
                        <a:lnTo>
                          <a:pt x="492440" y="858249"/>
                        </a:lnTo>
                        <a:cubicBezTo>
                          <a:pt x="492562" y="858190"/>
                          <a:pt x="492684" y="858130"/>
                          <a:pt x="492755" y="857971"/>
                        </a:cubicBezTo>
                        <a:cubicBezTo>
                          <a:pt x="517797" y="856858"/>
                          <a:pt x="544705" y="855190"/>
                          <a:pt x="572680" y="852938"/>
                        </a:cubicBezTo>
                        <a:cubicBezTo>
                          <a:pt x="572277" y="823340"/>
                          <a:pt x="561368" y="775071"/>
                          <a:pt x="549247" y="749115"/>
                        </a:cubicBezTo>
                        <a:cubicBezTo>
                          <a:pt x="558539" y="755035"/>
                          <a:pt x="598134" y="796473"/>
                          <a:pt x="605811" y="850206"/>
                        </a:cubicBezTo>
                        <a:cubicBezTo>
                          <a:pt x="678536" y="756856"/>
                          <a:pt x="682172" y="682176"/>
                          <a:pt x="665203" y="653033"/>
                        </a:cubicBezTo>
                        <a:cubicBezTo>
                          <a:pt x="648638" y="624345"/>
                          <a:pt x="529853" y="576532"/>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5007" y="254367"/>
                          <a:pt x="186453" y="255741"/>
                          <a:pt x="186453" y="269397"/>
                        </a:cubicBezTo>
                        <a:cubicBezTo>
                          <a:pt x="186453" y="283062"/>
                          <a:pt x="206241" y="358204"/>
                          <a:pt x="206248" y="358232"/>
                        </a:cubicBezTo>
                        <a:cubicBezTo>
                          <a:pt x="206263" y="358257"/>
                          <a:pt x="211509"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48" y="261603"/>
                          <a:pt x="533882" y="191493"/>
                          <a:pt x="535901" y="181930"/>
                        </a:cubicBezTo>
                        <a:cubicBezTo>
                          <a:pt x="537517" y="172818"/>
                          <a:pt x="554484" y="11549"/>
                          <a:pt x="426016" y="17472"/>
                        </a:cubicBezTo>
                        <a:cubicBezTo>
                          <a:pt x="407231" y="4488"/>
                          <a:pt x="384639" y="-1064"/>
                          <a:pt x="360713" y="167"/>
                        </a:cubicBezTo>
                        <a:close/>
                      </a:path>
                    </a:pathLst>
                  </a:custGeom>
                  <a:solidFill>
                    <a:schemeClr val="bg1">
                      <a:lumMod val="5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20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89" name="Man's Body"/>
                  <p:cNvSpPr>
                    <a:spLocks/>
                  </p:cNvSpPr>
                  <p:nvPr/>
                </p:nvSpPr>
                <p:spPr bwMode="auto">
                  <a:xfrm flipH="1">
                    <a:off x="7876603" y="4813919"/>
                    <a:ext cx="711925" cy="907076"/>
                  </a:xfrm>
                  <a:custGeom>
                    <a:avLst/>
                    <a:gdLst>
                      <a:gd name="connsiteX0" fmla="*/ 452684 w 673603"/>
                      <a:gd name="connsiteY0" fmla="*/ 499119 h 858249"/>
                      <a:gd name="connsiteX1" fmla="*/ 364244 w 673603"/>
                      <a:gd name="connsiteY1" fmla="*/ 552651 h 858249"/>
                      <a:gd name="connsiteX2" fmla="*/ 310399 w 673603"/>
                      <a:gd name="connsiteY2" fmla="*/ 763544 h 858249"/>
                      <a:gd name="connsiteX3" fmla="*/ 343737 w 673603"/>
                      <a:gd name="connsiteY3" fmla="*/ 794501 h 858249"/>
                      <a:gd name="connsiteX4" fmla="*/ 367549 w 673603"/>
                      <a:gd name="connsiteY4" fmla="*/ 777832 h 858249"/>
                      <a:gd name="connsiteX5" fmla="*/ 362787 w 673603"/>
                      <a:gd name="connsiteY5" fmla="*/ 754019 h 858249"/>
                      <a:gd name="connsiteX6" fmla="*/ 386599 w 673603"/>
                      <a:gd name="connsiteY6" fmla="*/ 746876 h 858249"/>
                      <a:gd name="connsiteX7" fmla="*/ 398506 w 673603"/>
                      <a:gd name="connsiteY7" fmla="*/ 777832 h 858249"/>
                      <a:gd name="connsiteX8" fmla="*/ 343737 w 673603"/>
                      <a:gd name="connsiteY8" fmla="*/ 815932 h 858249"/>
                      <a:gd name="connsiteX9" fmla="*/ 279443 w 673603"/>
                      <a:gd name="connsiteY9" fmla="*/ 773069 h 858249"/>
                      <a:gd name="connsiteX10" fmla="*/ 331831 w 673603"/>
                      <a:gd name="connsiteY10" fmla="*/ 577807 h 858249"/>
                      <a:gd name="connsiteX11" fmla="*/ 305637 w 673603"/>
                      <a:gd name="connsiteY11" fmla="*/ 563519 h 858249"/>
                      <a:gd name="connsiteX12" fmla="*/ 311779 w 673603"/>
                      <a:gd name="connsiteY12" fmla="*/ 547549 h 858249"/>
                      <a:gd name="connsiteX13" fmla="*/ 237741 w 673603"/>
                      <a:gd name="connsiteY13" fmla="*/ 500485 h 858249"/>
                      <a:gd name="connsiteX14" fmla="*/ 224038 w 673603"/>
                      <a:gd name="connsiteY14" fmla="*/ 528452 h 858249"/>
                      <a:gd name="connsiteX15" fmla="*/ 153447 w 673603"/>
                      <a:gd name="connsiteY15" fmla="*/ 578809 h 858249"/>
                      <a:gd name="connsiteX16" fmla="*/ 8401 w 673603"/>
                      <a:gd name="connsiteY16" fmla="*/ 653033 h 858249"/>
                      <a:gd name="connsiteX17" fmla="*/ 67793 w 673603"/>
                      <a:gd name="connsiteY17" fmla="*/ 850206 h 858249"/>
                      <a:gd name="connsiteX18" fmla="*/ 124357 w 673603"/>
                      <a:gd name="connsiteY18" fmla="*/ 749115 h 858249"/>
                      <a:gd name="connsiteX19" fmla="*/ 100924 w 673603"/>
                      <a:gd name="connsiteY19" fmla="*/ 852938 h 858249"/>
                      <a:gd name="connsiteX20" fmla="*/ 488320 w 673603"/>
                      <a:gd name="connsiteY20" fmla="*/ 858165 h 858249"/>
                      <a:gd name="connsiteX21" fmla="*/ 488345 w 673603"/>
                      <a:gd name="connsiteY21" fmla="*/ 858249 h 858249"/>
                      <a:gd name="connsiteX22" fmla="*/ 489349 w 673603"/>
                      <a:gd name="connsiteY22" fmla="*/ 858186 h 858249"/>
                      <a:gd name="connsiteX23" fmla="*/ 492440 w 673603"/>
                      <a:gd name="connsiteY23" fmla="*/ 858249 h 858249"/>
                      <a:gd name="connsiteX24" fmla="*/ 492755 w 673603"/>
                      <a:gd name="connsiteY24" fmla="*/ 857971 h 858249"/>
                      <a:gd name="connsiteX25" fmla="*/ 572680 w 673603"/>
                      <a:gd name="connsiteY25" fmla="*/ 852938 h 858249"/>
                      <a:gd name="connsiteX26" fmla="*/ 549247 w 673603"/>
                      <a:gd name="connsiteY26" fmla="*/ 749115 h 858249"/>
                      <a:gd name="connsiteX27" fmla="*/ 605811 w 673603"/>
                      <a:gd name="connsiteY27" fmla="*/ 850206 h 858249"/>
                      <a:gd name="connsiteX28" fmla="*/ 665203 w 673603"/>
                      <a:gd name="connsiteY28" fmla="*/ 653033 h 858249"/>
                      <a:gd name="connsiteX29" fmla="*/ 520157 w 673603"/>
                      <a:gd name="connsiteY29" fmla="*/ 578809 h 858249"/>
                      <a:gd name="connsiteX30" fmla="*/ 416545 w 673603"/>
                      <a:gd name="connsiteY30" fmla="*/ 619374 h 858249"/>
                      <a:gd name="connsiteX31" fmla="*/ 402735 w 673603"/>
                      <a:gd name="connsiteY31" fmla="*/ 611762 h 858249"/>
                      <a:gd name="connsiteX32" fmla="*/ 480966 w 673603"/>
                      <a:gd name="connsiteY32" fmla="*/ 558317 h 858249"/>
                      <a:gd name="connsiteX33" fmla="*/ 452684 w 673603"/>
                      <a:gd name="connsiteY33" fmla="*/ 499119 h 858249"/>
                      <a:gd name="connsiteX34" fmla="*/ 360713 w 673603"/>
                      <a:gd name="connsiteY34" fmla="*/ 167 h 858249"/>
                      <a:gd name="connsiteX35" fmla="*/ 241395 w 673603"/>
                      <a:gd name="connsiteY35" fmla="*/ 59839 h 858249"/>
                      <a:gd name="connsiteX36" fmla="*/ 169081 w 673603"/>
                      <a:gd name="connsiteY36" fmla="*/ 160974 h 858249"/>
                      <a:gd name="connsiteX37" fmla="*/ 192109 w 673603"/>
                      <a:gd name="connsiteY37" fmla="*/ 186030 h 858249"/>
                      <a:gd name="connsiteX38" fmla="*/ 209480 w 673603"/>
                      <a:gd name="connsiteY38" fmla="*/ 168263 h 858249"/>
                      <a:gd name="connsiteX39" fmla="*/ 352895 w 673603"/>
                      <a:gd name="connsiteY39" fmla="*/ 122251 h 858249"/>
                      <a:gd name="connsiteX40" fmla="*/ 205036 w 673603"/>
                      <a:gd name="connsiteY40" fmla="*/ 213819 h 858249"/>
                      <a:gd name="connsiteX41" fmla="*/ 205036 w 673603"/>
                      <a:gd name="connsiteY41" fmla="*/ 254364 h 858249"/>
                      <a:gd name="connsiteX42" fmla="*/ 186453 w 673603"/>
                      <a:gd name="connsiteY42" fmla="*/ 269397 h 858249"/>
                      <a:gd name="connsiteX43" fmla="*/ 206248 w 673603"/>
                      <a:gd name="connsiteY43" fmla="*/ 358232 h 858249"/>
                      <a:gd name="connsiteX44" fmla="*/ 217560 w 673603"/>
                      <a:gd name="connsiteY44" fmla="*/ 365976 h 858249"/>
                      <a:gd name="connsiteX45" fmla="*/ 265230 w 673603"/>
                      <a:gd name="connsiteY45" fmla="*/ 473033 h 858249"/>
                      <a:gd name="connsiteX46" fmla="*/ 352895 w 673603"/>
                      <a:gd name="connsiteY46" fmla="*/ 522690 h 858249"/>
                      <a:gd name="connsiteX47" fmla="*/ 447024 w 673603"/>
                      <a:gd name="connsiteY47" fmla="*/ 460733 h 858249"/>
                      <a:gd name="connsiteX48" fmla="*/ 488231 w 673603"/>
                      <a:gd name="connsiteY48" fmla="*/ 361421 h 858249"/>
                      <a:gd name="connsiteX49" fmla="*/ 521357 w 673603"/>
                      <a:gd name="connsiteY49" fmla="*/ 283520 h 858249"/>
                      <a:gd name="connsiteX50" fmla="*/ 508430 w 673603"/>
                      <a:gd name="connsiteY50" fmla="*/ 261653 h 858249"/>
                      <a:gd name="connsiteX51" fmla="*/ 535901 w 673603"/>
                      <a:gd name="connsiteY51" fmla="*/ 181930 h 858249"/>
                      <a:gd name="connsiteX52" fmla="*/ 426016 w 673603"/>
                      <a:gd name="connsiteY52" fmla="*/ 17472 h 858249"/>
                      <a:gd name="connsiteX53" fmla="*/ 360713 w 673603"/>
                      <a:gd name="connsiteY53" fmla="*/ 167 h 858249"/>
                      <a:gd name="connsiteX0" fmla="*/ 452684 w 673603"/>
                      <a:gd name="connsiteY0" fmla="*/ 499119 h 858249"/>
                      <a:gd name="connsiteX1" fmla="*/ 364244 w 673603"/>
                      <a:gd name="connsiteY1" fmla="*/ 552651 h 858249"/>
                      <a:gd name="connsiteX2" fmla="*/ 303255 w 673603"/>
                      <a:gd name="connsiteY2" fmla="*/ 763544 h 858249"/>
                      <a:gd name="connsiteX3" fmla="*/ 343737 w 673603"/>
                      <a:gd name="connsiteY3" fmla="*/ 794501 h 858249"/>
                      <a:gd name="connsiteX4" fmla="*/ 367549 w 673603"/>
                      <a:gd name="connsiteY4" fmla="*/ 777832 h 858249"/>
                      <a:gd name="connsiteX5" fmla="*/ 362787 w 673603"/>
                      <a:gd name="connsiteY5" fmla="*/ 754019 h 858249"/>
                      <a:gd name="connsiteX6" fmla="*/ 386599 w 673603"/>
                      <a:gd name="connsiteY6" fmla="*/ 746876 h 858249"/>
                      <a:gd name="connsiteX7" fmla="*/ 398506 w 673603"/>
                      <a:gd name="connsiteY7" fmla="*/ 777832 h 858249"/>
                      <a:gd name="connsiteX8" fmla="*/ 343737 w 673603"/>
                      <a:gd name="connsiteY8" fmla="*/ 815932 h 858249"/>
                      <a:gd name="connsiteX9" fmla="*/ 279443 w 673603"/>
                      <a:gd name="connsiteY9" fmla="*/ 773069 h 858249"/>
                      <a:gd name="connsiteX10" fmla="*/ 331831 w 673603"/>
                      <a:gd name="connsiteY10" fmla="*/ 577807 h 858249"/>
                      <a:gd name="connsiteX11" fmla="*/ 305637 w 673603"/>
                      <a:gd name="connsiteY11" fmla="*/ 563519 h 858249"/>
                      <a:gd name="connsiteX12" fmla="*/ 311779 w 673603"/>
                      <a:gd name="connsiteY12" fmla="*/ 547549 h 858249"/>
                      <a:gd name="connsiteX13" fmla="*/ 237741 w 673603"/>
                      <a:gd name="connsiteY13" fmla="*/ 500485 h 858249"/>
                      <a:gd name="connsiteX14" fmla="*/ 224038 w 673603"/>
                      <a:gd name="connsiteY14" fmla="*/ 528452 h 858249"/>
                      <a:gd name="connsiteX15" fmla="*/ 153447 w 673603"/>
                      <a:gd name="connsiteY15" fmla="*/ 578809 h 858249"/>
                      <a:gd name="connsiteX16" fmla="*/ 8401 w 673603"/>
                      <a:gd name="connsiteY16" fmla="*/ 653033 h 858249"/>
                      <a:gd name="connsiteX17" fmla="*/ 67793 w 673603"/>
                      <a:gd name="connsiteY17" fmla="*/ 850206 h 858249"/>
                      <a:gd name="connsiteX18" fmla="*/ 124357 w 673603"/>
                      <a:gd name="connsiteY18" fmla="*/ 749115 h 858249"/>
                      <a:gd name="connsiteX19" fmla="*/ 100924 w 673603"/>
                      <a:gd name="connsiteY19" fmla="*/ 852938 h 858249"/>
                      <a:gd name="connsiteX20" fmla="*/ 488320 w 673603"/>
                      <a:gd name="connsiteY20" fmla="*/ 858165 h 858249"/>
                      <a:gd name="connsiteX21" fmla="*/ 488345 w 673603"/>
                      <a:gd name="connsiteY21" fmla="*/ 858249 h 858249"/>
                      <a:gd name="connsiteX22" fmla="*/ 489349 w 673603"/>
                      <a:gd name="connsiteY22" fmla="*/ 858186 h 858249"/>
                      <a:gd name="connsiteX23" fmla="*/ 492440 w 673603"/>
                      <a:gd name="connsiteY23" fmla="*/ 858249 h 858249"/>
                      <a:gd name="connsiteX24" fmla="*/ 492755 w 673603"/>
                      <a:gd name="connsiteY24" fmla="*/ 857971 h 858249"/>
                      <a:gd name="connsiteX25" fmla="*/ 572680 w 673603"/>
                      <a:gd name="connsiteY25" fmla="*/ 852938 h 858249"/>
                      <a:gd name="connsiteX26" fmla="*/ 549247 w 673603"/>
                      <a:gd name="connsiteY26" fmla="*/ 749115 h 858249"/>
                      <a:gd name="connsiteX27" fmla="*/ 605811 w 673603"/>
                      <a:gd name="connsiteY27" fmla="*/ 850206 h 858249"/>
                      <a:gd name="connsiteX28" fmla="*/ 665203 w 673603"/>
                      <a:gd name="connsiteY28" fmla="*/ 653033 h 858249"/>
                      <a:gd name="connsiteX29" fmla="*/ 520157 w 673603"/>
                      <a:gd name="connsiteY29" fmla="*/ 578809 h 858249"/>
                      <a:gd name="connsiteX30" fmla="*/ 416545 w 673603"/>
                      <a:gd name="connsiteY30" fmla="*/ 619374 h 858249"/>
                      <a:gd name="connsiteX31" fmla="*/ 402735 w 673603"/>
                      <a:gd name="connsiteY31" fmla="*/ 611762 h 858249"/>
                      <a:gd name="connsiteX32" fmla="*/ 480966 w 673603"/>
                      <a:gd name="connsiteY32" fmla="*/ 558317 h 858249"/>
                      <a:gd name="connsiteX33" fmla="*/ 452684 w 673603"/>
                      <a:gd name="connsiteY33" fmla="*/ 499119 h 858249"/>
                      <a:gd name="connsiteX34" fmla="*/ 360713 w 673603"/>
                      <a:gd name="connsiteY34" fmla="*/ 167 h 858249"/>
                      <a:gd name="connsiteX35" fmla="*/ 241395 w 673603"/>
                      <a:gd name="connsiteY35" fmla="*/ 59839 h 858249"/>
                      <a:gd name="connsiteX36" fmla="*/ 169081 w 673603"/>
                      <a:gd name="connsiteY36" fmla="*/ 160974 h 858249"/>
                      <a:gd name="connsiteX37" fmla="*/ 192109 w 673603"/>
                      <a:gd name="connsiteY37" fmla="*/ 186030 h 858249"/>
                      <a:gd name="connsiteX38" fmla="*/ 209480 w 673603"/>
                      <a:gd name="connsiteY38" fmla="*/ 168263 h 858249"/>
                      <a:gd name="connsiteX39" fmla="*/ 352895 w 673603"/>
                      <a:gd name="connsiteY39" fmla="*/ 122251 h 858249"/>
                      <a:gd name="connsiteX40" fmla="*/ 205036 w 673603"/>
                      <a:gd name="connsiteY40" fmla="*/ 213819 h 858249"/>
                      <a:gd name="connsiteX41" fmla="*/ 205036 w 673603"/>
                      <a:gd name="connsiteY41" fmla="*/ 254364 h 858249"/>
                      <a:gd name="connsiteX42" fmla="*/ 186453 w 673603"/>
                      <a:gd name="connsiteY42" fmla="*/ 269397 h 858249"/>
                      <a:gd name="connsiteX43" fmla="*/ 206248 w 673603"/>
                      <a:gd name="connsiteY43" fmla="*/ 358232 h 858249"/>
                      <a:gd name="connsiteX44" fmla="*/ 217560 w 673603"/>
                      <a:gd name="connsiteY44" fmla="*/ 365976 h 858249"/>
                      <a:gd name="connsiteX45" fmla="*/ 265230 w 673603"/>
                      <a:gd name="connsiteY45" fmla="*/ 473033 h 858249"/>
                      <a:gd name="connsiteX46" fmla="*/ 352895 w 673603"/>
                      <a:gd name="connsiteY46" fmla="*/ 522690 h 858249"/>
                      <a:gd name="connsiteX47" fmla="*/ 447024 w 673603"/>
                      <a:gd name="connsiteY47" fmla="*/ 460733 h 858249"/>
                      <a:gd name="connsiteX48" fmla="*/ 488231 w 673603"/>
                      <a:gd name="connsiteY48" fmla="*/ 361421 h 858249"/>
                      <a:gd name="connsiteX49" fmla="*/ 521357 w 673603"/>
                      <a:gd name="connsiteY49" fmla="*/ 283520 h 858249"/>
                      <a:gd name="connsiteX50" fmla="*/ 508430 w 673603"/>
                      <a:gd name="connsiteY50" fmla="*/ 261653 h 858249"/>
                      <a:gd name="connsiteX51" fmla="*/ 535901 w 673603"/>
                      <a:gd name="connsiteY51" fmla="*/ 181930 h 858249"/>
                      <a:gd name="connsiteX52" fmla="*/ 426016 w 673603"/>
                      <a:gd name="connsiteY52" fmla="*/ 17472 h 858249"/>
                      <a:gd name="connsiteX53" fmla="*/ 360713 w 673603"/>
                      <a:gd name="connsiteY53" fmla="*/ 167 h 858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73603" h="858249">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9463" y="855236"/>
                          <a:pt x="441914" y="856925"/>
                          <a:pt x="488320" y="858165"/>
                        </a:cubicBezTo>
                        <a:cubicBezTo>
                          <a:pt x="488326" y="858194"/>
                          <a:pt x="488336" y="858221"/>
                          <a:pt x="488345" y="858249"/>
                        </a:cubicBezTo>
                        <a:lnTo>
                          <a:pt x="489349" y="858186"/>
                        </a:lnTo>
                        <a:lnTo>
                          <a:pt x="492440" y="858249"/>
                        </a:lnTo>
                        <a:cubicBezTo>
                          <a:pt x="492562" y="858190"/>
                          <a:pt x="492684" y="858130"/>
                          <a:pt x="492755" y="857971"/>
                        </a:cubicBezTo>
                        <a:cubicBezTo>
                          <a:pt x="517797" y="856858"/>
                          <a:pt x="544705" y="855190"/>
                          <a:pt x="572680" y="852938"/>
                        </a:cubicBezTo>
                        <a:cubicBezTo>
                          <a:pt x="572277" y="823340"/>
                          <a:pt x="561368" y="775071"/>
                          <a:pt x="549247" y="749115"/>
                        </a:cubicBezTo>
                        <a:cubicBezTo>
                          <a:pt x="558539" y="755035"/>
                          <a:pt x="598134" y="796473"/>
                          <a:pt x="605811" y="850206"/>
                        </a:cubicBezTo>
                        <a:cubicBezTo>
                          <a:pt x="678536" y="756856"/>
                          <a:pt x="682172" y="682176"/>
                          <a:pt x="665203" y="653033"/>
                        </a:cubicBezTo>
                        <a:cubicBezTo>
                          <a:pt x="648638" y="624345"/>
                          <a:pt x="529853" y="576532"/>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5007" y="254367"/>
                          <a:pt x="186453" y="255741"/>
                          <a:pt x="186453" y="269397"/>
                        </a:cubicBezTo>
                        <a:cubicBezTo>
                          <a:pt x="186453" y="283062"/>
                          <a:pt x="206241" y="358204"/>
                          <a:pt x="206248" y="358232"/>
                        </a:cubicBezTo>
                        <a:cubicBezTo>
                          <a:pt x="206263" y="358257"/>
                          <a:pt x="211509"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48" y="261603"/>
                          <a:pt x="533882" y="191493"/>
                          <a:pt x="535901" y="181930"/>
                        </a:cubicBezTo>
                        <a:cubicBezTo>
                          <a:pt x="537517" y="172818"/>
                          <a:pt x="554484" y="11549"/>
                          <a:pt x="426016" y="17472"/>
                        </a:cubicBezTo>
                        <a:cubicBezTo>
                          <a:pt x="407231" y="4488"/>
                          <a:pt x="384639" y="-1064"/>
                          <a:pt x="360713" y="167"/>
                        </a:cubicBezTo>
                        <a:close/>
                      </a:path>
                    </a:pathLst>
                  </a:custGeom>
                  <a:solidFill>
                    <a:schemeClr val="bg1">
                      <a:lumMod val="5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20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390" name="Man's Body"/>
                  <p:cNvSpPr>
                    <a:spLocks/>
                  </p:cNvSpPr>
                  <p:nvPr/>
                </p:nvSpPr>
                <p:spPr bwMode="auto">
                  <a:xfrm flipH="1">
                    <a:off x="8313636" y="4928555"/>
                    <a:ext cx="711925" cy="907076"/>
                  </a:xfrm>
                  <a:custGeom>
                    <a:avLst/>
                    <a:gdLst>
                      <a:gd name="connsiteX0" fmla="*/ 452684 w 673603"/>
                      <a:gd name="connsiteY0" fmla="*/ 499119 h 858249"/>
                      <a:gd name="connsiteX1" fmla="*/ 364244 w 673603"/>
                      <a:gd name="connsiteY1" fmla="*/ 552651 h 858249"/>
                      <a:gd name="connsiteX2" fmla="*/ 310399 w 673603"/>
                      <a:gd name="connsiteY2" fmla="*/ 763544 h 858249"/>
                      <a:gd name="connsiteX3" fmla="*/ 343737 w 673603"/>
                      <a:gd name="connsiteY3" fmla="*/ 794501 h 858249"/>
                      <a:gd name="connsiteX4" fmla="*/ 367549 w 673603"/>
                      <a:gd name="connsiteY4" fmla="*/ 777832 h 858249"/>
                      <a:gd name="connsiteX5" fmla="*/ 362787 w 673603"/>
                      <a:gd name="connsiteY5" fmla="*/ 754019 h 858249"/>
                      <a:gd name="connsiteX6" fmla="*/ 386599 w 673603"/>
                      <a:gd name="connsiteY6" fmla="*/ 746876 h 858249"/>
                      <a:gd name="connsiteX7" fmla="*/ 398506 w 673603"/>
                      <a:gd name="connsiteY7" fmla="*/ 777832 h 858249"/>
                      <a:gd name="connsiteX8" fmla="*/ 343737 w 673603"/>
                      <a:gd name="connsiteY8" fmla="*/ 815932 h 858249"/>
                      <a:gd name="connsiteX9" fmla="*/ 279443 w 673603"/>
                      <a:gd name="connsiteY9" fmla="*/ 773069 h 858249"/>
                      <a:gd name="connsiteX10" fmla="*/ 331831 w 673603"/>
                      <a:gd name="connsiteY10" fmla="*/ 577807 h 858249"/>
                      <a:gd name="connsiteX11" fmla="*/ 305637 w 673603"/>
                      <a:gd name="connsiteY11" fmla="*/ 563519 h 858249"/>
                      <a:gd name="connsiteX12" fmla="*/ 311779 w 673603"/>
                      <a:gd name="connsiteY12" fmla="*/ 547549 h 858249"/>
                      <a:gd name="connsiteX13" fmla="*/ 237741 w 673603"/>
                      <a:gd name="connsiteY13" fmla="*/ 500485 h 858249"/>
                      <a:gd name="connsiteX14" fmla="*/ 224038 w 673603"/>
                      <a:gd name="connsiteY14" fmla="*/ 528452 h 858249"/>
                      <a:gd name="connsiteX15" fmla="*/ 153447 w 673603"/>
                      <a:gd name="connsiteY15" fmla="*/ 578809 h 858249"/>
                      <a:gd name="connsiteX16" fmla="*/ 8401 w 673603"/>
                      <a:gd name="connsiteY16" fmla="*/ 653033 h 858249"/>
                      <a:gd name="connsiteX17" fmla="*/ 67793 w 673603"/>
                      <a:gd name="connsiteY17" fmla="*/ 850206 h 858249"/>
                      <a:gd name="connsiteX18" fmla="*/ 124357 w 673603"/>
                      <a:gd name="connsiteY18" fmla="*/ 749115 h 858249"/>
                      <a:gd name="connsiteX19" fmla="*/ 100924 w 673603"/>
                      <a:gd name="connsiteY19" fmla="*/ 852938 h 858249"/>
                      <a:gd name="connsiteX20" fmla="*/ 488320 w 673603"/>
                      <a:gd name="connsiteY20" fmla="*/ 858165 h 858249"/>
                      <a:gd name="connsiteX21" fmla="*/ 488345 w 673603"/>
                      <a:gd name="connsiteY21" fmla="*/ 858249 h 858249"/>
                      <a:gd name="connsiteX22" fmla="*/ 489349 w 673603"/>
                      <a:gd name="connsiteY22" fmla="*/ 858186 h 858249"/>
                      <a:gd name="connsiteX23" fmla="*/ 492440 w 673603"/>
                      <a:gd name="connsiteY23" fmla="*/ 858249 h 858249"/>
                      <a:gd name="connsiteX24" fmla="*/ 492755 w 673603"/>
                      <a:gd name="connsiteY24" fmla="*/ 857971 h 858249"/>
                      <a:gd name="connsiteX25" fmla="*/ 572680 w 673603"/>
                      <a:gd name="connsiteY25" fmla="*/ 852938 h 858249"/>
                      <a:gd name="connsiteX26" fmla="*/ 549247 w 673603"/>
                      <a:gd name="connsiteY26" fmla="*/ 749115 h 858249"/>
                      <a:gd name="connsiteX27" fmla="*/ 605811 w 673603"/>
                      <a:gd name="connsiteY27" fmla="*/ 850206 h 858249"/>
                      <a:gd name="connsiteX28" fmla="*/ 665203 w 673603"/>
                      <a:gd name="connsiteY28" fmla="*/ 653033 h 858249"/>
                      <a:gd name="connsiteX29" fmla="*/ 520157 w 673603"/>
                      <a:gd name="connsiteY29" fmla="*/ 578809 h 858249"/>
                      <a:gd name="connsiteX30" fmla="*/ 416545 w 673603"/>
                      <a:gd name="connsiteY30" fmla="*/ 619374 h 858249"/>
                      <a:gd name="connsiteX31" fmla="*/ 402735 w 673603"/>
                      <a:gd name="connsiteY31" fmla="*/ 611762 h 858249"/>
                      <a:gd name="connsiteX32" fmla="*/ 480966 w 673603"/>
                      <a:gd name="connsiteY32" fmla="*/ 558317 h 858249"/>
                      <a:gd name="connsiteX33" fmla="*/ 452684 w 673603"/>
                      <a:gd name="connsiteY33" fmla="*/ 499119 h 858249"/>
                      <a:gd name="connsiteX34" fmla="*/ 360713 w 673603"/>
                      <a:gd name="connsiteY34" fmla="*/ 167 h 858249"/>
                      <a:gd name="connsiteX35" fmla="*/ 241395 w 673603"/>
                      <a:gd name="connsiteY35" fmla="*/ 59839 h 858249"/>
                      <a:gd name="connsiteX36" fmla="*/ 169081 w 673603"/>
                      <a:gd name="connsiteY36" fmla="*/ 160974 h 858249"/>
                      <a:gd name="connsiteX37" fmla="*/ 192109 w 673603"/>
                      <a:gd name="connsiteY37" fmla="*/ 186030 h 858249"/>
                      <a:gd name="connsiteX38" fmla="*/ 209480 w 673603"/>
                      <a:gd name="connsiteY38" fmla="*/ 168263 h 858249"/>
                      <a:gd name="connsiteX39" fmla="*/ 352895 w 673603"/>
                      <a:gd name="connsiteY39" fmla="*/ 122251 h 858249"/>
                      <a:gd name="connsiteX40" fmla="*/ 205036 w 673603"/>
                      <a:gd name="connsiteY40" fmla="*/ 213819 h 858249"/>
                      <a:gd name="connsiteX41" fmla="*/ 205036 w 673603"/>
                      <a:gd name="connsiteY41" fmla="*/ 254364 h 858249"/>
                      <a:gd name="connsiteX42" fmla="*/ 186453 w 673603"/>
                      <a:gd name="connsiteY42" fmla="*/ 269397 h 858249"/>
                      <a:gd name="connsiteX43" fmla="*/ 206248 w 673603"/>
                      <a:gd name="connsiteY43" fmla="*/ 358232 h 858249"/>
                      <a:gd name="connsiteX44" fmla="*/ 217560 w 673603"/>
                      <a:gd name="connsiteY44" fmla="*/ 365976 h 858249"/>
                      <a:gd name="connsiteX45" fmla="*/ 265230 w 673603"/>
                      <a:gd name="connsiteY45" fmla="*/ 473033 h 858249"/>
                      <a:gd name="connsiteX46" fmla="*/ 352895 w 673603"/>
                      <a:gd name="connsiteY46" fmla="*/ 522690 h 858249"/>
                      <a:gd name="connsiteX47" fmla="*/ 447024 w 673603"/>
                      <a:gd name="connsiteY47" fmla="*/ 460733 h 858249"/>
                      <a:gd name="connsiteX48" fmla="*/ 488231 w 673603"/>
                      <a:gd name="connsiteY48" fmla="*/ 361421 h 858249"/>
                      <a:gd name="connsiteX49" fmla="*/ 521357 w 673603"/>
                      <a:gd name="connsiteY49" fmla="*/ 283520 h 858249"/>
                      <a:gd name="connsiteX50" fmla="*/ 508430 w 673603"/>
                      <a:gd name="connsiteY50" fmla="*/ 261653 h 858249"/>
                      <a:gd name="connsiteX51" fmla="*/ 535901 w 673603"/>
                      <a:gd name="connsiteY51" fmla="*/ 181930 h 858249"/>
                      <a:gd name="connsiteX52" fmla="*/ 426016 w 673603"/>
                      <a:gd name="connsiteY52" fmla="*/ 17472 h 858249"/>
                      <a:gd name="connsiteX53" fmla="*/ 360713 w 673603"/>
                      <a:gd name="connsiteY53" fmla="*/ 167 h 858249"/>
                      <a:gd name="connsiteX0" fmla="*/ 452684 w 673603"/>
                      <a:gd name="connsiteY0" fmla="*/ 499119 h 858249"/>
                      <a:gd name="connsiteX1" fmla="*/ 364244 w 673603"/>
                      <a:gd name="connsiteY1" fmla="*/ 552651 h 858249"/>
                      <a:gd name="connsiteX2" fmla="*/ 303255 w 673603"/>
                      <a:gd name="connsiteY2" fmla="*/ 763544 h 858249"/>
                      <a:gd name="connsiteX3" fmla="*/ 343737 w 673603"/>
                      <a:gd name="connsiteY3" fmla="*/ 794501 h 858249"/>
                      <a:gd name="connsiteX4" fmla="*/ 367549 w 673603"/>
                      <a:gd name="connsiteY4" fmla="*/ 777832 h 858249"/>
                      <a:gd name="connsiteX5" fmla="*/ 362787 w 673603"/>
                      <a:gd name="connsiteY5" fmla="*/ 754019 h 858249"/>
                      <a:gd name="connsiteX6" fmla="*/ 386599 w 673603"/>
                      <a:gd name="connsiteY6" fmla="*/ 746876 h 858249"/>
                      <a:gd name="connsiteX7" fmla="*/ 398506 w 673603"/>
                      <a:gd name="connsiteY7" fmla="*/ 777832 h 858249"/>
                      <a:gd name="connsiteX8" fmla="*/ 343737 w 673603"/>
                      <a:gd name="connsiteY8" fmla="*/ 815932 h 858249"/>
                      <a:gd name="connsiteX9" fmla="*/ 279443 w 673603"/>
                      <a:gd name="connsiteY9" fmla="*/ 773069 h 858249"/>
                      <a:gd name="connsiteX10" fmla="*/ 331831 w 673603"/>
                      <a:gd name="connsiteY10" fmla="*/ 577807 h 858249"/>
                      <a:gd name="connsiteX11" fmla="*/ 305637 w 673603"/>
                      <a:gd name="connsiteY11" fmla="*/ 563519 h 858249"/>
                      <a:gd name="connsiteX12" fmla="*/ 311779 w 673603"/>
                      <a:gd name="connsiteY12" fmla="*/ 547549 h 858249"/>
                      <a:gd name="connsiteX13" fmla="*/ 237741 w 673603"/>
                      <a:gd name="connsiteY13" fmla="*/ 500485 h 858249"/>
                      <a:gd name="connsiteX14" fmla="*/ 224038 w 673603"/>
                      <a:gd name="connsiteY14" fmla="*/ 528452 h 858249"/>
                      <a:gd name="connsiteX15" fmla="*/ 153447 w 673603"/>
                      <a:gd name="connsiteY15" fmla="*/ 578809 h 858249"/>
                      <a:gd name="connsiteX16" fmla="*/ 8401 w 673603"/>
                      <a:gd name="connsiteY16" fmla="*/ 653033 h 858249"/>
                      <a:gd name="connsiteX17" fmla="*/ 67793 w 673603"/>
                      <a:gd name="connsiteY17" fmla="*/ 850206 h 858249"/>
                      <a:gd name="connsiteX18" fmla="*/ 124357 w 673603"/>
                      <a:gd name="connsiteY18" fmla="*/ 749115 h 858249"/>
                      <a:gd name="connsiteX19" fmla="*/ 100924 w 673603"/>
                      <a:gd name="connsiteY19" fmla="*/ 852938 h 858249"/>
                      <a:gd name="connsiteX20" fmla="*/ 488320 w 673603"/>
                      <a:gd name="connsiteY20" fmla="*/ 858165 h 858249"/>
                      <a:gd name="connsiteX21" fmla="*/ 488345 w 673603"/>
                      <a:gd name="connsiteY21" fmla="*/ 858249 h 858249"/>
                      <a:gd name="connsiteX22" fmla="*/ 489349 w 673603"/>
                      <a:gd name="connsiteY22" fmla="*/ 858186 h 858249"/>
                      <a:gd name="connsiteX23" fmla="*/ 492440 w 673603"/>
                      <a:gd name="connsiteY23" fmla="*/ 858249 h 858249"/>
                      <a:gd name="connsiteX24" fmla="*/ 492755 w 673603"/>
                      <a:gd name="connsiteY24" fmla="*/ 857971 h 858249"/>
                      <a:gd name="connsiteX25" fmla="*/ 572680 w 673603"/>
                      <a:gd name="connsiteY25" fmla="*/ 852938 h 858249"/>
                      <a:gd name="connsiteX26" fmla="*/ 549247 w 673603"/>
                      <a:gd name="connsiteY26" fmla="*/ 749115 h 858249"/>
                      <a:gd name="connsiteX27" fmla="*/ 605811 w 673603"/>
                      <a:gd name="connsiteY27" fmla="*/ 850206 h 858249"/>
                      <a:gd name="connsiteX28" fmla="*/ 665203 w 673603"/>
                      <a:gd name="connsiteY28" fmla="*/ 653033 h 858249"/>
                      <a:gd name="connsiteX29" fmla="*/ 520157 w 673603"/>
                      <a:gd name="connsiteY29" fmla="*/ 578809 h 858249"/>
                      <a:gd name="connsiteX30" fmla="*/ 416545 w 673603"/>
                      <a:gd name="connsiteY30" fmla="*/ 619374 h 858249"/>
                      <a:gd name="connsiteX31" fmla="*/ 402735 w 673603"/>
                      <a:gd name="connsiteY31" fmla="*/ 611762 h 858249"/>
                      <a:gd name="connsiteX32" fmla="*/ 480966 w 673603"/>
                      <a:gd name="connsiteY32" fmla="*/ 558317 h 858249"/>
                      <a:gd name="connsiteX33" fmla="*/ 452684 w 673603"/>
                      <a:gd name="connsiteY33" fmla="*/ 499119 h 858249"/>
                      <a:gd name="connsiteX34" fmla="*/ 360713 w 673603"/>
                      <a:gd name="connsiteY34" fmla="*/ 167 h 858249"/>
                      <a:gd name="connsiteX35" fmla="*/ 241395 w 673603"/>
                      <a:gd name="connsiteY35" fmla="*/ 59839 h 858249"/>
                      <a:gd name="connsiteX36" fmla="*/ 169081 w 673603"/>
                      <a:gd name="connsiteY36" fmla="*/ 160974 h 858249"/>
                      <a:gd name="connsiteX37" fmla="*/ 192109 w 673603"/>
                      <a:gd name="connsiteY37" fmla="*/ 186030 h 858249"/>
                      <a:gd name="connsiteX38" fmla="*/ 209480 w 673603"/>
                      <a:gd name="connsiteY38" fmla="*/ 168263 h 858249"/>
                      <a:gd name="connsiteX39" fmla="*/ 352895 w 673603"/>
                      <a:gd name="connsiteY39" fmla="*/ 122251 h 858249"/>
                      <a:gd name="connsiteX40" fmla="*/ 205036 w 673603"/>
                      <a:gd name="connsiteY40" fmla="*/ 213819 h 858249"/>
                      <a:gd name="connsiteX41" fmla="*/ 205036 w 673603"/>
                      <a:gd name="connsiteY41" fmla="*/ 254364 h 858249"/>
                      <a:gd name="connsiteX42" fmla="*/ 186453 w 673603"/>
                      <a:gd name="connsiteY42" fmla="*/ 269397 h 858249"/>
                      <a:gd name="connsiteX43" fmla="*/ 206248 w 673603"/>
                      <a:gd name="connsiteY43" fmla="*/ 358232 h 858249"/>
                      <a:gd name="connsiteX44" fmla="*/ 217560 w 673603"/>
                      <a:gd name="connsiteY44" fmla="*/ 365976 h 858249"/>
                      <a:gd name="connsiteX45" fmla="*/ 265230 w 673603"/>
                      <a:gd name="connsiteY45" fmla="*/ 473033 h 858249"/>
                      <a:gd name="connsiteX46" fmla="*/ 352895 w 673603"/>
                      <a:gd name="connsiteY46" fmla="*/ 522690 h 858249"/>
                      <a:gd name="connsiteX47" fmla="*/ 447024 w 673603"/>
                      <a:gd name="connsiteY47" fmla="*/ 460733 h 858249"/>
                      <a:gd name="connsiteX48" fmla="*/ 488231 w 673603"/>
                      <a:gd name="connsiteY48" fmla="*/ 361421 h 858249"/>
                      <a:gd name="connsiteX49" fmla="*/ 521357 w 673603"/>
                      <a:gd name="connsiteY49" fmla="*/ 283520 h 858249"/>
                      <a:gd name="connsiteX50" fmla="*/ 508430 w 673603"/>
                      <a:gd name="connsiteY50" fmla="*/ 261653 h 858249"/>
                      <a:gd name="connsiteX51" fmla="*/ 535901 w 673603"/>
                      <a:gd name="connsiteY51" fmla="*/ 181930 h 858249"/>
                      <a:gd name="connsiteX52" fmla="*/ 426016 w 673603"/>
                      <a:gd name="connsiteY52" fmla="*/ 17472 h 858249"/>
                      <a:gd name="connsiteX53" fmla="*/ 360713 w 673603"/>
                      <a:gd name="connsiteY53" fmla="*/ 167 h 858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73603" h="858249">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9463" y="855236"/>
                          <a:pt x="441914" y="856925"/>
                          <a:pt x="488320" y="858165"/>
                        </a:cubicBezTo>
                        <a:cubicBezTo>
                          <a:pt x="488326" y="858194"/>
                          <a:pt x="488336" y="858221"/>
                          <a:pt x="488345" y="858249"/>
                        </a:cubicBezTo>
                        <a:lnTo>
                          <a:pt x="489349" y="858186"/>
                        </a:lnTo>
                        <a:lnTo>
                          <a:pt x="492440" y="858249"/>
                        </a:lnTo>
                        <a:cubicBezTo>
                          <a:pt x="492562" y="858190"/>
                          <a:pt x="492684" y="858130"/>
                          <a:pt x="492755" y="857971"/>
                        </a:cubicBezTo>
                        <a:cubicBezTo>
                          <a:pt x="517797" y="856858"/>
                          <a:pt x="544705" y="855190"/>
                          <a:pt x="572680" y="852938"/>
                        </a:cubicBezTo>
                        <a:cubicBezTo>
                          <a:pt x="572277" y="823340"/>
                          <a:pt x="561368" y="775071"/>
                          <a:pt x="549247" y="749115"/>
                        </a:cubicBezTo>
                        <a:cubicBezTo>
                          <a:pt x="558539" y="755035"/>
                          <a:pt x="598134" y="796473"/>
                          <a:pt x="605811" y="850206"/>
                        </a:cubicBezTo>
                        <a:cubicBezTo>
                          <a:pt x="678536" y="756856"/>
                          <a:pt x="682172" y="682176"/>
                          <a:pt x="665203" y="653033"/>
                        </a:cubicBezTo>
                        <a:cubicBezTo>
                          <a:pt x="648638" y="624345"/>
                          <a:pt x="529853" y="576532"/>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5007" y="254367"/>
                          <a:pt x="186453" y="255741"/>
                          <a:pt x="186453" y="269397"/>
                        </a:cubicBezTo>
                        <a:cubicBezTo>
                          <a:pt x="186453" y="283062"/>
                          <a:pt x="206241" y="358204"/>
                          <a:pt x="206248" y="358232"/>
                        </a:cubicBezTo>
                        <a:cubicBezTo>
                          <a:pt x="206263" y="358257"/>
                          <a:pt x="211509"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48" y="261603"/>
                          <a:pt x="533882" y="191493"/>
                          <a:pt x="535901" y="181930"/>
                        </a:cubicBezTo>
                        <a:cubicBezTo>
                          <a:pt x="537517" y="172818"/>
                          <a:pt x="554484" y="11549"/>
                          <a:pt x="426016" y="17472"/>
                        </a:cubicBezTo>
                        <a:cubicBezTo>
                          <a:pt x="407231" y="4488"/>
                          <a:pt x="384639" y="-1064"/>
                          <a:pt x="360713" y="167"/>
                        </a:cubicBezTo>
                        <a:close/>
                      </a:path>
                    </a:pathLst>
                  </a:custGeom>
                  <a:solidFill>
                    <a:schemeClr val="bg1">
                      <a:lumMod val="5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20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grpSp>
          </p:grpSp>
          <p:pic>
            <p:nvPicPr>
              <p:cNvPr id="382" name="Picture 77"/>
              <p:cNvPicPr>
                <a:picLocks noChangeAspect="1" noChangeArrowheads="1"/>
              </p:cNvPicPr>
              <p:nvPr/>
            </p:nvPicPr>
            <p:blipFill>
              <a:blip r:embed="rId7" cstate="email">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tretch>
                <a:fillRect/>
              </a:stretch>
            </p:blipFill>
            <p:spPr bwMode="auto">
              <a:xfrm>
                <a:off x="8359145" y="4624265"/>
                <a:ext cx="425914" cy="225196"/>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369" name="Rectangle 368"/>
          <p:cNvSpPr/>
          <p:nvPr/>
        </p:nvSpPr>
        <p:spPr bwMode="auto">
          <a:xfrm>
            <a:off x="11868952" y="1414419"/>
            <a:ext cx="567523" cy="509274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marL="0" marR="0" lvl="0" indent="0" algn="ctr" defTabSz="932384" rtl="0"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77675195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750" fill="hold"/>
                                        <p:tgtEl>
                                          <p:spTgt spid="20"/>
                                        </p:tgtEl>
                                        <p:attrNameLst>
                                          <p:attrName>ppt_x</p:attrName>
                                        </p:attrNameLst>
                                      </p:cBhvr>
                                      <p:tavLst>
                                        <p:tav tm="0">
                                          <p:val>
                                            <p:strVal val="0-#ppt_w/2"/>
                                          </p:val>
                                        </p:tav>
                                        <p:tav tm="100000">
                                          <p:val>
                                            <p:strVal val="#ppt_x"/>
                                          </p:val>
                                        </p:tav>
                                      </p:tavLst>
                                    </p:anim>
                                    <p:anim calcmode="lin" valueType="num">
                                      <p:cBhvr additive="base">
                                        <p:cTn id="8" dur="750" fill="hold"/>
                                        <p:tgtEl>
                                          <p:spTgt spid="20"/>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750" fill="hold"/>
                                        <p:tgtEl>
                                          <p:spTgt spid="21"/>
                                        </p:tgtEl>
                                        <p:attrNameLst>
                                          <p:attrName>ppt_x</p:attrName>
                                        </p:attrNameLst>
                                      </p:cBhvr>
                                      <p:tavLst>
                                        <p:tav tm="0">
                                          <p:val>
                                            <p:strVal val="0-#ppt_w/2"/>
                                          </p:val>
                                        </p:tav>
                                        <p:tav tm="100000">
                                          <p:val>
                                            <p:strVal val="#ppt_x"/>
                                          </p:val>
                                        </p:tav>
                                      </p:tavLst>
                                    </p:anim>
                                    <p:anim calcmode="lin" valueType="num">
                                      <p:cBhvr additive="base">
                                        <p:cTn id="12" dur="750" fill="hold"/>
                                        <p:tgtEl>
                                          <p:spTgt spid="21"/>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750" fill="hold"/>
                                        <p:tgtEl>
                                          <p:spTgt spid="22"/>
                                        </p:tgtEl>
                                        <p:attrNameLst>
                                          <p:attrName>ppt_x</p:attrName>
                                        </p:attrNameLst>
                                      </p:cBhvr>
                                      <p:tavLst>
                                        <p:tav tm="0">
                                          <p:val>
                                            <p:strVal val="0-#ppt_w/2"/>
                                          </p:val>
                                        </p:tav>
                                        <p:tav tm="100000">
                                          <p:val>
                                            <p:strVal val="#ppt_x"/>
                                          </p:val>
                                        </p:tav>
                                      </p:tavLst>
                                    </p:anim>
                                    <p:anim calcmode="lin" valueType="num">
                                      <p:cBhvr additive="base">
                                        <p:cTn id="16" dur="750" fill="hold"/>
                                        <p:tgtEl>
                                          <p:spTgt spid="22"/>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anim calcmode="lin" valueType="num">
                                      <p:cBhvr additive="base">
                                        <p:cTn id="19" dur="750" fill="hold"/>
                                        <p:tgtEl>
                                          <p:spTgt spid="23"/>
                                        </p:tgtEl>
                                        <p:attrNameLst>
                                          <p:attrName>ppt_x</p:attrName>
                                        </p:attrNameLst>
                                      </p:cBhvr>
                                      <p:tavLst>
                                        <p:tav tm="0">
                                          <p:val>
                                            <p:strVal val="0-#ppt_w/2"/>
                                          </p:val>
                                        </p:tav>
                                        <p:tav tm="100000">
                                          <p:val>
                                            <p:strVal val="#ppt_x"/>
                                          </p:val>
                                        </p:tav>
                                      </p:tavLst>
                                    </p:anim>
                                    <p:anim calcmode="lin" valueType="num">
                                      <p:cBhvr additive="base">
                                        <p:cTn id="20" dur="750" fill="hold"/>
                                        <p:tgtEl>
                                          <p:spTgt spid="23"/>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24"/>
                                        </p:tgtEl>
                                        <p:attrNameLst>
                                          <p:attrName>style.visibility</p:attrName>
                                        </p:attrNameLst>
                                      </p:cBhvr>
                                      <p:to>
                                        <p:strVal val="visible"/>
                                      </p:to>
                                    </p:set>
                                    <p:anim calcmode="lin" valueType="num">
                                      <p:cBhvr additive="base">
                                        <p:cTn id="23" dur="750" fill="hold"/>
                                        <p:tgtEl>
                                          <p:spTgt spid="24"/>
                                        </p:tgtEl>
                                        <p:attrNameLst>
                                          <p:attrName>ppt_x</p:attrName>
                                        </p:attrNameLst>
                                      </p:cBhvr>
                                      <p:tavLst>
                                        <p:tav tm="0">
                                          <p:val>
                                            <p:strVal val="0-#ppt_w/2"/>
                                          </p:val>
                                        </p:tav>
                                        <p:tav tm="100000">
                                          <p:val>
                                            <p:strVal val="#ppt_x"/>
                                          </p:val>
                                        </p:tav>
                                      </p:tavLst>
                                    </p:anim>
                                    <p:anim calcmode="lin" valueType="num">
                                      <p:cBhvr additive="base">
                                        <p:cTn id="24" dur="750" fill="hold"/>
                                        <p:tgtEl>
                                          <p:spTgt spid="24"/>
                                        </p:tgtEl>
                                        <p:attrNameLst>
                                          <p:attrName>ppt_y</p:attrName>
                                        </p:attrNameLst>
                                      </p:cBhvr>
                                      <p:tavLst>
                                        <p:tav tm="0">
                                          <p:val>
                                            <p:strVal val="#ppt_y"/>
                                          </p:val>
                                        </p:tav>
                                        <p:tav tm="100000">
                                          <p:val>
                                            <p:strVal val="#ppt_y"/>
                                          </p:val>
                                        </p:tav>
                                      </p:tavLst>
                                    </p:anim>
                                  </p:childTnLst>
                                </p:cTn>
                              </p:par>
                              <p:par>
                                <p:cTn id="25" presetID="2" presetClass="entr" presetSubtype="2" fill="hold" nodeType="withEffect">
                                  <p:stCondLst>
                                    <p:cond delay="0"/>
                                  </p:stCondLst>
                                  <p:childTnLst>
                                    <p:set>
                                      <p:cBhvr>
                                        <p:cTn id="26" dur="1" fill="hold">
                                          <p:stCondLst>
                                            <p:cond delay="0"/>
                                          </p:stCondLst>
                                        </p:cTn>
                                        <p:tgtEl>
                                          <p:spTgt spid="371"/>
                                        </p:tgtEl>
                                        <p:attrNameLst>
                                          <p:attrName>style.visibility</p:attrName>
                                        </p:attrNameLst>
                                      </p:cBhvr>
                                      <p:to>
                                        <p:strVal val="visible"/>
                                      </p:to>
                                    </p:set>
                                    <p:anim calcmode="lin" valueType="num">
                                      <p:cBhvr additive="base">
                                        <p:cTn id="27" dur="750" fill="hold"/>
                                        <p:tgtEl>
                                          <p:spTgt spid="371"/>
                                        </p:tgtEl>
                                        <p:attrNameLst>
                                          <p:attrName>ppt_x</p:attrName>
                                        </p:attrNameLst>
                                      </p:cBhvr>
                                      <p:tavLst>
                                        <p:tav tm="0">
                                          <p:val>
                                            <p:strVal val="1+#ppt_w/2"/>
                                          </p:val>
                                        </p:tav>
                                        <p:tav tm="100000">
                                          <p:val>
                                            <p:strVal val="#ppt_x"/>
                                          </p:val>
                                        </p:tav>
                                      </p:tavLst>
                                    </p:anim>
                                    <p:anim calcmode="lin" valueType="num">
                                      <p:cBhvr additive="base">
                                        <p:cTn id="28" dur="750" fill="hold"/>
                                        <p:tgtEl>
                                          <p:spTgt spid="37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4" name="Picture 12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3699" y="1678637"/>
            <a:ext cx="7655094" cy="5320998"/>
          </a:xfrm>
          <a:prstGeom prst="rect">
            <a:avLst/>
          </a:prstGeom>
        </p:spPr>
      </p:pic>
      <p:pic>
        <p:nvPicPr>
          <p:cNvPr id="125" name="Picture 124"/>
          <p:cNvPicPr>
            <a:picLocks noChangeAspect="1"/>
          </p:cNvPicPr>
          <p:nvPr/>
        </p:nvPicPr>
        <p:blipFill rotWithShape="1">
          <a:blip r:embed="rId4">
            <a:extLst>
              <a:ext uri="{28A0092B-C50C-407E-A947-70E740481C1C}">
                <a14:useLocalDpi xmlns:a14="http://schemas.microsoft.com/office/drawing/2010/main"/>
              </a:ext>
            </a:extLst>
          </a:blip>
          <a:srcRect/>
          <a:stretch/>
        </p:blipFill>
        <p:spPr>
          <a:xfrm flipH="1">
            <a:off x="7273857" y="4423360"/>
            <a:ext cx="3119592" cy="2576276"/>
          </a:xfrm>
          <a:prstGeom prst="triangle">
            <a:avLst/>
          </a:prstGeom>
        </p:spPr>
      </p:pic>
      <p:sp>
        <p:nvSpPr>
          <p:cNvPr id="126" name="Rectangle 125"/>
          <p:cNvSpPr/>
          <p:nvPr/>
        </p:nvSpPr>
        <p:spPr>
          <a:xfrm>
            <a:off x="7021078" y="3739230"/>
            <a:ext cx="5139892" cy="1646659"/>
          </a:xfrm>
          <a:prstGeom prst="rect">
            <a:avLst/>
          </a:prstGeom>
        </p:spPr>
        <p:txBody>
          <a:bodyPr vert="horz" wrap="square" lIns="146225" tIns="91390" rIns="146225" bIns="91390" rtlCol="0" anchor="t">
            <a:noAutofit/>
          </a:bodyPr>
          <a:lstStyle/>
          <a:p>
            <a:pPr marL="0" marR="0" lvl="0" indent="0" algn="l" defTabSz="932193" rtl="0" eaLnBrk="1" fontAlgn="auto" latinLnBrk="0" hangingPunct="1">
              <a:lnSpc>
                <a:spcPct val="90000"/>
              </a:lnSpc>
              <a:spcBef>
                <a:spcPct val="0"/>
              </a:spcBef>
              <a:spcAft>
                <a:spcPts val="0"/>
              </a:spcAft>
              <a:buClrTx/>
              <a:buSzTx/>
              <a:buFontTx/>
              <a:buNone/>
              <a:tabLst/>
              <a:defRPr/>
            </a:pPr>
            <a:endParaRPr kumimoji="0" lang="en-US" sz="3597" b="0" i="0" u="none" strike="noStrike" kern="0" cap="none" spc="-102" normalizeH="0" baseline="0" noProof="0" dirty="0">
              <a:ln w="3175">
                <a:noFill/>
              </a:ln>
              <a:gradFill>
                <a:gsLst>
                  <a:gs pos="1250">
                    <a:prstClr val="white"/>
                  </a:gs>
                  <a:gs pos="100000">
                    <a:prstClr val="white"/>
                  </a:gs>
                </a:gsLst>
                <a:lin ang="5400000" scaled="0"/>
              </a:gradFill>
              <a:effectLst/>
              <a:uLnTx/>
              <a:uFillTx/>
              <a:latin typeface="Segoe UI Light"/>
              <a:ea typeface="+mn-ea"/>
              <a:cs typeface="Segoe UI" pitchFamily="34" charset="0"/>
            </a:endParaRPr>
          </a:p>
        </p:txBody>
      </p:sp>
      <p:sp>
        <p:nvSpPr>
          <p:cNvPr id="127" name="Rectangle 126"/>
          <p:cNvSpPr/>
          <p:nvPr/>
        </p:nvSpPr>
        <p:spPr>
          <a:xfrm>
            <a:off x="5678254" y="1506332"/>
            <a:ext cx="6754839" cy="3542231"/>
          </a:xfrm>
          <a:prstGeom prst="rect">
            <a:avLst/>
          </a:prstGeom>
        </p:spPr>
        <p:txBody>
          <a:bodyPr vert="horz" wrap="square" lIns="146225" tIns="91390" rIns="146225" bIns="91390" rtlCol="0" anchor="t">
            <a:noAutofit/>
          </a:bodyPr>
          <a:lstStyle/>
          <a:p>
            <a:pPr marL="0" marR="0" lvl="0" indent="0" algn="l" defTabSz="932193" rtl="0" eaLnBrk="1" fontAlgn="auto" latinLnBrk="0" hangingPunct="1">
              <a:lnSpc>
                <a:spcPct val="90000"/>
              </a:lnSpc>
              <a:spcBef>
                <a:spcPct val="0"/>
              </a:spcBef>
              <a:spcAft>
                <a:spcPts val="0"/>
              </a:spcAft>
              <a:buClrTx/>
              <a:buSzTx/>
              <a:buFontTx/>
              <a:buNone/>
              <a:tabLst/>
              <a:defRPr/>
            </a:pPr>
            <a:endParaRPr kumimoji="0" lang="en-US" sz="4797" b="0" i="0" u="none" strike="noStrike" kern="0" cap="none" spc="-102" normalizeH="0" baseline="0" noProof="0" dirty="0">
              <a:ln w="3175">
                <a:noFill/>
              </a:ln>
              <a:solidFill>
                <a:prstClr val="white"/>
              </a:solidFill>
              <a:effectLst/>
              <a:uLnTx/>
              <a:uFillTx/>
              <a:latin typeface="Segoe UI Light"/>
              <a:ea typeface="+mn-ea"/>
              <a:cs typeface="Segoe UI" pitchFamily="34" charset="0"/>
            </a:endParaRPr>
          </a:p>
        </p:txBody>
      </p:sp>
      <p:pic>
        <p:nvPicPr>
          <p:cNvPr id="128" name="Picture 127"/>
          <p:cNvPicPr>
            <a:picLocks noChangeAspect="1"/>
          </p:cNvPicPr>
          <p:nvPr/>
        </p:nvPicPr>
        <p:blipFill>
          <a:blip r:embed="rId5" cstate="email">
            <a:lum bright="70000" contrast="-70000"/>
            <a:extLst>
              <a:ext uri="{BEBA8EAE-BF5A-486C-A8C5-ECC9F3942E4B}">
                <a14:imgProps xmlns:a14="http://schemas.microsoft.com/office/drawing/2010/main">
                  <a14:imgLayer r:embed="rId6">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a:ext>
            </a:extLst>
          </a:blip>
          <a:stretch>
            <a:fillRect/>
          </a:stretch>
        </p:blipFill>
        <p:spPr>
          <a:xfrm>
            <a:off x="11427878" y="2853839"/>
            <a:ext cx="554165" cy="675032"/>
          </a:xfrm>
          <a:prstGeom prst="rect">
            <a:avLst/>
          </a:prstGeom>
          <a:solidFill>
            <a:schemeClr val="accent1"/>
          </a:solidFill>
        </p:spPr>
      </p:pic>
      <p:grpSp>
        <p:nvGrpSpPr>
          <p:cNvPr id="130" name="Group 129"/>
          <p:cNvGrpSpPr/>
          <p:nvPr/>
        </p:nvGrpSpPr>
        <p:grpSpPr>
          <a:xfrm>
            <a:off x="7342162" y="3879870"/>
            <a:ext cx="548079" cy="665170"/>
            <a:chOff x="1502342" y="238442"/>
            <a:chExt cx="1596433" cy="1867608"/>
          </a:xfrm>
          <a:solidFill>
            <a:schemeClr val="tx1"/>
          </a:solidFill>
        </p:grpSpPr>
        <p:sp>
          <p:nvSpPr>
            <p:cNvPr id="132" name="Freeform 25"/>
            <p:cNvSpPr>
              <a:spLocks noEditPoints="1"/>
            </p:cNvSpPr>
            <p:nvPr/>
          </p:nvSpPr>
          <p:spPr bwMode="auto">
            <a:xfrm>
              <a:off x="1502342" y="825623"/>
              <a:ext cx="1596433" cy="681218"/>
            </a:xfrm>
            <a:custGeom>
              <a:avLst/>
              <a:gdLst>
                <a:gd name="T0" fmla="*/ 574 w 618"/>
                <a:gd name="T1" fmla="*/ 0 h 264"/>
                <a:gd name="T2" fmla="*/ 530 w 618"/>
                <a:gd name="T3" fmla="*/ 45 h 264"/>
                <a:gd name="T4" fmla="*/ 530 w 618"/>
                <a:gd name="T5" fmla="*/ 219 h 264"/>
                <a:gd name="T6" fmla="*/ 574 w 618"/>
                <a:gd name="T7" fmla="*/ 264 h 264"/>
                <a:gd name="T8" fmla="*/ 618 w 618"/>
                <a:gd name="T9" fmla="*/ 219 h 264"/>
                <a:gd name="T10" fmla="*/ 618 w 618"/>
                <a:gd name="T11" fmla="*/ 45 h 264"/>
                <a:gd name="T12" fmla="*/ 574 w 618"/>
                <a:gd name="T13" fmla="*/ 0 h 264"/>
                <a:gd name="T14" fmla="*/ 44 w 618"/>
                <a:gd name="T15" fmla="*/ 0 h 264"/>
                <a:gd name="T16" fmla="*/ 0 w 618"/>
                <a:gd name="T17" fmla="*/ 45 h 264"/>
                <a:gd name="T18" fmla="*/ 0 w 618"/>
                <a:gd name="T19" fmla="*/ 219 h 264"/>
                <a:gd name="T20" fmla="*/ 44 w 618"/>
                <a:gd name="T21" fmla="*/ 264 h 264"/>
                <a:gd name="T22" fmla="*/ 88 w 618"/>
                <a:gd name="T23" fmla="*/ 219 h 264"/>
                <a:gd name="T24" fmla="*/ 88 w 618"/>
                <a:gd name="T25" fmla="*/ 45 h 264"/>
                <a:gd name="T26" fmla="*/ 44 w 618"/>
                <a:gd name="T27"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8" h="264">
                  <a:moveTo>
                    <a:pt x="574" y="0"/>
                  </a:moveTo>
                  <a:cubicBezTo>
                    <a:pt x="550" y="0"/>
                    <a:pt x="530" y="20"/>
                    <a:pt x="530" y="45"/>
                  </a:cubicBezTo>
                  <a:cubicBezTo>
                    <a:pt x="530" y="219"/>
                    <a:pt x="530" y="219"/>
                    <a:pt x="530" y="219"/>
                  </a:cubicBezTo>
                  <a:cubicBezTo>
                    <a:pt x="530" y="244"/>
                    <a:pt x="550" y="264"/>
                    <a:pt x="574" y="264"/>
                  </a:cubicBezTo>
                  <a:cubicBezTo>
                    <a:pt x="598" y="264"/>
                    <a:pt x="618" y="244"/>
                    <a:pt x="618" y="219"/>
                  </a:cubicBezTo>
                  <a:cubicBezTo>
                    <a:pt x="618" y="45"/>
                    <a:pt x="618" y="45"/>
                    <a:pt x="618" y="45"/>
                  </a:cubicBezTo>
                  <a:cubicBezTo>
                    <a:pt x="618" y="20"/>
                    <a:pt x="598" y="0"/>
                    <a:pt x="574" y="0"/>
                  </a:cubicBezTo>
                  <a:close/>
                  <a:moveTo>
                    <a:pt x="44" y="0"/>
                  </a:moveTo>
                  <a:cubicBezTo>
                    <a:pt x="20" y="0"/>
                    <a:pt x="0" y="20"/>
                    <a:pt x="0" y="45"/>
                  </a:cubicBezTo>
                  <a:cubicBezTo>
                    <a:pt x="0" y="219"/>
                    <a:pt x="0" y="219"/>
                    <a:pt x="0" y="219"/>
                  </a:cubicBezTo>
                  <a:cubicBezTo>
                    <a:pt x="0" y="244"/>
                    <a:pt x="20" y="264"/>
                    <a:pt x="44" y="264"/>
                  </a:cubicBezTo>
                  <a:cubicBezTo>
                    <a:pt x="68" y="264"/>
                    <a:pt x="88" y="244"/>
                    <a:pt x="88" y="219"/>
                  </a:cubicBezTo>
                  <a:cubicBezTo>
                    <a:pt x="88" y="45"/>
                    <a:pt x="88" y="45"/>
                    <a:pt x="88" y="45"/>
                  </a:cubicBezTo>
                  <a:cubicBezTo>
                    <a:pt x="88" y="20"/>
                    <a:pt x="68" y="0"/>
                    <a:pt x="44" y="0"/>
                  </a:cubicBezTo>
                  <a:close/>
                </a:path>
              </a:pathLst>
            </a:custGeom>
            <a:grpFill/>
            <a:ln>
              <a:noFill/>
            </a:ln>
            <a:effectLst/>
            <a:extLst/>
          </p:spPr>
          <p:txBody>
            <a:bodyPr vert="horz" wrap="square" lIns="91390" tIns="45696" rIns="91390" bIns="45696" numCol="1" anchor="t" anchorCtr="0" compatLnSpc="1">
              <a:prstTxWarp prst="textNoShape">
                <a:avLst/>
              </a:prstTxWarp>
            </a:bodyPr>
            <a:lstStyle/>
            <a:p>
              <a:pPr marL="0" marR="0" lvl="0" indent="0" algn="l" defTabSz="93219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505050"/>
                </a:solidFill>
                <a:effectLst/>
                <a:uLnTx/>
                <a:uFillTx/>
                <a:latin typeface="Segoe UI"/>
                <a:ea typeface="+mn-ea"/>
                <a:cs typeface="+mn-cs"/>
              </a:endParaRPr>
            </a:p>
          </p:txBody>
        </p:sp>
        <p:sp>
          <p:nvSpPr>
            <p:cNvPr id="133" name="Freeform 26"/>
            <p:cNvSpPr>
              <a:spLocks/>
            </p:cNvSpPr>
            <p:nvPr/>
          </p:nvSpPr>
          <p:spPr bwMode="auto">
            <a:xfrm>
              <a:off x="1798666" y="827810"/>
              <a:ext cx="1008158" cy="1278240"/>
            </a:xfrm>
            <a:custGeom>
              <a:avLst/>
              <a:gdLst>
                <a:gd name="T0" fmla="*/ 0 w 390"/>
                <a:gd name="T1" fmla="*/ 0 h 495"/>
                <a:gd name="T2" fmla="*/ 0 w 390"/>
                <a:gd name="T3" fmla="*/ 319 h 495"/>
                <a:gd name="T4" fmla="*/ 34 w 390"/>
                <a:gd name="T5" fmla="*/ 353 h 495"/>
                <a:gd name="T6" fmla="*/ 73 w 390"/>
                <a:gd name="T7" fmla="*/ 353 h 495"/>
                <a:gd name="T8" fmla="*/ 73 w 390"/>
                <a:gd name="T9" fmla="*/ 450 h 495"/>
                <a:gd name="T10" fmla="*/ 117 w 390"/>
                <a:gd name="T11" fmla="*/ 495 h 495"/>
                <a:gd name="T12" fmla="*/ 161 w 390"/>
                <a:gd name="T13" fmla="*/ 450 h 495"/>
                <a:gd name="T14" fmla="*/ 161 w 390"/>
                <a:gd name="T15" fmla="*/ 353 h 495"/>
                <a:gd name="T16" fmla="*/ 229 w 390"/>
                <a:gd name="T17" fmla="*/ 353 h 495"/>
                <a:gd name="T18" fmla="*/ 229 w 390"/>
                <a:gd name="T19" fmla="*/ 450 h 495"/>
                <a:gd name="T20" fmla="*/ 273 w 390"/>
                <a:gd name="T21" fmla="*/ 495 h 495"/>
                <a:gd name="T22" fmla="*/ 317 w 390"/>
                <a:gd name="T23" fmla="*/ 450 h 495"/>
                <a:gd name="T24" fmla="*/ 317 w 390"/>
                <a:gd name="T25" fmla="*/ 353 h 495"/>
                <a:gd name="T26" fmla="*/ 356 w 390"/>
                <a:gd name="T27" fmla="*/ 353 h 495"/>
                <a:gd name="T28" fmla="*/ 390 w 390"/>
                <a:gd name="T29" fmla="*/ 319 h 495"/>
                <a:gd name="T30" fmla="*/ 390 w 390"/>
                <a:gd name="T31" fmla="*/ 0 h 495"/>
                <a:gd name="T32" fmla="*/ 0 w 390"/>
                <a:gd name="T33"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0" h="495">
                  <a:moveTo>
                    <a:pt x="0" y="0"/>
                  </a:moveTo>
                  <a:cubicBezTo>
                    <a:pt x="0" y="319"/>
                    <a:pt x="0" y="319"/>
                    <a:pt x="0" y="319"/>
                  </a:cubicBezTo>
                  <a:cubicBezTo>
                    <a:pt x="0" y="338"/>
                    <a:pt x="15" y="353"/>
                    <a:pt x="34" y="353"/>
                  </a:cubicBezTo>
                  <a:cubicBezTo>
                    <a:pt x="73" y="353"/>
                    <a:pt x="73" y="353"/>
                    <a:pt x="73" y="353"/>
                  </a:cubicBezTo>
                  <a:cubicBezTo>
                    <a:pt x="73" y="450"/>
                    <a:pt x="73" y="450"/>
                    <a:pt x="73" y="450"/>
                  </a:cubicBezTo>
                  <a:cubicBezTo>
                    <a:pt x="73" y="475"/>
                    <a:pt x="93" y="495"/>
                    <a:pt x="117" y="495"/>
                  </a:cubicBezTo>
                  <a:cubicBezTo>
                    <a:pt x="141" y="495"/>
                    <a:pt x="161" y="475"/>
                    <a:pt x="161" y="450"/>
                  </a:cubicBezTo>
                  <a:cubicBezTo>
                    <a:pt x="161" y="353"/>
                    <a:pt x="161" y="353"/>
                    <a:pt x="161" y="353"/>
                  </a:cubicBezTo>
                  <a:cubicBezTo>
                    <a:pt x="229" y="353"/>
                    <a:pt x="229" y="353"/>
                    <a:pt x="229" y="353"/>
                  </a:cubicBezTo>
                  <a:cubicBezTo>
                    <a:pt x="229" y="450"/>
                    <a:pt x="229" y="450"/>
                    <a:pt x="229" y="450"/>
                  </a:cubicBezTo>
                  <a:cubicBezTo>
                    <a:pt x="229" y="475"/>
                    <a:pt x="249" y="495"/>
                    <a:pt x="273" y="495"/>
                  </a:cubicBezTo>
                  <a:cubicBezTo>
                    <a:pt x="297" y="495"/>
                    <a:pt x="317" y="475"/>
                    <a:pt x="317" y="450"/>
                  </a:cubicBezTo>
                  <a:cubicBezTo>
                    <a:pt x="317" y="353"/>
                    <a:pt x="317" y="353"/>
                    <a:pt x="317" y="353"/>
                  </a:cubicBezTo>
                  <a:cubicBezTo>
                    <a:pt x="356" y="353"/>
                    <a:pt x="356" y="353"/>
                    <a:pt x="356" y="353"/>
                  </a:cubicBezTo>
                  <a:cubicBezTo>
                    <a:pt x="375" y="353"/>
                    <a:pt x="390" y="338"/>
                    <a:pt x="390" y="319"/>
                  </a:cubicBezTo>
                  <a:cubicBezTo>
                    <a:pt x="390" y="0"/>
                    <a:pt x="390" y="0"/>
                    <a:pt x="390" y="0"/>
                  </a:cubicBezTo>
                  <a:lnTo>
                    <a:pt x="0" y="0"/>
                  </a:lnTo>
                  <a:close/>
                </a:path>
              </a:pathLst>
            </a:custGeom>
            <a:grpFill/>
            <a:ln>
              <a:noFill/>
            </a:ln>
            <a:effectLst/>
            <a:extLst/>
          </p:spPr>
          <p:txBody>
            <a:bodyPr vert="horz" wrap="square" lIns="91390" tIns="45696" rIns="91390" bIns="45696" numCol="1" anchor="t" anchorCtr="0" compatLnSpc="1">
              <a:prstTxWarp prst="textNoShape">
                <a:avLst/>
              </a:prstTxWarp>
            </a:bodyPr>
            <a:lstStyle/>
            <a:p>
              <a:pPr marL="0" marR="0" lvl="0" indent="0" algn="l" defTabSz="93219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505050"/>
                </a:solidFill>
                <a:effectLst/>
                <a:uLnTx/>
                <a:uFillTx/>
                <a:latin typeface="Segoe UI"/>
                <a:ea typeface="+mn-ea"/>
                <a:cs typeface="+mn-cs"/>
              </a:endParaRPr>
            </a:p>
          </p:txBody>
        </p:sp>
        <p:sp>
          <p:nvSpPr>
            <p:cNvPr id="134" name="Freeform 27"/>
            <p:cNvSpPr>
              <a:spLocks noEditPoints="1"/>
            </p:cNvSpPr>
            <p:nvPr/>
          </p:nvSpPr>
          <p:spPr bwMode="auto">
            <a:xfrm>
              <a:off x="1796479" y="238442"/>
              <a:ext cx="1007065" cy="517201"/>
            </a:xfrm>
            <a:custGeom>
              <a:avLst/>
              <a:gdLst>
                <a:gd name="T0" fmla="*/ 288 w 390"/>
                <a:gd name="T1" fmla="*/ 63 h 200"/>
                <a:gd name="T2" fmla="*/ 324 w 390"/>
                <a:gd name="T3" fmla="*/ 11 h 200"/>
                <a:gd name="T4" fmla="*/ 323 w 390"/>
                <a:gd name="T5" fmla="*/ 2 h 200"/>
                <a:gd name="T6" fmla="*/ 314 w 390"/>
                <a:gd name="T7" fmla="*/ 4 h 200"/>
                <a:gd name="T8" fmla="*/ 276 w 390"/>
                <a:gd name="T9" fmla="*/ 59 h 200"/>
                <a:gd name="T10" fmla="*/ 195 w 390"/>
                <a:gd name="T11" fmla="*/ 43 h 200"/>
                <a:gd name="T12" fmla="*/ 114 w 390"/>
                <a:gd name="T13" fmla="*/ 59 h 200"/>
                <a:gd name="T14" fmla="*/ 76 w 390"/>
                <a:gd name="T15" fmla="*/ 4 h 200"/>
                <a:gd name="T16" fmla="*/ 67 w 390"/>
                <a:gd name="T17" fmla="*/ 2 h 200"/>
                <a:gd name="T18" fmla="*/ 66 w 390"/>
                <a:gd name="T19" fmla="*/ 11 h 200"/>
                <a:gd name="T20" fmla="*/ 102 w 390"/>
                <a:gd name="T21" fmla="*/ 63 h 200"/>
                <a:gd name="T22" fmla="*/ 0 w 390"/>
                <a:gd name="T23" fmla="*/ 200 h 200"/>
                <a:gd name="T24" fmla="*/ 390 w 390"/>
                <a:gd name="T25" fmla="*/ 200 h 200"/>
                <a:gd name="T26" fmla="*/ 288 w 390"/>
                <a:gd name="T27" fmla="*/ 63 h 200"/>
                <a:gd name="T28" fmla="*/ 113 w 390"/>
                <a:gd name="T29" fmla="*/ 146 h 200"/>
                <a:gd name="T30" fmla="*/ 91 w 390"/>
                <a:gd name="T31" fmla="*/ 124 h 200"/>
                <a:gd name="T32" fmla="*/ 113 w 390"/>
                <a:gd name="T33" fmla="*/ 103 h 200"/>
                <a:gd name="T34" fmla="*/ 134 w 390"/>
                <a:gd name="T35" fmla="*/ 124 h 200"/>
                <a:gd name="T36" fmla="*/ 113 w 390"/>
                <a:gd name="T37" fmla="*/ 146 h 200"/>
                <a:gd name="T38" fmla="*/ 280 w 390"/>
                <a:gd name="T39" fmla="*/ 146 h 200"/>
                <a:gd name="T40" fmla="*/ 259 w 390"/>
                <a:gd name="T41" fmla="*/ 124 h 200"/>
                <a:gd name="T42" fmla="*/ 280 w 390"/>
                <a:gd name="T43" fmla="*/ 103 h 200"/>
                <a:gd name="T44" fmla="*/ 302 w 390"/>
                <a:gd name="T45" fmla="*/ 124 h 200"/>
                <a:gd name="T46" fmla="*/ 280 w 390"/>
                <a:gd name="T47" fmla="*/ 14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0" h="200">
                  <a:moveTo>
                    <a:pt x="288" y="63"/>
                  </a:moveTo>
                  <a:cubicBezTo>
                    <a:pt x="324" y="11"/>
                    <a:pt x="324" y="11"/>
                    <a:pt x="324" y="11"/>
                  </a:cubicBezTo>
                  <a:cubicBezTo>
                    <a:pt x="326" y="8"/>
                    <a:pt x="325" y="4"/>
                    <a:pt x="323" y="2"/>
                  </a:cubicBezTo>
                  <a:cubicBezTo>
                    <a:pt x="320" y="0"/>
                    <a:pt x="316" y="1"/>
                    <a:pt x="314" y="4"/>
                  </a:cubicBezTo>
                  <a:cubicBezTo>
                    <a:pt x="276" y="59"/>
                    <a:pt x="276" y="59"/>
                    <a:pt x="276" y="59"/>
                  </a:cubicBezTo>
                  <a:cubicBezTo>
                    <a:pt x="251" y="49"/>
                    <a:pt x="224" y="43"/>
                    <a:pt x="195" y="43"/>
                  </a:cubicBezTo>
                  <a:cubicBezTo>
                    <a:pt x="166" y="43"/>
                    <a:pt x="139" y="49"/>
                    <a:pt x="114" y="59"/>
                  </a:cubicBezTo>
                  <a:cubicBezTo>
                    <a:pt x="76" y="4"/>
                    <a:pt x="76" y="4"/>
                    <a:pt x="76" y="4"/>
                  </a:cubicBezTo>
                  <a:cubicBezTo>
                    <a:pt x="74" y="1"/>
                    <a:pt x="70" y="0"/>
                    <a:pt x="67" y="2"/>
                  </a:cubicBezTo>
                  <a:cubicBezTo>
                    <a:pt x="65" y="4"/>
                    <a:pt x="64" y="8"/>
                    <a:pt x="66" y="11"/>
                  </a:cubicBezTo>
                  <a:cubicBezTo>
                    <a:pt x="102" y="63"/>
                    <a:pt x="102" y="63"/>
                    <a:pt x="102" y="63"/>
                  </a:cubicBezTo>
                  <a:cubicBezTo>
                    <a:pt x="45" y="90"/>
                    <a:pt x="5" y="141"/>
                    <a:pt x="0" y="200"/>
                  </a:cubicBezTo>
                  <a:cubicBezTo>
                    <a:pt x="390" y="200"/>
                    <a:pt x="390" y="200"/>
                    <a:pt x="390" y="200"/>
                  </a:cubicBezTo>
                  <a:cubicBezTo>
                    <a:pt x="385" y="141"/>
                    <a:pt x="345" y="90"/>
                    <a:pt x="288" y="63"/>
                  </a:cubicBezTo>
                  <a:close/>
                  <a:moveTo>
                    <a:pt x="113" y="146"/>
                  </a:moveTo>
                  <a:cubicBezTo>
                    <a:pt x="101" y="146"/>
                    <a:pt x="91" y="136"/>
                    <a:pt x="91" y="124"/>
                  </a:cubicBezTo>
                  <a:cubicBezTo>
                    <a:pt x="91" y="113"/>
                    <a:pt x="101" y="103"/>
                    <a:pt x="113" y="103"/>
                  </a:cubicBezTo>
                  <a:cubicBezTo>
                    <a:pt x="125" y="103"/>
                    <a:pt x="134" y="113"/>
                    <a:pt x="134" y="124"/>
                  </a:cubicBezTo>
                  <a:cubicBezTo>
                    <a:pt x="134" y="136"/>
                    <a:pt x="125" y="146"/>
                    <a:pt x="113" y="146"/>
                  </a:cubicBezTo>
                  <a:close/>
                  <a:moveTo>
                    <a:pt x="280" y="146"/>
                  </a:moveTo>
                  <a:cubicBezTo>
                    <a:pt x="268" y="146"/>
                    <a:pt x="259" y="136"/>
                    <a:pt x="259" y="124"/>
                  </a:cubicBezTo>
                  <a:cubicBezTo>
                    <a:pt x="259" y="113"/>
                    <a:pt x="268" y="103"/>
                    <a:pt x="280" y="103"/>
                  </a:cubicBezTo>
                  <a:cubicBezTo>
                    <a:pt x="292" y="103"/>
                    <a:pt x="302" y="113"/>
                    <a:pt x="302" y="124"/>
                  </a:cubicBezTo>
                  <a:cubicBezTo>
                    <a:pt x="302" y="136"/>
                    <a:pt x="292" y="146"/>
                    <a:pt x="280" y="146"/>
                  </a:cubicBezTo>
                  <a:close/>
                </a:path>
              </a:pathLst>
            </a:custGeom>
            <a:grpFill/>
            <a:ln>
              <a:noFill/>
            </a:ln>
            <a:effectLst/>
            <a:extLst/>
          </p:spPr>
          <p:txBody>
            <a:bodyPr vert="horz" wrap="square" lIns="91390" tIns="45696" rIns="91390" bIns="45696" numCol="1" anchor="t" anchorCtr="0" compatLnSpc="1">
              <a:prstTxWarp prst="textNoShape">
                <a:avLst/>
              </a:prstTxWarp>
            </a:bodyPr>
            <a:lstStyle/>
            <a:p>
              <a:pPr marL="0" marR="0" lvl="0" indent="0" algn="l" defTabSz="93219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505050"/>
                </a:solidFill>
                <a:effectLst/>
                <a:uLnTx/>
                <a:uFillTx/>
                <a:latin typeface="Segoe UI"/>
                <a:ea typeface="+mn-ea"/>
                <a:cs typeface="+mn-cs"/>
              </a:endParaRPr>
            </a:p>
          </p:txBody>
        </p:sp>
      </p:grpSp>
      <p:pic>
        <p:nvPicPr>
          <p:cNvPr id="135" name="Picture 134"/>
          <p:cNvPicPr>
            <a:picLocks noChangeAspect="1"/>
          </p:cNvPicPr>
          <p:nvPr/>
        </p:nvPicPr>
        <p:blipFill rotWithShape="1">
          <a:blip r:embed="rId7">
            <a:extLst>
              <a:ext uri="{28A0092B-C50C-407E-A947-70E740481C1C}">
                <a14:useLocalDpi xmlns:a14="http://schemas.microsoft.com/office/drawing/2010/main"/>
              </a:ext>
            </a:extLst>
          </a:blip>
          <a:srcRect/>
          <a:stretch/>
        </p:blipFill>
        <p:spPr>
          <a:xfrm flipH="1">
            <a:off x="9460916" y="4224560"/>
            <a:ext cx="3096621" cy="2775077"/>
          </a:xfrm>
          <a:prstGeom prst="triangle">
            <a:avLst/>
          </a:prstGeom>
        </p:spPr>
      </p:pic>
      <p:sp>
        <p:nvSpPr>
          <p:cNvPr id="136" name="Oval 135"/>
          <p:cNvSpPr/>
          <p:nvPr/>
        </p:nvSpPr>
        <p:spPr bwMode="auto">
          <a:xfrm>
            <a:off x="970873" y="3332710"/>
            <a:ext cx="137086" cy="14221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37" name="Oval 136"/>
          <p:cNvSpPr/>
          <p:nvPr/>
        </p:nvSpPr>
        <p:spPr bwMode="auto">
          <a:xfrm>
            <a:off x="2704715" y="3618270"/>
            <a:ext cx="137086" cy="14221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Oval 137"/>
          <p:cNvSpPr/>
          <p:nvPr/>
        </p:nvSpPr>
        <p:spPr bwMode="auto">
          <a:xfrm>
            <a:off x="5516253" y="3311380"/>
            <a:ext cx="137086" cy="14221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Oval 138"/>
          <p:cNvSpPr/>
          <p:nvPr/>
        </p:nvSpPr>
        <p:spPr bwMode="auto">
          <a:xfrm>
            <a:off x="6227440" y="4585840"/>
            <a:ext cx="137086" cy="14221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Oval 139"/>
          <p:cNvSpPr/>
          <p:nvPr/>
        </p:nvSpPr>
        <p:spPr bwMode="auto">
          <a:xfrm>
            <a:off x="10733022" y="4591687"/>
            <a:ext cx="137086" cy="14221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1" name="Straight Connector 140"/>
          <p:cNvCxnSpPr/>
          <p:nvPr/>
        </p:nvCxnSpPr>
        <p:spPr>
          <a:xfrm>
            <a:off x="2092322" y="4253316"/>
            <a:ext cx="0" cy="869323"/>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2" name="Oval 141"/>
          <p:cNvSpPr/>
          <p:nvPr/>
        </p:nvSpPr>
        <p:spPr bwMode="auto">
          <a:xfrm>
            <a:off x="2023780" y="4161757"/>
            <a:ext cx="137086" cy="14221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3" name="Straight Connector 142"/>
          <p:cNvCxnSpPr/>
          <p:nvPr/>
        </p:nvCxnSpPr>
        <p:spPr>
          <a:xfrm>
            <a:off x="554261" y="4716526"/>
            <a:ext cx="485156" cy="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4" name="Oval 143"/>
          <p:cNvSpPr/>
          <p:nvPr/>
        </p:nvSpPr>
        <p:spPr bwMode="auto">
          <a:xfrm>
            <a:off x="432725" y="4645423"/>
            <a:ext cx="137086" cy="14221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Oval 144"/>
          <p:cNvSpPr/>
          <p:nvPr/>
        </p:nvSpPr>
        <p:spPr bwMode="auto">
          <a:xfrm>
            <a:off x="4580437" y="5421442"/>
            <a:ext cx="101755" cy="105564"/>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6" name="Straight Connector 145"/>
          <p:cNvCxnSpPr>
            <a:stCxn id="147" idx="4"/>
          </p:cNvCxnSpPr>
          <p:nvPr/>
        </p:nvCxnSpPr>
        <p:spPr>
          <a:xfrm>
            <a:off x="4629496" y="4103238"/>
            <a:ext cx="0" cy="1332882"/>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7" name="Oval 146"/>
          <p:cNvSpPr/>
          <p:nvPr/>
        </p:nvSpPr>
        <p:spPr bwMode="auto">
          <a:xfrm>
            <a:off x="4560956" y="3961025"/>
            <a:ext cx="137086" cy="14221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8" name="Straight Connector 147"/>
          <p:cNvCxnSpPr/>
          <p:nvPr/>
        </p:nvCxnSpPr>
        <p:spPr>
          <a:xfrm>
            <a:off x="11501882" y="4963064"/>
            <a:ext cx="144217" cy="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9" name="Oval 148"/>
          <p:cNvSpPr/>
          <p:nvPr/>
        </p:nvSpPr>
        <p:spPr bwMode="auto">
          <a:xfrm>
            <a:off x="6217774" y="5248135"/>
            <a:ext cx="137372" cy="137086"/>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Oval 149"/>
          <p:cNvSpPr/>
          <p:nvPr/>
        </p:nvSpPr>
        <p:spPr bwMode="auto">
          <a:xfrm>
            <a:off x="2043484" y="5035276"/>
            <a:ext cx="101755" cy="105564"/>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Oval 150"/>
          <p:cNvSpPr/>
          <p:nvPr/>
        </p:nvSpPr>
        <p:spPr bwMode="auto">
          <a:xfrm>
            <a:off x="11412090" y="4912782"/>
            <a:ext cx="101755" cy="105564"/>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2" name="Straight Connector 151"/>
          <p:cNvCxnSpPr/>
          <p:nvPr/>
        </p:nvCxnSpPr>
        <p:spPr>
          <a:xfrm>
            <a:off x="9818317" y="5422389"/>
            <a:ext cx="0" cy="822791"/>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53" name="Oval 152"/>
          <p:cNvSpPr/>
          <p:nvPr/>
        </p:nvSpPr>
        <p:spPr bwMode="auto">
          <a:xfrm>
            <a:off x="9749776" y="5330831"/>
            <a:ext cx="137086" cy="14221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4" name="Straight Connector 153"/>
          <p:cNvCxnSpPr/>
          <p:nvPr/>
        </p:nvCxnSpPr>
        <p:spPr>
          <a:xfrm flipH="1">
            <a:off x="9818320" y="5745565"/>
            <a:ext cx="385959" cy="499615"/>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pic>
        <p:nvPicPr>
          <p:cNvPr id="155" name="Picture 2" descr="C:\Users\claudette\Documents\2011 Jobs\Kelly Young\02-Crystal\graphics\java.png"/>
          <p:cNvPicPr>
            <a:picLocks noChangeAspect="1" noChangeArrowheads="1"/>
          </p:cNvPicPr>
          <p:nvPr/>
        </p:nvPicPr>
        <p:blipFill>
          <a:blip r:embed="rId8" cstate="email">
            <a:biLevel thresh="50000"/>
            <a:extLst>
              <a:ext uri="{28A0092B-C50C-407E-A947-70E740481C1C}">
                <a14:useLocalDpi xmlns:a14="http://schemas.microsoft.com/office/drawing/2010/main"/>
              </a:ext>
            </a:extLst>
          </a:blip>
          <a:srcRect/>
          <a:stretch>
            <a:fillRect/>
          </a:stretch>
        </p:blipFill>
        <p:spPr bwMode="auto">
          <a:xfrm>
            <a:off x="5342644" y="2301160"/>
            <a:ext cx="478248" cy="912491"/>
          </a:xfrm>
          <a:prstGeom prst="rect">
            <a:avLst/>
          </a:prstGeom>
          <a:solidFill>
            <a:schemeClr val="accent1"/>
          </a:solidFill>
          <a:extLst/>
        </p:spPr>
      </p:pic>
      <p:cxnSp>
        <p:nvCxnSpPr>
          <p:cNvPr id="156" name="Straight Connector 155"/>
          <p:cNvCxnSpPr>
            <a:endCxn id="157" idx="7"/>
          </p:cNvCxnSpPr>
          <p:nvPr/>
        </p:nvCxnSpPr>
        <p:spPr>
          <a:xfrm flipH="1">
            <a:off x="7927363" y="4103239"/>
            <a:ext cx="886770" cy="1297443"/>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57" name="Oval 156"/>
          <p:cNvSpPr/>
          <p:nvPr/>
        </p:nvSpPr>
        <p:spPr bwMode="auto">
          <a:xfrm>
            <a:off x="7833753" y="5385221"/>
            <a:ext cx="109669" cy="105564"/>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8" name="Group 157"/>
          <p:cNvGrpSpPr/>
          <p:nvPr/>
        </p:nvGrpSpPr>
        <p:grpSpPr>
          <a:xfrm>
            <a:off x="7973314" y="3970267"/>
            <a:ext cx="925817" cy="173631"/>
            <a:chOff x="7839107" y="4432327"/>
            <a:chExt cx="758722" cy="142293"/>
          </a:xfrm>
        </p:grpSpPr>
        <p:sp>
          <p:nvSpPr>
            <p:cNvPr id="159" name="Oval 158"/>
            <p:cNvSpPr/>
            <p:nvPr/>
          </p:nvSpPr>
          <p:spPr bwMode="auto">
            <a:xfrm>
              <a:off x="7839107" y="4456102"/>
              <a:ext cx="101811" cy="105621"/>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0" name="Straight Connector 159"/>
            <p:cNvCxnSpPr/>
            <p:nvPr/>
          </p:nvCxnSpPr>
          <p:spPr>
            <a:xfrm>
              <a:off x="7913509" y="4507279"/>
              <a:ext cx="580802" cy="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61" name="Oval 160"/>
            <p:cNvSpPr/>
            <p:nvPr/>
          </p:nvSpPr>
          <p:spPr bwMode="auto">
            <a:xfrm>
              <a:off x="8460669" y="4432327"/>
              <a:ext cx="137160" cy="14229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2" name="Group 161"/>
          <p:cNvGrpSpPr/>
          <p:nvPr/>
        </p:nvGrpSpPr>
        <p:grpSpPr>
          <a:xfrm>
            <a:off x="6813236" y="5665741"/>
            <a:ext cx="906627" cy="142215"/>
            <a:chOff x="6813557" y="5657391"/>
            <a:chExt cx="907121" cy="142293"/>
          </a:xfrm>
        </p:grpSpPr>
        <p:cxnSp>
          <p:nvCxnSpPr>
            <p:cNvPr id="163" name="Straight Connector 162"/>
            <p:cNvCxnSpPr>
              <a:endCxn id="164" idx="6"/>
            </p:cNvCxnSpPr>
            <p:nvPr/>
          </p:nvCxnSpPr>
          <p:spPr>
            <a:xfrm>
              <a:off x="6950717" y="5728538"/>
              <a:ext cx="769961" cy="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64" name="Oval 163"/>
            <p:cNvSpPr/>
            <p:nvPr/>
          </p:nvSpPr>
          <p:spPr bwMode="auto">
            <a:xfrm>
              <a:off x="7583518" y="5657391"/>
              <a:ext cx="137160" cy="14229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Oval 164"/>
            <p:cNvSpPr/>
            <p:nvPr/>
          </p:nvSpPr>
          <p:spPr bwMode="auto">
            <a:xfrm>
              <a:off x="6813557" y="5659957"/>
              <a:ext cx="137160" cy="137160"/>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6" name="Group 165"/>
          <p:cNvGrpSpPr/>
          <p:nvPr/>
        </p:nvGrpSpPr>
        <p:grpSpPr>
          <a:xfrm>
            <a:off x="5257338" y="4815195"/>
            <a:ext cx="399198" cy="142215"/>
            <a:chOff x="5247288" y="4796857"/>
            <a:chExt cx="399416" cy="142293"/>
          </a:xfrm>
        </p:grpSpPr>
        <p:cxnSp>
          <p:nvCxnSpPr>
            <p:cNvPr id="167" name="Straight Connector 166"/>
            <p:cNvCxnSpPr/>
            <p:nvPr/>
          </p:nvCxnSpPr>
          <p:spPr>
            <a:xfrm>
              <a:off x="5368890" y="4861152"/>
              <a:ext cx="215559" cy="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68" name="Group 167"/>
            <p:cNvGrpSpPr/>
            <p:nvPr/>
          </p:nvGrpSpPr>
          <p:grpSpPr>
            <a:xfrm>
              <a:off x="5247288" y="4796857"/>
              <a:ext cx="399416" cy="142293"/>
              <a:chOff x="5247288" y="4796857"/>
              <a:chExt cx="399416" cy="142293"/>
            </a:xfrm>
          </p:grpSpPr>
          <p:sp>
            <p:nvSpPr>
              <p:cNvPr id="169" name="Oval 168"/>
              <p:cNvSpPr/>
              <p:nvPr/>
            </p:nvSpPr>
            <p:spPr bwMode="auto">
              <a:xfrm>
                <a:off x="5247288" y="4796857"/>
                <a:ext cx="137160" cy="14229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Oval 169"/>
              <p:cNvSpPr/>
              <p:nvPr/>
            </p:nvSpPr>
            <p:spPr bwMode="auto">
              <a:xfrm>
                <a:off x="5515869" y="4800138"/>
                <a:ext cx="130835" cy="135731"/>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71" name="Oval 170"/>
          <p:cNvSpPr/>
          <p:nvPr/>
        </p:nvSpPr>
        <p:spPr bwMode="auto">
          <a:xfrm>
            <a:off x="10130808" y="5676602"/>
            <a:ext cx="137086" cy="137086"/>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Oval 171"/>
          <p:cNvSpPr/>
          <p:nvPr/>
        </p:nvSpPr>
        <p:spPr bwMode="auto">
          <a:xfrm>
            <a:off x="10724576" y="5245793"/>
            <a:ext cx="137086" cy="137086"/>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Oval 172"/>
          <p:cNvSpPr/>
          <p:nvPr/>
        </p:nvSpPr>
        <p:spPr bwMode="auto">
          <a:xfrm>
            <a:off x="11670371" y="3656061"/>
            <a:ext cx="101755" cy="105564"/>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74" name="Straight Connector 173"/>
          <p:cNvCxnSpPr>
            <a:stCxn id="173" idx="4"/>
          </p:cNvCxnSpPr>
          <p:nvPr/>
        </p:nvCxnSpPr>
        <p:spPr>
          <a:xfrm flipH="1">
            <a:off x="11712125" y="3761625"/>
            <a:ext cx="9124" cy="1148724"/>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5" name="Oval 174"/>
          <p:cNvSpPr/>
          <p:nvPr/>
        </p:nvSpPr>
        <p:spPr bwMode="auto">
          <a:xfrm>
            <a:off x="11649559" y="4891960"/>
            <a:ext cx="137086" cy="14221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6" name="Rectangle 175"/>
          <p:cNvSpPr/>
          <p:nvPr/>
        </p:nvSpPr>
        <p:spPr bwMode="auto">
          <a:xfrm>
            <a:off x="10799255" y="4181045"/>
            <a:ext cx="331190" cy="2745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77" name="Picture 176"/>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435158" y="4783741"/>
            <a:ext cx="766323" cy="407502"/>
          </a:xfrm>
          <a:prstGeom prst="rect">
            <a:avLst/>
          </a:prstGeom>
        </p:spPr>
      </p:pic>
      <p:pic>
        <p:nvPicPr>
          <p:cNvPr id="178" name="Picture 177"/>
          <p:cNvPicPr>
            <a:picLocks noChangeAspect="1"/>
          </p:cNvPicPr>
          <p:nvPr/>
        </p:nvPicPr>
        <p:blipFill>
          <a:blip r:embed="rId10"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0456436" y="3953331"/>
            <a:ext cx="827343" cy="611768"/>
          </a:xfrm>
          <a:prstGeom prst="rect">
            <a:avLst/>
          </a:prstGeom>
        </p:spPr>
      </p:pic>
      <p:sp>
        <p:nvSpPr>
          <p:cNvPr id="179" name="Title 5"/>
          <p:cNvSpPr txBox="1">
            <a:spLocks/>
          </p:cNvSpPr>
          <p:nvPr/>
        </p:nvSpPr>
        <p:spPr>
          <a:xfrm>
            <a:off x="277555" y="355759"/>
            <a:ext cx="11883096" cy="917076"/>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193" rtl="0" eaLnBrk="1" fontAlgn="auto" latinLnBrk="0" hangingPunct="1">
              <a:lnSpc>
                <a:spcPct val="90000"/>
              </a:lnSpc>
              <a:spcBef>
                <a:spcPct val="0"/>
              </a:spcBef>
              <a:spcAft>
                <a:spcPts val="0"/>
              </a:spcAft>
              <a:buClrTx/>
              <a:buSzTx/>
              <a:buFontTx/>
              <a:buNone/>
              <a:tabLst/>
              <a:defRPr/>
            </a:pPr>
            <a:r>
              <a:rPr kumimoji="0" lang="en-US" sz="4799" b="0" i="0" u="none" strike="noStrike" kern="1200" cap="none" spc="-102" normalizeH="0" baseline="0" noProof="0" dirty="0">
                <a:ln w="3175">
                  <a:noFill/>
                </a:ln>
                <a:solidFill>
                  <a:srgbClr val="FFFFFF"/>
                </a:solidFill>
                <a:effectLst/>
                <a:uLnTx/>
                <a:uFillTx/>
                <a:latin typeface="Segoe UI Light"/>
                <a:ea typeface="+mn-ea"/>
                <a:cs typeface="Segoe UI" pitchFamily="34" charset="0"/>
              </a:rPr>
              <a:t>Azure is an open cloud</a:t>
            </a:r>
          </a:p>
        </p:txBody>
      </p:sp>
      <p:pic>
        <p:nvPicPr>
          <p:cNvPr id="180" name="Picture 10" descr="https://encrypted-tbn3.gstatic.com/images?q=tbn:ANd9GcQgAB8I4GUYPGAuHqEufTpFML_JWZior9mwUJP3P5Tro4I_bcL5"/>
          <p:cNvPicPr>
            <a:picLocks noChangeAspect="1" noChangeArrowheads="1"/>
          </p:cNvPicPr>
          <p:nvPr/>
        </p:nvPicPr>
        <p:blipFill>
          <a:blip r:embed="rId11" cstate="email">
            <a:biLevel thresh="25000"/>
            <a:extLst>
              <a:ext uri="{BEBA8EAE-BF5A-486C-A8C5-ECC9F3942E4B}">
                <a14:imgProps xmlns:a14="http://schemas.microsoft.com/office/drawing/2010/main">
                  <a14:imgLayer r:embed="rId12">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Effect>
                      <a14:saturation sat="400000"/>
                    </a14:imgEffect>
                  </a14:imgLayer>
                </a14:imgProps>
              </a:ext>
              <a:ext uri="{28A0092B-C50C-407E-A947-70E740481C1C}">
                <a14:useLocalDpi xmlns:a14="http://schemas.microsoft.com/office/drawing/2010/main"/>
              </a:ext>
            </a:extLst>
          </a:blip>
          <a:srcRect/>
          <a:stretch>
            <a:fillRect/>
          </a:stretch>
        </p:blipFill>
        <p:spPr bwMode="auto">
          <a:xfrm>
            <a:off x="9585825" y="3562140"/>
            <a:ext cx="445852" cy="428656"/>
          </a:xfrm>
          <a:prstGeom prst="rect">
            <a:avLst/>
          </a:prstGeom>
          <a:noFill/>
          <a:extLst>
            <a:ext uri="{909E8E84-426E-40DD-AFC4-6F175D3DCCD1}">
              <a14:hiddenFill xmlns:a14="http://schemas.microsoft.com/office/drawing/2010/main">
                <a:solidFill>
                  <a:srgbClr val="FFFFFF"/>
                </a:solidFill>
              </a14:hiddenFill>
            </a:ext>
          </a:extLst>
        </p:spPr>
      </p:pic>
      <p:grpSp>
        <p:nvGrpSpPr>
          <p:cNvPr id="181" name="Group 180"/>
          <p:cNvGrpSpPr/>
          <p:nvPr/>
        </p:nvGrpSpPr>
        <p:grpSpPr>
          <a:xfrm>
            <a:off x="1834449" y="2218136"/>
            <a:ext cx="484195" cy="657422"/>
            <a:chOff x="9826685" y="1504095"/>
            <a:chExt cx="485465" cy="659146"/>
          </a:xfrm>
        </p:grpSpPr>
        <p:pic>
          <p:nvPicPr>
            <p:cNvPr id="182" name="Picture 181"/>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9826685" y="1504095"/>
              <a:ext cx="459336" cy="485697"/>
            </a:xfrm>
            <a:prstGeom prst="rect">
              <a:avLst/>
            </a:prstGeom>
          </p:spPr>
        </p:pic>
        <p:pic>
          <p:nvPicPr>
            <p:cNvPr id="183" name="Picture 182"/>
            <p:cNvPicPr>
              <a:picLocks noChangeAspect="1"/>
            </p:cNvPicPr>
            <p:nvPr/>
          </p:nvPicPr>
          <p:blipFill rotWithShape="1">
            <a:blip r:embed="rId14" cstate="email">
              <a:biLevel thresh="25000"/>
              <a:extLst>
                <a:ext uri="{28A0092B-C50C-407E-A947-70E740481C1C}">
                  <a14:useLocalDpi xmlns:a14="http://schemas.microsoft.com/office/drawing/2010/main"/>
                </a:ext>
              </a:extLst>
            </a:blip>
            <a:srcRect/>
            <a:stretch/>
          </p:blipFill>
          <p:spPr>
            <a:xfrm>
              <a:off x="9864538" y="2021640"/>
              <a:ext cx="447612" cy="141601"/>
            </a:xfrm>
            <a:prstGeom prst="rect">
              <a:avLst/>
            </a:prstGeom>
          </p:spPr>
        </p:pic>
      </p:grpSp>
      <p:pic>
        <p:nvPicPr>
          <p:cNvPr id="184" name="Picture 183"/>
          <p:cNvPicPr>
            <a:picLocks noChangeAspect="1"/>
          </p:cNvPicPr>
          <p:nvPr/>
        </p:nvPicPr>
        <p:blipFill>
          <a:blip r:embed="rId15" cstate="email">
            <a:biLevel thresh="25000"/>
            <a:extLst>
              <a:ext uri="{28A0092B-C50C-407E-A947-70E740481C1C}">
                <a14:useLocalDpi xmlns:a14="http://schemas.microsoft.com/office/drawing/2010/main"/>
              </a:ext>
            </a:extLst>
          </a:blip>
          <a:stretch>
            <a:fillRect/>
          </a:stretch>
        </p:blipFill>
        <p:spPr>
          <a:xfrm>
            <a:off x="6893067" y="5164362"/>
            <a:ext cx="844312" cy="243645"/>
          </a:xfrm>
          <a:prstGeom prst="rect">
            <a:avLst/>
          </a:prstGeom>
        </p:spPr>
      </p:pic>
      <p:grpSp>
        <p:nvGrpSpPr>
          <p:cNvPr id="185" name="Group 66"/>
          <p:cNvGrpSpPr>
            <a:grpSpLocks noChangeAspect="1"/>
          </p:cNvGrpSpPr>
          <p:nvPr/>
        </p:nvGrpSpPr>
        <p:grpSpPr bwMode="auto">
          <a:xfrm>
            <a:off x="8501529" y="1958749"/>
            <a:ext cx="664246" cy="525163"/>
            <a:chOff x="5757" y="3429"/>
            <a:chExt cx="277" cy="219"/>
          </a:xfrm>
          <a:solidFill>
            <a:schemeClr val="tx1"/>
          </a:solidFill>
        </p:grpSpPr>
        <p:sp>
          <p:nvSpPr>
            <p:cNvPr id="186" name="Freeform 67"/>
            <p:cNvSpPr>
              <a:spLocks/>
            </p:cNvSpPr>
            <p:nvPr/>
          </p:nvSpPr>
          <p:spPr bwMode="auto">
            <a:xfrm>
              <a:off x="5757" y="3560"/>
              <a:ext cx="82" cy="88"/>
            </a:xfrm>
            <a:custGeom>
              <a:avLst/>
              <a:gdLst>
                <a:gd name="T0" fmla="*/ 103 w 117"/>
                <a:gd name="T1" fmla="*/ 91 h 124"/>
                <a:gd name="T2" fmla="*/ 64 w 117"/>
                <a:gd name="T3" fmla="*/ 110 h 124"/>
                <a:gd name="T4" fmla="*/ 29 w 117"/>
                <a:gd name="T5" fmla="*/ 96 h 124"/>
                <a:gd name="T6" fmla="*/ 16 w 117"/>
                <a:gd name="T7" fmla="*/ 62 h 124"/>
                <a:gd name="T8" fmla="*/ 22 w 117"/>
                <a:gd name="T9" fmla="*/ 38 h 124"/>
                <a:gd name="T10" fmla="*/ 39 w 117"/>
                <a:gd name="T11" fmla="*/ 21 h 124"/>
                <a:gd name="T12" fmla="*/ 64 w 117"/>
                <a:gd name="T13" fmla="*/ 15 h 124"/>
                <a:gd name="T14" fmla="*/ 86 w 117"/>
                <a:gd name="T15" fmla="*/ 20 h 124"/>
                <a:gd name="T16" fmla="*/ 103 w 117"/>
                <a:gd name="T17" fmla="*/ 34 h 124"/>
                <a:gd name="T18" fmla="*/ 104 w 117"/>
                <a:gd name="T19" fmla="*/ 36 h 124"/>
                <a:gd name="T20" fmla="*/ 117 w 117"/>
                <a:gd name="T21" fmla="*/ 26 h 124"/>
                <a:gd name="T22" fmla="*/ 116 w 117"/>
                <a:gd name="T23" fmla="*/ 25 h 124"/>
                <a:gd name="T24" fmla="*/ 94 w 117"/>
                <a:gd name="T25" fmla="*/ 6 h 124"/>
                <a:gd name="T26" fmla="*/ 64 w 117"/>
                <a:gd name="T27" fmla="*/ 0 h 124"/>
                <a:gd name="T28" fmla="*/ 18 w 117"/>
                <a:gd name="T29" fmla="*/ 18 h 124"/>
                <a:gd name="T30" fmla="*/ 0 w 117"/>
                <a:gd name="T31" fmla="*/ 61 h 124"/>
                <a:gd name="T32" fmla="*/ 15 w 117"/>
                <a:gd name="T33" fmla="*/ 104 h 124"/>
                <a:gd name="T34" fmla="*/ 64 w 117"/>
                <a:gd name="T35" fmla="*/ 124 h 124"/>
                <a:gd name="T36" fmla="*/ 93 w 117"/>
                <a:gd name="T37" fmla="*/ 118 h 124"/>
                <a:gd name="T38" fmla="*/ 115 w 117"/>
                <a:gd name="T39" fmla="*/ 101 h 124"/>
                <a:gd name="T40" fmla="*/ 117 w 117"/>
                <a:gd name="T41" fmla="*/ 99 h 124"/>
                <a:gd name="T42" fmla="*/ 105 w 117"/>
                <a:gd name="T43" fmla="*/ 90 h 124"/>
                <a:gd name="T44" fmla="*/ 103 w 117"/>
                <a:gd name="T45" fmla="*/ 9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7" h="124">
                  <a:moveTo>
                    <a:pt x="103" y="91"/>
                  </a:moveTo>
                  <a:cubicBezTo>
                    <a:pt x="93" y="103"/>
                    <a:pt x="80" y="110"/>
                    <a:pt x="64" y="110"/>
                  </a:cubicBezTo>
                  <a:cubicBezTo>
                    <a:pt x="50" y="110"/>
                    <a:pt x="39" y="105"/>
                    <a:pt x="29" y="96"/>
                  </a:cubicBezTo>
                  <a:cubicBezTo>
                    <a:pt x="20" y="87"/>
                    <a:pt x="16" y="76"/>
                    <a:pt x="16" y="62"/>
                  </a:cubicBezTo>
                  <a:cubicBezTo>
                    <a:pt x="16" y="54"/>
                    <a:pt x="18" y="45"/>
                    <a:pt x="22" y="38"/>
                  </a:cubicBezTo>
                  <a:cubicBezTo>
                    <a:pt x="26" y="31"/>
                    <a:pt x="32" y="26"/>
                    <a:pt x="39" y="21"/>
                  </a:cubicBezTo>
                  <a:cubicBezTo>
                    <a:pt x="47" y="17"/>
                    <a:pt x="55" y="15"/>
                    <a:pt x="64" y="15"/>
                  </a:cubicBezTo>
                  <a:cubicBezTo>
                    <a:pt x="72" y="15"/>
                    <a:pt x="79" y="17"/>
                    <a:pt x="86" y="20"/>
                  </a:cubicBezTo>
                  <a:cubicBezTo>
                    <a:pt x="93" y="23"/>
                    <a:pt x="98" y="28"/>
                    <a:pt x="103" y="34"/>
                  </a:cubicBezTo>
                  <a:cubicBezTo>
                    <a:pt x="104" y="36"/>
                    <a:pt x="104" y="36"/>
                    <a:pt x="104" y="36"/>
                  </a:cubicBezTo>
                  <a:cubicBezTo>
                    <a:pt x="117" y="26"/>
                    <a:pt x="117" y="26"/>
                    <a:pt x="117" y="26"/>
                  </a:cubicBezTo>
                  <a:cubicBezTo>
                    <a:pt x="116" y="25"/>
                    <a:pt x="116" y="25"/>
                    <a:pt x="116" y="25"/>
                  </a:cubicBezTo>
                  <a:cubicBezTo>
                    <a:pt x="110" y="17"/>
                    <a:pt x="102" y="11"/>
                    <a:pt x="94" y="6"/>
                  </a:cubicBezTo>
                  <a:cubicBezTo>
                    <a:pt x="85" y="2"/>
                    <a:pt x="75" y="0"/>
                    <a:pt x="64" y="0"/>
                  </a:cubicBezTo>
                  <a:cubicBezTo>
                    <a:pt x="45" y="0"/>
                    <a:pt x="30" y="6"/>
                    <a:pt x="18" y="18"/>
                  </a:cubicBezTo>
                  <a:cubicBezTo>
                    <a:pt x="6" y="29"/>
                    <a:pt x="0" y="44"/>
                    <a:pt x="0" y="61"/>
                  </a:cubicBezTo>
                  <a:cubicBezTo>
                    <a:pt x="0" y="78"/>
                    <a:pt x="5" y="92"/>
                    <a:pt x="15" y="104"/>
                  </a:cubicBezTo>
                  <a:cubicBezTo>
                    <a:pt x="27" y="117"/>
                    <a:pt x="43" y="124"/>
                    <a:pt x="64" y="124"/>
                  </a:cubicBezTo>
                  <a:cubicBezTo>
                    <a:pt x="75" y="124"/>
                    <a:pt x="85" y="122"/>
                    <a:pt x="93" y="118"/>
                  </a:cubicBezTo>
                  <a:cubicBezTo>
                    <a:pt x="102" y="114"/>
                    <a:pt x="110" y="108"/>
                    <a:pt x="115" y="101"/>
                  </a:cubicBezTo>
                  <a:cubicBezTo>
                    <a:pt x="117" y="99"/>
                    <a:pt x="117" y="99"/>
                    <a:pt x="117" y="99"/>
                  </a:cubicBezTo>
                  <a:cubicBezTo>
                    <a:pt x="105" y="90"/>
                    <a:pt x="105" y="90"/>
                    <a:pt x="105" y="90"/>
                  </a:cubicBezTo>
                  <a:lnTo>
                    <a:pt x="10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6" rIns="91390" bIns="45696" numCol="1" anchor="t" anchorCtr="0" compatLnSpc="1">
              <a:prstTxWarp prst="textNoShape">
                <a:avLst/>
              </a:prstTxWarp>
            </a:bodyPr>
            <a:lstStyle/>
            <a:p>
              <a:pPr marL="0" marR="0" lvl="0" indent="0" algn="l" defTabSz="93219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Segoe UI"/>
                <a:ea typeface="+mn-ea"/>
                <a:cs typeface="+mn-cs"/>
              </a:endParaRPr>
            </a:p>
          </p:txBody>
        </p:sp>
        <p:sp>
          <p:nvSpPr>
            <p:cNvPr id="187" name="Freeform 68"/>
            <p:cNvSpPr>
              <a:spLocks/>
            </p:cNvSpPr>
            <p:nvPr/>
          </p:nvSpPr>
          <p:spPr bwMode="auto">
            <a:xfrm>
              <a:off x="5855" y="3560"/>
              <a:ext cx="55" cy="86"/>
            </a:xfrm>
            <a:custGeom>
              <a:avLst/>
              <a:gdLst>
                <a:gd name="T0" fmla="*/ 62 w 78"/>
                <a:gd name="T1" fmla="*/ 36 h 122"/>
                <a:gd name="T2" fmla="*/ 44 w 78"/>
                <a:gd name="T3" fmla="*/ 30 h 122"/>
                <a:gd name="T4" fmla="*/ 26 w 78"/>
                <a:gd name="T5" fmla="*/ 35 h 122"/>
                <a:gd name="T6" fmla="*/ 14 w 78"/>
                <a:gd name="T7" fmla="*/ 44 h 122"/>
                <a:gd name="T8" fmla="*/ 14 w 78"/>
                <a:gd name="T9" fmla="*/ 0 h 122"/>
                <a:gd name="T10" fmla="*/ 0 w 78"/>
                <a:gd name="T11" fmla="*/ 0 h 122"/>
                <a:gd name="T12" fmla="*/ 0 w 78"/>
                <a:gd name="T13" fmla="*/ 122 h 122"/>
                <a:gd name="T14" fmla="*/ 14 w 78"/>
                <a:gd name="T15" fmla="*/ 122 h 122"/>
                <a:gd name="T16" fmla="*/ 14 w 78"/>
                <a:gd name="T17" fmla="*/ 88 h 122"/>
                <a:gd name="T18" fmla="*/ 16 w 78"/>
                <a:gd name="T19" fmla="*/ 66 h 122"/>
                <a:gd name="T20" fmla="*/ 26 w 78"/>
                <a:gd name="T21" fmla="*/ 51 h 122"/>
                <a:gd name="T22" fmla="*/ 42 w 78"/>
                <a:gd name="T23" fmla="*/ 44 h 122"/>
                <a:gd name="T24" fmla="*/ 55 w 78"/>
                <a:gd name="T25" fmla="*/ 48 h 122"/>
                <a:gd name="T26" fmla="*/ 62 w 78"/>
                <a:gd name="T27" fmla="*/ 60 h 122"/>
                <a:gd name="T28" fmla="*/ 63 w 78"/>
                <a:gd name="T29" fmla="*/ 79 h 122"/>
                <a:gd name="T30" fmla="*/ 63 w 78"/>
                <a:gd name="T31" fmla="*/ 122 h 122"/>
                <a:gd name="T32" fmla="*/ 78 w 78"/>
                <a:gd name="T33" fmla="*/ 122 h 122"/>
                <a:gd name="T34" fmla="*/ 78 w 78"/>
                <a:gd name="T35" fmla="*/ 76 h 122"/>
                <a:gd name="T36" fmla="*/ 74 w 78"/>
                <a:gd name="T37" fmla="*/ 49 h 122"/>
                <a:gd name="T38" fmla="*/ 62 w 78"/>
                <a:gd name="T39" fmla="*/ 3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8" h="122">
                  <a:moveTo>
                    <a:pt x="62" y="36"/>
                  </a:moveTo>
                  <a:cubicBezTo>
                    <a:pt x="57" y="32"/>
                    <a:pt x="51" y="30"/>
                    <a:pt x="44" y="30"/>
                  </a:cubicBezTo>
                  <a:cubicBezTo>
                    <a:pt x="38" y="30"/>
                    <a:pt x="32" y="32"/>
                    <a:pt x="26" y="35"/>
                  </a:cubicBezTo>
                  <a:cubicBezTo>
                    <a:pt x="22" y="37"/>
                    <a:pt x="18" y="40"/>
                    <a:pt x="14" y="44"/>
                  </a:cubicBezTo>
                  <a:cubicBezTo>
                    <a:pt x="14" y="0"/>
                    <a:pt x="14" y="0"/>
                    <a:pt x="14" y="0"/>
                  </a:cubicBezTo>
                  <a:cubicBezTo>
                    <a:pt x="0" y="0"/>
                    <a:pt x="0" y="0"/>
                    <a:pt x="0" y="0"/>
                  </a:cubicBezTo>
                  <a:cubicBezTo>
                    <a:pt x="0" y="122"/>
                    <a:pt x="0" y="122"/>
                    <a:pt x="0" y="122"/>
                  </a:cubicBezTo>
                  <a:cubicBezTo>
                    <a:pt x="14" y="122"/>
                    <a:pt x="14" y="122"/>
                    <a:pt x="14" y="122"/>
                  </a:cubicBezTo>
                  <a:cubicBezTo>
                    <a:pt x="14" y="88"/>
                    <a:pt x="14" y="88"/>
                    <a:pt x="14" y="88"/>
                  </a:cubicBezTo>
                  <a:cubicBezTo>
                    <a:pt x="14" y="77"/>
                    <a:pt x="15" y="70"/>
                    <a:pt x="16" y="66"/>
                  </a:cubicBezTo>
                  <a:cubicBezTo>
                    <a:pt x="18" y="60"/>
                    <a:pt x="21" y="55"/>
                    <a:pt x="26" y="51"/>
                  </a:cubicBezTo>
                  <a:cubicBezTo>
                    <a:pt x="31" y="46"/>
                    <a:pt x="36" y="44"/>
                    <a:pt x="42" y="44"/>
                  </a:cubicBezTo>
                  <a:cubicBezTo>
                    <a:pt x="47" y="44"/>
                    <a:pt x="52" y="46"/>
                    <a:pt x="55" y="48"/>
                  </a:cubicBezTo>
                  <a:cubicBezTo>
                    <a:pt x="58" y="51"/>
                    <a:pt x="60" y="55"/>
                    <a:pt x="62" y="60"/>
                  </a:cubicBezTo>
                  <a:cubicBezTo>
                    <a:pt x="62" y="63"/>
                    <a:pt x="63" y="69"/>
                    <a:pt x="63" y="79"/>
                  </a:cubicBezTo>
                  <a:cubicBezTo>
                    <a:pt x="63" y="122"/>
                    <a:pt x="63" y="122"/>
                    <a:pt x="63" y="122"/>
                  </a:cubicBezTo>
                  <a:cubicBezTo>
                    <a:pt x="78" y="122"/>
                    <a:pt x="78" y="122"/>
                    <a:pt x="78" y="122"/>
                  </a:cubicBezTo>
                  <a:cubicBezTo>
                    <a:pt x="78" y="76"/>
                    <a:pt x="78" y="76"/>
                    <a:pt x="78" y="76"/>
                  </a:cubicBezTo>
                  <a:cubicBezTo>
                    <a:pt x="78" y="64"/>
                    <a:pt x="76" y="55"/>
                    <a:pt x="74" y="49"/>
                  </a:cubicBezTo>
                  <a:cubicBezTo>
                    <a:pt x="72" y="44"/>
                    <a:pt x="68" y="39"/>
                    <a:pt x="6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6" rIns="91390" bIns="45696" numCol="1" anchor="t" anchorCtr="0" compatLnSpc="1">
              <a:prstTxWarp prst="textNoShape">
                <a:avLst/>
              </a:prstTxWarp>
            </a:bodyPr>
            <a:lstStyle/>
            <a:p>
              <a:pPr marL="0" marR="0" lvl="0" indent="0" algn="l" defTabSz="93219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Segoe UI"/>
                <a:ea typeface="+mn-ea"/>
                <a:cs typeface="+mn-cs"/>
              </a:endParaRPr>
            </a:p>
          </p:txBody>
        </p:sp>
        <p:sp>
          <p:nvSpPr>
            <p:cNvPr id="188" name="Freeform 69"/>
            <p:cNvSpPr>
              <a:spLocks noEditPoints="1"/>
            </p:cNvSpPr>
            <p:nvPr/>
          </p:nvSpPr>
          <p:spPr bwMode="auto">
            <a:xfrm>
              <a:off x="5925" y="3581"/>
              <a:ext cx="65" cy="67"/>
            </a:xfrm>
            <a:custGeom>
              <a:avLst/>
              <a:gdLst>
                <a:gd name="T0" fmla="*/ 92 w 92"/>
                <a:gd name="T1" fmla="*/ 48 h 94"/>
                <a:gd name="T2" fmla="*/ 82 w 92"/>
                <a:gd name="T3" fmla="*/ 18 h 94"/>
                <a:gd name="T4" fmla="*/ 46 w 92"/>
                <a:gd name="T5" fmla="*/ 0 h 94"/>
                <a:gd name="T6" fmla="*/ 11 w 92"/>
                <a:gd name="T7" fmla="*/ 17 h 94"/>
                <a:gd name="T8" fmla="*/ 0 w 92"/>
                <a:gd name="T9" fmla="*/ 47 h 94"/>
                <a:gd name="T10" fmla="*/ 13 w 92"/>
                <a:gd name="T11" fmla="*/ 79 h 94"/>
                <a:gd name="T12" fmla="*/ 47 w 92"/>
                <a:gd name="T13" fmla="*/ 94 h 94"/>
                <a:gd name="T14" fmla="*/ 64 w 92"/>
                <a:gd name="T15" fmla="*/ 91 h 94"/>
                <a:gd name="T16" fmla="*/ 78 w 92"/>
                <a:gd name="T17" fmla="*/ 82 h 94"/>
                <a:gd name="T18" fmla="*/ 89 w 92"/>
                <a:gd name="T19" fmla="*/ 67 h 94"/>
                <a:gd name="T20" fmla="*/ 90 w 92"/>
                <a:gd name="T21" fmla="*/ 65 h 94"/>
                <a:gd name="T22" fmla="*/ 77 w 92"/>
                <a:gd name="T23" fmla="*/ 59 h 94"/>
                <a:gd name="T24" fmla="*/ 76 w 92"/>
                <a:gd name="T25" fmla="*/ 60 h 94"/>
                <a:gd name="T26" fmla="*/ 67 w 92"/>
                <a:gd name="T27" fmla="*/ 72 h 94"/>
                <a:gd name="T28" fmla="*/ 58 w 92"/>
                <a:gd name="T29" fmla="*/ 78 h 94"/>
                <a:gd name="T30" fmla="*/ 46 w 92"/>
                <a:gd name="T31" fmla="*/ 80 h 94"/>
                <a:gd name="T32" fmla="*/ 25 w 92"/>
                <a:gd name="T33" fmla="*/ 71 h 94"/>
                <a:gd name="T34" fmla="*/ 16 w 92"/>
                <a:gd name="T35" fmla="*/ 50 h 94"/>
                <a:gd name="T36" fmla="*/ 92 w 92"/>
                <a:gd name="T37" fmla="*/ 50 h 94"/>
                <a:gd name="T38" fmla="*/ 92 w 92"/>
                <a:gd name="T39" fmla="*/ 48 h 94"/>
                <a:gd name="T40" fmla="*/ 17 w 92"/>
                <a:gd name="T41" fmla="*/ 36 h 94"/>
                <a:gd name="T42" fmla="*/ 26 w 92"/>
                <a:gd name="T43" fmla="*/ 22 h 94"/>
                <a:gd name="T44" fmla="*/ 46 w 92"/>
                <a:gd name="T45" fmla="*/ 15 h 94"/>
                <a:gd name="T46" fmla="*/ 60 w 92"/>
                <a:gd name="T47" fmla="*/ 18 h 94"/>
                <a:gd name="T48" fmla="*/ 70 w 92"/>
                <a:gd name="T49" fmla="*/ 26 h 94"/>
                <a:gd name="T50" fmla="*/ 75 w 92"/>
                <a:gd name="T51" fmla="*/ 36 h 94"/>
                <a:gd name="T52" fmla="*/ 17 w 92"/>
                <a:gd name="T53" fmla="*/ 3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4">
                  <a:moveTo>
                    <a:pt x="92" y="48"/>
                  </a:moveTo>
                  <a:cubicBezTo>
                    <a:pt x="92" y="36"/>
                    <a:pt x="89" y="26"/>
                    <a:pt x="82" y="18"/>
                  </a:cubicBezTo>
                  <a:cubicBezTo>
                    <a:pt x="73" y="6"/>
                    <a:pt x="61" y="0"/>
                    <a:pt x="46" y="0"/>
                  </a:cubicBezTo>
                  <a:cubicBezTo>
                    <a:pt x="31" y="0"/>
                    <a:pt x="20" y="6"/>
                    <a:pt x="11" y="17"/>
                  </a:cubicBezTo>
                  <a:cubicBezTo>
                    <a:pt x="4" y="26"/>
                    <a:pt x="0" y="36"/>
                    <a:pt x="0" y="47"/>
                  </a:cubicBezTo>
                  <a:cubicBezTo>
                    <a:pt x="0" y="59"/>
                    <a:pt x="5" y="70"/>
                    <a:pt x="13" y="79"/>
                  </a:cubicBezTo>
                  <a:cubicBezTo>
                    <a:pt x="21" y="89"/>
                    <a:pt x="32" y="94"/>
                    <a:pt x="47" y="94"/>
                  </a:cubicBezTo>
                  <a:cubicBezTo>
                    <a:pt x="53" y="94"/>
                    <a:pt x="59" y="93"/>
                    <a:pt x="64" y="91"/>
                  </a:cubicBezTo>
                  <a:cubicBezTo>
                    <a:pt x="69" y="89"/>
                    <a:pt x="74" y="86"/>
                    <a:pt x="78" y="82"/>
                  </a:cubicBezTo>
                  <a:cubicBezTo>
                    <a:pt x="82" y="78"/>
                    <a:pt x="86" y="73"/>
                    <a:pt x="89" y="67"/>
                  </a:cubicBezTo>
                  <a:cubicBezTo>
                    <a:pt x="90" y="65"/>
                    <a:pt x="90" y="65"/>
                    <a:pt x="90" y="65"/>
                  </a:cubicBezTo>
                  <a:cubicBezTo>
                    <a:pt x="77" y="59"/>
                    <a:pt x="77" y="59"/>
                    <a:pt x="77" y="59"/>
                  </a:cubicBezTo>
                  <a:cubicBezTo>
                    <a:pt x="76" y="60"/>
                    <a:pt x="76" y="60"/>
                    <a:pt x="76" y="60"/>
                  </a:cubicBezTo>
                  <a:cubicBezTo>
                    <a:pt x="73" y="66"/>
                    <a:pt x="70" y="70"/>
                    <a:pt x="67" y="72"/>
                  </a:cubicBezTo>
                  <a:cubicBezTo>
                    <a:pt x="65" y="74"/>
                    <a:pt x="61" y="76"/>
                    <a:pt x="58" y="78"/>
                  </a:cubicBezTo>
                  <a:cubicBezTo>
                    <a:pt x="54" y="79"/>
                    <a:pt x="50" y="80"/>
                    <a:pt x="46" y="80"/>
                  </a:cubicBezTo>
                  <a:cubicBezTo>
                    <a:pt x="37" y="80"/>
                    <a:pt x="30" y="77"/>
                    <a:pt x="25" y="71"/>
                  </a:cubicBezTo>
                  <a:cubicBezTo>
                    <a:pt x="19" y="65"/>
                    <a:pt x="16" y="58"/>
                    <a:pt x="16" y="50"/>
                  </a:cubicBezTo>
                  <a:cubicBezTo>
                    <a:pt x="92" y="50"/>
                    <a:pt x="92" y="50"/>
                    <a:pt x="92" y="50"/>
                  </a:cubicBezTo>
                  <a:lnTo>
                    <a:pt x="92" y="48"/>
                  </a:lnTo>
                  <a:close/>
                  <a:moveTo>
                    <a:pt x="17" y="36"/>
                  </a:moveTo>
                  <a:cubicBezTo>
                    <a:pt x="20" y="30"/>
                    <a:pt x="22" y="26"/>
                    <a:pt x="26" y="22"/>
                  </a:cubicBezTo>
                  <a:cubicBezTo>
                    <a:pt x="32" y="17"/>
                    <a:pt x="38" y="15"/>
                    <a:pt x="46" y="15"/>
                  </a:cubicBezTo>
                  <a:cubicBezTo>
                    <a:pt x="51" y="15"/>
                    <a:pt x="56" y="16"/>
                    <a:pt x="60" y="18"/>
                  </a:cubicBezTo>
                  <a:cubicBezTo>
                    <a:pt x="64" y="20"/>
                    <a:pt x="68" y="22"/>
                    <a:pt x="70" y="26"/>
                  </a:cubicBezTo>
                  <a:cubicBezTo>
                    <a:pt x="72" y="28"/>
                    <a:pt x="74" y="32"/>
                    <a:pt x="75" y="36"/>
                  </a:cubicBezTo>
                  <a:lnTo>
                    <a:pt x="17"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6" rIns="91390" bIns="45696" numCol="1" anchor="t" anchorCtr="0" compatLnSpc="1">
              <a:prstTxWarp prst="textNoShape">
                <a:avLst/>
              </a:prstTxWarp>
            </a:bodyPr>
            <a:lstStyle/>
            <a:p>
              <a:pPr marL="0" marR="0" lvl="0" indent="0" algn="l" defTabSz="93219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Segoe UI"/>
                <a:ea typeface="+mn-ea"/>
                <a:cs typeface="+mn-cs"/>
              </a:endParaRPr>
            </a:p>
          </p:txBody>
        </p:sp>
        <p:sp>
          <p:nvSpPr>
            <p:cNvPr id="189" name="Freeform 70"/>
            <p:cNvSpPr>
              <a:spLocks/>
            </p:cNvSpPr>
            <p:nvPr/>
          </p:nvSpPr>
          <p:spPr bwMode="auto">
            <a:xfrm>
              <a:off x="6002" y="3558"/>
              <a:ext cx="32" cy="88"/>
            </a:xfrm>
            <a:custGeom>
              <a:avLst/>
              <a:gdLst>
                <a:gd name="T0" fmla="*/ 27 w 45"/>
                <a:gd name="T1" fmla="*/ 18 h 125"/>
                <a:gd name="T2" fmla="*/ 28 w 45"/>
                <a:gd name="T3" fmla="*/ 16 h 125"/>
                <a:gd name="T4" fmla="*/ 42 w 45"/>
                <a:gd name="T5" fmla="*/ 17 h 125"/>
                <a:gd name="T6" fmla="*/ 45 w 45"/>
                <a:gd name="T7" fmla="*/ 18 h 125"/>
                <a:gd name="T8" fmla="*/ 45 w 45"/>
                <a:gd name="T9" fmla="*/ 3 h 125"/>
                <a:gd name="T10" fmla="*/ 43 w 45"/>
                <a:gd name="T11" fmla="*/ 3 h 125"/>
                <a:gd name="T12" fmla="*/ 19 w 45"/>
                <a:gd name="T13" fmla="*/ 3 h 125"/>
                <a:gd name="T14" fmla="*/ 13 w 45"/>
                <a:gd name="T15" fmla="*/ 10 h 125"/>
                <a:gd name="T16" fmla="*/ 11 w 45"/>
                <a:gd name="T17" fmla="*/ 24 h 125"/>
                <a:gd name="T18" fmla="*/ 11 w 45"/>
                <a:gd name="T19" fmla="*/ 36 h 125"/>
                <a:gd name="T20" fmla="*/ 0 w 45"/>
                <a:gd name="T21" fmla="*/ 36 h 125"/>
                <a:gd name="T22" fmla="*/ 0 w 45"/>
                <a:gd name="T23" fmla="*/ 49 h 125"/>
                <a:gd name="T24" fmla="*/ 11 w 45"/>
                <a:gd name="T25" fmla="*/ 49 h 125"/>
                <a:gd name="T26" fmla="*/ 11 w 45"/>
                <a:gd name="T27" fmla="*/ 125 h 125"/>
                <a:gd name="T28" fmla="*/ 26 w 45"/>
                <a:gd name="T29" fmla="*/ 125 h 125"/>
                <a:gd name="T30" fmla="*/ 26 w 45"/>
                <a:gd name="T31" fmla="*/ 49 h 125"/>
                <a:gd name="T32" fmla="*/ 44 w 45"/>
                <a:gd name="T33" fmla="*/ 49 h 125"/>
                <a:gd name="T34" fmla="*/ 44 w 45"/>
                <a:gd name="T35" fmla="*/ 36 h 125"/>
                <a:gd name="T36" fmla="*/ 26 w 45"/>
                <a:gd name="T37" fmla="*/ 36 h 125"/>
                <a:gd name="T38" fmla="*/ 26 w 45"/>
                <a:gd name="T39" fmla="*/ 26 h 125"/>
                <a:gd name="T40" fmla="*/ 27 w 45"/>
                <a:gd name="T41" fmla="*/ 1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125">
                  <a:moveTo>
                    <a:pt x="27" y="18"/>
                  </a:moveTo>
                  <a:cubicBezTo>
                    <a:pt x="27" y="17"/>
                    <a:pt x="27" y="16"/>
                    <a:pt x="28" y="16"/>
                  </a:cubicBezTo>
                  <a:cubicBezTo>
                    <a:pt x="31" y="14"/>
                    <a:pt x="36" y="15"/>
                    <a:pt x="42" y="17"/>
                  </a:cubicBezTo>
                  <a:cubicBezTo>
                    <a:pt x="45" y="18"/>
                    <a:pt x="45" y="18"/>
                    <a:pt x="45" y="18"/>
                  </a:cubicBezTo>
                  <a:cubicBezTo>
                    <a:pt x="45" y="3"/>
                    <a:pt x="45" y="3"/>
                    <a:pt x="45" y="3"/>
                  </a:cubicBezTo>
                  <a:cubicBezTo>
                    <a:pt x="43" y="3"/>
                    <a:pt x="43" y="3"/>
                    <a:pt x="43" y="3"/>
                  </a:cubicBezTo>
                  <a:cubicBezTo>
                    <a:pt x="33" y="0"/>
                    <a:pt x="25" y="0"/>
                    <a:pt x="19" y="3"/>
                  </a:cubicBezTo>
                  <a:cubicBezTo>
                    <a:pt x="16" y="5"/>
                    <a:pt x="14" y="7"/>
                    <a:pt x="13" y="10"/>
                  </a:cubicBezTo>
                  <a:cubicBezTo>
                    <a:pt x="12" y="13"/>
                    <a:pt x="11" y="18"/>
                    <a:pt x="11" y="24"/>
                  </a:cubicBezTo>
                  <a:cubicBezTo>
                    <a:pt x="11" y="36"/>
                    <a:pt x="11" y="36"/>
                    <a:pt x="11" y="36"/>
                  </a:cubicBezTo>
                  <a:cubicBezTo>
                    <a:pt x="0" y="36"/>
                    <a:pt x="0" y="36"/>
                    <a:pt x="0" y="36"/>
                  </a:cubicBezTo>
                  <a:cubicBezTo>
                    <a:pt x="0" y="49"/>
                    <a:pt x="0" y="49"/>
                    <a:pt x="0" y="49"/>
                  </a:cubicBezTo>
                  <a:cubicBezTo>
                    <a:pt x="11" y="49"/>
                    <a:pt x="11" y="49"/>
                    <a:pt x="11" y="49"/>
                  </a:cubicBezTo>
                  <a:cubicBezTo>
                    <a:pt x="11" y="125"/>
                    <a:pt x="11" y="125"/>
                    <a:pt x="11" y="125"/>
                  </a:cubicBezTo>
                  <a:cubicBezTo>
                    <a:pt x="26" y="125"/>
                    <a:pt x="26" y="125"/>
                    <a:pt x="26" y="125"/>
                  </a:cubicBezTo>
                  <a:cubicBezTo>
                    <a:pt x="26" y="49"/>
                    <a:pt x="26" y="49"/>
                    <a:pt x="26" y="49"/>
                  </a:cubicBezTo>
                  <a:cubicBezTo>
                    <a:pt x="44" y="49"/>
                    <a:pt x="44" y="49"/>
                    <a:pt x="44" y="49"/>
                  </a:cubicBezTo>
                  <a:cubicBezTo>
                    <a:pt x="44" y="36"/>
                    <a:pt x="44" y="36"/>
                    <a:pt x="44" y="36"/>
                  </a:cubicBezTo>
                  <a:cubicBezTo>
                    <a:pt x="26" y="36"/>
                    <a:pt x="26" y="36"/>
                    <a:pt x="26" y="36"/>
                  </a:cubicBezTo>
                  <a:cubicBezTo>
                    <a:pt x="26" y="26"/>
                    <a:pt x="26" y="26"/>
                    <a:pt x="26" y="26"/>
                  </a:cubicBezTo>
                  <a:cubicBezTo>
                    <a:pt x="26" y="20"/>
                    <a:pt x="26" y="18"/>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6" rIns="91390" bIns="45696" numCol="1" anchor="t" anchorCtr="0" compatLnSpc="1">
              <a:prstTxWarp prst="textNoShape">
                <a:avLst/>
              </a:prstTxWarp>
            </a:bodyPr>
            <a:lstStyle/>
            <a:p>
              <a:pPr marL="0" marR="0" lvl="0" indent="0" algn="l" defTabSz="93219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Segoe UI"/>
                <a:ea typeface="+mn-ea"/>
                <a:cs typeface="+mn-cs"/>
              </a:endParaRPr>
            </a:p>
          </p:txBody>
        </p:sp>
        <p:sp>
          <p:nvSpPr>
            <p:cNvPr id="190" name="Freeform 71"/>
            <p:cNvSpPr>
              <a:spLocks noEditPoints="1"/>
            </p:cNvSpPr>
            <p:nvPr/>
          </p:nvSpPr>
          <p:spPr bwMode="auto">
            <a:xfrm>
              <a:off x="5840" y="3429"/>
              <a:ext cx="123" cy="120"/>
            </a:xfrm>
            <a:custGeom>
              <a:avLst/>
              <a:gdLst>
                <a:gd name="T0" fmla="*/ 50 w 174"/>
                <a:gd name="T1" fmla="*/ 62 h 170"/>
                <a:gd name="T2" fmla="*/ 51 w 174"/>
                <a:gd name="T3" fmla="*/ 63 h 170"/>
                <a:gd name="T4" fmla="*/ 53 w 174"/>
                <a:gd name="T5" fmla="*/ 72 h 170"/>
                <a:gd name="T6" fmla="*/ 53 w 174"/>
                <a:gd name="T7" fmla="*/ 148 h 170"/>
                <a:gd name="T8" fmla="*/ 75 w 174"/>
                <a:gd name="T9" fmla="*/ 170 h 170"/>
                <a:gd name="T10" fmla="*/ 152 w 174"/>
                <a:gd name="T11" fmla="*/ 170 h 170"/>
                <a:gd name="T12" fmla="*/ 174 w 174"/>
                <a:gd name="T13" fmla="*/ 148 h 170"/>
                <a:gd name="T14" fmla="*/ 174 w 174"/>
                <a:gd name="T15" fmla="*/ 70 h 170"/>
                <a:gd name="T16" fmla="*/ 152 w 174"/>
                <a:gd name="T17" fmla="*/ 49 h 170"/>
                <a:gd name="T18" fmla="*/ 75 w 174"/>
                <a:gd name="T19" fmla="*/ 49 h 170"/>
                <a:gd name="T20" fmla="*/ 74 w 174"/>
                <a:gd name="T21" fmla="*/ 49 h 170"/>
                <a:gd name="T22" fmla="*/ 64 w 174"/>
                <a:gd name="T23" fmla="*/ 47 h 170"/>
                <a:gd name="T24" fmla="*/ 63 w 174"/>
                <a:gd name="T25" fmla="*/ 47 h 170"/>
                <a:gd name="T26" fmla="*/ 66 w 174"/>
                <a:gd name="T27" fmla="*/ 33 h 170"/>
                <a:gd name="T28" fmla="*/ 33 w 174"/>
                <a:gd name="T29" fmla="*/ 0 h 170"/>
                <a:gd name="T30" fmla="*/ 0 w 174"/>
                <a:gd name="T31" fmla="*/ 33 h 170"/>
                <a:gd name="T32" fmla="*/ 33 w 174"/>
                <a:gd name="T33" fmla="*/ 66 h 170"/>
                <a:gd name="T34" fmla="*/ 50 w 174"/>
                <a:gd name="T35" fmla="*/ 62 h 170"/>
                <a:gd name="T36" fmla="*/ 77 w 174"/>
                <a:gd name="T37" fmla="*/ 86 h 170"/>
                <a:gd name="T38" fmla="*/ 93 w 174"/>
                <a:gd name="T39" fmla="*/ 70 h 170"/>
                <a:gd name="T40" fmla="*/ 117 w 174"/>
                <a:gd name="T41" fmla="*/ 63 h 170"/>
                <a:gd name="T42" fmla="*/ 138 w 174"/>
                <a:gd name="T43" fmla="*/ 68 h 170"/>
                <a:gd name="T44" fmla="*/ 155 w 174"/>
                <a:gd name="T45" fmla="*/ 81 h 170"/>
                <a:gd name="T46" fmla="*/ 156 w 174"/>
                <a:gd name="T47" fmla="*/ 82 h 170"/>
                <a:gd name="T48" fmla="*/ 142 w 174"/>
                <a:gd name="T49" fmla="*/ 96 h 170"/>
                <a:gd name="T50" fmla="*/ 141 w 174"/>
                <a:gd name="T51" fmla="*/ 94 h 170"/>
                <a:gd name="T52" fmla="*/ 117 w 174"/>
                <a:gd name="T53" fmla="*/ 83 h 170"/>
                <a:gd name="T54" fmla="*/ 98 w 174"/>
                <a:gd name="T55" fmla="*/ 90 h 170"/>
                <a:gd name="T56" fmla="*/ 91 w 174"/>
                <a:gd name="T57" fmla="*/ 109 h 170"/>
                <a:gd name="T58" fmla="*/ 94 w 174"/>
                <a:gd name="T59" fmla="*/ 123 h 170"/>
                <a:gd name="T60" fmla="*/ 103 w 174"/>
                <a:gd name="T61" fmla="*/ 132 h 170"/>
                <a:gd name="T62" fmla="*/ 117 w 174"/>
                <a:gd name="T63" fmla="*/ 136 h 170"/>
                <a:gd name="T64" fmla="*/ 129 w 174"/>
                <a:gd name="T65" fmla="*/ 133 h 170"/>
                <a:gd name="T66" fmla="*/ 141 w 174"/>
                <a:gd name="T67" fmla="*/ 124 h 170"/>
                <a:gd name="T68" fmla="*/ 142 w 174"/>
                <a:gd name="T69" fmla="*/ 123 h 170"/>
                <a:gd name="T70" fmla="*/ 156 w 174"/>
                <a:gd name="T71" fmla="*/ 137 h 170"/>
                <a:gd name="T72" fmla="*/ 154 w 174"/>
                <a:gd name="T73" fmla="*/ 138 h 170"/>
                <a:gd name="T74" fmla="*/ 136 w 174"/>
                <a:gd name="T75" fmla="*/ 151 h 170"/>
                <a:gd name="T76" fmla="*/ 117 w 174"/>
                <a:gd name="T77" fmla="*/ 155 h 170"/>
                <a:gd name="T78" fmla="*/ 84 w 174"/>
                <a:gd name="T79" fmla="*/ 142 h 170"/>
                <a:gd name="T80" fmla="*/ 71 w 174"/>
                <a:gd name="T81" fmla="*/ 109 h 170"/>
                <a:gd name="T82" fmla="*/ 77 w 174"/>
                <a:gd name="T83" fmla="*/ 86 h 170"/>
                <a:gd name="T84" fmla="*/ 20 w 174"/>
                <a:gd name="T85" fmla="*/ 33 h 170"/>
                <a:gd name="T86" fmla="*/ 33 w 174"/>
                <a:gd name="T87" fmla="*/ 20 h 170"/>
                <a:gd name="T88" fmla="*/ 46 w 174"/>
                <a:gd name="T89" fmla="*/ 33 h 170"/>
                <a:gd name="T90" fmla="*/ 33 w 174"/>
                <a:gd name="T91" fmla="*/ 46 h 170"/>
                <a:gd name="T92" fmla="*/ 20 w 174"/>
                <a:gd name="T93" fmla="*/ 3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4" h="170">
                  <a:moveTo>
                    <a:pt x="50" y="62"/>
                  </a:moveTo>
                  <a:cubicBezTo>
                    <a:pt x="50" y="62"/>
                    <a:pt x="51" y="62"/>
                    <a:pt x="51" y="63"/>
                  </a:cubicBezTo>
                  <a:cubicBezTo>
                    <a:pt x="53" y="64"/>
                    <a:pt x="53" y="70"/>
                    <a:pt x="53" y="72"/>
                  </a:cubicBezTo>
                  <a:cubicBezTo>
                    <a:pt x="53" y="148"/>
                    <a:pt x="53" y="148"/>
                    <a:pt x="53" y="148"/>
                  </a:cubicBezTo>
                  <a:cubicBezTo>
                    <a:pt x="53" y="160"/>
                    <a:pt x="63" y="170"/>
                    <a:pt x="75" y="170"/>
                  </a:cubicBezTo>
                  <a:cubicBezTo>
                    <a:pt x="152" y="170"/>
                    <a:pt x="152" y="170"/>
                    <a:pt x="152" y="170"/>
                  </a:cubicBezTo>
                  <a:cubicBezTo>
                    <a:pt x="164" y="170"/>
                    <a:pt x="174" y="160"/>
                    <a:pt x="174" y="148"/>
                  </a:cubicBezTo>
                  <a:cubicBezTo>
                    <a:pt x="174" y="70"/>
                    <a:pt x="174" y="70"/>
                    <a:pt x="174" y="70"/>
                  </a:cubicBezTo>
                  <a:cubicBezTo>
                    <a:pt x="174" y="58"/>
                    <a:pt x="164" y="49"/>
                    <a:pt x="152" y="49"/>
                  </a:cubicBezTo>
                  <a:cubicBezTo>
                    <a:pt x="75" y="49"/>
                    <a:pt x="75" y="49"/>
                    <a:pt x="75" y="49"/>
                  </a:cubicBezTo>
                  <a:cubicBezTo>
                    <a:pt x="74" y="49"/>
                    <a:pt x="74" y="49"/>
                    <a:pt x="74" y="49"/>
                  </a:cubicBezTo>
                  <a:cubicBezTo>
                    <a:pt x="71" y="49"/>
                    <a:pt x="67" y="48"/>
                    <a:pt x="64" y="47"/>
                  </a:cubicBezTo>
                  <a:cubicBezTo>
                    <a:pt x="63" y="47"/>
                    <a:pt x="63" y="47"/>
                    <a:pt x="63" y="47"/>
                  </a:cubicBezTo>
                  <a:cubicBezTo>
                    <a:pt x="65" y="42"/>
                    <a:pt x="66" y="38"/>
                    <a:pt x="66" y="33"/>
                  </a:cubicBezTo>
                  <a:cubicBezTo>
                    <a:pt x="66" y="15"/>
                    <a:pt x="51" y="0"/>
                    <a:pt x="33" y="0"/>
                  </a:cubicBezTo>
                  <a:cubicBezTo>
                    <a:pt x="15" y="0"/>
                    <a:pt x="0" y="15"/>
                    <a:pt x="0" y="33"/>
                  </a:cubicBezTo>
                  <a:cubicBezTo>
                    <a:pt x="0" y="51"/>
                    <a:pt x="15" y="66"/>
                    <a:pt x="33" y="66"/>
                  </a:cubicBezTo>
                  <a:cubicBezTo>
                    <a:pt x="39" y="66"/>
                    <a:pt x="45" y="64"/>
                    <a:pt x="50" y="62"/>
                  </a:cubicBezTo>
                  <a:close/>
                  <a:moveTo>
                    <a:pt x="77" y="86"/>
                  </a:moveTo>
                  <a:cubicBezTo>
                    <a:pt x="80" y="79"/>
                    <a:pt x="86" y="74"/>
                    <a:pt x="93" y="70"/>
                  </a:cubicBezTo>
                  <a:cubicBezTo>
                    <a:pt x="101" y="65"/>
                    <a:pt x="109" y="63"/>
                    <a:pt x="117" y="63"/>
                  </a:cubicBezTo>
                  <a:cubicBezTo>
                    <a:pt x="124" y="63"/>
                    <a:pt x="131" y="65"/>
                    <a:pt x="138" y="68"/>
                  </a:cubicBezTo>
                  <a:cubicBezTo>
                    <a:pt x="144" y="71"/>
                    <a:pt x="150" y="75"/>
                    <a:pt x="155" y="81"/>
                  </a:cubicBezTo>
                  <a:cubicBezTo>
                    <a:pt x="156" y="82"/>
                    <a:pt x="156" y="82"/>
                    <a:pt x="156" y="82"/>
                  </a:cubicBezTo>
                  <a:cubicBezTo>
                    <a:pt x="142" y="96"/>
                    <a:pt x="142" y="96"/>
                    <a:pt x="142" y="96"/>
                  </a:cubicBezTo>
                  <a:cubicBezTo>
                    <a:pt x="141" y="94"/>
                    <a:pt x="141" y="94"/>
                    <a:pt x="141" y="94"/>
                  </a:cubicBezTo>
                  <a:cubicBezTo>
                    <a:pt x="134" y="87"/>
                    <a:pt x="126" y="83"/>
                    <a:pt x="117" y="83"/>
                  </a:cubicBezTo>
                  <a:cubicBezTo>
                    <a:pt x="109" y="83"/>
                    <a:pt x="103" y="85"/>
                    <a:pt x="98" y="90"/>
                  </a:cubicBezTo>
                  <a:cubicBezTo>
                    <a:pt x="93" y="95"/>
                    <a:pt x="91" y="102"/>
                    <a:pt x="91" y="109"/>
                  </a:cubicBezTo>
                  <a:cubicBezTo>
                    <a:pt x="91" y="114"/>
                    <a:pt x="92" y="119"/>
                    <a:pt x="94" y="123"/>
                  </a:cubicBezTo>
                  <a:cubicBezTo>
                    <a:pt x="96" y="127"/>
                    <a:pt x="99" y="130"/>
                    <a:pt x="103" y="132"/>
                  </a:cubicBezTo>
                  <a:cubicBezTo>
                    <a:pt x="107" y="135"/>
                    <a:pt x="112" y="136"/>
                    <a:pt x="117" y="136"/>
                  </a:cubicBezTo>
                  <a:cubicBezTo>
                    <a:pt x="121" y="136"/>
                    <a:pt x="125" y="135"/>
                    <a:pt x="129" y="133"/>
                  </a:cubicBezTo>
                  <a:cubicBezTo>
                    <a:pt x="132" y="132"/>
                    <a:pt x="137" y="129"/>
                    <a:pt x="141" y="124"/>
                  </a:cubicBezTo>
                  <a:cubicBezTo>
                    <a:pt x="142" y="123"/>
                    <a:pt x="142" y="123"/>
                    <a:pt x="142" y="123"/>
                  </a:cubicBezTo>
                  <a:cubicBezTo>
                    <a:pt x="156" y="137"/>
                    <a:pt x="156" y="137"/>
                    <a:pt x="156" y="137"/>
                  </a:cubicBezTo>
                  <a:cubicBezTo>
                    <a:pt x="154" y="138"/>
                    <a:pt x="154" y="138"/>
                    <a:pt x="154" y="138"/>
                  </a:cubicBezTo>
                  <a:cubicBezTo>
                    <a:pt x="148" y="145"/>
                    <a:pt x="142" y="149"/>
                    <a:pt x="136" y="151"/>
                  </a:cubicBezTo>
                  <a:cubicBezTo>
                    <a:pt x="131" y="154"/>
                    <a:pt x="124" y="155"/>
                    <a:pt x="117" y="155"/>
                  </a:cubicBezTo>
                  <a:cubicBezTo>
                    <a:pt x="103" y="155"/>
                    <a:pt x="92" y="151"/>
                    <a:pt x="84" y="142"/>
                  </a:cubicBezTo>
                  <a:cubicBezTo>
                    <a:pt x="75" y="133"/>
                    <a:pt x="71" y="122"/>
                    <a:pt x="71" y="109"/>
                  </a:cubicBezTo>
                  <a:cubicBezTo>
                    <a:pt x="71" y="100"/>
                    <a:pt x="73" y="93"/>
                    <a:pt x="77" y="86"/>
                  </a:cubicBezTo>
                  <a:close/>
                  <a:moveTo>
                    <a:pt x="20" y="33"/>
                  </a:moveTo>
                  <a:cubicBezTo>
                    <a:pt x="20" y="26"/>
                    <a:pt x="26" y="20"/>
                    <a:pt x="33" y="20"/>
                  </a:cubicBezTo>
                  <a:cubicBezTo>
                    <a:pt x="40" y="20"/>
                    <a:pt x="46" y="26"/>
                    <a:pt x="46" y="33"/>
                  </a:cubicBezTo>
                  <a:cubicBezTo>
                    <a:pt x="46" y="40"/>
                    <a:pt x="40" y="46"/>
                    <a:pt x="33" y="46"/>
                  </a:cubicBezTo>
                  <a:cubicBezTo>
                    <a:pt x="26" y="46"/>
                    <a:pt x="20" y="40"/>
                    <a:pt x="2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6" rIns="91390" bIns="45696" numCol="1" anchor="t" anchorCtr="0" compatLnSpc="1">
              <a:prstTxWarp prst="textNoShape">
                <a:avLst/>
              </a:prstTxWarp>
            </a:bodyPr>
            <a:lstStyle/>
            <a:p>
              <a:pPr marL="0" marR="0" lvl="0" indent="0" algn="l" defTabSz="93219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Segoe UI"/>
                <a:ea typeface="+mn-ea"/>
                <a:cs typeface="+mn-cs"/>
              </a:endParaRPr>
            </a:p>
          </p:txBody>
        </p:sp>
      </p:grpSp>
      <p:pic>
        <p:nvPicPr>
          <p:cNvPr id="191" name="Picture 190"/>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46248" y="1812540"/>
            <a:ext cx="884233" cy="230337"/>
          </a:xfrm>
          <a:prstGeom prst="rect">
            <a:avLst/>
          </a:prstGeom>
        </p:spPr>
      </p:pic>
      <p:pic>
        <p:nvPicPr>
          <p:cNvPr id="192" name="Picture 191"/>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9498023" y="2372466"/>
            <a:ext cx="915191" cy="473504"/>
          </a:xfrm>
          <a:prstGeom prst="rect">
            <a:avLst/>
          </a:prstGeom>
        </p:spPr>
      </p:pic>
      <p:grpSp>
        <p:nvGrpSpPr>
          <p:cNvPr id="193" name="Group 192"/>
          <p:cNvGrpSpPr/>
          <p:nvPr/>
        </p:nvGrpSpPr>
        <p:grpSpPr>
          <a:xfrm rot="5400000">
            <a:off x="1676797" y="3345438"/>
            <a:ext cx="799501" cy="128882"/>
            <a:chOff x="7839107" y="4456102"/>
            <a:chExt cx="655204" cy="105621"/>
          </a:xfrm>
        </p:grpSpPr>
        <p:sp>
          <p:nvSpPr>
            <p:cNvPr id="194" name="Oval 193"/>
            <p:cNvSpPr/>
            <p:nvPr/>
          </p:nvSpPr>
          <p:spPr bwMode="auto">
            <a:xfrm>
              <a:off x="7839107" y="4456102"/>
              <a:ext cx="101811" cy="105621"/>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5" name="Straight Connector 194"/>
            <p:cNvCxnSpPr/>
            <p:nvPr/>
          </p:nvCxnSpPr>
          <p:spPr>
            <a:xfrm>
              <a:off x="7913509" y="4507279"/>
              <a:ext cx="580802" cy="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6" name="Group 195"/>
          <p:cNvGrpSpPr/>
          <p:nvPr/>
        </p:nvGrpSpPr>
        <p:grpSpPr>
          <a:xfrm>
            <a:off x="9741707" y="4118534"/>
            <a:ext cx="120925" cy="523516"/>
            <a:chOff x="905765" y="1990099"/>
            <a:chExt cx="120990" cy="523802"/>
          </a:xfrm>
        </p:grpSpPr>
        <p:sp>
          <p:nvSpPr>
            <p:cNvPr id="197" name="Oval 196"/>
            <p:cNvSpPr/>
            <p:nvPr/>
          </p:nvSpPr>
          <p:spPr bwMode="auto">
            <a:xfrm rot="5400000">
              <a:off x="907947" y="1987917"/>
              <a:ext cx="116626" cy="120990"/>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8" name="Straight Connector 197"/>
            <p:cNvCxnSpPr/>
            <p:nvPr/>
          </p:nvCxnSpPr>
          <p:spPr>
            <a:xfrm rot="5400000">
              <a:off x="733674" y="2281740"/>
              <a:ext cx="464323" cy="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9" name="Group 198"/>
          <p:cNvGrpSpPr/>
          <p:nvPr/>
        </p:nvGrpSpPr>
        <p:grpSpPr>
          <a:xfrm rot="5400000">
            <a:off x="837249" y="2279726"/>
            <a:ext cx="399198" cy="142215"/>
            <a:chOff x="5247288" y="4796857"/>
            <a:chExt cx="399416" cy="142293"/>
          </a:xfrm>
        </p:grpSpPr>
        <p:cxnSp>
          <p:nvCxnSpPr>
            <p:cNvPr id="200" name="Straight Connector 199"/>
            <p:cNvCxnSpPr/>
            <p:nvPr/>
          </p:nvCxnSpPr>
          <p:spPr>
            <a:xfrm>
              <a:off x="5368890" y="4861152"/>
              <a:ext cx="215559" cy="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01" name="Group 200"/>
            <p:cNvGrpSpPr/>
            <p:nvPr/>
          </p:nvGrpSpPr>
          <p:grpSpPr>
            <a:xfrm>
              <a:off x="5247288" y="4796857"/>
              <a:ext cx="399416" cy="142293"/>
              <a:chOff x="5247288" y="4796857"/>
              <a:chExt cx="399416" cy="142293"/>
            </a:xfrm>
          </p:grpSpPr>
          <p:sp>
            <p:nvSpPr>
              <p:cNvPr id="202" name="Oval 201"/>
              <p:cNvSpPr/>
              <p:nvPr/>
            </p:nvSpPr>
            <p:spPr bwMode="auto">
              <a:xfrm>
                <a:off x="5247288" y="4796857"/>
                <a:ext cx="137160" cy="14229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Oval 202"/>
              <p:cNvSpPr/>
              <p:nvPr/>
            </p:nvSpPr>
            <p:spPr bwMode="auto">
              <a:xfrm>
                <a:off x="5515869" y="4800138"/>
                <a:ext cx="130835" cy="135731"/>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04" name="Group 203"/>
          <p:cNvGrpSpPr/>
          <p:nvPr/>
        </p:nvGrpSpPr>
        <p:grpSpPr>
          <a:xfrm rot="16200000">
            <a:off x="7352472" y="3415829"/>
            <a:ext cx="505471" cy="142215"/>
            <a:chOff x="5247288" y="4796857"/>
            <a:chExt cx="505746" cy="142293"/>
          </a:xfrm>
        </p:grpSpPr>
        <p:cxnSp>
          <p:nvCxnSpPr>
            <p:cNvPr id="205" name="Straight Connector 204"/>
            <p:cNvCxnSpPr/>
            <p:nvPr/>
          </p:nvCxnSpPr>
          <p:spPr>
            <a:xfrm>
              <a:off x="5400789" y="4861152"/>
              <a:ext cx="215559" cy="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06" name="Group 205"/>
            <p:cNvGrpSpPr/>
            <p:nvPr/>
          </p:nvGrpSpPr>
          <p:grpSpPr>
            <a:xfrm>
              <a:off x="5247288" y="4796857"/>
              <a:ext cx="505746" cy="142293"/>
              <a:chOff x="5247288" y="4796857"/>
              <a:chExt cx="505746" cy="142293"/>
            </a:xfrm>
          </p:grpSpPr>
          <p:sp>
            <p:nvSpPr>
              <p:cNvPr id="207" name="Oval 206"/>
              <p:cNvSpPr/>
              <p:nvPr/>
            </p:nvSpPr>
            <p:spPr bwMode="auto">
              <a:xfrm>
                <a:off x="5247288" y="4796857"/>
                <a:ext cx="137160" cy="14229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Oval 207"/>
              <p:cNvSpPr/>
              <p:nvPr/>
            </p:nvSpPr>
            <p:spPr bwMode="auto">
              <a:xfrm>
                <a:off x="5622199" y="4800143"/>
                <a:ext cx="130835" cy="135731"/>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09" name="Group 208"/>
          <p:cNvGrpSpPr/>
          <p:nvPr/>
        </p:nvGrpSpPr>
        <p:grpSpPr>
          <a:xfrm>
            <a:off x="8778206" y="2606914"/>
            <a:ext cx="153997" cy="751729"/>
            <a:chOff x="905765" y="1923297"/>
            <a:chExt cx="120990" cy="590604"/>
          </a:xfrm>
        </p:grpSpPr>
        <p:sp>
          <p:nvSpPr>
            <p:cNvPr id="210" name="Oval 209"/>
            <p:cNvSpPr/>
            <p:nvPr/>
          </p:nvSpPr>
          <p:spPr bwMode="auto">
            <a:xfrm rot="5400000">
              <a:off x="907947" y="1921115"/>
              <a:ext cx="116626" cy="120990"/>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11" name="Straight Connector 210"/>
            <p:cNvCxnSpPr/>
            <p:nvPr/>
          </p:nvCxnSpPr>
          <p:spPr>
            <a:xfrm rot="5400000">
              <a:off x="733674" y="2281740"/>
              <a:ext cx="464323" cy="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2" name="Group 211"/>
          <p:cNvGrpSpPr/>
          <p:nvPr/>
        </p:nvGrpSpPr>
        <p:grpSpPr>
          <a:xfrm rot="5400000">
            <a:off x="9607630" y="3133879"/>
            <a:ext cx="399198" cy="142215"/>
            <a:chOff x="5247288" y="4796857"/>
            <a:chExt cx="399416" cy="142293"/>
          </a:xfrm>
        </p:grpSpPr>
        <p:cxnSp>
          <p:nvCxnSpPr>
            <p:cNvPr id="213" name="Straight Connector 212"/>
            <p:cNvCxnSpPr/>
            <p:nvPr/>
          </p:nvCxnSpPr>
          <p:spPr>
            <a:xfrm>
              <a:off x="5368890" y="4861152"/>
              <a:ext cx="215559" cy="0"/>
            </a:xfrm>
            <a:prstGeom prst="line">
              <a:avLst/>
            </a:prstGeom>
            <a:ln w="15875">
              <a:solidFill>
                <a:srgbClr val="FFC63E"/>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14" name="Group 213"/>
            <p:cNvGrpSpPr/>
            <p:nvPr/>
          </p:nvGrpSpPr>
          <p:grpSpPr>
            <a:xfrm>
              <a:off x="5247288" y="4796857"/>
              <a:ext cx="399416" cy="142293"/>
              <a:chOff x="5247288" y="4796857"/>
              <a:chExt cx="399416" cy="142293"/>
            </a:xfrm>
          </p:grpSpPr>
          <p:sp>
            <p:nvSpPr>
              <p:cNvPr id="215" name="Oval 214"/>
              <p:cNvSpPr/>
              <p:nvPr/>
            </p:nvSpPr>
            <p:spPr bwMode="auto">
              <a:xfrm>
                <a:off x="5247288" y="4796857"/>
                <a:ext cx="137160" cy="14229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Oval 215"/>
              <p:cNvSpPr/>
              <p:nvPr/>
            </p:nvSpPr>
            <p:spPr bwMode="auto">
              <a:xfrm>
                <a:off x="5515869" y="4800138"/>
                <a:ext cx="130835" cy="135731"/>
              </a:xfrm>
              <a:prstGeom prst="ellipse">
                <a:avLst/>
              </a:prstGeom>
              <a:solidFill>
                <a:srgbClr val="FFC6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marL="0" marR="0" lvl="0" indent="0" algn="ctr" defTabSz="931924"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pic>
        <p:nvPicPr>
          <p:cNvPr id="217" name="Picture 216"/>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8263474" y="3526524"/>
            <a:ext cx="1093290" cy="364635"/>
          </a:xfrm>
          <a:prstGeom prst="rect">
            <a:avLst/>
          </a:prstGeom>
        </p:spPr>
      </p:pic>
      <p:pic>
        <p:nvPicPr>
          <p:cNvPr id="218" name="Picture 217"/>
          <p:cNvPicPr>
            <a:picLocks noChangeAspect="1"/>
          </p:cNvPicPr>
          <p:nvPr/>
        </p:nvPicPr>
        <p:blipFill>
          <a:blip r:embed="rId19" cstate="email">
            <a:biLevel thresh="25000"/>
            <a:extLst>
              <a:ext uri="{28A0092B-C50C-407E-A947-70E740481C1C}">
                <a14:useLocalDpi xmlns:a14="http://schemas.microsoft.com/office/drawing/2010/main"/>
              </a:ext>
            </a:extLst>
          </a:blip>
          <a:stretch>
            <a:fillRect/>
          </a:stretch>
        </p:blipFill>
        <p:spPr>
          <a:xfrm>
            <a:off x="6919995" y="2665627"/>
            <a:ext cx="1349207" cy="458253"/>
          </a:xfrm>
          <a:prstGeom prst="rect">
            <a:avLst/>
          </a:prstGeom>
        </p:spPr>
      </p:pic>
      <p:pic>
        <p:nvPicPr>
          <p:cNvPr id="219" name="Picture 218"/>
          <p:cNvPicPr>
            <a:picLocks noChangeAspect="1"/>
          </p:cNvPicPr>
          <p:nvPr/>
        </p:nvPicPr>
        <p:blipFill>
          <a:blip r:embed="rId20" cstate="email">
            <a:lum bright="70000" contrast="-70000"/>
            <a:extLst>
              <a:ext uri="{28A0092B-C50C-407E-A947-70E740481C1C}">
                <a14:useLocalDpi xmlns:a14="http://schemas.microsoft.com/office/drawing/2010/main"/>
              </a:ext>
            </a:extLst>
          </a:blip>
          <a:stretch>
            <a:fillRect/>
          </a:stretch>
        </p:blipFill>
        <p:spPr>
          <a:xfrm>
            <a:off x="1393404" y="3425725"/>
            <a:ext cx="1259453" cy="780860"/>
          </a:xfrm>
          <a:prstGeom prst="rect">
            <a:avLst/>
          </a:prstGeom>
        </p:spPr>
      </p:pic>
      <p:sp>
        <p:nvSpPr>
          <p:cNvPr id="220" name="Rectangle 219"/>
          <p:cNvSpPr/>
          <p:nvPr/>
        </p:nvSpPr>
        <p:spPr bwMode="auto">
          <a:xfrm>
            <a:off x="3164299" y="1646411"/>
            <a:ext cx="1560325" cy="20339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21" name="Picture 2">
            <a:hlinkClick r:id=""/>
          </p:cNvPr>
          <p:cNvPicPr>
            <a:picLocks noChangeAspect="1" noChangeArrowheads="1"/>
          </p:cNvPicPr>
          <p:nvPr/>
        </p:nvPicPr>
        <p:blipFill>
          <a:blip r:embed="rId21" cstate="email">
            <a:biLevel thresh="25000"/>
            <a:extLst>
              <a:ext uri="{28A0092B-C50C-407E-A947-70E740481C1C}">
                <a14:useLocalDpi xmlns:a14="http://schemas.microsoft.com/office/drawing/2010/main"/>
              </a:ext>
            </a:extLst>
          </a:blip>
          <a:stretch>
            <a:fillRect/>
          </a:stretch>
        </p:blipFill>
        <p:spPr bwMode="auto">
          <a:xfrm>
            <a:off x="3890853" y="3439313"/>
            <a:ext cx="1469709" cy="521710"/>
          </a:xfrm>
          <a:prstGeom prst="rect">
            <a:avLst/>
          </a:prstGeom>
          <a:noFill/>
          <a:extLst/>
        </p:spPr>
      </p:pic>
      <p:sp>
        <p:nvSpPr>
          <p:cNvPr id="222" name="Rectangle 221"/>
          <p:cNvSpPr/>
          <p:nvPr/>
        </p:nvSpPr>
        <p:spPr>
          <a:xfrm>
            <a:off x="-8696" y="6101147"/>
            <a:ext cx="3118372" cy="896730"/>
          </a:xfrm>
          <a:prstGeom prst="rect">
            <a:avLst/>
          </a:prstGeom>
          <a:solidFill>
            <a:schemeClr val="bg2"/>
          </a:solidFill>
          <a:ln w="10795" cap="flat" cmpd="sng" algn="ctr">
            <a:noFill/>
            <a:prstDash val="solid"/>
          </a:ln>
          <a:effectLst/>
        </p:spPr>
        <p:txBody>
          <a:bodyPr lIns="186432" tIns="149145" rIns="186432" bIns="149145" rtlCol="0" anchor="t" anchorCtr="0"/>
          <a:lstStyle/>
          <a:p>
            <a:pPr marL="0" marR="0" lvl="0" indent="0" algn="ctr" defTabSz="931972"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Light"/>
                <a:ea typeface="+mn-ea"/>
                <a:cs typeface="+mn-cs"/>
              </a:rPr>
              <a:t>Add value to your Linux investments</a:t>
            </a:r>
          </a:p>
        </p:txBody>
      </p:sp>
      <p:sp>
        <p:nvSpPr>
          <p:cNvPr id="223" name="Rectangle 222"/>
          <p:cNvSpPr/>
          <p:nvPr/>
        </p:nvSpPr>
        <p:spPr>
          <a:xfrm>
            <a:off x="3045749" y="6101147"/>
            <a:ext cx="3215068" cy="896730"/>
          </a:xfrm>
          <a:prstGeom prst="rect">
            <a:avLst/>
          </a:prstGeom>
          <a:solidFill>
            <a:schemeClr val="accent2"/>
          </a:solidFill>
          <a:ln w="10795" cap="flat" cmpd="sng" algn="ctr">
            <a:noFill/>
            <a:prstDash val="solid"/>
          </a:ln>
          <a:effectLst/>
        </p:spPr>
        <p:txBody>
          <a:bodyPr lIns="186432" tIns="149145" rIns="186432" bIns="149145" rtlCol="0" anchor="t" anchorCtr="0"/>
          <a:lstStyle/>
          <a:p>
            <a:pPr marL="0" marR="0" lvl="0" indent="0" algn="ctr" defTabSz="931972"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Light"/>
                <a:ea typeface="+mn-ea"/>
                <a:cs typeface="+mn-cs"/>
              </a:rPr>
              <a:t>Embrace open source DevOps</a:t>
            </a:r>
          </a:p>
        </p:txBody>
      </p:sp>
      <p:sp>
        <p:nvSpPr>
          <p:cNvPr id="224" name="Rectangle 223"/>
          <p:cNvSpPr/>
          <p:nvPr/>
        </p:nvSpPr>
        <p:spPr>
          <a:xfrm>
            <a:off x="6255216" y="6101147"/>
            <a:ext cx="3127231" cy="896730"/>
          </a:xfrm>
          <a:prstGeom prst="rect">
            <a:avLst/>
          </a:prstGeom>
          <a:solidFill>
            <a:schemeClr val="accent4"/>
          </a:solidFill>
          <a:ln w="10795" cap="flat" cmpd="sng" algn="ctr">
            <a:noFill/>
            <a:prstDash val="solid"/>
          </a:ln>
          <a:effectLst/>
        </p:spPr>
        <p:txBody>
          <a:bodyPr lIns="186432" tIns="149145" rIns="186432" bIns="149145" rtlCol="0" anchor="t" anchorCtr="0"/>
          <a:lstStyle/>
          <a:p>
            <a:pPr marL="0" marR="0" lvl="0" indent="0" algn="ctr" defTabSz="931972"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Light"/>
                <a:ea typeface="+mn-ea"/>
                <a:cs typeface="+mn-cs"/>
              </a:rPr>
              <a:t>Bring the tools you use and love</a:t>
            </a:r>
          </a:p>
        </p:txBody>
      </p:sp>
      <p:sp>
        <p:nvSpPr>
          <p:cNvPr id="225" name="Rectangle 224"/>
          <p:cNvSpPr/>
          <p:nvPr/>
        </p:nvSpPr>
        <p:spPr>
          <a:xfrm>
            <a:off x="9356764" y="6101147"/>
            <a:ext cx="3078830" cy="896730"/>
          </a:xfrm>
          <a:prstGeom prst="rect">
            <a:avLst/>
          </a:prstGeom>
          <a:solidFill>
            <a:schemeClr val="accent5"/>
          </a:solidFill>
          <a:ln w="10795" cap="flat" cmpd="sng" algn="ctr">
            <a:noFill/>
            <a:prstDash val="solid"/>
          </a:ln>
          <a:effectLst/>
        </p:spPr>
        <p:txBody>
          <a:bodyPr lIns="186432" tIns="149145" rIns="186432" bIns="149145" rtlCol="0" anchor="t" anchorCtr="0"/>
          <a:lstStyle/>
          <a:p>
            <a:pPr marL="0" marR="0" lvl="0" indent="0" algn="ctr" defTabSz="931972"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Light"/>
                <a:ea typeface="+mn-ea"/>
                <a:cs typeface="+mn-cs"/>
              </a:rPr>
              <a:t>Build </a:t>
            </a:r>
            <a:r>
              <a:rPr kumimoji="0" lang="en-US" sz="2400" b="0" i="0" u="none" strike="noStrike" kern="0" cap="none" spc="0" normalizeH="0" baseline="0" noProof="0" dirty="0" err="1">
                <a:ln>
                  <a:noFill/>
                </a:ln>
                <a:solidFill>
                  <a:srgbClr val="FFFFFF"/>
                </a:solidFill>
                <a:effectLst/>
                <a:uLnTx/>
                <a:uFillTx/>
                <a:latin typeface="Segoe UI Light"/>
                <a:ea typeface="+mn-ea"/>
                <a:cs typeface="+mn-cs"/>
              </a:rPr>
              <a:t>hyperscale</a:t>
            </a:r>
            <a:r>
              <a:rPr kumimoji="0" lang="en-US" sz="2400" b="0" i="0" u="none" strike="noStrike" kern="0" cap="none" spc="0" normalizeH="0" baseline="0" noProof="0" dirty="0">
                <a:ln>
                  <a:noFill/>
                </a:ln>
                <a:solidFill>
                  <a:srgbClr val="FFFFFF"/>
                </a:solidFill>
                <a:effectLst/>
                <a:uLnTx/>
                <a:uFillTx/>
                <a:latin typeface="Segoe UI Light"/>
                <a:ea typeface="+mn-ea"/>
                <a:cs typeface="+mn-cs"/>
              </a:rPr>
              <a:t> at </a:t>
            </a:r>
            <a:r>
              <a:rPr kumimoji="0" lang="en-US" sz="2400" b="0" i="0" u="none" strike="noStrike" kern="0" cap="none" spc="0" normalizeH="0" baseline="0" noProof="0" dirty="0" err="1">
                <a:ln>
                  <a:noFill/>
                </a:ln>
                <a:solidFill>
                  <a:srgbClr val="FFFFFF"/>
                </a:solidFill>
                <a:effectLst/>
                <a:uLnTx/>
                <a:uFillTx/>
                <a:latin typeface="Segoe UI Light"/>
                <a:ea typeface="+mn-ea"/>
                <a:cs typeface="+mn-cs"/>
              </a:rPr>
              <a:t>hyperspeed</a:t>
            </a:r>
            <a:endParaRPr kumimoji="0" lang="en-US" sz="2400" b="0" i="0" u="none" strike="noStrike" kern="0" cap="none" spc="0" normalizeH="0" baseline="0" noProof="0" dirty="0">
              <a:ln>
                <a:noFill/>
              </a:ln>
              <a:solidFill>
                <a:srgbClr val="FFFFFF"/>
              </a:solidFill>
              <a:effectLst/>
              <a:uLnTx/>
              <a:uFillTx/>
              <a:latin typeface="Segoe UI Light"/>
              <a:ea typeface="+mn-ea"/>
              <a:cs typeface="+mn-cs"/>
            </a:endParaRPr>
          </a:p>
        </p:txBody>
      </p:sp>
    </p:spTree>
    <p:extLst>
      <p:ext uri="{BB962C8B-B14F-4D97-AF65-F5344CB8AC3E}">
        <p14:creationId xmlns:p14="http://schemas.microsoft.com/office/powerpoint/2010/main" val="870847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2"/>
                                        </p:tgtEl>
                                        <p:attrNameLst>
                                          <p:attrName>style.visibility</p:attrName>
                                        </p:attrNameLst>
                                      </p:cBhvr>
                                      <p:to>
                                        <p:strVal val="visible"/>
                                      </p:to>
                                    </p:set>
                                    <p:animEffect transition="in" filter="fade">
                                      <p:cBhvr>
                                        <p:cTn id="7" dur="750"/>
                                        <p:tgtEl>
                                          <p:spTgt spid="222"/>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223"/>
                                        </p:tgtEl>
                                        <p:attrNameLst>
                                          <p:attrName>style.visibility</p:attrName>
                                        </p:attrNameLst>
                                      </p:cBhvr>
                                      <p:to>
                                        <p:strVal val="visible"/>
                                      </p:to>
                                    </p:set>
                                    <p:animEffect transition="in" filter="fade">
                                      <p:cBhvr>
                                        <p:cTn id="11" dur="750"/>
                                        <p:tgtEl>
                                          <p:spTgt spid="223"/>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224"/>
                                        </p:tgtEl>
                                        <p:attrNameLst>
                                          <p:attrName>style.visibility</p:attrName>
                                        </p:attrNameLst>
                                      </p:cBhvr>
                                      <p:to>
                                        <p:strVal val="visible"/>
                                      </p:to>
                                    </p:set>
                                    <p:animEffect transition="in" filter="fade">
                                      <p:cBhvr>
                                        <p:cTn id="15" dur="750"/>
                                        <p:tgtEl>
                                          <p:spTgt spid="224"/>
                                        </p:tgtEl>
                                      </p:cBhvr>
                                    </p:animEffect>
                                  </p:childTnLst>
                                </p:cTn>
                              </p:par>
                            </p:childTnLst>
                          </p:cTn>
                        </p:par>
                        <p:par>
                          <p:cTn id="16" fill="hold">
                            <p:stCondLst>
                              <p:cond delay="2250"/>
                            </p:stCondLst>
                            <p:childTnLst>
                              <p:par>
                                <p:cTn id="17" presetID="10" presetClass="entr" presetSubtype="0" fill="hold" grpId="0" nodeType="afterEffect">
                                  <p:stCondLst>
                                    <p:cond delay="0"/>
                                  </p:stCondLst>
                                  <p:childTnLst>
                                    <p:set>
                                      <p:cBhvr>
                                        <p:cTn id="18" dur="1" fill="hold">
                                          <p:stCondLst>
                                            <p:cond delay="0"/>
                                          </p:stCondLst>
                                        </p:cTn>
                                        <p:tgtEl>
                                          <p:spTgt spid="225"/>
                                        </p:tgtEl>
                                        <p:attrNameLst>
                                          <p:attrName>style.visibility</p:attrName>
                                        </p:attrNameLst>
                                      </p:cBhvr>
                                      <p:to>
                                        <p:strVal val="visible"/>
                                      </p:to>
                                    </p:set>
                                    <p:animEffect transition="in" filter="fade">
                                      <p:cBhvr>
                                        <p:cTn id="19" dur="750"/>
                                        <p:tgtEl>
                                          <p:spTgt spid="2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2" grpId="0" animBg="1"/>
      <p:bldP spid="223" grpId="0" animBg="1"/>
      <p:bldP spid="224" grpId="0" animBg="1"/>
      <p:bldP spid="22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Estimated Cost for Dev/Test Environments</a:t>
            </a:r>
          </a:p>
        </p:txBody>
      </p:sp>
      <p:sp>
        <p:nvSpPr>
          <p:cNvPr id="6" name="Text Placeholder 5"/>
          <p:cNvSpPr>
            <a:spLocks noGrp="1"/>
          </p:cNvSpPr>
          <p:nvPr>
            <p:ph type="body" sz="quarter" idx="10"/>
          </p:nvPr>
        </p:nvSpPr>
        <p:spPr>
          <a:xfrm>
            <a:off x="274638" y="1212850"/>
            <a:ext cx="11887200" cy="1138773"/>
          </a:xfrm>
        </p:spPr>
        <p:txBody>
          <a:bodyPr/>
          <a:lstStyle/>
          <a:p>
            <a:pPr lvl="1"/>
            <a:endParaRPr lang="en-US" dirty="0"/>
          </a:p>
          <a:p>
            <a:pPr lvl="1"/>
            <a:endParaRPr lang="en-US" dirty="0"/>
          </a:p>
          <a:p>
            <a:pPr lvl="1"/>
            <a:endParaRPr lang="en-US" dirty="0"/>
          </a:p>
        </p:txBody>
      </p:sp>
      <p:graphicFrame>
        <p:nvGraphicFramePr>
          <p:cNvPr id="2" name="Table 1"/>
          <p:cNvGraphicFramePr>
            <a:graphicFrameLocks noGrp="1"/>
          </p:cNvGraphicFramePr>
          <p:nvPr>
            <p:extLst/>
          </p:nvPr>
        </p:nvGraphicFramePr>
        <p:xfrm>
          <a:off x="7400157" y="1592262"/>
          <a:ext cx="4145492" cy="1112520"/>
        </p:xfrm>
        <a:graphic>
          <a:graphicData uri="http://schemas.openxmlformats.org/drawingml/2006/table">
            <a:tbl>
              <a:tblPr firstRow="1" bandRow="1">
                <a:tableStyleId>{5C22544A-7EE6-4342-B048-85BDC9FD1C3A}</a:tableStyleId>
              </a:tblPr>
              <a:tblGrid>
                <a:gridCol w="4145492">
                  <a:extLst>
                    <a:ext uri="{9D8B030D-6E8A-4147-A177-3AD203B41FA5}">
                      <a16:colId xmlns:a16="http://schemas.microsoft.com/office/drawing/2014/main" val="159149642"/>
                    </a:ext>
                  </a:extLst>
                </a:gridCol>
              </a:tblGrid>
              <a:tr h="370840">
                <a:tc>
                  <a:txBody>
                    <a:bodyPr/>
                    <a:lstStyle/>
                    <a:p>
                      <a:pPr algn="ctr"/>
                      <a:r>
                        <a:rPr lang="en-US" dirty="0"/>
                        <a:t>Dev/Test SharePoint</a:t>
                      </a:r>
                      <a:r>
                        <a:rPr lang="en-US" baseline="0" dirty="0"/>
                        <a:t> Farm</a:t>
                      </a:r>
                      <a:endParaRPr lang="en-US" dirty="0"/>
                    </a:p>
                  </a:txBody>
                  <a:tcPr/>
                </a:tc>
                <a:extLst>
                  <a:ext uri="{0D108BD9-81ED-4DB2-BD59-A6C34878D82A}">
                    <a16:rowId xmlns:a16="http://schemas.microsoft.com/office/drawing/2014/main" val="3107809697"/>
                  </a:ext>
                </a:extLst>
              </a:tr>
              <a:tr h="370840">
                <a:tc>
                  <a:txBody>
                    <a:bodyPr/>
                    <a:lstStyle/>
                    <a:p>
                      <a:r>
                        <a:rPr lang="en-US" dirty="0"/>
                        <a:t>3</a:t>
                      </a:r>
                      <a:r>
                        <a:rPr lang="en-US" baseline="0" dirty="0"/>
                        <a:t> VM’s + Storage</a:t>
                      </a:r>
                      <a:endParaRPr lang="en-US" dirty="0"/>
                    </a:p>
                  </a:txBody>
                  <a:tcPr/>
                </a:tc>
                <a:extLst>
                  <a:ext uri="{0D108BD9-81ED-4DB2-BD59-A6C34878D82A}">
                    <a16:rowId xmlns:a16="http://schemas.microsoft.com/office/drawing/2014/main" val="3486041590"/>
                  </a:ext>
                </a:extLst>
              </a:tr>
              <a:tr h="370840">
                <a:tc>
                  <a:txBody>
                    <a:bodyPr/>
                    <a:lstStyle/>
                    <a:p>
                      <a:r>
                        <a:rPr lang="en-US" dirty="0"/>
                        <a:t>$12K Annually</a:t>
                      </a:r>
                    </a:p>
                  </a:txBody>
                  <a:tcPr/>
                </a:tc>
                <a:extLst>
                  <a:ext uri="{0D108BD9-81ED-4DB2-BD59-A6C34878D82A}">
                    <a16:rowId xmlns:a16="http://schemas.microsoft.com/office/drawing/2014/main" val="2817473828"/>
                  </a:ext>
                </a:extLst>
              </a:tr>
            </a:tbl>
          </a:graphicData>
        </a:graphic>
      </p:graphicFrame>
      <p:pic>
        <p:nvPicPr>
          <p:cNvPr id="5" name="Picture 1" descr="image001"/>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79437" y="1592262"/>
            <a:ext cx="6166536" cy="4438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95894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11887200" cy="5269135"/>
          </a:xfrm>
        </p:spPr>
        <p:txBody>
          <a:bodyPr/>
          <a:lstStyle/>
          <a:p>
            <a:r>
              <a:rPr lang="en-US" sz="3200" dirty="0"/>
              <a:t>Setup a follow up meeting to show the capabilities of deploying Dev/Test in Azure</a:t>
            </a:r>
          </a:p>
          <a:p>
            <a:r>
              <a:rPr lang="en-US" sz="3200" dirty="0"/>
              <a:t>Contact your STU Resource </a:t>
            </a:r>
          </a:p>
          <a:p>
            <a:pPr marL="0" indent="0">
              <a:buNone/>
            </a:pPr>
            <a:endParaRPr lang="en-US" sz="3200" dirty="0">
              <a:hlinkClick r:id=""/>
            </a:endParaRPr>
          </a:p>
          <a:p>
            <a:pPr marL="0" indent="0">
              <a:buNone/>
            </a:pPr>
            <a:r>
              <a:rPr lang="en-US" sz="3200" dirty="0">
                <a:hlinkClick r:id=""/>
              </a:rPr>
              <a:t>Cloud + Enterprise Sales Play</a:t>
            </a:r>
            <a:endParaRPr lang="en-US" sz="3200" dirty="0"/>
          </a:p>
          <a:p>
            <a:pPr marL="0" indent="0">
              <a:buNone/>
            </a:pPr>
            <a:r>
              <a:rPr lang="en-US" sz="3200" dirty="0">
                <a:hlinkClick r:id="rId3"/>
              </a:rPr>
              <a:t>MSDN Enterprise Dev/Test</a:t>
            </a:r>
            <a:endParaRPr lang="en-US" sz="3200" dirty="0"/>
          </a:p>
          <a:p>
            <a:pPr marL="0" indent="0">
              <a:buNone/>
            </a:pPr>
            <a:r>
              <a:rPr lang="en-US" sz="3200" dirty="0">
                <a:hlinkClick r:id="rId4"/>
              </a:rPr>
              <a:t>Dev/Test Labs in Azure</a:t>
            </a:r>
            <a:r>
              <a:rPr lang="en-US" sz="3200" dirty="0"/>
              <a:t> </a:t>
            </a:r>
          </a:p>
          <a:p>
            <a:pPr marL="0" indent="0">
              <a:buNone/>
            </a:pPr>
            <a:r>
              <a:rPr lang="en-US" sz="3200" u="sng" dirty="0">
                <a:hlinkClick r:id="rId5"/>
              </a:rPr>
              <a:t>Sales Desk Website</a:t>
            </a:r>
            <a:endParaRPr lang="en-US" sz="3200" u="sng" dirty="0"/>
          </a:p>
          <a:p>
            <a:pPr marL="0" indent="0">
              <a:buNone/>
            </a:pPr>
            <a:r>
              <a:rPr lang="en-US" sz="3200" u="sng" dirty="0">
                <a:hlinkClick r:id="rId6"/>
              </a:rPr>
              <a:t>Gear Up</a:t>
            </a:r>
            <a:endParaRPr lang="en-US" sz="3200" dirty="0"/>
          </a:p>
          <a:p>
            <a:pPr lvl="1"/>
            <a:endParaRPr lang="en-US" dirty="0"/>
          </a:p>
        </p:txBody>
      </p:sp>
      <p:sp>
        <p:nvSpPr>
          <p:cNvPr id="17" name="Title 16"/>
          <p:cNvSpPr>
            <a:spLocks noGrp="1"/>
          </p:cNvSpPr>
          <p:nvPr>
            <p:ph type="title"/>
          </p:nvPr>
        </p:nvSpPr>
        <p:spPr/>
        <p:txBody>
          <a:bodyPr/>
          <a:lstStyle/>
          <a:p>
            <a:r>
              <a:rPr lang="en-US" dirty="0"/>
              <a:t>Go Do’s/References</a:t>
            </a:r>
          </a:p>
        </p:txBody>
      </p:sp>
    </p:spTree>
    <p:extLst>
      <p:ext uri="{BB962C8B-B14F-4D97-AF65-F5344CB8AC3E}">
        <p14:creationId xmlns:p14="http://schemas.microsoft.com/office/powerpoint/2010/main" val="1642913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ickoff</a:t>
            </a:r>
          </a:p>
        </p:txBody>
      </p:sp>
      <p:sp>
        <p:nvSpPr>
          <p:cNvPr id="3" name="Text Placeholder 2"/>
          <p:cNvSpPr>
            <a:spLocks noGrp="1"/>
          </p:cNvSpPr>
          <p:nvPr>
            <p:ph type="body" sz="quarter" idx="14"/>
          </p:nvPr>
        </p:nvSpPr>
        <p:spPr/>
        <p:txBody>
          <a:bodyPr/>
          <a:lstStyle/>
          <a:p>
            <a:r>
              <a:rPr lang="en-US" dirty="0"/>
              <a:t>Greg Myers</a:t>
            </a:r>
          </a:p>
          <a:p>
            <a:r>
              <a:rPr lang="en-US" dirty="0"/>
              <a:t>Vice President, Microsoft Federal</a:t>
            </a:r>
          </a:p>
        </p:txBody>
      </p:sp>
    </p:spTree>
    <p:extLst>
      <p:ext uri="{BB962C8B-B14F-4D97-AF65-F5344CB8AC3E}">
        <p14:creationId xmlns:p14="http://schemas.microsoft.com/office/powerpoint/2010/main" val="1004025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1" y="1993498"/>
            <a:ext cx="7848535" cy="1828800"/>
          </a:xfrm>
        </p:spPr>
        <p:txBody>
          <a:bodyPr/>
          <a:lstStyle/>
          <a:p>
            <a:r>
              <a:rPr lang="en-US" sz="4800" dirty="0"/>
              <a:t>Resilient Cloud Identities </a:t>
            </a:r>
          </a:p>
        </p:txBody>
      </p:sp>
      <p:sp>
        <p:nvSpPr>
          <p:cNvPr id="5" name="Text Placeholder 4"/>
          <p:cNvSpPr>
            <a:spLocks noGrp="1"/>
          </p:cNvSpPr>
          <p:nvPr>
            <p:ph type="body" sz="quarter" idx="14"/>
          </p:nvPr>
        </p:nvSpPr>
        <p:spPr>
          <a:xfrm>
            <a:off x="273050" y="3828783"/>
            <a:ext cx="6402388" cy="1878279"/>
          </a:xfrm>
        </p:spPr>
        <p:txBody>
          <a:bodyPr/>
          <a:lstStyle/>
          <a:p>
            <a:r>
              <a:rPr lang="en-US" sz="2800" dirty="0"/>
              <a:t>Pishoy Bous</a:t>
            </a:r>
          </a:p>
          <a:p>
            <a:r>
              <a:rPr lang="en-US" sz="2800" dirty="0"/>
              <a:t>Cloud Infrastructure TSP </a:t>
            </a:r>
          </a:p>
          <a:p>
            <a:r>
              <a:rPr lang="en-US" sz="2800" dirty="0"/>
              <a:t>Anthony Puca</a:t>
            </a:r>
          </a:p>
          <a:p>
            <a:r>
              <a:rPr lang="en-US" sz="2800" dirty="0"/>
              <a:t>Cloud Infrastructure SSP </a:t>
            </a:r>
          </a:p>
        </p:txBody>
      </p:sp>
    </p:spTree>
    <p:extLst>
      <p:ext uri="{BB962C8B-B14F-4D97-AF65-F5344CB8AC3E}">
        <p14:creationId xmlns:p14="http://schemas.microsoft.com/office/powerpoint/2010/main" val="4025079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Typical Customer Deployments </a:t>
            </a:r>
          </a:p>
        </p:txBody>
      </p:sp>
      <p:pic>
        <p:nvPicPr>
          <p:cNvPr id="4" name="Picture 3"/>
          <p:cNvPicPr>
            <a:picLocks noChangeAspect="1"/>
          </p:cNvPicPr>
          <p:nvPr/>
        </p:nvPicPr>
        <p:blipFill>
          <a:blip r:embed="rId3"/>
          <a:stretch>
            <a:fillRect/>
          </a:stretch>
        </p:blipFill>
        <p:spPr>
          <a:xfrm>
            <a:off x="884237" y="1135062"/>
            <a:ext cx="10871200" cy="5800386"/>
          </a:xfrm>
          <a:prstGeom prst="rect">
            <a:avLst/>
          </a:prstGeom>
        </p:spPr>
      </p:pic>
    </p:spTree>
    <p:extLst>
      <p:ext uri="{BB962C8B-B14F-4D97-AF65-F5344CB8AC3E}">
        <p14:creationId xmlns:p14="http://schemas.microsoft.com/office/powerpoint/2010/main" val="2744172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Problem Statement </a:t>
            </a:r>
          </a:p>
        </p:txBody>
      </p:sp>
      <p:sp>
        <p:nvSpPr>
          <p:cNvPr id="6" name="Text Placeholder 5"/>
          <p:cNvSpPr>
            <a:spLocks noGrp="1"/>
          </p:cNvSpPr>
          <p:nvPr>
            <p:ph type="body" sz="quarter" idx="10"/>
          </p:nvPr>
        </p:nvSpPr>
        <p:spPr>
          <a:xfrm>
            <a:off x="274638" y="1212850"/>
            <a:ext cx="11887200" cy="4493538"/>
          </a:xfrm>
        </p:spPr>
        <p:txBody>
          <a:bodyPr/>
          <a:lstStyle/>
          <a:p>
            <a:r>
              <a:rPr lang="en-US" dirty="0"/>
              <a:t>SaaS applications that utilize Azure AD become unavailable when connectivity is lost to the customer datacenter </a:t>
            </a:r>
          </a:p>
          <a:p>
            <a:pPr lvl="1"/>
            <a:r>
              <a:rPr lang="en-US" dirty="0"/>
              <a:t>This can be caused by natural disaster or carrier circuits being cut. </a:t>
            </a:r>
          </a:p>
          <a:p>
            <a:pPr lvl="1"/>
            <a:r>
              <a:rPr lang="en-US" dirty="0"/>
              <a:t>When connectivity to customer datacenter is broken, all Microsoft SaaS services are unavailable until this is restored. </a:t>
            </a:r>
          </a:p>
          <a:p>
            <a:pPr lvl="1"/>
            <a:r>
              <a:rPr lang="en-US" dirty="0"/>
              <a:t>Office 365, Dynamics, S4B are often times considered “Mission Critical” </a:t>
            </a:r>
          </a:p>
          <a:p>
            <a:pPr lvl="1"/>
            <a:endParaRPr lang="en-US" dirty="0"/>
          </a:p>
          <a:p>
            <a:r>
              <a:rPr lang="en-US" dirty="0"/>
              <a:t>Administration misconfiguration can cause outages </a:t>
            </a:r>
          </a:p>
          <a:p>
            <a:pPr lvl="1"/>
            <a:r>
              <a:rPr lang="en-US" dirty="0"/>
              <a:t>Administrator misconfigures or mismanages ADFS configurations </a:t>
            </a:r>
          </a:p>
        </p:txBody>
      </p:sp>
    </p:spTree>
    <p:extLst>
      <p:ext uri="{BB962C8B-B14F-4D97-AF65-F5344CB8AC3E}">
        <p14:creationId xmlns:p14="http://schemas.microsoft.com/office/powerpoint/2010/main" val="317337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Basic ADFS Resiliency </a:t>
            </a:r>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1837" y="1363662"/>
            <a:ext cx="10775531" cy="5217100"/>
          </a:xfrm>
          <a:prstGeom prst="rect">
            <a:avLst/>
          </a:prstGeom>
        </p:spPr>
      </p:pic>
    </p:spTree>
    <p:extLst>
      <p:ext uri="{BB962C8B-B14F-4D97-AF65-F5344CB8AC3E}">
        <p14:creationId xmlns:p14="http://schemas.microsoft.com/office/powerpoint/2010/main" val="1597461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Availability – ADFS Resiliency </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8037" y="1439862"/>
            <a:ext cx="10896600" cy="5299403"/>
          </a:xfrm>
          <a:prstGeom prst="rect">
            <a:avLst/>
          </a:prstGeom>
        </p:spPr>
      </p:pic>
    </p:spTree>
    <p:extLst>
      <p:ext uri="{BB962C8B-B14F-4D97-AF65-F5344CB8AC3E}">
        <p14:creationId xmlns:p14="http://schemas.microsoft.com/office/powerpoint/2010/main" val="289565346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enue </a:t>
            </a:r>
          </a:p>
        </p:txBody>
      </p:sp>
      <p:sp>
        <p:nvSpPr>
          <p:cNvPr id="3" name="Text Placeholder 2"/>
          <p:cNvSpPr>
            <a:spLocks noGrp="1"/>
          </p:cNvSpPr>
          <p:nvPr>
            <p:ph type="body" sz="quarter" idx="10"/>
          </p:nvPr>
        </p:nvSpPr>
        <p:spPr>
          <a:xfrm>
            <a:off x="274638" y="1212850"/>
            <a:ext cx="11887200" cy="3200876"/>
          </a:xfrm>
        </p:spPr>
        <p:txBody>
          <a:bodyPr/>
          <a:lstStyle/>
          <a:p>
            <a:r>
              <a:rPr lang="en-US" dirty="0"/>
              <a:t>A small deployment of this authentication model is ~18K per year in Azure consumption</a:t>
            </a:r>
          </a:p>
          <a:p>
            <a:r>
              <a:rPr lang="en-US" dirty="0"/>
              <a:t>Larger deployments and HA deployments can yield double this in Azure attainment</a:t>
            </a:r>
          </a:p>
          <a:p>
            <a:endParaRPr lang="en-US" dirty="0"/>
          </a:p>
        </p:txBody>
      </p:sp>
      <p:sp>
        <p:nvSpPr>
          <p:cNvPr id="4" name="TextBox 3"/>
          <p:cNvSpPr txBox="1"/>
          <p:nvPr/>
        </p:nvSpPr>
        <p:spPr>
          <a:xfrm>
            <a:off x="3551237" y="4106862"/>
            <a:ext cx="3962400" cy="2443746"/>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all to Action: </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ach out to you Cloud Infrastructure SSP </a:t>
            </a: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tilize Business Desk Proposal </a:t>
            </a:r>
          </a:p>
        </p:txBody>
      </p:sp>
    </p:spTree>
    <p:extLst>
      <p:ext uri="{BB962C8B-B14F-4D97-AF65-F5344CB8AC3E}">
        <p14:creationId xmlns:p14="http://schemas.microsoft.com/office/powerpoint/2010/main" val="100227041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torage Solutions</a:t>
            </a:r>
          </a:p>
        </p:txBody>
      </p:sp>
      <p:sp>
        <p:nvSpPr>
          <p:cNvPr id="5" name="Text Placeholder 4"/>
          <p:cNvSpPr>
            <a:spLocks noGrp="1"/>
          </p:cNvSpPr>
          <p:nvPr>
            <p:ph type="body" sz="quarter" idx="14"/>
          </p:nvPr>
        </p:nvSpPr>
        <p:spPr/>
        <p:txBody>
          <a:bodyPr/>
          <a:lstStyle/>
          <a:p>
            <a:r>
              <a:rPr lang="en-US" dirty="0"/>
              <a:t>Steve Coleman</a:t>
            </a:r>
          </a:p>
          <a:p>
            <a:r>
              <a:rPr lang="en-US" dirty="0"/>
              <a:t>Cloud Solution Specialist</a:t>
            </a:r>
          </a:p>
        </p:txBody>
      </p:sp>
    </p:spTree>
    <p:extLst>
      <p:ext uri="{BB962C8B-B14F-4D97-AF65-F5344CB8AC3E}">
        <p14:creationId xmlns:p14="http://schemas.microsoft.com/office/powerpoint/2010/main" val="377068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95274"/>
            <a:ext cx="11889564" cy="917575"/>
          </a:xfrm>
        </p:spPr>
        <p:txBody>
          <a:bodyPr/>
          <a:lstStyle/>
          <a:p>
            <a:r>
              <a:rPr lang="en-US" dirty="0"/>
              <a:t>Current Storage Challenges</a:t>
            </a:r>
          </a:p>
        </p:txBody>
      </p:sp>
      <p:sp>
        <p:nvSpPr>
          <p:cNvPr id="12" name="AutoShape 10"/>
          <p:cNvSpPr>
            <a:spLocks noChangeAspect="1" noChangeArrowheads="1" noTextEdit="1"/>
          </p:cNvSpPr>
          <p:nvPr/>
        </p:nvSpPr>
        <p:spPr bwMode="auto">
          <a:xfrm>
            <a:off x="1131312" y="3564644"/>
            <a:ext cx="1800225" cy="989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 name="Rectangle 12"/>
          <p:cNvSpPr>
            <a:spLocks noChangeArrowheads="1"/>
          </p:cNvSpPr>
          <p:nvPr/>
        </p:nvSpPr>
        <p:spPr bwMode="auto">
          <a:xfrm>
            <a:off x="1134487" y="3401131"/>
            <a:ext cx="657225" cy="127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63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mn-cs"/>
              </a:rPr>
              <a:t>(</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14" name="Rectangle 13"/>
          <p:cNvSpPr>
            <a:spLocks noChangeArrowheads="1"/>
          </p:cNvSpPr>
          <p:nvPr/>
        </p:nvSpPr>
        <p:spPr bwMode="auto">
          <a:xfrm>
            <a:off x="2704525" y="3401131"/>
            <a:ext cx="657225" cy="127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63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mn-cs"/>
              </a:rPr>
              <a:t>)</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15" name="Freeform 14"/>
          <p:cNvSpPr>
            <a:spLocks/>
          </p:cNvSpPr>
          <p:nvPr/>
        </p:nvSpPr>
        <p:spPr bwMode="auto">
          <a:xfrm>
            <a:off x="1432937" y="3977394"/>
            <a:ext cx="1169988" cy="303213"/>
          </a:xfrm>
          <a:custGeom>
            <a:avLst/>
            <a:gdLst>
              <a:gd name="T0" fmla="*/ 302 w 310"/>
              <a:gd name="T1" fmla="*/ 0 h 80"/>
              <a:gd name="T2" fmla="*/ 8 w 310"/>
              <a:gd name="T3" fmla="*/ 0 h 80"/>
              <a:gd name="T4" fmla="*/ 0 w 310"/>
              <a:gd name="T5" fmla="*/ 7 h 80"/>
              <a:gd name="T6" fmla="*/ 0 w 310"/>
              <a:gd name="T7" fmla="*/ 73 h 80"/>
              <a:gd name="T8" fmla="*/ 8 w 310"/>
              <a:gd name="T9" fmla="*/ 80 h 80"/>
              <a:gd name="T10" fmla="*/ 302 w 310"/>
              <a:gd name="T11" fmla="*/ 80 h 80"/>
              <a:gd name="T12" fmla="*/ 310 w 310"/>
              <a:gd name="T13" fmla="*/ 73 h 80"/>
              <a:gd name="T14" fmla="*/ 310 w 310"/>
              <a:gd name="T15" fmla="*/ 7 h 80"/>
              <a:gd name="T16" fmla="*/ 302 w 310"/>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80">
                <a:moveTo>
                  <a:pt x="302" y="0"/>
                </a:moveTo>
                <a:cubicBezTo>
                  <a:pt x="8" y="0"/>
                  <a:pt x="8" y="0"/>
                  <a:pt x="8" y="0"/>
                </a:cubicBezTo>
                <a:cubicBezTo>
                  <a:pt x="4" y="0"/>
                  <a:pt x="0" y="3"/>
                  <a:pt x="0" y="7"/>
                </a:cubicBezTo>
                <a:cubicBezTo>
                  <a:pt x="0" y="73"/>
                  <a:pt x="0" y="73"/>
                  <a:pt x="0" y="73"/>
                </a:cubicBezTo>
                <a:cubicBezTo>
                  <a:pt x="0" y="77"/>
                  <a:pt x="4" y="80"/>
                  <a:pt x="8" y="80"/>
                </a:cubicBezTo>
                <a:cubicBezTo>
                  <a:pt x="302" y="80"/>
                  <a:pt x="302" y="80"/>
                  <a:pt x="302" y="80"/>
                </a:cubicBezTo>
                <a:cubicBezTo>
                  <a:pt x="306" y="80"/>
                  <a:pt x="310" y="77"/>
                  <a:pt x="310" y="73"/>
                </a:cubicBezTo>
                <a:cubicBezTo>
                  <a:pt x="310" y="7"/>
                  <a:pt x="310" y="7"/>
                  <a:pt x="310" y="7"/>
                </a:cubicBezTo>
                <a:cubicBezTo>
                  <a:pt x="310" y="3"/>
                  <a:pt x="306" y="0"/>
                  <a:pt x="302" y="0"/>
                </a:cubicBezTo>
                <a:close/>
              </a:path>
            </a:pathLst>
          </a:custGeom>
          <a:noFill/>
          <a:ln w="301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 name="Freeform 15"/>
          <p:cNvSpPr>
            <a:spLocks/>
          </p:cNvSpPr>
          <p:nvPr/>
        </p:nvSpPr>
        <p:spPr bwMode="auto">
          <a:xfrm>
            <a:off x="1523425" y="4037719"/>
            <a:ext cx="57150" cy="182563"/>
          </a:xfrm>
          <a:custGeom>
            <a:avLst/>
            <a:gdLst>
              <a:gd name="T0" fmla="*/ 15 w 15"/>
              <a:gd name="T1" fmla="*/ 45 h 48"/>
              <a:gd name="T2" fmla="*/ 12 w 15"/>
              <a:gd name="T3" fmla="*/ 48 h 48"/>
              <a:gd name="T4" fmla="*/ 3 w 15"/>
              <a:gd name="T5" fmla="*/ 48 h 48"/>
              <a:gd name="T6" fmla="*/ 0 w 15"/>
              <a:gd name="T7" fmla="*/ 45 h 48"/>
              <a:gd name="T8" fmla="*/ 0 w 15"/>
              <a:gd name="T9" fmla="*/ 2 h 48"/>
              <a:gd name="T10" fmla="*/ 3 w 15"/>
              <a:gd name="T11" fmla="*/ 0 h 48"/>
              <a:gd name="T12" fmla="*/ 12 w 15"/>
              <a:gd name="T13" fmla="*/ 0 h 48"/>
              <a:gd name="T14" fmla="*/ 15 w 15"/>
              <a:gd name="T15" fmla="*/ 2 h 48"/>
              <a:gd name="T16" fmla="*/ 15 w 15"/>
              <a:gd name="T17" fmla="*/ 4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48">
                <a:moveTo>
                  <a:pt x="15" y="45"/>
                </a:moveTo>
                <a:cubicBezTo>
                  <a:pt x="15" y="47"/>
                  <a:pt x="14" y="48"/>
                  <a:pt x="12" y="48"/>
                </a:cubicBezTo>
                <a:cubicBezTo>
                  <a:pt x="3" y="48"/>
                  <a:pt x="3" y="48"/>
                  <a:pt x="3" y="48"/>
                </a:cubicBezTo>
                <a:cubicBezTo>
                  <a:pt x="1" y="48"/>
                  <a:pt x="0" y="47"/>
                  <a:pt x="0" y="45"/>
                </a:cubicBezTo>
                <a:cubicBezTo>
                  <a:pt x="0" y="2"/>
                  <a:pt x="0" y="2"/>
                  <a:pt x="0" y="2"/>
                </a:cubicBezTo>
                <a:cubicBezTo>
                  <a:pt x="0" y="1"/>
                  <a:pt x="1" y="0"/>
                  <a:pt x="3" y="0"/>
                </a:cubicBezTo>
                <a:cubicBezTo>
                  <a:pt x="12" y="0"/>
                  <a:pt x="12" y="0"/>
                  <a:pt x="12" y="0"/>
                </a:cubicBezTo>
                <a:cubicBezTo>
                  <a:pt x="14" y="0"/>
                  <a:pt x="15" y="1"/>
                  <a:pt x="15" y="2"/>
                </a:cubicBezTo>
                <a:lnTo>
                  <a:pt x="15"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 name="Freeform 16"/>
          <p:cNvSpPr>
            <a:spLocks/>
          </p:cNvSpPr>
          <p:nvPr/>
        </p:nvSpPr>
        <p:spPr bwMode="auto">
          <a:xfrm>
            <a:off x="1629787" y="4037719"/>
            <a:ext cx="57150" cy="182563"/>
          </a:xfrm>
          <a:custGeom>
            <a:avLst/>
            <a:gdLst>
              <a:gd name="T0" fmla="*/ 15 w 15"/>
              <a:gd name="T1" fmla="*/ 45 h 48"/>
              <a:gd name="T2" fmla="*/ 12 w 15"/>
              <a:gd name="T3" fmla="*/ 48 h 48"/>
              <a:gd name="T4" fmla="*/ 2 w 15"/>
              <a:gd name="T5" fmla="*/ 48 h 48"/>
              <a:gd name="T6" fmla="*/ 0 w 15"/>
              <a:gd name="T7" fmla="*/ 45 h 48"/>
              <a:gd name="T8" fmla="*/ 0 w 15"/>
              <a:gd name="T9" fmla="*/ 2 h 48"/>
              <a:gd name="T10" fmla="*/ 2 w 15"/>
              <a:gd name="T11" fmla="*/ 0 h 48"/>
              <a:gd name="T12" fmla="*/ 12 w 15"/>
              <a:gd name="T13" fmla="*/ 0 h 48"/>
              <a:gd name="T14" fmla="*/ 15 w 15"/>
              <a:gd name="T15" fmla="*/ 2 h 48"/>
              <a:gd name="T16" fmla="*/ 15 w 15"/>
              <a:gd name="T17" fmla="*/ 4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48">
                <a:moveTo>
                  <a:pt x="15" y="45"/>
                </a:moveTo>
                <a:cubicBezTo>
                  <a:pt x="15" y="47"/>
                  <a:pt x="13" y="48"/>
                  <a:pt x="12" y="48"/>
                </a:cubicBezTo>
                <a:cubicBezTo>
                  <a:pt x="2" y="48"/>
                  <a:pt x="2" y="48"/>
                  <a:pt x="2" y="48"/>
                </a:cubicBezTo>
                <a:cubicBezTo>
                  <a:pt x="1" y="48"/>
                  <a:pt x="0" y="47"/>
                  <a:pt x="0" y="45"/>
                </a:cubicBezTo>
                <a:cubicBezTo>
                  <a:pt x="0" y="2"/>
                  <a:pt x="0" y="2"/>
                  <a:pt x="0" y="2"/>
                </a:cubicBezTo>
                <a:cubicBezTo>
                  <a:pt x="0" y="1"/>
                  <a:pt x="1" y="0"/>
                  <a:pt x="2" y="0"/>
                </a:cubicBezTo>
                <a:cubicBezTo>
                  <a:pt x="12" y="0"/>
                  <a:pt x="12" y="0"/>
                  <a:pt x="12" y="0"/>
                </a:cubicBezTo>
                <a:cubicBezTo>
                  <a:pt x="13" y="0"/>
                  <a:pt x="15" y="1"/>
                  <a:pt x="15" y="2"/>
                </a:cubicBezTo>
                <a:lnTo>
                  <a:pt x="15"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 name="Freeform 17"/>
          <p:cNvSpPr>
            <a:spLocks/>
          </p:cNvSpPr>
          <p:nvPr/>
        </p:nvSpPr>
        <p:spPr bwMode="auto">
          <a:xfrm>
            <a:off x="1734562" y="4037719"/>
            <a:ext cx="53975" cy="182563"/>
          </a:xfrm>
          <a:custGeom>
            <a:avLst/>
            <a:gdLst>
              <a:gd name="T0" fmla="*/ 14 w 14"/>
              <a:gd name="T1" fmla="*/ 45 h 48"/>
              <a:gd name="T2" fmla="*/ 12 w 14"/>
              <a:gd name="T3" fmla="*/ 48 h 48"/>
              <a:gd name="T4" fmla="*/ 2 w 14"/>
              <a:gd name="T5" fmla="*/ 48 h 48"/>
              <a:gd name="T6" fmla="*/ 0 w 14"/>
              <a:gd name="T7" fmla="*/ 45 h 48"/>
              <a:gd name="T8" fmla="*/ 0 w 14"/>
              <a:gd name="T9" fmla="*/ 2 h 48"/>
              <a:gd name="T10" fmla="*/ 2 w 14"/>
              <a:gd name="T11" fmla="*/ 0 h 48"/>
              <a:gd name="T12" fmla="*/ 12 w 14"/>
              <a:gd name="T13" fmla="*/ 0 h 48"/>
              <a:gd name="T14" fmla="*/ 14 w 14"/>
              <a:gd name="T15" fmla="*/ 2 h 48"/>
              <a:gd name="T16" fmla="*/ 14 w 14"/>
              <a:gd name="T17" fmla="*/ 4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48">
                <a:moveTo>
                  <a:pt x="14" y="45"/>
                </a:moveTo>
                <a:cubicBezTo>
                  <a:pt x="14" y="47"/>
                  <a:pt x="13" y="48"/>
                  <a:pt x="12" y="48"/>
                </a:cubicBezTo>
                <a:cubicBezTo>
                  <a:pt x="2" y="48"/>
                  <a:pt x="2" y="48"/>
                  <a:pt x="2" y="48"/>
                </a:cubicBezTo>
                <a:cubicBezTo>
                  <a:pt x="1" y="48"/>
                  <a:pt x="0" y="47"/>
                  <a:pt x="0" y="45"/>
                </a:cubicBezTo>
                <a:cubicBezTo>
                  <a:pt x="0" y="2"/>
                  <a:pt x="0" y="2"/>
                  <a:pt x="0" y="2"/>
                </a:cubicBezTo>
                <a:cubicBezTo>
                  <a:pt x="0" y="1"/>
                  <a:pt x="1" y="0"/>
                  <a:pt x="2" y="0"/>
                </a:cubicBezTo>
                <a:cubicBezTo>
                  <a:pt x="12" y="0"/>
                  <a:pt x="12" y="0"/>
                  <a:pt x="12" y="0"/>
                </a:cubicBezTo>
                <a:cubicBezTo>
                  <a:pt x="13" y="0"/>
                  <a:pt x="14" y="1"/>
                  <a:pt x="14" y="2"/>
                </a:cubicBezTo>
                <a:lnTo>
                  <a:pt x="14"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 name="Freeform 18"/>
          <p:cNvSpPr>
            <a:spLocks/>
          </p:cNvSpPr>
          <p:nvPr/>
        </p:nvSpPr>
        <p:spPr bwMode="auto">
          <a:xfrm>
            <a:off x="2331462" y="4045657"/>
            <a:ext cx="166688" cy="166688"/>
          </a:xfrm>
          <a:custGeom>
            <a:avLst/>
            <a:gdLst>
              <a:gd name="T0" fmla="*/ 41 w 44"/>
              <a:gd name="T1" fmla="*/ 26 h 44"/>
              <a:gd name="T2" fmla="*/ 26 w 44"/>
              <a:gd name="T3" fmla="*/ 41 h 44"/>
              <a:gd name="T4" fmla="*/ 3 w 44"/>
              <a:gd name="T5" fmla="*/ 17 h 44"/>
              <a:gd name="T6" fmla="*/ 17 w 44"/>
              <a:gd name="T7" fmla="*/ 3 h 44"/>
              <a:gd name="T8" fmla="*/ 41 w 44"/>
              <a:gd name="T9" fmla="*/ 26 h 44"/>
            </a:gdLst>
            <a:ahLst/>
            <a:cxnLst>
              <a:cxn ang="0">
                <a:pos x="T0" y="T1"/>
              </a:cxn>
              <a:cxn ang="0">
                <a:pos x="T2" y="T3"/>
              </a:cxn>
              <a:cxn ang="0">
                <a:pos x="T4" y="T5"/>
              </a:cxn>
              <a:cxn ang="0">
                <a:pos x="T6" y="T7"/>
              </a:cxn>
              <a:cxn ang="0">
                <a:pos x="T8" y="T9"/>
              </a:cxn>
            </a:cxnLst>
            <a:rect l="0" t="0" r="r" b="b"/>
            <a:pathLst>
              <a:path w="44" h="44">
                <a:moveTo>
                  <a:pt x="41" y="26"/>
                </a:moveTo>
                <a:cubicBezTo>
                  <a:pt x="39" y="33"/>
                  <a:pt x="33" y="39"/>
                  <a:pt x="26" y="41"/>
                </a:cubicBezTo>
                <a:cubicBezTo>
                  <a:pt x="12" y="44"/>
                  <a:pt x="0" y="31"/>
                  <a:pt x="3" y="17"/>
                </a:cubicBezTo>
                <a:cubicBezTo>
                  <a:pt x="4" y="10"/>
                  <a:pt x="10" y="4"/>
                  <a:pt x="17" y="3"/>
                </a:cubicBezTo>
                <a:cubicBezTo>
                  <a:pt x="31" y="0"/>
                  <a:pt x="44" y="12"/>
                  <a:pt x="41"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 name="Freeform 19"/>
          <p:cNvSpPr>
            <a:spLocks/>
          </p:cNvSpPr>
          <p:nvPr/>
        </p:nvSpPr>
        <p:spPr bwMode="auto">
          <a:xfrm>
            <a:off x="1701225" y="3572582"/>
            <a:ext cx="60325" cy="185738"/>
          </a:xfrm>
          <a:custGeom>
            <a:avLst/>
            <a:gdLst>
              <a:gd name="T0" fmla="*/ 11 w 16"/>
              <a:gd name="T1" fmla="*/ 2 h 49"/>
              <a:gd name="T2" fmla="*/ 8 w 16"/>
              <a:gd name="T3" fmla="*/ 5 h 49"/>
              <a:gd name="T4" fmla="*/ 4 w 16"/>
              <a:gd name="T5" fmla="*/ 7 h 49"/>
              <a:gd name="T6" fmla="*/ 0 w 16"/>
              <a:gd name="T7" fmla="*/ 8 h 49"/>
              <a:gd name="T8" fmla="*/ 0 w 16"/>
              <a:gd name="T9" fmla="*/ 13 h 49"/>
              <a:gd name="T10" fmla="*/ 3 w 16"/>
              <a:gd name="T11" fmla="*/ 12 h 49"/>
              <a:gd name="T12" fmla="*/ 6 w 16"/>
              <a:gd name="T13" fmla="*/ 11 h 49"/>
              <a:gd name="T14" fmla="*/ 9 w 16"/>
              <a:gd name="T15" fmla="*/ 9 h 49"/>
              <a:gd name="T16" fmla="*/ 11 w 16"/>
              <a:gd name="T17" fmla="*/ 8 h 49"/>
              <a:gd name="T18" fmla="*/ 11 w 16"/>
              <a:gd name="T19" fmla="*/ 49 h 49"/>
              <a:gd name="T20" fmla="*/ 16 w 16"/>
              <a:gd name="T21" fmla="*/ 49 h 49"/>
              <a:gd name="T22" fmla="*/ 16 w 16"/>
              <a:gd name="T23" fmla="*/ 0 h 49"/>
              <a:gd name="T24" fmla="*/ 14 w 16"/>
              <a:gd name="T25" fmla="*/ 0 h 49"/>
              <a:gd name="T26" fmla="*/ 11 w 16"/>
              <a:gd name="T27"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9">
                <a:moveTo>
                  <a:pt x="11" y="2"/>
                </a:moveTo>
                <a:cubicBezTo>
                  <a:pt x="10" y="3"/>
                  <a:pt x="9" y="4"/>
                  <a:pt x="8" y="5"/>
                </a:cubicBezTo>
                <a:cubicBezTo>
                  <a:pt x="6" y="5"/>
                  <a:pt x="5" y="6"/>
                  <a:pt x="4" y="7"/>
                </a:cubicBezTo>
                <a:cubicBezTo>
                  <a:pt x="2" y="7"/>
                  <a:pt x="1" y="8"/>
                  <a:pt x="0" y="8"/>
                </a:cubicBezTo>
                <a:cubicBezTo>
                  <a:pt x="0" y="13"/>
                  <a:pt x="0" y="13"/>
                  <a:pt x="0" y="13"/>
                </a:cubicBezTo>
                <a:cubicBezTo>
                  <a:pt x="1" y="13"/>
                  <a:pt x="2" y="13"/>
                  <a:pt x="3" y="12"/>
                </a:cubicBezTo>
                <a:cubicBezTo>
                  <a:pt x="4" y="12"/>
                  <a:pt x="5" y="11"/>
                  <a:pt x="6" y="11"/>
                </a:cubicBezTo>
                <a:cubicBezTo>
                  <a:pt x="7" y="10"/>
                  <a:pt x="8" y="10"/>
                  <a:pt x="9" y="9"/>
                </a:cubicBezTo>
                <a:cubicBezTo>
                  <a:pt x="10" y="9"/>
                  <a:pt x="11" y="8"/>
                  <a:pt x="11" y="8"/>
                </a:cubicBezTo>
                <a:cubicBezTo>
                  <a:pt x="11" y="49"/>
                  <a:pt x="11" y="49"/>
                  <a:pt x="11" y="49"/>
                </a:cubicBezTo>
                <a:cubicBezTo>
                  <a:pt x="16" y="49"/>
                  <a:pt x="16" y="49"/>
                  <a:pt x="16" y="49"/>
                </a:cubicBezTo>
                <a:cubicBezTo>
                  <a:pt x="16" y="0"/>
                  <a:pt x="16" y="0"/>
                  <a:pt x="16" y="0"/>
                </a:cubicBezTo>
                <a:cubicBezTo>
                  <a:pt x="14" y="0"/>
                  <a:pt x="14" y="0"/>
                  <a:pt x="14" y="0"/>
                </a:cubicBezTo>
                <a:cubicBezTo>
                  <a:pt x="14" y="1"/>
                  <a:pt x="13" y="2"/>
                  <a:pt x="1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 name="Freeform 20"/>
          <p:cNvSpPr>
            <a:spLocks noEditPoints="1"/>
          </p:cNvSpPr>
          <p:nvPr/>
        </p:nvSpPr>
        <p:spPr bwMode="auto">
          <a:xfrm>
            <a:off x="1821875" y="3572582"/>
            <a:ext cx="117475" cy="188913"/>
          </a:xfrm>
          <a:custGeom>
            <a:avLst/>
            <a:gdLst>
              <a:gd name="T0" fmla="*/ 16 w 31"/>
              <a:gd name="T1" fmla="*/ 0 h 50"/>
              <a:gd name="T2" fmla="*/ 9 w 31"/>
              <a:gd name="T3" fmla="*/ 2 h 50"/>
              <a:gd name="T4" fmla="*/ 4 w 31"/>
              <a:gd name="T5" fmla="*/ 7 h 50"/>
              <a:gd name="T6" fmla="*/ 1 w 31"/>
              <a:gd name="T7" fmla="*/ 15 h 50"/>
              <a:gd name="T8" fmla="*/ 0 w 31"/>
              <a:gd name="T9" fmla="*/ 26 h 50"/>
              <a:gd name="T10" fmla="*/ 1 w 31"/>
              <a:gd name="T11" fmla="*/ 36 h 50"/>
              <a:gd name="T12" fmla="*/ 4 w 31"/>
              <a:gd name="T13" fmla="*/ 44 h 50"/>
              <a:gd name="T14" fmla="*/ 9 w 31"/>
              <a:gd name="T15" fmla="*/ 48 h 50"/>
              <a:gd name="T16" fmla="*/ 15 w 31"/>
              <a:gd name="T17" fmla="*/ 50 h 50"/>
              <a:gd name="T18" fmla="*/ 22 w 31"/>
              <a:gd name="T19" fmla="*/ 48 h 50"/>
              <a:gd name="T20" fmla="*/ 27 w 31"/>
              <a:gd name="T21" fmla="*/ 44 h 50"/>
              <a:gd name="T22" fmla="*/ 30 w 31"/>
              <a:gd name="T23" fmla="*/ 36 h 50"/>
              <a:gd name="T24" fmla="*/ 31 w 31"/>
              <a:gd name="T25" fmla="*/ 25 h 50"/>
              <a:gd name="T26" fmla="*/ 16 w 31"/>
              <a:gd name="T27" fmla="*/ 0 h 50"/>
              <a:gd name="T28" fmla="*/ 16 w 31"/>
              <a:gd name="T29" fmla="*/ 45 h 50"/>
              <a:gd name="T30" fmla="*/ 6 w 31"/>
              <a:gd name="T31" fmla="*/ 26 h 50"/>
              <a:gd name="T32" fmla="*/ 16 w 31"/>
              <a:gd name="T33" fmla="*/ 5 h 50"/>
              <a:gd name="T34" fmla="*/ 26 w 31"/>
              <a:gd name="T35" fmla="*/ 26 h 50"/>
              <a:gd name="T36" fmla="*/ 16 w 31"/>
              <a:gd name="T37"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50">
                <a:moveTo>
                  <a:pt x="16" y="0"/>
                </a:moveTo>
                <a:cubicBezTo>
                  <a:pt x="14" y="0"/>
                  <a:pt x="11" y="1"/>
                  <a:pt x="9" y="2"/>
                </a:cubicBezTo>
                <a:cubicBezTo>
                  <a:pt x="7" y="3"/>
                  <a:pt x="6" y="5"/>
                  <a:pt x="4" y="7"/>
                </a:cubicBezTo>
                <a:cubicBezTo>
                  <a:pt x="3" y="9"/>
                  <a:pt x="2" y="12"/>
                  <a:pt x="1" y="15"/>
                </a:cubicBezTo>
                <a:cubicBezTo>
                  <a:pt x="0" y="18"/>
                  <a:pt x="0" y="22"/>
                  <a:pt x="0" y="26"/>
                </a:cubicBezTo>
                <a:cubicBezTo>
                  <a:pt x="0" y="30"/>
                  <a:pt x="0" y="33"/>
                  <a:pt x="1" y="36"/>
                </a:cubicBezTo>
                <a:cubicBezTo>
                  <a:pt x="2" y="39"/>
                  <a:pt x="3" y="42"/>
                  <a:pt x="4" y="44"/>
                </a:cubicBezTo>
                <a:cubicBezTo>
                  <a:pt x="5" y="46"/>
                  <a:pt x="7" y="47"/>
                  <a:pt x="9" y="48"/>
                </a:cubicBezTo>
                <a:cubicBezTo>
                  <a:pt x="11" y="49"/>
                  <a:pt x="13" y="50"/>
                  <a:pt x="15" y="50"/>
                </a:cubicBezTo>
                <a:cubicBezTo>
                  <a:pt x="18" y="50"/>
                  <a:pt x="20" y="49"/>
                  <a:pt x="22" y="48"/>
                </a:cubicBezTo>
                <a:cubicBezTo>
                  <a:pt x="24" y="47"/>
                  <a:pt x="26" y="46"/>
                  <a:pt x="27" y="44"/>
                </a:cubicBezTo>
                <a:cubicBezTo>
                  <a:pt x="28" y="41"/>
                  <a:pt x="30" y="39"/>
                  <a:pt x="30" y="36"/>
                </a:cubicBezTo>
                <a:cubicBezTo>
                  <a:pt x="31" y="33"/>
                  <a:pt x="31" y="29"/>
                  <a:pt x="31" y="25"/>
                </a:cubicBezTo>
                <a:cubicBezTo>
                  <a:pt x="31" y="9"/>
                  <a:pt x="26" y="0"/>
                  <a:pt x="16" y="0"/>
                </a:cubicBezTo>
                <a:close/>
                <a:moveTo>
                  <a:pt x="16" y="45"/>
                </a:moveTo>
                <a:cubicBezTo>
                  <a:pt x="9" y="45"/>
                  <a:pt x="6" y="39"/>
                  <a:pt x="6" y="26"/>
                </a:cubicBezTo>
                <a:cubicBezTo>
                  <a:pt x="6" y="12"/>
                  <a:pt x="9" y="5"/>
                  <a:pt x="16" y="5"/>
                </a:cubicBezTo>
                <a:cubicBezTo>
                  <a:pt x="22" y="5"/>
                  <a:pt x="26" y="12"/>
                  <a:pt x="26" y="26"/>
                </a:cubicBezTo>
                <a:cubicBezTo>
                  <a:pt x="26" y="39"/>
                  <a:pt x="22" y="45"/>
                  <a:pt x="16"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2" name="Freeform 21"/>
          <p:cNvSpPr>
            <a:spLocks/>
          </p:cNvSpPr>
          <p:nvPr/>
        </p:nvSpPr>
        <p:spPr bwMode="auto">
          <a:xfrm>
            <a:off x="1980625" y="3572582"/>
            <a:ext cx="60325" cy="185738"/>
          </a:xfrm>
          <a:custGeom>
            <a:avLst/>
            <a:gdLst>
              <a:gd name="T0" fmla="*/ 11 w 16"/>
              <a:gd name="T1" fmla="*/ 2 h 49"/>
              <a:gd name="T2" fmla="*/ 8 w 16"/>
              <a:gd name="T3" fmla="*/ 5 h 49"/>
              <a:gd name="T4" fmla="*/ 4 w 16"/>
              <a:gd name="T5" fmla="*/ 7 h 49"/>
              <a:gd name="T6" fmla="*/ 0 w 16"/>
              <a:gd name="T7" fmla="*/ 8 h 49"/>
              <a:gd name="T8" fmla="*/ 0 w 16"/>
              <a:gd name="T9" fmla="*/ 13 h 49"/>
              <a:gd name="T10" fmla="*/ 3 w 16"/>
              <a:gd name="T11" fmla="*/ 12 h 49"/>
              <a:gd name="T12" fmla="*/ 6 w 16"/>
              <a:gd name="T13" fmla="*/ 11 h 49"/>
              <a:gd name="T14" fmla="*/ 9 w 16"/>
              <a:gd name="T15" fmla="*/ 9 h 49"/>
              <a:gd name="T16" fmla="*/ 11 w 16"/>
              <a:gd name="T17" fmla="*/ 8 h 49"/>
              <a:gd name="T18" fmla="*/ 11 w 16"/>
              <a:gd name="T19" fmla="*/ 49 h 49"/>
              <a:gd name="T20" fmla="*/ 16 w 16"/>
              <a:gd name="T21" fmla="*/ 49 h 49"/>
              <a:gd name="T22" fmla="*/ 16 w 16"/>
              <a:gd name="T23" fmla="*/ 0 h 49"/>
              <a:gd name="T24" fmla="*/ 14 w 16"/>
              <a:gd name="T25" fmla="*/ 0 h 49"/>
              <a:gd name="T26" fmla="*/ 11 w 16"/>
              <a:gd name="T27"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9">
                <a:moveTo>
                  <a:pt x="11" y="2"/>
                </a:moveTo>
                <a:cubicBezTo>
                  <a:pt x="10" y="3"/>
                  <a:pt x="9" y="4"/>
                  <a:pt x="8" y="5"/>
                </a:cubicBezTo>
                <a:cubicBezTo>
                  <a:pt x="6" y="5"/>
                  <a:pt x="5" y="6"/>
                  <a:pt x="4" y="7"/>
                </a:cubicBezTo>
                <a:cubicBezTo>
                  <a:pt x="2" y="7"/>
                  <a:pt x="1" y="8"/>
                  <a:pt x="0" y="8"/>
                </a:cubicBezTo>
                <a:cubicBezTo>
                  <a:pt x="0" y="13"/>
                  <a:pt x="0" y="13"/>
                  <a:pt x="0" y="13"/>
                </a:cubicBezTo>
                <a:cubicBezTo>
                  <a:pt x="1" y="13"/>
                  <a:pt x="2" y="13"/>
                  <a:pt x="3" y="12"/>
                </a:cubicBezTo>
                <a:cubicBezTo>
                  <a:pt x="4" y="12"/>
                  <a:pt x="5" y="11"/>
                  <a:pt x="6" y="11"/>
                </a:cubicBezTo>
                <a:cubicBezTo>
                  <a:pt x="7" y="10"/>
                  <a:pt x="8" y="10"/>
                  <a:pt x="9" y="9"/>
                </a:cubicBezTo>
                <a:cubicBezTo>
                  <a:pt x="10" y="9"/>
                  <a:pt x="10" y="8"/>
                  <a:pt x="11" y="8"/>
                </a:cubicBezTo>
                <a:cubicBezTo>
                  <a:pt x="11" y="49"/>
                  <a:pt x="11" y="49"/>
                  <a:pt x="11" y="49"/>
                </a:cubicBezTo>
                <a:cubicBezTo>
                  <a:pt x="16" y="49"/>
                  <a:pt x="16" y="49"/>
                  <a:pt x="16" y="49"/>
                </a:cubicBezTo>
                <a:cubicBezTo>
                  <a:pt x="16" y="0"/>
                  <a:pt x="16" y="0"/>
                  <a:pt x="16" y="0"/>
                </a:cubicBezTo>
                <a:cubicBezTo>
                  <a:pt x="14" y="0"/>
                  <a:pt x="14" y="0"/>
                  <a:pt x="14" y="0"/>
                </a:cubicBezTo>
                <a:cubicBezTo>
                  <a:pt x="13" y="1"/>
                  <a:pt x="12" y="2"/>
                  <a:pt x="1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 name="Freeform 22"/>
          <p:cNvSpPr>
            <a:spLocks noEditPoints="1"/>
          </p:cNvSpPr>
          <p:nvPr/>
        </p:nvSpPr>
        <p:spPr bwMode="auto">
          <a:xfrm>
            <a:off x="2101275" y="3572582"/>
            <a:ext cx="117475" cy="188913"/>
          </a:xfrm>
          <a:custGeom>
            <a:avLst/>
            <a:gdLst>
              <a:gd name="T0" fmla="*/ 16 w 31"/>
              <a:gd name="T1" fmla="*/ 0 h 50"/>
              <a:gd name="T2" fmla="*/ 9 w 31"/>
              <a:gd name="T3" fmla="*/ 2 h 50"/>
              <a:gd name="T4" fmla="*/ 4 w 31"/>
              <a:gd name="T5" fmla="*/ 7 h 50"/>
              <a:gd name="T6" fmla="*/ 1 w 31"/>
              <a:gd name="T7" fmla="*/ 15 h 50"/>
              <a:gd name="T8" fmla="*/ 0 w 31"/>
              <a:gd name="T9" fmla="*/ 26 h 50"/>
              <a:gd name="T10" fmla="*/ 1 w 31"/>
              <a:gd name="T11" fmla="*/ 36 h 50"/>
              <a:gd name="T12" fmla="*/ 4 w 31"/>
              <a:gd name="T13" fmla="*/ 44 h 50"/>
              <a:gd name="T14" fmla="*/ 9 w 31"/>
              <a:gd name="T15" fmla="*/ 48 h 50"/>
              <a:gd name="T16" fmla="*/ 15 w 31"/>
              <a:gd name="T17" fmla="*/ 50 h 50"/>
              <a:gd name="T18" fmla="*/ 22 w 31"/>
              <a:gd name="T19" fmla="*/ 48 h 50"/>
              <a:gd name="T20" fmla="*/ 27 w 31"/>
              <a:gd name="T21" fmla="*/ 44 h 50"/>
              <a:gd name="T22" fmla="*/ 30 w 31"/>
              <a:gd name="T23" fmla="*/ 36 h 50"/>
              <a:gd name="T24" fmla="*/ 31 w 31"/>
              <a:gd name="T25" fmla="*/ 25 h 50"/>
              <a:gd name="T26" fmla="*/ 16 w 31"/>
              <a:gd name="T27" fmla="*/ 0 h 50"/>
              <a:gd name="T28" fmla="*/ 16 w 31"/>
              <a:gd name="T29" fmla="*/ 45 h 50"/>
              <a:gd name="T30" fmla="*/ 6 w 31"/>
              <a:gd name="T31" fmla="*/ 26 h 50"/>
              <a:gd name="T32" fmla="*/ 16 w 31"/>
              <a:gd name="T33" fmla="*/ 5 h 50"/>
              <a:gd name="T34" fmla="*/ 26 w 31"/>
              <a:gd name="T35" fmla="*/ 26 h 50"/>
              <a:gd name="T36" fmla="*/ 16 w 31"/>
              <a:gd name="T37"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50">
                <a:moveTo>
                  <a:pt x="16" y="0"/>
                </a:moveTo>
                <a:cubicBezTo>
                  <a:pt x="14" y="0"/>
                  <a:pt x="11" y="1"/>
                  <a:pt x="9" y="2"/>
                </a:cubicBezTo>
                <a:cubicBezTo>
                  <a:pt x="7" y="3"/>
                  <a:pt x="5" y="5"/>
                  <a:pt x="4" y="7"/>
                </a:cubicBezTo>
                <a:cubicBezTo>
                  <a:pt x="3" y="9"/>
                  <a:pt x="2" y="12"/>
                  <a:pt x="1" y="15"/>
                </a:cubicBezTo>
                <a:cubicBezTo>
                  <a:pt x="0" y="18"/>
                  <a:pt x="0" y="22"/>
                  <a:pt x="0" y="26"/>
                </a:cubicBezTo>
                <a:cubicBezTo>
                  <a:pt x="0" y="30"/>
                  <a:pt x="0" y="33"/>
                  <a:pt x="1" y="36"/>
                </a:cubicBezTo>
                <a:cubicBezTo>
                  <a:pt x="2" y="39"/>
                  <a:pt x="3" y="42"/>
                  <a:pt x="4" y="44"/>
                </a:cubicBezTo>
                <a:cubicBezTo>
                  <a:pt x="5" y="46"/>
                  <a:pt x="7" y="47"/>
                  <a:pt x="9" y="48"/>
                </a:cubicBezTo>
                <a:cubicBezTo>
                  <a:pt x="11" y="49"/>
                  <a:pt x="13" y="50"/>
                  <a:pt x="15" y="50"/>
                </a:cubicBezTo>
                <a:cubicBezTo>
                  <a:pt x="18" y="50"/>
                  <a:pt x="20" y="49"/>
                  <a:pt x="22" y="48"/>
                </a:cubicBezTo>
                <a:cubicBezTo>
                  <a:pt x="24" y="47"/>
                  <a:pt x="26" y="46"/>
                  <a:pt x="27" y="44"/>
                </a:cubicBezTo>
                <a:cubicBezTo>
                  <a:pt x="28" y="41"/>
                  <a:pt x="29" y="39"/>
                  <a:pt x="30" y="36"/>
                </a:cubicBezTo>
                <a:cubicBezTo>
                  <a:pt x="31" y="33"/>
                  <a:pt x="31" y="29"/>
                  <a:pt x="31" y="25"/>
                </a:cubicBezTo>
                <a:cubicBezTo>
                  <a:pt x="31" y="9"/>
                  <a:pt x="26" y="0"/>
                  <a:pt x="16" y="0"/>
                </a:cubicBezTo>
                <a:close/>
                <a:moveTo>
                  <a:pt x="16" y="45"/>
                </a:moveTo>
                <a:cubicBezTo>
                  <a:pt x="9" y="45"/>
                  <a:pt x="6" y="39"/>
                  <a:pt x="6" y="26"/>
                </a:cubicBezTo>
                <a:cubicBezTo>
                  <a:pt x="6" y="12"/>
                  <a:pt x="9" y="5"/>
                  <a:pt x="16" y="5"/>
                </a:cubicBezTo>
                <a:cubicBezTo>
                  <a:pt x="22" y="5"/>
                  <a:pt x="26" y="12"/>
                  <a:pt x="26" y="26"/>
                </a:cubicBezTo>
                <a:cubicBezTo>
                  <a:pt x="26" y="39"/>
                  <a:pt x="22" y="45"/>
                  <a:pt x="16"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 name="Freeform 23"/>
          <p:cNvSpPr>
            <a:spLocks/>
          </p:cNvSpPr>
          <p:nvPr/>
        </p:nvSpPr>
        <p:spPr bwMode="auto">
          <a:xfrm>
            <a:off x="2260025" y="3572582"/>
            <a:ext cx="60325" cy="185738"/>
          </a:xfrm>
          <a:custGeom>
            <a:avLst/>
            <a:gdLst>
              <a:gd name="T0" fmla="*/ 11 w 16"/>
              <a:gd name="T1" fmla="*/ 2 h 49"/>
              <a:gd name="T2" fmla="*/ 7 w 16"/>
              <a:gd name="T3" fmla="*/ 5 h 49"/>
              <a:gd name="T4" fmla="*/ 3 w 16"/>
              <a:gd name="T5" fmla="*/ 7 h 49"/>
              <a:gd name="T6" fmla="*/ 0 w 16"/>
              <a:gd name="T7" fmla="*/ 8 h 49"/>
              <a:gd name="T8" fmla="*/ 0 w 16"/>
              <a:gd name="T9" fmla="*/ 13 h 49"/>
              <a:gd name="T10" fmla="*/ 3 w 16"/>
              <a:gd name="T11" fmla="*/ 12 h 49"/>
              <a:gd name="T12" fmla="*/ 6 w 16"/>
              <a:gd name="T13" fmla="*/ 11 h 49"/>
              <a:gd name="T14" fmla="*/ 9 w 16"/>
              <a:gd name="T15" fmla="*/ 9 h 49"/>
              <a:gd name="T16" fmla="*/ 11 w 16"/>
              <a:gd name="T17" fmla="*/ 8 h 49"/>
              <a:gd name="T18" fmla="*/ 11 w 16"/>
              <a:gd name="T19" fmla="*/ 49 h 49"/>
              <a:gd name="T20" fmla="*/ 16 w 16"/>
              <a:gd name="T21" fmla="*/ 49 h 49"/>
              <a:gd name="T22" fmla="*/ 16 w 16"/>
              <a:gd name="T23" fmla="*/ 0 h 49"/>
              <a:gd name="T24" fmla="*/ 14 w 16"/>
              <a:gd name="T25" fmla="*/ 0 h 49"/>
              <a:gd name="T26" fmla="*/ 11 w 16"/>
              <a:gd name="T27"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9">
                <a:moveTo>
                  <a:pt x="11" y="2"/>
                </a:moveTo>
                <a:cubicBezTo>
                  <a:pt x="10" y="3"/>
                  <a:pt x="9" y="4"/>
                  <a:pt x="7" y="5"/>
                </a:cubicBezTo>
                <a:cubicBezTo>
                  <a:pt x="6" y="5"/>
                  <a:pt x="5" y="6"/>
                  <a:pt x="3" y="7"/>
                </a:cubicBezTo>
                <a:cubicBezTo>
                  <a:pt x="2" y="7"/>
                  <a:pt x="1" y="8"/>
                  <a:pt x="0" y="8"/>
                </a:cubicBezTo>
                <a:cubicBezTo>
                  <a:pt x="0" y="13"/>
                  <a:pt x="0" y="13"/>
                  <a:pt x="0" y="13"/>
                </a:cubicBezTo>
                <a:cubicBezTo>
                  <a:pt x="1" y="13"/>
                  <a:pt x="2" y="13"/>
                  <a:pt x="3" y="12"/>
                </a:cubicBezTo>
                <a:cubicBezTo>
                  <a:pt x="4" y="12"/>
                  <a:pt x="5" y="11"/>
                  <a:pt x="6" y="11"/>
                </a:cubicBezTo>
                <a:cubicBezTo>
                  <a:pt x="7" y="10"/>
                  <a:pt x="8" y="10"/>
                  <a:pt x="9" y="9"/>
                </a:cubicBezTo>
                <a:cubicBezTo>
                  <a:pt x="10" y="9"/>
                  <a:pt x="10" y="8"/>
                  <a:pt x="11" y="8"/>
                </a:cubicBezTo>
                <a:cubicBezTo>
                  <a:pt x="11" y="49"/>
                  <a:pt x="11" y="49"/>
                  <a:pt x="11" y="49"/>
                </a:cubicBezTo>
                <a:cubicBezTo>
                  <a:pt x="16" y="49"/>
                  <a:pt x="16" y="49"/>
                  <a:pt x="16" y="49"/>
                </a:cubicBezTo>
                <a:cubicBezTo>
                  <a:pt x="16" y="0"/>
                  <a:pt x="16" y="0"/>
                  <a:pt x="16" y="0"/>
                </a:cubicBezTo>
                <a:cubicBezTo>
                  <a:pt x="14" y="0"/>
                  <a:pt x="14" y="0"/>
                  <a:pt x="14" y="0"/>
                </a:cubicBezTo>
                <a:cubicBezTo>
                  <a:pt x="13" y="1"/>
                  <a:pt x="12" y="2"/>
                  <a:pt x="1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 name="Freeform 24"/>
          <p:cNvSpPr>
            <a:spLocks/>
          </p:cNvSpPr>
          <p:nvPr/>
        </p:nvSpPr>
        <p:spPr bwMode="auto">
          <a:xfrm>
            <a:off x="1682175" y="3829757"/>
            <a:ext cx="117475" cy="144463"/>
          </a:xfrm>
          <a:custGeom>
            <a:avLst/>
            <a:gdLst>
              <a:gd name="T0" fmla="*/ 31 w 31"/>
              <a:gd name="T1" fmla="*/ 25 h 38"/>
              <a:gd name="T2" fmla="*/ 16 w 31"/>
              <a:gd name="T3" fmla="*/ 0 h 38"/>
              <a:gd name="T4" fmla="*/ 9 w 31"/>
              <a:gd name="T5" fmla="*/ 2 h 38"/>
              <a:gd name="T6" fmla="*/ 4 w 31"/>
              <a:gd name="T7" fmla="*/ 7 h 38"/>
              <a:gd name="T8" fmla="*/ 1 w 31"/>
              <a:gd name="T9" fmla="*/ 15 h 38"/>
              <a:gd name="T10" fmla="*/ 0 w 31"/>
              <a:gd name="T11" fmla="*/ 26 h 38"/>
              <a:gd name="T12" fmla="*/ 1 w 31"/>
              <a:gd name="T13" fmla="*/ 36 h 38"/>
              <a:gd name="T14" fmla="*/ 2 w 31"/>
              <a:gd name="T15" fmla="*/ 38 h 38"/>
              <a:gd name="T16" fmla="*/ 7 w 31"/>
              <a:gd name="T17" fmla="*/ 38 h 38"/>
              <a:gd name="T18" fmla="*/ 6 w 31"/>
              <a:gd name="T19" fmla="*/ 26 h 38"/>
              <a:gd name="T20" fmla="*/ 16 w 31"/>
              <a:gd name="T21" fmla="*/ 5 h 38"/>
              <a:gd name="T22" fmla="*/ 26 w 31"/>
              <a:gd name="T23" fmla="*/ 26 h 38"/>
              <a:gd name="T24" fmla="*/ 24 w 31"/>
              <a:gd name="T25" fmla="*/ 38 h 38"/>
              <a:gd name="T26" fmla="*/ 29 w 31"/>
              <a:gd name="T27" fmla="*/ 38 h 38"/>
              <a:gd name="T28" fmla="*/ 30 w 31"/>
              <a:gd name="T29" fmla="*/ 36 h 38"/>
              <a:gd name="T30" fmla="*/ 31 w 31"/>
              <a:gd name="T3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38">
                <a:moveTo>
                  <a:pt x="31" y="25"/>
                </a:moveTo>
                <a:cubicBezTo>
                  <a:pt x="31" y="9"/>
                  <a:pt x="26" y="0"/>
                  <a:pt x="16" y="0"/>
                </a:cubicBezTo>
                <a:cubicBezTo>
                  <a:pt x="14" y="0"/>
                  <a:pt x="11" y="1"/>
                  <a:pt x="9" y="2"/>
                </a:cubicBezTo>
                <a:cubicBezTo>
                  <a:pt x="7" y="3"/>
                  <a:pt x="6" y="5"/>
                  <a:pt x="4" y="7"/>
                </a:cubicBezTo>
                <a:cubicBezTo>
                  <a:pt x="3" y="9"/>
                  <a:pt x="2" y="12"/>
                  <a:pt x="1" y="15"/>
                </a:cubicBezTo>
                <a:cubicBezTo>
                  <a:pt x="1" y="18"/>
                  <a:pt x="0" y="22"/>
                  <a:pt x="0" y="26"/>
                </a:cubicBezTo>
                <a:cubicBezTo>
                  <a:pt x="0" y="30"/>
                  <a:pt x="0" y="33"/>
                  <a:pt x="1" y="36"/>
                </a:cubicBezTo>
                <a:cubicBezTo>
                  <a:pt x="1" y="37"/>
                  <a:pt x="2" y="38"/>
                  <a:pt x="2" y="38"/>
                </a:cubicBezTo>
                <a:cubicBezTo>
                  <a:pt x="7" y="38"/>
                  <a:pt x="7" y="38"/>
                  <a:pt x="7" y="38"/>
                </a:cubicBezTo>
                <a:cubicBezTo>
                  <a:pt x="6" y="35"/>
                  <a:pt x="6" y="31"/>
                  <a:pt x="6" y="26"/>
                </a:cubicBezTo>
                <a:cubicBezTo>
                  <a:pt x="6" y="12"/>
                  <a:pt x="9" y="5"/>
                  <a:pt x="16" y="5"/>
                </a:cubicBezTo>
                <a:cubicBezTo>
                  <a:pt x="23" y="5"/>
                  <a:pt x="26" y="12"/>
                  <a:pt x="26" y="26"/>
                </a:cubicBezTo>
                <a:cubicBezTo>
                  <a:pt x="26" y="31"/>
                  <a:pt x="25" y="35"/>
                  <a:pt x="24" y="38"/>
                </a:cubicBezTo>
                <a:cubicBezTo>
                  <a:pt x="29" y="38"/>
                  <a:pt x="29" y="38"/>
                  <a:pt x="29" y="38"/>
                </a:cubicBezTo>
                <a:cubicBezTo>
                  <a:pt x="30" y="38"/>
                  <a:pt x="30" y="37"/>
                  <a:pt x="30" y="36"/>
                </a:cubicBezTo>
                <a:cubicBezTo>
                  <a:pt x="31" y="33"/>
                  <a:pt x="31" y="29"/>
                  <a:pt x="31"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 name="Freeform 25"/>
          <p:cNvSpPr>
            <a:spLocks/>
          </p:cNvSpPr>
          <p:nvPr/>
        </p:nvSpPr>
        <p:spPr bwMode="auto">
          <a:xfrm>
            <a:off x="1840925" y="3829757"/>
            <a:ext cx="60325" cy="144463"/>
          </a:xfrm>
          <a:custGeom>
            <a:avLst/>
            <a:gdLst>
              <a:gd name="T0" fmla="*/ 14 w 16"/>
              <a:gd name="T1" fmla="*/ 0 h 38"/>
              <a:gd name="T2" fmla="*/ 11 w 16"/>
              <a:gd name="T3" fmla="*/ 2 h 38"/>
              <a:gd name="T4" fmla="*/ 8 w 16"/>
              <a:gd name="T5" fmla="*/ 5 h 38"/>
              <a:gd name="T6" fmla="*/ 4 w 16"/>
              <a:gd name="T7" fmla="*/ 7 h 38"/>
              <a:gd name="T8" fmla="*/ 0 w 16"/>
              <a:gd name="T9" fmla="*/ 8 h 38"/>
              <a:gd name="T10" fmla="*/ 0 w 16"/>
              <a:gd name="T11" fmla="*/ 13 h 38"/>
              <a:gd name="T12" fmla="*/ 3 w 16"/>
              <a:gd name="T13" fmla="*/ 12 h 38"/>
              <a:gd name="T14" fmla="*/ 6 w 16"/>
              <a:gd name="T15" fmla="*/ 11 h 38"/>
              <a:gd name="T16" fmla="*/ 9 w 16"/>
              <a:gd name="T17" fmla="*/ 9 h 38"/>
              <a:gd name="T18" fmla="*/ 11 w 16"/>
              <a:gd name="T19" fmla="*/ 8 h 38"/>
              <a:gd name="T20" fmla="*/ 11 w 16"/>
              <a:gd name="T21" fmla="*/ 38 h 38"/>
              <a:gd name="T22" fmla="*/ 16 w 16"/>
              <a:gd name="T23" fmla="*/ 38 h 38"/>
              <a:gd name="T24" fmla="*/ 16 w 16"/>
              <a:gd name="T25" fmla="*/ 0 h 38"/>
              <a:gd name="T26" fmla="*/ 14 w 16"/>
              <a:gd name="T2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8">
                <a:moveTo>
                  <a:pt x="14" y="0"/>
                </a:moveTo>
                <a:cubicBezTo>
                  <a:pt x="14" y="1"/>
                  <a:pt x="13" y="2"/>
                  <a:pt x="11" y="2"/>
                </a:cubicBezTo>
                <a:cubicBezTo>
                  <a:pt x="10" y="3"/>
                  <a:pt x="9" y="4"/>
                  <a:pt x="8" y="5"/>
                </a:cubicBezTo>
                <a:cubicBezTo>
                  <a:pt x="6" y="5"/>
                  <a:pt x="5" y="6"/>
                  <a:pt x="4" y="7"/>
                </a:cubicBezTo>
                <a:cubicBezTo>
                  <a:pt x="2" y="7"/>
                  <a:pt x="1" y="8"/>
                  <a:pt x="0" y="8"/>
                </a:cubicBezTo>
                <a:cubicBezTo>
                  <a:pt x="0" y="13"/>
                  <a:pt x="0" y="13"/>
                  <a:pt x="0" y="13"/>
                </a:cubicBezTo>
                <a:cubicBezTo>
                  <a:pt x="1" y="13"/>
                  <a:pt x="2" y="13"/>
                  <a:pt x="3" y="12"/>
                </a:cubicBezTo>
                <a:cubicBezTo>
                  <a:pt x="4" y="12"/>
                  <a:pt x="5" y="11"/>
                  <a:pt x="6" y="11"/>
                </a:cubicBezTo>
                <a:cubicBezTo>
                  <a:pt x="7" y="10"/>
                  <a:pt x="8" y="10"/>
                  <a:pt x="9" y="9"/>
                </a:cubicBezTo>
                <a:cubicBezTo>
                  <a:pt x="10" y="9"/>
                  <a:pt x="11" y="8"/>
                  <a:pt x="11" y="8"/>
                </a:cubicBezTo>
                <a:cubicBezTo>
                  <a:pt x="11" y="38"/>
                  <a:pt x="11" y="38"/>
                  <a:pt x="11" y="38"/>
                </a:cubicBezTo>
                <a:cubicBezTo>
                  <a:pt x="16" y="38"/>
                  <a:pt x="16" y="38"/>
                  <a:pt x="16" y="38"/>
                </a:cubicBezTo>
                <a:cubicBezTo>
                  <a:pt x="16" y="0"/>
                  <a:pt x="16" y="0"/>
                  <a:pt x="16" y="0"/>
                </a:cubicBez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 name="Freeform 26"/>
          <p:cNvSpPr>
            <a:spLocks/>
          </p:cNvSpPr>
          <p:nvPr/>
        </p:nvSpPr>
        <p:spPr bwMode="auto">
          <a:xfrm>
            <a:off x="1961575" y="3829757"/>
            <a:ext cx="117475" cy="144463"/>
          </a:xfrm>
          <a:custGeom>
            <a:avLst/>
            <a:gdLst>
              <a:gd name="T0" fmla="*/ 31 w 31"/>
              <a:gd name="T1" fmla="*/ 25 h 38"/>
              <a:gd name="T2" fmla="*/ 16 w 31"/>
              <a:gd name="T3" fmla="*/ 0 h 38"/>
              <a:gd name="T4" fmla="*/ 9 w 31"/>
              <a:gd name="T5" fmla="*/ 2 h 38"/>
              <a:gd name="T6" fmla="*/ 4 w 31"/>
              <a:gd name="T7" fmla="*/ 7 h 38"/>
              <a:gd name="T8" fmla="*/ 1 w 31"/>
              <a:gd name="T9" fmla="*/ 15 h 38"/>
              <a:gd name="T10" fmla="*/ 0 w 31"/>
              <a:gd name="T11" fmla="*/ 26 h 38"/>
              <a:gd name="T12" fmla="*/ 1 w 31"/>
              <a:gd name="T13" fmla="*/ 36 h 38"/>
              <a:gd name="T14" fmla="*/ 2 w 31"/>
              <a:gd name="T15" fmla="*/ 38 h 38"/>
              <a:gd name="T16" fmla="*/ 7 w 31"/>
              <a:gd name="T17" fmla="*/ 38 h 38"/>
              <a:gd name="T18" fmla="*/ 6 w 31"/>
              <a:gd name="T19" fmla="*/ 26 h 38"/>
              <a:gd name="T20" fmla="*/ 16 w 31"/>
              <a:gd name="T21" fmla="*/ 5 h 38"/>
              <a:gd name="T22" fmla="*/ 26 w 31"/>
              <a:gd name="T23" fmla="*/ 26 h 38"/>
              <a:gd name="T24" fmla="*/ 24 w 31"/>
              <a:gd name="T25" fmla="*/ 38 h 38"/>
              <a:gd name="T26" fmla="*/ 29 w 31"/>
              <a:gd name="T27" fmla="*/ 38 h 38"/>
              <a:gd name="T28" fmla="*/ 30 w 31"/>
              <a:gd name="T29" fmla="*/ 36 h 38"/>
              <a:gd name="T30" fmla="*/ 31 w 31"/>
              <a:gd name="T3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38">
                <a:moveTo>
                  <a:pt x="31" y="25"/>
                </a:moveTo>
                <a:cubicBezTo>
                  <a:pt x="31" y="9"/>
                  <a:pt x="26" y="0"/>
                  <a:pt x="16" y="0"/>
                </a:cubicBezTo>
                <a:cubicBezTo>
                  <a:pt x="14" y="0"/>
                  <a:pt x="11" y="1"/>
                  <a:pt x="9" y="2"/>
                </a:cubicBezTo>
                <a:cubicBezTo>
                  <a:pt x="7" y="3"/>
                  <a:pt x="6" y="5"/>
                  <a:pt x="4" y="7"/>
                </a:cubicBezTo>
                <a:cubicBezTo>
                  <a:pt x="3" y="9"/>
                  <a:pt x="2" y="12"/>
                  <a:pt x="1" y="15"/>
                </a:cubicBezTo>
                <a:cubicBezTo>
                  <a:pt x="0" y="18"/>
                  <a:pt x="0" y="22"/>
                  <a:pt x="0" y="26"/>
                </a:cubicBezTo>
                <a:cubicBezTo>
                  <a:pt x="0" y="30"/>
                  <a:pt x="0" y="33"/>
                  <a:pt x="1" y="36"/>
                </a:cubicBezTo>
                <a:cubicBezTo>
                  <a:pt x="1" y="37"/>
                  <a:pt x="1" y="38"/>
                  <a:pt x="2" y="38"/>
                </a:cubicBezTo>
                <a:cubicBezTo>
                  <a:pt x="7" y="38"/>
                  <a:pt x="7" y="38"/>
                  <a:pt x="7" y="38"/>
                </a:cubicBezTo>
                <a:cubicBezTo>
                  <a:pt x="6" y="35"/>
                  <a:pt x="6" y="31"/>
                  <a:pt x="6" y="26"/>
                </a:cubicBezTo>
                <a:cubicBezTo>
                  <a:pt x="6" y="12"/>
                  <a:pt x="9" y="5"/>
                  <a:pt x="16" y="5"/>
                </a:cubicBezTo>
                <a:cubicBezTo>
                  <a:pt x="22" y="5"/>
                  <a:pt x="26" y="12"/>
                  <a:pt x="26" y="26"/>
                </a:cubicBezTo>
                <a:cubicBezTo>
                  <a:pt x="26" y="31"/>
                  <a:pt x="25" y="35"/>
                  <a:pt x="24" y="38"/>
                </a:cubicBezTo>
                <a:cubicBezTo>
                  <a:pt x="29" y="38"/>
                  <a:pt x="29" y="38"/>
                  <a:pt x="29" y="38"/>
                </a:cubicBezTo>
                <a:cubicBezTo>
                  <a:pt x="30" y="38"/>
                  <a:pt x="30" y="37"/>
                  <a:pt x="30" y="36"/>
                </a:cubicBezTo>
                <a:cubicBezTo>
                  <a:pt x="31" y="33"/>
                  <a:pt x="31" y="29"/>
                  <a:pt x="31"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 name="Freeform 27"/>
          <p:cNvSpPr>
            <a:spLocks/>
          </p:cNvSpPr>
          <p:nvPr/>
        </p:nvSpPr>
        <p:spPr bwMode="auto">
          <a:xfrm>
            <a:off x="2120325" y="3829757"/>
            <a:ext cx="60325" cy="144463"/>
          </a:xfrm>
          <a:custGeom>
            <a:avLst/>
            <a:gdLst>
              <a:gd name="T0" fmla="*/ 14 w 16"/>
              <a:gd name="T1" fmla="*/ 0 h 38"/>
              <a:gd name="T2" fmla="*/ 11 w 16"/>
              <a:gd name="T3" fmla="*/ 2 h 38"/>
              <a:gd name="T4" fmla="*/ 8 w 16"/>
              <a:gd name="T5" fmla="*/ 5 h 38"/>
              <a:gd name="T6" fmla="*/ 4 w 16"/>
              <a:gd name="T7" fmla="*/ 7 h 38"/>
              <a:gd name="T8" fmla="*/ 0 w 16"/>
              <a:gd name="T9" fmla="*/ 8 h 38"/>
              <a:gd name="T10" fmla="*/ 0 w 16"/>
              <a:gd name="T11" fmla="*/ 13 h 38"/>
              <a:gd name="T12" fmla="*/ 3 w 16"/>
              <a:gd name="T13" fmla="*/ 12 h 38"/>
              <a:gd name="T14" fmla="*/ 6 w 16"/>
              <a:gd name="T15" fmla="*/ 11 h 38"/>
              <a:gd name="T16" fmla="*/ 9 w 16"/>
              <a:gd name="T17" fmla="*/ 9 h 38"/>
              <a:gd name="T18" fmla="*/ 11 w 16"/>
              <a:gd name="T19" fmla="*/ 8 h 38"/>
              <a:gd name="T20" fmla="*/ 11 w 16"/>
              <a:gd name="T21" fmla="*/ 38 h 38"/>
              <a:gd name="T22" fmla="*/ 16 w 16"/>
              <a:gd name="T23" fmla="*/ 38 h 38"/>
              <a:gd name="T24" fmla="*/ 16 w 16"/>
              <a:gd name="T25" fmla="*/ 0 h 38"/>
              <a:gd name="T26" fmla="*/ 14 w 16"/>
              <a:gd name="T2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8">
                <a:moveTo>
                  <a:pt x="14" y="0"/>
                </a:moveTo>
                <a:cubicBezTo>
                  <a:pt x="13" y="1"/>
                  <a:pt x="12" y="2"/>
                  <a:pt x="11" y="2"/>
                </a:cubicBezTo>
                <a:cubicBezTo>
                  <a:pt x="10" y="3"/>
                  <a:pt x="9" y="4"/>
                  <a:pt x="8" y="5"/>
                </a:cubicBezTo>
                <a:cubicBezTo>
                  <a:pt x="6" y="5"/>
                  <a:pt x="5" y="6"/>
                  <a:pt x="4" y="7"/>
                </a:cubicBezTo>
                <a:cubicBezTo>
                  <a:pt x="2" y="7"/>
                  <a:pt x="1" y="8"/>
                  <a:pt x="0" y="8"/>
                </a:cubicBezTo>
                <a:cubicBezTo>
                  <a:pt x="0" y="13"/>
                  <a:pt x="0" y="13"/>
                  <a:pt x="0" y="13"/>
                </a:cubicBezTo>
                <a:cubicBezTo>
                  <a:pt x="1" y="13"/>
                  <a:pt x="2" y="13"/>
                  <a:pt x="3" y="12"/>
                </a:cubicBezTo>
                <a:cubicBezTo>
                  <a:pt x="4" y="12"/>
                  <a:pt x="5" y="11"/>
                  <a:pt x="6" y="11"/>
                </a:cubicBezTo>
                <a:cubicBezTo>
                  <a:pt x="7" y="10"/>
                  <a:pt x="8" y="10"/>
                  <a:pt x="9" y="9"/>
                </a:cubicBezTo>
                <a:cubicBezTo>
                  <a:pt x="10" y="9"/>
                  <a:pt x="10" y="8"/>
                  <a:pt x="11" y="8"/>
                </a:cubicBezTo>
                <a:cubicBezTo>
                  <a:pt x="11" y="38"/>
                  <a:pt x="11" y="38"/>
                  <a:pt x="11" y="38"/>
                </a:cubicBezTo>
                <a:cubicBezTo>
                  <a:pt x="16" y="38"/>
                  <a:pt x="16" y="38"/>
                  <a:pt x="16" y="38"/>
                </a:cubicBezTo>
                <a:cubicBezTo>
                  <a:pt x="16" y="0"/>
                  <a:pt x="16" y="0"/>
                  <a:pt x="16" y="0"/>
                </a:cubicBez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 name="Freeform 28"/>
          <p:cNvSpPr>
            <a:spLocks/>
          </p:cNvSpPr>
          <p:nvPr/>
        </p:nvSpPr>
        <p:spPr bwMode="auto">
          <a:xfrm>
            <a:off x="2240975" y="3829757"/>
            <a:ext cx="117475" cy="144463"/>
          </a:xfrm>
          <a:custGeom>
            <a:avLst/>
            <a:gdLst>
              <a:gd name="T0" fmla="*/ 31 w 31"/>
              <a:gd name="T1" fmla="*/ 25 h 38"/>
              <a:gd name="T2" fmla="*/ 16 w 31"/>
              <a:gd name="T3" fmla="*/ 0 h 38"/>
              <a:gd name="T4" fmla="*/ 9 w 31"/>
              <a:gd name="T5" fmla="*/ 2 h 38"/>
              <a:gd name="T6" fmla="*/ 4 w 31"/>
              <a:gd name="T7" fmla="*/ 7 h 38"/>
              <a:gd name="T8" fmla="*/ 1 w 31"/>
              <a:gd name="T9" fmla="*/ 15 h 38"/>
              <a:gd name="T10" fmla="*/ 0 w 31"/>
              <a:gd name="T11" fmla="*/ 26 h 38"/>
              <a:gd name="T12" fmla="*/ 1 w 31"/>
              <a:gd name="T13" fmla="*/ 36 h 38"/>
              <a:gd name="T14" fmla="*/ 2 w 31"/>
              <a:gd name="T15" fmla="*/ 38 h 38"/>
              <a:gd name="T16" fmla="*/ 7 w 31"/>
              <a:gd name="T17" fmla="*/ 38 h 38"/>
              <a:gd name="T18" fmla="*/ 6 w 31"/>
              <a:gd name="T19" fmla="*/ 26 h 38"/>
              <a:gd name="T20" fmla="*/ 16 w 31"/>
              <a:gd name="T21" fmla="*/ 5 h 38"/>
              <a:gd name="T22" fmla="*/ 26 w 31"/>
              <a:gd name="T23" fmla="*/ 26 h 38"/>
              <a:gd name="T24" fmla="*/ 24 w 31"/>
              <a:gd name="T25" fmla="*/ 38 h 38"/>
              <a:gd name="T26" fmla="*/ 29 w 31"/>
              <a:gd name="T27" fmla="*/ 38 h 38"/>
              <a:gd name="T28" fmla="*/ 30 w 31"/>
              <a:gd name="T29" fmla="*/ 36 h 38"/>
              <a:gd name="T30" fmla="*/ 31 w 31"/>
              <a:gd name="T3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38">
                <a:moveTo>
                  <a:pt x="31" y="25"/>
                </a:moveTo>
                <a:cubicBezTo>
                  <a:pt x="31" y="9"/>
                  <a:pt x="26" y="0"/>
                  <a:pt x="16" y="0"/>
                </a:cubicBezTo>
                <a:cubicBezTo>
                  <a:pt x="13" y="0"/>
                  <a:pt x="11" y="1"/>
                  <a:pt x="9" y="2"/>
                </a:cubicBezTo>
                <a:cubicBezTo>
                  <a:pt x="7" y="3"/>
                  <a:pt x="5" y="5"/>
                  <a:pt x="4" y="7"/>
                </a:cubicBezTo>
                <a:cubicBezTo>
                  <a:pt x="3" y="9"/>
                  <a:pt x="2" y="12"/>
                  <a:pt x="1" y="15"/>
                </a:cubicBezTo>
                <a:cubicBezTo>
                  <a:pt x="0" y="18"/>
                  <a:pt x="0" y="22"/>
                  <a:pt x="0" y="26"/>
                </a:cubicBezTo>
                <a:cubicBezTo>
                  <a:pt x="0" y="30"/>
                  <a:pt x="0" y="33"/>
                  <a:pt x="1" y="36"/>
                </a:cubicBezTo>
                <a:cubicBezTo>
                  <a:pt x="1" y="37"/>
                  <a:pt x="1" y="38"/>
                  <a:pt x="2" y="38"/>
                </a:cubicBezTo>
                <a:cubicBezTo>
                  <a:pt x="7" y="38"/>
                  <a:pt x="7" y="38"/>
                  <a:pt x="7" y="38"/>
                </a:cubicBezTo>
                <a:cubicBezTo>
                  <a:pt x="6" y="35"/>
                  <a:pt x="6" y="31"/>
                  <a:pt x="6" y="26"/>
                </a:cubicBezTo>
                <a:cubicBezTo>
                  <a:pt x="6" y="12"/>
                  <a:pt x="9" y="5"/>
                  <a:pt x="16" y="5"/>
                </a:cubicBezTo>
                <a:cubicBezTo>
                  <a:pt x="22" y="5"/>
                  <a:pt x="26" y="12"/>
                  <a:pt x="26" y="26"/>
                </a:cubicBezTo>
                <a:cubicBezTo>
                  <a:pt x="26" y="31"/>
                  <a:pt x="25" y="35"/>
                  <a:pt x="24" y="38"/>
                </a:cubicBezTo>
                <a:cubicBezTo>
                  <a:pt x="29" y="38"/>
                  <a:pt x="29" y="38"/>
                  <a:pt x="29" y="38"/>
                </a:cubicBezTo>
                <a:cubicBezTo>
                  <a:pt x="29" y="38"/>
                  <a:pt x="30" y="37"/>
                  <a:pt x="30" y="36"/>
                </a:cubicBezTo>
                <a:cubicBezTo>
                  <a:pt x="31" y="33"/>
                  <a:pt x="31" y="29"/>
                  <a:pt x="31"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30" name="Picture 29"/>
          <p:cNvPicPr>
            <a:picLocks noChangeAspect="1"/>
          </p:cNvPicPr>
          <p:nvPr/>
        </p:nvPicPr>
        <p:blipFill>
          <a:blip r:embed="rId3"/>
          <a:stretch>
            <a:fillRect/>
          </a:stretch>
        </p:blipFill>
        <p:spPr>
          <a:xfrm>
            <a:off x="755713" y="3602830"/>
            <a:ext cx="1988082" cy="973186"/>
          </a:xfrm>
          <a:prstGeom prst="rect">
            <a:avLst/>
          </a:prstGeom>
        </p:spPr>
      </p:pic>
      <p:cxnSp>
        <p:nvCxnSpPr>
          <p:cNvPr id="32" name="Straight Connector 31"/>
          <p:cNvCxnSpPr/>
          <p:nvPr/>
        </p:nvCxnSpPr>
        <p:spPr>
          <a:xfrm flipH="1" flipV="1">
            <a:off x="652474" y="4962617"/>
            <a:ext cx="2194560" cy="880"/>
          </a:xfrm>
          <a:prstGeom prst="line">
            <a:avLst/>
          </a:prstGeom>
          <a:ln w="31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274639" y="2680442"/>
            <a:ext cx="2950230" cy="603242"/>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Scalability Limits</a:t>
            </a:r>
          </a:p>
        </p:txBody>
      </p:sp>
      <p:cxnSp>
        <p:nvCxnSpPr>
          <p:cNvPr id="33" name="Straight Connector 32"/>
          <p:cNvCxnSpPr/>
          <p:nvPr/>
        </p:nvCxnSpPr>
        <p:spPr>
          <a:xfrm flipH="1" flipV="1">
            <a:off x="3615259" y="4944182"/>
            <a:ext cx="2194560" cy="880"/>
          </a:xfrm>
          <a:prstGeom prst="line">
            <a:avLst/>
          </a:prstGeom>
          <a:ln w="31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flipV="1">
            <a:off x="6586760" y="4952076"/>
            <a:ext cx="2194560" cy="880"/>
          </a:xfrm>
          <a:prstGeom prst="line">
            <a:avLst/>
          </a:prstGeom>
          <a:ln w="31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5840508" y="2680442"/>
            <a:ext cx="3327363" cy="1895574"/>
            <a:chOff x="5840508" y="2680442"/>
            <a:chExt cx="3327363" cy="1895574"/>
          </a:xfrm>
        </p:grpSpPr>
        <p:sp>
          <p:nvSpPr>
            <p:cNvPr id="38" name="Plus 37"/>
            <p:cNvSpPr/>
            <p:nvPr/>
          </p:nvSpPr>
          <p:spPr bwMode="auto">
            <a:xfrm>
              <a:off x="5840508" y="3596759"/>
              <a:ext cx="719701" cy="681134"/>
            </a:xfrm>
            <a:prstGeom prst="mathPlus">
              <a:avLst/>
            </a:prstGeom>
            <a:solidFill>
              <a:srgbClr val="E8112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p:nvPicPr>
          <p:blipFill>
            <a:blip r:embed="rId4"/>
            <a:stretch>
              <a:fillRect/>
            </a:stretch>
          </p:blipFill>
          <p:spPr>
            <a:xfrm>
              <a:off x="6883564" y="3370998"/>
              <a:ext cx="1600952" cy="1205018"/>
            </a:xfrm>
            <a:prstGeom prst="rect">
              <a:avLst/>
            </a:prstGeom>
          </p:spPr>
        </p:pic>
        <p:sp>
          <p:nvSpPr>
            <p:cNvPr id="42" name="TextBox 41"/>
            <p:cNvSpPr txBox="1"/>
            <p:nvPr/>
          </p:nvSpPr>
          <p:spPr>
            <a:xfrm>
              <a:off x="6200209" y="2680442"/>
              <a:ext cx="2967662" cy="603242"/>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High Costs</a:t>
              </a:r>
            </a:p>
          </p:txBody>
        </p:sp>
      </p:grpSp>
      <p:cxnSp>
        <p:nvCxnSpPr>
          <p:cNvPr id="35" name="Straight Connector 34"/>
          <p:cNvCxnSpPr/>
          <p:nvPr/>
        </p:nvCxnSpPr>
        <p:spPr>
          <a:xfrm flipH="1" flipV="1">
            <a:off x="9731685" y="4944182"/>
            <a:ext cx="2194560" cy="880"/>
          </a:xfrm>
          <a:prstGeom prst="line">
            <a:avLst/>
          </a:prstGeom>
          <a:ln w="31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8860536" y="2526554"/>
            <a:ext cx="3607357" cy="2049462"/>
            <a:chOff x="8860536" y="2526554"/>
            <a:chExt cx="3607357" cy="2049462"/>
          </a:xfrm>
        </p:grpSpPr>
        <p:sp>
          <p:nvSpPr>
            <p:cNvPr id="37" name="Equal 36"/>
            <p:cNvSpPr/>
            <p:nvPr/>
          </p:nvSpPr>
          <p:spPr bwMode="auto">
            <a:xfrm>
              <a:off x="8860536" y="3593592"/>
              <a:ext cx="742167" cy="737125"/>
            </a:xfrm>
            <a:prstGeom prst="mathEqual">
              <a:avLst/>
            </a:prstGeom>
            <a:solidFill>
              <a:srgbClr val="E8112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6" name="Picture 35"/>
            <p:cNvPicPr>
              <a:picLocks noChangeAspect="1"/>
            </p:cNvPicPr>
            <p:nvPr/>
          </p:nvPicPr>
          <p:blipFill>
            <a:blip r:embed="rId5"/>
            <a:stretch>
              <a:fillRect/>
            </a:stretch>
          </p:blipFill>
          <p:spPr>
            <a:xfrm>
              <a:off x="10026800" y="3506463"/>
              <a:ext cx="1604330" cy="1069553"/>
            </a:xfrm>
            <a:prstGeom prst="rect">
              <a:avLst/>
            </a:prstGeom>
          </p:spPr>
        </p:pic>
        <p:sp>
          <p:nvSpPr>
            <p:cNvPr id="43" name="TextBox 42"/>
            <p:cNvSpPr txBox="1"/>
            <p:nvPr/>
          </p:nvSpPr>
          <p:spPr>
            <a:xfrm>
              <a:off x="9190037" y="2526554"/>
              <a:ext cx="3277856" cy="911019"/>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Business Can’t Move Forward</a:t>
              </a:r>
            </a:p>
          </p:txBody>
        </p:sp>
      </p:grpSp>
      <p:grpSp>
        <p:nvGrpSpPr>
          <p:cNvPr id="7" name="Group 6"/>
          <p:cNvGrpSpPr/>
          <p:nvPr/>
        </p:nvGrpSpPr>
        <p:grpSpPr>
          <a:xfrm>
            <a:off x="2864869" y="2680442"/>
            <a:ext cx="3335639" cy="1895574"/>
            <a:chOff x="2864869" y="2680442"/>
            <a:chExt cx="3335639" cy="1895574"/>
          </a:xfrm>
        </p:grpSpPr>
        <p:sp>
          <p:nvSpPr>
            <p:cNvPr id="39" name="Plus 38"/>
            <p:cNvSpPr/>
            <p:nvPr/>
          </p:nvSpPr>
          <p:spPr bwMode="auto">
            <a:xfrm>
              <a:off x="2864869" y="3596759"/>
              <a:ext cx="719701" cy="681134"/>
            </a:xfrm>
            <a:prstGeom prst="mathPlus">
              <a:avLst/>
            </a:prstGeom>
            <a:solidFill>
              <a:srgbClr val="E8112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TextBox 40"/>
            <p:cNvSpPr txBox="1"/>
            <p:nvPr/>
          </p:nvSpPr>
          <p:spPr>
            <a:xfrm>
              <a:off x="3224570" y="2680442"/>
              <a:ext cx="2975938" cy="603242"/>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Risk Management</a:t>
              </a:r>
            </a:p>
          </p:txBody>
        </p:sp>
        <p:pic>
          <p:nvPicPr>
            <p:cNvPr id="48" name="Picture 47"/>
            <p:cNvPicPr>
              <a:picLocks noChangeAspect="1"/>
            </p:cNvPicPr>
            <p:nvPr/>
          </p:nvPicPr>
          <p:blipFill>
            <a:blip r:embed="rId6"/>
            <a:stretch>
              <a:fillRect/>
            </a:stretch>
          </p:blipFill>
          <p:spPr>
            <a:xfrm>
              <a:off x="4157188" y="3242646"/>
              <a:ext cx="1028600" cy="1333370"/>
            </a:xfrm>
            <a:prstGeom prst="rect">
              <a:avLst/>
            </a:prstGeom>
          </p:spPr>
        </p:pic>
      </p:grpSp>
    </p:spTree>
    <p:extLst>
      <p:ext uri="{BB962C8B-B14F-4D97-AF65-F5344CB8AC3E}">
        <p14:creationId xmlns:p14="http://schemas.microsoft.com/office/powerpoint/2010/main" val="2287111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25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left)">
                                      <p:cBhvr>
                                        <p:cTn id="12" dur="25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wipe(left)">
                                      <p:cBhvr>
                                        <p:cTn id="17" dur="2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89564" cy="917575"/>
          </a:xfrm>
        </p:spPr>
        <p:txBody>
          <a:bodyPr/>
          <a:lstStyle/>
          <a:p>
            <a:r>
              <a:rPr lang="en-US" dirty="0"/>
              <a:t>Solving Storage Challenges with Azure</a:t>
            </a:r>
          </a:p>
        </p:txBody>
      </p:sp>
      <p:cxnSp>
        <p:nvCxnSpPr>
          <p:cNvPr id="9" name="Straight Connector 8"/>
          <p:cNvCxnSpPr/>
          <p:nvPr/>
        </p:nvCxnSpPr>
        <p:spPr>
          <a:xfrm flipH="1" flipV="1">
            <a:off x="3589437" y="4944182"/>
            <a:ext cx="2194560" cy="880"/>
          </a:xfrm>
          <a:prstGeom prst="line">
            <a:avLst/>
          </a:prstGeom>
          <a:ln w="31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flipV="1">
            <a:off x="652155" y="4931756"/>
            <a:ext cx="2194560" cy="880"/>
          </a:xfrm>
          <a:prstGeom prst="line">
            <a:avLst/>
          </a:prstGeom>
          <a:ln w="31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274320" y="2688336"/>
            <a:ext cx="2950230" cy="603242"/>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Limitless Scalability</a:t>
            </a:r>
          </a:p>
        </p:txBody>
      </p:sp>
      <p:pic>
        <p:nvPicPr>
          <p:cNvPr id="17" name="Picture 16"/>
          <p:cNvPicPr>
            <a:picLocks noChangeAspect="1"/>
          </p:cNvPicPr>
          <p:nvPr/>
        </p:nvPicPr>
        <p:blipFill>
          <a:blip r:embed="rId3"/>
          <a:stretch>
            <a:fillRect/>
          </a:stretch>
        </p:blipFill>
        <p:spPr>
          <a:xfrm>
            <a:off x="1028767" y="3407660"/>
            <a:ext cx="1441337" cy="1101399"/>
          </a:xfrm>
          <a:prstGeom prst="rect">
            <a:avLst/>
          </a:prstGeom>
        </p:spPr>
      </p:pic>
      <p:cxnSp>
        <p:nvCxnSpPr>
          <p:cNvPr id="11" name="Straight Connector 10"/>
          <p:cNvCxnSpPr/>
          <p:nvPr/>
        </p:nvCxnSpPr>
        <p:spPr>
          <a:xfrm flipH="1" flipV="1">
            <a:off x="9806627" y="4944182"/>
            <a:ext cx="2194560" cy="880"/>
          </a:xfrm>
          <a:prstGeom prst="line">
            <a:avLst/>
          </a:prstGeom>
          <a:ln w="31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8857619" y="2688336"/>
            <a:ext cx="3685216" cy="1820723"/>
            <a:chOff x="8857619" y="2688336"/>
            <a:chExt cx="3685216" cy="1820723"/>
          </a:xfrm>
        </p:grpSpPr>
        <p:sp>
          <p:nvSpPr>
            <p:cNvPr id="15" name="TextBox 14"/>
            <p:cNvSpPr txBox="1"/>
            <p:nvPr/>
          </p:nvSpPr>
          <p:spPr>
            <a:xfrm>
              <a:off x="9264979" y="2688336"/>
              <a:ext cx="3277856" cy="603242"/>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Business Agility</a:t>
              </a:r>
            </a:p>
          </p:txBody>
        </p:sp>
        <p:pic>
          <p:nvPicPr>
            <p:cNvPr id="19" name="Picture 18"/>
            <p:cNvPicPr>
              <a:picLocks noChangeAspect="1"/>
            </p:cNvPicPr>
            <p:nvPr/>
          </p:nvPicPr>
          <p:blipFill>
            <a:blip r:embed="rId4"/>
            <a:stretch>
              <a:fillRect/>
            </a:stretch>
          </p:blipFill>
          <p:spPr>
            <a:xfrm>
              <a:off x="10370955" y="3389860"/>
              <a:ext cx="1065904" cy="1119199"/>
            </a:xfrm>
            <a:prstGeom prst="rect">
              <a:avLst/>
            </a:prstGeom>
          </p:spPr>
        </p:pic>
        <p:sp>
          <p:nvSpPr>
            <p:cNvPr id="20" name="Equal 19"/>
            <p:cNvSpPr/>
            <p:nvPr/>
          </p:nvSpPr>
          <p:spPr bwMode="auto">
            <a:xfrm>
              <a:off x="8857619" y="3593592"/>
              <a:ext cx="742167" cy="737125"/>
            </a:xfrm>
            <a:prstGeom prst="mathEqual">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 name="Straight Connector 9"/>
          <p:cNvCxnSpPr/>
          <p:nvPr/>
        </p:nvCxnSpPr>
        <p:spPr>
          <a:xfrm flipH="1" flipV="1">
            <a:off x="6611318" y="4950044"/>
            <a:ext cx="2194560" cy="880"/>
          </a:xfrm>
          <a:prstGeom prst="line">
            <a:avLst/>
          </a:prstGeom>
          <a:ln w="31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839876" y="2688336"/>
            <a:ext cx="3352553" cy="1820723"/>
            <a:chOff x="5839876" y="2688336"/>
            <a:chExt cx="3352553" cy="1820723"/>
          </a:xfrm>
        </p:grpSpPr>
        <p:sp>
          <p:nvSpPr>
            <p:cNvPr id="14" name="TextBox 13"/>
            <p:cNvSpPr txBox="1"/>
            <p:nvPr/>
          </p:nvSpPr>
          <p:spPr>
            <a:xfrm>
              <a:off x="6224767" y="2688336"/>
              <a:ext cx="2967662" cy="603242"/>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Cloud Economics</a:t>
              </a:r>
            </a:p>
          </p:txBody>
        </p:sp>
        <p:pic>
          <p:nvPicPr>
            <p:cNvPr id="18" name="Picture 17"/>
            <p:cNvPicPr>
              <a:picLocks noChangeAspect="1"/>
            </p:cNvPicPr>
            <p:nvPr/>
          </p:nvPicPr>
          <p:blipFill>
            <a:blip r:embed="rId5"/>
            <a:stretch>
              <a:fillRect/>
            </a:stretch>
          </p:blipFill>
          <p:spPr>
            <a:xfrm>
              <a:off x="6909942" y="3574047"/>
              <a:ext cx="1597312" cy="935012"/>
            </a:xfrm>
            <a:prstGeom prst="rect">
              <a:avLst/>
            </a:prstGeom>
          </p:spPr>
        </p:pic>
        <p:sp>
          <p:nvSpPr>
            <p:cNvPr id="21" name="Plus 20"/>
            <p:cNvSpPr/>
            <p:nvPr/>
          </p:nvSpPr>
          <p:spPr bwMode="auto">
            <a:xfrm>
              <a:off x="5839876" y="3593592"/>
              <a:ext cx="719701" cy="681134"/>
            </a:xfrm>
            <a:prstGeom prst="mathPlus">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 name="Group 2"/>
          <p:cNvGrpSpPr/>
          <p:nvPr/>
        </p:nvGrpSpPr>
        <p:grpSpPr>
          <a:xfrm>
            <a:off x="2862072" y="2688336"/>
            <a:ext cx="3360829" cy="1820723"/>
            <a:chOff x="2862072" y="2688336"/>
            <a:chExt cx="3360829" cy="1820723"/>
          </a:xfrm>
        </p:grpSpPr>
        <p:sp>
          <p:nvSpPr>
            <p:cNvPr id="13" name="TextBox 12"/>
            <p:cNvSpPr txBox="1"/>
            <p:nvPr/>
          </p:nvSpPr>
          <p:spPr>
            <a:xfrm>
              <a:off x="3246963" y="2688336"/>
              <a:ext cx="2975938" cy="603242"/>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Trusted</a:t>
              </a:r>
            </a:p>
          </p:txBody>
        </p:sp>
        <p:sp>
          <p:nvSpPr>
            <p:cNvPr id="22" name="Plus 21"/>
            <p:cNvSpPr/>
            <p:nvPr/>
          </p:nvSpPr>
          <p:spPr bwMode="auto">
            <a:xfrm>
              <a:off x="2862072" y="3593592"/>
              <a:ext cx="719701" cy="681134"/>
            </a:xfrm>
            <a:prstGeom prst="mathPlus">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8" name="Picture 27"/>
            <p:cNvPicPr>
              <a:picLocks noChangeAspect="1"/>
            </p:cNvPicPr>
            <p:nvPr/>
          </p:nvPicPr>
          <p:blipFill>
            <a:blip r:embed="rId6"/>
            <a:stretch>
              <a:fillRect/>
            </a:stretch>
          </p:blipFill>
          <p:spPr>
            <a:xfrm>
              <a:off x="4328278" y="3575699"/>
              <a:ext cx="819071" cy="933360"/>
            </a:xfrm>
            <a:prstGeom prst="rect">
              <a:avLst/>
            </a:prstGeom>
          </p:spPr>
        </p:pic>
      </p:grpSp>
    </p:spTree>
    <p:extLst>
      <p:ext uri="{BB962C8B-B14F-4D97-AF65-F5344CB8AC3E}">
        <p14:creationId xmlns:p14="http://schemas.microsoft.com/office/powerpoint/2010/main" val="7926626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25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25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left)">
                                      <p:cBhvr>
                                        <p:cTn id="1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eatured Partner Solutions</a:t>
            </a:r>
          </a:p>
        </p:txBody>
      </p:sp>
      <p:sp>
        <p:nvSpPr>
          <p:cNvPr id="3" name="Text Placeholder 2"/>
          <p:cNvSpPr>
            <a:spLocks noGrp="1"/>
          </p:cNvSpPr>
          <p:nvPr>
            <p:ph type="body" sz="quarter" idx="10"/>
          </p:nvPr>
        </p:nvSpPr>
        <p:spPr>
          <a:xfrm>
            <a:off x="274638" y="982662"/>
            <a:ext cx="11887200" cy="708713"/>
          </a:xfrm>
        </p:spPr>
        <p:txBody>
          <a:bodyPr/>
          <a:lstStyle/>
          <a:p>
            <a:r>
              <a:rPr lang="en-US" dirty="0"/>
              <a:t>Providing Backup and Disaster Recovery with Azure</a:t>
            </a:r>
          </a:p>
        </p:txBody>
      </p:sp>
      <p:graphicFrame>
        <p:nvGraphicFramePr>
          <p:cNvPr id="4" name="Table 3"/>
          <p:cNvGraphicFramePr>
            <a:graphicFrameLocks noGrp="1"/>
          </p:cNvGraphicFramePr>
          <p:nvPr>
            <p:extLst/>
          </p:nvPr>
        </p:nvGraphicFramePr>
        <p:xfrm>
          <a:off x="655637" y="1691375"/>
          <a:ext cx="11049002" cy="4799815"/>
        </p:xfrm>
        <a:graphic>
          <a:graphicData uri="http://schemas.openxmlformats.org/drawingml/2006/table">
            <a:tbl>
              <a:tblPr firstRow="1" bandRow="1">
                <a:tableStyleId>{5940675A-B579-460E-94D1-54222C63F5DA}</a:tableStyleId>
              </a:tblPr>
              <a:tblGrid>
                <a:gridCol w="2026538">
                  <a:extLst>
                    <a:ext uri="{9D8B030D-6E8A-4147-A177-3AD203B41FA5}">
                      <a16:colId xmlns:a16="http://schemas.microsoft.com/office/drawing/2014/main" val="20000"/>
                    </a:ext>
                  </a:extLst>
                </a:gridCol>
                <a:gridCol w="4037876">
                  <a:extLst>
                    <a:ext uri="{9D8B030D-6E8A-4147-A177-3AD203B41FA5}">
                      <a16:colId xmlns:a16="http://schemas.microsoft.com/office/drawing/2014/main" val="20001"/>
                    </a:ext>
                  </a:extLst>
                </a:gridCol>
                <a:gridCol w="4984588">
                  <a:extLst>
                    <a:ext uri="{9D8B030D-6E8A-4147-A177-3AD203B41FA5}">
                      <a16:colId xmlns:a16="http://schemas.microsoft.com/office/drawing/2014/main" val="20002"/>
                    </a:ext>
                  </a:extLst>
                </a:gridCol>
              </a:tblGrid>
              <a:tr h="397370">
                <a:tc>
                  <a:txBody>
                    <a:bodyPr/>
                    <a:lstStyle/>
                    <a:p>
                      <a:pPr marL="0" algn="ctr" defTabSz="932742" rtl="0" eaLnBrk="1" latinLnBrk="0" hangingPunct="1"/>
                      <a:r>
                        <a:rPr lang="en-US" sz="1600" b="1" kern="1200" dirty="0">
                          <a:solidFill>
                            <a:schemeClr val="lt1"/>
                          </a:solidFill>
                          <a:latin typeface="+mj-lt"/>
                          <a:ea typeface="+mn-ea"/>
                          <a:cs typeface="+mn-cs"/>
                        </a:rPr>
                        <a:t>Partner</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32742" rtl="0" eaLnBrk="1" latinLnBrk="0" hangingPunct="1"/>
                      <a:r>
                        <a:rPr lang="en-US" sz="1600" b="1" kern="1200" dirty="0">
                          <a:solidFill>
                            <a:schemeClr val="lt1"/>
                          </a:solidFill>
                          <a:latin typeface="+mj-lt"/>
                          <a:ea typeface="+mn-ea"/>
                          <a:cs typeface="+mn-cs"/>
                        </a:rPr>
                        <a:t>Product Solu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32742" rtl="0" eaLnBrk="1" latinLnBrk="0" hangingPunct="1"/>
                      <a:r>
                        <a:rPr lang="en-US" sz="1600" b="1" kern="1200" dirty="0">
                          <a:solidFill>
                            <a:schemeClr val="lt1"/>
                          </a:solidFill>
                          <a:latin typeface="+mj-lt"/>
                          <a:ea typeface="+mn-ea"/>
                          <a:cs typeface="+mn-cs"/>
                        </a:rPr>
                        <a:t>Key Workload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517030">
                <a:tc>
                  <a:txBody>
                    <a:bodyPr/>
                    <a:lstStyle/>
                    <a:p>
                      <a:endParaRPr lang="en-US" dirty="0">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dirty="0">
                          <a:latin typeface="+mj-lt"/>
                          <a:hlinkClick r:id="rId3"/>
                        </a:rPr>
                        <a:t>CommVault</a:t>
                      </a:r>
                      <a:endParaRPr lang="en-US" sz="1400" b="0" dirty="0">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dirty="0">
                          <a:latin typeface="+mj-lt"/>
                        </a:rPr>
                        <a:t>Backup and DR, Workload and Data Migration, Endpoint Data Protection</a:t>
                      </a:r>
                      <a:endParaRPr lang="en-US" sz="1400" b="0" dirty="0">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79870">
                <a:tc>
                  <a:txBody>
                    <a:bodyPr/>
                    <a:lstStyle/>
                    <a:p>
                      <a:endParaRPr lang="en-US" dirty="0">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kern="1200" dirty="0">
                          <a:solidFill>
                            <a:schemeClr val="tx1"/>
                          </a:solidFill>
                          <a:latin typeface="+mj-lt"/>
                          <a:ea typeface="+mn-ea"/>
                          <a:cs typeface="+mn-cs"/>
                          <a:hlinkClick r:id="rId4"/>
                        </a:rPr>
                        <a:t>Veritas NetBackup (in Beta)</a:t>
                      </a:r>
                      <a:endParaRPr lang="en-US" sz="1400" kern="1200" dirty="0">
                        <a:solidFill>
                          <a:schemeClr val="tx1"/>
                        </a:solidFill>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j-lt"/>
                          <a:ea typeface="+mn-ea"/>
                          <a:cs typeface="+mn-cs"/>
                        </a:rPr>
                        <a:t>Backup and DR,</a:t>
                      </a:r>
                      <a:r>
                        <a:rPr lang="en-US" sz="1400" kern="1200" baseline="0" dirty="0">
                          <a:solidFill>
                            <a:schemeClr val="tx1"/>
                          </a:solidFill>
                          <a:latin typeface="+mj-lt"/>
                          <a:ea typeface="+mn-ea"/>
                          <a:cs typeface="+mn-cs"/>
                        </a:rPr>
                        <a:t> Workload and Data Migration, Endpoint Data Protection</a:t>
                      </a:r>
                      <a:endParaRPr lang="en-US" sz="1400" b="0" dirty="0">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65077865"/>
                  </a:ext>
                </a:extLst>
              </a:tr>
              <a:tr h="503705">
                <a:tc>
                  <a:txBody>
                    <a:bodyPr/>
                    <a:lstStyle/>
                    <a:p>
                      <a:endParaRPr lang="en-US" dirty="0">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0" dirty="0">
                          <a:latin typeface="+mj-lt"/>
                          <a:hlinkClick r:id="rId5"/>
                        </a:rPr>
                        <a:t>HPE Data Protector </a:t>
                      </a:r>
                      <a:r>
                        <a:rPr lang="en-US" sz="1400" b="0" dirty="0">
                          <a:latin typeface="+mj-lt"/>
                        </a:rPr>
                        <a:t>(October 9.08 release)</a:t>
                      </a:r>
                    </a:p>
                    <a:p>
                      <a:pPr algn="ctr"/>
                      <a:r>
                        <a:rPr lang="en-US" sz="1400" b="0" dirty="0">
                          <a:latin typeface="+mj-lt"/>
                          <a:hlinkClick r:id="rId6"/>
                        </a:rPr>
                        <a:t>HPE VM Explorer </a:t>
                      </a:r>
                      <a:r>
                        <a:rPr lang="en-US" sz="1400" b="0" dirty="0">
                          <a:latin typeface="+mj-lt"/>
                        </a:rPr>
                        <a:t>(September 6.2 releas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0" dirty="0">
                          <a:latin typeface="+mj-lt"/>
                        </a:rPr>
                        <a:t>Backup and DR</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48605">
                <a:tc>
                  <a:txBody>
                    <a:bodyPr/>
                    <a:lstStyle/>
                    <a:p>
                      <a:endParaRPr lang="en-US" dirty="0">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dirty="0">
                          <a:latin typeface="+mj-lt"/>
                          <a:hlinkClick r:id="rId7"/>
                        </a:rPr>
                        <a:t>NetApp AltaVault</a:t>
                      </a:r>
                      <a:endParaRPr lang="en-US" sz="1400" dirty="0">
                        <a:latin typeface="+mj-lt"/>
                      </a:endParaRPr>
                    </a:p>
                    <a:p>
                      <a:pPr algn="ctr"/>
                      <a:r>
                        <a:rPr lang="en-US" sz="1400" b="0" dirty="0">
                          <a:latin typeface="+mj-lt"/>
                          <a:hlinkClick r:id="rId8"/>
                        </a:rPr>
                        <a:t>NetApp AltaVault Cloud-Based Appliance</a:t>
                      </a:r>
                      <a:endParaRPr lang="en-US" sz="1400" b="0" dirty="0">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dirty="0">
                          <a:latin typeface="+mj-lt"/>
                        </a:rPr>
                        <a:t>Backup and DR</a:t>
                      </a:r>
                      <a:endParaRPr lang="en-US" sz="1400" b="0" dirty="0">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2353510"/>
                  </a:ext>
                </a:extLst>
              </a:tr>
              <a:tr h="287645">
                <a:tc>
                  <a:txBody>
                    <a:bodyPr/>
                    <a:lstStyle/>
                    <a:p>
                      <a:endParaRPr lang="en-US" dirty="0">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0" dirty="0">
                          <a:latin typeface="+mj-lt"/>
                          <a:hlinkClick r:id="rId9"/>
                        </a:rPr>
                        <a:t>EMC Isilon CloudPools</a:t>
                      </a:r>
                      <a:endParaRPr lang="en-US" sz="1400" b="0" dirty="0">
                        <a:latin typeface="+mj-lt"/>
                      </a:endParaRPr>
                    </a:p>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dirty="0">
                          <a:solidFill>
                            <a:schemeClr val="tx1"/>
                          </a:solidFill>
                          <a:latin typeface="+mj-lt"/>
                          <a:ea typeface="+mn-ea"/>
                          <a:cs typeface="+mn-cs"/>
                          <a:hlinkClick r:id="rId10"/>
                        </a:rPr>
                        <a:t>EMC Avamar Virtual Edition</a:t>
                      </a:r>
                      <a:endParaRPr lang="en-US" sz="1400" b="0" kern="1200" dirty="0">
                        <a:solidFill>
                          <a:schemeClr val="tx1"/>
                        </a:solidFill>
                        <a:latin typeface="+mj-lt"/>
                        <a:ea typeface="+mn-ea"/>
                        <a:cs typeface="+mn-cs"/>
                      </a:endParaRPr>
                    </a:p>
                    <a:p>
                      <a:pPr algn="ctr"/>
                      <a:r>
                        <a:rPr lang="en-US" sz="1400" b="0" dirty="0">
                          <a:latin typeface="+mj-lt"/>
                          <a:hlinkClick r:id="rId11"/>
                        </a:rPr>
                        <a:t>EMC Data Protection Suite CloudBoost</a:t>
                      </a:r>
                      <a:endParaRPr lang="en-US" sz="1400" b="0" dirty="0">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0" dirty="0">
                          <a:latin typeface="+mj-lt"/>
                        </a:rPr>
                        <a:t>Hybrid</a:t>
                      </a:r>
                      <a:r>
                        <a:rPr lang="en-US" sz="1400" b="0" baseline="0" dirty="0">
                          <a:latin typeface="+mj-lt"/>
                        </a:rPr>
                        <a:t> Storage</a:t>
                      </a:r>
                    </a:p>
                    <a:p>
                      <a:pPr algn="ctr"/>
                      <a:r>
                        <a:rPr lang="en-US" sz="1400" b="0" dirty="0">
                          <a:latin typeface="+mj-lt"/>
                        </a:rPr>
                        <a:t>Backup and DR</a:t>
                      </a:r>
                    </a:p>
                    <a:p>
                      <a:pPr algn="ctr"/>
                      <a:r>
                        <a:rPr lang="en-US" sz="1400" b="0" dirty="0">
                          <a:latin typeface="+mj-lt"/>
                        </a:rPr>
                        <a:t>Long-Term</a:t>
                      </a:r>
                      <a:r>
                        <a:rPr lang="en-US" sz="1400" b="0" baseline="0" dirty="0">
                          <a:latin typeface="+mj-lt"/>
                        </a:rPr>
                        <a:t> Retention</a:t>
                      </a:r>
                      <a:endParaRPr lang="en-US" sz="1400" b="0" dirty="0">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950700"/>
                  </a:ext>
                </a:extLst>
              </a:tr>
              <a:tr h="756984">
                <a:tc>
                  <a:txBody>
                    <a:bodyPr/>
                    <a:lstStyle/>
                    <a:p>
                      <a:endParaRPr lang="en-US" dirty="0">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kern="1200" dirty="0">
                          <a:solidFill>
                            <a:schemeClr val="tx1"/>
                          </a:solidFill>
                          <a:effectLst/>
                          <a:latin typeface="+mj-lt"/>
                          <a:ea typeface="+mn-ea"/>
                          <a:cs typeface="+mn-cs"/>
                        </a:rPr>
                        <a:t> </a:t>
                      </a:r>
                      <a:r>
                        <a:rPr lang="en-US" sz="1400" kern="1200" dirty="0">
                          <a:solidFill>
                            <a:schemeClr val="tx1"/>
                          </a:solidFill>
                          <a:latin typeface="+mj-lt"/>
                          <a:ea typeface="+mn-ea"/>
                          <a:cs typeface="+mn-cs"/>
                          <a:hlinkClick r:id="rId12"/>
                        </a:rPr>
                        <a:t>Veeam® Cloud Connect™ for the</a:t>
                      </a:r>
                      <a:r>
                        <a:rPr lang="en-US" sz="1400" kern="1200" baseline="0" dirty="0">
                          <a:solidFill>
                            <a:schemeClr val="tx1"/>
                          </a:solidFill>
                          <a:latin typeface="+mj-lt"/>
                          <a:ea typeface="+mn-ea"/>
                          <a:cs typeface="+mn-cs"/>
                          <a:hlinkClick r:id="rId12"/>
                        </a:rPr>
                        <a:t> Enterprise</a:t>
                      </a:r>
                      <a:endParaRPr lang="en-US" sz="1400" kern="1200" baseline="0" dirty="0">
                        <a:solidFill>
                          <a:schemeClr val="tx1"/>
                        </a:solidFill>
                        <a:latin typeface="+mj-lt"/>
                        <a:ea typeface="+mn-ea"/>
                        <a:cs typeface="+mn-cs"/>
                      </a:endParaRPr>
                    </a:p>
                    <a:p>
                      <a:pPr algn="ctr"/>
                      <a:r>
                        <a:rPr lang="en-US" sz="1400" kern="1200" baseline="0" dirty="0">
                          <a:solidFill>
                            <a:schemeClr val="tx1"/>
                          </a:solidFill>
                          <a:latin typeface="+mj-lt"/>
                          <a:ea typeface="+mn-ea"/>
                          <a:cs typeface="+mn-cs"/>
                          <a:hlinkClick r:id="rId13"/>
                        </a:rPr>
                        <a:t>Veeam</a:t>
                      </a:r>
                      <a:r>
                        <a:rPr lang="en-US" sz="1400" kern="1200" dirty="0">
                          <a:solidFill>
                            <a:schemeClr val="tx1"/>
                          </a:solidFill>
                          <a:latin typeface="+mj-lt"/>
                          <a:ea typeface="+mn-ea"/>
                          <a:cs typeface="+mn-cs"/>
                          <a:hlinkClick r:id="rId13"/>
                        </a:rPr>
                        <a:t>®</a:t>
                      </a:r>
                      <a:r>
                        <a:rPr lang="en-US" sz="1400" kern="1200" baseline="0" dirty="0">
                          <a:solidFill>
                            <a:schemeClr val="tx1"/>
                          </a:solidFill>
                          <a:latin typeface="+mj-lt"/>
                          <a:ea typeface="+mn-ea"/>
                          <a:cs typeface="+mn-cs"/>
                          <a:hlinkClick r:id="rId13"/>
                        </a:rPr>
                        <a:t> Cloud Connect</a:t>
                      </a:r>
                      <a:r>
                        <a:rPr lang="en-US" sz="1400" kern="1200" dirty="0">
                          <a:solidFill>
                            <a:schemeClr val="tx1"/>
                          </a:solidFill>
                          <a:latin typeface="+mj-lt"/>
                          <a:ea typeface="+mn-ea"/>
                          <a:cs typeface="+mn-cs"/>
                          <a:hlinkClick r:id="rId13"/>
                        </a:rPr>
                        <a:t>™</a:t>
                      </a:r>
                      <a:r>
                        <a:rPr lang="en-US" sz="1400" kern="1200" baseline="0" dirty="0">
                          <a:solidFill>
                            <a:schemeClr val="tx1"/>
                          </a:solidFill>
                          <a:latin typeface="+mj-lt"/>
                          <a:ea typeface="+mn-ea"/>
                          <a:cs typeface="+mn-cs"/>
                          <a:hlinkClick r:id="rId13"/>
                        </a:rPr>
                        <a:t> for Service Providers</a:t>
                      </a:r>
                      <a:endParaRPr lang="en-US" sz="1400" kern="1200" baseline="0" dirty="0">
                        <a:solidFill>
                          <a:schemeClr val="tx1"/>
                        </a:solidFill>
                        <a:latin typeface="+mj-lt"/>
                        <a:ea typeface="+mn-ea"/>
                        <a:cs typeface="+mn-cs"/>
                      </a:endParaRPr>
                    </a:p>
                    <a:p>
                      <a:pPr algn="ctr"/>
                      <a:r>
                        <a:rPr lang="en-US" sz="1400" kern="1200" baseline="0" dirty="0">
                          <a:solidFill>
                            <a:schemeClr val="tx1"/>
                          </a:solidFill>
                          <a:latin typeface="+mj-lt"/>
                          <a:ea typeface="+mn-ea"/>
                          <a:cs typeface="+mn-cs"/>
                          <a:hlinkClick r:id="rId14"/>
                        </a:rPr>
                        <a:t>Veeam</a:t>
                      </a:r>
                      <a:r>
                        <a:rPr lang="en-US" sz="1400" kern="1200" dirty="0">
                          <a:solidFill>
                            <a:schemeClr val="tx1"/>
                          </a:solidFill>
                          <a:latin typeface="+mj-lt"/>
                          <a:ea typeface="+mn-ea"/>
                          <a:cs typeface="+mn-cs"/>
                          <a:hlinkClick r:id="rId14"/>
                        </a:rPr>
                        <a:t>®</a:t>
                      </a:r>
                      <a:r>
                        <a:rPr lang="en-US" sz="1400" kern="1200" baseline="0" dirty="0">
                          <a:solidFill>
                            <a:schemeClr val="tx1"/>
                          </a:solidFill>
                          <a:latin typeface="+mj-lt"/>
                          <a:ea typeface="+mn-ea"/>
                          <a:cs typeface="+mn-cs"/>
                          <a:hlinkClick r:id="rId14"/>
                        </a:rPr>
                        <a:t> Direct Restore to Azure</a:t>
                      </a:r>
                      <a:endParaRPr lang="en-US" sz="1400" kern="1200" dirty="0">
                        <a:solidFill>
                          <a:schemeClr val="tx1"/>
                        </a:solidFill>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dirty="0">
                          <a:latin typeface="+mj-lt"/>
                        </a:rPr>
                        <a:t>Backup and DR,</a:t>
                      </a:r>
                      <a:r>
                        <a:rPr lang="en-US" sz="1400" baseline="0" dirty="0">
                          <a:latin typeface="+mj-lt"/>
                        </a:rPr>
                        <a:t> Workload and Data Migration, Endpoint Data Protection</a:t>
                      </a:r>
                      <a:endParaRPr lang="en-US" sz="1400" b="0" dirty="0">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15180957"/>
                  </a:ext>
                </a:extLst>
              </a:tr>
              <a:tr h="475541">
                <a:tc>
                  <a:txBody>
                    <a:bodyPr/>
                    <a:lstStyle/>
                    <a:p>
                      <a:endParaRPr lang="en-US" dirty="0">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400" dirty="0">
                          <a:latin typeface="+mj-lt"/>
                          <a:hlinkClick r:id="rId15"/>
                        </a:rPr>
                        <a:t>Dell Rapid</a:t>
                      </a:r>
                      <a:r>
                        <a:rPr lang="en-US" sz="1400" baseline="0" dirty="0">
                          <a:latin typeface="+mj-lt"/>
                          <a:hlinkClick r:id="rId15"/>
                        </a:rPr>
                        <a:t> Recovery</a:t>
                      </a:r>
                      <a:r>
                        <a:rPr lang="en-US" sz="1400" dirty="0">
                          <a:latin typeface="+mj-lt"/>
                          <a:hlinkClick r:id="rId15"/>
                        </a:rPr>
                        <a:t> Replication Target for Azure</a:t>
                      </a:r>
                      <a:endParaRPr lang="en-US" sz="1400" b="0" dirty="0">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400" dirty="0">
                          <a:latin typeface="+mj-lt"/>
                        </a:rPr>
                        <a:t>Backup and DR, Archiving</a:t>
                      </a:r>
                      <a:endParaRPr lang="en-US" sz="1400" b="0" dirty="0">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3376672"/>
                  </a:ext>
                </a:extLst>
              </a:tr>
              <a:tr h="350636">
                <a:tc>
                  <a:txBody>
                    <a:bodyPr/>
                    <a:lstStyle/>
                    <a:p>
                      <a:endParaRPr lang="en-US" dirty="0">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400" b="0" dirty="0">
                          <a:latin typeface="+mj-lt"/>
                          <a:hlinkClick r:id="rId16"/>
                        </a:rPr>
                        <a:t>DatacastleRed</a:t>
                      </a:r>
                      <a:endParaRPr lang="en-US" sz="1400" b="0" dirty="0">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400" b="0" dirty="0">
                          <a:latin typeface="+mj-lt"/>
                        </a:rPr>
                        <a:t>Endpoint Data Protec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3334092"/>
                  </a:ext>
                </a:extLst>
              </a:tr>
            </a:tbl>
          </a:graphicData>
        </a:graphic>
      </p:graphicFrame>
      <p:pic>
        <p:nvPicPr>
          <p:cNvPr id="6" name="Picture 5"/>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939930" y="4962896"/>
            <a:ext cx="1351023" cy="513331"/>
          </a:xfrm>
          <a:prstGeom prst="rect">
            <a:avLst/>
          </a:prstGeom>
          <a:noFill/>
        </p:spPr>
      </p:pic>
      <p:pic>
        <p:nvPicPr>
          <p:cNvPr id="7" name="Picture 6"/>
          <p:cNvPicPr>
            <a:picLocks noChangeAspect="1"/>
          </p:cNvPicPr>
          <p:nvPr/>
        </p:nvPicPr>
        <p:blipFill>
          <a:blip r:embed="rId18" cstate="email">
            <a:clrChange>
              <a:clrFrom>
                <a:srgbClr val="F8F8F8"/>
              </a:clrFrom>
              <a:clrTo>
                <a:srgbClr val="F8F8F8">
                  <a:alpha val="0"/>
                </a:srgbClr>
              </a:clrTo>
            </a:clrChange>
            <a:extLst>
              <a:ext uri="{28A0092B-C50C-407E-A947-70E740481C1C}">
                <a14:useLocalDpi xmlns:a14="http://schemas.microsoft.com/office/drawing/2010/main"/>
              </a:ext>
            </a:extLst>
          </a:blip>
          <a:stretch>
            <a:fillRect/>
          </a:stretch>
        </p:blipFill>
        <p:spPr>
          <a:xfrm>
            <a:off x="867869" y="3591122"/>
            <a:ext cx="1619077" cy="613040"/>
          </a:xfrm>
          <a:prstGeom prst="rect">
            <a:avLst/>
          </a:prstGeom>
          <a:noFill/>
        </p:spPr>
      </p:pic>
      <p:pic>
        <p:nvPicPr>
          <p:cNvPr id="9" name="Picture 8"/>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513088" y="5702927"/>
            <a:ext cx="397727" cy="407099"/>
          </a:xfrm>
          <a:prstGeom prst="rect">
            <a:avLst/>
          </a:prstGeom>
          <a:noFill/>
        </p:spPr>
      </p:pic>
      <p:pic>
        <p:nvPicPr>
          <p:cNvPr id="14" name="Picture 13"/>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1430574" y="4267038"/>
            <a:ext cx="493666" cy="493666"/>
          </a:xfrm>
          <a:prstGeom prst="rect">
            <a:avLst/>
          </a:prstGeom>
        </p:spPr>
      </p:pic>
      <p:pic>
        <p:nvPicPr>
          <p:cNvPr id="11" name="Picture 10"/>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1090276" y="6149767"/>
            <a:ext cx="1174262" cy="285737"/>
          </a:xfrm>
          <a:prstGeom prst="rect">
            <a:avLst/>
          </a:prstGeom>
        </p:spPr>
      </p:pic>
      <p:pic>
        <p:nvPicPr>
          <p:cNvPr id="12" name="Picture 11"/>
          <p:cNvPicPr>
            <a:picLocks noChangeAspect="1"/>
          </p:cNvPicPr>
          <p:nvPr/>
        </p:nvPicPr>
        <p:blipFill>
          <a:blip r:embed="rId2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63864" y="2699804"/>
            <a:ext cx="1227089" cy="305409"/>
          </a:xfrm>
          <a:prstGeom prst="rect">
            <a:avLst/>
          </a:prstGeom>
        </p:spPr>
      </p:pic>
      <p:pic>
        <p:nvPicPr>
          <p:cNvPr id="10" name="Picture 9"/>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898058" y="2211015"/>
            <a:ext cx="1567520" cy="257334"/>
          </a:xfrm>
          <a:prstGeom prst="rect">
            <a:avLst/>
          </a:prstGeom>
        </p:spPr>
      </p:pic>
      <p:pic>
        <p:nvPicPr>
          <p:cNvPr id="5" name="Picture 4"/>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1158060" y="3160500"/>
            <a:ext cx="1038696" cy="442356"/>
          </a:xfrm>
          <a:prstGeom prst="rect">
            <a:avLst/>
          </a:prstGeom>
        </p:spPr>
      </p:pic>
    </p:spTree>
    <p:extLst>
      <p:ext uri="{BB962C8B-B14F-4D97-AF65-F5344CB8AC3E}">
        <p14:creationId xmlns:p14="http://schemas.microsoft.com/office/powerpoint/2010/main" val="74456877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Days Overview</a:t>
            </a:r>
          </a:p>
        </p:txBody>
      </p:sp>
      <p:sp>
        <p:nvSpPr>
          <p:cNvPr id="3" name="Text Placeholder 2"/>
          <p:cNvSpPr>
            <a:spLocks noGrp="1"/>
          </p:cNvSpPr>
          <p:nvPr>
            <p:ph type="body" sz="quarter" idx="14"/>
          </p:nvPr>
        </p:nvSpPr>
        <p:spPr>
          <a:xfrm>
            <a:off x="273049" y="3828783"/>
            <a:ext cx="7850187" cy="1381229"/>
          </a:xfrm>
        </p:spPr>
        <p:txBody>
          <a:bodyPr/>
          <a:lstStyle/>
          <a:p>
            <a:r>
              <a:rPr lang="en-US" dirty="0"/>
              <a:t>Rhys Ziemer</a:t>
            </a:r>
          </a:p>
          <a:p>
            <a:r>
              <a:rPr lang="en-US" dirty="0"/>
              <a:t>Azure Technical Director, Microsoft Federal</a:t>
            </a:r>
          </a:p>
        </p:txBody>
      </p:sp>
    </p:spTree>
    <p:extLst>
      <p:ext uri="{BB962C8B-B14F-4D97-AF65-F5344CB8AC3E}">
        <p14:creationId xmlns:p14="http://schemas.microsoft.com/office/powerpoint/2010/main" val="2765548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9866" y="275646"/>
            <a:ext cx="11496192" cy="680462"/>
          </a:xfrm>
        </p:spPr>
        <p:txBody>
          <a:bodyPr/>
          <a:lstStyle/>
          <a:p>
            <a:r>
              <a:rPr lang="en-US" b="1" dirty="0"/>
              <a:t>Azure Storage Resources</a:t>
            </a:r>
          </a:p>
        </p:txBody>
      </p:sp>
      <p:sp>
        <p:nvSpPr>
          <p:cNvPr id="3" name="Text Placeholder 2"/>
          <p:cNvSpPr>
            <a:spLocks noGrp="1"/>
          </p:cNvSpPr>
          <p:nvPr>
            <p:ph type="body" sz="quarter" idx="10"/>
          </p:nvPr>
        </p:nvSpPr>
        <p:spPr>
          <a:xfrm>
            <a:off x="631258" y="1135062"/>
            <a:ext cx="10692379" cy="1569660"/>
          </a:xfrm>
        </p:spPr>
        <p:txBody>
          <a:bodyPr/>
          <a:lstStyle/>
          <a:p>
            <a:pPr defTabSz="914400" fontAlgn="t">
              <a:lnSpc>
                <a:spcPct val="100000"/>
              </a:lnSpc>
              <a:spcBef>
                <a:spcPts val="0"/>
              </a:spcBef>
              <a:buSzTx/>
              <a:defRPr/>
            </a:pPr>
            <a:endParaRPr lang="en-US" sz="1800" dirty="0">
              <a:gradFill>
                <a:gsLst>
                  <a:gs pos="1250">
                    <a:schemeClr val="tx1"/>
                  </a:gs>
                  <a:gs pos="100000">
                    <a:schemeClr val="tx1"/>
                  </a:gs>
                </a:gsLst>
                <a:lin ang="5400000" scaled="0"/>
              </a:gradFill>
              <a:latin typeface="+mn-lt"/>
            </a:endParaRPr>
          </a:p>
          <a:p>
            <a:pPr defTabSz="914400" fontAlgn="t">
              <a:lnSpc>
                <a:spcPct val="100000"/>
              </a:lnSpc>
              <a:spcBef>
                <a:spcPts val="0"/>
              </a:spcBef>
              <a:buSzTx/>
              <a:defRPr/>
            </a:pPr>
            <a:r>
              <a:rPr lang="en-US" sz="1800" dirty="0">
                <a:gradFill>
                  <a:gsLst>
                    <a:gs pos="1250">
                      <a:schemeClr val="tx1"/>
                    </a:gs>
                    <a:gs pos="100000">
                      <a:schemeClr val="tx1"/>
                    </a:gs>
                  </a:gsLst>
                  <a:lin ang="5400000" scaled="0"/>
                </a:gradFill>
                <a:latin typeface="+mn-lt"/>
              </a:rPr>
              <a:t>Documentation			</a:t>
            </a:r>
            <a:r>
              <a:rPr lang="en-US" sz="1800" dirty="0">
                <a:gradFill>
                  <a:gsLst>
                    <a:gs pos="1250">
                      <a:schemeClr val="tx1"/>
                    </a:gs>
                    <a:gs pos="100000">
                      <a:schemeClr val="tx1"/>
                    </a:gs>
                  </a:gsLst>
                  <a:lin ang="5400000" scaled="0"/>
                </a:gradFill>
                <a:latin typeface="+mn-lt"/>
                <a:hlinkClick r:id="rId3"/>
              </a:rPr>
              <a:t>http://Aka.ms/AzureStorageDocs</a:t>
            </a:r>
            <a:r>
              <a:rPr lang="en-US" sz="1800" dirty="0">
                <a:gradFill>
                  <a:gsLst>
                    <a:gs pos="1250">
                      <a:schemeClr val="tx1"/>
                    </a:gs>
                    <a:gs pos="100000">
                      <a:schemeClr val="tx1"/>
                    </a:gs>
                  </a:gsLst>
                  <a:lin ang="5400000" scaled="0"/>
                </a:gradFill>
                <a:latin typeface="+mn-lt"/>
              </a:rPr>
              <a:t> </a:t>
            </a:r>
          </a:p>
          <a:p>
            <a:pPr defTabSz="914400" fontAlgn="t">
              <a:lnSpc>
                <a:spcPct val="100000"/>
              </a:lnSpc>
              <a:spcBef>
                <a:spcPts val="0"/>
              </a:spcBef>
              <a:buSzTx/>
              <a:defRPr/>
            </a:pPr>
            <a:r>
              <a:rPr lang="en-US" sz="1800" dirty="0" err="1">
                <a:gradFill>
                  <a:gsLst>
                    <a:gs pos="1250">
                      <a:schemeClr val="tx1"/>
                    </a:gs>
                    <a:gs pos="100000">
                      <a:schemeClr val="tx1"/>
                    </a:gs>
                  </a:gsLst>
                  <a:lin ang="5400000" scaled="0"/>
                </a:gradFill>
                <a:latin typeface="+mn-lt"/>
              </a:rPr>
              <a:t>StackOverFlow</a:t>
            </a:r>
            <a:r>
              <a:rPr lang="en-US" sz="1800" dirty="0">
                <a:gradFill>
                  <a:gsLst>
                    <a:gs pos="1250">
                      <a:schemeClr val="tx1"/>
                    </a:gs>
                    <a:gs pos="100000">
                      <a:schemeClr val="tx1"/>
                    </a:gs>
                  </a:gsLst>
                  <a:lin ang="5400000" scaled="0"/>
                </a:gradFill>
                <a:latin typeface="+mn-lt"/>
              </a:rPr>
              <a:t> user forum		</a:t>
            </a:r>
            <a:r>
              <a:rPr lang="en-US" sz="1800" dirty="0">
                <a:gradFill>
                  <a:gsLst>
                    <a:gs pos="1250">
                      <a:schemeClr val="tx1"/>
                    </a:gs>
                    <a:gs pos="100000">
                      <a:schemeClr val="tx1"/>
                    </a:gs>
                  </a:gsLst>
                  <a:lin ang="5400000" scaled="0"/>
                </a:gradFill>
                <a:latin typeface="+mn-lt"/>
                <a:hlinkClick r:id="rId4"/>
              </a:rPr>
              <a:t>http://Aka.ms/AzureStorageStackOverflow</a:t>
            </a:r>
            <a:r>
              <a:rPr lang="en-US" sz="1800" dirty="0">
                <a:gradFill>
                  <a:gsLst>
                    <a:gs pos="1250">
                      <a:schemeClr val="tx1"/>
                    </a:gs>
                    <a:gs pos="100000">
                      <a:schemeClr val="tx1"/>
                    </a:gs>
                  </a:gsLst>
                  <a:lin ang="5400000" scaled="0"/>
                </a:gradFill>
                <a:latin typeface="+mn-lt"/>
              </a:rPr>
              <a:t> </a:t>
            </a:r>
          </a:p>
          <a:p>
            <a:pPr defTabSz="914400" fontAlgn="t">
              <a:lnSpc>
                <a:spcPct val="100000"/>
              </a:lnSpc>
              <a:spcBef>
                <a:spcPts val="0"/>
              </a:spcBef>
              <a:buSzTx/>
              <a:defRPr/>
            </a:pPr>
            <a:r>
              <a:rPr lang="en-US" sz="1800" dirty="0">
                <a:gradFill>
                  <a:gsLst>
                    <a:gs pos="1250">
                      <a:schemeClr val="tx1"/>
                    </a:gs>
                    <a:gs pos="100000">
                      <a:schemeClr val="tx1"/>
                    </a:gs>
                  </a:gsLst>
                  <a:lin ang="5400000" scaled="0"/>
                </a:gradFill>
                <a:latin typeface="+mn-lt"/>
              </a:rPr>
              <a:t>MSDN user forum 		</a:t>
            </a:r>
            <a:r>
              <a:rPr lang="en-US" sz="1800" dirty="0">
                <a:gradFill>
                  <a:gsLst>
                    <a:gs pos="1250">
                      <a:schemeClr val="tx1"/>
                    </a:gs>
                    <a:gs pos="100000">
                      <a:schemeClr val="tx1"/>
                    </a:gs>
                  </a:gsLst>
                  <a:lin ang="5400000" scaled="0"/>
                </a:gradFill>
                <a:latin typeface="+mn-lt"/>
                <a:hlinkClick r:id="rId5"/>
              </a:rPr>
              <a:t>http://Aka.ms/AzureStorageMSDNForum</a:t>
            </a:r>
            <a:r>
              <a:rPr lang="en-US" sz="1800" dirty="0">
                <a:gradFill>
                  <a:gsLst>
                    <a:gs pos="1250">
                      <a:schemeClr val="tx1"/>
                    </a:gs>
                    <a:gs pos="100000">
                      <a:schemeClr val="tx1"/>
                    </a:gs>
                  </a:gsLst>
                  <a:lin ang="5400000" scaled="0"/>
                </a:gradFill>
                <a:latin typeface="+mn-lt"/>
              </a:rPr>
              <a:t> </a:t>
            </a:r>
          </a:p>
          <a:p>
            <a:pPr defTabSz="914400" fontAlgn="t">
              <a:lnSpc>
                <a:spcPct val="100000"/>
              </a:lnSpc>
              <a:spcBef>
                <a:spcPts val="0"/>
              </a:spcBef>
              <a:buSzTx/>
              <a:defRPr/>
            </a:pPr>
            <a:r>
              <a:rPr lang="en-US" sz="1800" dirty="0">
                <a:gradFill>
                  <a:gsLst>
                    <a:gs pos="1250">
                      <a:schemeClr val="tx1"/>
                    </a:gs>
                    <a:gs pos="100000">
                      <a:schemeClr val="tx1"/>
                    </a:gs>
                  </a:gsLst>
                  <a:lin ang="5400000" scaled="0"/>
                </a:gradFill>
                <a:latin typeface="+mn-lt"/>
              </a:rPr>
              <a:t>Azure Storage Feedback email	</a:t>
            </a:r>
            <a:r>
              <a:rPr lang="en-US" sz="1800" dirty="0">
                <a:gradFill>
                  <a:gsLst>
                    <a:gs pos="1250">
                      <a:schemeClr val="tx1"/>
                    </a:gs>
                    <a:gs pos="100000">
                      <a:schemeClr val="tx1"/>
                    </a:gs>
                  </a:gsLst>
                  <a:lin ang="5400000" scaled="0"/>
                </a:gradFill>
                <a:latin typeface="+mn-lt"/>
                <a:hlinkClick r:id="rId6"/>
              </a:rPr>
              <a:t>AzureStorageTeam@microsoft.com</a:t>
            </a:r>
            <a:r>
              <a:rPr lang="en-US" sz="1800" dirty="0">
                <a:gradFill>
                  <a:gsLst>
                    <a:gs pos="1250">
                      <a:schemeClr val="tx1"/>
                    </a:gs>
                    <a:gs pos="100000">
                      <a:schemeClr val="tx1"/>
                    </a:gs>
                  </a:gsLst>
                  <a:lin ang="5400000" scaled="0"/>
                </a:gradFill>
                <a:latin typeface="+mn-lt"/>
              </a:rPr>
              <a:t> </a:t>
            </a:r>
          </a:p>
        </p:txBody>
      </p:sp>
    </p:spTree>
    <p:extLst>
      <p:ext uri="{BB962C8B-B14F-4D97-AF65-F5344CB8AC3E}">
        <p14:creationId xmlns:p14="http://schemas.microsoft.com/office/powerpoint/2010/main" val="22108097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01" y="1993498"/>
            <a:ext cx="8762935" cy="1828800"/>
          </a:xfrm>
        </p:spPr>
        <p:txBody>
          <a:bodyPr/>
          <a:lstStyle/>
          <a:p>
            <a:r>
              <a:rPr lang="en-US" dirty="0"/>
              <a:t>Modernizing Enterprise Applications with Azure</a:t>
            </a:r>
          </a:p>
        </p:txBody>
      </p:sp>
      <p:sp>
        <p:nvSpPr>
          <p:cNvPr id="3" name="Text Placeholder 2"/>
          <p:cNvSpPr>
            <a:spLocks noGrp="1"/>
          </p:cNvSpPr>
          <p:nvPr>
            <p:ph type="body" sz="quarter" idx="14"/>
          </p:nvPr>
        </p:nvSpPr>
        <p:spPr/>
        <p:txBody>
          <a:bodyPr/>
          <a:lstStyle/>
          <a:p>
            <a:r>
              <a:rPr lang="en-US" dirty="0"/>
              <a:t>Eric Baran</a:t>
            </a:r>
          </a:p>
          <a:p>
            <a:r>
              <a:rPr lang="en-US" dirty="0"/>
              <a:t>Sales Solution Specialist, USPS DX</a:t>
            </a:r>
          </a:p>
          <a:p>
            <a:endParaRPr lang="en-US" dirty="0"/>
          </a:p>
        </p:txBody>
      </p:sp>
    </p:spTree>
    <p:extLst>
      <p:ext uri="{BB962C8B-B14F-4D97-AF65-F5344CB8AC3E}">
        <p14:creationId xmlns:p14="http://schemas.microsoft.com/office/powerpoint/2010/main" val="2928016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42" y="1324820"/>
            <a:ext cx="11885514" cy="5823078"/>
          </a:xfrm>
        </p:spPr>
        <p:txBody>
          <a:bodyPr/>
          <a:lstStyle/>
          <a:p>
            <a:r>
              <a:rPr lang="en-US" sz="3200" b="1" u="sng" dirty="0"/>
              <a:t>Dev/Ops</a:t>
            </a:r>
            <a:r>
              <a:rPr lang="en-US" sz="3200" dirty="0"/>
              <a:t>: What does this mean?  How did Microsoft put this into practice, to transform our company?</a:t>
            </a:r>
          </a:p>
          <a:p>
            <a:endParaRPr lang="en-US" sz="3200" dirty="0"/>
          </a:p>
          <a:p>
            <a:r>
              <a:rPr lang="en-US" sz="3200" b="1" u="sng" dirty="0"/>
              <a:t>The Dev/Ops Discipline</a:t>
            </a:r>
            <a:r>
              <a:rPr lang="en-US" sz="3200" dirty="0"/>
              <a:t>: Is the place every single customer starts with Cloud, and are our keys to </a:t>
            </a:r>
            <a:r>
              <a:rPr lang="en-US" sz="3200" b="1" dirty="0"/>
              <a:t>big $$$$ Commit/Consume.</a:t>
            </a:r>
          </a:p>
          <a:p>
            <a:endParaRPr lang="en-US" sz="3200" dirty="0"/>
          </a:p>
          <a:p>
            <a:r>
              <a:rPr lang="en-US" sz="3200" b="1" u="sng" dirty="0"/>
              <a:t>Our Competitive Differentiation</a:t>
            </a:r>
            <a:r>
              <a:rPr lang="en-US" sz="3200" dirty="0"/>
              <a:t>: We are the only vendor with a seamlessly integrated Development Platform, to our Cloud Services.  Think, “OMS for the creation of the service environments, with our Team Services”</a:t>
            </a:r>
          </a:p>
          <a:p>
            <a:pPr lvl="1"/>
            <a:endParaRPr lang="en-US" dirty="0"/>
          </a:p>
          <a:p>
            <a:pPr lvl="1"/>
            <a:endParaRPr lang="en-US" dirty="0"/>
          </a:p>
        </p:txBody>
      </p:sp>
      <p:sp>
        <p:nvSpPr>
          <p:cNvPr id="3" name="Title 2"/>
          <p:cNvSpPr>
            <a:spLocks noGrp="1"/>
          </p:cNvSpPr>
          <p:nvPr>
            <p:ph type="title"/>
          </p:nvPr>
        </p:nvSpPr>
        <p:spPr>
          <a:xfrm>
            <a:off x="274642" y="183310"/>
            <a:ext cx="11889564" cy="917575"/>
          </a:xfrm>
        </p:spPr>
        <p:txBody>
          <a:bodyPr/>
          <a:lstStyle/>
          <a:p>
            <a:r>
              <a:rPr lang="en-US" dirty="0"/>
              <a:t>3 Things to Learn:</a:t>
            </a:r>
          </a:p>
        </p:txBody>
      </p:sp>
    </p:spTree>
    <p:extLst>
      <p:ext uri="{BB962C8B-B14F-4D97-AF65-F5344CB8AC3E}">
        <p14:creationId xmlns:p14="http://schemas.microsoft.com/office/powerpoint/2010/main" val="234846648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2984" y="295288"/>
            <a:ext cx="11889564" cy="917575"/>
          </a:xfrm>
        </p:spPr>
        <p:txBody>
          <a:bodyPr/>
          <a:lstStyle/>
          <a:p>
            <a:r>
              <a:rPr lang="en-US" sz="4400" u="sng" dirty="0">
                <a:latin typeface="+mn-lt"/>
              </a:rPr>
              <a:t>Enable Value Delivery – The Keys to Azure PaaS</a:t>
            </a:r>
          </a:p>
        </p:txBody>
      </p:sp>
      <p:sp>
        <p:nvSpPr>
          <p:cNvPr id="13" name="Rectangle 12"/>
          <p:cNvSpPr/>
          <p:nvPr/>
        </p:nvSpPr>
        <p:spPr>
          <a:xfrm>
            <a:off x="2213129" y="4566741"/>
            <a:ext cx="985921" cy="554004"/>
          </a:xfrm>
          <a:prstGeom prst="rect">
            <a:avLst/>
          </a:prstGeom>
        </p:spPr>
        <p:txBody>
          <a:bodyPr wrap="none" lIns="109733" tIns="54867" rIns="109733" bIns="54867">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096978" rtl="0" eaLnBrk="1" fontAlgn="base" latinLnBrk="0" hangingPunct="1">
              <a:lnSpc>
                <a:spcPct val="90000"/>
              </a:lnSpc>
              <a:spcBef>
                <a:spcPct val="0"/>
              </a:spcBef>
              <a:spcAft>
                <a:spcPct val="0"/>
              </a:spcAft>
              <a:buClrTx/>
              <a:buSzTx/>
              <a:buFontTx/>
              <a:buNone/>
              <a:tabLst/>
              <a:defRPr/>
            </a:pPr>
            <a:r>
              <a:rPr kumimoji="0" lang="en-US" sz="3200" b="0" i="1" u="none" strike="noStrike" kern="0" cap="none" spc="-60" normalizeH="0" baseline="0" noProof="0" dirty="0">
                <a:ln>
                  <a:noFill/>
                </a:ln>
                <a:solidFill>
                  <a:srgbClr val="000000"/>
                </a:solidFill>
                <a:effectLst/>
                <a:uLnTx/>
                <a:uFillTx/>
                <a:latin typeface="Segoe UI"/>
                <a:ea typeface="+mn-ea"/>
                <a:cs typeface="+mn-cs"/>
              </a:rPr>
              <a:t>Plan</a:t>
            </a:r>
          </a:p>
        </p:txBody>
      </p:sp>
      <p:sp>
        <p:nvSpPr>
          <p:cNvPr id="14" name="Rectangle 13"/>
          <p:cNvSpPr/>
          <p:nvPr/>
        </p:nvSpPr>
        <p:spPr>
          <a:xfrm>
            <a:off x="3632020" y="4579628"/>
            <a:ext cx="1664953" cy="554004"/>
          </a:xfrm>
          <a:prstGeom prst="rect">
            <a:avLst/>
          </a:prstGeom>
        </p:spPr>
        <p:txBody>
          <a:bodyPr wrap="none" lIns="109733" tIns="54867" rIns="109733" bIns="54867">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096978" rtl="0" eaLnBrk="1" fontAlgn="base" latinLnBrk="0" hangingPunct="1">
              <a:lnSpc>
                <a:spcPct val="90000"/>
              </a:lnSpc>
              <a:spcBef>
                <a:spcPct val="0"/>
              </a:spcBef>
              <a:spcAft>
                <a:spcPct val="0"/>
              </a:spcAft>
              <a:buClrTx/>
              <a:buSzTx/>
              <a:buFontTx/>
              <a:buNone/>
              <a:tabLst/>
              <a:defRPr/>
            </a:pPr>
            <a:r>
              <a:rPr kumimoji="0" lang="en-US" sz="3200" b="0" i="1" u="none" strike="noStrike" kern="0" cap="none" spc="-60" normalizeH="0" baseline="0" noProof="0" dirty="0">
                <a:ln>
                  <a:noFill/>
                </a:ln>
                <a:solidFill>
                  <a:srgbClr val="000000"/>
                </a:solidFill>
                <a:effectLst/>
                <a:uLnTx/>
                <a:uFillTx/>
                <a:latin typeface="Segoe UI"/>
                <a:ea typeface="+mn-ea"/>
                <a:cs typeface="+mn-cs"/>
              </a:rPr>
              <a:t>Develop</a:t>
            </a:r>
          </a:p>
        </p:txBody>
      </p:sp>
      <p:sp>
        <p:nvSpPr>
          <p:cNvPr id="15" name="Rectangle 14"/>
          <p:cNvSpPr/>
          <p:nvPr/>
        </p:nvSpPr>
        <p:spPr>
          <a:xfrm>
            <a:off x="7634379" y="4590804"/>
            <a:ext cx="1639305" cy="554004"/>
          </a:xfrm>
          <a:prstGeom prst="rect">
            <a:avLst/>
          </a:prstGeom>
        </p:spPr>
        <p:txBody>
          <a:bodyPr wrap="none" lIns="109733" tIns="54867" rIns="109733" bIns="54867">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096978" rtl="0" eaLnBrk="1" fontAlgn="base" latinLnBrk="0" hangingPunct="1">
              <a:lnSpc>
                <a:spcPct val="90000"/>
              </a:lnSpc>
              <a:spcBef>
                <a:spcPct val="0"/>
              </a:spcBef>
              <a:spcAft>
                <a:spcPct val="0"/>
              </a:spcAft>
              <a:buClrTx/>
              <a:buSzTx/>
              <a:buFontTx/>
              <a:buNone/>
              <a:tabLst/>
              <a:defRPr/>
            </a:pPr>
            <a:r>
              <a:rPr kumimoji="0" lang="en-US" sz="3200" b="0" i="1" u="none" strike="noStrike" kern="0" cap="none" spc="-60" normalizeH="0" baseline="0" noProof="0" dirty="0">
                <a:ln>
                  <a:noFill/>
                </a:ln>
                <a:solidFill>
                  <a:srgbClr val="000000"/>
                </a:solidFill>
                <a:effectLst/>
                <a:uLnTx/>
                <a:uFillTx/>
                <a:latin typeface="Segoe UI"/>
                <a:ea typeface="+mn-ea"/>
                <a:cs typeface="+mn-cs"/>
              </a:rPr>
              <a:t>Operate</a:t>
            </a:r>
          </a:p>
        </p:txBody>
      </p:sp>
      <p:sp>
        <p:nvSpPr>
          <p:cNvPr id="16" name="Rectangle 15"/>
          <p:cNvSpPr/>
          <p:nvPr/>
        </p:nvSpPr>
        <p:spPr>
          <a:xfrm>
            <a:off x="5776487" y="4583945"/>
            <a:ext cx="1539919" cy="554004"/>
          </a:xfrm>
          <a:prstGeom prst="rect">
            <a:avLst/>
          </a:prstGeom>
        </p:spPr>
        <p:txBody>
          <a:bodyPr wrap="none" lIns="109733" tIns="54867" rIns="109733" bIns="54867">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096978" rtl="0" eaLnBrk="1" fontAlgn="base" latinLnBrk="0" hangingPunct="1">
              <a:lnSpc>
                <a:spcPct val="90000"/>
              </a:lnSpc>
              <a:spcBef>
                <a:spcPct val="0"/>
              </a:spcBef>
              <a:spcAft>
                <a:spcPct val="0"/>
              </a:spcAft>
              <a:buClrTx/>
              <a:buSzTx/>
              <a:buFontTx/>
              <a:buNone/>
              <a:tabLst/>
              <a:defRPr/>
            </a:pPr>
            <a:r>
              <a:rPr kumimoji="0" lang="en-US" sz="3200" b="0" i="1" u="none" strike="noStrike" kern="0" cap="none" spc="-60" normalizeH="0" baseline="0" noProof="0" dirty="0">
                <a:ln>
                  <a:noFill/>
                </a:ln>
                <a:solidFill>
                  <a:srgbClr val="000000"/>
                </a:solidFill>
                <a:effectLst/>
                <a:uLnTx/>
                <a:uFillTx/>
                <a:latin typeface="Segoe UI"/>
                <a:ea typeface="+mn-ea"/>
                <a:cs typeface="+mn-cs"/>
              </a:rPr>
              <a:t>Release</a:t>
            </a:r>
          </a:p>
        </p:txBody>
      </p:sp>
      <p:sp>
        <p:nvSpPr>
          <p:cNvPr id="3" name="Rectangle 2"/>
          <p:cNvSpPr/>
          <p:nvPr/>
        </p:nvSpPr>
        <p:spPr>
          <a:xfrm>
            <a:off x="6094646" y="3120093"/>
            <a:ext cx="247184" cy="369332"/>
          </a:xfrm>
          <a:prstGeom prst="rect">
            <a:avLst/>
          </a:prstGeom>
        </p:spPr>
        <p:txBody>
          <a:bodyPr wrap="none">
            <a:spAutoFit/>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 </a:t>
            </a:r>
          </a:p>
        </p:txBody>
      </p:sp>
      <p:sp>
        <p:nvSpPr>
          <p:cNvPr id="4" name="Rectangle 3"/>
          <p:cNvSpPr/>
          <p:nvPr/>
        </p:nvSpPr>
        <p:spPr>
          <a:xfrm>
            <a:off x="6094646" y="3120093"/>
            <a:ext cx="247184" cy="369332"/>
          </a:xfrm>
          <a:prstGeom prst="rect">
            <a:avLst/>
          </a:prstGeom>
        </p:spPr>
        <p:txBody>
          <a:bodyPr wrap="none">
            <a:spAutoFit/>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 </a:t>
            </a:r>
          </a:p>
        </p:txBody>
      </p:sp>
      <p:sp>
        <p:nvSpPr>
          <p:cNvPr id="6" name="Rectangle 5"/>
          <p:cNvSpPr/>
          <p:nvPr/>
        </p:nvSpPr>
        <p:spPr>
          <a:xfrm>
            <a:off x="6094646" y="3120093"/>
            <a:ext cx="247184" cy="369332"/>
          </a:xfrm>
          <a:prstGeom prst="rect">
            <a:avLst/>
          </a:prstGeom>
        </p:spPr>
        <p:txBody>
          <a:bodyPr wrap="none">
            <a:spAutoFit/>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 </a:t>
            </a:r>
          </a:p>
        </p:txBody>
      </p:sp>
      <p:grpSp>
        <p:nvGrpSpPr>
          <p:cNvPr id="11" name="Group 10"/>
          <p:cNvGrpSpPr/>
          <p:nvPr/>
        </p:nvGrpSpPr>
        <p:grpSpPr>
          <a:xfrm>
            <a:off x="2237873" y="2583538"/>
            <a:ext cx="2048589" cy="1772161"/>
            <a:chOff x="2081423" y="2583538"/>
            <a:chExt cx="2205040" cy="2019714"/>
          </a:xfrm>
          <a:effectLst>
            <a:outerShdw blurRad="50800" dist="38100" dir="2700000" algn="tl" rotWithShape="0">
              <a:prstClr val="black">
                <a:alpha val="40000"/>
              </a:prstClr>
            </a:outerShdw>
          </a:effectLst>
        </p:grpSpPr>
        <p:sp>
          <p:nvSpPr>
            <p:cNvPr id="65" name="Rectangle 64"/>
            <p:cNvSpPr/>
            <p:nvPr/>
          </p:nvSpPr>
          <p:spPr bwMode="auto">
            <a:xfrm>
              <a:off x="2081423" y="2583538"/>
              <a:ext cx="2205040" cy="2019714"/>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5282" tIns="46628" rIns="93256" bIns="93260" numCol="1" rtlCol="0" anchor="b" anchorCtr="0" compatLnSpc="1">
              <a:prstTxWarp prst="textNoShape">
                <a:avLst/>
              </a:prstTxWarp>
            </a:bodyPr>
            <a:lstStyle/>
            <a:p>
              <a:pPr marL="0" marR="0" lvl="0" indent="0" algn="ctr" defTabSz="932290" rtl="0" eaLnBrk="1" fontAlgn="base" latinLnBrk="0" hangingPunct="1">
                <a:lnSpc>
                  <a:spcPct val="90000"/>
                </a:lnSpc>
                <a:spcBef>
                  <a:spcPct val="0"/>
                </a:spcBef>
                <a:spcAft>
                  <a:spcPct val="0"/>
                </a:spcAft>
                <a:buClrTx/>
                <a:buSzTx/>
                <a:buFontTx/>
                <a:buNone/>
                <a:tabLst/>
                <a:defRPr/>
              </a:pPr>
              <a:r>
                <a:rPr kumimoji="0" lang="en-US" sz="3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Agility</a:t>
              </a:r>
            </a:p>
          </p:txBody>
        </p:sp>
        <p:grpSp>
          <p:nvGrpSpPr>
            <p:cNvPr id="8" name="Group 7"/>
            <p:cNvGrpSpPr/>
            <p:nvPr/>
          </p:nvGrpSpPr>
          <p:grpSpPr>
            <a:xfrm>
              <a:off x="2764556" y="2997340"/>
              <a:ext cx="890806" cy="753883"/>
              <a:chOff x="3063484" y="3264509"/>
              <a:chExt cx="751349" cy="611255"/>
            </a:xfrm>
          </p:grpSpPr>
          <p:sp>
            <p:nvSpPr>
              <p:cNvPr id="28" name="Freeform 86"/>
              <p:cNvSpPr>
                <a:spLocks noEditPoints="1"/>
              </p:cNvSpPr>
              <p:nvPr/>
            </p:nvSpPr>
            <p:spPr bwMode="black">
              <a:xfrm>
                <a:off x="3063484" y="3324124"/>
                <a:ext cx="548604" cy="551640"/>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bg1"/>
              </a:solidFill>
              <a:ln>
                <a:noFill/>
              </a:ln>
              <a:effectLst>
                <a:outerShdw blurRad="50800" dist="38100" dir="2700000" algn="tl" rotWithShape="0">
                  <a:prstClr val="black">
                    <a:alpha val="40000"/>
                  </a:prstClr>
                </a:outerShdw>
              </a:effectLst>
              <a:extLst/>
            </p:spPr>
            <p:txBody>
              <a:bodyPr vert="horz" wrap="square" lIns="0" tIns="45720" rIns="91440" bIns="45720" numCol="1" anchor="t" anchorCtr="0" compatLnSpc="1">
                <a:prstTxWarp prst="textNoShape">
                  <a:avLst/>
                </a:prstTxWarp>
              </a:body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Freeform 88"/>
              <p:cNvSpPr>
                <a:spLocks noEditPoints="1"/>
              </p:cNvSpPr>
              <p:nvPr/>
            </p:nvSpPr>
            <p:spPr bwMode="black">
              <a:xfrm>
                <a:off x="3536556" y="3264509"/>
                <a:ext cx="278277" cy="299666"/>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bg1"/>
              </a:solidFill>
              <a:ln>
                <a:noFill/>
              </a:ln>
              <a:effectLst>
                <a:outerShdw blurRad="50800" dist="38100" dir="2700000" algn="tl" rotWithShape="0">
                  <a:prstClr val="black">
                    <a:alpha val="40000"/>
                  </a:prstClr>
                </a:outerShdw>
              </a:effectLst>
              <a:extLst/>
            </p:spPr>
            <p:txBody>
              <a:bodyPr vert="horz" wrap="square" lIns="0" tIns="45720" rIns="91440" bIns="45720" numCol="1" anchor="t" anchorCtr="0" compatLnSpc="1">
                <a:prstTxWarp prst="textNoShape">
                  <a:avLst/>
                </a:prstTxWarp>
              </a:body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 name="Oval 87"/>
              <p:cNvSpPr>
                <a:spLocks noChangeArrowheads="1"/>
              </p:cNvSpPr>
              <p:nvPr/>
            </p:nvSpPr>
            <p:spPr bwMode="black">
              <a:xfrm>
                <a:off x="3286470" y="3559704"/>
                <a:ext cx="101770" cy="1017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sp>
        <p:nvSpPr>
          <p:cNvPr id="35" name="Rounded Rectangle 25"/>
          <p:cNvSpPr/>
          <p:nvPr/>
        </p:nvSpPr>
        <p:spPr bwMode="auto">
          <a:xfrm flipV="1">
            <a:off x="947487" y="1629285"/>
            <a:ext cx="9944100" cy="4271350"/>
          </a:xfrm>
          <a:custGeom>
            <a:avLst/>
            <a:gdLst/>
            <a:ahLst/>
            <a:cxnLst/>
            <a:rect l="l" t="t" r="r" b="b"/>
            <a:pathLst>
              <a:path w="8216900" h="2924122">
                <a:moveTo>
                  <a:pt x="1318358" y="405568"/>
                </a:moveTo>
                <a:cubicBezTo>
                  <a:pt x="737543" y="405568"/>
                  <a:pt x="266700" y="876411"/>
                  <a:pt x="266700" y="1457226"/>
                </a:cubicBezTo>
                <a:cubicBezTo>
                  <a:pt x="266700" y="2038041"/>
                  <a:pt x="737543" y="2508884"/>
                  <a:pt x="1318358" y="2508884"/>
                </a:cubicBezTo>
                <a:lnTo>
                  <a:pt x="3043713" y="2508884"/>
                </a:lnTo>
                <a:lnTo>
                  <a:pt x="3148811" y="2362200"/>
                </a:lnTo>
                <a:lnTo>
                  <a:pt x="3312898" y="2362200"/>
                </a:lnTo>
                <a:lnTo>
                  <a:pt x="3207800" y="2508884"/>
                </a:lnTo>
                <a:lnTo>
                  <a:pt x="6873143" y="2508884"/>
                </a:lnTo>
                <a:cubicBezTo>
                  <a:pt x="7453958" y="2508884"/>
                  <a:pt x="7924801" y="2038041"/>
                  <a:pt x="7924801" y="1457226"/>
                </a:cubicBezTo>
                <a:cubicBezTo>
                  <a:pt x="7924801" y="876411"/>
                  <a:pt x="7453958" y="405568"/>
                  <a:pt x="6873143" y="405568"/>
                </a:cubicBezTo>
                <a:lnTo>
                  <a:pt x="5088042" y="405568"/>
                </a:lnTo>
                <a:lnTo>
                  <a:pt x="4976015" y="561922"/>
                </a:lnTo>
                <a:lnTo>
                  <a:pt x="4811928" y="561922"/>
                </a:lnTo>
                <a:lnTo>
                  <a:pt x="4923955" y="405568"/>
                </a:lnTo>
                <a:close/>
                <a:moveTo>
                  <a:pt x="4811928" y="0"/>
                </a:moveTo>
                <a:lnTo>
                  <a:pt x="4976015" y="0"/>
                </a:lnTo>
                <a:lnTo>
                  <a:pt x="5089051" y="157762"/>
                </a:lnTo>
                <a:lnTo>
                  <a:pt x="6917436" y="157762"/>
                </a:lnTo>
                <a:cubicBezTo>
                  <a:pt x="7635110" y="157762"/>
                  <a:pt x="8216900" y="739552"/>
                  <a:pt x="8216900" y="1457226"/>
                </a:cubicBezTo>
                <a:cubicBezTo>
                  <a:pt x="8216900" y="2174900"/>
                  <a:pt x="7635110" y="2756690"/>
                  <a:pt x="6917436" y="2756690"/>
                </a:cubicBezTo>
                <a:lnTo>
                  <a:pt x="3192934" y="2756690"/>
                </a:lnTo>
                <a:lnTo>
                  <a:pt x="3312898" y="2924122"/>
                </a:lnTo>
                <a:lnTo>
                  <a:pt x="3148811" y="2924122"/>
                </a:lnTo>
                <a:lnTo>
                  <a:pt x="3028847" y="2756690"/>
                </a:lnTo>
                <a:lnTo>
                  <a:pt x="1299464" y="2756690"/>
                </a:lnTo>
                <a:cubicBezTo>
                  <a:pt x="581790" y="2756690"/>
                  <a:pt x="0" y="2174900"/>
                  <a:pt x="0" y="1457226"/>
                </a:cubicBezTo>
                <a:cubicBezTo>
                  <a:pt x="0" y="739552"/>
                  <a:pt x="581790" y="157762"/>
                  <a:pt x="1299464" y="157762"/>
                </a:cubicBezTo>
                <a:lnTo>
                  <a:pt x="4924964" y="157762"/>
                </a:lnTo>
                <a:close/>
              </a:path>
            </a:pathLst>
          </a:custGeom>
          <a:solidFill>
            <a:schemeClr val="accent1"/>
          </a:solidFill>
          <a:ln w="9525" cap="flat" cmpd="sng" algn="ctr">
            <a:noFill/>
            <a:prstDash val="solid"/>
            <a:round/>
            <a:headEnd type="none" w="med" len="med"/>
            <a:tailEnd type="none" w="med" len="med"/>
          </a:ln>
          <a:effectLst/>
        </p:spPr>
        <p:txBody>
          <a:bodyPr vert="horz" wrap="square" lIns="0" tIns="38098" rIns="0" bIns="38098" numCol="1" rtlCol="0" anchor="ctr"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823046" rtl="0" eaLnBrk="1" fontAlgn="base" latinLnBrk="0" hangingPunct="1">
              <a:lnSpc>
                <a:spcPts val="2639"/>
              </a:lnSpc>
              <a:spcBef>
                <a:spcPct val="0"/>
              </a:spcBef>
              <a:spcAft>
                <a:spcPct val="0"/>
              </a:spcAft>
              <a:buClrTx/>
              <a:buSzTx/>
              <a:buFontTx/>
              <a:buNone/>
              <a:tabLst/>
              <a:defRPr/>
            </a:pPr>
            <a:endParaRPr kumimoji="0" lang="en-US" sz="2400" b="0" i="0" u="none" strike="noStrike" kern="0" cap="none" spc="0" normalizeH="0" baseline="0" noProof="0" dirty="0">
              <a:ln w="3175">
                <a:noFill/>
              </a:ln>
              <a:gradFill>
                <a:gsLst>
                  <a:gs pos="0">
                    <a:srgbClr val="FFFFFF"/>
                  </a:gs>
                  <a:gs pos="100000">
                    <a:srgbClr val="FFFFFF"/>
                  </a:gs>
                </a:gsLst>
                <a:lin ang="0" scaled="1"/>
              </a:gradFill>
              <a:effectLst>
                <a:outerShdw blurRad="38100" dist="38100" dir="2700000" algn="tl">
                  <a:srgbClr val="000000">
                    <a:alpha val="43137"/>
                  </a:srgbClr>
                </a:outerShdw>
              </a:effectLst>
              <a:uLnTx/>
              <a:uFillTx/>
              <a:latin typeface="Segoe Condensed" pitchFamily="34" charset="0"/>
              <a:ea typeface="+mn-ea"/>
              <a:cs typeface="Arial" charset="0"/>
            </a:endParaRPr>
          </a:p>
        </p:txBody>
      </p:sp>
      <p:sp>
        <p:nvSpPr>
          <p:cNvPr id="18" name="Rectangle 17"/>
          <p:cNvSpPr/>
          <p:nvPr/>
        </p:nvSpPr>
        <p:spPr>
          <a:xfrm>
            <a:off x="5118925" y="1821725"/>
            <a:ext cx="2397683" cy="461665"/>
          </a:xfrm>
          <a:prstGeom prst="rect">
            <a:avLst/>
          </a:prstGeom>
        </p:spPr>
        <p:txBody>
          <a:bodyPr wrap="square" lIns="91440" tIns="91440" rIns="91440" bIns="9144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1096978" rtl="0" eaLnBrk="1" fontAlgn="base" latinLnBrk="0" hangingPunct="1">
              <a:lnSpc>
                <a:spcPct val="90000"/>
              </a:lnSpc>
              <a:spcBef>
                <a:spcPct val="0"/>
              </a:spcBef>
              <a:spcAft>
                <a:spcPct val="0"/>
              </a:spcAft>
              <a:buClrTx/>
              <a:buSzTx/>
              <a:buFontTx/>
              <a:buNone/>
              <a:tabLst/>
              <a:defRPr/>
            </a:pPr>
            <a:r>
              <a:rPr kumimoji="0" lang="en-US" sz="2000" b="0" i="0" u="none" strike="noStrike" kern="0" cap="none" spc="-60" normalizeH="0" baseline="0" noProof="0" dirty="0">
                <a:ln>
                  <a:noFill/>
                </a:ln>
                <a:gradFill>
                  <a:gsLst>
                    <a:gs pos="37917">
                      <a:srgbClr val="FFFFFF"/>
                    </a:gs>
                    <a:gs pos="32083">
                      <a:srgbClr val="FFFFFF"/>
                    </a:gs>
                  </a:gsLst>
                  <a:lin ang="16200000" scaled="0"/>
                </a:gradFill>
                <a:effectLst/>
                <a:uLnTx/>
                <a:uFillTx/>
                <a:latin typeface="Segoe UI"/>
                <a:ea typeface="+mn-ea"/>
                <a:cs typeface="+mn-cs"/>
              </a:rPr>
              <a:t>Continuous learning</a:t>
            </a:r>
          </a:p>
        </p:txBody>
      </p:sp>
      <p:sp>
        <p:nvSpPr>
          <p:cNvPr id="23" name="Rectangle 22"/>
          <p:cNvSpPr/>
          <p:nvPr/>
        </p:nvSpPr>
        <p:spPr>
          <a:xfrm>
            <a:off x="3896367" y="5268406"/>
            <a:ext cx="3532786" cy="461665"/>
          </a:xfrm>
          <a:prstGeom prst="rect">
            <a:avLst/>
          </a:prstGeom>
        </p:spPr>
        <p:txBody>
          <a:bodyPr wrap="square" lIns="91440" tIns="91440" rIns="91440" bIns="9144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096978" rtl="0" eaLnBrk="1" fontAlgn="base" latinLnBrk="0" hangingPunct="1">
              <a:lnSpc>
                <a:spcPct val="90000"/>
              </a:lnSpc>
              <a:spcBef>
                <a:spcPct val="0"/>
              </a:spcBef>
              <a:spcAft>
                <a:spcPct val="0"/>
              </a:spcAft>
              <a:buClrTx/>
              <a:buSzTx/>
              <a:buFontTx/>
              <a:buNone/>
              <a:tabLst/>
              <a:defRPr/>
            </a:pPr>
            <a:r>
              <a:rPr kumimoji="0" lang="en-US" sz="2000" b="0" i="0" u="none" strike="noStrike" kern="0" cap="none" spc="-60" normalizeH="0" baseline="0" noProof="0" dirty="0">
                <a:ln>
                  <a:noFill/>
                </a:ln>
                <a:gradFill>
                  <a:gsLst>
                    <a:gs pos="37917">
                      <a:srgbClr val="FFFFFF"/>
                    </a:gs>
                    <a:gs pos="32083">
                      <a:srgbClr val="FFFFFF"/>
                    </a:gs>
                  </a:gsLst>
                  <a:lin ang="16200000" scaled="0"/>
                </a:gradFill>
                <a:effectLst/>
                <a:uLnTx/>
                <a:uFillTx/>
                <a:latin typeface="Segoe UI"/>
                <a:ea typeface="+mn-ea"/>
                <a:cs typeface="+mn-cs"/>
              </a:rPr>
              <a:t>Continuous learning</a:t>
            </a:r>
          </a:p>
        </p:txBody>
      </p:sp>
      <p:sp>
        <p:nvSpPr>
          <p:cNvPr id="24" name="Chevron 23"/>
          <p:cNvSpPr/>
          <p:nvPr/>
        </p:nvSpPr>
        <p:spPr bwMode="auto">
          <a:xfrm rot="10800000" flipH="1">
            <a:off x="7082857" y="5271278"/>
            <a:ext cx="265740" cy="434795"/>
          </a:xfrm>
          <a:prstGeom prst="chevron">
            <a:avLst>
              <a:gd name="adj" fmla="val 5122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Chevron 38"/>
          <p:cNvSpPr/>
          <p:nvPr/>
        </p:nvSpPr>
        <p:spPr bwMode="auto">
          <a:xfrm flipH="1" flipV="1">
            <a:off x="4394042" y="1826318"/>
            <a:ext cx="243786" cy="429595"/>
          </a:xfrm>
          <a:prstGeom prst="chevron">
            <a:avLst>
              <a:gd name="adj" fmla="val 5122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Chevron 39"/>
          <p:cNvSpPr/>
          <p:nvPr/>
        </p:nvSpPr>
        <p:spPr bwMode="auto">
          <a:xfrm flipV="1">
            <a:off x="7489703" y="-2830593"/>
            <a:ext cx="208227" cy="433595"/>
          </a:xfrm>
          <a:prstGeom prst="chevron">
            <a:avLst>
              <a:gd name="adj" fmla="val 5122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p:cNvGrpSpPr/>
          <p:nvPr/>
        </p:nvGrpSpPr>
        <p:grpSpPr>
          <a:xfrm>
            <a:off x="7248810" y="2577243"/>
            <a:ext cx="2064609" cy="1819269"/>
            <a:chOff x="7248810" y="2577243"/>
            <a:chExt cx="2064609" cy="1819269"/>
          </a:xfrm>
          <a:effectLst>
            <a:outerShdw blurRad="50800" dist="38100" dir="2700000" algn="tl" rotWithShape="0">
              <a:prstClr val="black">
                <a:alpha val="40000"/>
              </a:prstClr>
            </a:outerShdw>
          </a:effectLst>
        </p:grpSpPr>
        <p:sp>
          <p:nvSpPr>
            <p:cNvPr id="32" name="Rectangle 31"/>
            <p:cNvSpPr/>
            <p:nvPr/>
          </p:nvSpPr>
          <p:spPr bwMode="auto">
            <a:xfrm>
              <a:off x="7248810" y="2577243"/>
              <a:ext cx="2064609" cy="1819269"/>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5282" tIns="46628" rIns="93256" bIns="93260" numCol="1" rtlCol="0" anchor="b"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cale </a:t>
              </a:r>
            </a:p>
          </p:txBody>
        </p:sp>
        <p:sp>
          <p:nvSpPr>
            <p:cNvPr id="42" name="Freeform 82"/>
            <p:cNvSpPr>
              <a:spLocks noEditPoints="1"/>
            </p:cNvSpPr>
            <p:nvPr/>
          </p:nvSpPr>
          <p:spPr bwMode="black">
            <a:xfrm>
              <a:off x="8229192" y="2949516"/>
              <a:ext cx="666306" cy="651971"/>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rgbClr val="FFFFFF"/>
            </a:solidFill>
            <a:ln>
              <a:noFill/>
            </a:ln>
            <a:effectLst>
              <a:outerShdw blurRad="50800" dist="38100" dir="2700000" algn="tl" rotWithShape="0">
                <a:prstClr val="black">
                  <a:alpha val="40000"/>
                </a:prstClr>
              </a:outerShdw>
            </a:effec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solidFill>
                  <a:srgbClr val="505050"/>
                </a:solidFill>
                <a:effectLst/>
                <a:uLnTx/>
                <a:uFillTx/>
                <a:latin typeface="Segoe UI"/>
                <a:ea typeface="+mn-ea"/>
                <a:cs typeface="+mn-cs"/>
              </a:endParaRPr>
            </a:p>
          </p:txBody>
        </p:sp>
        <p:sp>
          <p:nvSpPr>
            <p:cNvPr id="43" name="Freeform 5"/>
            <p:cNvSpPr>
              <a:spLocks noChangeAspect="1" noEditPoints="1"/>
            </p:cNvSpPr>
            <p:nvPr/>
          </p:nvSpPr>
          <p:spPr bwMode="auto">
            <a:xfrm>
              <a:off x="7653382" y="3177465"/>
              <a:ext cx="467496" cy="365041"/>
            </a:xfrm>
            <a:custGeom>
              <a:avLst/>
              <a:gdLst>
                <a:gd name="T0" fmla="*/ 69 w 289"/>
                <a:gd name="T1" fmla="*/ 83 h 225"/>
                <a:gd name="T2" fmla="*/ 140 w 289"/>
                <a:gd name="T3" fmla="*/ 57 h 225"/>
                <a:gd name="T4" fmla="*/ 140 w 289"/>
                <a:gd name="T5" fmla="*/ 23 h 225"/>
                <a:gd name="T6" fmla="*/ 70 w 289"/>
                <a:gd name="T7" fmla="*/ 0 h 225"/>
                <a:gd name="T8" fmla="*/ 0 w 289"/>
                <a:gd name="T9" fmla="*/ 23 h 225"/>
                <a:gd name="T10" fmla="*/ 0 w 289"/>
                <a:gd name="T11" fmla="*/ 137 h 225"/>
                <a:gd name="T12" fmla="*/ 69 w 289"/>
                <a:gd name="T13" fmla="*/ 161 h 225"/>
                <a:gd name="T14" fmla="*/ 69 w 289"/>
                <a:gd name="T15" fmla="*/ 83 h 225"/>
                <a:gd name="T16" fmla="*/ 70 w 289"/>
                <a:gd name="T17" fmla="*/ 7 h 225"/>
                <a:gd name="T18" fmla="*/ 129 w 289"/>
                <a:gd name="T19" fmla="*/ 23 h 225"/>
                <a:gd name="T20" fmla="*/ 70 w 289"/>
                <a:gd name="T21" fmla="*/ 39 h 225"/>
                <a:gd name="T22" fmla="*/ 11 w 289"/>
                <a:gd name="T23" fmla="*/ 23 h 225"/>
                <a:gd name="T24" fmla="*/ 70 w 289"/>
                <a:gd name="T25" fmla="*/ 7 h 225"/>
                <a:gd name="T26" fmla="*/ 219 w 289"/>
                <a:gd name="T27" fmla="*/ 0 h 225"/>
                <a:gd name="T28" fmla="*/ 150 w 289"/>
                <a:gd name="T29" fmla="*/ 23 h 225"/>
                <a:gd name="T30" fmla="*/ 150 w 289"/>
                <a:gd name="T31" fmla="*/ 57 h 225"/>
                <a:gd name="T32" fmla="*/ 221 w 289"/>
                <a:gd name="T33" fmla="*/ 83 h 225"/>
                <a:gd name="T34" fmla="*/ 221 w 289"/>
                <a:gd name="T35" fmla="*/ 161 h 225"/>
                <a:gd name="T36" fmla="*/ 289 w 289"/>
                <a:gd name="T37" fmla="*/ 137 h 225"/>
                <a:gd name="T38" fmla="*/ 289 w 289"/>
                <a:gd name="T39" fmla="*/ 23 h 225"/>
                <a:gd name="T40" fmla="*/ 219 w 289"/>
                <a:gd name="T41" fmla="*/ 0 h 225"/>
                <a:gd name="T42" fmla="*/ 219 w 289"/>
                <a:gd name="T43" fmla="*/ 39 h 225"/>
                <a:gd name="T44" fmla="*/ 161 w 289"/>
                <a:gd name="T45" fmla="*/ 23 h 225"/>
                <a:gd name="T46" fmla="*/ 219 w 289"/>
                <a:gd name="T47" fmla="*/ 7 h 225"/>
                <a:gd name="T48" fmla="*/ 278 w 289"/>
                <a:gd name="T49" fmla="*/ 23 h 225"/>
                <a:gd name="T50" fmla="*/ 219 w 289"/>
                <a:gd name="T51" fmla="*/ 39 h 225"/>
                <a:gd name="T52" fmla="*/ 145 w 289"/>
                <a:gd name="T53" fmla="*/ 64 h 225"/>
                <a:gd name="T54" fmla="*/ 75 w 289"/>
                <a:gd name="T55" fmla="*/ 88 h 225"/>
                <a:gd name="T56" fmla="*/ 75 w 289"/>
                <a:gd name="T57" fmla="*/ 202 h 225"/>
                <a:gd name="T58" fmla="*/ 145 w 289"/>
                <a:gd name="T59" fmla="*/ 225 h 225"/>
                <a:gd name="T60" fmla="*/ 215 w 289"/>
                <a:gd name="T61" fmla="*/ 202 h 225"/>
                <a:gd name="T62" fmla="*/ 215 w 289"/>
                <a:gd name="T63" fmla="*/ 88 h 225"/>
                <a:gd name="T64" fmla="*/ 145 w 289"/>
                <a:gd name="T65" fmla="*/ 64 h 225"/>
                <a:gd name="T66" fmla="*/ 145 w 289"/>
                <a:gd name="T67" fmla="*/ 103 h 225"/>
                <a:gd name="T68" fmla="*/ 86 w 289"/>
                <a:gd name="T69" fmla="*/ 87 h 225"/>
                <a:gd name="T70" fmla="*/ 145 w 289"/>
                <a:gd name="T71" fmla="*/ 71 h 225"/>
                <a:gd name="T72" fmla="*/ 204 w 289"/>
                <a:gd name="T73" fmla="*/ 87 h 225"/>
                <a:gd name="T74" fmla="*/ 145 w 289"/>
                <a:gd name="T75"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9" h="225">
                  <a:moveTo>
                    <a:pt x="69" y="83"/>
                  </a:moveTo>
                  <a:cubicBezTo>
                    <a:pt x="69" y="64"/>
                    <a:pt x="111" y="58"/>
                    <a:pt x="140" y="57"/>
                  </a:cubicBezTo>
                  <a:cubicBezTo>
                    <a:pt x="140" y="23"/>
                    <a:pt x="140" y="23"/>
                    <a:pt x="140" y="23"/>
                  </a:cubicBezTo>
                  <a:cubicBezTo>
                    <a:pt x="140" y="5"/>
                    <a:pt x="96" y="0"/>
                    <a:pt x="70" y="0"/>
                  </a:cubicBezTo>
                  <a:cubicBezTo>
                    <a:pt x="44" y="0"/>
                    <a:pt x="0" y="5"/>
                    <a:pt x="0" y="23"/>
                  </a:cubicBezTo>
                  <a:cubicBezTo>
                    <a:pt x="0" y="137"/>
                    <a:pt x="0" y="137"/>
                    <a:pt x="0" y="137"/>
                  </a:cubicBezTo>
                  <a:cubicBezTo>
                    <a:pt x="0" y="155"/>
                    <a:pt x="43" y="160"/>
                    <a:pt x="69" y="161"/>
                  </a:cubicBezTo>
                  <a:cubicBezTo>
                    <a:pt x="69" y="143"/>
                    <a:pt x="69" y="117"/>
                    <a:pt x="69" y="83"/>
                  </a:cubicBezTo>
                  <a:close/>
                  <a:moveTo>
                    <a:pt x="70" y="7"/>
                  </a:moveTo>
                  <a:cubicBezTo>
                    <a:pt x="103" y="7"/>
                    <a:pt x="129" y="14"/>
                    <a:pt x="129" y="23"/>
                  </a:cubicBezTo>
                  <a:cubicBezTo>
                    <a:pt x="129" y="32"/>
                    <a:pt x="103" y="39"/>
                    <a:pt x="70" y="39"/>
                  </a:cubicBezTo>
                  <a:cubicBezTo>
                    <a:pt x="38" y="39"/>
                    <a:pt x="11" y="32"/>
                    <a:pt x="11" y="23"/>
                  </a:cubicBezTo>
                  <a:cubicBezTo>
                    <a:pt x="11" y="14"/>
                    <a:pt x="38" y="7"/>
                    <a:pt x="70" y="7"/>
                  </a:cubicBezTo>
                  <a:close/>
                  <a:moveTo>
                    <a:pt x="219" y="0"/>
                  </a:moveTo>
                  <a:cubicBezTo>
                    <a:pt x="193" y="0"/>
                    <a:pt x="150" y="5"/>
                    <a:pt x="150" y="23"/>
                  </a:cubicBezTo>
                  <a:cubicBezTo>
                    <a:pt x="150" y="36"/>
                    <a:pt x="150" y="47"/>
                    <a:pt x="150" y="57"/>
                  </a:cubicBezTo>
                  <a:cubicBezTo>
                    <a:pt x="178" y="58"/>
                    <a:pt x="221" y="64"/>
                    <a:pt x="221" y="83"/>
                  </a:cubicBezTo>
                  <a:cubicBezTo>
                    <a:pt x="221" y="83"/>
                    <a:pt x="221" y="83"/>
                    <a:pt x="221" y="161"/>
                  </a:cubicBezTo>
                  <a:cubicBezTo>
                    <a:pt x="247" y="160"/>
                    <a:pt x="289" y="155"/>
                    <a:pt x="289" y="137"/>
                  </a:cubicBezTo>
                  <a:cubicBezTo>
                    <a:pt x="289" y="23"/>
                    <a:pt x="289" y="23"/>
                    <a:pt x="289" y="23"/>
                  </a:cubicBezTo>
                  <a:cubicBezTo>
                    <a:pt x="289" y="5"/>
                    <a:pt x="245" y="0"/>
                    <a:pt x="219" y="0"/>
                  </a:cubicBezTo>
                  <a:close/>
                  <a:moveTo>
                    <a:pt x="219" y="39"/>
                  </a:moveTo>
                  <a:cubicBezTo>
                    <a:pt x="187" y="39"/>
                    <a:pt x="161" y="32"/>
                    <a:pt x="161" y="23"/>
                  </a:cubicBezTo>
                  <a:cubicBezTo>
                    <a:pt x="161" y="14"/>
                    <a:pt x="187" y="7"/>
                    <a:pt x="219" y="7"/>
                  </a:cubicBezTo>
                  <a:cubicBezTo>
                    <a:pt x="252" y="7"/>
                    <a:pt x="278" y="14"/>
                    <a:pt x="278" y="23"/>
                  </a:cubicBezTo>
                  <a:cubicBezTo>
                    <a:pt x="278" y="32"/>
                    <a:pt x="252" y="39"/>
                    <a:pt x="219" y="39"/>
                  </a:cubicBezTo>
                  <a:close/>
                  <a:moveTo>
                    <a:pt x="145" y="64"/>
                  </a:moveTo>
                  <a:cubicBezTo>
                    <a:pt x="119" y="64"/>
                    <a:pt x="75" y="69"/>
                    <a:pt x="75" y="88"/>
                  </a:cubicBezTo>
                  <a:cubicBezTo>
                    <a:pt x="75" y="202"/>
                    <a:pt x="75" y="202"/>
                    <a:pt x="75" y="202"/>
                  </a:cubicBezTo>
                  <a:cubicBezTo>
                    <a:pt x="75" y="220"/>
                    <a:pt x="119" y="225"/>
                    <a:pt x="145" y="225"/>
                  </a:cubicBezTo>
                  <a:cubicBezTo>
                    <a:pt x="171" y="225"/>
                    <a:pt x="215" y="220"/>
                    <a:pt x="215" y="202"/>
                  </a:cubicBezTo>
                  <a:cubicBezTo>
                    <a:pt x="215" y="88"/>
                    <a:pt x="215" y="88"/>
                    <a:pt x="215" y="88"/>
                  </a:cubicBezTo>
                  <a:cubicBezTo>
                    <a:pt x="215" y="69"/>
                    <a:pt x="171" y="64"/>
                    <a:pt x="145" y="64"/>
                  </a:cubicBezTo>
                  <a:close/>
                  <a:moveTo>
                    <a:pt x="145" y="103"/>
                  </a:moveTo>
                  <a:cubicBezTo>
                    <a:pt x="112" y="103"/>
                    <a:pt x="86" y="96"/>
                    <a:pt x="86" y="87"/>
                  </a:cubicBezTo>
                  <a:cubicBezTo>
                    <a:pt x="86" y="78"/>
                    <a:pt x="112" y="71"/>
                    <a:pt x="145" y="71"/>
                  </a:cubicBezTo>
                  <a:cubicBezTo>
                    <a:pt x="177" y="71"/>
                    <a:pt x="204" y="78"/>
                    <a:pt x="204" y="87"/>
                  </a:cubicBezTo>
                  <a:cubicBezTo>
                    <a:pt x="204" y="96"/>
                    <a:pt x="177" y="103"/>
                    <a:pt x="145" y="103"/>
                  </a:cubicBezTo>
                  <a:close/>
                </a:path>
              </a:pathLst>
            </a:custGeom>
            <a:solidFill>
              <a:srgbClr val="FFFFFF"/>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000000">
                        <a:lumMod val="0"/>
                        <a:lumOff val="100000"/>
                      </a:srgbClr>
                    </a:gs>
                    <a:gs pos="100000">
                      <a:srgbClr val="000000">
                        <a:lumMod val="0"/>
                        <a:lumOff val="100000"/>
                      </a:srgbClr>
                    </a:gs>
                  </a:gsLst>
                  <a:lin ang="5400000" scaled="0"/>
                </a:gradFill>
                <a:effectLst/>
                <a:uLnTx/>
                <a:uFillTx/>
                <a:latin typeface="Segoe UI"/>
                <a:ea typeface="+mn-ea"/>
                <a:cs typeface="+mn-cs"/>
              </a:endParaRPr>
            </a:p>
          </p:txBody>
        </p:sp>
      </p:grpSp>
      <p:grpSp>
        <p:nvGrpSpPr>
          <p:cNvPr id="45" name="Group 44"/>
          <p:cNvGrpSpPr/>
          <p:nvPr/>
        </p:nvGrpSpPr>
        <p:grpSpPr>
          <a:xfrm>
            <a:off x="4703550" y="2583539"/>
            <a:ext cx="2128172" cy="1812972"/>
            <a:chOff x="4703550" y="2583539"/>
            <a:chExt cx="2128172" cy="1812972"/>
          </a:xfrm>
          <a:effectLst>
            <a:outerShdw blurRad="50800" dist="38100" dir="2700000" algn="tl" rotWithShape="0">
              <a:prstClr val="black">
                <a:alpha val="40000"/>
              </a:prstClr>
            </a:outerShdw>
          </a:effectLst>
        </p:grpSpPr>
        <p:sp>
          <p:nvSpPr>
            <p:cNvPr id="37" name="Rectangle 36"/>
            <p:cNvSpPr/>
            <p:nvPr/>
          </p:nvSpPr>
          <p:spPr bwMode="auto">
            <a:xfrm>
              <a:off x="4703550" y="2583539"/>
              <a:ext cx="2128172" cy="1812972"/>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5282" tIns="46628" rIns="93256" bIns="93260" numCol="1" rtlCol="0" anchor="b"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Quality </a:t>
              </a:r>
            </a:p>
          </p:txBody>
        </p:sp>
        <p:pic>
          <p:nvPicPr>
            <p:cNvPr id="44" name="Picture 4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47525" y="2855622"/>
              <a:ext cx="823321" cy="830239"/>
            </a:xfrm>
            <a:prstGeom prst="rect">
              <a:avLst/>
            </a:prstGeom>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25759575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500"/>
                                  </p:stCondLst>
                                  <p:childTnLst>
                                    <p:set>
                                      <p:cBhvr>
                                        <p:cTn id="6" dur="1" fill="hold">
                                          <p:stCondLst>
                                            <p:cond delay="0"/>
                                          </p:stCondLst>
                                        </p:cTn>
                                        <p:tgtEl>
                                          <p:spTgt spid="11"/>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1000"/>
                                  </p:stCondLst>
                                  <p:childTnLst>
                                    <p:set>
                                      <p:cBhvr>
                                        <p:cTn id="9" dur="1" fill="hold">
                                          <p:stCondLst>
                                            <p:cond delay="0"/>
                                          </p:stCondLst>
                                        </p:cTn>
                                        <p:tgtEl>
                                          <p:spTgt spid="45"/>
                                        </p:tgtEl>
                                        <p:attrNameLst>
                                          <p:attrName>style.visibility</p:attrName>
                                        </p:attrNameLst>
                                      </p:cBhvr>
                                      <p:to>
                                        <p:strVal val="visible"/>
                                      </p:to>
                                    </p:set>
                                  </p:childTnLst>
                                </p:cTn>
                              </p:par>
                            </p:childTnLst>
                          </p:cTn>
                        </p:par>
                        <p:par>
                          <p:cTn id="10" fill="hold">
                            <p:stCondLst>
                              <p:cond delay="1500"/>
                            </p:stCondLst>
                            <p:childTnLst>
                              <p:par>
                                <p:cTn id="11" presetID="1" presetClass="entr" presetSubtype="0" fill="hold" nodeType="afterEffect">
                                  <p:stCondLst>
                                    <p:cond delay="1000"/>
                                  </p:stCondLst>
                                  <p:childTnLst>
                                    <p:set>
                                      <p:cBhvr>
                                        <p:cTn id="12" dur="1" fill="hold">
                                          <p:stCondLst>
                                            <p:cond delay="0"/>
                                          </p:stCondLst>
                                        </p:cTn>
                                        <p:tgtEl>
                                          <p:spTgt spid="4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left)">
                                      <p:cBhvr>
                                        <p:cTn id="17" dur="500"/>
                                        <p:tgtEl>
                                          <p:spTgt spid="13"/>
                                        </p:tgtEl>
                                      </p:cBhvr>
                                    </p:animEffect>
                                  </p:childTnLst>
                                </p:cTn>
                              </p:par>
                            </p:childTnLst>
                          </p:cTn>
                        </p:par>
                        <p:par>
                          <p:cTn id="18" fill="hold">
                            <p:stCondLst>
                              <p:cond delay="500"/>
                            </p:stCondLst>
                            <p:childTnLst>
                              <p:par>
                                <p:cTn id="19" presetID="22" presetClass="entr" presetSubtype="8" fill="hold" grpId="0" nodeType="afterEffect">
                                  <p:stCondLst>
                                    <p:cond delay="500"/>
                                  </p:stCondLst>
                                  <p:childTnLst>
                                    <p:set>
                                      <p:cBhvr>
                                        <p:cTn id="20" dur="1" fill="hold">
                                          <p:stCondLst>
                                            <p:cond delay="0"/>
                                          </p:stCondLst>
                                        </p:cTn>
                                        <p:tgtEl>
                                          <p:spTgt spid="14"/>
                                        </p:tgtEl>
                                        <p:attrNameLst>
                                          <p:attrName>style.visibility</p:attrName>
                                        </p:attrNameLst>
                                      </p:cBhvr>
                                      <p:to>
                                        <p:strVal val="visible"/>
                                      </p:to>
                                    </p:set>
                                    <p:animEffect transition="in" filter="wipe(left)">
                                      <p:cBhvr>
                                        <p:cTn id="21" dur="500"/>
                                        <p:tgtEl>
                                          <p:spTgt spid="14"/>
                                        </p:tgtEl>
                                      </p:cBhvr>
                                    </p:animEffect>
                                  </p:childTnLst>
                                </p:cTn>
                              </p:par>
                            </p:childTnLst>
                          </p:cTn>
                        </p:par>
                        <p:par>
                          <p:cTn id="22" fill="hold">
                            <p:stCondLst>
                              <p:cond delay="1500"/>
                            </p:stCondLst>
                            <p:childTnLst>
                              <p:par>
                                <p:cTn id="23" presetID="22" presetClass="entr" presetSubtype="8" fill="hold" grpId="0" nodeType="afterEffect">
                                  <p:stCondLst>
                                    <p:cond delay="500"/>
                                  </p:stCondLst>
                                  <p:childTnLst>
                                    <p:set>
                                      <p:cBhvr>
                                        <p:cTn id="24" dur="1" fill="hold">
                                          <p:stCondLst>
                                            <p:cond delay="0"/>
                                          </p:stCondLst>
                                        </p:cTn>
                                        <p:tgtEl>
                                          <p:spTgt spid="16"/>
                                        </p:tgtEl>
                                        <p:attrNameLst>
                                          <p:attrName>style.visibility</p:attrName>
                                        </p:attrNameLst>
                                      </p:cBhvr>
                                      <p:to>
                                        <p:strVal val="visible"/>
                                      </p:to>
                                    </p:set>
                                    <p:animEffect transition="in" filter="wipe(left)">
                                      <p:cBhvr>
                                        <p:cTn id="25" dur="500"/>
                                        <p:tgtEl>
                                          <p:spTgt spid="16"/>
                                        </p:tgtEl>
                                      </p:cBhvr>
                                    </p:animEffect>
                                  </p:childTnLst>
                                </p:cTn>
                              </p:par>
                            </p:childTnLst>
                          </p:cTn>
                        </p:par>
                        <p:par>
                          <p:cTn id="26" fill="hold">
                            <p:stCondLst>
                              <p:cond delay="2500"/>
                            </p:stCondLst>
                            <p:childTnLst>
                              <p:par>
                                <p:cTn id="27" presetID="22" presetClass="entr" presetSubtype="8" fill="hold" grpId="0" nodeType="afterEffect">
                                  <p:stCondLst>
                                    <p:cond delay="500"/>
                                  </p:stCondLst>
                                  <p:childTnLst>
                                    <p:set>
                                      <p:cBhvr>
                                        <p:cTn id="28" dur="1" fill="hold">
                                          <p:stCondLst>
                                            <p:cond delay="0"/>
                                          </p:stCondLst>
                                        </p:cTn>
                                        <p:tgtEl>
                                          <p:spTgt spid="15"/>
                                        </p:tgtEl>
                                        <p:attrNameLst>
                                          <p:attrName>style.visibility</p:attrName>
                                        </p:attrNameLst>
                                      </p:cBhvr>
                                      <p:to>
                                        <p:strVal val="visible"/>
                                      </p:to>
                                    </p:set>
                                    <p:animEffect transition="in" filter="wipe(left)">
                                      <p:cBhvr>
                                        <p:cTn id="29" dur="500"/>
                                        <p:tgtEl>
                                          <p:spTgt spid="15"/>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grpId="0" nodeType="clickEffect">
                                  <p:stCondLst>
                                    <p:cond delay="0"/>
                                  </p:stCondLst>
                                  <p:childTnLst>
                                    <p:set>
                                      <p:cBhvr>
                                        <p:cTn id="33" dur="1" fill="hold">
                                          <p:stCondLst>
                                            <p:cond delay="0"/>
                                          </p:stCondLst>
                                        </p:cTn>
                                        <p:tgtEl>
                                          <p:spTgt spid="35"/>
                                        </p:tgtEl>
                                        <p:attrNameLst>
                                          <p:attrName>style.visibility</p:attrName>
                                        </p:attrNameLst>
                                      </p:cBhvr>
                                      <p:to>
                                        <p:strVal val="visible"/>
                                      </p:to>
                                    </p:set>
                                    <p:animEffect transition="in" filter="wipe(down)">
                                      <p:cBhvr>
                                        <p:cTn id="34"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6" grpId="0"/>
      <p:bldP spid="3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Isosceles Triangle 41"/>
          <p:cNvSpPr/>
          <p:nvPr/>
        </p:nvSpPr>
        <p:spPr bwMode="auto">
          <a:xfrm rot="5400000" flipH="1">
            <a:off x="9512560" y="4324611"/>
            <a:ext cx="510159" cy="439792"/>
          </a:xfrm>
          <a:prstGeom prst="triangle">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p:cNvSpPr/>
          <p:nvPr/>
        </p:nvSpPr>
        <p:spPr bwMode="auto">
          <a:xfrm flipV="1">
            <a:off x="2127054" y="4501609"/>
            <a:ext cx="7452000" cy="720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p:cNvSpPr/>
          <p:nvPr/>
        </p:nvSpPr>
        <p:spPr bwMode="auto">
          <a:xfrm flipV="1">
            <a:off x="8832850" y="4499672"/>
            <a:ext cx="762000" cy="85027"/>
          </a:xfrm>
          <a:prstGeom prst="rect">
            <a:avLst/>
          </a:prstGeom>
          <a:solidFill>
            <a:srgbClr val="3D85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ectangle 38"/>
          <p:cNvSpPr/>
          <p:nvPr/>
        </p:nvSpPr>
        <p:spPr bwMode="auto">
          <a:xfrm flipV="1">
            <a:off x="7370234" y="4499674"/>
            <a:ext cx="1119716" cy="85025"/>
          </a:xfrm>
          <a:prstGeom prst="rect">
            <a:avLst/>
          </a:prstGeom>
          <a:solidFill>
            <a:srgbClr val="3D85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Rectangle 37"/>
          <p:cNvSpPr/>
          <p:nvPr/>
        </p:nvSpPr>
        <p:spPr bwMode="auto">
          <a:xfrm flipV="1">
            <a:off x="5643034" y="4499674"/>
            <a:ext cx="1367366" cy="85025"/>
          </a:xfrm>
          <a:prstGeom prst="rect">
            <a:avLst/>
          </a:prstGeom>
          <a:solidFill>
            <a:srgbClr val="3D85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p:cNvSpPr/>
          <p:nvPr/>
        </p:nvSpPr>
        <p:spPr bwMode="auto">
          <a:xfrm flipV="1">
            <a:off x="3966634" y="4499674"/>
            <a:ext cx="1341966" cy="85025"/>
          </a:xfrm>
          <a:prstGeom prst="rect">
            <a:avLst/>
          </a:prstGeom>
          <a:solidFill>
            <a:srgbClr val="3D85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3" name="Picture 32"/>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239192" y="2282078"/>
            <a:ext cx="4449971" cy="4450143"/>
          </a:xfrm>
          <a:prstGeom prst="rect">
            <a:avLst/>
          </a:prstGeom>
        </p:spPr>
      </p:pic>
      <p:sp>
        <p:nvSpPr>
          <p:cNvPr id="35" name="Freeform 11"/>
          <p:cNvSpPr>
            <a:spLocks/>
          </p:cNvSpPr>
          <p:nvPr/>
        </p:nvSpPr>
        <p:spPr bwMode="auto">
          <a:xfrm>
            <a:off x="-14261" y="45067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36" name="Rectangle 35"/>
          <p:cNvSpPr/>
          <p:nvPr/>
        </p:nvSpPr>
        <p:spPr bwMode="auto">
          <a:xfrm flipV="1">
            <a:off x="2461684" y="4499675"/>
            <a:ext cx="1176866" cy="85024"/>
          </a:xfrm>
          <a:prstGeom prst="rect">
            <a:avLst/>
          </a:prstGeom>
          <a:solidFill>
            <a:srgbClr val="3D85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p:cNvGrpSpPr/>
          <p:nvPr/>
        </p:nvGrpSpPr>
        <p:grpSpPr>
          <a:xfrm>
            <a:off x="6219813" y="1990821"/>
            <a:ext cx="1901202" cy="2522098"/>
            <a:chOff x="5701653" y="1978121"/>
            <a:chExt cx="1901202" cy="2522098"/>
          </a:xfrm>
        </p:grpSpPr>
        <p:pic>
          <p:nvPicPr>
            <p:cNvPr id="116" name="Picture 11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30454" y="3700379"/>
              <a:ext cx="1293456" cy="799840"/>
            </a:xfrm>
            <a:prstGeom prst="rect">
              <a:avLst/>
            </a:prstGeom>
          </p:spPr>
        </p:pic>
        <p:pic>
          <p:nvPicPr>
            <p:cNvPr id="117" name="Picture 116"/>
            <p:cNvPicPr>
              <a:picLocks noChangeAspect="1"/>
            </p:cNvPicPr>
            <p:nvPr/>
          </p:nvPicPr>
          <p:blipFill>
            <a:blip r:embed="rId5"/>
            <a:stretch>
              <a:fillRect/>
            </a:stretch>
          </p:blipFill>
          <p:spPr>
            <a:xfrm flipV="1">
              <a:off x="5892979" y="2465446"/>
              <a:ext cx="1102383" cy="1498554"/>
            </a:xfrm>
            <a:prstGeom prst="rect">
              <a:avLst/>
            </a:prstGeom>
          </p:spPr>
        </p:pic>
        <p:sp>
          <p:nvSpPr>
            <p:cNvPr id="118" name="Freeform 95"/>
            <p:cNvSpPr>
              <a:spLocks/>
            </p:cNvSpPr>
            <p:nvPr/>
          </p:nvSpPr>
          <p:spPr bwMode="auto">
            <a:xfrm flipH="1">
              <a:off x="5701653" y="1978121"/>
              <a:ext cx="1426107" cy="926144"/>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0C0">
                <a:alpha val="27000"/>
              </a:srgbClr>
            </a:solidFill>
            <a:ln>
              <a:noFill/>
            </a:ln>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Segoe UI"/>
                <a:ea typeface="+mn-ea"/>
                <a:cs typeface="+mn-cs"/>
              </a:endParaRPr>
            </a:p>
          </p:txBody>
        </p:sp>
        <p:sp>
          <p:nvSpPr>
            <p:cNvPr id="121" name="Freeform 95"/>
            <p:cNvSpPr>
              <a:spLocks/>
            </p:cNvSpPr>
            <p:nvPr/>
          </p:nvSpPr>
          <p:spPr bwMode="auto">
            <a:xfrm flipH="1">
              <a:off x="6053201" y="2052432"/>
              <a:ext cx="1549654" cy="1006377"/>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3BDEF">
                <a:alpha val="90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505050"/>
                </a:solidFill>
                <a:effectLst/>
                <a:uLnTx/>
                <a:uFillTx/>
                <a:latin typeface="Segoe UI"/>
                <a:ea typeface="+mn-ea"/>
                <a:cs typeface="+mn-cs"/>
              </a:endParaRPr>
            </a:p>
          </p:txBody>
        </p:sp>
        <p:sp>
          <p:nvSpPr>
            <p:cNvPr id="120" name="TextBox 119"/>
            <p:cNvSpPr txBox="1"/>
            <p:nvPr/>
          </p:nvSpPr>
          <p:spPr>
            <a:xfrm>
              <a:off x="6187440" y="2299985"/>
              <a:ext cx="1306581" cy="584775"/>
            </a:xfrm>
            <a:prstGeom prst="rect">
              <a:avLst/>
            </a:prstGeom>
            <a:noFill/>
          </p:spPr>
          <p:txBody>
            <a:bodyPr wrap="square" rtlCol="0">
              <a:sp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Light"/>
                  <a:ea typeface="+mn-ea"/>
                  <a:cs typeface="Arial" pitchFamily="34" charset="0"/>
                </a:rPr>
                <a:t>Cloud</a:t>
              </a:r>
              <a:br>
                <a:rPr kumimoji="0" lang="en-US" sz="1600" b="0" i="0" u="none" strike="noStrike" kern="0" cap="none" spc="0" normalizeH="0" baseline="0" noProof="0" dirty="0">
                  <a:ln>
                    <a:noFill/>
                  </a:ln>
                  <a:solidFill>
                    <a:srgbClr val="FFFFFF"/>
                  </a:solidFill>
                  <a:effectLst/>
                  <a:uLnTx/>
                  <a:uFillTx/>
                  <a:latin typeface="Segoe UI Light"/>
                  <a:ea typeface="+mn-ea"/>
                  <a:cs typeface="Arial" pitchFamily="34" charset="0"/>
                </a:rPr>
              </a:br>
              <a:r>
                <a:rPr kumimoji="0" lang="en-US" sz="1600" b="0" i="0" u="none" strike="noStrike" kern="0" cap="none" spc="0" normalizeH="0" baseline="0" noProof="0" dirty="0">
                  <a:ln>
                    <a:noFill/>
                  </a:ln>
                  <a:solidFill>
                    <a:srgbClr val="FFFFFF"/>
                  </a:solidFill>
                  <a:effectLst/>
                  <a:uLnTx/>
                  <a:uFillTx/>
                  <a:latin typeface="Segoe UI Light"/>
                  <a:ea typeface="+mn-ea"/>
                  <a:cs typeface="Arial" pitchFamily="34" charset="0"/>
                </a:rPr>
                <a:t>Load Testing</a:t>
              </a:r>
            </a:p>
          </p:txBody>
        </p:sp>
      </p:grpSp>
      <p:sp>
        <p:nvSpPr>
          <p:cNvPr id="216" name="Title 18"/>
          <p:cNvSpPr txBox="1">
            <a:spLocks/>
          </p:cNvSpPr>
          <p:nvPr/>
        </p:nvSpPr>
        <p:spPr>
          <a:xfrm>
            <a:off x="274320" y="296897"/>
            <a:ext cx="11889564" cy="917575"/>
          </a:xfrm>
          <a:prstGeom prst="rect">
            <a:avLst/>
          </a:prstGeom>
          <a:ln>
            <a:noFill/>
          </a:ln>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4800" b="0" i="0" u="none" strike="noStrike" kern="1200" cap="none" spc="-102" normalizeH="0" baseline="0" noProof="0">
              <a:ln w="3175">
                <a:noFill/>
              </a:ln>
              <a:gradFill>
                <a:gsLst>
                  <a:gs pos="1250">
                    <a:srgbClr val="404040"/>
                  </a:gs>
                  <a:gs pos="100000">
                    <a:srgbClr val="404040"/>
                  </a:gs>
                </a:gsLst>
                <a:lin ang="5400000" scaled="0"/>
              </a:gradFill>
              <a:effectLst/>
              <a:uLnTx/>
              <a:uFillTx/>
              <a:latin typeface="Segoe UI Light"/>
              <a:ea typeface="+mn-ea"/>
              <a:cs typeface="Segoe UI" pitchFamily="34" charset="0"/>
            </a:endParaRPr>
          </a:p>
        </p:txBody>
      </p:sp>
      <p:grpSp>
        <p:nvGrpSpPr>
          <p:cNvPr id="10" name="Group 9"/>
          <p:cNvGrpSpPr/>
          <p:nvPr/>
        </p:nvGrpSpPr>
        <p:grpSpPr>
          <a:xfrm>
            <a:off x="4529359" y="3008346"/>
            <a:ext cx="1868892" cy="1702699"/>
            <a:chOff x="3840480" y="3008346"/>
            <a:chExt cx="1868892" cy="1702699"/>
          </a:xfrm>
        </p:grpSpPr>
        <p:sp>
          <p:nvSpPr>
            <p:cNvPr id="98" name="TextBox 97"/>
            <p:cNvSpPr txBox="1"/>
            <p:nvPr/>
          </p:nvSpPr>
          <p:spPr>
            <a:xfrm>
              <a:off x="3840480" y="3008346"/>
              <a:ext cx="1868892" cy="584775"/>
            </a:xfrm>
            <a:prstGeom prst="rect">
              <a:avLst/>
            </a:prstGeom>
            <a:noFill/>
          </p:spPr>
          <p:txBody>
            <a:bodyPr wrap="square" rtlCol="0" anchor="ctr" anchorCtr="0">
              <a:sp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D85CD"/>
                  </a:solidFill>
                  <a:effectLst/>
                  <a:uLnTx/>
                  <a:uFillTx/>
                  <a:latin typeface="Segoe UI"/>
                  <a:ea typeface="+mn-ea"/>
                  <a:cs typeface="Arial" pitchFamily="34" charset="0"/>
                </a:rPr>
                <a:t>Integration testing</a:t>
              </a:r>
            </a:p>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D85CD"/>
                  </a:solidFill>
                  <a:effectLst/>
                  <a:uLnTx/>
                  <a:uFillTx/>
                  <a:latin typeface="Segoe UI"/>
                  <a:ea typeface="+mn-ea"/>
                  <a:cs typeface="Arial" pitchFamily="34" charset="0"/>
                </a:rPr>
                <a:t>environment</a:t>
              </a:r>
            </a:p>
          </p:txBody>
        </p:sp>
        <p:cxnSp>
          <p:nvCxnSpPr>
            <p:cNvPr id="97" name="Straight Connector 96"/>
            <p:cNvCxnSpPr/>
            <p:nvPr/>
          </p:nvCxnSpPr>
          <p:spPr>
            <a:xfrm flipV="1">
              <a:off x="4774926" y="3726229"/>
              <a:ext cx="0" cy="695750"/>
            </a:xfrm>
            <a:prstGeom prst="line">
              <a:avLst/>
            </a:prstGeom>
            <a:ln w="38100" cap="rnd">
              <a:solidFill>
                <a:srgbClr val="3D85CD"/>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99" name="Oval 98"/>
            <p:cNvSpPr/>
            <p:nvPr/>
          </p:nvSpPr>
          <p:spPr bwMode="auto">
            <a:xfrm>
              <a:off x="4592048" y="4345288"/>
              <a:ext cx="365757" cy="365757"/>
            </a:xfrm>
            <a:prstGeom prst="ellipse">
              <a:avLst/>
            </a:prstGeom>
            <a:solidFill>
              <a:schemeClr val="bg1"/>
            </a:solidFill>
            <a:ln w="38100" cmpd="sng">
              <a:solidFill>
                <a:srgbClr val="3D85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1" name="Group 10"/>
          <p:cNvGrpSpPr/>
          <p:nvPr/>
        </p:nvGrpSpPr>
        <p:grpSpPr>
          <a:xfrm>
            <a:off x="2696590" y="4345288"/>
            <a:ext cx="2202126" cy="1710752"/>
            <a:chOff x="2339395" y="4345288"/>
            <a:chExt cx="2202126" cy="1710752"/>
          </a:xfrm>
        </p:grpSpPr>
        <p:sp>
          <p:nvSpPr>
            <p:cNvPr id="101" name="TextBox 100"/>
            <p:cNvSpPr txBox="1"/>
            <p:nvPr/>
          </p:nvSpPr>
          <p:spPr>
            <a:xfrm>
              <a:off x="2339395" y="5552040"/>
              <a:ext cx="2202126" cy="504000"/>
            </a:xfrm>
            <a:prstGeom prst="rect">
              <a:avLst/>
            </a:prstGeom>
            <a:noFill/>
          </p:spPr>
          <p:txBody>
            <a:bodyPr wrap="square" rtlCol="0" anchor="ctr" anchorCtr="0">
              <a:sp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D85CD"/>
                  </a:solidFill>
                  <a:effectLst/>
                  <a:uLnTx/>
                  <a:uFillTx/>
                  <a:latin typeface="Segoe UI"/>
                  <a:ea typeface="+mn-ea"/>
                  <a:cs typeface="Arial" pitchFamily="34" charset="0"/>
                </a:rPr>
                <a:t>Automated functional testing environment</a:t>
              </a:r>
            </a:p>
          </p:txBody>
        </p:sp>
        <p:cxnSp>
          <p:nvCxnSpPr>
            <p:cNvPr id="100" name="Straight Connector 99"/>
            <p:cNvCxnSpPr/>
            <p:nvPr/>
          </p:nvCxnSpPr>
          <p:spPr>
            <a:xfrm>
              <a:off x="3440458" y="4700300"/>
              <a:ext cx="0" cy="695750"/>
            </a:xfrm>
            <a:prstGeom prst="line">
              <a:avLst/>
            </a:prstGeom>
            <a:ln w="38100" cap="rnd">
              <a:solidFill>
                <a:srgbClr val="3D85CD"/>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102" name="Oval 101"/>
            <p:cNvSpPr/>
            <p:nvPr/>
          </p:nvSpPr>
          <p:spPr bwMode="auto">
            <a:xfrm>
              <a:off x="3257580" y="4345288"/>
              <a:ext cx="365757" cy="365757"/>
            </a:xfrm>
            <a:prstGeom prst="ellipse">
              <a:avLst/>
            </a:prstGeom>
            <a:solidFill>
              <a:schemeClr val="bg1"/>
            </a:solidFill>
            <a:ln w="38100" cmpd="sng">
              <a:solidFill>
                <a:srgbClr val="3D85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4" name="Oval 103"/>
          <p:cNvSpPr/>
          <p:nvPr/>
        </p:nvSpPr>
        <p:spPr bwMode="auto">
          <a:xfrm>
            <a:off x="2044699" y="4334411"/>
            <a:ext cx="394343" cy="394343"/>
          </a:xfrm>
          <a:prstGeom prst="ellipse">
            <a:avLst/>
          </a:prstGeom>
          <a:solidFill>
            <a:srgbClr val="3D85CD"/>
          </a:solidFill>
          <a:ln w="76200">
            <a:solidFill>
              <a:srgbClr val="3D85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8000" tIns="146304" rIns="182880" bIns="108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3</a:t>
            </a:r>
          </a:p>
        </p:txBody>
      </p:sp>
      <p:grpSp>
        <p:nvGrpSpPr>
          <p:cNvPr id="4" name="Group 3"/>
          <p:cNvGrpSpPr/>
          <p:nvPr/>
        </p:nvGrpSpPr>
        <p:grpSpPr>
          <a:xfrm>
            <a:off x="6386089" y="4345288"/>
            <a:ext cx="1611833" cy="1710752"/>
            <a:chOff x="5882639" y="4345288"/>
            <a:chExt cx="1611833" cy="1710752"/>
          </a:xfrm>
        </p:grpSpPr>
        <p:cxnSp>
          <p:nvCxnSpPr>
            <p:cNvPr id="24" name="Straight Connector 23"/>
            <p:cNvCxnSpPr/>
            <p:nvPr/>
          </p:nvCxnSpPr>
          <p:spPr>
            <a:xfrm>
              <a:off x="6688555" y="4700300"/>
              <a:ext cx="0" cy="695750"/>
            </a:xfrm>
            <a:prstGeom prst="line">
              <a:avLst/>
            </a:prstGeom>
            <a:ln w="38100" cap="rnd">
              <a:solidFill>
                <a:srgbClr val="3D85CD"/>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882639" y="5471265"/>
              <a:ext cx="1611833" cy="584775"/>
            </a:xfrm>
            <a:prstGeom prst="rect">
              <a:avLst/>
            </a:prstGeom>
            <a:noFill/>
          </p:spPr>
          <p:txBody>
            <a:bodyPr wrap="square" rtlCol="0" anchor="ctr" anchorCtr="0">
              <a:sp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D85CD"/>
                  </a:solidFill>
                  <a:effectLst/>
                  <a:uLnTx/>
                  <a:uFillTx/>
                  <a:latin typeface="Segoe UI"/>
                  <a:ea typeface="+mn-ea"/>
                  <a:cs typeface="Arial" pitchFamily="34" charset="0"/>
                </a:rPr>
                <a:t>Pre-production environment</a:t>
              </a:r>
            </a:p>
          </p:txBody>
        </p:sp>
        <p:sp>
          <p:nvSpPr>
            <p:cNvPr id="23" name="Oval 22"/>
            <p:cNvSpPr/>
            <p:nvPr/>
          </p:nvSpPr>
          <p:spPr bwMode="auto">
            <a:xfrm>
              <a:off x="6505677" y="4345288"/>
              <a:ext cx="365757" cy="365757"/>
            </a:xfrm>
            <a:prstGeom prst="ellipse">
              <a:avLst/>
            </a:prstGeom>
            <a:solidFill>
              <a:schemeClr val="bg1"/>
            </a:solidFill>
            <a:ln w="38100" cmpd="sng">
              <a:solidFill>
                <a:srgbClr val="3D85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 name="Group 8"/>
          <p:cNvGrpSpPr/>
          <p:nvPr/>
        </p:nvGrpSpPr>
        <p:grpSpPr>
          <a:xfrm>
            <a:off x="7985759" y="3011734"/>
            <a:ext cx="1320801" cy="1699311"/>
            <a:chOff x="8310879" y="3011734"/>
            <a:chExt cx="1320801" cy="1699311"/>
          </a:xfrm>
        </p:grpSpPr>
        <p:cxnSp>
          <p:nvCxnSpPr>
            <p:cNvPr id="29" name="Straight Connector 28"/>
            <p:cNvCxnSpPr/>
            <p:nvPr/>
          </p:nvCxnSpPr>
          <p:spPr>
            <a:xfrm flipV="1">
              <a:off x="8971279" y="3726229"/>
              <a:ext cx="0" cy="695750"/>
            </a:xfrm>
            <a:prstGeom prst="line">
              <a:avLst/>
            </a:prstGeom>
            <a:ln w="38100" cap="rnd">
              <a:solidFill>
                <a:srgbClr val="3D85CD"/>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30" name="Oval 29"/>
            <p:cNvSpPr/>
            <p:nvPr/>
          </p:nvSpPr>
          <p:spPr bwMode="auto">
            <a:xfrm>
              <a:off x="8788401" y="4345288"/>
              <a:ext cx="365757" cy="365757"/>
            </a:xfrm>
            <a:prstGeom prst="ellipse">
              <a:avLst/>
            </a:prstGeom>
            <a:solidFill>
              <a:schemeClr val="bg1"/>
            </a:solidFill>
            <a:ln w="38100" cmpd="sng">
              <a:solidFill>
                <a:srgbClr val="3D85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TextBox 30"/>
            <p:cNvSpPr txBox="1"/>
            <p:nvPr/>
          </p:nvSpPr>
          <p:spPr>
            <a:xfrm>
              <a:off x="8310879" y="3011734"/>
              <a:ext cx="1320801" cy="584775"/>
            </a:xfrm>
            <a:prstGeom prst="rect">
              <a:avLst/>
            </a:prstGeom>
            <a:noFill/>
          </p:spPr>
          <p:txBody>
            <a:bodyPr wrap="square" rtlCol="0" anchor="ctr" anchorCtr="0">
              <a:sp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D85CD"/>
                  </a:solidFill>
                  <a:effectLst/>
                  <a:uLnTx/>
                  <a:uFillTx/>
                  <a:latin typeface="Segoe UI"/>
                  <a:ea typeface="+mn-ea"/>
                  <a:cs typeface="Arial" pitchFamily="34" charset="0"/>
                </a:rPr>
                <a:t>Staging</a:t>
              </a:r>
            </a:p>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D85CD"/>
                  </a:solidFill>
                  <a:effectLst/>
                  <a:uLnTx/>
                  <a:uFillTx/>
                  <a:latin typeface="Segoe UI"/>
                  <a:ea typeface="+mn-ea"/>
                  <a:cs typeface="Arial" pitchFamily="34" charset="0"/>
                </a:rPr>
                <a:t>environment</a:t>
              </a:r>
            </a:p>
          </p:txBody>
        </p:sp>
      </p:grpSp>
      <p:sp>
        <p:nvSpPr>
          <p:cNvPr id="34" name="Rectangle 33"/>
          <p:cNvSpPr/>
          <p:nvPr/>
        </p:nvSpPr>
        <p:spPr>
          <a:xfrm>
            <a:off x="10045728" y="4315921"/>
            <a:ext cx="2292615" cy="461665"/>
          </a:xfrm>
          <a:prstGeom prst="rect">
            <a:avLst/>
          </a:prstGeom>
        </p:spPr>
        <p:txBody>
          <a:bodyPr wrap="none">
            <a:spAutoFit/>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6931A"/>
                </a:solidFill>
                <a:effectLst/>
                <a:uLnTx/>
                <a:uFillTx/>
                <a:latin typeface="Segoe UI Light"/>
                <a:ea typeface="+mn-ea"/>
                <a:cs typeface="Arial" pitchFamily="34" charset="0"/>
              </a:rPr>
              <a:t>Monitor + Learn</a:t>
            </a:r>
            <a:endParaRPr kumimoji="0" lang="en-US" sz="1800" b="0" i="0" u="none" strike="noStrike" kern="1200" cap="none" spc="0" normalizeH="0" baseline="0" noProof="0" dirty="0">
              <a:ln>
                <a:noFill/>
              </a:ln>
              <a:solidFill>
                <a:srgbClr val="F6931A"/>
              </a:solidFill>
              <a:effectLst/>
              <a:uLnTx/>
              <a:uFillTx/>
              <a:latin typeface="Segoe UI"/>
              <a:ea typeface="+mn-ea"/>
              <a:cs typeface="+mn-cs"/>
            </a:endParaRPr>
          </a:p>
        </p:txBody>
      </p:sp>
      <p:sp>
        <p:nvSpPr>
          <p:cNvPr id="58" name="TextBox 57"/>
          <p:cNvSpPr txBox="1"/>
          <p:nvPr/>
        </p:nvSpPr>
        <p:spPr>
          <a:xfrm>
            <a:off x="1440764" y="1004193"/>
            <a:ext cx="8560485" cy="1200329"/>
          </a:xfrm>
          <a:prstGeom prst="rect">
            <a:avLst/>
          </a:prstGeom>
          <a:noFill/>
        </p:spPr>
        <p:txBody>
          <a:bodyPr wrap="square" rtlCol="0">
            <a:spAutoFit/>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2400" b="1" i="0" u="sng" strike="noStrike" kern="0" cap="none" spc="20" normalizeH="0" baseline="0" noProof="0" dirty="0">
                <a:ln>
                  <a:noFill/>
                </a:ln>
                <a:solidFill>
                  <a:srgbClr val="404040"/>
                </a:solidFill>
                <a:effectLst/>
                <a:uLnTx/>
                <a:uFillTx/>
                <a:latin typeface="Segoe UI Light"/>
                <a:ea typeface="+mn-ea"/>
                <a:cs typeface="Arial" pitchFamily="34" charset="0"/>
              </a:rPr>
              <a:t>Key Azure SaaS/PaaS Services:</a:t>
            </a:r>
          </a:p>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2400" b="0" i="0" u="none" strike="noStrike" kern="0" cap="none" spc="20" normalizeH="0" baseline="0" noProof="0" dirty="0">
                <a:ln>
                  <a:noFill/>
                </a:ln>
                <a:solidFill>
                  <a:srgbClr val="404040"/>
                </a:solidFill>
                <a:effectLst/>
                <a:uLnTx/>
                <a:uFillTx/>
                <a:latin typeface="Segoe UI Light"/>
                <a:ea typeface="+mn-ea"/>
                <a:cs typeface="Arial" pitchFamily="34" charset="0"/>
              </a:rPr>
              <a:t>*Visual Studio Team Services</a:t>
            </a:r>
          </a:p>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2400" b="0" i="0" u="none" strike="noStrike" kern="0" cap="none" spc="20" normalizeH="0" baseline="0" noProof="0" dirty="0">
                <a:ln>
                  <a:noFill/>
                </a:ln>
                <a:solidFill>
                  <a:srgbClr val="404040"/>
                </a:solidFill>
                <a:effectLst/>
                <a:uLnTx/>
                <a:uFillTx/>
                <a:latin typeface="Segoe UI Light"/>
                <a:ea typeface="+mn-ea"/>
                <a:cs typeface="Arial" pitchFamily="34" charset="0"/>
              </a:rPr>
              <a:t>*Web-Logic-or Mobile Apps</a:t>
            </a:r>
          </a:p>
        </p:txBody>
      </p:sp>
      <p:sp>
        <p:nvSpPr>
          <p:cNvPr id="59" name="Title 18"/>
          <p:cNvSpPr txBox="1">
            <a:spLocks/>
          </p:cNvSpPr>
          <p:nvPr/>
        </p:nvSpPr>
        <p:spPr>
          <a:xfrm>
            <a:off x="1341120" y="258797"/>
            <a:ext cx="11020884" cy="917575"/>
          </a:xfrm>
          <a:prstGeom prst="rect">
            <a:avLst/>
          </a:prstGeom>
          <a:ln>
            <a:noFill/>
          </a:ln>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a:ln w="3175">
                  <a:noFill/>
                </a:ln>
                <a:solidFill>
                  <a:srgbClr val="3D85CD"/>
                </a:solidFill>
                <a:effectLst/>
                <a:uLnTx/>
                <a:uFillTx/>
                <a:latin typeface="Segoe UI Light"/>
                <a:ea typeface="+mn-ea"/>
                <a:cs typeface="Segoe UI" pitchFamily="34" charset="0"/>
              </a:rPr>
              <a:t>Release</a:t>
            </a:r>
          </a:p>
        </p:txBody>
      </p:sp>
      <p:sp>
        <p:nvSpPr>
          <p:cNvPr id="41" name="Isosceles Triangle 40"/>
          <p:cNvSpPr/>
          <p:nvPr/>
        </p:nvSpPr>
        <p:spPr bwMode="auto">
          <a:xfrm rot="5400000" flipH="1">
            <a:off x="9518909" y="4316673"/>
            <a:ext cx="510159" cy="439792"/>
          </a:xfrm>
          <a:prstGeom prst="triangle">
            <a:avLst/>
          </a:prstGeom>
          <a:solidFill>
            <a:srgbClr val="F693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 name="Picture 1" descr="DevOpsGraphic_v6-04.eps"/>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1600" y="114300"/>
            <a:ext cx="1629809" cy="1447800"/>
          </a:xfrm>
          <a:prstGeom prst="rect">
            <a:avLst/>
          </a:prstGeom>
        </p:spPr>
      </p:pic>
    </p:spTree>
    <p:extLst>
      <p:ext uri="{BB962C8B-B14F-4D97-AF65-F5344CB8AC3E}">
        <p14:creationId xmlns:p14="http://schemas.microsoft.com/office/powerpoint/2010/main" val="3537628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afterEffect">
                                  <p:stCondLst>
                                    <p:cond delay="0"/>
                                  </p:stCondLst>
                                  <p:childTnLst>
                                    <p:animRot by="-5400000">
                                      <p:cBhvr>
                                        <p:cTn id="6" dur="1000" fill="hold"/>
                                        <p:tgtEl>
                                          <p:spTgt spid="33"/>
                                        </p:tgtEl>
                                        <p:attrNameLst>
                                          <p:attrName>r</p:attrName>
                                        </p:attrNameLst>
                                      </p:cBhvr>
                                    </p:animRot>
                                  </p:childTnLst>
                                </p:cTn>
                              </p:par>
                              <p:par>
                                <p:cTn id="7" presetID="22" presetClass="entr" presetSubtype="4" fill="hold" grpId="0" nodeType="withEffect">
                                  <p:stCondLst>
                                    <p:cond delay="0"/>
                                  </p:stCondLst>
                                  <p:childTnLst>
                                    <p:set>
                                      <p:cBhvr>
                                        <p:cTn id="8" dur="1" fill="hold">
                                          <p:stCondLst>
                                            <p:cond delay="0"/>
                                          </p:stCondLst>
                                        </p:cTn>
                                        <p:tgtEl>
                                          <p:spTgt spid="35"/>
                                        </p:tgtEl>
                                        <p:attrNameLst>
                                          <p:attrName>style.visibility</p:attrName>
                                        </p:attrNameLst>
                                      </p:cBhvr>
                                      <p:to>
                                        <p:strVal val="visible"/>
                                      </p:to>
                                    </p:set>
                                    <p:animEffect transition="in" filter="wipe(down)">
                                      <p:cBhvr>
                                        <p:cTn id="9" dur="500"/>
                                        <p:tgtEl>
                                          <p:spTgt spid="35"/>
                                        </p:tgtEl>
                                      </p:cBhvr>
                                    </p:animEffect>
                                  </p:childTnLst>
                                </p:cTn>
                              </p:par>
                              <p:par>
                                <p:cTn id="10" presetID="22" presetClass="entr" presetSubtype="4" fill="hold" grpId="0" nodeType="withEffect">
                                  <p:stCondLst>
                                    <p:cond delay="0"/>
                                  </p:stCondLst>
                                  <p:childTnLst>
                                    <p:set>
                                      <p:cBhvr>
                                        <p:cTn id="11" dur="1" fill="hold">
                                          <p:stCondLst>
                                            <p:cond delay="0"/>
                                          </p:stCondLst>
                                        </p:cTn>
                                        <p:tgtEl>
                                          <p:spTgt spid="104"/>
                                        </p:tgtEl>
                                        <p:attrNameLst>
                                          <p:attrName>style.visibility</p:attrName>
                                        </p:attrNameLst>
                                      </p:cBhvr>
                                      <p:to>
                                        <p:strVal val="visible"/>
                                      </p:to>
                                    </p:set>
                                    <p:animEffect transition="in" filter="wipe(down)">
                                      <p:cBhvr>
                                        <p:cTn id="12" dur="500"/>
                                        <p:tgtEl>
                                          <p:spTgt spid="104"/>
                                        </p:tgtEl>
                                      </p:cBhvr>
                                    </p:animEffect>
                                  </p:childTnLst>
                                </p:cTn>
                              </p:par>
                            </p:childTnLst>
                          </p:cTn>
                        </p:par>
                        <p:par>
                          <p:cTn id="13" fill="hold">
                            <p:stCondLst>
                              <p:cond delay="1000"/>
                            </p:stCondLst>
                            <p:childTnLst>
                              <p:par>
                                <p:cTn id="14" presetID="10" presetClass="entr" presetSubtype="0" fill="hold" grpId="0" nodeType="afterEffect">
                                  <p:stCondLst>
                                    <p:cond delay="50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nodeType="withEffect">
                                  <p:stCondLst>
                                    <p:cond delay="5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par>
                          <p:cTn id="20" fill="hold">
                            <p:stCondLst>
                              <p:cond delay="2000"/>
                            </p:stCondLst>
                            <p:childTnLst>
                              <p:par>
                                <p:cTn id="21" presetID="10" presetClass="entr" presetSubtype="0" fill="hold" grpId="0" nodeType="afterEffect">
                                  <p:stCondLst>
                                    <p:cond delay="50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10" presetClass="entr" presetSubtype="0" fill="hold" nodeType="withEffect">
                                  <p:stCondLst>
                                    <p:cond delay="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3000"/>
                            </p:stCondLst>
                            <p:childTnLst>
                              <p:par>
                                <p:cTn id="28" presetID="10" presetClass="entr" presetSubtype="0" fill="hold" grpId="0" nodeType="afterEffect">
                                  <p:stCondLst>
                                    <p:cond delay="500"/>
                                  </p:stCondLst>
                                  <p:childTnLst>
                                    <p:set>
                                      <p:cBhvr>
                                        <p:cTn id="29" dur="1" fill="hold">
                                          <p:stCondLst>
                                            <p:cond delay="0"/>
                                          </p:stCondLst>
                                        </p:cTn>
                                        <p:tgtEl>
                                          <p:spTgt spid="38"/>
                                        </p:tgtEl>
                                        <p:attrNameLst>
                                          <p:attrName>style.visibility</p:attrName>
                                        </p:attrNameLst>
                                      </p:cBhvr>
                                      <p:to>
                                        <p:strVal val="visible"/>
                                      </p:to>
                                    </p:set>
                                    <p:animEffect transition="in" filter="fade">
                                      <p:cBhvr>
                                        <p:cTn id="30" dur="500"/>
                                        <p:tgtEl>
                                          <p:spTgt spid="38"/>
                                        </p:tgtEl>
                                      </p:cBhvr>
                                    </p:animEffect>
                                  </p:childTnLst>
                                </p:cTn>
                              </p:par>
                              <p:par>
                                <p:cTn id="31" presetID="10" presetClass="entr" presetSubtype="0" fill="hold" nodeType="withEffect">
                                  <p:stCondLst>
                                    <p:cond delay="50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4000"/>
                            </p:stCondLst>
                            <p:childTnLst>
                              <p:par>
                                <p:cTn id="35" presetID="12" presetClass="entr" presetSubtype="4" fill="hold" nodeType="afterEffect">
                                  <p:stCondLst>
                                    <p:cond delay="0"/>
                                  </p:stCondLst>
                                  <p:childTnLst>
                                    <p:set>
                                      <p:cBhvr>
                                        <p:cTn id="36" dur="1" fill="hold">
                                          <p:stCondLst>
                                            <p:cond delay="0"/>
                                          </p:stCondLst>
                                        </p:cTn>
                                        <p:tgtEl>
                                          <p:spTgt spid="12"/>
                                        </p:tgtEl>
                                        <p:attrNameLst>
                                          <p:attrName>style.visibility</p:attrName>
                                        </p:attrNameLst>
                                      </p:cBhvr>
                                      <p:to>
                                        <p:strVal val="visible"/>
                                      </p:to>
                                    </p:set>
                                    <p:anim calcmode="lin" valueType="num">
                                      <p:cBhvr additive="base">
                                        <p:cTn id="37" dur="500"/>
                                        <p:tgtEl>
                                          <p:spTgt spid="12"/>
                                        </p:tgtEl>
                                        <p:attrNameLst>
                                          <p:attrName>ppt_y</p:attrName>
                                        </p:attrNameLst>
                                      </p:cBhvr>
                                      <p:tavLst>
                                        <p:tav tm="0">
                                          <p:val>
                                            <p:strVal val="#ppt_y+#ppt_h*1.125000"/>
                                          </p:val>
                                        </p:tav>
                                        <p:tav tm="100000">
                                          <p:val>
                                            <p:strVal val="#ppt_y"/>
                                          </p:val>
                                        </p:tav>
                                      </p:tavLst>
                                    </p:anim>
                                    <p:animEffect transition="in" filter="wipe(up)">
                                      <p:cBhvr>
                                        <p:cTn id="38" dur="500"/>
                                        <p:tgtEl>
                                          <p:spTgt spid="12"/>
                                        </p:tgtEl>
                                      </p:cBhvr>
                                    </p:animEffect>
                                  </p:childTnLst>
                                </p:cTn>
                              </p:par>
                            </p:childTnLst>
                          </p:cTn>
                        </p:par>
                        <p:par>
                          <p:cTn id="39" fill="hold">
                            <p:stCondLst>
                              <p:cond delay="4500"/>
                            </p:stCondLst>
                            <p:childTnLst>
                              <p:par>
                                <p:cTn id="40" presetID="10" presetClass="entr" presetSubtype="0" fill="hold" grpId="0" nodeType="afterEffect">
                                  <p:stCondLst>
                                    <p:cond delay="500"/>
                                  </p:stCondLst>
                                  <p:childTnLst>
                                    <p:set>
                                      <p:cBhvr>
                                        <p:cTn id="41" dur="1" fill="hold">
                                          <p:stCondLst>
                                            <p:cond delay="0"/>
                                          </p:stCondLst>
                                        </p:cTn>
                                        <p:tgtEl>
                                          <p:spTgt spid="39"/>
                                        </p:tgtEl>
                                        <p:attrNameLst>
                                          <p:attrName>style.visibility</p:attrName>
                                        </p:attrNameLst>
                                      </p:cBhvr>
                                      <p:to>
                                        <p:strVal val="visible"/>
                                      </p:to>
                                    </p:set>
                                    <p:animEffect transition="in" filter="fade">
                                      <p:cBhvr>
                                        <p:cTn id="42" dur="500"/>
                                        <p:tgtEl>
                                          <p:spTgt spid="39"/>
                                        </p:tgtEl>
                                      </p:cBhvr>
                                    </p:animEffect>
                                  </p:childTnLst>
                                </p:cTn>
                              </p:par>
                              <p:par>
                                <p:cTn id="43" presetID="10" presetClass="entr" presetSubtype="0" fill="hold" nodeType="withEffect">
                                  <p:stCondLst>
                                    <p:cond delay="500"/>
                                  </p:stCondLst>
                                  <p:childTnLst>
                                    <p:set>
                                      <p:cBhvr>
                                        <p:cTn id="44" dur="1" fill="hold">
                                          <p:stCondLst>
                                            <p:cond delay="0"/>
                                          </p:stCondLst>
                                        </p:cTn>
                                        <p:tgtEl>
                                          <p:spTgt spid="9"/>
                                        </p:tgtEl>
                                        <p:attrNameLst>
                                          <p:attrName>style.visibility</p:attrName>
                                        </p:attrNameLst>
                                      </p:cBhvr>
                                      <p:to>
                                        <p:strVal val="visible"/>
                                      </p:to>
                                    </p:set>
                                    <p:animEffect transition="in" filter="fade">
                                      <p:cBhvr>
                                        <p:cTn id="45" dur="500"/>
                                        <p:tgtEl>
                                          <p:spTgt spid="9"/>
                                        </p:tgtEl>
                                      </p:cBhvr>
                                    </p:animEffect>
                                  </p:childTnLst>
                                </p:cTn>
                              </p:par>
                            </p:childTnLst>
                          </p:cTn>
                        </p:par>
                        <p:par>
                          <p:cTn id="46" fill="hold">
                            <p:stCondLst>
                              <p:cond delay="5500"/>
                            </p:stCondLst>
                            <p:childTnLst>
                              <p:par>
                                <p:cTn id="47" presetID="10" presetClass="entr" presetSubtype="0" fill="hold" grpId="0" nodeType="afterEffect">
                                  <p:stCondLst>
                                    <p:cond delay="500"/>
                                  </p:stCondLst>
                                  <p:childTnLst>
                                    <p:set>
                                      <p:cBhvr>
                                        <p:cTn id="48" dur="1" fill="hold">
                                          <p:stCondLst>
                                            <p:cond delay="0"/>
                                          </p:stCondLst>
                                        </p:cTn>
                                        <p:tgtEl>
                                          <p:spTgt spid="40"/>
                                        </p:tgtEl>
                                        <p:attrNameLst>
                                          <p:attrName>style.visibility</p:attrName>
                                        </p:attrNameLst>
                                      </p:cBhvr>
                                      <p:to>
                                        <p:strVal val="visible"/>
                                      </p:to>
                                    </p:set>
                                    <p:animEffect transition="in" filter="fade">
                                      <p:cBhvr>
                                        <p:cTn id="49" dur="500"/>
                                        <p:tgtEl>
                                          <p:spTgt spid="4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34"/>
                                        </p:tgtEl>
                                        <p:attrNameLst>
                                          <p:attrName>style.visibility</p:attrName>
                                        </p:attrNameLst>
                                      </p:cBhvr>
                                      <p:to>
                                        <p:strVal val="visible"/>
                                      </p:to>
                                    </p:set>
                                    <p:animEffect transition="in" filter="fade">
                                      <p:cBhvr>
                                        <p:cTn id="55"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39" grpId="0" animBg="1"/>
      <p:bldP spid="38" grpId="0" animBg="1"/>
      <p:bldP spid="37" grpId="0" animBg="1"/>
      <p:bldP spid="35" grpId="0" animBg="1"/>
      <p:bldP spid="36" grpId="0" animBg="1"/>
      <p:bldP spid="104" grpId="0" animBg="1"/>
      <p:bldP spid="34" grpId="0"/>
      <p:bldP spid="41"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rot="16200000" flipV="1">
            <a:off x="4760073" y="3433208"/>
            <a:ext cx="2880000" cy="720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ectangle 46"/>
          <p:cNvSpPr/>
          <p:nvPr/>
        </p:nvSpPr>
        <p:spPr bwMode="auto">
          <a:xfrm rot="5400000" flipV="1">
            <a:off x="5793229" y="2389630"/>
            <a:ext cx="812801" cy="72150"/>
          </a:xfrm>
          <a:prstGeom prst="rect">
            <a:avLst/>
          </a:prstGeom>
          <a:solidFill>
            <a:srgbClr val="F693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p:cNvSpPr/>
          <p:nvPr/>
        </p:nvSpPr>
        <p:spPr bwMode="auto">
          <a:xfrm rot="5400000" flipV="1">
            <a:off x="5793229" y="3278631"/>
            <a:ext cx="812801" cy="72150"/>
          </a:xfrm>
          <a:prstGeom prst="rect">
            <a:avLst/>
          </a:prstGeom>
          <a:solidFill>
            <a:srgbClr val="F693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p:cNvSpPr/>
          <p:nvPr/>
        </p:nvSpPr>
        <p:spPr bwMode="auto">
          <a:xfrm rot="5400000" flipV="1">
            <a:off x="5793227" y="4269229"/>
            <a:ext cx="812801" cy="72150"/>
          </a:xfrm>
          <a:prstGeom prst="rect">
            <a:avLst/>
          </a:prstGeom>
          <a:solidFill>
            <a:srgbClr val="F693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8" name="Picture 27"/>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933008" y="4885578"/>
            <a:ext cx="4449971" cy="4450143"/>
          </a:xfrm>
          <a:prstGeom prst="rect">
            <a:avLst/>
          </a:prstGeom>
        </p:spPr>
      </p:pic>
      <p:sp>
        <p:nvSpPr>
          <p:cNvPr id="29" name="Freeform 13"/>
          <p:cNvSpPr>
            <a:spLocks/>
          </p:cNvSpPr>
          <p:nvPr/>
        </p:nvSpPr>
        <p:spPr bwMode="auto">
          <a:xfrm>
            <a:off x="6157939" y="48052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8" name="TextBox 7"/>
          <p:cNvSpPr txBox="1"/>
          <p:nvPr/>
        </p:nvSpPr>
        <p:spPr>
          <a:xfrm>
            <a:off x="1405694" y="1116660"/>
            <a:ext cx="8214259" cy="1200329"/>
          </a:xfrm>
          <a:prstGeom prst="rect">
            <a:avLst/>
          </a:prstGeom>
          <a:noFill/>
        </p:spPr>
        <p:txBody>
          <a:bodyPr wrap="square" rtlCol="0">
            <a:spAutoFit/>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2400" b="1" i="0" u="sng" strike="noStrike" kern="0" cap="none" spc="20" normalizeH="0" baseline="0" noProof="0" dirty="0">
                <a:ln>
                  <a:noFill/>
                </a:ln>
                <a:solidFill>
                  <a:srgbClr val="404040"/>
                </a:solidFill>
                <a:effectLst/>
                <a:uLnTx/>
                <a:uFillTx/>
                <a:latin typeface="Segoe UI Light"/>
                <a:ea typeface="+mn-ea"/>
                <a:cs typeface="Arial" pitchFamily="34" charset="0"/>
              </a:rPr>
              <a:t>Key Azure SaaS/PaaS Services:</a:t>
            </a:r>
          </a:p>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2400" b="0" i="0" u="none" strike="noStrike" kern="0" cap="none" spc="20" normalizeH="0" baseline="0" noProof="0" dirty="0">
                <a:ln>
                  <a:noFill/>
                </a:ln>
                <a:solidFill>
                  <a:srgbClr val="404040"/>
                </a:solidFill>
                <a:effectLst/>
                <a:uLnTx/>
                <a:uFillTx/>
                <a:latin typeface="Segoe UI Light"/>
                <a:ea typeface="+mn-ea"/>
                <a:cs typeface="Arial" pitchFamily="34" charset="0"/>
              </a:rPr>
              <a:t>*Application Insights</a:t>
            </a:r>
          </a:p>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2400" b="0" i="0" u="none" strike="noStrike" kern="0" cap="none" spc="20" normalizeH="0" baseline="0" noProof="0" dirty="0">
                <a:ln>
                  <a:noFill/>
                </a:ln>
                <a:solidFill>
                  <a:srgbClr val="404040"/>
                </a:solidFill>
                <a:effectLst/>
                <a:uLnTx/>
                <a:uFillTx/>
                <a:latin typeface="Segoe UI Light"/>
                <a:ea typeface="+mn-ea"/>
                <a:cs typeface="Arial" pitchFamily="34" charset="0"/>
              </a:rPr>
              <a:t>*API Management</a:t>
            </a:r>
          </a:p>
        </p:txBody>
      </p:sp>
      <p:sp>
        <p:nvSpPr>
          <p:cNvPr id="9" name="Title 18"/>
          <p:cNvSpPr txBox="1">
            <a:spLocks/>
          </p:cNvSpPr>
          <p:nvPr/>
        </p:nvSpPr>
        <p:spPr>
          <a:xfrm>
            <a:off x="1295400" y="347697"/>
            <a:ext cx="11020884" cy="917575"/>
          </a:xfrm>
          <a:prstGeom prst="rect">
            <a:avLst/>
          </a:prstGeom>
          <a:ln>
            <a:noFill/>
          </a:ln>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a:ln w="3175">
                  <a:noFill/>
                </a:ln>
                <a:solidFill>
                  <a:srgbClr val="FC961B"/>
                </a:solidFill>
                <a:effectLst/>
                <a:uLnTx/>
                <a:uFillTx/>
                <a:latin typeface="Segoe UI Light"/>
                <a:ea typeface="+mn-ea"/>
                <a:cs typeface="Segoe UI" pitchFamily="34" charset="0"/>
              </a:rPr>
              <a:t>Monitor + Learn</a:t>
            </a:r>
          </a:p>
        </p:txBody>
      </p:sp>
      <p:sp>
        <p:nvSpPr>
          <p:cNvPr id="10" name="Oval 9"/>
          <p:cNvSpPr/>
          <p:nvPr/>
        </p:nvSpPr>
        <p:spPr bwMode="auto">
          <a:xfrm>
            <a:off x="6024155" y="4673600"/>
            <a:ext cx="342900" cy="342900"/>
          </a:xfrm>
          <a:prstGeom prst="ellipse">
            <a:avLst/>
          </a:prstGeom>
          <a:solidFill>
            <a:srgbClr val="F6931A"/>
          </a:solidFill>
          <a:ln w="76200">
            <a:solidFill>
              <a:srgbClr val="F6931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146304" rIns="182880" bIns="108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4</a:t>
            </a:r>
          </a:p>
        </p:txBody>
      </p:sp>
      <p:grpSp>
        <p:nvGrpSpPr>
          <p:cNvPr id="2" name="Group 1"/>
          <p:cNvGrpSpPr/>
          <p:nvPr/>
        </p:nvGrpSpPr>
        <p:grpSpPr>
          <a:xfrm>
            <a:off x="6016564" y="3641577"/>
            <a:ext cx="5367052" cy="365757"/>
            <a:chOff x="6016564" y="3641577"/>
            <a:chExt cx="5367052" cy="365757"/>
          </a:xfrm>
        </p:grpSpPr>
        <p:cxnSp>
          <p:nvCxnSpPr>
            <p:cNvPr id="11" name="Straight Connector 10"/>
            <p:cNvCxnSpPr/>
            <p:nvPr/>
          </p:nvCxnSpPr>
          <p:spPr>
            <a:xfrm rot="16200000">
              <a:off x="6798172" y="3476581"/>
              <a:ext cx="0" cy="695750"/>
            </a:xfrm>
            <a:prstGeom prst="line">
              <a:avLst/>
            </a:prstGeom>
            <a:ln w="38100" cap="rnd">
              <a:solidFill>
                <a:srgbClr val="F6931A"/>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7252267" y="3682277"/>
              <a:ext cx="4131349" cy="307777"/>
            </a:xfrm>
            <a:prstGeom prst="rect">
              <a:avLst/>
            </a:prstGeom>
            <a:noFill/>
          </p:spPr>
          <p:txBody>
            <a:bodyPr wrap="square" rtlCol="0">
              <a:spAutoFit/>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6931A"/>
                  </a:solidFill>
                  <a:effectLst/>
                  <a:uLnTx/>
                  <a:uFillTx/>
                  <a:latin typeface="Segoe UI"/>
                  <a:ea typeface="+mn-ea"/>
                  <a:cs typeface="Arial" pitchFamily="34" charset="0"/>
                </a:rPr>
                <a:t>Monitor</a:t>
              </a:r>
              <a:endParaRPr kumimoji="0" lang="en-US" sz="1400" b="1" i="0" u="none" strike="noStrike" kern="0" cap="none" spc="0" normalizeH="0" baseline="0" noProof="0" dirty="0">
                <a:ln>
                  <a:noFill/>
                </a:ln>
                <a:solidFill>
                  <a:srgbClr val="F6931A"/>
                </a:solidFill>
                <a:effectLst/>
                <a:uLnTx/>
                <a:uFillTx/>
                <a:latin typeface="Segoe UI"/>
                <a:ea typeface="+mn-ea"/>
                <a:cs typeface="Arial" pitchFamily="34" charset="0"/>
              </a:endParaRPr>
            </a:p>
          </p:txBody>
        </p:sp>
        <p:sp>
          <p:nvSpPr>
            <p:cNvPr id="13" name="Oval 12"/>
            <p:cNvSpPr/>
            <p:nvPr/>
          </p:nvSpPr>
          <p:spPr bwMode="auto">
            <a:xfrm rot="16200000">
              <a:off x="6016564" y="3641577"/>
              <a:ext cx="365757" cy="365757"/>
            </a:xfrm>
            <a:prstGeom prst="ellipse">
              <a:avLst/>
            </a:prstGeom>
            <a:solidFill>
              <a:schemeClr val="bg1"/>
            </a:solidFill>
            <a:ln w="38100" cmpd="sng">
              <a:solidFill>
                <a:srgbClr val="F6931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 name="Group 2"/>
          <p:cNvGrpSpPr/>
          <p:nvPr/>
        </p:nvGrpSpPr>
        <p:grpSpPr>
          <a:xfrm>
            <a:off x="1908312" y="2661375"/>
            <a:ext cx="4474008" cy="365757"/>
            <a:chOff x="1908312" y="2661375"/>
            <a:chExt cx="4474008" cy="365757"/>
          </a:xfrm>
        </p:grpSpPr>
        <p:cxnSp>
          <p:nvCxnSpPr>
            <p:cNvPr id="14" name="Straight Connector 13"/>
            <p:cNvCxnSpPr/>
            <p:nvPr/>
          </p:nvCxnSpPr>
          <p:spPr>
            <a:xfrm rot="5400000" flipH="1">
              <a:off x="5740749" y="2496378"/>
              <a:ext cx="0" cy="695750"/>
            </a:xfrm>
            <a:prstGeom prst="line">
              <a:avLst/>
            </a:prstGeom>
            <a:ln w="38100" cap="rnd">
              <a:solidFill>
                <a:srgbClr val="F6931A"/>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15" name="Oval 14"/>
            <p:cNvSpPr/>
            <p:nvPr/>
          </p:nvSpPr>
          <p:spPr bwMode="auto">
            <a:xfrm rot="16200000">
              <a:off x="6016563" y="2661375"/>
              <a:ext cx="365757" cy="365757"/>
            </a:xfrm>
            <a:prstGeom prst="ellipse">
              <a:avLst/>
            </a:prstGeom>
            <a:solidFill>
              <a:schemeClr val="bg1"/>
            </a:solidFill>
            <a:ln w="38100" cmpd="sng">
              <a:solidFill>
                <a:srgbClr val="F6931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extBox 15"/>
            <p:cNvSpPr txBox="1"/>
            <p:nvPr/>
          </p:nvSpPr>
          <p:spPr>
            <a:xfrm>
              <a:off x="1908312" y="2690936"/>
              <a:ext cx="3407259" cy="307777"/>
            </a:xfrm>
            <a:prstGeom prst="rect">
              <a:avLst/>
            </a:prstGeom>
            <a:noFill/>
          </p:spPr>
          <p:txBody>
            <a:bodyPr wrap="square" rtlCol="0">
              <a:spAutoFit/>
            </a:bodyPr>
            <a:lstStyle/>
            <a:p>
              <a:pPr marL="0" marR="0" lvl="0" indent="0" algn="r" defTabSz="93246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6931A"/>
                  </a:solidFill>
                  <a:effectLst/>
                  <a:uLnTx/>
                  <a:uFillTx/>
                  <a:latin typeface="Segoe UI"/>
                  <a:ea typeface="+mn-ea"/>
                  <a:cs typeface="Arial" pitchFamily="34" charset="0"/>
                </a:rPr>
                <a:t>Feedback</a:t>
              </a:r>
              <a:endParaRPr kumimoji="0" lang="en-US" sz="1400" b="1" i="0" u="none" strike="noStrike" kern="0" cap="none" spc="0" normalizeH="0" baseline="0" noProof="0" dirty="0">
                <a:ln>
                  <a:noFill/>
                </a:ln>
                <a:solidFill>
                  <a:srgbClr val="F6931A"/>
                </a:solidFill>
                <a:effectLst/>
                <a:uLnTx/>
                <a:uFillTx/>
                <a:latin typeface="Segoe UI Light"/>
                <a:ea typeface="+mn-ea"/>
                <a:cs typeface="Arial" pitchFamily="34" charset="0"/>
              </a:endParaRPr>
            </a:p>
          </p:txBody>
        </p:sp>
      </p:grpSp>
      <p:sp>
        <p:nvSpPr>
          <p:cNvPr id="18" name="Rectangle 17"/>
          <p:cNvSpPr/>
          <p:nvPr/>
        </p:nvSpPr>
        <p:spPr>
          <a:xfrm>
            <a:off x="6487398" y="1735528"/>
            <a:ext cx="2992826" cy="461665"/>
          </a:xfrm>
          <a:prstGeom prst="rect">
            <a:avLst/>
          </a:prstGeom>
        </p:spPr>
        <p:txBody>
          <a:bodyPr wrap="none">
            <a:spAutoFit/>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C02DA2"/>
                </a:solidFill>
                <a:effectLst/>
                <a:uLnTx/>
                <a:uFillTx/>
                <a:latin typeface="Segoe UI Light"/>
                <a:ea typeface="+mn-ea"/>
                <a:cs typeface="Arial" pitchFamily="34" charset="0"/>
              </a:rPr>
              <a:t>Plan the next iteration</a:t>
            </a:r>
            <a:endParaRPr kumimoji="0" lang="en-US" sz="2400" b="0" i="0" u="none" strike="noStrike" kern="1200" cap="none" spc="0" normalizeH="0" baseline="0" noProof="0" dirty="0">
              <a:ln>
                <a:noFill/>
              </a:ln>
              <a:solidFill>
                <a:srgbClr val="C02DA2"/>
              </a:solidFill>
              <a:effectLst/>
              <a:uLnTx/>
              <a:uFillTx/>
              <a:latin typeface="Segoe UI"/>
              <a:ea typeface="+mn-ea"/>
              <a:cs typeface="+mn-cs"/>
            </a:endParaRPr>
          </a:p>
        </p:txBody>
      </p:sp>
      <p:grpSp>
        <p:nvGrpSpPr>
          <p:cNvPr id="32" name="Group 31"/>
          <p:cNvGrpSpPr/>
          <p:nvPr/>
        </p:nvGrpSpPr>
        <p:grpSpPr>
          <a:xfrm>
            <a:off x="400430" y="482599"/>
            <a:ext cx="935248" cy="566011"/>
            <a:chOff x="7302500" y="1771650"/>
            <a:chExt cx="1282700" cy="776288"/>
          </a:xfrm>
        </p:grpSpPr>
        <p:sp>
          <p:nvSpPr>
            <p:cNvPr id="33" name="Freeform 28"/>
            <p:cNvSpPr>
              <a:spLocks/>
            </p:cNvSpPr>
            <p:nvPr/>
          </p:nvSpPr>
          <p:spPr bwMode="auto">
            <a:xfrm>
              <a:off x="7302500" y="1771650"/>
              <a:ext cx="1127125" cy="755650"/>
            </a:xfrm>
            <a:custGeom>
              <a:avLst/>
              <a:gdLst>
                <a:gd name="T0" fmla="*/ 1311 w 1311"/>
                <a:gd name="T1" fmla="*/ 828 h 878"/>
                <a:gd name="T2" fmla="*/ 1311 w 1311"/>
                <a:gd name="T3" fmla="*/ 828 h 878"/>
                <a:gd name="T4" fmla="*/ 1260 w 1311"/>
                <a:gd name="T5" fmla="*/ 878 h 878"/>
                <a:gd name="T6" fmla="*/ 50 w 1311"/>
                <a:gd name="T7" fmla="*/ 878 h 878"/>
                <a:gd name="T8" fmla="*/ 0 w 1311"/>
                <a:gd name="T9" fmla="*/ 828 h 878"/>
                <a:gd name="T10" fmla="*/ 0 w 1311"/>
                <a:gd name="T11" fmla="*/ 51 h 878"/>
                <a:gd name="T12" fmla="*/ 50 w 1311"/>
                <a:gd name="T13" fmla="*/ 0 h 878"/>
                <a:gd name="T14" fmla="*/ 1260 w 1311"/>
                <a:gd name="T15" fmla="*/ 0 h 878"/>
                <a:gd name="T16" fmla="*/ 1311 w 1311"/>
                <a:gd name="T17" fmla="*/ 51 h 878"/>
                <a:gd name="T18" fmla="*/ 1311 w 1311"/>
                <a:gd name="T19" fmla="*/ 828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1" h="878">
                  <a:moveTo>
                    <a:pt x="1311" y="828"/>
                  </a:moveTo>
                  <a:lnTo>
                    <a:pt x="1311" y="828"/>
                  </a:lnTo>
                  <a:cubicBezTo>
                    <a:pt x="1311" y="856"/>
                    <a:pt x="1288" y="878"/>
                    <a:pt x="1260" y="878"/>
                  </a:cubicBezTo>
                  <a:lnTo>
                    <a:pt x="50" y="878"/>
                  </a:lnTo>
                  <a:cubicBezTo>
                    <a:pt x="22" y="878"/>
                    <a:pt x="0" y="856"/>
                    <a:pt x="0" y="828"/>
                  </a:cubicBezTo>
                  <a:lnTo>
                    <a:pt x="0" y="51"/>
                  </a:lnTo>
                  <a:cubicBezTo>
                    <a:pt x="0" y="23"/>
                    <a:pt x="22" y="0"/>
                    <a:pt x="50" y="0"/>
                  </a:cubicBezTo>
                  <a:lnTo>
                    <a:pt x="1260" y="0"/>
                  </a:lnTo>
                  <a:cubicBezTo>
                    <a:pt x="1288" y="0"/>
                    <a:pt x="1311" y="23"/>
                    <a:pt x="1311" y="51"/>
                  </a:cubicBezTo>
                  <a:lnTo>
                    <a:pt x="1311" y="828"/>
                  </a:lnTo>
                  <a:close/>
                </a:path>
              </a:pathLst>
            </a:custGeom>
            <a:solidFill>
              <a:srgbClr val="F6931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34" name="Freeform 29"/>
            <p:cNvSpPr>
              <a:spLocks/>
            </p:cNvSpPr>
            <p:nvPr/>
          </p:nvSpPr>
          <p:spPr bwMode="auto">
            <a:xfrm>
              <a:off x="7386638" y="1851025"/>
              <a:ext cx="958850" cy="558800"/>
            </a:xfrm>
            <a:custGeom>
              <a:avLst/>
              <a:gdLst>
                <a:gd name="T0" fmla="*/ 0 w 1115"/>
                <a:gd name="T1" fmla="*/ 0 h 649"/>
                <a:gd name="T2" fmla="*/ 0 w 1115"/>
                <a:gd name="T3" fmla="*/ 0 h 649"/>
                <a:gd name="T4" fmla="*/ 1115 w 1115"/>
                <a:gd name="T5" fmla="*/ 0 h 649"/>
                <a:gd name="T6" fmla="*/ 1115 w 1115"/>
                <a:gd name="T7" fmla="*/ 649 h 649"/>
                <a:gd name="T8" fmla="*/ 0 w 1115"/>
                <a:gd name="T9" fmla="*/ 649 h 649"/>
                <a:gd name="T10" fmla="*/ 0 w 1115"/>
                <a:gd name="T11" fmla="*/ 0 h 649"/>
              </a:gdLst>
              <a:ahLst/>
              <a:cxnLst>
                <a:cxn ang="0">
                  <a:pos x="T0" y="T1"/>
                </a:cxn>
                <a:cxn ang="0">
                  <a:pos x="T2" y="T3"/>
                </a:cxn>
                <a:cxn ang="0">
                  <a:pos x="T4" y="T5"/>
                </a:cxn>
                <a:cxn ang="0">
                  <a:pos x="T6" y="T7"/>
                </a:cxn>
                <a:cxn ang="0">
                  <a:pos x="T8" y="T9"/>
                </a:cxn>
                <a:cxn ang="0">
                  <a:pos x="T10" y="T11"/>
                </a:cxn>
              </a:cxnLst>
              <a:rect l="0" t="0" r="r" b="b"/>
              <a:pathLst>
                <a:path w="1115" h="649">
                  <a:moveTo>
                    <a:pt x="0" y="0"/>
                  </a:moveTo>
                  <a:lnTo>
                    <a:pt x="0" y="0"/>
                  </a:lnTo>
                  <a:lnTo>
                    <a:pt x="1115" y="0"/>
                  </a:lnTo>
                  <a:lnTo>
                    <a:pt x="1115" y="649"/>
                  </a:lnTo>
                  <a:lnTo>
                    <a:pt x="0" y="649"/>
                  </a:lnTo>
                  <a:lnTo>
                    <a:pt x="0" y="0"/>
                  </a:lnTo>
                  <a:close/>
                </a:path>
              </a:pathLst>
            </a:custGeom>
            <a:solidFill>
              <a:srgbClr val="FBE1A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35" name="Freeform 30"/>
            <p:cNvSpPr>
              <a:spLocks/>
            </p:cNvSpPr>
            <p:nvPr/>
          </p:nvSpPr>
          <p:spPr bwMode="auto">
            <a:xfrm>
              <a:off x="7831138" y="2447925"/>
              <a:ext cx="44450" cy="44450"/>
            </a:xfrm>
            <a:custGeom>
              <a:avLst/>
              <a:gdLst>
                <a:gd name="T0" fmla="*/ 25 w 51"/>
                <a:gd name="T1" fmla="*/ 51 h 51"/>
                <a:gd name="T2" fmla="*/ 25 w 51"/>
                <a:gd name="T3" fmla="*/ 51 h 51"/>
                <a:gd name="T4" fmla="*/ 0 w 51"/>
                <a:gd name="T5" fmla="*/ 26 h 51"/>
                <a:gd name="T6" fmla="*/ 25 w 51"/>
                <a:gd name="T7" fmla="*/ 0 h 51"/>
                <a:gd name="T8" fmla="*/ 51 w 51"/>
                <a:gd name="T9" fmla="*/ 26 h 51"/>
                <a:gd name="T10" fmla="*/ 25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5" y="51"/>
                  </a:moveTo>
                  <a:lnTo>
                    <a:pt x="25" y="51"/>
                  </a:lnTo>
                  <a:cubicBezTo>
                    <a:pt x="11" y="51"/>
                    <a:pt x="0" y="40"/>
                    <a:pt x="0" y="26"/>
                  </a:cubicBezTo>
                  <a:cubicBezTo>
                    <a:pt x="0" y="12"/>
                    <a:pt x="11" y="0"/>
                    <a:pt x="25" y="0"/>
                  </a:cubicBezTo>
                  <a:cubicBezTo>
                    <a:pt x="39" y="0"/>
                    <a:pt x="51" y="12"/>
                    <a:pt x="51" y="26"/>
                  </a:cubicBezTo>
                  <a:cubicBezTo>
                    <a:pt x="51" y="40"/>
                    <a:pt x="39" y="51"/>
                    <a:pt x="25" y="51"/>
                  </a:cubicBez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36" name="Freeform 31"/>
            <p:cNvSpPr>
              <a:spLocks/>
            </p:cNvSpPr>
            <p:nvPr/>
          </p:nvSpPr>
          <p:spPr bwMode="auto">
            <a:xfrm>
              <a:off x="7577138" y="2127250"/>
              <a:ext cx="114300" cy="274638"/>
            </a:xfrm>
            <a:custGeom>
              <a:avLst/>
              <a:gdLst>
                <a:gd name="T0" fmla="*/ 0 w 132"/>
                <a:gd name="T1" fmla="*/ 0 h 318"/>
                <a:gd name="T2" fmla="*/ 0 w 132"/>
                <a:gd name="T3" fmla="*/ 0 h 318"/>
                <a:gd name="T4" fmla="*/ 132 w 132"/>
                <a:gd name="T5" fmla="*/ 0 h 318"/>
                <a:gd name="T6" fmla="*/ 132 w 132"/>
                <a:gd name="T7" fmla="*/ 318 h 318"/>
                <a:gd name="T8" fmla="*/ 0 w 132"/>
                <a:gd name="T9" fmla="*/ 318 h 318"/>
                <a:gd name="T10" fmla="*/ 0 w 132"/>
                <a:gd name="T11" fmla="*/ 0 h 318"/>
              </a:gdLst>
              <a:ahLst/>
              <a:cxnLst>
                <a:cxn ang="0">
                  <a:pos x="T0" y="T1"/>
                </a:cxn>
                <a:cxn ang="0">
                  <a:pos x="T2" y="T3"/>
                </a:cxn>
                <a:cxn ang="0">
                  <a:pos x="T4" y="T5"/>
                </a:cxn>
                <a:cxn ang="0">
                  <a:pos x="T6" y="T7"/>
                </a:cxn>
                <a:cxn ang="0">
                  <a:pos x="T8" y="T9"/>
                </a:cxn>
                <a:cxn ang="0">
                  <a:pos x="T10" y="T11"/>
                </a:cxn>
              </a:cxnLst>
              <a:rect l="0" t="0" r="r" b="b"/>
              <a:pathLst>
                <a:path w="132" h="318">
                  <a:moveTo>
                    <a:pt x="0" y="0"/>
                  </a:moveTo>
                  <a:lnTo>
                    <a:pt x="0" y="0"/>
                  </a:lnTo>
                  <a:lnTo>
                    <a:pt x="132" y="0"/>
                  </a:lnTo>
                  <a:lnTo>
                    <a:pt x="132" y="318"/>
                  </a:lnTo>
                  <a:lnTo>
                    <a:pt x="0" y="318"/>
                  </a:lnTo>
                  <a:lnTo>
                    <a:pt x="0" y="0"/>
                  </a:lnTo>
                  <a:close/>
                </a:path>
              </a:pathLst>
            </a:custGeom>
            <a:solidFill>
              <a:srgbClr val="F4AD0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37" name="Freeform 32"/>
            <p:cNvSpPr>
              <a:spLocks/>
            </p:cNvSpPr>
            <p:nvPr/>
          </p:nvSpPr>
          <p:spPr bwMode="auto">
            <a:xfrm>
              <a:off x="7729538" y="2041525"/>
              <a:ext cx="114300" cy="360363"/>
            </a:xfrm>
            <a:custGeom>
              <a:avLst/>
              <a:gdLst>
                <a:gd name="T0" fmla="*/ 0 w 132"/>
                <a:gd name="T1" fmla="*/ 0 h 418"/>
                <a:gd name="T2" fmla="*/ 0 w 132"/>
                <a:gd name="T3" fmla="*/ 0 h 418"/>
                <a:gd name="T4" fmla="*/ 132 w 132"/>
                <a:gd name="T5" fmla="*/ 0 h 418"/>
                <a:gd name="T6" fmla="*/ 132 w 132"/>
                <a:gd name="T7" fmla="*/ 418 h 418"/>
                <a:gd name="T8" fmla="*/ 0 w 132"/>
                <a:gd name="T9" fmla="*/ 418 h 418"/>
                <a:gd name="T10" fmla="*/ 0 w 132"/>
                <a:gd name="T11" fmla="*/ 0 h 418"/>
              </a:gdLst>
              <a:ahLst/>
              <a:cxnLst>
                <a:cxn ang="0">
                  <a:pos x="T0" y="T1"/>
                </a:cxn>
                <a:cxn ang="0">
                  <a:pos x="T2" y="T3"/>
                </a:cxn>
                <a:cxn ang="0">
                  <a:pos x="T4" y="T5"/>
                </a:cxn>
                <a:cxn ang="0">
                  <a:pos x="T6" y="T7"/>
                </a:cxn>
                <a:cxn ang="0">
                  <a:pos x="T8" y="T9"/>
                </a:cxn>
                <a:cxn ang="0">
                  <a:pos x="T10" y="T11"/>
                </a:cxn>
              </a:cxnLst>
              <a:rect l="0" t="0" r="r" b="b"/>
              <a:pathLst>
                <a:path w="132" h="418">
                  <a:moveTo>
                    <a:pt x="0" y="0"/>
                  </a:moveTo>
                  <a:lnTo>
                    <a:pt x="0" y="0"/>
                  </a:lnTo>
                  <a:lnTo>
                    <a:pt x="132" y="0"/>
                  </a:lnTo>
                  <a:lnTo>
                    <a:pt x="132" y="418"/>
                  </a:lnTo>
                  <a:lnTo>
                    <a:pt x="0" y="418"/>
                  </a:lnTo>
                  <a:lnTo>
                    <a:pt x="0" y="0"/>
                  </a:lnTo>
                  <a:close/>
                </a:path>
              </a:pathLst>
            </a:custGeom>
            <a:solidFill>
              <a:srgbClr val="F6931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38" name="Freeform 33"/>
            <p:cNvSpPr>
              <a:spLocks/>
            </p:cNvSpPr>
            <p:nvPr/>
          </p:nvSpPr>
          <p:spPr bwMode="auto">
            <a:xfrm>
              <a:off x="7883525" y="2095500"/>
              <a:ext cx="114300" cy="306388"/>
            </a:xfrm>
            <a:custGeom>
              <a:avLst/>
              <a:gdLst>
                <a:gd name="T0" fmla="*/ 0 w 132"/>
                <a:gd name="T1" fmla="*/ 0 h 356"/>
                <a:gd name="T2" fmla="*/ 0 w 132"/>
                <a:gd name="T3" fmla="*/ 0 h 356"/>
                <a:gd name="T4" fmla="*/ 132 w 132"/>
                <a:gd name="T5" fmla="*/ 0 h 356"/>
                <a:gd name="T6" fmla="*/ 132 w 132"/>
                <a:gd name="T7" fmla="*/ 356 h 356"/>
                <a:gd name="T8" fmla="*/ 0 w 132"/>
                <a:gd name="T9" fmla="*/ 356 h 356"/>
                <a:gd name="T10" fmla="*/ 0 w 132"/>
                <a:gd name="T11" fmla="*/ 0 h 356"/>
              </a:gdLst>
              <a:ahLst/>
              <a:cxnLst>
                <a:cxn ang="0">
                  <a:pos x="T0" y="T1"/>
                </a:cxn>
                <a:cxn ang="0">
                  <a:pos x="T2" y="T3"/>
                </a:cxn>
                <a:cxn ang="0">
                  <a:pos x="T4" y="T5"/>
                </a:cxn>
                <a:cxn ang="0">
                  <a:pos x="T6" y="T7"/>
                </a:cxn>
                <a:cxn ang="0">
                  <a:pos x="T8" y="T9"/>
                </a:cxn>
                <a:cxn ang="0">
                  <a:pos x="T10" y="T11"/>
                </a:cxn>
              </a:cxnLst>
              <a:rect l="0" t="0" r="r" b="b"/>
              <a:pathLst>
                <a:path w="132" h="356">
                  <a:moveTo>
                    <a:pt x="0" y="0"/>
                  </a:moveTo>
                  <a:lnTo>
                    <a:pt x="0" y="0"/>
                  </a:lnTo>
                  <a:lnTo>
                    <a:pt x="132" y="0"/>
                  </a:lnTo>
                  <a:lnTo>
                    <a:pt x="132" y="356"/>
                  </a:lnTo>
                  <a:lnTo>
                    <a:pt x="0" y="356"/>
                  </a:lnTo>
                  <a:lnTo>
                    <a:pt x="0" y="0"/>
                  </a:lnTo>
                  <a:close/>
                </a:path>
              </a:pathLst>
            </a:custGeom>
            <a:solidFill>
              <a:srgbClr val="F4AD0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39" name="Freeform 34"/>
            <p:cNvSpPr>
              <a:spLocks/>
            </p:cNvSpPr>
            <p:nvPr/>
          </p:nvSpPr>
          <p:spPr bwMode="auto">
            <a:xfrm>
              <a:off x="8037513" y="1916113"/>
              <a:ext cx="112713" cy="485775"/>
            </a:xfrm>
            <a:custGeom>
              <a:avLst/>
              <a:gdLst>
                <a:gd name="T0" fmla="*/ 0 w 131"/>
                <a:gd name="T1" fmla="*/ 0 h 564"/>
                <a:gd name="T2" fmla="*/ 0 w 131"/>
                <a:gd name="T3" fmla="*/ 0 h 564"/>
                <a:gd name="T4" fmla="*/ 131 w 131"/>
                <a:gd name="T5" fmla="*/ 0 h 564"/>
                <a:gd name="T6" fmla="*/ 131 w 131"/>
                <a:gd name="T7" fmla="*/ 564 h 564"/>
                <a:gd name="T8" fmla="*/ 0 w 131"/>
                <a:gd name="T9" fmla="*/ 564 h 564"/>
                <a:gd name="T10" fmla="*/ 0 w 131"/>
                <a:gd name="T11" fmla="*/ 0 h 564"/>
              </a:gdLst>
              <a:ahLst/>
              <a:cxnLst>
                <a:cxn ang="0">
                  <a:pos x="T0" y="T1"/>
                </a:cxn>
                <a:cxn ang="0">
                  <a:pos x="T2" y="T3"/>
                </a:cxn>
                <a:cxn ang="0">
                  <a:pos x="T4" y="T5"/>
                </a:cxn>
                <a:cxn ang="0">
                  <a:pos x="T6" y="T7"/>
                </a:cxn>
                <a:cxn ang="0">
                  <a:pos x="T8" y="T9"/>
                </a:cxn>
                <a:cxn ang="0">
                  <a:pos x="T10" y="T11"/>
                </a:cxn>
              </a:cxnLst>
              <a:rect l="0" t="0" r="r" b="b"/>
              <a:pathLst>
                <a:path w="131" h="564">
                  <a:moveTo>
                    <a:pt x="0" y="0"/>
                  </a:moveTo>
                  <a:lnTo>
                    <a:pt x="0" y="0"/>
                  </a:lnTo>
                  <a:lnTo>
                    <a:pt x="131" y="0"/>
                  </a:lnTo>
                  <a:lnTo>
                    <a:pt x="131" y="564"/>
                  </a:lnTo>
                  <a:lnTo>
                    <a:pt x="0" y="564"/>
                  </a:lnTo>
                  <a:lnTo>
                    <a:pt x="0" y="0"/>
                  </a:lnTo>
                  <a:close/>
                </a:path>
              </a:pathLst>
            </a:custGeom>
            <a:solidFill>
              <a:srgbClr val="F6931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40" name="Freeform 148"/>
            <p:cNvSpPr>
              <a:spLocks/>
            </p:cNvSpPr>
            <p:nvPr/>
          </p:nvSpPr>
          <p:spPr bwMode="auto">
            <a:xfrm>
              <a:off x="8488363" y="2435225"/>
              <a:ext cx="90488" cy="104775"/>
            </a:xfrm>
            <a:custGeom>
              <a:avLst/>
              <a:gdLst>
                <a:gd name="T0" fmla="*/ 65 w 106"/>
                <a:gd name="T1" fmla="*/ 122 h 122"/>
                <a:gd name="T2" fmla="*/ 65 w 106"/>
                <a:gd name="T3" fmla="*/ 122 h 122"/>
                <a:gd name="T4" fmla="*/ 106 w 106"/>
                <a:gd name="T5" fmla="*/ 94 h 122"/>
                <a:gd name="T6" fmla="*/ 40 w 106"/>
                <a:gd name="T7" fmla="*/ 0 h 122"/>
                <a:gd name="T8" fmla="*/ 0 w 106"/>
                <a:gd name="T9" fmla="*/ 28 h 122"/>
                <a:gd name="T10" fmla="*/ 65 w 106"/>
                <a:gd name="T11" fmla="*/ 122 h 122"/>
              </a:gdLst>
              <a:ahLst/>
              <a:cxnLst>
                <a:cxn ang="0">
                  <a:pos x="T0" y="T1"/>
                </a:cxn>
                <a:cxn ang="0">
                  <a:pos x="T2" y="T3"/>
                </a:cxn>
                <a:cxn ang="0">
                  <a:pos x="T4" y="T5"/>
                </a:cxn>
                <a:cxn ang="0">
                  <a:pos x="T6" y="T7"/>
                </a:cxn>
                <a:cxn ang="0">
                  <a:pos x="T8" y="T9"/>
                </a:cxn>
                <a:cxn ang="0">
                  <a:pos x="T10" y="T11"/>
                </a:cxn>
              </a:cxnLst>
              <a:rect l="0" t="0" r="r" b="b"/>
              <a:pathLst>
                <a:path w="106" h="122">
                  <a:moveTo>
                    <a:pt x="65" y="122"/>
                  </a:moveTo>
                  <a:lnTo>
                    <a:pt x="65" y="122"/>
                  </a:lnTo>
                  <a:lnTo>
                    <a:pt x="106" y="94"/>
                  </a:lnTo>
                  <a:lnTo>
                    <a:pt x="40" y="0"/>
                  </a:lnTo>
                  <a:lnTo>
                    <a:pt x="0" y="28"/>
                  </a:lnTo>
                  <a:lnTo>
                    <a:pt x="65" y="122"/>
                  </a:lnTo>
                  <a:close/>
                </a:path>
              </a:pathLst>
            </a:custGeom>
            <a:solidFill>
              <a:srgbClr val="F4AD0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41" name="Freeform 149"/>
            <p:cNvSpPr>
              <a:spLocks/>
            </p:cNvSpPr>
            <p:nvPr/>
          </p:nvSpPr>
          <p:spPr bwMode="auto">
            <a:xfrm>
              <a:off x="8272463" y="2127250"/>
              <a:ext cx="250825" cy="331788"/>
            </a:xfrm>
            <a:custGeom>
              <a:avLst/>
              <a:gdLst>
                <a:gd name="T0" fmla="*/ 251 w 291"/>
                <a:gd name="T1" fmla="*/ 386 h 386"/>
                <a:gd name="T2" fmla="*/ 251 w 291"/>
                <a:gd name="T3" fmla="*/ 386 h 386"/>
                <a:gd name="T4" fmla="*/ 291 w 291"/>
                <a:gd name="T5" fmla="*/ 358 h 386"/>
                <a:gd name="T6" fmla="*/ 41 w 291"/>
                <a:gd name="T7" fmla="*/ 0 h 386"/>
                <a:gd name="T8" fmla="*/ 0 w 291"/>
                <a:gd name="T9" fmla="*/ 29 h 386"/>
                <a:gd name="T10" fmla="*/ 251 w 291"/>
                <a:gd name="T11" fmla="*/ 386 h 386"/>
              </a:gdLst>
              <a:ahLst/>
              <a:cxnLst>
                <a:cxn ang="0">
                  <a:pos x="T0" y="T1"/>
                </a:cxn>
                <a:cxn ang="0">
                  <a:pos x="T2" y="T3"/>
                </a:cxn>
                <a:cxn ang="0">
                  <a:pos x="T4" y="T5"/>
                </a:cxn>
                <a:cxn ang="0">
                  <a:pos x="T6" y="T7"/>
                </a:cxn>
                <a:cxn ang="0">
                  <a:pos x="T8" y="T9"/>
                </a:cxn>
                <a:cxn ang="0">
                  <a:pos x="T10" y="T11"/>
                </a:cxn>
              </a:cxnLst>
              <a:rect l="0" t="0" r="r" b="b"/>
              <a:pathLst>
                <a:path w="291" h="386">
                  <a:moveTo>
                    <a:pt x="251" y="386"/>
                  </a:moveTo>
                  <a:lnTo>
                    <a:pt x="251" y="386"/>
                  </a:lnTo>
                  <a:lnTo>
                    <a:pt x="291" y="358"/>
                  </a:lnTo>
                  <a:lnTo>
                    <a:pt x="41" y="0"/>
                  </a:lnTo>
                  <a:lnTo>
                    <a:pt x="0" y="29"/>
                  </a:lnTo>
                  <a:lnTo>
                    <a:pt x="251" y="386"/>
                  </a:lnTo>
                  <a:close/>
                </a:path>
              </a:pathLst>
            </a:custGeom>
            <a:solidFill>
              <a:srgbClr val="F4AD0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42" name="Freeform 150"/>
            <p:cNvSpPr>
              <a:spLocks/>
            </p:cNvSpPr>
            <p:nvPr/>
          </p:nvSpPr>
          <p:spPr bwMode="auto">
            <a:xfrm>
              <a:off x="8543925" y="2516188"/>
              <a:ext cx="41275" cy="31750"/>
            </a:xfrm>
            <a:custGeom>
              <a:avLst/>
              <a:gdLst>
                <a:gd name="T0" fmla="*/ 44 w 47"/>
                <a:gd name="T1" fmla="*/ 4 h 37"/>
                <a:gd name="T2" fmla="*/ 44 w 47"/>
                <a:gd name="T3" fmla="*/ 4 h 37"/>
                <a:gd name="T4" fmla="*/ 41 w 47"/>
                <a:gd name="T5" fmla="*/ 0 h 37"/>
                <a:gd name="T6" fmla="*/ 0 w 47"/>
                <a:gd name="T7" fmla="*/ 28 h 37"/>
                <a:gd name="T8" fmla="*/ 3 w 47"/>
                <a:gd name="T9" fmla="*/ 32 h 37"/>
                <a:gd name="T10" fmla="*/ 17 w 47"/>
                <a:gd name="T11" fmla="*/ 35 h 37"/>
                <a:gd name="T12" fmla="*/ 41 w 47"/>
                <a:gd name="T13" fmla="*/ 17 h 37"/>
                <a:gd name="T14" fmla="*/ 44 w 47"/>
                <a:gd name="T15" fmla="*/ 4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37">
                  <a:moveTo>
                    <a:pt x="44" y="4"/>
                  </a:moveTo>
                  <a:lnTo>
                    <a:pt x="44" y="4"/>
                  </a:lnTo>
                  <a:cubicBezTo>
                    <a:pt x="41" y="0"/>
                    <a:pt x="41" y="0"/>
                    <a:pt x="41" y="0"/>
                  </a:cubicBezTo>
                  <a:cubicBezTo>
                    <a:pt x="0" y="28"/>
                    <a:pt x="0" y="28"/>
                    <a:pt x="0" y="28"/>
                  </a:cubicBezTo>
                  <a:cubicBezTo>
                    <a:pt x="3" y="32"/>
                    <a:pt x="3" y="32"/>
                    <a:pt x="3" y="32"/>
                  </a:cubicBezTo>
                  <a:cubicBezTo>
                    <a:pt x="6" y="36"/>
                    <a:pt x="13" y="37"/>
                    <a:pt x="17" y="35"/>
                  </a:cubicBezTo>
                  <a:cubicBezTo>
                    <a:pt x="41" y="17"/>
                    <a:pt x="41" y="17"/>
                    <a:pt x="41" y="17"/>
                  </a:cubicBezTo>
                  <a:cubicBezTo>
                    <a:pt x="45" y="15"/>
                    <a:pt x="47" y="8"/>
                    <a:pt x="44" y="4"/>
                  </a:cubicBezTo>
                  <a:close/>
                </a:path>
              </a:pathLst>
            </a:custGeom>
            <a:solidFill>
              <a:srgbClr val="F4AD0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43" name="Freeform 151"/>
            <p:cNvSpPr>
              <a:spLocks/>
            </p:cNvSpPr>
            <p:nvPr/>
          </p:nvSpPr>
          <p:spPr bwMode="auto">
            <a:xfrm>
              <a:off x="8226425" y="2058988"/>
              <a:ext cx="80963" cy="92075"/>
            </a:xfrm>
            <a:custGeom>
              <a:avLst/>
              <a:gdLst>
                <a:gd name="T0" fmla="*/ 62 w 94"/>
                <a:gd name="T1" fmla="*/ 33 h 107"/>
                <a:gd name="T2" fmla="*/ 62 w 94"/>
                <a:gd name="T3" fmla="*/ 33 h 107"/>
                <a:gd name="T4" fmla="*/ 22 w 94"/>
                <a:gd name="T5" fmla="*/ 1 h 107"/>
                <a:gd name="T6" fmla="*/ 5 w 94"/>
                <a:gd name="T7" fmla="*/ 13 h 107"/>
                <a:gd name="T8" fmla="*/ 22 w 94"/>
                <a:gd name="T9" fmla="*/ 62 h 107"/>
                <a:gd name="T10" fmla="*/ 53 w 94"/>
                <a:gd name="T11" fmla="*/ 107 h 107"/>
                <a:gd name="T12" fmla="*/ 69 w 94"/>
                <a:gd name="T13" fmla="*/ 95 h 107"/>
                <a:gd name="T14" fmla="*/ 73 w 94"/>
                <a:gd name="T15" fmla="*/ 92 h 107"/>
                <a:gd name="T16" fmla="*/ 94 w 94"/>
                <a:gd name="T17" fmla="*/ 78 h 107"/>
                <a:gd name="T18" fmla="*/ 62 w 94"/>
                <a:gd name="T19" fmla="*/ 3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107">
                  <a:moveTo>
                    <a:pt x="62" y="33"/>
                  </a:moveTo>
                  <a:lnTo>
                    <a:pt x="62" y="33"/>
                  </a:lnTo>
                  <a:cubicBezTo>
                    <a:pt x="54" y="21"/>
                    <a:pt x="33" y="0"/>
                    <a:pt x="22" y="1"/>
                  </a:cubicBezTo>
                  <a:cubicBezTo>
                    <a:pt x="5" y="13"/>
                    <a:pt x="5" y="13"/>
                    <a:pt x="5" y="13"/>
                  </a:cubicBezTo>
                  <a:cubicBezTo>
                    <a:pt x="0" y="23"/>
                    <a:pt x="13" y="50"/>
                    <a:pt x="22" y="62"/>
                  </a:cubicBezTo>
                  <a:cubicBezTo>
                    <a:pt x="53" y="107"/>
                    <a:pt x="53" y="107"/>
                    <a:pt x="53" y="107"/>
                  </a:cubicBezTo>
                  <a:cubicBezTo>
                    <a:pt x="69" y="95"/>
                    <a:pt x="69" y="95"/>
                    <a:pt x="69" y="95"/>
                  </a:cubicBezTo>
                  <a:cubicBezTo>
                    <a:pt x="73" y="92"/>
                    <a:pt x="73" y="92"/>
                    <a:pt x="73" y="92"/>
                  </a:cubicBezTo>
                  <a:cubicBezTo>
                    <a:pt x="94" y="78"/>
                    <a:pt x="94" y="78"/>
                    <a:pt x="94" y="78"/>
                  </a:cubicBezTo>
                  <a:lnTo>
                    <a:pt x="62" y="33"/>
                  </a:lnTo>
                  <a:close/>
                </a:path>
              </a:pathLst>
            </a:custGeom>
            <a:solidFill>
              <a:srgbClr val="F4AD0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44" name="Freeform 152"/>
            <p:cNvSpPr>
              <a:spLocks/>
            </p:cNvSpPr>
            <p:nvPr/>
          </p:nvSpPr>
          <p:spPr bwMode="auto">
            <a:xfrm>
              <a:off x="8524875" y="2479675"/>
              <a:ext cx="44450" cy="53975"/>
            </a:xfrm>
            <a:custGeom>
              <a:avLst/>
              <a:gdLst>
                <a:gd name="T0" fmla="*/ 38 w 51"/>
                <a:gd name="T1" fmla="*/ 58 h 61"/>
                <a:gd name="T2" fmla="*/ 38 w 51"/>
                <a:gd name="T3" fmla="*/ 58 h 61"/>
                <a:gd name="T4" fmla="*/ 32 w 51"/>
                <a:gd name="T5" fmla="*/ 57 h 61"/>
                <a:gd name="T6" fmla="*/ 3 w 51"/>
                <a:gd name="T7" fmla="*/ 16 h 61"/>
                <a:gd name="T8" fmla="*/ 4 w 51"/>
                <a:gd name="T9" fmla="*/ 9 h 61"/>
                <a:gd name="T10" fmla="*/ 8 w 51"/>
                <a:gd name="T11" fmla="*/ 6 h 61"/>
                <a:gd name="T12" fmla="*/ 19 w 51"/>
                <a:gd name="T13" fmla="*/ 4 h 61"/>
                <a:gd name="T14" fmla="*/ 48 w 51"/>
                <a:gd name="T15" fmla="*/ 45 h 61"/>
                <a:gd name="T16" fmla="*/ 42 w 51"/>
                <a:gd name="T17" fmla="*/ 55 h 61"/>
                <a:gd name="T18" fmla="*/ 38 w 51"/>
                <a:gd name="T19" fmla="*/ 5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61">
                  <a:moveTo>
                    <a:pt x="38" y="58"/>
                  </a:moveTo>
                  <a:lnTo>
                    <a:pt x="38" y="58"/>
                  </a:lnTo>
                  <a:cubicBezTo>
                    <a:pt x="34" y="61"/>
                    <a:pt x="34" y="61"/>
                    <a:pt x="32" y="57"/>
                  </a:cubicBezTo>
                  <a:cubicBezTo>
                    <a:pt x="3" y="16"/>
                    <a:pt x="3" y="16"/>
                    <a:pt x="3" y="16"/>
                  </a:cubicBezTo>
                  <a:cubicBezTo>
                    <a:pt x="0" y="12"/>
                    <a:pt x="0" y="12"/>
                    <a:pt x="4" y="9"/>
                  </a:cubicBezTo>
                  <a:cubicBezTo>
                    <a:pt x="8" y="6"/>
                    <a:pt x="8" y="6"/>
                    <a:pt x="8" y="6"/>
                  </a:cubicBezTo>
                  <a:cubicBezTo>
                    <a:pt x="13" y="3"/>
                    <a:pt x="17" y="0"/>
                    <a:pt x="19" y="4"/>
                  </a:cubicBezTo>
                  <a:cubicBezTo>
                    <a:pt x="48" y="45"/>
                    <a:pt x="48" y="45"/>
                    <a:pt x="48" y="45"/>
                  </a:cubicBezTo>
                  <a:cubicBezTo>
                    <a:pt x="51" y="49"/>
                    <a:pt x="47" y="52"/>
                    <a:pt x="42" y="55"/>
                  </a:cubicBezTo>
                  <a:lnTo>
                    <a:pt x="38" y="58"/>
                  </a:lnTo>
                  <a:close/>
                </a:path>
              </a:pathLst>
            </a:custGeom>
            <a:solidFill>
              <a:srgbClr val="F4AD0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grpSp>
      <p:sp>
        <p:nvSpPr>
          <p:cNvPr id="48" name="Isosceles Triangle 47"/>
          <p:cNvSpPr/>
          <p:nvPr/>
        </p:nvSpPr>
        <p:spPr bwMode="auto">
          <a:xfrm rot="10800000" flipV="1">
            <a:off x="5945619" y="1716261"/>
            <a:ext cx="510159" cy="439792"/>
          </a:xfrm>
          <a:prstGeom prst="triangle">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Isosceles Triangle 48"/>
          <p:cNvSpPr/>
          <p:nvPr/>
        </p:nvSpPr>
        <p:spPr bwMode="auto">
          <a:xfrm rot="10800000" flipV="1">
            <a:off x="5945619" y="1716261"/>
            <a:ext cx="510159" cy="439792"/>
          </a:xfrm>
          <a:prstGeom prst="triangle">
            <a:avLst/>
          </a:prstGeom>
          <a:solidFill>
            <a:srgbClr val="C02DA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07244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afterEffect">
                                  <p:stCondLst>
                                    <p:cond delay="0"/>
                                  </p:stCondLst>
                                  <p:childTnLst>
                                    <p:animRot by="-5400000">
                                      <p:cBhvr>
                                        <p:cTn id="6" dur="1000" fill="hold"/>
                                        <p:tgtEl>
                                          <p:spTgt spid="28"/>
                                        </p:tgtEl>
                                        <p:attrNameLst>
                                          <p:attrName>r</p:attrName>
                                        </p:attrNameLst>
                                      </p:cBhvr>
                                    </p:animRot>
                                  </p:childTnLst>
                                </p:cTn>
                              </p:par>
                              <p:par>
                                <p:cTn id="7" presetID="22" presetClass="entr" presetSubtype="4"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animEffect transition="in" filter="wipe(down)">
                                      <p:cBhvr>
                                        <p:cTn id="9" dur="500"/>
                                        <p:tgtEl>
                                          <p:spTgt spid="29"/>
                                        </p:tgtEl>
                                      </p:cBhvr>
                                    </p:animEffect>
                                  </p:childTnLst>
                                </p:cTn>
                              </p:par>
                              <p:par>
                                <p:cTn id="10" presetID="22" presetClass="entr" presetSubtype="4" fill="hold" grpId="0" nodeType="withEffect">
                                  <p:stCondLst>
                                    <p:cond delay="200"/>
                                  </p:stCondLst>
                                  <p:childTnLst>
                                    <p:set>
                                      <p:cBhvr>
                                        <p:cTn id="11" dur="1" fill="hold">
                                          <p:stCondLst>
                                            <p:cond delay="0"/>
                                          </p:stCondLst>
                                        </p:cTn>
                                        <p:tgtEl>
                                          <p:spTgt spid="10"/>
                                        </p:tgtEl>
                                        <p:attrNameLst>
                                          <p:attrName>style.visibility</p:attrName>
                                        </p:attrNameLst>
                                      </p:cBhvr>
                                      <p:to>
                                        <p:strVal val="visible"/>
                                      </p:to>
                                    </p:set>
                                    <p:animEffect transition="in" filter="wipe(down)">
                                      <p:cBhvr>
                                        <p:cTn id="12" dur="500"/>
                                        <p:tgtEl>
                                          <p:spTgt spid="10"/>
                                        </p:tgtEl>
                                      </p:cBhvr>
                                    </p:animEffect>
                                  </p:childTnLst>
                                </p:cTn>
                              </p:par>
                            </p:childTnLst>
                          </p:cTn>
                        </p:par>
                        <p:par>
                          <p:cTn id="13" fill="hold">
                            <p:stCondLst>
                              <p:cond delay="1000"/>
                            </p:stCondLst>
                            <p:childTnLst>
                              <p:par>
                                <p:cTn id="14" presetID="10" presetClass="entr" presetSubtype="0" fill="hold" nodeType="afterEffect">
                                  <p:stCondLst>
                                    <p:cond delay="50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par>
                                <p:cTn id="17" presetID="10" presetClass="entr" presetSubtype="0" fill="hold" grpId="0" nodeType="withEffect">
                                  <p:stCondLst>
                                    <p:cond delay="500"/>
                                  </p:stCondLst>
                                  <p:childTnLst>
                                    <p:set>
                                      <p:cBhvr>
                                        <p:cTn id="18" dur="1" fill="hold">
                                          <p:stCondLst>
                                            <p:cond delay="0"/>
                                          </p:stCondLst>
                                        </p:cTn>
                                        <p:tgtEl>
                                          <p:spTgt spid="30"/>
                                        </p:tgtEl>
                                        <p:attrNameLst>
                                          <p:attrName>style.visibility</p:attrName>
                                        </p:attrNameLst>
                                      </p:cBhvr>
                                      <p:to>
                                        <p:strVal val="visible"/>
                                      </p:to>
                                    </p:set>
                                    <p:animEffect transition="in" filter="fade">
                                      <p:cBhvr>
                                        <p:cTn id="19" dur="500"/>
                                        <p:tgtEl>
                                          <p:spTgt spid="30"/>
                                        </p:tgtEl>
                                      </p:cBhvr>
                                    </p:animEffect>
                                  </p:childTnLst>
                                </p:cTn>
                              </p:par>
                            </p:childTnLst>
                          </p:cTn>
                        </p:par>
                        <p:par>
                          <p:cTn id="20" fill="hold">
                            <p:stCondLst>
                              <p:cond delay="2000"/>
                            </p:stCondLst>
                            <p:childTnLst>
                              <p:par>
                                <p:cTn id="21" presetID="10" presetClass="entr" presetSubtype="0" fill="hold" grpId="0" nodeType="afterEffect">
                                  <p:stCondLst>
                                    <p:cond delay="500"/>
                                  </p:stCondLst>
                                  <p:childTnLst>
                                    <p:set>
                                      <p:cBhvr>
                                        <p:cTn id="22" dur="1" fill="hold">
                                          <p:stCondLst>
                                            <p:cond delay="0"/>
                                          </p:stCondLst>
                                        </p:cTn>
                                        <p:tgtEl>
                                          <p:spTgt spid="46"/>
                                        </p:tgtEl>
                                        <p:attrNameLst>
                                          <p:attrName>style.visibility</p:attrName>
                                        </p:attrNameLst>
                                      </p:cBhvr>
                                      <p:to>
                                        <p:strVal val="visible"/>
                                      </p:to>
                                    </p:set>
                                    <p:animEffect transition="in" filter="fade">
                                      <p:cBhvr>
                                        <p:cTn id="23" dur="500"/>
                                        <p:tgtEl>
                                          <p:spTgt spid="46"/>
                                        </p:tgtEl>
                                      </p:cBhvr>
                                    </p:animEffect>
                                  </p:childTnLst>
                                </p:cTn>
                              </p:par>
                              <p:par>
                                <p:cTn id="24" presetID="10" presetClass="entr" presetSubtype="0" fill="hold" nodeType="withEffect">
                                  <p:stCondLst>
                                    <p:cond delay="50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childTnLst>
                          </p:cTn>
                        </p:par>
                        <p:par>
                          <p:cTn id="27" fill="hold">
                            <p:stCondLst>
                              <p:cond delay="3000"/>
                            </p:stCondLst>
                            <p:childTnLst>
                              <p:par>
                                <p:cTn id="28" presetID="10" presetClass="entr" presetSubtype="0" fill="hold" grpId="0" nodeType="afterEffect">
                                  <p:stCondLst>
                                    <p:cond delay="500"/>
                                  </p:stCondLst>
                                  <p:childTnLst>
                                    <p:set>
                                      <p:cBhvr>
                                        <p:cTn id="29" dur="1" fill="hold">
                                          <p:stCondLst>
                                            <p:cond delay="0"/>
                                          </p:stCondLst>
                                        </p:cTn>
                                        <p:tgtEl>
                                          <p:spTgt spid="47"/>
                                        </p:tgtEl>
                                        <p:attrNameLst>
                                          <p:attrName>style.visibility</p:attrName>
                                        </p:attrNameLst>
                                      </p:cBhvr>
                                      <p:to>
                                        <p:strVal val="visible"/>
                                      </p:to>
                                    </p:set>
                                    <p:animEffect transition="in" filter="fade">
                                      <p:cBhvr>
                                        <p:cTn id="30" dur="500"/>
                                        <p:tgtEl>
                                          <p:spTgt spid="47"/>
                                        </p:tgtEl>
                                      </p:cBhvr>
                                    </p:animEffect>
                                  </p:childTnLst>
                                </p:cTn>
                              </p:par>
                              <p:par>
                                <p:cTn id="31" presetID="10" presetClass="entr" presetSubtype="0" fill="hold" grpId="0" nodeType="withEffect">
                                  <p:stCondLst>
                                    <p:cond delay="500"/>
                                  </p:stCondLst>
                                  <p:childTnLst>
                                    <p:set>
                                      <p:cBhvr>
                                        <p:cTn id="32" dur="1" fill="hold">
                                          <p:stCondLst>
                                            <p:cond delay="0"/>
                                          </p:stCondLst>
                                        </p:cTn>
                                        <p:tgtEl>
                                          <p:spTgt spid="49"/>
                                        </p:tgtEl>
                                        <p:attrNameLst>
                                          <p:attrName>style.visibility</p:attrName>
                                        </p:attrNameLst>
                                      </p:cBhvr>
                                      <p:to>
                                        <p:strVal val="visible"/>
                                      </p:to>
                                    </p:set>
                                    <p:animEffect transition="in" filter="fade">
                                      <p:cBhvr>
                                        <p:cTn id="33" dur="500"/>
                                        <p:tgtEl>
                                          <p:spTgt spid="49"/>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6" grpId="0" animBg="1"/>
      <p:bldP spid="30" grpId="0" animBg="1"/>
      <p:bldP spid="29" grpId="0" animBg="1"/>
      <p:bldP spid="10" grpId="0" animBg="1"/>
      <p:bldP spid="18" grpId="0"/>
      <p:bldP spid="49"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84611" y="0"/>
            <a:ext cx="10724938" cy="637125"/>
          </a:xfrm>
        </p:spPr>
        <p:txBody>
          <a:bodyPr>
            <a:noAutofit/>
          </a:bodyPr>
          <a:lstStyle/>
          <a:p>
            <a:pPr algn="ctr"/>
            <a:r>
              <a:rPr lang="en-US" sz="3672" dirty="0"/>
              <a:t>Small App Portfolio - $24K Per Month</a:t>
            </a:r>
          </a:p>
        </p:txBody>
      </p:sp>
      <p:graphicFrame>
        <p:nvGraphicFramePr>
          <p:cNvPr id="6" name="Content Placeholder 5"/>
          <p:cNvGraphicFramePr>
            <a:graphicFrameLocks noGrp="1"/>
          </p:cNvGraphicFramePr>
          <p:nvPr>
            <p:ph idx="1"/>
            <p:extLst/>
          </p:nvPr>
        </p:nvGraphicFramePr>
        <p:xfrm>
          <a:off x="3449199" y="637124"/>
          <a:ext cx="5595761" cy="6317366"/>
        </p:xfrm>
        <a:graphic>
          <a:graphicData uri="http://schemas.openxmlformats.org/drawingml/2006/table">
            <a:tbl>
              <a:tblPr firstRow="1" bandRow="1">
                <a:tableStyleId>{5C22544A-7EE6-4342-B048-85BDC9FD1C3A}</a:tableStyleId>
              </a:tblPr>
              <a:tblGrid>
                <a:gridCol w="2803097">
                  <a:extLst>
                    <a:ext uri="{9D8B030D-6E8A-4147-A177-3AD203B41FA5}">
                      <a16:colId xmlns:a16="http://schemas.microsoft.com/office/drawing/2014/main" val="20000"/>
                    </a:ext>
                  </a:extLst>
                </a:gridCol>
                <a:gridCol w="2792664">
                  <a:extLst>
                    <a:ext uri="{9D8B030D-6E8A-4147-A177-3AD203B41FA5}">
                      <a16:colId xmlns:a16="http://schemas.microsoft.com/office/drawing/2014/main" val="20001"/>
                    </a:ext>
                  </a:extLst>
                </a:gridCol>
              </a:tblGrid>
              <a:tr h="432133">
                <a:tc gridSpan="2">
                  <a:txBody>
                    <a:bodyPr/>
                    <a:lstStyle/>
                    <a:p>
                      <a:pPr algn="ctr"/>
                      <a:r>
                        <a:rPr lang="en-US" sz="2100" b="1" kern="1200" dirty="0">
                          <a:solidFill>
                            <a:schemeClr val="lt1"/>
                          </a:solidFill>
                          <a:latin typeface="+mn-lt"/>
                          <a:ea typeface="+mn-ea"/>
                          <a:cs typeface="+mn-cs"/>
                        </a:rPr>
                        <a:t>DEV</a:t>
                      </a:r>
                    </a:p>
                  </a:txBody>
                  <a:tcPr marL="105721" marR="105721" marT="52861" marB="52861"/>
                </a:tc>
                <a:tc hMerge="1">
                  <a:txBody>
                    <a:bodyPr/>
                    <a:lstStyle/>
                    <a:p>
                      <a:endParaRPr lang="en-US" dirty="0"/>
                    </a:p>
                  </a:txBody>
                  <a:tcPr/>
                </a:tc>
                <a:extLst>
                  <a:ext uri="{0D108BD9-81ED-4DB2-BD59-A6C34878D82A}">
                    <a16:rowId xmlns:a16="http://schemas.microsoft.com/office/drawing/2014/main" val="10000"/>
                  </a:ext>
                </a:extLst>
              </a:tr>
              <a:tr h="365594">
                <a:tc>
                  <a:txBody>
                    <a:bodyPr/>
                    <a:lstStyle/>
                    <a:p>
                      <a:r>
                        <a:rPr lang="en-US" sz="1600" dirty="0"/>
                        <a:t>Cost of D3 Server</a:t>
                      </a:r>
                    </a:p>
                  </a:txBody>
                  <a:tcPr marL="105721" marR="105721" marT="52861" marB="52861"/>
                </a:tc>
                <a:tc>
                  <a:txBody>
                    <a:bodyPr/>
                    <a:lstStyle/>
                    <a:p>
                      <a:pPr algn="r"/>
                      <a:r>
                        <a:rPr lang="en-US" sz="1600" dirty="0"/>
                        <a:t>$417</a:t>
                      </a:r>
                    </a:p>
                  </a:txBody>
                  <a:tcPr marL="105721" marR="105721" marT="52861" marB="52861"/>
                </a:tc>
                <a:extLst>
                  <a:ext uri="{0D108BD9-81ED-4DB2-BD59-A6C34878D82A}">
                    <a16:rowId xmlns:a16="http://schemas.microsoft.com/office/drawing/2014/main" val="10001"/>
                  </a:ext>
                </a:extLst>
              </a:tr>
              <a:tr h="365594">
                <a:tc>
                  <a:txBody>
                    <a:bodyPr/>
                    <a:lstStyle/>
                    <a:p>
                      <a:r>
                        <a:rPr lang="en-US" sz="1600" dirty="0"/>
                        <a:t>Avg. # of </a:t>
                      </a:r>
                      <a:r>
                        <a:rPr lang="en-US" sz="1600" dirty="0" err="1"/>
                        <a:t>Devs</a:t>
                      </a:r>
                      <a:endParaRPr lang="en-US" sz="1600" dirty="0"/>
                    </a:p>
                  </a:txBody>
                  <a:tcPr marL="105721" marR="105721" marT="52861" marB="52861"/>
                </a:tc>
                <a:tc>
                  <a:txBody>
                    <a:bodyPr/>
                    <a:lstStyle/>
                    <a:p>
                      <a:pPr algn="r"/>
                      <a:r>
                        <a:rPr lang="en-US" sz="1600" dirty="0"/>
                        <a:t>30</a:t>
                      </a:r>
                    </a:p>
                  </a:txBody>
                  <a:tcPr marL="105721" marR="105721" marT="52861" marB="52861"/>
                </a:tc>
                <a:extLst>
                  <a:ext uri="{0D108BD9-81ED-4DB2-BD59-A6C34878D82A}">
                    <a16:rowId xmlns:a16="http://schemas.microsoft.com/office/drawing/2014/main" val="10002"/>
                  </a:ext>
                </a:extLst>
              </a:tr>
              <a:tr h="641746">
                <a:tc>
                  <a:txBody>
                    <a:bodyPr/>
                    <a:lstStyle/>
                    <a:p>
                      <a:r>
                        <a:rPr lang="en-US" sz="1600" dirty="0"/>
                        <a:t>Total for DEV</a:t>
                      </a:r>
                      <a:r>
                        <a:rPr lang="en-US" sz="1600" baseline="0" dirty="0"/>
                        <a:t> in Cloud</a:t>
                      </a:r>
                      <a:endParaRPr lang="en-US" sz="1600" dirty="0"/>
                    </a:p>
                  </a:txBody>
                  <a:tcPr marL="105721" marR="105721" marT="52861" marB="52861"/>
                </a:tc>
                <a:tc>
                  <a:txBody>
                    <a:bodyPr/>
                    <a:lstStyle/>
                    <a:p>
                      <a:pPr algn="r"/>
                      <a:r>
                        <a:rPr lang="en-US" sz="1600" dirty="0"/>
                        <a:t>$12,500</a:t>
                      </a:r>
                    </a:p>
                  </a:txBody>
                  <a:tcPr marL="105721" marR="105721" marT="52861" marB="52861"/>
                </a:tc>
                <a:extLst>
                  <a:ext uri="{0D108BD9-81ED-4DB2-BD59-A6C34878D82A}">
                    <a16:rowId xmlns:a16="http://schemas.microsoft.com/office/drawing/2014/main" val="10003"/>
                  </a:ext>
                </a:extLst>
              </a:tr>
              <a:tr h="365594">
                <a:tc gridSpan="2">
                  <a:txBody>
                    <a:bodyPr/>
                    <a:lstStyle/>
                    <a:p>
                      <a:pPr algn="ctr"/>
                      <a:r>
                        <a:rPr lang="en-US" sz="1600" b="1" kern="1200" dirty="0">
                          <a:solidFill>
                            <a:schemeClr val="lt1"/>
                          </a:solidFill>
                          <a:latin typeface="+mn-lt"/>
                          <a:ea typeface="+mn-ea"/>
                          <a:cs typeface="+mn-cs"/>
                        </a:rPr>
                        <a:t>TEST</a:t>
                      </a:r>
                    </a:p>
                  </a:txBody>
                  <a:tcPr marL="105721" marR="105721" marT="52861" marB="52861">
                    <a:solidFill>
                      <a:schemeClr val="accent1"/>
                    </a:solidFill>
                  </a:tcPr>
                </a:tc>
                <a:tc hMerge="1">
                  <a:txBody>
                    <a:bodyPr/>
                    <a:lstStyle/>
                    <a:p>
                      <a:pPr algn="r"/>
                      <a:endParaRPr lang="en-US" sz="2500" b="1" kern="1200" dirty="0">
                        <a:solidFill>
                          <a:schemeClr val="lt1"/>
                        </a:solidFill>
                        <a:latin typeface="+mn-lt"/>
                        <a:ea typeface="+mn-ea"/>
                        <a:cs typeface="+mn-cs"/>
                      </a:endParaRPr>
                    </a:p>
                  </a:txBody>
                  <a:tcPr marL="124557" marR="124557" marT="62279" marB="62279"/>
                </a:tc>
                <a:extLst>
                  <a:ext uri="{0D108BD9-81ED-4DB2-BD59-A6C34878D82A}">
                    <a16:rowId xmlns:a16="http://schemas.microsoft.com/office/drawing/2014/main" val="10004"/>
                  </a:ext>
                </a:extLst>
              </a:tr>
              <a:tr h="365594">
                <a:tc>
                  <a:txBody>
                    <a:bodyPr/>
                    <a:lstStyle/>
                    <a:p>
                      <a:r>
                        <a:rPr lang="en-US" sz="1600" dirty="0"/>
                        <a:t>Avg. # Servers/App</a:t>
                      </a:r>
                    </a:p>
                  </a:txBody>
                  <a:tcPr marL="105721" marR="105721" marT="52861" marB="52861"/>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5 (2 web/2 app/1 </a:t>
                      </a:r>
                      <a:r>
                        <a:rPr kumimoji="0" lang="en-US" sz="1600" b="0" i="0" u="none" strike="noStrike" kern="1200" cap="none" spc="0" normalizeH="0" baseline="0" noProof="0" dirty="0" err="1">
                          <a:ln>
                            <a:noFill/>
                          </a:ln>
                          <a:solidFill>
                            <a:prstClr val="black"/>
                          </a:solidFill>
                          <a:effectLst/>
                          <a:uLnTx/>
                          <a:uFillTx/>
                          <a:latin typeface="+mn-lt"/>
                          <a:ea typeface="+mn-ea"/>
                          <a:cs typeface="+mn-cs"/>
                        </a:rPr>
                        <a:t>db</a:t>
                      </a:r>
                      <a:r>
                        <a:rPr kumimoji="0" lang="en-US" sz="1600" b="0" i="0" u="none" strike="noStrike" kern="1200" cap="none" spc="0" normalizeH="0" baseline="0" noProof="0" dirty="0">
                          <a:ln>
                            <a:noFill/>
                          </a:ln>
                          <a:solidFill>
                            <a:prstClr val="black"/>
                          </a:solidFill>
                          <a:effectLst/>
                          <a:uLnTx/>
                          <a:uFillTx/>
                          <a:latin typeface="+mn-lt"/>
                          <a:ea typeface="+mn-ea"/>
                          <a:cs typeface="+mn-cs"/>
                        </a:rPr>
                        <a:t>)</a:t>
                      </a:r>
                    </a:p>
                  </a:txBody>
                  <a:tcPr marL="105721" marR="105721" marT="52861" marB="52861"/>
                </a:tc>
                <a:extLst>
                  <a:ext uri="{0D108BD9-81ED-4DB2-BD59-A6C34878D82A}">
                    <a16:rowId xmlns:a16="http://schemas.microsoft.com/office/drawing/2014/main" val="10005"/>
                  </a:ext>
                </a:extLst>
              </a:tr>
              <a:tr h="365594">
                <a:tc>
                  <a:txBody>
                    <a:bodyPr/>
                    <a:lstStyle/>
                    <a:p>
                      <a:r>
                        <a:rPr lang="en-US" sz="1600" dirty="0"/>
                        <a:t>Avg. # Apps in Test</a:t>
                      </a:r>
                    </a:p>
                  </a:txBody>
                  <a:tcPr marL="105721" marR="105721" marT="52861" marB="52861"/>
                </a:tc>
                <a:tc>
                  <a:txBody>
                    <a:bodyPr/>
                    <a:lstStyle/>
                    <a:p>
                      <a:pPr algn="r"/>
                      <a:r>
                        <a:rPr lang="en-US" sz="1600" dirty="0"/>
                        <a:t>5</a:t>
                      </a:r>
                    </a:p>
                  </a:txBody>
                  <a:tcPr marL="105721" marR="105721" marT="52861" marB="52861"/>
                </a:tc>
                <a:extLst>
                  <a:ext uri="{0D108BD9-81ED-4DB2-BD59-A6C34878D82A}">
                    <a16:rowId xmlns:a16="http://schemas.microsoft.com/office/drawing/2014/main" val="10006"/>
                  </a:ext>
                </a:extLst>
              </a:tr>
              <a:tr h="641746">
                <a:tc>
                  <a:txBody>
                    <a:bodyPr/>
                    <a:lstStyle/>
                    <a:p>
                      <a:r>
                        <a:rPr lang="en-US" sz="1600" dirty="0"/>
                        <a:t>Total for TEST in Cloud</a:t>
                      </a:r>
                    </a:p>
                  </a:txBody>
                  <a:tcPr marL="105721" marR="105721" marT="52861" marB="52861"/>
                </a:tc>
                <a:tc>
                  <a:txBody>
                    <a:bodyPr/>
                    <a:lstStyle/>
                    <a:p>
                      <a:pPr algn="r"/>
                      <a:r>
                        <a:rPr lang="en-US" sz="1600" dirty="0"/>
                        <a:t>$5,200 (1/2 compute)</a:t>
                      </a:r>
                    </a:p>
                  </a:txBody>
                  <a:tcPr marL="105721" marR="105721" marT="52861" marB="52861"/>
                </a:tc>
                <a:extLst>
                  <a:ext uri="{0D108BD9-81ED-4DB2-BD59-A6C34878D82A}">
                    <a16:rowId xmlns:a16="http://schemas.microsoft.com/office/drawing/2014/main" val="10007"/>
                  </a:ext>
                </a:extLst>
              </a:tr>
              <a:tr h="365594">
                <a:tc gridSpan="2">
                  <a:txBody>
                    <a:bodyPr/>
                    <a:lstStyle/>
                    <a:p>
                      <a:pPr algn="ctr"/>
                      <a:r>
                        <a:rPr lang="en-US" sz="1600" dirty="0">
                          <a:solidFill>
                            <a:schemeClr val="bg1"/>
                          </a:solidFill>
                        </a:rPr>
                        <a:t>$17,700 for Basic Dev/Test in Cloud</a:t>
                      </a:r>
                    </a:p>
                  </a:txBody>
                  <a:tcPr marL="105721" marR="105721" marT="52861" marB="52861">
                    <a:solidFill>
                      <a:schemeClr val="accent6"/>
                    </a:solidFill>
                  </a:tcPr>
                </a:tc>
                <a:tc hMerge="1">
                  <a:txBody>
                    <a:bodyPr/>
                    <a:lstStyle/>
                    <a:p>
                      <a:pPr algn="r"/>
                      <a:endParaRPr lang="en-US" sz="2500" dirty="0"/>
                    </a:p>
                  </a:txBody>
                  <a:tcPr marL="124557" marR="124557" marT="62279" marB="62279"/>
                </a:tc>
                <a:extLst>
                  <a:ext uri="{0D108BD9-81ED-4DB2-BD59-A6C34878D82A}">
                    <a16:rowId xmlns:a16="http://schemas.microsoft.com/office/drawing/2014/main" val="10008"/>
                  </a:ext>
                </a:extLst>
              </a:tr>
              <a:tr h="365594">
                <a:tc gridSpan="2">
                  <a:txBody>
                    <a:bodyPr/>
                    <a:lstStyle/>
                    <a:p>
                      <a:pPr algn="ctr"/>
                      <a:r>
                        <a:rPr lang="en-US" sz="1600" dirty="0">
                          <a:solidFill>
                            <a:schemeClr val="bg1"/>
                          </a:solidFill>
                        </a:rPr>
                        <a:t>DEVOPS</a:t>
                      </a:r>
                      <a:r>
                        <a:rPr lang="en-US" sz="1600" baseline="0" dirty="0">
                          <a:solidFill>
                            <a:schemeClr val="bg1"/>
                          </a:solidFill>
                        </a:rPr>
                        <a:t> SERVICES</a:t>
                      </a:r>
                      <a:endParaRPr lang="en-US" sz="1600" dirty="0">
                        <a:solidFill>
                          <a:schemeClr val="bg1"/>
                        </a:solidFill>
                      </a:endParaRPr>
                    </a:p>
                  </a:txBody>
                  <a:tcPr marL="105721" marR="105721" marT="52861" marB="52861">
                    <a:solidFill>
                      <a:schemeClr val="accent1"/>
                    </a:solidFill>
                  </a:tcPr>
                </a:tc>
                <a:tc hMerge="1">
                  <a:txBody>
                    <a:bodyPr/>
                    <a:lstStyle/>
                    <a:p>
                      <a:pPr algn="r"/>
                      <a:endParaRPr lang="en-US" sz="900" dirty="0"/>
                    </a:p>
                  </a:txBody>
                  <a:tcPr marL="103657" marR="103657" marT="51829" marB="51829"/>
                </a:tc>
                <a:extLst>
                  <a:ext uri="{0D108BD9-81ED-4DB2-BD59-A6C34878D82A}">
                    <a16:rowId xmlns:a16="http://schemas.microsoft.com/office/drawing/2014/main" val="10009"/>
                  </a:ext>
                </a:extLst>
              </a:tr>
              <a:tr h="3655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50 VSTS Users</a:t>
                      </a:r>
                    </a:p>
                  </a:txBody>
                  <a:tcPr marL="105721" marR="105721" marT="52861" marB="52861"/>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350</a:t>
                      </a:r>
                    </a:p>
                  </a:txBody>
                  <a:tcPr marL="105721" marR="105721" marT="52861" marB="52861"/>
                </a:tc>
                <a:extLst>
                  <a:ext uri="{0D108BD9-81ED-4DB2-BD59-A6C34878D82A}">
                    <a16:rowId xmlns:a16="http://schemas.microsoft.com/office/drawing/2014/main" val="10010"/>
                  </a:ext>
                </a:extLst>
              </a:tr>
              <a:tr h="60311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10 Agents (build/test/deploy)</a:t>
                      </a:r>
                    </a:p>
                  </a:txBody>
                  <a:tcPr marL="105721" marR="105721" marT="52861" marB="52861"/>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4,300 (compute + license)</a:t>
                      </a:r>
                    </a:p>
                  </a:txBody>
                  <a:tcPr marL="105721" marR="105721" marT="52861" marB="52861"/>
                </a:tc>
                <a:extLst>
                  <a:ext uri="{0D108BD9-81ED-4DB2-BD59-A6C34878D82A}">
                    <a16:rowId xmlns:a16="http://schemas.microsoft.com/office/drawing/2014/main" val="10011"/>
                  </a:ext>
                </a:extLst>
              </a:tr>
              <a:tr h="6417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loud-Based Load Tests</a:t>
                      </a:r>
                    </a:p>
                  </a:txBody>
                  <a:tcPr marL="105721" marR="105721" marT="52861" marB="52861"/>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1,400 (5M VUMS)</a:t>
                      </a:r>
                      <a:endParaRPr lang="en-US" sz="1600" dirty="0"/>
                    </a:p>
                  </a:txBody>
                  <a:tcPr marL="105721" marR="105721" marT="52861" marB="52861"/>
                </a:tc>
                <a:extLst>
                  <a:ext uri="{0D108BD9-81ED-4DB2-BD59-A6C34878D82A}">
                    <a16:rowId xmlns:a16="http://schemas.microsoft.com/office/drawing/2014/main" val="10012"/>
                  </a:ext>
                </a:extLst>
              </a:tr>
              <a:tr h="432133">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100" dirty="0">
                          <a:solidFill>
                            <a:schemeClr val="bg1"/>
                          </a:solidFill>
                        </a:rPr>
                        <a:t>$6,050 for DevOps Services</a:t>
                      </a:r>
                    </a:p>
                  </a:txBody>
                  <a:tcPr marL="105721" marR="105721" marT="52861" marB="52861">
                    <a:solidFill>
                      <a:schemeClr val="accent6"/>
                    </a:solidFill>
                  </a:tcPr>
                </a:tc>
                <a:tc h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300" dirty="0"/>
                    </a:p>
                  </a:txBody>
                  <a:tcPr marL="103657" marR="103657" marT="51829" marB="51829"/>
                </a:tc>
                <a:extLst>
                  <a:ext uri="{0D108BD9-81ED-4DB2-BD59-A6C34878D82A}">
                    <a16:rowId xmlns:a16="http://schemas.microsoft.com/office/drawing/2014/main" val="10013"/>
                  </a:ext>
                </a:extLst>
              </a:tr>
            </a:tbl>
          </a:graphicData>
        </a:graphic>
      </p:graphicFrame>
    </p:spTree>
    <p:extLst>
      <p:ext uri="{BB962C8B-B14F-4D97-AF65-F5344CB8AC3E}">
        <p14:creationId xmlns:p14="http://schemas.microsoft.com/office/powerpoint/2010/main" val="3925863476"/>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OneMicrosoft</a:t>
            </a:r>
            <a:br>
              <a:rPr lang="en-US" dirty="0"/>
            </a:br>
            <a:r>
              <a:rPr lang="en-US" dirty="0" err="1"/>
              <a:t>OneServices</a:t>
            </a:r>
            <a:endParaRPr lang="en-US" dirty="0"/>
          </a:p>
        </p:txBody>
      </p:sp>
      <p:sp>
        <p:nvSpPr>
          <p:cNvPr id="5" name="Text Placeholder 4"/>
          <p:cNvSpPr>
            <a:spLocks noGrp="1"/>
          </p:cNvSpPr>
          <p:nvPr>
            <p:ph type="body" sz="quarter" idx="14"/>
          </p:nvPr>
        </p:nvSpPr>
        <p:spPr/>
        <p:txBody>
          <a:bodyPr/>
          <a:lstStyle/>
          <a:p>
            <a:r>
              <a:rPr lang="en-US" dirty="0"/>
              <a:t>Dan Craytor</a:t>
            </a:r>
          </a:p>
          <a:p>
            <a:r>
              <a:rPr lang="en-US" dirty="0"/>
              <a:t>CTO – DoD Services</a:t>
            </a:r>
          </a:p>
        </p:txBody>
      </p:sp>
    </p:spTree>
    <p:extLst>
      <p:ext uri="{BB962C8B-B14F-4D97-AF65-F5344CB8AC3E}">
        <p14:creationId xmlns:p14="http://schemas.microsoft.com/office/powerpoint/2010/main" val="271603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5181" y="270133"/>
            <a:ext cx="10724938" cy="889168"/>
          </a:xfrm>
        </p:spPr>
        <p:txBody>
          <a:bodyPr/>
          <a:lstStyle/>
          <a:p>
            <a:r>
              <a:rPr lang="en-US" dirty="0"/>
              <a:t>Azure Days Services Offers*</a:t>
            </a:r>
          </a:p>
        </p:txBody>
      </p:sp>
      <p:sp>
        <p:nvSpPr>
          <p:cNvPr id="7" name="Content Placeholder 1"/>
          <p:cNvSpPr>
            <a:spLocks noGrp="1"/>
          </p:cNvSpPr>
          <p:nvPr>
            <p:ph type="body" sz="quarter" idx="10"/>
          </p:nvPr>
        </p:nvSpPr>
        <p:spPr/>
        <p:txBody>
          <a:bodyPr>
            <a:normAutofit/>
          </a:bodyPr>
          <a:lstStyle/>
          <a:p>
            <a:r>
              <a:rPr lang="en-US" sz="4896" dirty="0">
                <a:solidFill>
                  <a:schemeClr val="bg1"/>
                </a:solidFill>
              </a:rPr>
              <a:t>Services offerings </a:t>
            </a:r>
            <a:r>
              <a:rPr lang="en-US" sz="4896" dirty="0">
                <a:solidFill>
                  <a:srgbClr val="FF0000"/>
                </a:solidFill>
              </a:rPr>
              <a:t>– Azure Days</a:t>
            </a:r>
          </a:p>
        </p:txBody>
      </p:sp>
      <p:graphicFrame>
        <p:nvGraphicFramePr>
          <p:cNvPr id="2" name="Table 1"/>
          <p:cNvGraphicFramePr>
            <a:graphicFrameLocks noGrp="1"/>
          </p:cNvGraphicFramePr>
          <p:nvPr>
            <p:extLst/>
          </p:nvPr>
        </p:nvGraphicFramePr>
        <p:xfrm>
          <a:off x="352541" y="1396237"/>
          <a:ext cx="11808455" cy="4756254"/>
        </p:xfrm>
        <a:graphic>
          <a:graphicData uri="http://schemas.openxmlformats.org/drawingml/2006/table">
            <a:tbl>
              <a:tblPr firstRow="1"/>
              <a:tblGrid>
                <a:gridCol w="2163892">
                  <a:extLst>
                    <a:ext uri="{9D8B030D-6E8A-4147-A177-3AD203B41FA5}">
                      <a16:colId xmlns:a16="http://schemas.microsoft.com/office/drawing/2014/main" val="790935397"/>
                    </a:ext>
                  </a:extLst>
                </a:gridCol>
                <a:gridCol w="3128134">
                  <a:extLst>
                    <a:ext uri="{9D8B030D-6E8A-4147-A177-3AD203B41FA5}">
                      <a16:colId xmlns:a16="http://schemas.microsoft.com/office/drawing/2014/main" val="3041964648"/>
                    </a:ext>
                  </a:extLst>
                </a:gridCol>
                <a:gridCol w="2688471">
                  <a:extLst>
                    <a:ext uri="{9D8B030D-6E8A-4147-A177-3AD203B41FA5}">
                      <a16:colId xmlns:a16="http://schemas.microsoft.com/office/drawing/2014/main" val="1189554181"/>
                    </a:ext>
                  </a:extLst>
                </a:gridCol>
                <a:gridCol w="3827958">
                  <a:extLst>
                    <a:ext uri="{9D8B030D-6E8A-4147-A177-3AD203B41FA5}">
                      <a16:colId xmlns:a16="http://schemas.microsoft.com/office/drawing/2014/main" val="2846942071"/>
                    </a:ext>
                  </a:extLst>
                </a:gridCol>
              </a:tblGrid>
              <a:tr h="464454">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pPr algn="l" fontAlgn="b"/>
                      <a:r>
                        <a:rPr lang="en-US" sz="1400" u="none" strike="noStrike" dirty="0">
                          <a:effectLst/>
                        </a:rPr>
                        <a:t>Services Offering</a:t>
                      </a:r>
                      <a:endParaRPr lang="en-US" sz="1400" b="1" i="0" u="none" strike="noStrike" dirty="0">
                        <a:solidFill>
                          <a:schemeClr val="bg1"/>
                        </a:solidFill>
                        <a:effectLst/>
                        <a:latin typeface="+mn-lt"/>
                        <a:cs typeface="Segoe UI"/>
                      </a:endParaRPr>
                    </a:p>
                  </a:txBody>
                  <a:tcPr marL="91414" marR="91414" marT="45706" marB="45706"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pPr marL="0" algn="l" defTabSz="932742" rtl="0" eaLnBrk="1" fontAlgn="b" latinLnBrk="0" hangingPunct="1"/>
                      <a:r>
                        <a:rPr lang="en-US" sz="1200" b="1" u="none" strike="noStrike" kern="1200" dirty="0">
                          <a:solidFill>
                            <a:schemeClr val="lt1"/>
                          </a:solidFill>
                          <a:effectLst/>
                          <a:latin typeface="+mn-lt"/>
                          <a:ea typeface="+mn-ea"/>
                          <a:cs typeface="+mn-cs"/>
                        </a:rPr>
                        <a:t>Azure Fast  Start</a:t>
                      </a:r>
                    </a:p>
                    <a:p>
                      <a:pPr marL="0" algn="l" defTabSz="932742" rtl="0" eaLnBrk="1" fontAlgn="b" latinLnBrk="0" hangingPunct="1"/>
                      <a:r>
                        <a:rPr lang="en-US" sz="1200" b="0" u="none" strike="noStrike" kern="1200" dirty="0">
                          <a:solidFill>
                            <a:schemeClr val="lt1"/>
                          </a:solidFill>
                          <a:effectLst/>
                          <a:latin typeface="+mn-lt"/>
                          <a:ea typeface="+mn-ea"/>
                          <a:cs typeface="+mn-cs"/>
                        </a:rPr>
                        <a:t>1 week</a:t>
                      </a:r>
                      <a:r>
                        <a:rPr lang="en-US" sz="1200" b="0" u="none" strike="noStrike" kern="1200" baseline="0" dirty="0">
                          <a:solidFill>
                            <a:schemeClr val="lt1"/>
                          </a:solidFill>
                          <a:effectLst/>
                          <a:latin typeface="+mn-lt"/>
                          <a:ea typeface="+mn-ea"/>
                          <a:cs typeface="+mn-cs"/>
                        </a:rPr>
                        <a:t> engagement training + POC. </a:t>
                      </a:r>
                      <a:endParaRPr lang="en-US" sz="1200" b="0" u="none" strike="noStrike" kern="1200" dirty="0">
                        <a:solidFill>
                          <a:schemeClr val="lt1"/>
                        </a:solidFill>
                        <a:effectLst/>
                        <a:latin typeface="+mn-lt"/>
                        <a:ea typeface="+mn-ea"/>
                        <a:cs typeface="+mn-cs"/>
                      </a:endParaRPr>
                    </a:p>
                  </a:txBody>
                  <a:tcPr marL="91414" marR="91414" marT="45706" marB="45706">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pPr marL="0" marR="0" indent="0" algn="l" defTabSz="932742" rtl="0" eaLnBrk="1" fontAlgn="b" latinLnBrk="0" hangingPunct="1">
                        <a:lnSpc>
                          <a:spcPct val="100000"/>
                        </a:lnSpc>
                        <a:spcBef>
                          <a:spcPts val="0"/>
                        </a:spcBef>
                        <a:spcAft>
                          <a:spcPts val="0"/>
                        </a:spcAft>
                        <a:buClrTx/>
                        <a:buSzTx/>
                        <a:buFontTx/>
                        <a:buNone/>
                        <a:tabLst/>
                        <a:defRPr/>
                      </a:pPr>
                      <a:r>
                        <a:rPr lang="en-US" sz="1200" b="1" u="none" strike="noStrike" kern="1200" dirty="0">
                          <a:solidFill>
                            <a:schemeClr val="lt1"/>
                          </a:solidFill>
                          <a:effectLst/>
                          <a:latin typeface="+mn-lt"/>
                          <a:ea typeface="+mn-ea"/>
                          <a:cs typeface="+mn-cs"/>
                        </a:rPr>
                        <a:t>MCS  Jumpstart</a:t>
                      </a:r>
                    </a:p>
                    <a:p>
                      <a:pPr marL="0" marR="0" indent="0" algn="l" defTabSz="932742" rtl="0" eaLnBrk="1" fontAlgn="b" latinLnBrk="0" hangingPunct="1">
                        <a:lnSpc>
                          <a:spcPct val="100000"/>
                        </a:lnSpc>
                        <a:spcBef>
                          <a:spcPts val="0"/>
                        </a:spcBef>
                        <a:spcAft>
                          <a:spcPts val="0"/>
                        </a:spcAft>
                        <a:buClrTx/>
                        <a:buSzTx/>
                        <a:buFontTx/>
                        <a:buNone/>
                        <a:tabLst/>
                        <a:defRPr/>
                      </a:pPr>
                      <a:r>
                        <a:rPr lang="en-US" sz="1200" b="0" u="none" strike="noStrike" kern="1200" dirty="0">
                          <a:solidFill>
                            <a:schemeClr val="lt1"/>
                          </a:solidFill>
                          <a:effectLst/>
                          <a:latin typeface="+mn-lt"/>
                          <a:ea typeface="+mn-ea"/>
                          <a:cs typeface="+mn-cs"/>
                        </a:rPr>
                        <a:t>Packaged</a:t>
                      </a:r>
                      <a:r>
                        <a:rPr lang="en-US" sz="1200" b="0" u="none" strike="noStrike" kern="1200" baseline="0" dirty="0">
                          <a:solidFill>
                            <a:schemeClr val="lt1"/>
                          </a:solidFill>
                          <a:effectLst/>
                          <a:latin typeface="+mn-lt"/>
                          <a:ea typeface="+mn-ea"/>
                          <a:cs typeface="+mn-cs"/>
                        </a:rPr>
                        <a:t> consulting engagement</a:t>
                      </a:r>
                      <a:endParaRPr lang="en-US" sz="1200" b="0" u="none" strike="noStrike" kern="1200" dirty="0">
                        <a:solidFill>
                          <a:schemeClr val="lt1"/>
                        </a:solidFill>
                        <a:effectLst/>
                        <a:latin typeface="+mn-lt"/>
                        <a:ea typeface="+mn-ea"/>
                        <a:cs typeface="+mn-cs"/>
                      </a:endParaRPr>
                    </a:p>
                  </a:txBody>
                  <a:tcPr marL="91414" marR="91414" marT="9334" marB="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tx2"/>
                    </a:solidFill>
                  </a:tcPr>
                </a:tc>
                <a:tc>
                  <a:txBody>
                    <a:bodyPr/>
                    <a:lstStyle/>
                    <a:p>
                      <a:pPr marL="0" marR="0" indent="0" algn="l" defTabSz="932742" rtl="0" eaLnBrk="1" fontAlgn="b" latinLnBrk="0" hangingPunct="1">
                        <a:lnSpc>
                          <a:spcPct val="100000"/>
                        </a:lnSpc>
                        <a:spcBef>
                          <a:spcPts val="0"/>
                        </a:spcBef>
                        <a:spcAft>
                          <a:spcPts val="0"/>
                        </a:spcAft>
                        <a:buClrTx/>
                        <a:buSzTx/>
                        <a:buFontTx/>
                        <a:buNone/>
                        <a:tabLst/>
                        <a:defRPr/>
                      </a:pPr>
                      <a:r>
                        <a:rPr lang="en-US" sz="1200" b="1" u="none" strike="noStrike" kern="1200" dirty="0">
                          <a:solidFill>
                            <a:schemeClr val="lt1"/>
                          </a:solidFill>
                          <a:effectLst/>
                          <a:latin typeface="+mn-lt"/>
                          <a:ea typeface="+mn-ea"/>
                          <a:cs typeface="+mn-cs"/>
                        </a:rPr>
                        <a:t>Digital Transformation</a:t>
                      </a:r>
                    </a:p>
                    <a:p>
                      <a:pPr marL="0" marR="0" indent="0" algn="l" defTabSz="932742" rtl="0" eaLnBrk="1" fontAlgn="b" latinLnBrk="0" hangingPunct="1">
                        <a:lnSpc>
                          <a:spcPct val="100000"/>
                        </a:lnSpc>
                        <a:spcBef>
                          <a:spcPts val="0"/>
                        </a:spcBef>
                        <a:spcAft>
                          <a:spcPts val="0"/>
                        </a:spcAft>
                        <a:buClrTx/>
                        <a:buSzTx/>
                        <a:buFontTx/>
                        <a:buNone/>
                        <a:tabLst/>
                        <a:defRPr/>
                      </a:pPr>
                      <a:endParaRPr lang="en-US" sz="1200" b="1" u="none" strike="noStrike" kern="1200" dirty="0">
                        <a:solidFill>
                          <a:schemeClr val="lt1"/>
                        </a:solidFill>
                        <a:effectLst/>
                        <a:latin typeface="+mn-lt"/>
                        <a:ea typeface="+mn-ea"/>
                        <a:cs typeface="+mn-cs"/>
                      </a:endParaRPr>
                    </a:p>
                  </a:txBody>
                  <a:tcPr marL="91414" marR="91414" marT="9334" marB="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53447624"/>
                  </a:ext>
                </a:extLst>
              </a:tr>
              <a:tr h="27793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b"/>
                      <a:r>
                        <a:rPr lang="en-US" sz="1200" b="1" i="0" u="none" strike="noStrike" dirty="0">
                          <a:solidFill>
                            <a:schemeClr val="tx1">
                              <a:lumMod val="50000"/>
                            </a:schemeClr>
                          </a:solidFill>
                          <a:effectLst/>
                          <a:latin typeface="Segoe UI"/>
                          <a:cs typeface="Segoe UI"/>
                        </a:rPr>
                        <a:t>Scenario</a:t>
                      </a:r>
                    </a:p>
                  </a:txBody>
                  <a:tcPr marL="91414" marR="91414" marT="45706" marB="45706">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indent="0" algn="l" defTabSz="932742" rtl="0" eaLnBrk="1" fontAlgn="b" latinLnBrk="0" hangingPunct="1">
                        <a:buFont typeface="Arial" panose="020B0604020202020204" pitchFamily="34" charset="0"/>
                        <a:buNone/>
                      </a:pPr>
                      <a:r>
                        <a:rPr lang="en-US" sz="1200" b="1" i="0" u="none" strike="noStrike" kern="1200" baseline="0" dirty="0">
                          <a:solidFill>
                            <a:srgbClr val="3C3C3C"/>
                          </a:solidFill>
                          <a:effectLst/>
                          <a:latin typeface="Segoe UI" panose="020B0502040204020203" pitchFamily="34" charset="0"/>
                          <a:ea typeface="+mn-ea"/>
                          <a:cs typeface="Segoe UI" panose="020B0502040204020203" pitchFamily="34" charset="0"/>
                        </a:rPr>
                        <a:t>Try/Buy</a:t>
                      </a:r>
                      <a:endParaRPr lang="en-US" sz="1200" b="0" i="0" u="none" strike="noStrike" kern="1200" baseline="0" dirty="0">
                        <a:solidFill>
                          <a:srgbClr val="3C3C3C"/>
                        </a:solidFill>
                        <a:effectLst/>
                        <a:latin typeface="Segoe UI" panose="020B0502040204020203" pitchFamily="34" charset="0"/>
                        <a:ea typeface="+mn-ea"/>
                        <a:cs typeface="Segoe UI" panose="020B0502040204020203" pitchFamily="34" charset="0"/>
                      </a:endParaRPr>
                    </a:p>
                  </a:txBody>
                  <a:tcPr marL="91414" marR="91414" marT="45706" marB="45706">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marR="0" indent="0" algn="l" defTabSz="932742" rtl="0" eaLnBrk="1" fontAlgn="b" latinLnBrk="0" hangingPunct="1">
                        <a:lnSpc>
                          <a:spcPct val="100000"/>
                        </a:lnSpc>
                        <a:spcBef>
                          <a:spcPts val="0"/>
                        </a:spcBef>
                        <a:spcAft>
                          <a:spcPts val="0"/>
                        </a:spcAft>
                        <a:buClrTx/>
                        <a:buSzTx/>
                        <a:buFont typeface="Arial" panose="020B0604020202020204" pitchFamily="34" charset="0"/>
                        <a:buNone/>
                        <a:tabLst/>
                        <a:defRPr/>
                      </a:pPr>
                      <a:r>
                        <a:rPr lang="en-US" sz="1200" b="1" i="0" u="none" strike="noStrike" kern="1200" dirty="0">
                          <a:solidFill>
                            <a:srgbClr val="3C3C3C"/>
                          </a:solidFill>
                          <a:effectLst/>
                          <a:latin typeface="Segoe UI" panose="020B0502040204020203" pitchFamily="34" charset="0"/>
                          <a:ea typeface="+mn-ea"/>
                          <a:cs typeface="Segoe UI" panose="020B0502040204020203" pitchFamily="34" charset="0"/>
                        </a:rPr>
                        <a:t>Deploy</a:t>
                      </a:r>
                      <a:endParaRPr lang="en-US" sz="1200" b="0" i="0" u="none" strike="noStrike" kern="1200" dirty="0">
                        <a:solidFill>
                          <a:srgbClr val="3C3C3C"/>
                        </a:solidFill>
                        <a:effectLst/>
                        <a:latin typeface="Segoe UI" panose="020B0502040204020203" pitchFamily="34" charset="0"/>
                        <a:ea typeface="+mn-ea"/>
                        <a:cs typeface="Segoe UI" panose="020B0502040204020203" pitchFamily="34" charset="0"/>
                      </a:endParaRPr>
                    </a:p>
                  </a:txBody>
                  <a:tcPr marL="91414" marR="91414" marT="9334" marB="0">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solidFill>
                  </a:tcPr>
                </a:tc>
                <a:tc>
                  <a:txBody>
                    <a:bodyPr/>
                    <a:lstStyle/>
                    <a:p>
                      <a:pPr marL="0" marR="0" indent="0" algn="l" defTabSz="932742" rtl="0" eaLnBrk="1" fontAlgn="b" latinLnBrk="0" hangingPunct="1">
                        <a:lnSpc>
                          <a:spcPct val="100000"/>
                        </a:lnSpc>
                        <a:spcBef>
                          <a:spcPts val="0"/>
                        </a:spcBef>
                        <a:spcAft>
                          <a:spcPts val="0"/>
                        </a:spcAft>
                        <a:buClrTx/>
                        <a:buSzTx/>
                        <a:buFont typeface="Arial" panose="020B0604020202020204" pitchFamily="34" charset="0"/>
                        <a:buNone/>
                        <a:tabLst/>
                        <a:defRPr/>
                      </a:pPr>
                      <a:r>
                        <a:rPr lang="en-US" sz="1200" b="1" i="0" u="none" strike="noStrike" kern="1200" dirty="0">
                          <a:solidFill>
                            <a:srgbClr val="3C3C3C"/>
                          </a:solidFill>
                          <a:effectLst/>
                          <a:latin typeface="Segoe UI" panose="020B0502040204020203" pitchFamily="34" charset="0"/>
                          <a:ea typeface="+mn-ea"/>
                          <a:cs typeface="Segoe UI" panose="020B0502040204020203" pitchFamily="34" charset="0"/>
                        </a:rPr>
                        <a:t>Use</a:t>
                      </a:r>
                    </a:p>
                  </a:txBody>
                  <a:tcPr marL="91414" marR="91414" marT="9334" marB="0">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68958307"/>
                  </a:ext>
                </a:extLst>
              </a:tr>
              <a:tr h="61121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b"/>
                      <a:r>
                        <a:rPr lang="en-US" sz="1200" b="1" i="0" u="none" strike="noStrike" dirty="0">
                          <a:solidFill>
                            <a:schemeClr val="tx1"/>
                          </a:solidFill>
                          <a:effectLst/>
                          <a:latin typeface="Segoe UI"/>
                          <a:cs typeface="Segoe UI"/>
                        </a:rPr>
                        <a:t>Dev&amp;Test</a:t>
                      </a:r>
                    </a:p>
                  </a:txBody>
                  <a:tcPr marL="91414" marR="91414" marT="45706" marB="45706"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171450" indent="-171450" algn="l" defTabSz="932742" rtl="0" eaLnBrk="1" fontAlgn="b" latinLnBrk="0" hangingPunct="1">
                        <a:buFont typeface="Arial" panose="020B0604020202020204" pitchFamily="34" charset="0"/>
                        <a:buChar char="•"/>
                      </a:pPr>
                      <a:r>
                        <a:rPr lang="nn-NO" sz="1000" b="0" dirty="0">
                          <a:effectLst/>
                          <a:latin typeface="+mn-lt"/>
                          <a:hlinkClick r:id="rId3"/>
                        </a:rPr>
                        <a:t>Fast Start – Azure for Dev Ops </a:t>
                      </a:r>
                      <a:endParaRPr lang="nn-NO" sz="1000" b="0" dirty="0">
                        <a:effectLst/>
                        <a:latin typeface="+mn-lt"/>
                        <a:hlinkClick r:id="" action="ppaction://noaction"/>
                      </a:endParaRPr>
                    </a:p>
                    <a:p>
                      <a:pPr marL="171450" indent="-171450" algn="l" defTabSz="932742" rtl="0" eaLnBrk="1" fontAlgn="b" latinLnBrk="0" hangingPunct="1">
                        <a:buFont typeface="Arial" panose="020B0604020202020204" pitchFamily="34" charset="0"/>
                        <a:buChar char="•"/>
                      </a:pPr>
                      <a:r>
                        <a:rPr lang="nn-NO" sz="1000" b="0" dirty="0">
                          <a:effectLst/>
                          <a:latin typeface="+mn-lt"/>
                          <a:hlinkClick r:id="" action="ppaction://noaction"/>
                        </a:rPr>
                        <a:t>Fast Start - Azure for IaaS</a:t>
                      </a:r>
                      <a:endParaRPr lang="en-US" sz="1000" b="0" i="0" u="none" strike="noStrike" kern="1200" dirty="0">
                        <a:solidFill>
                          <a:srgbClr val="3C3C3C"/>
                        </a:solidFill>
                        <a:effectLst/>
                        <a:latin typeface="+mn-lt"/>
                        <a:ea typeface="+mn-ea"/>
                        <a:cs typeface="Segoe UI"/>
                      </a:endParaRPr>
                    </a:p>
                  </a:txBody>
                  <a:tcPr marL="91414" marR="91414" marT="45706" marB="45706"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171450" indent="-171450" algn="l" defTabSz="932742" rtl="0" eaLnBrk="1" fontAlgn="b" latinLnBrk="0" hangingPunct="1">
                        <a:buFont typeface="Arial" panose="020B0604020202020204" pitchFamily="34" charset="0"/>
                        <a:buChar char="•"/>
                      </a:pPr>
                      <a:r>
                        <a:rPr lang="en-US" sz="1000" b="0" i="0" u="none" strike="noStrike" kern="1200" dirty="0">
                          <a:solidFill>
                            <a:srgbClr val="3C3C3C"/>
                          </a:solidFill>
                          <a:effectLst/>
                          <a:latin typeface="+mn-lt"/>
                          <a:ea typeface="+mn-ea"/>
                          <a:cs typeface="Segoe UI"/>
                          <a:hlinkClick r:id="rId4"/>
                        </a:rPr>
                        <a:t>Hybrid Cloud Jumpstart</a:t>
                      </a:r>
                      <a:endParaRPr lang="en-US" sz="1000" b="0" i="0" u="none" strike="noStrike" kern="1200" dirty="0">
                        <a:solidFill>
                          <a:srgbClr val="3C3C3C"/>
                        </a:solidFill>
                        <a:effectLst/>
                        <a:latin typeface="+mn-lt"/>
                        <a:ea typeface="+mn-ea"/>
                        <a:cs typeface="Segoe UI"/>
                      </a:endParaRPr>
                    </a:p>
                  </a:txBody>
                  <a:tcPr marL="91414" marR="91414" marT="9334"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lumMod val="95000"/>
                      </a:schemeClr>
                    </a:solidFill>
                  </a:tcPr>
                </a:tc>
                <a:tc rowSpan="7">
                  <a:txBody>
                    <a:bodyPr/>
                    <a:lstStyle/>
                    <a:p>
                      <a:pPr marL="171450" indent="-171450" algn="l" defTabSz="932742" rtl="0" eaLnBrk="1" fontAlgn="b" latinLnBrk="0" hangingPunct="1">
                        <a:buFont typeface="Arial" panose="020B0604020202020204" pitchFamily="34" charset="0"/>
                        <a:buChar char="•"/>
                      </a:pPr>
                      <a:r>
                        <a:rPr lang="en-US" sz="1000" b="1" i="0" u="none" strike="noStrike" kern="1200" dirty="0">
                          <a:solidFill>
                            <a:srgbClr val="3C3C3C"/>
                          </a:solidFill>
                          <a:effectLst/>
                          <a:latin typeface="+mn-lt"/>
                          <a:ea typeface="+mn-ea"/>
                          <a:cs typeface="Segoe UI"/>
                          <a:hlinkClick r:id="rId5"/>
                        </a:rPr>
                        <a:t>Digital Advisory Services: </a:t>
                      </a:r>
                      <a:br>
                        <a:rPr lang="en-US" sz="1000" b="0" i="0" u="none" strike="noStrike" kern="1200" dirty="0">
                          <a:solidFill>
                            <a:srgbClr val="3C3C3C"/>
                          </a:solidFill>
                          <a:effectLst/>
                          <a:latin typeface="+mn-lt"/>
                          <a:ea typeface="+mn-ea"/>
                          <a:cs typeface="Segoe UI"/>
                        </a:rPr>
                      </a:br>
                      <a:r>
                        <a:rPr lang="en-US" sz="1000" b="0" i="0" u="none" strike="noStrike" kern="1200" dirty="0">
                          <a:solidFill>
                            <a:srgbClr val="3C3C3C"/>
                          </a:solidFill>
                          <a:effectLst/>
                          <a:latin typeface="+mn-lt"/>
                          <a:ea typeface="+mn-ea"/>
                          <a:cs typeface="Segoe UI"/>
                        </a:rPr>
                        <a:t>Guide organizations as they reimagine and transform customer engagement, employee experiences, business models and operations. Our approach to Digital Transformation is to find new ways of solving problems, creating unique user experiences, redefining products, and transforming business models. The approach involves three phases:</a:t>
                      </a:r>
                    </a:p>
                    <a:p>
                      <a:pPr marL="637748" lvl="1" indent="-171450" algn="l" defTabSz="932742" rtl="0" eaLnBrk="1" fontAlgn="b" latinLnBrk="0" hangingPunct="1">
                        <a:buFont typeface="Arial" panose="020B0604020202020204" pitchFamily="34" charset="0"/>
                        <a:buChar char="•"/>
                      </a:pPr>
                      <a:r>
                        <a:rPr lang="en-US" sz="1000" b="1" i="0" u="none" strike="noStrike" kern="1200" dirty="0">
                          <a:solidFill>
                            <a:srgbClr val="3C3C3C"/>
                          </a:solidFill>
                          <a:effectLst/>
                          <a:latin typeface="+mn-lt"/>
                          <a:ea typeface="+mn-ea"/>
                          <a:cs typeface="Segoe UI"/>
                        </a:rPr>
                        <a:t>Dream</a:t>
                      </a:r>
                      <a:r>
                        <a:rPr lang="en-US" sz="1000" b="0" i="0" u="none" strike="noStrike" kern="1200" dirty="0">
                          <a:solidFill>
                            <a:srgbClr val="3C3C3C"/>
                          </a:solidFill>
                          <a:effectLst/>
                          <a:latin typeface="+mn-lt"/>
                          <a:ea typeface="+mn-ea"/>
                          <a:cs typeface="Segoe UI"/>
                        </a:rPr>
                        <a:t> - imagine and envision the art of the possible</a:t>
                      </a:r>
                    </a:p>
                    <a:p>
                      <a:pPr marL="637748" lvl="1" indent="-171450" algn="l" defTabSz="932742" rtl="0" eaLnBrk="1" fontAlgn="b" latinLnBrk="0" hangingPunct="1">
                        <a:buFont typeface="Arial" panose="020B0604020202020204" pitchFamily="34" charset="0"/>
                        <a:buChar char="•"/>
                      </a:pPr>
                      <a:r>
                        <a:rPr lang="en-US" sz="1000" b="1" i="0" u="none" strike="noStrike" kern="1200" dirty="0">
                          <a:solidFill>
                            <a:srgbClr val="3C3C3C"/>
                          </a:solidFill>
                          <a:effectLst/>
                          <a:latin typeface="+mn-lt"/>
                          <a:ea typeface="+mn-ea"/>
                          <a:cs typeface="Segoe UI"/>
                        </a:rPr>
                        <a:t>Design</a:t>
                      </a:r>
                      <a:r>
                        <a:rPr lang="en-US" sz="1000" b="0" i="0" u="none" strike="noStrike" kern="1200" dirty="0">
                          <a:solidFill>
                            <a:srgbClr val="3C3C3C"/>
                          </a:solidFill>
                          <a:effectLst/>
                          <a:latin typeface="+mn-lt"/>
                          <a:ea typeface="+mn-ea"/>
                          <a:cs typeface="Segoe UI"/>
                        </a:rPr>
                        <a:t> - design to realize the value of the vision</a:t>
                      </a:r>
                    </a:p>
                    <a:p>
                      <a:pPr marL="637748" lvl="1" indent="-171450" algn="l" defTabSz="932742" rtl="0" eaLnBrk="1" fontAlgn="b" latinLnBrk="0" hangingPunct="1">
                        <a:buFont typeface="Arial" panose="020B0604020202020204" pitchFamily="34" charset="0"/>
                        <a:buChar char="•"/>
                      </a:pPr>
                      <a:r>
                        <a:rPr lang="en-US" sz="1000" b="1" i="0" u="none" strike="noStrike" kern="1200" dirty="0">
                          <a:solidFill>
                            <a:srgbClr val="3C3C3C"/>
                          </a:solidFill>
                          <a:effectLst/>
                          <a:latin typeface="+mn-lt"/>
                          <a:ea typeface="+mn-ea"/>
                          <a:cs typeface="Segoe UI"/>
                        </a:rPr>
                        <a:t>Deliver</a:t>
                      </a:r>
                      <a:r>
                        <a:rPr lang="en-US" sz="1000" b="0" i="0" u="none" strike="noStrike" kern="1200" dirty="0">
                          <a:solidFill>
                            <a:srgbClr val="3C3C3C"/>
                          </a:solidFill>
                          <a:effectLst/>
                          <a:latin typeface="+mn-lt"/>
                          <a:ea typeface="+mn-ea"/>
                          <a:cs typeface="Segoe UI"/>
                        </a:rPr>
                        <a:t> - deliver, adopt, and realize the vision and value</a:t>
                      </a:r>
                    </a:p>
                    <a:p>
                      <a:pPr marL="0" indent="0" algn="l" defTabSz="932742" rtl="0" eaLnBrk="1" fontAlgn="b" latinLnBrk="0" hangingPunct="1">
                        <a:buFont typeface="Arial" panose="020B0604020202020204" pitchFamily="34" charset="0"/>
                        <a:buNone/>
                      </a:pPr>
                      <a:endParaRPr lang="en-US" sz="1000" b="0" i="0" u="none" strike="noStrike" kern="1200" dirty="0">
                        <a:solidFill>
                          <a:srgbClr val="3C3C3C"/>
                        </a:solidFill>
                        <a:effectLst/>
                        <a:latin typeface="+mn-lt"/>
                        <a:ea typeface="+mn-ea"/>
                        <a:cs typeface="Segoe UI"/>
                      </a:endParaRPr>
                    </a:p>
                  </a:txBody>
                  <a:tcPr marL="91414" marR="91414" marT="9334"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34526928"/>
                  </a:ext>
                </a:extLst>
              </a:tr>
              <a:tr h="55806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marR="0" indent="0" algn="l" defTabSz="932742" rtl="0" eaLnBrk="1" fontAlgn="b" latinLnBrk="0" hangingPunct="1">
                        <a:lnSpc>
                          <a:spcPct val="100000"/>
                        </a:lnSpc>
                        <a:spcBef>
                          <a:spcPts val="0"/>
                        </a:spcBef>
                        <a:spcAft>
                          <a:spcPts val="0"/>
                        </a:spcAft>
                        <a:buClrTx/>
                        <a:buSzTx/>
                        <a:buFontTx/>
                        <a:buNone/>
                        <a:tabLst/>
                        <a:defRPr/>
                      </a:pPr>
                      <a:r>
                        <a:rPr lang="en-US" sz="1200" b="1" i="0" u="none" strike="noStrike" dirty="0">
                          <a:solidFill>
                            <a:schemeClr val="tx1"/>
                          </a:solidFill>
                          <a:effectLst/>
                          <a:latin typeface="Segoe UI"/>
                          <a:cs typeface="Segoe UI"/>
                        </a:rPr>
                        <a:t>OMS - Business Continuity and Disaster Recovery</a:t>
                      </a:r>
                    </a:p>
                  </a:txBody>
                  <a:tcPr marL="91414" marR="91414" marT="45706" marB="45706"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171450" indent="-171450" algn="l" fontAlgn="b">
                        <a:buFont typeface="Arial" panose="020B0604020202020204" pitchFamily="34" charset="0"/>
                        <a:buChar char="•"/>
                      </a:pPr>
                      <a:r>
                        <a:rPr lang="en-US" sz="1000" b="0" dirty="0">
                          <a:effectLst/>
                          <a:latin typeface="+mn-lt"/>
                          <a:hlinkClick r:id="rId6"/>
                        </a:rPr>
                        <a:t>Fast Start - Azure for Operations Management Suite Azure Backup</a:t>
                      </a:r>
                      <a:endParaRPr lang="en-US" sz="1000" b="0" i="0" u="none" strike="noStrike" baseline="0" dirty="0">
                        <a:solidFill>
                          <a:srgbClr val="3C3C3C"/>
                        </a:solidFill>
                        <a:effectLst/>
                        <a:latin typeface="+mn-lt"/>
                        <a:cs typeface="Segoe UI"/>
                      </a:endParaRPr>
                    </a:p>
                  </a:txBody>
                  <a:tcPr marL="91414" marR="91414" marT="45706" marB="45706"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171450" indent="-171450" algn="l" fontAlgn="b">
                        <a:buFont typeface="Arial" panose="020B0604020202020204" pitchFamily="34" charset="0"/>
                        <a:buChar char="•"/>
                      </a:pPr>
                      <a:r>
                        <a:rPr lang="en-US" sz="1000" u="none" strike="noStrike" kern="1200" dirty="0">
                          <a:effectLst/>
                          <a:latin typeface="+mn-lt"/>
                          <a:hlinkClick r:id="rId7"/>
                        </a:rPr>
                        <a:t>Hybrid Cloud Management (OMS)</a:t>
                      </a:r>
                      <a:endParaRPr lang="en-US" sz="1000" u="none" strike="noStrike" kern="1200" dirty="0">
                        <a:effectLst/>
                        <a:latin typeface="+mn-lt"/>
                      </a:endParaRPr>
                    </a:p>
                  </a:txBody>
                  <a:tcPr marL="91414" marR="91414" marT="9334"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lumMod val="95000"/>
                      </a:schemeClr>
                    </a:solidFill>
                  </a:tcPr>
                </a:tc>
                <a:tc vMerge="1">
                  <a:txBody>
                    <a:bodyPr/>
                    <a:lstStyle/>
                    <a:p>
                      <a:pPr marL="171450" indent="-171450" algn="l" fontAlgn="b">
                        <a:buFont typeface="Arial" panose="020B0604020202020204" pitchFamily="34" charset="0"/>
                        <a:buChar char="•"/>
                      </a:pPr>
                      <a:endParaRPr lang="en-US" sz="1000" u="none" strike="noStrike" kern="1200" dirty="0">
                        <a:effectLst/>
                        <a:latin typeface="+mn-lt"/>
                      </a:endParaRPr>
                    </a:p>
                  </a:txBody>
                  <a:tcPr marL="91427" marR="91427" marT="9336"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5469497"/>
                  </a:ext>
                </a:extLst>
              </a:tr>
              <a:tr h="87696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b"/>
                      <a:r>
                        <a:rPr lang="en-US" sz="1200" b="1" i="0" u="none" strike="noStrike" dirty="0">
                          <a:solidFill>
                            <a:schemeClr val="tx1"/>
                          </a:solidFill>
                          <a:effectLst/>
                          <a:latin typeface="Segoe UI"/>
                          <a:cs typeface="Segoe UI"/>
                        </a:rPr>
                        <a:t>Azure Websites</a:t>
                      </a:r>
                    </a:p>
                  </a:txBody>
                  <a:tcPr marL="91414" marR="91414" marT="45706" marB="45706"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171450" marR="0" indent="-171450" algn="l" defTabSz="932742"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dirty="0">
                          <a:solidFill>
                            <a:srgbClr val="3C3C3C"/>
                          </a:solidFill>
                          <a:effectLst/>
                          <a:latin typeface="+mn-lt"/>
                          <a:cs typeface="Segoe UI"/>
                          <a:hlinkClick r:id="rId8"/>
                        </a:rPr>
                        <a:t>Fast Start - Azure for Modern Web and Mobile Application Development </a:t>
                      </a:r>
                      <a:endParaRPr lang="en-US" sz="1000" b="0" i="0" u="none" strike="noStrike" dirty="0">
                        <a:solidFill>
                          <a:srgbClr val="3C3C3C"/>
                        </a:solidFill>
                        <a:effectLst/>
                        <a:latin typeface="+mn-lt"/>
                        <a:cs typeface="Segoe UI"/>
                      </a:endParaRPr>
                    </a:p>
                  </a:txBody>
                  <a:tcPr marL="91414" marR="91414" marT="45706" marB="45706"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171450" indent="-171450" algn="l" defTabSz="932742" rtl="0" eaLnBrk="1" fontAlgn="b" latinLnBrk="0" hangingPunct="1">
                        <a:buFont typeface="Arial" panose="020B0604020202020204" pitchFamily="34" charset="0"/>
                        <a:buChar char="•"/>
                      </a:pPr>
                      <a:r>
                        <a:rPr lang="en-US" sz="1000" b="0" kern="1200" baseline="0" dirty="0">
                          <a:solidFill>
                            <a:schemeClr val="dk1"/>
                          </a:solidFill>
                          <a:latin typeface="Segoe UI"/>
                          <a:ea typeface="+mn-ea"/>
                          <a:cs typeface="Segoe UI" panose="020B0502040204020203" pitchFamily="34" charset="0"/>
                          <a:hlinkClick r:id="rId9"/>
                        </a:rPr>
                        <a:t>App Modernization Essentials</a:t>
                      </a:r>
                      <a:r>
                        <a:rPr lang="en-US" sz="1000" b="0" kern="1200" baseline="0" dirty="0">
                          <a:solidFill>
                            <a:schemeClr val="dk1"/>
                          </a:solidFill>
                          <a:latin typeface="Segoe UI"/>
                          <a:ea typeface="+mn-ea"/>
                          <a:cs typeface="Segoe UI" panose="020B0502040204020203" pitchFamily="34" charset="0"/>
                        </a:rPr>
                        <a:t> </a:t>
                      </a:r>
                      <a:endParaRPr lang="en-US" sz="1000" b="0" i="0" u="none" strike="noStrike" kern="1200" dirty="0">
                        <a:solidFill>
                          <a:srgbClr val="FF0000"/>
                        </a:solidFill>
                        <a:effectLst/>
                        <a:latin typeface="+mn-lt"/>
                        <a:ea typeface="+mn-ea"/>
                        <a:cs typeface="Segoe UI"/>
                      </a:endParaRPr>
                    </a:p>
                  </a:txBody>
                  <a:tcPr marL="91414" marR="91414" marT="93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chemeClr val="bg1">
                        <a:lumMod val="95000"/>
                      </a:schemeClr>
                    </a:solidFill>
                  </a:tcPr>
                </a:tc>
                <a:tc vMerge="1">
                  <a:txBody>
                    <a:bodyPr/>
                    <a:lstStyle/>
                    <a:p>
                      <a:pPr marL="171450" indent="-171450" algn="l" defTabSz="932742" rtl="0" eaLnBrk="1" fontAlgn="b" latinLnBrk="0" hangingPunct="1">
                        <a:buFont typeface="Arial" panose="020B0604020202020204" pitchFamily="34" charset="0"/>
                        <a:buChar char="•"/>
                      </a:pPr>
                      <a:endParaRPr lang="en-US" sz="1000" b="0" i="0" u="none" strike="noStrike" kern="1200" dirty="0">
                        <a:solidFill>
                          <a:srgbClr val="FF0000"/>
                        </a:solidFill>
                        <a:effectLst/>
                        <a:latin typeface="+mn-lt"/>
                        <a:ea typeface="+mn-ea"/>
                        <a:cs typeface="Segoe UI"/>
                      </a:endParaRPr>
                    </a:p>
                  </a:txBody>
                  <a:tcPr marL="91427" marR="91427" marT="9336"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16857450"/>
                  </a:ext>
                </a:extLst>
              </a:tr>
              <a:tr h="631070">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b"/>
                      <a:r>
                        <a:rPr lang="en-US" sz="1200" b="1" i="0" u="none" strike="noStrike" dirty="0" err="1">
                          <a:solidFill>
                            <a:schemeClr val="tx1"/>
                          </a:solidFill>
                          <a:effectLst/>
                          <a:latin typeface="Segoe UI"/>
                          <a:cs typeface="Segoe UI"/>
                        </a:rPr>
                        <a:t>PowerBI</a:t>
                      </a:r>
                      <a:endParaRPr lang="en-US" sz="1200" b="1" i="0" u="none" strike="noStrike" dirty="0">
                        <a:solidFill>
                          <a:schemeClr val="tx1"/>
                        </a:solidFill>
                        <a:effectLst/>
                        <a:latin typeface="Segoe UI"/>
                        <a:cs typeface="Segoe UI"/>
                      </a:endParaRPr>
                    </a:p>
                  </a:txBody>
                  <a:tcPr marL="91414" marR="91414" marT="45706" marB="45706"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171450" marR="0" indent="-171450" algn="l" defTabSz="932742"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dirty="0">
                          <a:solidFill>
                            <a:schemeClr val="dk1"/>
                          </a:solidFill>
                          <a:effectLst/>
                          <a:latin typeface="+mn-lt"/>
                          <a:ea typeface="+mn-ea"/>
                          <a:cs typeface="+mn-cs"/>
                          <a:hlinkClick r:id="rId10"/>
                        </a:rPr>
                        <a:t>Fast Start - Business Analytics with Power BI</a:t>
                      </a:r>
                      <a:endParaRPr lang="en-US" sz="1000" u="none" strike="noStrike" kern="1200" dirty="0">
                        <a:solidFill>
                          <a:schemeClr val="dk1"/>
                        </a:solidFill>
                        <a:effectLst/>
                        <a:latin typeface="+mn-lt"/>
                        <a:ea typeface="+mn-ea"/>
                        <a:cs typeface="+mn-cs"/>
                      </a:endParaRPr>
                    </a:p>
                  </a:txBody>
                  <a:tcPr marL="91414" marR="91414" marT="45706" marB="45706"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dirty="0">
                          <a:solidFill>
                            <a:schemeClr val="dk1"/>
                          </a:solidFill>
                          <a:effectLst/>
                          <a:latin typeface="+mn-lt"/>
                          <a:ea typeface="+mn-ea"/>
                          <a:cs typeface="+mn-cs"/>
                          <a:hlinkClick r:id="rId11"/>
                        </a:rPr>
                        <a:t>Advanced Analytics Jumpstart</a:t>
                      </a:r>
                      <a:endParaRPr lang="en-US" sz="1000" u="none" strike="noStrike" kern="1200" dirty="0">
                        <a:solidFill>
                          <a:schemeClr val="dk1"/>
                        </a:solidFill>
                        <a:effectLst/>
                        <a:latin typeface="+mn-lt"/>
                        <a:ea typeface="+mn-ea"/>
                        <a:cs typeface="+mn-cs"/>
                      </a:endParaRP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dirty="0">
                          <a:solidFill>
                            <a:schemeClr val="dk1"/>
                          </a:solidFill>
                          <a:effectLst/>
                          <a:latin typeface="+mn-lt"/>
                          <a:ea typeface="+mn-ea"/>
                          <a:cs typeface="+mn-cs"/>
                          <a:hlinkClick r:id="rId12"/>
                        </a:rPr>
                        <a:t>Accelerate SQL Modernization First Steps</a:t>
                      </a:r>
                      <a:endParaRPr lang="en-US" sz="1000" u="none" strike="noStrike" kern="1200" dirty="0">
                        <a:solidFill>
                          <a:schemeClr val="dk1"/>
                        </a:solidFill>
                        <a:effectLst/>
                        <a:latin typeface="+mn-lt"/>
                        <a:ea typeface="+mn-ea"/>
                        <a:cs typeface="+mn-cs"/>
                      </a:endParaRPr>
                    </a:p>
                    <a:p>
                      <a:pPr marL="171450" marR="0" lvl="0" indent="-171450" algn="l" defTabSz="932742" rtl="0" eaLnBrk="1" fontAlgn="b" latinLnBrk="0" hangingPunct="1">
                        <a:lnSpc>
                          <a:spcPct val="100000"/>
                        </a:lnSpc>
                        <a:spcBef>
                          <a:spcPts val="0"/>
                        </a:spcBef>
                        <a:spcAft>
                          <a:spcPts val="0"/>
                        </a:spcAft>
                        <a:buClrTx/>
                        <a:buSzTx/>
                        <a:buFont typeface="Arial" panose="020B0604020202020204" pitchFamily="34" charset="0"/>
                        <a:buChar char="•"/>
                        <a:tabLst/>
                        <a:defRPr/>
                      </a:pPr>
                      <a:endParaRPr lang="en-US" sz="1000" dirty="0">
                        <a:effectLst/>
                        <a:highlight>
                          <a:srgbClr val="FFFF00"/>
                        </a:highlight>
                        <a:latin typeface="+mn-lt"/>
                      </a:endParaRPr>
                    </a:p>
                  </a:txBody>
                  <a:tcPr marL="91414" marR="91414" marT="9334"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171450" indent="-171450" algn="l" defTabSz="932742" rtl="0" eaLnBrk="1" fontAlgn="b" latinLnBrk="0" hangingPunct="1">
                        <a:buFont typeface="Arial" panose="020B0604020202020204" pitchFamily="34" charset="0"/>
                        <a:buChar char="•"/>
                      </a:pPr>
                      <a:endParaRPr lang="en-US" sz="1000" u="none" strike="noStrike" kern="1200" dirty="0">
                        <a:effectLst/>
                        <a:latin typeface="+mn-lt"/>
                      </a:endParaRPr>
                    </a:p>
                  </a:txBody>
                  <a:tcPr marL="91427" marR="91427" marT="9336"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29749995"/>
                  </a:ext>
                </a:extLst>
              </a:tr>
              <a:tr h="713148">
                <a:tc>
                  <a:txBody>
                    <a:bodyPr/>
                    <a:lstStyle/>
                    <a:p>
                      <a:pPr algn="l" fontAlgn="b"/>
                      <a:r>
                        <a:rPr lang="en-US" sz="1200" b="1" i="0" u="none" strike="noStrike" dirty="0">
                          <a:solidFill>
                            <a:schemeClr val="tx1"/>
                          </a:solidFill>
                          <a:effectLst/>
                          <a:latin typeface="Segoe UI"/>
                          <a:cs typeface="Segoe UI"/>
                        </a:rPr>
                        <a:t>Hybrid Infrastructure</a:t>
                      </a:r>
                    </a:p>
                  </a:txBody>
                  <a:tcPr marL="91414" marR="91414" marT="45706" marB="45706"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32742" rtl="0" eaLnBrk="1" fontAlgn="b" latinLnBrk="0" hangingPunct="1">
                        <a:lnSpc>
                          <a:spcPct val="100000"/>
                        </a:lnSpc>
                        <a:spcBef>
                          <a:spcPts val="0"/>
                        </a:spcBef>
                        <a:spcAft>
                          <a:spcPts val="0"/>
                        </a:spcAft>
                        <a:buClrTx/>
                        <a:buSzTx/>
                        <a:buFont typeface="Arial" panose="020B0604020202020204" pitchFamily="34" charset="0"/>
                        <a:buChar char="•"/>
                        <a:tabLst/>
                        <a:defRPr/>
                      </a:pPr>
                      <a:r>
                        <a:rPr lang="nn-NO" sz="1000" b="0" dirty="0">
                          <a:effectLst/>
                          <a:latin typeface="+mn-lt"/>
                          <a:hlinkClick r:id="rId13"/>
                        </a:rPr>
                        <a:t>Fast Start - Azure for IaaS</a:t>
                      </a:r>
                      <a:endParaRPr lang="nn-NO" sz="1000" b="0" dirty="0">
                        <a:effectLst/>
                        <a:latin typeface="+mn-lt"/>
                      </a:endParaRPr>
                    </a:p>
                    <a:p>
                      <a:pPr marL="171450" marR="0" lvl="0" indent="-171450" algn="l" defTabSz="932742"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dirty="0">
                          <a:solidFill>
                            <a:srgbClr val="3C3C3C"/>
                          </a:solidFill>
                          <a:effectLst/>
                          <a:latin typeface="+mn-lt"/>
                          <a:ea typeface="+mn-ea"/>
                          <a:cs typeface="Segoe UI"/>
                          <a:hlinkClick r:id="rId14"/>
                        </a:rPr>
                        <a:t>Fast Start - Azure for SQL on IaaS</a:t>
                      </a:r>
                      <a:endParaRPr lang="en-US" sz="1000" b="0" i="0" u="none" strike="noStrike" kern="1200" dirty="0">
                        <a:solidFill>
                          <a:srgbClr val="3C3C3C"/>
                        </a:solidFill>
                        <a:effectLst/>
                        <a:latin typeface="+mn-lt"/>
                        <a:ea typeface="+mn-ea"/>
                        <a:cs typeface="Segoe UI"/>
                      </a:endParaRPr>
                    </a:p>
                    <a:p>
                      <a:pPr marL="171450" marR="0" indent="-171450" algn="l" defTabSz="932742"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b="0" dirty="0">
                          <a:effectLst/>
                          <a:latin typeface="+mn-lt"/>
                          <a:hlinkClick r:id="rId15"/>
                        </a:rPr>
                        <a:t>Fast Start - Azure File Sharing and Archiving with </a:t>
                      </a:r>
                      <a:r>
                        <a:rPr lang="en-US" sz="1000" b="0" dirty="0" err="1">
                          <a:effectLst/>
                          <a:latin typeface="+mn-lt"/>
                          <a:hlinkClick r:id="rId15"/>
                        </a:rPr>
                        <a:t>StorSimple</a:t>
                      </a:r>
                      <a:endParaRPr lang="en-US" sz="1000" b="0" u="none" strike="noStrike" kern="1200" dirty="0">
                        <a:solidFill>
                          <a:schemeClr val="dk1"/>
                        </a:solidFill>
                        <a:effectLst/>
                        <a:latin typeface="+mn-lt"/>
                        <a:ea typeface="+mn-ea"/>
                        <a:cs typeface="+mn-cs"/>
                      </a:endParaRPr>
                    </a:p>
                  </a:txBody>
                  <a:tcPr marL="91414" marR="91414" marT="45706" marB="45706"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32742"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dirty="0">
                          <a:solidFill>
                            <a:srgbClr val="3C3C3C"/>
                          </a:solidFill>
                          <a:effectLst/>
                          <a:latin typeface="+mn-lt"/>
                          <a:ea typeface="+mn-ea"/>
                          <a:cs typeface="Segoe UI"/>
                          <a:hlinkClick r:id="rId16"/>
                        </a:rPr>
                        <a:t>Enterprise Modernization</a:t>
                      </a:r>
                      <a:endParaRPr lang="en-US" sz="1000" b="0" i="0" u="none" strike="noStrike" kern="1200" dirty="0">
                        <a:solidFill>
                          <a:srgbClr val="3C3C3C"/>
                        </a:solidFill>
                        <a:effectLst/>
                        <a:latin typeface="+mn-lt"/>
                        <a:ea typeface="+mn-ea"/>
                        <a:cs typeface="Segoe UI"/>
                      </a:endParaRPr>
                    </a:p>
                  </a:txBody>
                  <a:tcPr marL="91414" marR="91414" marT="93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171450" indent="-171450" algn="l" defTabSz="932742" rtl="0" eaLnBrk="1" fontAlgn="b" latinLnBrk="0" hangingPunct="1">
                        <a:buFont typeface="Arial" panose="020B0604020202020204" pitchFamily="34" charset="0"/>
                        <a:buChar char="•"/>
                      </a:pPr>
                      <a:endParaRPr lang="en-US" sz="1000" u="none" strike="noStrike" kern="1200" dirty="0">
                        <a:effectLst/>
                        <a:latin typeface="+mn-lt"/>
                      </a:endParaRPr>
                    </a:p>
                  </a:txBody>
                  <a:tcPr marL="91427" marR="91427" marT="9336"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70092244"/>
                  </a:ext>
                </a:extLst>
              </a:tr>
              <a:tr h="27793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b"/>
                      <a:r>
                        <a:rPr lang="en-US" sz="1200" b="1" i="0" u="none" strike="noStrike" dirty="0">
                          <a:solidFill>
                            <a:schemeClr val="tx1"/>
                          </a:solidFill>
                          <a:effectLst/>
                          <a:latin typeface="Segoe UI"/>
                          <a:cs typeface="Segoe UI"/>
                        </a:rPr>
                        <a:t>Open Source - Linux</a:t>
                      </a:r>
                    </a:p>
                  </a:txBody>
                  <a:tcPr marL="91414" marR="91414" marT="45706" marB="45706"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171450" indent="-171450" algn="l" defTabSz="932742" rtl="0" eaLnBrk="1" fontAlgn="b" latinLnBrk="0" hangingPunct="1">
                        <a:buFont typeface="Arial" panose="020B0604020202020204" pitchFamily="34" charset="0"/>
                        <a:buChar char="•"/>
                      </a:pPr>
                      <a:r>
                        <a:rPr lang="nn-NO" sz="1000" b="0" i="0" u="none" strike="noStrike" kern="1200" dirty="0">
                          <a:solidFill>
                            <a:srgbClr val="3C3C3C"/>
                          </a:solidFill>
                          <a:effectLst/>
                          <a:latin typeface="+mn-lt"/>
                          <a:ea typeface="+mn-ea"/>
                          <a:cs typeface="Segoe UI"/>
                          <a:hlinkClick r:id="rId17"/>
                        </a:rPr>
                        <a:t>Fast Start - Azure for Linux Fundamentals </a:t>
                      </a:r>
                      <a:endParaRPr lang="nn-NO" sz="1000" b="0" i="0" u="none" strike="noStrike" kern="1200" dirty="0">
                        <a:solidFill>
                          <a:srgbClr val="3C3C3C"/>
                        </a:solidFill>
                        <a:effectLst/>
                        <a:latin typeface="+mn-lt"/>
                        <a:ea typeface="+mn-ea"/>
                        <a:cs typeface="Segoe UI"/>
                      </a:endParaRPr>
                    </a:p>
                  </a:txBody>
                  <a:tcPr marL="91414" marR="91414" marT="45706" marB="45706"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171450" marR="0" lvl="0" indent="-171450" algn="l" defTabSz="932742"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dirty="0">
                          <a:solidFill>
                            <a:srgbClr val="3C3C3C"/>
                          </a:solidFill>
                          <a:effectLst/>
                          <a:latin typeface="+mn-lt"/>
                          <a:ea typeface="+mn-ea"/>
                          <a:cs typeface="Segoe UI"/>
                          <a:hlinkClick r:id="rId16"/>
                        </a:rPr>
                        <a:t>Enterprise Modernization</a:t>
                      </a:r>
                      <a:endParaRPr lang="en-US" sz="1000" b="0" i="0" u="none" strike="noStrike" kern="1200" dirty="0">
                        <a:solidFill>
                          <a:srgbClr val="3C3C3C"/>
                        </a:solidFill>
                        <a:effectLst/>
                        <a:latin typeface="+mn-lt"/>
                        <a:ea typeface="+mn-ea"/>
                        <a:cs typeface="Segoe UI"/>
                      </a:endParaRPr>
                    </a:p>
                  </a:txBody>
                  <a:tcPr marL="91414" marR="91414" marT="93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171450" marR="0" indent="-171450" algn="l" defTabSz="932742" rtl="0" eaLnBrk="1" fontAlgn="b" latinLnBrk="0" hangingPunct="1">
                        <a:lnSpc>
                          <a:spcPct val="100000"/>
                        </a:lnSpc>
                        <a:spcBef>
                          <a:spcPts val="0"/>
                        </a:spcBef>
                        <a:spcAft>
                          <a:spcPts val="0"/>
                        </a:spcAft>
                        <a:buClrTx/>
                        <a:buSzTx/>
                        <a:buFont typeface="Arial" panose="020B0604020202020204" pitchFamily="34" charset="0"/>
                        <a:buChar char="•"/>
                        <a:tabLst/>
                        <a:defRPr/>
                      </a:pPr>
                      <a:endParaRPr lang="en-US" sz="1000" b="0" i="0" u="none" strike="noStrike" kern="1200" dirty="0">
                        <a:solidFill>
                          <a:srgbClr val="3C3C3C"/>
                        </a:solidFill>
                        <a:effectLst/>
                        <a:latin typeface="+mn-lt"/>
                        <a:ea typeface="+mn-ea"/>
                        <a:cs typeface="Segoe UI"/>
                      </a:endParaRPr>
                    </a:p>
                  </a:txBody>
                  <a:tcPr marL="91427" marR="91427" marT="9336"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35660880"/>
                  </a:ext>
                </a:extLst>
              </a:tr>
              <a:tr h="345465">
                <a:tc>
                  <a:txBody>
                    <a:bodyPr/>
                    <a:lstStyle/>
                    <a:p>
                      <a:pPr algn="l" fontAlgn="b"/>
                      <a:r>
                        <a:rPr lang="en-US" sz="1200" b="1" i="0" u="none" strike="noStrike" dirty="0" err="1">
                          <a:solidFill>
                            <a:schemeClr val="tx1"/>
                          </a:solidFill>
                          <a:effectLst/>
                          <a:latin typeface="Segoe UI"/>
                          <a:cs typeface="Segoe UI"/>
                        </a:rPr>
                        <a:t>IoT</a:t>
                      </a:r>
                      <a:endParaRPr lang="en-US" sz="1200" b="1" i="0" u="none" strike="noStrike" dirty="0">
                        <a:solidFill>
                          <a:schemeClr val="tx1"/>
                        </a:solidFill>
                        <a:effectLst/>
                        <a:latin typeface="Segoe UI"/>
                        <a:cs typeface="Segoe UI"/>
                      </a:endParaRPr>
                    </a:p>
                  </a:txBody>
                  <a:tcPr marL="91414" marR="91414" marT="45706" marB="45706"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932742" rtl="0" eaLnBrk="1" fontAlgn="b" latinLnBrk="0" hangingPunct="1">
                        <a:buFont typeface="Arial" panose="020B0604020202020204" pitchFamily="34" charset="0"/>
                        <a:buChar char="•"/>
                      </a:pPr>
                      <a:r>
                        <a:rPr lang="nn-NO" sz="1000" b="0" i="1" u="none" strike="noStrike" kern="1200" dirty="0">
                          <a:solidFill>
                            <a:srgbClr val="3C3C3C"/>
                          </a:solidFill>
                          <a:effectLst/>
                          <a:latin typeface="+mn-lt"/>
                          <a:ea typeface="+mn-ea"/>
                          <a:cs typeface="Segoe UI"/>
                          <a:hlinkClick r:id="rId18"/>
                        </a:rPr>
                        <a:t>Fast Start – Internet of Things </a:t>
                      </a:r>
                      <a:r>
                        <a:rPr lang="nn-NO" sz="1000" b="0" i="1" u="none" strike="noStrike" kern="1200" dirty="0">
                          <a:solidFill>
                            <a:srgbClr val="3C3C3C"/>
                          </a:solidFill>
                          <a:effectLst/>
                          <a:latin typeface="+mn-lt"/>
                          <a:ea typeface="+mn-ea"/>
                          <a:cs typeface="Segoe UI"/>
                        </a:rPr>
                        <a:t>(Coming Soon)</a:t>
                      </a:r>
                    </a:p>
                  </a:txBody>
                  <a:tcPr marL="91414" marR="91414" marT="45706" marB="45706"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32742"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dirty="0">
                          <a:effectLst/>
                          <a:latin typeface="+mn-lt"/>
                          <a:hlinkClick r:id="rId19"/>
                        </a:rPr>
                        <a:t>Internet of Things Essentials</a:t>
                      </a:r>
                      <a:endParaRPr lang="en-US" sz="1000" dirty="0">
                        <a:effectLst/>
                        <a:latin typeface="+mn-lt"/>
                      </a:endParaRPr>
                    </a:p>
                    <a:p>
                      <a:pPr marL="0" marR="0" lvl="0" indent="0" algn="l" defTabSz="932742" rtl="0" eaLnBrk="1" fontAlgn="b" latinLnBrk="0" hangingPunct="1">
                        <a:lnSpc>
                          <a:spcPct val="100000"/>
                        </a:lnSpc>
                        <a:spcBef>
                          <a:spcPts val="0"/>
                        </a:spcBef>
                        <a:spcAft>
                          <a:spcPts val="0"/>
                        </a:spcAft>
                        <a:buClrTx/>
                        <a:buSzTx/>
                        <a:buFont typeface="Arial" panose="020B0604020202020204" pitchFamily="34" charset="0"/>
                        <a:buNone/>
                        <a:tabLst/>
                        <a:defRPr/>
                      </a:pPr>
                      <a:endParaRPr lang="en-US" sz="1000" dirty="0">
                        <a:effectLst/>
                        <a:latin typeface="+mn-lt"/>
                      </a:endParaRPr>
                    </a:p>
                  </a:txBody>
                  <a:tcPr marL="91414" marR="91414" marT="93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171450" marR="0" indent="-171450" algn="l" defTabSz="932742" rtl="0" eaLnBrk="1" fontAlgn="b" latinLnBrk="0" hangingPunct="1">
                        <a:lnSpc>
                          <a:spcPct val="100000"/>
                        </a:lnSpc>
                        <a:spcBef>
                          <a:spcPts val="0"/>
                        </a:spcBef>
                        <a:spcAft>
                          <a:spcPts val="0"/>
                        </a:spcAft>
                        <a:buClrTx/>
                        <a:buSzTx/>
                        <a:buFont typeface="Arial" panose="020B0604020202020204" pitchFamily="34" charset="0"/>
                        <a:buChar char="•"/>
                        <a:tabLst/>
                        <a:defRPr/>
                      </a:pPr>
                      <a:endParaRPr lang="en-US" sz="1000" b="0" i="0" u="none" strike="noStrike" kern="1200" dirty="0">
                        <a:solidFill>
                          <a:srgbClr val="3C3C3C"/>
                        </a:solidFill>
                        <a:effectLst/>
                        <a:latin typeface="+mn-lt"/>
                        <a:ea typeface="+mn-ea"/>
                        <a:cs typeface="Segoe UI"/>
                      </a:endParaRPr>
                    </a:p>
                  </a:txBody>
                  <a:tcPr marL="91427" marR="91427" marT="9336"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48353229"/>
                  </a:ext>
                </a:extLst>
              </a:tr>
            </a:tbl>
          </a:graphicData>
        </a:graphic>
      </p:graphicFrame>
      <p:sp>
        <p:nvSpPr>
          <p:cNvPr id="4" name="TextBox 3"/>
          <p:cNvSpPr txBox="1"/>
          <p:nvPr/>
        </p:nvSpPr>
        <p:spPr>
          <a:xfrm>
            <a:off x="191919" y="6329697"/>
            <a:ext cx="11762741" cy="670577"/>
          </a:xfrm>
          <a:prstGeom prst="rect">
            <a:avLst/>
          </a:prstGeom>
          <a:noFill/>
        </p:spPr>
        <p:txBody>
          <a:bodyPr wrap="square" rtlCol="0">
            <a:spAutoFit/>
          </a:bodyPr>
          <a:lstStyle/>
          <a:p>
            <a:pPr marL="291436" marR="0" lvl="0" indent="-291436"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24" b="0" i="0" u="none" strike="noStrike" kern="1200" cap="none" spc="0" normalizeH="0" baseline="0" noProof="0" dirty="0">
                <a:ln>
                  <a:noFill/>
                </a:ln>
                <a:solidFill>
                  <a:srgbClr val="505050"/>
                </a:solidFill>
                <a:effectLst/>
                <a:uLnTx/>
                <a:uFillTx/>
                <a:latin typeface="Segoe UI"/>
                <a:ea typeface="+mn-ea"/>
                <a:cs typeface="+mn-cs"/>
              </a:rPr>
              <a:t>Funding programs to support </a:t>
            </a:r>
            <a:r>
              <a:rPr kumimoji="0" lang="en-US" sz="1224" b="0" i="0" u="none" strike="noStrike" kern="1200" cap="none" spc="0" normalizeH="0" baseline="0" noProof="0" dirty="0" err="1">
                <a:ln>
                  <a:noFill/>
                </a:ln>
                <a:solidFill>
                  <a:srgbClr val="505050"/>
                </a:solidFill>
                <a:effectLst/>
                <a:uLnTx/>
                <a:uFillTx/>
                <a:latin typeface="Segoe UI"/>
                <a:ea typeface="+mn-ea"/>
                <a:cs typeface="+mn-cs"/>
              </a:rPr>
              <a:t>FastStarts</a:t>
            </a:r>
            <a:r>
              <a:rPr kumimoji="0" lang="en-US" sz="1224" b="0" i="0" u="none" strike="noStrike" kern="1200" cap="none" spc="0" normalizeH="0" baseline="0" noProof="0" dirty="0">
                <a:ln>
                  <a:noFill/>
                </a:ln>
                <a:solidFill>
                  <a:srgbClr val="505050"/>
                </a:solidFill>
                <a:effectLst/>
                <a:uLnTx/>
                <a:uFillTx/>
                <a:latin typeface="Segoe UI"/>
                <a:ea typeface="+mn-ea"/>
                <a:cs typeface="+mn-cs"/>
              </a:rPr>
              <a:t> include:  Premier agreement hours, DPS hours, and CIF (based on available funding)</a:t>
            </a:r>
          </a:p>
          <a:p>
            <a:pPr marL="174862" marR="0" lvl="0" indent="-174862"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24" b="0" i="0" u="none" strike="noStrike" kern="1200" cap="none" spc="0" normalizeH="0" baseline="0" noProof="0" dirty="0">
                <a:ln>
                  <a:noFill/>
                </a:ln>
                <a:solidFill>
                  <a:srgbClr val="505050"/>
                </a:solidFill>
                <a:effectLst/>
                <a:uLnTx/>
                <a:uFillTx/>
                <a:latin typeface="Segoe UI"/>
                <a:ea typeface="+mn-ea"/>
                <a:cs typeface="+mn-cs"/>
              </a:rPr>
              <a:t>   To learn if your customer has a Premier agreement and can leverage hours for </a:t>
            </a:r>
            <a:r>
              <a:rPr kumimoji="0" lang="en-US" sz="1224" b="0" i="0" u="none" strike="noStrike" kern="1200" cap="none" spc="0" normalizeH="0" baseline="0" noProof="0" dirty="0" err="1">
                <a:ln>
                  <a:noFill/>
                </a:ln>
                <a:solidFill>
                  <a:srgbClr val="505050"/>
                </a:solidFill>
                <a:effectLst/>
                <a:uLnTx/>
                <a:uFillTx/>
                <a:latin typeface="Segoe UI"/>
                <a:ea typeface="+mn-ea"/>
                <a:cs typeface="+mn-cs"/>
              </a:rPr>
              <a:t>FastStart</a:t>
            </a:r>
            <a:r>
              <a:rPr kumimoji="0" lang="en-US" sz="1224" b="0" i="0" u="none" strike="noStrike" kern="1200" cap="none" spc="0" normalizeH="0" baseline="0" noProof="0" dirty="0">
                <a:ln>
                  <a:noFill/>
                </a:ln>
                <a:solidFill>
                  <a:srgbClr val="505050"/>
                </a:solidFill>
                <a:effectLst/>
                <a:uLnTx/>
                <a:uFillTx/>
                <a:latin typeface="Segoe UI"/>
                <a:ea typeface="+mn-ea"/>
                <a:cs typeface="+mn-cs"/>
              </a:rPr>
              <a:t> deliveries, speak to your Delivery Manager (DMM) or TAM.</a:t>
            </a:r>
          </a:p>
          <a:p>
            <a:pPr marL="291436" marR="0" lvl="0" indent="-291436"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24" b="0" i="0" u="none" strike="noStrike" kern="1200" cap="none" spc="0" normalizeH="0" baseline="0" noProof="0" dirty="0">
                <a:ln>
                  <a:noFill/>
                </a:ln>
                <a:solidFill>
                  <a:srgbClr val="505050"/>
                </a:solidFill>
                <a:effectLst/>
                <a:uLnTx/>
                <a:uFillTx/>
                <a:latin typeface="Segoe UI"/>
                <a:ea typeface="+mn-ea"/>
                <a:cs typeface="+mn-cs"/>
              </a:rPr>
              <a:t>For more information on any of these offers, please reach out to your Services Sales Manager and your Delivery Manager.</a:t>
            </a:r>
            <a:endParaRPr kumimoji="0" lang="en-US" sz="102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70369934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8380" y="295274"/>
            <a:ext cx="11804979" cy="901567"/>
          </a:xfrm>
        </p:spPr>
        <p:txBody>
          <a:bodyPr/>
          <a:lstStyle/>
          <a:p>
            <a:r>
              <a:rPr lang="en-US" sz="4488" dirty="0"/>
              <a:t>FY17 Digital Advisory Services offers</a:t>
            </a:r>
          </a:p>
        </p:txBody>
      </p:sp>
      <p:graphicFrame>
        <p:nvGraphicFramePr>
          <p:cNvPr id="5" name="Table 4"/>
          <p:cNvGraphicFramePr>
            <a:graphicFrameLocks noGrp="1"/>
          </p:cNvGraphicFramePr>
          <p:nvPr>
            <p:extLst/>
          </p:nvPr>
        </p:nvGraphicFramePr>
        <p:xfrm>
          <a:off x="437455" y="1437267"/>
          <a:ext cx="11641407" cy="4118996"/>
        </p:xfrm>
        <a:graphic>
          <a:graphicData uri="http://schemas.openxmlformats.org/drawingml/2006/table">
            <a:tbl>
              <a:tblPr firstRow="1" bandRow="1">
                <a:tableStyleId>{5C22544A-7EE6-4342-B048-85BDC9FD1C3A}</a:tableStyleId>
              </a:tblPr>
              <a:tblGrid>
                <a:gridCol w="1734405">
                  <a:extLst>
                    <a:ext uri="{9D8B030D-6E8A-4147-A177-3AD203B41FA5}">
                      <a16:colId xmlns:a16="http://schemas.microsoft.com/office/drawing/2014/main" val="3176200636"/>
                    </a:ext>
                  </a:extLst>
                </a:gridCol>
                <a:gridCol w="3195314">
                  <a:extLst>
                    <a:ext uri="{9D8B030D-6E8A-4147-A177-3AD203B41FA5}">
                      <a16:colId xmlns:a16="http://schemas.microsoft.com/office/drawing/2014/main" val="1617720431"/>
                    </a:ext>
                  </a:extLst>
                </a:gridCol>
                <a:gridCol w="3801336">
                  <a:extLst>
                    <a:ext uri="{9D8B030D-6E8A-4147-A177-3AD203B41FA5}">
                      <a16:colId xmlns:a16="http://schemas.microsoft.com/office/drawing/2014/main" val="1586410563"/>
                    </a:ext>
                  </a:extLst>
                </a:gridCol>
                <a:gridCol w="2910352">
                  <a:extLst>
                    <a:ext uri="{9D8B030D-6E8A-4147-A177-3AD203B41FA5}">
                      <a16:colId xmlns:a16="http://schemas.microsoft.com/office/drawing/2014/main" val="169609928"/>
                    </a:ext>
                  </a:extLst>
                </a:gridCol>
              </a:tblGrid>
              <a:tr h="652822">
                <a:tc>
                  <a:txBody>
                    <a:bodyPr/>
                    <a:lstStyle/>
                    <a:p>
                      <a:r>
                        <a:rPr lang="en-US" sz="1800" dirty="0"/>
                        <a:t>Offer</a:t>
                      </a:r>
                    </a:p>
                  </a:txBody>
                  <a:tcPr marL="93260" marR="93260" marT="46630" marB="46630"/>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dirty="0"/>
                        <a:t>Business Ready </a:t>
                      </a:r>
                    </a:p>
                  </a:txBody>
                  <a:tcPr marL="93260" marR="93260" marT="46630" marB="46630"/>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dirty="0"/>
                        <a:t>Digital Ready </a:t>
                      </a:r>
                    </a:p>
                  </a:txBody>
                  <a:tcPr marL="93260" marR="93260" marT="46630" marB="46630"/>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dirty="0"/>
                        <a:t>DA Services SKU &amp; Tailored Consulting</a:t>
                      </a:r>
                    </a:p>
                  </a:txBody>
                  <a:tcPr marL="93260" marR="93260" marT="46630" marB="46630"/>
                </a:tc>
                <a:extLst>
                  <a:ext uri="{0D108BD9-81ED-4DB2-BD59-A6C34878D82A}">
                    <a16:rowId xmlns:a16="http://schemas.microsoft.com/office/drawing/2014/main" val="3803019301"/>
                  </a:ext>
                </a:extLst>
              </a:tr>
              <a:tr h="2331508">
                <a:tc>
                  <a:txBody>
                    <a:bodyPr/>
                    <a:lstStyle/>
                    <a:p>
                      <a:r>
                        <a:rPr lang="en-US" sz="1800" dirty="0"/>
                        <a:t>Description</a:t>
                      </a:r>
                    </a:p>
                  </a:txBody>
                  <a:tcPr marL="93260" marR="93260" marT="46630" marB="46630"/>
                </a:tc>
                <a:tc>
                  <a:txBody>
                    <a:bodyPr/>
                    <a:lstStyle/>
                    <a:p>
                      <a:pPr marL="0" marR="0" lvl="1" indent="0" algn="l" defTabSz="914367" rtl="0" eaLnBrk="1" fontAlgn="auto" latinLnBrk="0" hangingPunct="1">
                        <a:lnSpc>
                          <a:spcPct val="100000"/>
                        </a:lnSpc>
                        <a:spcBef>
                          <a:spcPts val="0"/>
                        </a:spcBef>
                        <a:spcAft>
                          <a:spcPts val="0"/>
                        </a:spcAft>
                        <a:buClrTx/>
                        <a:buSzTx/>
                        <a:buFontTx/>
                        <a:buNone/>
                        <a:tabLst/>
                        <a:defRPr/>
                      </a:pPr>
                      <a:r>
                        <a:rPr lang="en-US" sz="1800" dirty="0"/>
                        <a:t>A lead in offer to think big and start small,</a:t>
                      </a:r>
                      <a:r>
                        <a:rPr lang="en-US" sz="1800" baseline="0" dirty="0"/>
                        <a:t> </a:t>
                      </a:r>
                      <a:r>
                        <a:rPr lang="en-US" sz="1800" dirty="0"/>
                        <a:t>where a solution has been identified to focused on technology and platform of Cloud, Mobility, Productivity and can include Security, </a:t>
                      </a:r>
                      <a:r>
                        <a:rPr lang="en-US" sz="1800" dirty="0" err="1"/>
                        <a:t>IoT</a:t>
                      </a:r>
                      <a:r>
                        <a:rPr lang="en-US" sz="1800" dirty="0"/>
                        <a:t> and Analytics.</a:t>
                      </a:r>
                    </a:p>
                  </a:txBody>
                  <a:tcPr marL="93260" marR="93260" marT="46630" marB="46630"/>
                </a:tc>
                <a:tc>
                  <a:txBody>
                    <a:bodyPr/>
                    <a:lstStyle/>
                    <a:p>
                      <a:pPr marL="0" marR="0" lvl="1" indent="0" algn="l" defTabSz="914367" rtl="0" eaLnBrk="1" fontAlgn="auto" latinLnBrk="0" hangingPunct="1">
                        <a:lnSpc>
                          <a:spcPct val="100000"/>
                        </a:lnSpc>
                        <a:spcBef>
                          <a:spcPts val="0"/>
                        </a:spcBef>
                        <a:spcAft>
                          <a:spcPts val="0"/>
                        </a:spcAft>
                        <a:buClrTx/>
                        <a:buSzTx/>
                        <a:buFontTx/>
                        <a:buNone/>
                        <a:tabLst/>
                        <a:defRPr/>
                      </a:pPr>
                      <a:r>
                        <a:rPr lang="en-US" sz="1800" u="sng" dirty="0"/>
                        <a:t>A new offer</a:t>
                      </a:r>
                      <a:r>
                        <a:rPr lang="en-US" sz="1800" u="none" dirty="0"/>
                        <a:t> to</a:t>
                      </a:r>
                      <a:r>
                        <a:rPr lang="en-US" sz="1800" dirty="0"/>
                        <a:t> focus on digital</a:t>
                      </a:r>
                    </a:p>
                    <a:p>
                      <a:pPr marL="0" marR="0" lvl="1" indent="0" algn="l" defTabSz="914367" rtl="0" eaLnBrk="1" fontAlgn="auto" latinLnBrk="0" hangingPunct="1">
                        <a:lnSpc>
                          <a:spcPct val="100000"/>
                        </a:lnSpc>
                        <a:spcBef>
                          <a:spcPts val="0"/>
                        </a:spcBef>
                        <a:spcAft>
                          <a:spcPts val="0"/>
                        </a:spcAft>
                        <a:buClrTx/>
                        <a:buSzTx/>
                        <a:buFontTx/>
                        <a:buNone/>
                        <a:tabLst/>
                        <a:defRPr/>
                      </a:pPr>
                      <a:r>
                        <a:rPr lang="en-US" sz="1800" dirty="0"/>
                        <a:t>business design and change agents to drive digital transformation.  A custom book of dream will be developed to create </a:t>
                      </a:r>
                      <a:r>
                        <a:rPr lang="en-US" sz="1800" kern="1200" dirty="0">
                          <a:solidFill>
                            <a:schemeClr val="dk1"/>
                          </a:solidFill>
                          <a:effectLst/>
                          <a:latin typeface="+mn-lt"/>
                          <a:ea typeface="+mn-ea"/>
                          <a:cs typeface="+mn-cs"/>
                        </a:rPr>
                        <a:t>new business model through</a:t>
                      </a:r>
                      <a:r>
                        <a:rPr lang="en-US" sz="1800" kern="1200" baseline="0" dirty="0">
                          <a:solidFill>
                            <a:schemeClr val="dk1"/>
                          </a:solidFill>
                          <a:effectLst/>
                          <a:latin typeface="+mn-lt"/>
                          <a:ea typeface="+mn-ea"/>
                          <a:cs typeface="+mn-cs"/>
                        </a:rPr>
                        <a:t> a </a:t>
                      </a:r>
                      <a:r>
                        <a:rPr lang="en-US" sz="1800" kern="1200" dirty="0">
                          <a:solidFill>
                            <a:schemeClr val="dk1"/>
                          </a:solidFill>
                          <a:effectLst/>
                          <a:latin typeface="+mn-lt"/>
                          <a:ea typeface="+mn-ea"/>
                          <a:cs typeface="+mn-cs"/>
                        </a:rPr>
                        <a:t>program of change while creating a custom</a:t>
                      </a:r>
                      <a:r>
                        <a:rPr lang="en-US" sz="1800" kern="1200" baseline="0" dirty="0">
                          <a:solidFill>
                            <a:schemeClr val="dk1"/>
                          </a:solidFill>
                          <a:effectLst/>
                          <a:latin typeface="+mn-lt"/>
                          <a:ea typeface="+mn-ea"/>
                          <a:cs typeface="+mn-cs"/>
                        </a:rPr>
                        <a:t> </a:t>
                      </a:r>
                      <a:r>
                        <a:rPr lang="en-US" sz="1800" kern="1200" dirty="0">
                          <a:solidFill>
                            <a:schemeClr val="dk1"/>
                          </a:solidFill>
                          <a:effectLst/>
                          <a:latin typeface="+mn-lt"/>
                          <a:ea typeface="+mn-ea"/>
                          <a:cs typeface="+mn-cs"/>
                        </a:rPr>
                        <a:t>Digital Innovation Lab</a:t>
                      </a:r>
                      <a:r>
                        <a:rPr lang="en-US" sz="1800" kern="1200" baseline="0" dirty="0">
                          <a:solidFill>
                            <a:schemeClr val="dk1"/>
                          </a:solidFill>
                          <a:effectLst/>
                          <a:latin typeface="+mn-lt"/>
                          <a:ea typeface="+mn-ea"/>
                          <a:cs typeface="+mn-cs"/>
                        </a:rPr>
                        <a:t>.</a:t>
                      </a:r>
                      <a:endParaRPr lang="en-US" sz="1800" dirty="0"/>
                    </a:p>
                  </a:txBody>
                  <a:tcPr marL="93260" marR="93260" marT="46630" marB="46630"/>
                </a:tc>
                <a:tc>
                  <a:txBody>
                    <a:bodyPr/>
                    <a:lstStyle/>
                    <a:p>
                      <a:pPr marL="0" marR="0" lvl="1" indent="0" algn="l" defTabSz="914367" rtl="0" eaLnBrk="1" fontAlgn="auto" latinLnBrk="0" hangingPunct="1">
                        <a:lnSpc>
                          <a:spcPct val="100000"/>
                        </a:lnSpc>
                        <a:spcBef>
                          <a:spcPts val="0"/>
                        </a:spcBef>
                        <a:spcAft>
                          <a:spcPts val="0"/>
                        </a:spcAft>
                        <a:buClrTx/>
                        <a:buSzTx/>
                        <a:buFontTx/>
                        <a:buNone/>
                        <a:tabLst/>
                        <a:defRPr/>
                      </a:pPr>
                      <a:r>
                        <a:rPr lang="en-US" sz="1800" dirty="0"/>
                        <a:t>No change; capacity of time in buckets of 200-1600 hours for a dedicated Digital Architect attached to an Enterprise Agreement. Also able to be sold as stand alone.</a:t>
                      </a:r>
                    </a:p>
                  </a:txBody>
                  <a:tcPr marL="93260" marR="93260" marT="46630" marB="46630"/>
                </a:tc>
                <a:extLst>
                  <a:ext uri="{0D108BD9-81ED-4DB2-BD59-A6C34878D82A}">
                    <a16:rowId xmlns:a16="http://schemas.microsoft.com/office/drawing/2014/main" val="47965295"/>
                  </a:ext>
                </a:extLst>
              </a:tr>
              <a:tr h="378222">
                <a:tc>
                  <a:txBody>
                    <a:bodyPr/>
                    <a:lstStyle/>
                    <a:p>
                      <a:r>
                        <a:rPr lang="en-US" sz="1800" dirty="0"/>
                        <a:t>Audience</a:t>
                      </a:r>
                    </a:p>
                  </a:txBody>
                  <a:tcPr marL="93260" marR="93260" marT="46630" marB="46630"/>
                </a:tc>
                <a:tc>
                  <a:txBody>
                    <a:bodyPr/>
                    <a:lstStyle/>
                    <a:p>
                      <a:pPr marL="0" marR="0" lvl="1" indent="0" algn="l" defTabSz="914367" rtl="0" eaLnBrk="1" fontAlgn="auto" latinLnBrk="0" hangingPunct="1">
                        <a:lnSpc>
                          <a:spcPct val="100000"/>
                        </a:lnSpc>
                        <a:spcBef>
                          <a:spcPts val="0"/>
                        </a:spcBef>
                        <a:spcAft>
                          <a:spcPts val="0"/>
                        </a:spcAft>
                        <a:buClrTx/>
                        <a:buSzTx/>
                        <a:buFontTx/>
                        <a:buNone/>
                        <a:tabLst/>
                        <a:defRPr/>
                      </a:pPr>
                      <a:r>
                        <a:rPr lang="en-US" sz="1800" dirty="0"/>
                        <a:t>ITDM</a:t>
                      </a:r>
                    </a:p>
                  </a:txBody>
                  <a:tcPr marL="93260" marR="93260" marT="46630" marB="46630"/>
                </a:tc>
                <a:tc>
                  <a:txBody>
                    <a:bodyPr/>
                    <a:lstStyle/>
                    <a:p>
                      <a:r>
                        <a:rPr lang="en-US" sz="1800" dirty="0"/>
                        <a:t>BDM</a:t>
                      </a:r>
                    </a:p>
                  </a:txBody>
                  <a:tcPr marL="93260" marR="93260" marT="46630" marB="46630"/>
                </a:tc>
                <a:tc>
                  <a:txBody>
                    <a:bodyPr/>
                    <a:lstStyle/>
                    <a:p>
                      <a:pPr marL="0" marR="0" lvl="1" indent="0" algn="l" defTabSz="914367" rtl="0" eaLnBrk="1" fontAlgn="auto" latinLnBrk="0" hangingPunct="1">
                        <a:lnSpc>
                          <a:spcPct val="100000"/>
                        </a:lnSpc>
                        <a:spcBef>
                          <a:spcPts val="0"/>
                        </a:spcBef>
                        <a:spcAft>
                          <a:spcPts val="0"/>
                        </a:spcAft>
                        <a:buClrTx/>
                        <a:buSzTx/>
                        <a:buFontTx/>
                        <a:buNone/>
                        <a:tabLst/>
                        <a:defRPr/>
                      </a:pPr>
                      <a:r>
                        <a:rPr lang="en-US" sz="1800" dirty="0"/>
                        <a:t>ITDM/BDM</a:t>
                      </a:r>
                    </a:p>
                  </a:txBody>
                  <a:tcPr marL="93260" marR="93260" marT="46630" marB="46630"/>
                </a:tc>
                <a:extLst>
                  <a:ext uri="{0D108BD9-81ED-4DB2-BD59-A6C34878D82A}">
                    <a16:rowId xmlns:a16="http://schemas.microsoft.com/office/drawing/2014/main" val="2526528627"/>
                  </a:ext>
                </a:extLst>
              </a:tr>
              <a:tr h="378222">
                <a:tc>
                  <a:txBody>
                    <a:bodyPr/>
                    <a:lstStyle/>
                    <a:p>
                      <a:r>
                        <a:rPr lang="en-US" sz="1800" dirty="0"/>
                        <a:t>Hours</a:t>
                      </a:r>
                    </a:p>
                  </a:txBody>
                  <a:tcPr marL="93260" marR="93260" marT="46630" marB="46630"/>
                </a:tc>
                <a:tc>
                  <a:txBody>
                    <a:bodyPr/>
                    <a:lstStyle/>
                    <a:p>
                      <a:pPr marL="0" marR="0" lvl="1" indent="0" algn="l" defTabSz="914367" rtl="0" eaLnBrk="1" fontAlgn="auto" latinLnBrk="0" hangingPunct="1">
                        <a:lnSpc>
                          <a:spcPct val="100000"/>
                        </a:lnSpc>
                        <a:spcBef>
                          <a:spcPts val="0"/>
                        </a:spcBef>
                        <a:spcAft>
                          <a:spcPts val="0"/>
                        </a:spcAft>
                        <a:buClrTx/>
                        <a:buSzTx/>
                        <a:buFontTx/>
                        <a:buNone/>
                        <a:tabLst/>
                        <a:defRPr/>
                      </a:pPr>
                      <a:r>
                        <a:rPr lang="en-US" sz="1800" dirty="0"/>
                        <a:t>480</a:t>
                      </a:r>
                      <a:r>
                        <a:rPr lang="en-US" sz="1800" baseline="0" dirty="0"/>
                        <a:t> (200 EA+280 SME/GD)</a:t>
                      </a:r>
                      <a:endParaRPr lang="en-US" sz="1800" dirty="0"/>
                    </a:p>
                  </a:txBody>
                  <a:tcPr marL="93260" marR="93260" marT="46630" marB="46630"/>
                </a:tc>
                <a:tc>
                  <a:txBody>
                    <a:bodyPr/>
                    <a:lstStyle/>
                    <a:p>
                      <a:r>
                        <a:rPr lang="en-US" sz="1800" dirty="0"/>
                        <a:t>500 (350 DAS + 150 SME/GD)</a:t>
                      </a:r>
                      <a:endParaRPr lang="en-US" sz="1800" dirty="0">
                        <a:solidFill>
                          <a:srgbClr val="000000"/>
                        </a:solidFill>
                        <a:latin typeface="Calibri" charset="0"/>
                      </a:endParaRPr>
                    </a:p>
                  </a:txBody>
                  <a:tcPr marL="93260" marR="93260" marT="46630" marB="46630"/>
                </a:tc>
                <a:tc>
                  <a:txBody>
                    <a:bodyPr/>
                    <a:lstStyle/>
                    <a:p>
                      <a:pPr marL="0" marR="0" lvl="1" indent="0" algn="l" defTabSz="914367" rtl="0" eaLnBrk="1" fontAlgn="auto" latinLnBrk="0" hangingPunct="1">
                        <a:lnSpc>
                          <a:spcPct val="100000"/>
                        </a:lnSpc>
                        <a:spcBef>
                          <a:spcPts val="0"/>
                        </a:spcBef>
                        <a:spcAft>
                          <a:spcPts val="0"/>
                        </a:spcAft>
                        <a:buClrTx/>
                        <a:buSzTx/>
                        <a:buFontTx/>
                        <a:buNone/>
                        <a:tabLst/>
                        <a:defRPr/>
                      </a:pPr>
                      <a:r>
                        <a:rPr lang="en-US" sz="1800" dirty="0"/>
                        <a:t>See</a:t>
                      </a:r>
                      <a:r>
                        <a:rPr lang="en-US" sz="1800" baseline="0" dirty="0"/>
                        <a:t> details on EA Attach**</a:t>
                      </a:r>
                      <a:endParaRPr lang="en-US" sz="1800" dirty="0"/>
                    </a:p>
                  </a:txBody>
                  <a:tcPr marL="93260" marR="93260" marT="46630" marB="46630"/>
                </a:tc>
                <a:extLst>
                  <a:ext uri="{0D108BD9-81ED-4DB2-BD59-A6C34878D82A}">
                    <a16:rowId xmlns:a16="http://schemas.microsoft.com/office/drawing/2014/main" val="2326496899"/>
                  </a:ext>
                </a:extLst>
              </a:tr>
              <a:tr h="378222">
                <a:tc>
                  <a:txBody>
                    <a:bodyPr/>
                    <a:lstStyle/>
                    <a:p>
                      <a:r>
                        <a:rPr lang="en-US" sz="1800" dirty="0"/>
                        <a:t>Cost</a:t>
                      </a:r>
                    </a:p>
                  </a:txBody>
                  <a:tcPr marL="93260" marR="93260" marT="46630" marB="46630"/>
                </a:tc>
                <a:tc>
                  <a:txBody>
                    <a:bodyPr/>
                    <a:lstStyle/>
                    <a:p>
                      <a:pPr marL="0" marR="0" lvl="1" indent="0" algn="l" defTabSz="914367" rtl="0" eaLnBrk="1" fontAlgn="auto" latinLnBrk="0" hangingPunct="1">
                        <a:lnSpc>
                          <a:spcPct val="100000"/>
                        </a:lnSpc>
                        <a:spcBef>
                          <a:spcPts val="0"/>
                        </a:spcBef>
                        <a:spcAft>
                          <a:spcPts val="0"/>
                        </a:spcAft>
                        <a:buClrTx/>
                        <a:buSzTx/>
                        <a:buFontTx/>
                        <a:buNone/>
                        <a:tabLst/>
                        <a:defRPr/>
                      </a:pPr>
                      <a:r>
                        <a:rPr lang="en-US" sz="1800" dirty="0"/>
                        <a:t>$100,000 *</a:t>
                      </a:r>
                    </a:p>
                  </a:txBody>
                  <a:tcPr marL="93260" marR="93260" marT="46630" marB="46630"/>
                </a:tc>
                <a:tc>
                  <a:txBody>
                    <a:bodyPr/>
                    <a:lstStyle/>
                    <a:p>
                      <a:r>
                        <a:rPr lang="en-US" sz="1800" dirty="0"/>
                        <a:t>$150,000</a:t>
                      </a:r>
                      <a:r>
                        <a:rPr lang="en-US" sz="1800" baseline="0" dirty="0"/>
                        <a:t> *</a:t>
                      </a:r>
                      <a:endParaRPr lang="en-US" sz="1800" dirty="0"/>
                    </a:p>
                  </a:txBody>
                  <a:tcPr marL="93260" marR="93260" marT="46630" marB="46630"/>
                </a:tc>
                <a:tc>
                  <a:txBody>
                    <a:bodyPr/>
                    <a:lstStyle/>
                    <a:p>
                      <a:pPr marL="0" marR="0" lvl="1" indent="0" algn="l" defTabSz="914367" rtl="0" eaLnBrk="1" fontAlgn="auto" latinLnBrk="0" hangingPunct="1">
                        <a:lnSpc>
                          <a:spcPct val="100000"/>
                        </a:lnSpc>
                        <a:spcBef>
                          <a:spcPts val="0"/>
                        </a:spcBef>
                        <a:spcAft>
                          <a:spcPts val="0"/>
                        </a:spcAft>
                        <a:buClrTx/>
                        <a:buSzTx/>
                        <a:buFontTx/>
                        <a:buNone/>
                        <a:tabLst/>
                        <a:defRPr/>
                      </a:pPr>
                      <a:r>
                        <a:rPr lang="en-US" sz="1800" dirty="0"/>
                        <a:t>See</a:t>
                      </a:r>
                      <a:r>
                        <a:rPr lang="en-US" sz="1800" baseline="0" dirty="0"/>
                        <a:t> details on EA Attach**</a:t>
                      </a:r>
                      <a:endParaRPr lang="en-US" sz="1800" dirty="0"/>
                    </a:p>
                  </a:txBody>
                  <a:tcPr marL="93260" marR="93260" marT="46630" marB="46630"/>
                </a:tc>
                <a:extLst>
                  <a:ext uri="{0D108BD9-81ED-4DB2-BD59-A6C34878D82A}">
                    <a16:rowId xmlns:a16="http://schemas.microsoft.com/office/drawing/2014/main" val="3015606902"/>
                  </a:ext>
                </a:extLst>
              </a:tr>
            </a:tbl>
          </a:graphicData>
        </a:graphic>
      </p:graphicFrame>
      <p:sp>
        <p:nvSpPr>
          <p:cNvPr id="8" name="TextBox 1"/>
          <p:cNvSpPr txBox="1"/>
          <p:nvPr/>
        </p:nvSpPr>
        <p:spPr>
          <a:xfrm>
            <a:off x="2052609" y="5968662"/>
            <a:ext cx="7249437" cy="527358"/>
          </a:xfrm>
          <a:prstGeom prst="rect">
            <a:avLst/>
          </a:prstGeom>
          <a:noFill/>
        </p:spPr>
        <p:txBody>
          <a:bodyPr wrap="square" lIns="186521" tIns="149217" rIns="186521" bIns="149217"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632" b="0"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Price does NOT include T&amp;E, is in US $ and is based on FY16 rate card</a:t>
            </a:r>
          </a:p>
        </p:txBody>
      </p:sp>
    </p:spTree>
    <p:extLst>
      <p:ext uri="{BB962C8B-B14F-4D97-AF65-F5344CB8AC3E}">
        <p14:creationId xmlns:p14="http://schemas.microsoft.com/office/powerpoint/2010/main" val="341732949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hank You!</a:t>
            </a:r>
            <a:endParaRPr lang="en-US" dirty="0"/>
          </a:p>
        </p:txBody>
      </p:sp>
      <p:sp>
        <p:nvSpPr>
          <p:cNvPr id="5" name="Text Placeholder 4"/>
          <p:cNvSpPr>
            <a:spLocks noGrp="1"/>
          </p:cNvSpPr>
          <p:nvPr>
            <p:ph type="body" sz="quarter" idx="14"/>
          </p:nvPr>
        </p:nvSpPr>
        <p:spPr>
          <a:xfrm>
            <a:off x="273050" y="3828783"/>
            <a:ext cx="8612188" cy="1381229"/>
          </a:xfrm>
        </p:spPr>
        <p:txBody>
          <a:bodyPr/>
          <a:lstStyle/>
          <a:p>
            <a:r>
              <a:rPr lang="en-US" dirty="0"/>
              <a:t>Greg Bateman, Our Partners, David McDonald, Caitlin </a:t>
            </a:r>
            <a:r>
              <a:rPr lang="en-US" dirty="0" err="1"/>
              <a:t>Annal</a:t>
            </a:r>
            <a:r>
              <a:rPr lang="en-US" dirty="0"/>
              <a:t>, Our Speakers, David Yu, Ken Ward, and everyone in attendance</a:t>
            </a:r>
          </a:p>
        </p:txBody>
      </p:sp>
    </p:spTree>
    <p:extLst>
      <p:ext uri="{BB962C8B-B14F-4D97-AF65-F5344CB8AC3E}">
        <p14:creationId xmlns:p14="http://schemas.microsoft.com/office/powerpoint/2010/main" val="3004610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to Use the Book of Dreams</a:t>
            </a:r>
            <a:endParaRPr lang="en-IN" dirty="0"/>
          </a:p>
        </p:txBody>
      </p:sp>
      <p:sp>
        <p:nvSpPr>
          <p:cNvPr id="19" name="Rectangle 18"/>
          <p:cNvSpPr/>
          <p:nvPr>
            <p:custDataLst>
              <p:tags r:id="rId1"/>
            </p:custDataLst>
          </p:nvPr>
        </p:nvSpPr>
        <p:spPr bwMode="auto">
          <a:xfrm>
            <a:off x="311668" y="949347"/>
            <a:ext cx="8538742" cy="5419835"/>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3236" tIns="46618" rIns="932361" bIns="46618" rtlCol="0" anchor="t" anchorCtr="0">
            <a:noAutofit/>
          </a:bodyPr>
          <a:lstStyle/>
          <a:p>
            <a:pPr marL="186463" marR="0" lvl="1" indent="0" algn="l" defTabSz="1655840" rtl="0" eaLnBrk="1" fontAlgn="auto" latinLnBrk="0" hangingPunct="1">
              <a:lnSpc>
                <a:spcPct val="100000"/>
              </a:lnSpc>
              <a:spcBef>
                <a:spcPts val="612"/>
              </a:spcBef>
              <a:spcAft>
                <a:spcPts val="0"/>
              </a:spcAft>
              <a:buClr>
                <a:srgbClr val="595959">
                  <a:lumMod val="75000"/>
                </a:srgbClr>
              </a:buClr>
              <a:buSzTx/>
              <a:buFontTx/>
              <a:buNone/>
              <a:tabLst/>
              <a:defRPr/>
            </a:pPr>
            <a:r>
              <a:rPr kumimoji="0" lang="en-US" altLang="zh-CN" sz="2447"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The Book of Dreams helps Digital Architects drive Digital Business Transformation.</a:t>
            </a:r>
          </a:p>
          <a:p>
            <a:pPr marL="186463" marR="0" lvl="1" indent="0" algn="l" defTabSz="1655840" rtl="0" eaLnBrk="1" fontAlgn="auto" latinLnBrk="0" hangingPunct="1">
              <a:lnSpc>
                <a:spcPct val="100000"/>
              </a:lnSpc>
              <a:spcBef>
                <a:spcPts val="612"/>
              </a:spcBef>
              <a:spcAft>
                <a:spcPts val="0"/>
              </a:spcAft>
              <a:buClr>
                <a:srgbClr val="595959">
                  <a:lumMod val="75000"/>
                </a:srgbClr>
              </a:buClr>
              <a:buSzTx/>
              <a:buFontTx/>
              <a:buNone/>
              <a:tabLst/>
              <a:defRPr/>
            </a:pPr>
            <a:endParaRPr kumimoji="0" lang="en-US" altLang="zh-CN" sz="2447"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6463" marR="0" lvl="1" indent="0" algn="l" defTabSz="1655840" rtl="0" eaLnBrk="1" fontAlgn="auto" latinLnBrk="0" hangingPunct="1">
              <a:lnSpc>
                <a:spcPct val="100000"/>
              </a:lnSpc>
              <a:spcBef>
                <a:spcPts val="612"/>
              </a:spcBef>
              <a:spcAft>
                <a:spcPts val="0"/>
              </a:spcAft>
              <a:buClr>
                <a:srgbClr val="595959">
                  <a:lumMod val="75000"/>
                </a:srgbClr>
              </a:buClr>
              <a:buSzTx/>
              <a:buFontTx/>
              <a:buNone/>
              <a:tabLst/>
              <a:defRPr/>
            </a:pPr>
            <a:r>
              <a:rPr kumimoji="0" lang="en-US" altLang="zh-CN" sz="2447"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A Digital Architect uses the Book of Dreams to drive Vision, Value, and Scenarios for a mobile-first, cloud-first world.</a:t>
            </a:r>
          </a:p>
          <a:p>
            <a:pPr marL="186463" marR="0" lvl="1" indent="0" algn="l" defTabSz="1655840" rtl="0" eaLnBrk="1" fontAlgn="auto" latinLnBrk="0" hangingPunct="1">
              <a:lnSpc>
                <a:spcPct val="100000"/>
              </a:lnSpc>
              <a:spcBef>
                <a:spcPts val="612"/>
              </a:spcBef>
              <a:spcAft>
                <a:spcPts val="0"/>
              </a:spcAft>
              <a:buClr>
                <a:srgbClr val="595959">
                  <a:lumMod val="75000"/>
                </a:srgbClr>
              </a:buClr>
              <a:buSzTx/>
              <a:buFontTx/>
              <a:buNone/>
              <a:tabLst/>
              <a:defRPr/>
            </a:pPr>
            <a:endParaRPr kumimoji="0" lang="en-US" altLang="zh-CN" sz="2447"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6463" marR="0" lvl="1" indent="0" algn="l" defTabSz="1655840" rtl="0" eaLnBrk="1" fontAlgn="auto" latinLnBrk="0" hangingPunct="1">
              <a:lnSpc>
                <a:spcPct val="100000"/>
              </a:lnSpc>
              <a:spcBef>
                <a:spcPts val="612"/>
              </a:spcBef>
              <a:spcAft>
                <a:spcPts val="0"/>
              </a:spcAft>
              <a:buClr>
                <a:srgbClr val="595959">
                  <a:lumMod val="75000"/>
                </a:srgbClr>
              </a:buClr>
              <a:buSzTx/>
              <a:buFontTx/>
              <a:buNone/>
              <a:tabLst/>
              <a:defRPr/>
            </a:pPr>
            <a:r>
              <a:rPr kumimoji="0" lang="en-US" altLang="zh-CN" sz="2447"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A Digital Architect will tailor the placeholder and example content for their customer.</a:t>
            </a:r>
          </a:p>
          <a:p>
            <a:pPr marL="186463" marR="0" lvl="1" indent="0" algn="l" defTabSz="1655840" rtl="0" eaLnBrk="1" fontAlgn="auto" latinLnBrk="0" hangingPunct="1">
              <a:lnSpc>
                <a:spcPct val="100000"/>
              </a:lnSpc>
              <a:spcBef>
                <a:spcPts val="612"/>
              </a:spcBef>
              <a:spcAft>
                <a:spcPts val="0"/>
              </a:spcAft>
              <a:buClr>
                <a:srgbClr val="595959">
                  <a:lumMod val="75000"/>
                </a:srgbClr>
              </a:buClr>
              <a:buSzTx/>
              <a:buFontTx/>
              <a:buNone/>
              <a:tabLst/>
              <a:defRPr/>
            </a:pPr>
            <a:endParaRPr kumimoji="0" lang="en-US" altLang="zh-CN" sz="2447"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endParaRPr>
          </a:p>
          <a:p>
            <a:pPr marL="186463" marR="0" lvl="1" indent="0" algn="l" defTabSz="1655840" rtl="0" eaLnBrk="1" fontAlgn="auto" latinLnBrk="0" hangingPunct="1">
              <a:lnSpc>
                <a:spcPct val="100000"/>
              </a:lnSpc>
              <a:spcBef>
                <a:spcPts val="612"/>
              </a:spcBef>
              <a:spcAft>
                <a:spcPts val="0"/>
              </a:spcAft>
              <a:buClr>
                <a:srgbClr val="595959">
                  <a:lumMod val="75000"/>
                </a:srgbClr>
              </a:buClr>
              <a:buSzTx/>
              <a:buFontTx/>
              <a:buNone/>
              <a:tabLst/>
              <a:defRPr/>
            </a:pPr>
            <a:r>
              <a:rPr kumimoji="0" lang="en-US" altLang="zh-CN" sz="2447"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More Books of Dreams can be found at: http://aka.ms/BookOfDreams</a:t>
            </a:r>
          </a:p>
          <a:p>
            <a:pPr marL="200707" marR="0" lvl="1" indent="0" algn="l" defTabSz="1655840" rtl="0" eaLnBrk="1" fontAlgn="auto" latinLnBrk="0" hangingPunct="1">
              <a:lnSpc>
                <a:spcPct val="100000"/>
              </a:lnSpc>
              <a:spcBef>
                <a:spcPts val="102"/>
              </a:spcBef>
              <a:spcAft>
                <a:spcPts val="306"/>
              </a:spcAft>
              <a:buClr>
                <a:srgbClr val="595959">
                  <a:lumMod val="75000"/>
                </a:srgbClr>
              </a:buClr>
              <a:buSzTx/>
              <a:buFontTx/>
              <a:buNone/>
              <a:tabLst/>
              <a:defRPr/>
            </a:pPr>
            <a:endParaRPr kumimoji="0" lang="en-US" altLang="zh-CN" sz="1835" b="0" i="1"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pic>
        <p:nvPicPr>
          <p:cNvPr id="3" name="Picture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20679" y="949348"/>
            <a:ext cx="3054285" cy="1718035"/>
          </a:xfrm>
          <a:prstGeom prst="rect">
            <a:avLst/>
          </a:prstGeom>
          <a:ln>
            <a:solidFill>
              <a:schemeClr val="accent5"/>
            </a:solidFill>
          </a:ln>
        </p:spPr>
      </p:pic>
      <p:pic>
        <p:nvPicPr>
          <p:cNvPr id="4" name="Picture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20679" y="2800248"/>
            <a:ext cx="3054285" cy="1718035"/>
          </a:xfrm>
          <a:prstGeom prst="rect">
            <a:avLst/>
          </a:prstGeom>
          <a:ln>
            <a:solidFill>
              <a:schemeClr val="accent5"/>
            </a:solidFill>
          </a:ln>
        </p:spPr>
      </p:pic>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020679" y="4651147"/>
            <a:ext cx="3054285" cy="1718035"/>
          </a:xfrm>
          <a:prstGeom prst="rect">
            <a:avLst/>
          </a:prstGeom>
          <a:ln>
            <a:solidFill>
              <a:schemeClr val="accent5"/>
            </a:solidFill>
          </a:ln>
        </p:spPr>
      </p:pic>
    </p:spTree>
    <p:extLst>
      <p:ext uri="{BB962C8B-B14F-4D97-AF65-F5344CB8AC3E}">
        <p14:creationId xmlns:p14="http://schemas.microsoft.com/office/powerpoint/2010/main" val="2521104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a:xfrm>
            <a:off x="883" y="30282"/>
            <a:ext cx="12433124" cy="6993533"/>
          </a:xfrm>
          <a:prstGeom prst="rect">
            <a:avLst/>
          </a:prstGeom>
          <a:gradFill flip="none" rotWithShape="1">
            <a:gsLst>
              <a:gs pos="0">
                <a:schemeClr val="accent1">
                  <a:lumMod val="0"/>
                  <a:lumOff val="100000"/>
                  <a:alpha val="1000"/>
                </a:schemeClr>
              </a:gs>
              <a:gs pos="84000">
                <a:schemeClr val="bg1"/>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Segoe UI" panose="020B0502040204020203" pitchFamily="34" charset="0"/>
            </a:endParaRPr>
          </a:p>
        </p:txBody>
      </p:sp>
      <p:sp>
        <p:nvSpPr>
          <p:cNvPr id="63" name="Rectangle 62"/>
          <p:cNvSpPr/>
          <p:nvPr/>
        </p:nvSpPr>
        <p:spPr bwMode="auto">
          <a:xfrm>
            <a:off x="-27337" y="1135398"/>
            <a:ext cx="12461344" cy="58586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p:cNvSpPr txBox="1"/>
          <p:nvPr/>
        </p:nvSpPr>
        <p:spPr>
          <a:xfrm>
            <a:off x="7665833" y="4387610"/>
            <a:ext cx="12429709" cy="877563"/>
          </a:xfrm>
          <a:prstGeom prst="rect">
            <a:avLst/>
          </a:prstGeom>
          <a:noFill/>
        </p:spPr>
        <p:txBody>
          <a:bodyPr wrap="square" lIns="186494" tIns="149196" rIns="186494" bIns="149196" rtlCol="0">
            <a:spAutoFit/>
          </a:bodyPr>
          <a:lstStyle/>
          <a:p>
            <a:pPr marL="0" marR="0" lvl="0" indent="0" algn="l" defTabSz="932380" rtl="0" eaLnBrk="1" fontAlgn="auto" latinLnBrk="0" hangingPunct="1">
              <a:lnSpc>
                <a:spcPct val="90000"/>
              </a:lnSpc>
              <a:spcBef>
                <a:spcPts val="0"/>
              </a:spcBef>
              <a:spcAft>
                <a:spcPts val="612"/>
              </a:spcAft>
              <a:buClrTx/>
              <a:buSzTx/>
              <a:buFontTx/>
              <a:buNone/>
              <a:tabLst/>
              <a:defRPr/>
            </a:pPr>
            <a:endParaRPr kumimoji="0" lang="en-US" sz="4080" b="1"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endParaRPr>
          </a:p>
        </p:txBody>
      </p:sp>
      <p:grpSp>
        <p:nvGrpSpPr>
          <p:cNvPr id="12" name="Group 11"/>
          <p:cNvGrpSpPr/>
          <p:nvPr/>
        </p:nvGrpSpPr>
        <p:grpSpPr>
          <a:xfrm>
            <a:off x="566860" y="1650871"/>
            <a:ext cx="2730990" cy="2718127"/>
            <a:chOff x="501969" y="1397791"/>
            <a:chExt cx="2678064" cy="2665449"/>
          </a:xfrm>
          <a:solidFill>
            <a:srgbClr val="898989"/>
          </a:solidFill>
        </p:grpSpPr>
        <p:sp>
          <p:nvSpPr>
            <p:cNvPr id="65" name="Plus 64"/>
            <p:cNvSpPr/>
            <p:nvPr/>
          </p:nvSpPr>
          <p:spPr bwMode="auto">
            <a:xfrm>
              <a:off x="1492174" y="3405187"/>
              <a:ext cx="614932" cy="658053"/>
            </a:xfrm>
            <a:prstGeom prst="mathPlus">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ounded Rectangle 65"/>
            <p:cNvSpPr/>
            <p:nvPr/>
          </p:nvSpPr>
          <p:spPr bwMode="auto">
            <a:xfrm>
              <a:off x="501969" y="1397791"/>
              <a:ext cx="2678064" cy="2017678"/>
            </a:xfrm>
            <a:prstGeom prst="roundRect">
              <a:avLst>
                <a:gd name="adj" fmla="val 0"/>
              </a:avLst>
            </a:prstGeom>
            <a:grpFill/>
          </p:spPr>
          <p:txBody>
            <a:bodyPr wrap="square" lIns="186494" tIns="149196" rIns="186494" bIns="149196" rtlCol="0" anchor="ctr">
              <a:noAutofit/>
            </a:bodyPr>
            <a:lstStyle/>
            <a:p>
              <a:pPr marL="0" marR="0" lvl="0" indent="0" algn="ctr" defTabSz="932380" rtl="0" eaLnBrk="1" fontAlgn="auto" latinLnBrk="0" hangingPunct="1">
                <a:lnSpc>
                  <a:spcPct val="90000"/>
                </a:lnSpc>
                <a:spcBef>
                  <a:spcPts val="0"/>
                </a:spcBef>
                <a:spcAft>
                  <a:spcPts val="612"/>
                </a:spcAft>
                <a:buClrTx/>
                <a:buSzTx/>
                <a:buFontTx/>
                <a:buNone/>
                <a:tabLst/>
                <a:defRPr/>
              </a:pPr>
              <a:r>
                <a:rPr kumimoji="0" lang="en-US" sz="2400" b="1" i="0" u="none" strike="noStrike" kern="0" cap="none" spc="0" normalizeH="0" baseline="0" noProof="0" dirty="0">
                  <a:ln>
                    <a:noFill/>
                  </a:ln>
                  <a:solidFill>
                    <a:srgbClr val="FFFFFF"/>
                  </a:solidFill>
                  <a:effectLst/>
                  <a:uLnTx/>
                  <a:uFillTx/>
                  <a:latin typeface="Segoe UI"/>
                  <a:ea typeface="+mn-ea"/>
                  <a:cs typeface="+mn-cs"/>
                </a:rPr>
                <a:t>TRANSFORM</a:t>
              </a:r>
            </a:p>
            <a:p>
              <a:pPr marL="0" marR="0" lvl="0" indent="0" algn="ctr" defTabSz="932380" rtl="0" eaLnBrk="1" fontAlgn="auto" latinLnBrk="0" hangingPunct="1">
                <a:lnSpc>
                  <a:spcPct val="90000"/>
                </a:lnSpc>
                <a:spcBef>
                  <a:spcPts val="0"/>
                </a:spcBef>
                <a:spcAft>
                  <a:spcPts val="612"/>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a:ea typeface="+mn-ea"/>
                  <a:cs typeface="+mn-cs"/>
                </a:rPr>
                <a:t>on Accelerators</a:t>
              </a:r>
            </a:p>
          </p:txBody>
        </p:sp>
      </p:grpSp>
      <p:sp>
        <p:nvSpPr>
          <p:cNvPr id="71" name="Rounded Rectangle 70"/>
          <p:cNvSpPr/>
          <p:nvPr/>
        </p:nvSpPr>
        <p:spPr bwMode="auto">
          <a:xfrm>
            <a:off x="4025705" y="4426021"/>
            <a:ext cx="6422096" cy="1950871"/>
          </a:xfrm>
          <a:prstGeom prst="roundRect">
            <a:avLst>
              <a:gd name="adj" fmla="val 0"/>
            </a:avLst>
          </a:prstGeom>
          <a:solidFill>
            <a:schemeClr val="bg1"/>
          </a:solidFill>
          <a:ln w="38100">
            <a:solidFill>
              <a:schemeClr val="accent1"/>
            </a:solidFill>
          </a:ln>
        </p:spPr>
        <p:txBody>
          <a:bodyPr wrap="square" lIns="186494" tIns="149196" rIns="186494" bIns="149196" rtlCol="0" anchor="ctr">
            <a:noAutofit/>
          </a:bodyPr>
          <a:lstStyle/>
          <a:p>
            <a:pPr marL="0" marR="0" lvl="0" indent="0" algn="ctr" defTabSz="932380" rtl="0" eaLnBrk="1" fontAlgn="auto" latinLnBrk="0" hangingPunct="1">
              <a:lnSpc>
                <a:spcPct val="90000"/>
              </a:lnSpc>
              <a:spcBef>
                <a:spcPts val="0"/>
              </a:spcBef>
              <a:spcAft>
                <a:spcPts val="612"/>
              </a:spcAft>
              <a:buClrTx/>
              <a:buSzTx/>
              <a:buFontTx/>
              <a:buNone/>
              <a:tabLst/>
              <a:defRPr/>
            </a:pPr>
            <a:r>
              <a:rPr kumimoji="0" lang="en-US" sz="2000" b="1" i="0" u="none" strike="noStrike" kern="0" cap="none" spc="0" normalizeH="0" baseline="0" noProof="0" dirty="0">
                <a:ln>
                  <a:noFill/>
                </a:ln>
                <a:solidFill>
                  <a:srgbClr val="000C47"/>
                </a:solidFill>
                <a:effectLst/>
                <a:uLnTx/>
                <a:uFillTx/>
                <a:latin typeface="Segoe UI"/>
                <a:ea typeface="+mn-ea"/>
                <a:cs typeface="+mn-cs"/>
              </a:rPr>
              <a:t>All Products Billed Revenue (PG1) </a:t>
            </a:r>
            <a:endParaRPr kumimoji="0" lang="en-US" sz="2000" b="0" i="0" u="none" strike="noStrike" kern="0" cap="none" spc="0" normalizeH="0" baseline="0" noProof="0" dirty="0">
              <a:ln>
                <a:noFill/>
              </a:ln>
              <a:solidFill>
                <a:srgbClr val="000C47"/>
              </a:solidFill>
              <a:effectLst/>
              <a:uLnTx/>
              <a:uFillTx/>
              <a:latin typeface="Segoe UI"/>
              <a:ea typeface="+mn-ea"/>
              <a:cs typeface="Segoe UI" panose="020B0502040204020203" pitchFamily="34" charset="0"/>
            </a:endParaRPr>
          </a:p>
          <a:p>
            <a:pPr marL="0" marR="0" lvl="0" indent="0" algn="ctr" defTabSz="932380" rtl="0" eaLnBrk="1" fontAlgn="auto" latinLnBrk="0" hangingPunct="1">
              <a:lnSpc>
                <a:spcPct val="90000"/>
              </a:lnSpc>
              <a:spcBef>
                <a:spcPts val="0"/>
              </a:spcBef>
              <a:spcAft>
                <a:spcPts val="612"/>
              </a:spcAft>
              <a:buClrTx/>
              <a:buSzTx/>
              <a:buFontTx/>
              <a:buNone/>
              <a:tabLst/>
              <a:defRPr/>
            </a:pPr>
            <a:r>
              <a:rPr kumimoji="0" lang="en-US" sz="1599" b="0" i="0" u="none" strike="noStrike" kern="0" cap="none" spc="0" normalizeH="0" baseline="0" noProof="0" dirty="0">
                <a:ln>
                  <a:noFill/>
                </a:ln>
                <a:solidFill>
                  <a:srgbClr val="000C47"/>
                </a:solidFill>
                <a:effectLst/>
                <a:uLnTx/>
                <a:uFillTx/>
                <a:latin typeface="Segoe UI"/>
                <a:ea typeface="+mn-ea"/>
                <a:cs typeface="Segoe UI" panose="020B0502040204020203" pitchFamily="34" charset="0"/>
              </a:rPr>
              <a:t>(includes Cloud and OnPrem </a:t>
            </a:r>
            <a:r>
              <a:rPr kumimoji="0" lang="en-US" sz="1599" b="0" i="0" u="none" strike="noStrike" kern="0" cap="none" spc="0" normalizeH="0" baseline="0" noProof="0" dirty="0">
                <a:ln>
                  <a:noFill/>
                </a:ln>
                <a:solidFill>
                  <a:srgbClr val="000C47"/>
                </a:solidFill>
                <a:effectLst/>
                <a:uLnTx/>
                <a:uFillTx/>
                <a:latin typeface="Segoe UI"/>
                <a:ea typeface="+mn-ea"/>
                <a:cs typeface="+mn-cs"/>
              </a:rPr>
              <a:t>+ Public Cloud New Work Sold)</a:t>
            </a:r>
          </a:p>
        </p:txBody>
      </p:sp>
      <p:grpSp>
        <p:nvGrpSpPr>
          <p:cNvPr id="6" name="Group 5"/>
          <p:cNvGrpSpPr/>
          <p:nvPr/>
        </p:nvGrpSpPr>
        <p:grpSpPr>
          <a:xfrm>
            <a:off x="4025707" y="1375083"/>
            <a:ext cx="6422097" cy="2796891"/>
            <a:chOff x="4175645" y="1352781"/>
            <a:chExt cx="6423008" cy="2797288"/>
          </a:xfrm>
        </p:grpSpPr>
        <p:grpSp>
          <p:nvGrpSpPr>
            <p:cNvPr id="73" name="Group 72"/>
            <p:cNvGrpSpPr/>
            <p:nvPr/>
          </p:nvGrpSpPr>
          <p:grpSpPr>
            <a:xfrm>
              <a:off x="4175645" y="1409734"/>
              <a:ext cx="6423008" cy="2740335"/>
              <a:chOff x="4096423" y="1128390"/>
              <a:chExt cx="6297639" cy="2219468"/>
            </a:xfrm>
          </p:grpSpPr>
          <p:sp>
            <p:nvSpPr>
              <p:cNvPr id="74" name="Rounded Rectangle 73"/>
              <p:cNvSpPr/>
              <p:nvPr/>
            </p:nvSpPr>
            <p:spPr bwMode="auto">
              <a:xfrm>
                <a:off x="4096425" y="2650605"/>
                <a:ext cx="6297637" cy="697253"/>
              </a:xfrm>
              <a:prstGeom prst="roundRect">
                <a:avLst>
                  <a:gd name="adj" fmla="val 0"/>
                </a:avLst>
              </a:prstGeom>
              <a:solidFill>
                <a:schemeClr val="bg1"/>
              </a:solidFill>
              <a:ln w="38100">
                <a:solidFill>
                  <a:schemeClr val="tx1"/>
                </a:solidFill>
              </a:ln>
            </p:spPr>
            <p:txBody>
              <a:bodyPr wrap="square" lIns="186494" tIns="149196" rIns="186494" bIns="149196" rtlCol="0" anchor="ctr">
                <a:noAutofit/>
              </a:bodyPr>
              <a:lstStyle/>
              <a:p>
                <a:pPr marL="0" marR="0" lvl="0" indent="0" algn="l" defTabSz="932380" rtl="0" eaLnBrk="1" fontAlgn="auto" latinLnBrk="0" hangingPunct="1">
                  <a:lnSpc>
                    <a:spcPct val="90000"/>
                  </a:lnSpc>
                  <a:spcBef>
                    <a:spcPts val="0"/>
                  </a:spcBef>
                  <a:spcAft>
                    <a:spcPts val="612"/>
                  </a:spcAft>
                  <a:buClrTx/>
                  <a:buSzTx/>
                  <a:buFontTx/>
                  <a:buNone/>
                  <a:tabLst/>
                  <a:defRPr/>
                </a:pPr>
                <a:r>
                  <a:rPr kumimoji="0" lang="en-US" sz="2000" b="1" i="0" u="none" strike="noStrike" kern="0" cap="none" spc="0" normalizeH="0" baseline="0" noProof="0" dirty="0">
                    <a:ln>
                      <a:noFill/>
                    </a:ln>
                    <a:solidFill>
                      <a:sysClr val="windowText" lastClr="000000"/>
                    </a:solidFill>
                    <a:effectLst/>
                    <a:uLnTx/>
                    <a:uFillTx/>
                    <a:latin typeface="Segoe UI"/>
                    <a:ea typeface="+mn-ea"/>
                    <a:cs typeface="+mn-cs"/>
                  </a:rPr>
                  <a:t>Sell Cloud –</a:t>
                </a:r>
              </a:p>
              <a:p>
                <a:pPr marL="0" marR="0" lvl="0" indent="0" algn="l" defTabSz="932380" rtl="0" eaLnBrk="1" fontAlgn="auto" latinLnBrk="0" hangingPunct="1">
                  <a:lnSpc>
                    <a:spcPct val="90000"/>
                  </a:lnSpc>
                  <a:spcBef>
                    <a:spcPts val="0"/>
                  </a:spcBef>
                  <a:spcAft>
                    <a:spcPts val="612"/>
                  </a:spcAft>
                  <a:buClrTx/>
                  <a:buSzTx/>
                  <a:buFontTx/>
                  <a:buNone/>
                  <a:tabLst/>
                  <a:defRPr/>
                </a:pPr>
                <a:r>
                  <a:rPr kumimoji="0" lang="en-US" sz="1399" b="1" i="1" u="none" strike="noStrike" kern="0" cap="none" spc="0" normalizeH="0" baseline="0" noProof="0" dirty="0">
                    <a:ln>
                      <a:noFill/>
                    </a:ln>
                    <a:solidFill>
                      <a:sysClr val="windowText" lastClr="000000"/>
                    </a:solidFill>
                    <a:effectLst/>
                    <a:uLnTx/>
                    <a:uFillTx/>
                    <a:latin typeface="Segoe UI"/>
                    <a:ea typeface="+mn-ea"/>
                    <a:cs typeface="+mn-cs"/>
                  </a:rPr>
                  <a:t>(duplicated in PG1)</a:t>
                </a:r>
              </a:p>
            </p:txBody>
          </p:sp>
          <p:sp>
            <p:nvSpPr>
              <p:cNvPr id="75" name="Rounded Rectangle 74"/>
              <p:cNvSpPr/>
              <p:nvPr/>
            </p:nvSpPr>
            <p:spPr bwMode="auto">
              <a:xfrm>
                <a:off x="4096423" y="1895067"/>
                <a:ext cx="6297637" cy="697253"/>
              </a:xfrm>
              <a:prstGeom prst="roundRect">
                <a:avLst>
                  <a:gd name="adj" fmla="val 0"/>
                </a:avLst>
              </a:prstGeom>
              <a:solidFill>
                <a:schemeClr val="bg1"/>
              </a:solidFill>
              <a:ln w="38100">
                <a:solidFill>
                  <a:schemeClr val="tx1"/>
                </a:solidFill>
              </a:ln>
            </p:spPr>
            <p:txBody>
              <a:bodyPr wrap="square" lIns="186494" tIns="149196" rIns="186494" bIns="149196" rtlCol="0" anchor="ctr">
                <a:noAutofit/>
              </a:bodyPr>
              <a:lstStyle/>
              <a:p>
                <a:pPr marL="0" marR="0" lvl="0" indent="0" algn="l" defTabSz="932380" rtl="0" eaLnBrk="1" fontAlgn="auto" latinLnBrk="0" hangingPunct="1">
                  <a:lnSpc>
                    <a:spcPct val="90000"/>
                  </a:lnSpc>
                  <a:spcBef>
                    <a:spcPts val="0"/>
                  </a:spcBef>
                  <a:spcAft>
                    <a:spcPts val="612"/>
                  </a:spcAft>
                  <a:buClrTx/>
                  <a:buSzTx/>
                  <a:buFontTx/>
                  <a:buNone/>
                  <a:tabLst/>
                  <a:defRPr/>
                </a:pPr>
                <a:r>
                  <a:rPr kumimoji="0" lang="en-US" sz="2000" b="1" i="0" u="none" strike="noStrike" kern="0" cap="none" spc="0" normalizeH="0" baseline="0" noProof="0" dirty="0">
                    <a:ln>
                      <a:noFill/>
                    </a:ln>
                    <a:solidFill>
                      <a:sysClr val="windowText" lastClr="000000"/>
                    </a:solidFill>
                    <a:effectLst/>
                    <a:uLnTx/>
                    <a:uFillTx/>
                    <a:latin typeface="Segoe UI"/>
                    <a:ea typeface="+mn-ea"/>
                    <a:cs typeface="+mn-cs"/>
                  </a:rPr>
                  <a:t>Consume Cloud</a:t>
                </a:r>
              </a:p>
            </p:txBody>
          </p:sp>
          <p:sp>
            <p:nvSpPr>
              <p:cNvPr id="76" name="Rounded Rectangle 75"/>
              <p:cNvSpPr/>
              <p:nvPr/>
            </p:nvSpPr>
            <p:spPr bwMode="auto">
              <a:xfrm>
                <a:off x="4096424" y="1128390"/>
                <a:ext cx="6297637" cy="697253"/>
              </a:xfrm>
              <a:prstGeom prst="roundRect">
                <a:avLst>
                  <a:gd name="adj" fmla="val 0"/>
                </a:avLst>
              </a:prstGeom>
              <a:solidFill>
                <a:schemeClr val="bg1"/>
              </a:solidFill>
              <a:ln w="38100">
                <a:solidFill>
                  <a:schemeClr val="tx1"/>
                </a:solidFill>
              </a:ln>
            </p:spPr>
            <p:txBody>
              <a:bodyPr wrap="square" lIns="186494" tIns="149196" rIns="186494" bIns="149196" rtlCol="0" anchor="ctr">
                <a:noAutofit/>
              </a:bodyPr>
              <a:lstStyle/>
              <a:p>
                <a:pPr marL="0" marR="0" lvl="0" indent="0" algn="l" defTabSz="932380" rtl="0" eaLnBrk="1" fontAlgn="auto" latinLnBrk="0" hangingPunct="1">
                  <a:lnSpc>
                    <a:spcPct val="90000"/>
                  </a:lnSpc>
                  <a:spcBef>
                    <a:spcPts val="0"/>
                  </a:spcBef>
                  <a:spcAft>
                    <a:spcPts val="612"/>
                  </a:spcAft>
                  <a:buClrTx/>
                  <a:buSzTx/>
                  <a:buFontTx/>
                  <a:buNone/>
                  <a:tabLst/>
                  <a:defRPr/>
                </a:pPr>
                <a:r>
                  <a:rPr kumimoji="0" lang="en-US" sz="2000" b="1" i="0" u="none" strike="noStrike" kern="0" cap="none" spc="0" normalizeH="0" baseline="0" noProof="0" dirty="0">
                    <a:ln>
                      <a:noFill/>
                    </a:ln>
                    <a:solidFill>
                      <a:sysClr val="windowText" lastClr="000000"/>
                    </a:solidFill>
                    <a:effectLst/>
                    <a:uLnTx/>
                    <a:uFillTx/>
                    <a:latin typeface="Segoe UI"/>
                    <a:ea typeface="+mn-ea"/>
                    <a:cs typeface="+mn-cs"/>
                  </a:rPr>
                  <a:t>Strategic Priorities</a:t>
                </a:r>
              </a:p>
            </p:txBody>
          </p:sp>
        </p:grpSp>
        <p:grpSp>
          <p:nvGrpSpPr>
            <p:cNvPr id="84" name="Group 83"/>
            <p:cNvGrpSpPr/>
            <p:nvPr/>
          </p:nvGrpSpPr>
          <p:grpSpPr>
            <a:xfrm>
              <a:off x="7242638" y="1352781"/>
              <a:ext cx="3356013" cy="2784391"/>
              <a:chOff x="7212503" y="1002773"/>
              <a:chExt cx="3290509" cy="2346675"/>
            </a:xfrm>
          </p:grpSpPr>
          <p:cxnSp>
            <p:nvCxnSpPr>
              <p:cNvPr id="85" name="Straight Connector 84"/>
              <p:cNvCxnSpPr/>
              <p:nvPr/>
            </p:nvCxnSpPr>
            <p:spPr>
              <a:xfrm>
                <a:off x="7241510" y="1047871"/>
                <a:ext cx="0" cy="709001"/>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7241510" y="1862842"/>
                <a:ext cx="3" cy="716707"/>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7245242" y="2650604"/>
                <a:ext cx="0" cy="697253"/>
              </a:xfrm>
              <a:prstGeom prst="line">
                <a:avLst/>
              </a:prstGeom>
              <a:ln w="38100">
                <a:solidFill>
                  <a:srgbClr val="69696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7212503" y="1002773"/>
                <a:ext cx="3290509" cy="833541"/>
              </a:xfrm>
              <a:prstGeom prst="rect">
                <a:avLst/>
              </a:prstGeom>
              <a:noFill/>
              <a:ln>
                <a:noFill/>
              </a:ln>
            </p:spPr>
            <p:txBody>
              <a:bodyPr wrap="square" lIns="186494" tIns="149196" rIns="186494" bIns="149196" rtlCol="0" anchor="ctr">
                <a:noAutofit/>
              </a:bodyPr>
              <a:lstStyle/>
              <a:p>
                <a:pPr marL="0" marR="0" lvl="0" indent="0" algn="l" defTabSz="932380" rtl="0" eaLnBrk="1" fontAlgn="auto" latinLnBrk="0" hangingPunct="1">
                  <a:lnSpc>
                    <a:spcPct val="90000"/>
                  </a:lnSpc>
                  <a:spcBef>
                    <a:spcPts val="0"/>
                  </a:spcBef>
                  <a:spcAft>
                    <a:spcPts val="0"/>
                  </a:spcAft>
                  <a:buClrTx/>
                  <a:buSzTx/>
                  <a:buFontTx/>
                  <a:buNone/>
                  <a:tabLst/>
                  <a:defRPr/>
                </a:pPr>
                <a:r>
                  <a:rPr kumimoji="0" lang="en-US" sz="1599" b="0" i="0" u="none" strike="noStrike" kern="0" cap="none" spc="0" normalizeH="0" baseline="0" noProof="0" dirty="0">
                    <a:ln>
                      <a:noFill/>
                    </a:ln>
                    <a:solidFill>
                      <a:sysClr val="windowText" lastClr="000000"/>
                    </a:solidFill>
                    <a:effectLst/>
                    <a:uLnTx/>
                    <a:uFillTx/>
                    <a:latin typeface="Segoe UI"/>
                    <a:ea typeface="Segoe UI" pitchFamily="34" charset="0"/>
                    <a:cs typeface="Segoe UI" pitchFamily="34" charset="0"/>
                  </a:rPr>
                  <a:t>Windows 10 Devices:</a:t>
                </a:r>
              </a:p>
              <a:p>
                <a:pPr marL="0" marR="0" lvl="0" indent="0" algn="l" defTabSz="932380" rtl="0" eaLnBrk="1" fontAlgn="auto" latinLnBrk="0" hangingPunct="1">
                  <a:lnSpc>
                    <a:spcPct val="90000"/>
                  </a:lnSpc>
                  <a:spcBef>
                    <a:spcPts val="0"/>
                  </a:spcBef>
                  <a:spcAft>
                    <a:spcPts val="0"/>
                  </a:spcAft>
                  <a:buClrTx/>
                  <a:buSzTx/>
                  <a:buFontTx/>
                  <a:buNone/>
                  <a:tabLst/>
                  <a:defRPr/>
                </a:pPr>
                <a:r>
                  <a:rPr kumimoji="0" lang="en-US" sz="1599" b="0" i="1" u="none" strike="noStrike" kern="0" cap="none" spc="0" normalizeH="0" baseline="0" noProof="0" dirty="0">
                    <a:ln>
                      <a:noFill/>
                    </a:ln>
                    <a:solidFill>
                      <a:sysClr val="windowText" lastClr="000000"/>
                    </a:solidFill>
                    <a:effectLst/>
                    <a:uLnTx/>
                    <a:uFillTx/>
                    <a:latin typeface="Segoe UI"/>
                    <a:ea typeface="Segoe UI" pitchFamily="34" charset="0"/>
                    <a:cs typeface="Segoe UI" pitchFamily="34" charset="0"/>
                  </a:rPr>
                  <a:t>Surface + New Pro OEM PC Devices</a:t>
                </a:r>
              </a:p>
            </p:txBody>
          </p:sp>
          <p:sp>
            <p:nvSpPr>
              <p:cNvPr id="89" name="TextBox 88"/>
              <p:cNvSpPr txBox="1"/>
              <p:nvPr/>
            </p:nvSpPr>
            <p:spPr>
              <a:xfrm>
                <a:off x="7249192" y="1762373"/>
                <a:ext cx="3148819" cy="875980"/>
              </a:xfrm>
              <a:prstGeom prst="rect">
                <a:avLst/>
              </a:prstGeom>
              <a:noFill/>
              <a:ln>
                <a:noFill/>
              </a:ln>
            </p:spPr>
            <p:txBody>
              <a:bodyPr wrap="square" lIns="186494" tIns="149196" rIns="186494" bIns="149196" rtlCol="0" anchor="ctr">
                <a:noAutofit/>
              </a:bodyPr>
              <a:lstStyle/>
              <a:p>
                <a:pPr marL="0" marR="0" lvl="0" indent="0" algn="l" defTabSz="932380" rtl="0" eaLnBrk="1" fontAlgn="auto" latinLnBrk="0" hangingPunct="1">
                  <a:lnSpc>
                    <a:spcPct val="90000"/>
                  </a:lnSpc>
                  <a:spcBef>
                    <a:spcPts val="0"/>
                  </a:spcBef>
                  <a:spcAft>
                    <a:spcPts val="612"/>
                  </a:spcAft>
                  <a:buClrTx/>
                  <a:buSzTx/>
                  <a:buFontTx/>
                  <a:buNone/>
                  <a:tabLst/>
                  <a:defRPr/>
                </a:pPr>
                <a:r>
                  <a:rPr kumimoji="0" lang="en-US" sz="1599" b="0" i="0" u="none" strike="noStrike" kern="0" cap="none" spc="0" normalizeH="0" baseline="0" noProof="0" dirty="0">
                    <a:ln>
                      <a:noFill/>
                    </a:ln>
                    <a:solidFill>
                      <a:sysClr val="windowText" lastClr="000000"/>
                    </a:solidFill>
                    <a:effectLst/>
                    <a:uLnTx/>
                    <a:uFillTx/>
                    <a:latin typeface="Segoe UI"/>
                    <a:ea typeface="Segoe UI" pitchFamily="34" charset="0"/>
                    <a:cs typeface="Segoe UI" pitchFamily="34" charset="0"/>
                  </a:rPr>
                  <a:t>Azure Consumed Revenue</a:t>
                </a:r>
              </a:p>
              <a:p>
                <a:pPr marL="0" marR="0" lvl="0" indent="0" algn="l" defTabSz="932380" rtl="0" eaLnBrk="1" fontAlgn="auto" latinLnBrk="0" hangingPunct="1">
                  <a:lnSpc>
                    <a:spcPct val="90000"/>
                  </a:lnSpc>
                  <a:spcBef>
                    <a:spcPts val="0"/>
                  </a:spcBef>
                  <a:spcAft>
                    <a:spcPts val="612"/>
                  </a:spcAft>
                  <a:buClrTx/>
                  <a:buSzTx/>
                  <a:buFontTx/>
                  <a:buNone/>
                  <a:tabLst/>
                  <a:defRPr/>
                </a:pPr>
                <a:r>
                  <a:rPr kumimoji="0" lang="en-US" sz="1599" b="0" i="0" u="none" strike="noStrike" kern="0" cap="none" spc="0" normalizeH="0" baseline="0" noProof="0" dirty="0">
                    <a:ln>
                      <a:noFill/>
                    </a:ln>
                    <a:solidFill>
                      <a:sysClr val="windowText" lastClr="000000"/>
                    </a:solidFill>
                    <a:effectLst/>
                    <a:uLnTx/>
                    <a:uFillTx/>
                    <a:latin typeface="Segoe UI"/>
                    <a:ea typeface="Segoe UI" pitchFamily="34" charset="0"/>
                    <a:cs typeface="Segoe UI" pitchFamily="34" charset="0"/>
                  </a:rPr>
                  <a:t>Office 365 Active Usage</a:t>
                </a:r>
              </a:p>
            </p:txBody>
          </p:sp>
          <p:sp>
            <p:nvSpPr>
              <p:cNvPr id="90" name="TextBox 89"/>
              <p:cNvSpPr txBox="1"/>
              <p:nvPr/>
            </p:nvSpPr>
            <p:spPr>
              <a:xfrm>
                <a:off x="7245239" y="2675106"/>
                <a:ext cx="3148819" cy="674342"/>
              </a:xfrm>
              <a:prstGeom prst="rect">
                <a:avLst/>
              </a:prstGeom>
              <a:noFill/>
              <a:ln>
                <a:noFill/>
              </a:ln>
            </p:spPr>
            <p:txBody>
              <a:bodyPr wrap="square" lIns="186494" tIns="149196" rIns="186494" bIns="149196" rtlCol="0" anchor="ctr">
                <a:noAutofit/>
              </a:bodyPr>
              <a:lstStyle/>
              <a:p>
                <a:pPr marL="0" marR="0" lvl="0" indent="0" algn="l" defTabSz="932380" rtl="0" eaLnBrk="1" fontAlgn="auto" latinLnBrk="0" hangingPunct="1">
                  <a:lnSpc>
                    <a:spcPct val="90000"/>
                  </a:lnSpc>
                  <a:spcBef>
                    <a:spcPts val="0"/>
                  </a:spcBef>
                  <a:spcAft>
                    <a:spcPts val="612"/>
                  </a:spcAft>
                  <a:buClrTx/>
                  <a:buSzTx/>
                  <a:buFontTx/>
                  <a:buNone/>
                  <a:tabLst/>
                  <a:defRPr/>
                </a:pPr>
                <a:r>
                  <a:rPr kumimoji="0" lang="en-US" sz="1599" b="0" i="0" u="none" strike="noStrike" kern="0" cap="none" spc="0" normalizeH="0" baseline="0" noProof="0" dirty="0">
                    <a:ln>
                      <a:noFill/>
                    </a:ln>
                    <a:solidFill>
                      <a:sysClr val="windowText" lastClr="000000"/>
                    </a:solidFill>
                    <a:effectLst/>
                    <a:uLnTx/>
                    <a:uFillTx/>
                    <a:latin typeface="Segoe UI"/>
                    <a:ea typeface="Segoe UI" pitchFamily="34" charset="0"/>
                    <a:cs typeface="Segoe UI" pitchFamily="34" charset="0"/>
                  </a:rPr>
                  <a:t>Cloud Billed Revenue </a:t>
                </a:r>
              </a:p>
              <a:p>
                <a:pPr marL="0" marR="0" lvl="0" indent="0" algn="l" defTabSz="932380" rtl="0" eaLnBrk="1" fontAlgn="auto" latinLnBrk="0" hangingPunct="1">
                  <a:lnSpc>
                    <a:spcPct val="90000"/>
                  </a:lnSpc>
                  <a:spcBef>
                    <a:spcPts val="0"/>
                  </a:spcBef>
                  <a:spcAft>
                    <a:spcPts val="612"/>
                  </a:spcAft>
                  <a:buClrTx/>
                  <a:buSzTx/>
                  <a:buFontTx/>
                  <a:buNone/>
                  <a:tabLst/>
                  <a:defRPr/>
                </a:pPr>
                <a:r>
                  <a:rPr kumimoji="0" lang="en-US" sz="1599" b="0" i="0" u="none" strike="noStrike" kern="0" cap="none" spc="0" normalizeH="0" baseline="0" noProof="0" dirty="0">
                    <a:ln>
                      <a:noFill/>
                    </a:ln>
                    <a:solidFill>
                      <a:sysClr val="windowText" lastClr="000000"/>
                    </a:solidFill>
                    <a:effectLst/>
                    <a:uLnTx/>
                    <a:uFillTx/>
                    <a:latin typeface="Segoe UI"/>
                    <a:ea typeface="Segoe UI" pitchFamily="34" charset="0"/>
                    <a:cs typeface="Segoe UI" pitchFamily="34" charset="0"/>
                  </a:rPr>
                  <a:t>CRM Online </a:t>
                </a:r>
              </a:p>
            </p:txBody>
          </p:sp>
        </p:grpSp>
      </p:grpSp>
      <p:sp>
        <p:nvSpPr>
          <p:cNvPr id="96" name="Rounded Rectangle 95"/>
          <p:cNvSpPr/>
          <p:nvPr/>
        </p:nvSpPr>
        <p:spPr bwMode="auto">
          <a:xfrm>
            <a:off x="10764594" y="3311211"/>
            <a:ext cx="969844" cy="866645"/>
          </a:xfrm>
          <a:prstGeom prst="roundRect">
            <a:avLst>
              <a:gd name="adj" fmla="val 0"/>
            </a:avLst>
          </a:prstGeom>
          <a:solidFill>
            <a:schemeClr val="bg1"/>
          </a:solidFill>
          <a:ln w="38100">
            <a:solidFill>
              <a:schemeClr val="tx1"/>
            </a:solidFill>
          </a:ln>
        </p:spPr>
        <p:txBody>
          <a:bodyPr wrap="square" lIns="186494" tIns="149196" rIns="186494" bIns="149196" rtlCol="0" anchor="ctr">
            <a:noAutofit/>
          </a:bodyPr>
          <a:lstStyle/>
          <a:p>
            <a:pPr marL="0" marR="0" lvl="0" indent="0" algn="l" defTabSz="932380" rtl="0" eaLnBrk="1" fontAlgn="auto" latinLnBrk="0" hangingPunct="1">
              <a:lnSpc>
                <a:spcPct val="90000"/>
              </a:lnSpc>
              <a:spcBef>
                <a:spcPts val="0"/>
              </a:spcBef>
              <a:spcAft>
                <a:spcPts val="612"/>
              </a:spcAft>
              <a:buClrTx/>
              <a:buSzTx/>
              <a:buFontTx/>
              <a:buNone/>
              <a:tabLst/>
              <a:defRPr/>
            </a:pPr>
            <a:endParaRPr kumimoji="0" lang="en-US" sz="1836" b="1" i="0" u="none" strike="noStrike" kern="0" cap="none" spc="0" normalizeH="0" baseline="0" noProof="0" dirty="0">
              <a:ln>
                <a:noFill/>
              </a:ln>
              <a:solidFill>
                <a:srgbClr val="0078D7"/>
              </a:solidFill>
              <a:effectLst/>
              <a:uLnTx/>
              <a:uFillTx/>
              <a:latin typeface="Segoe UI"/>
              <a:ea typeface="+mn-ea"/>
              <a:cs typeface="+mn-cs"/>
            </a:endParaRPr>
          </a:p>
        </p:txBody>
      </p:sp>
      <p:sp>
        <p:nvSpPr>
          <p:cNvPr id="105" name="Rounded Rectangle 104"/>
          <p:cNvSpPr/>
          <p:nvPr/>
        </p:nvSpPr>
        <p:spPr bwMode="auto">
          <a:xfrm>
            <a:off x="10778028" y="4415917"/>
            <a:ext cx="969844" cy="1946486"/>
          </a:xfrm>
          <a:prstGeom prst="roundRect">
            <a:avLst>
              <a:gd name="adj" fmla="val 0"/>
            </a:avLst>
          </a:prstGeom>
          <a:solidFill>
            <a:schemeClr val="bg1"/>
          </a:solidFill>
          <a:ln w="38100">
            <a:solidFill>
              <a:schemeClr val="accent1"/>
            </a:solidFill>
          </a:ln>
        </p:spPr>
        <p:txBody>
          <a:bodyPr wrap="square" lIns="186494" tIns="149196" rIns="186494" bIns="149196" rtlCol="0" anchor="ctr">
            <a:noAutofit/>
          </a:bodyPr>
          <a:lstStyle/>
          <a:p>
            <a:pPr marL="0" marR="0" lvl="0" indent="0" algn="ctr" defTabSz="932380" rtl="0" eaLnBrk="1" fontAlgn="auto" latinLnBrk="0" hangingPunct="1">
              <a:lnSpc>
                <a:spcPct val="90000"/>
              </a:lnSpc>
              <a:spcBef>
                <a:spcPts val="0"/>
              </a:spcBef>
              <a:spcAft>
                <a:spcPts val="612"/>
              </a:spcAft>
              <a:buClrTx/>
              <a:buSzTx/>
              <a:buFontTx/>
              <a:buNone/>
              <a:tabLst/>
              <a:defRPr/>
            </a:pPr>
            <a:r>
              <a:rPr kumimoji="0" lang="en-US" sz="2000" b="1" i="0" u="none" strike="noStrike" kern="0" cap="none" spc="0" normalizeH="0" baseline="0" noProof="0" dirty="0">
                <a:ln>
                  <a:noFill/>
                </a:ln>
                <a:solidFill>
                  <a:srgbClr val="002050"/>
                </a:solidFill>
                <a:effectLst/>
                <a:uLnTx/>
                <a:uFillTx/>
                <a:latin typeface="Segoe UI"/>
                <a:ea typeface="+mn-ea"/>
                <a:cs typeface="+mn-cs"/>
              </a:rPr>
              <a:t>50%</a:t>
            </a:r>
          </a:p>
        </p:txBody>
      </p:sp>
      <p:sp>
        <p:nvSpPr>
          <p:cNvPr id="106" name="Rounded Rectangle 105"/>
          <p:cNvSpPr/>
          <p:nvPr/>
        </p:nvSpPr>
        <p:spPr bwMode="auto">
          <a:xfrm>
            <a:off x="10756571" y="1435822"/>
            <a:ext cx="969844" cy="859414"/>
          </a:xfrm>
          <a:prstGeom prst="roundRect">
            <a:avLst>
              <a:gd name="adj" fmla="val 0"/>
            </a:avLst>
          </a:prstGeom>
          <a:solidFill>
            <a:schemeClr val="bg1"/>
          </a:solidFill>
          <a:ln w="38100">
            <a:solidFill>
              <a:schemeClr val="tx1"/>
            </a:solidFill>
          </a:ln>
        </p:spPr>
        <p:txBody>
          <a:bodyPr wrap="square" lIns="186494" tIns="149196" rIns="186494" bIns="149196" rtlCol="0" anchor="ctr">
            <a:noAutofit/>
          </a:bodyPr>
          <a:lstStyle/>
          <a:p>
            <a:pPr marL="0" marR="0" lvl="0" indent="0" algn="ctr" defTabSz="932380" rtl="0" eaLnBrk="1" fontAlgn="auto" latinLnBrk="0" hangingPunct="1">
              <a:lnSpc>
                <a:spcPct val="90000"/>
              </a:lnSpc>
              <a:spcBef>
                <a:spcPts val="0"/>
              </a:spcBef>
              <a:spcAft>
                <a:spcPts val="612"/>
              </a:spcAft>
              <a:buClrTx/>
              <a:buSzTx/>
              <a:buFontTx/>
              <a:buNone/>
              <a:tabLst/>
              <a:defRPr/>
            </a:pPr>
            <a:r>
              <a:rPr kumimoji="0" lang="en-US" sz="2000" b="1" i="0" u="none" strike="noStrike" kern="0" cap="none" spc="0" normalizeH="0" baseline="0" noProof="0" dirty="0">
                <a:ln>
                  <a:noFill/>
                </a:ln>
                <a:solidFill>
                  <a:sysClr val="windowText" lastClr="000000"/>
                </a:solidFill>
                <a:effectLst/>
                <a:uLnTx/>
                <a:uFillTx/>
                <a:latin typeface="Segoe UI"/>
                <a:ea typeface="+mn-ea"/>
                <a:cs typeface="+mn-cs"/>
              </a:rPr>
              <a:t>5%</a:t>
            </a:r>
          </a:p>
        </p:txBody>
      </p:sp>
      <p:sp>
        <p:nvSpPr>
          <p:cNvPr id="108" name="TextBox 107"/>
          <p:cNvSpPr txBox="1"/>
          <p:nvPr/>
        </p:nvSpPr>
        <p:spPr>
          <a:xfrm>
            <a:off x="10762952" y="3322516"/>
            <a:ext cx="971486" cy="834676"/>
          </a:xfrm>
          <a:prstGeom prst="rect">
            <a:avLst/>
          </a:prstGeom>
          <a:noFill/>
        </p:spPr>
        <p:txBody>
          <a:bodyPr wrap="square" lIns="186494" tIns="149196" rIns="186494" bIns="149196" rtlCol="0" anchor="ctr">
            <a:noAutofit/>
          </a:bodyPr>
          <a:lstStyle/>
          <a:p>
            <a:pPr marL="0" marR="0" lvl="0" indent="0" algn="ctr" defTabSz="932380" rtl="0" eaLnBrk="1" fontAlgn="auto" latinLnBrk="0" hangingPunct="1">
              <a:lnSpc>
                <a:spcPct val="90000"/>
              </a:lnSpc>
              <a:spcBef>
                <a:spcPts val="0"/>
              </a:spcBef>
              <a:spcAft>
                <a:spcPts val="612"/>
              </a:spcAft>
              <a:buClrTx/>
              <a:buSzTx/>
              <a:buFontTx/>
              <a:buNone/>
              <a:tabLst/>
              <a:defRPr/>
            </a:pPr>
            <a:r>
              <a:rPr kumimoji="0" lang="en-US" sz="2000" b="1" i="0" u="none" strike="noStrike" kern="0" cap="none" spc="0" normalizeH="0" baseline="0" noProof="0" dirty="0">
                <a:ln>
                  <a:noFill/>
                </a:ln>
                <a:solidFill>
                  <a:sysClr val="windowText" lastClr="000000"/>
                </a:solidFill>
                <a:effectLst/>
                <a:uLnTx/>
                <a:uFillTx/>
                <a:latin typeface="Segoe UI"/>
                <a:ea typeface="+mn-ea"/>
                <a:cs typeface="+mn-cs"/>
              </a:rPr>
              <a:t>10%</a:t>
            </a:r>
          </a:p>
          <a:p>
            <a:pPr marL="0" marR="0" lvl="0" indent="0" algn="ctr" defTabSz="932380" rtl="0" eaLnBrk="1" fontAlgn="auto" latinLnBrk="0" hangingPunct="1">
              <a:lnSpc>
                <a:spcPct val="90000"/>
              </a:lnSpc>
              <a:spcBef>
                <a:spcPts val="0"/>
              </a:spcBef>
              <a:spcAft>
                <a:spcPts val="612"/>
              </a:spcAft>
              <a:buClrTx/>
              <a:buSzTx/>
              <a:buFontTx/>
              <a:buNone/>
              <a:tabLst/>
              <a:defRPr/>
            </a:pPr>
            <a:r>
              <a:rPr kumimoji="0" lang="en-US" sz="2000" b="1" i="0" u="none" strike="noStrike" kern="0" cap="none" spc="0" normalizeH="0" baseline="0" noProof="0" dirty="0">
                <a:ln>
                  <a:noFill/>
                </a:ln>
                <a:solidFill>
                  <a:sysClr val="windowText" lastClr="000000"/>
                </a:solidFill>
                <a:effectLst/>
                <a:uLnTx/>
                <a:uFillTx/>
                <a:latin typeface="Segoe UI"/>
                <a:ea typeface="+mn-ea"/>
                <a:cs typeface="+mn-cs"/>
              </a:rPr>
              <a:t>5%</a:t>
            </a:r>
          </a:p>
        </p:txBody>
      </p:sp>
      <p:sp>
        <p:nvSpPr>
          <p:cNvPr id="115" name="TextBox 114"/>
          <p:cNvSpPr txBox="1"/>
          <p:nvPr/>
        </p:nvSpPr>
        <p:spPr>
          <a:xfrm>
            <a:off x="10476021" y="6319705"/>
            <a:ext cx="1485259" cy="522874"/>
          </a:xfrm>
          <a:prstGeom prst="rect">
            <a:avLst/>
          </a:prstGeom>
          <a:noFill/>
        </p:spPr>
        <p:txBody>
          <a:bodyPr wrap="square" lIns="186494" tIns="149196" rIns="186494" bIns="149196" rtlCol="0">
            <a:spAutoFit/>
          </a:bodyPr>
          <a:lstStyle/>
          <a:p>
            <a:pPr marL="0" marR="0" lvl="0" indent="0" algn="ctr" defTabSz="932380" rtl="0" eaLnBrk="1" fontAlgn="auto" latinLnBrk="0" hangingPunct="1">
              <a:lnSpc>
                <a:spcPct val="90000"/>
              </a:lnSpc>
              <a:spcBef>
                <a:spcPts val="0"/>
              </a:spcBef>
              <a:spcAft>
                <a:spcPts val="612"/>
              </a:spcAft>
              <a:buClrTx/>
              <a:buSzTx/>
              <a:buFontTx/>
              <a:buNone/>
              <a:tabLst/>
              <a:defRPr/>
            </a:pPr>
            <a:r>
              <a:rPr kumimoji="0" lang="en-US" sz="1599" b="1"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BI Weight</a:t>
            </a:r>
          </a:p>
        </p:txBody>
      </p:sp>
      <p:sp>
        <p:nvSpPr>
          <p:cNvPr id="43" name="TextBox 42"/>
          <p:cNvSpPr txBox="1"/>
          <p:nvPr/>
        </p:nvSpPr>
        <p:spPr>
          <a:xfrm>
            <a:off x="881" y="141846"/>
            <a:ext cx="13180731" cy="809699"/>
          </a:xfrm>
          <a:prstGeom prst="rect">
            <a:avLst/>
          </a:prstGeom>
          <a:noFill/>
        </p:spPr>
        <p:txBody>
          <a:bodyPr wrap="square" lIns="186494" tIns="149196" rIns="186494" bIns="149196" rtlCol="0">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3599" b="0" i="0" u="none" strike="noStrike" kern="0" cap="none" spc="0" normalizeH="0" baseline="0" noProof="0" dirty="0">
                <a:ln>
                  <a:noFill/>
                </a:ln>
                <a:solidFill>
                  <a:srgbClr val="FF0000"/>
                </a:solidFill>
                <a:effectLst/>
                <a:uLnTx/>
                <a:uFillTx/>
                <a:latin typeface="Segoe UI Light"/>
                <a:ea typeface="+mn-ea"/>
                <a:cs typeface="+mn-cs"/>
              </a:rPr>
              <a:t>EPG ACCOUNT EXECUTIVE </a:t>
            </a:r>
            <a:r>
              <a:rPr kumimoji="0" lang="en-US" sz="3599" b="0" i="0" u="none" strike="noStrike" kern="0" cap="none" spc="0" normalizeH="0" baseline="0" noProof="0" dirty="0">
                <a:ln>
                  <a:noFill/>
                </a:ln>
                <a:solidFill>
                  <a:sysClr val="windowText" lastClr="000000"/>
                </a:solidFill>
                <a:effectLst/>
                <a:uLnTx/>
                <a:uFillTx/>
                <a:latin typeface="Segoe UI Light"/>
                <a:ea typeface="+mn-ea"/>
                <a:cs typeface="+mn-cs"/>
              </a:rPr>
              <a:t>INCENTIVE PLAN STRUCTURE</a:t>
            </a:r>
            <a:endParaRPr kumimoji="0" lang="en-US" sz="3599"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2" name="Rounded Rectangle 51"/>
          <p:cNvSpPr/>
          <p:nvPr/>
        </p:nvSpPr>
        <p:spPr bwMode="auto">
          <a:xfrm>
            <a:off x="10756571" y="2378497"/>
            <a:ext cx="969844" cy="860762"/>
          </a:xfrm>
          <a:prstGeom prst="roundRect">
            <a:avLst>
              <a:gd name="adj" fmla="val 0"/>
            </a:avLst>
          </a:prstGeom>
          <a:solidFill>
            <a:schemeClr val="bg1"/>
          </a:solidFill>
          <a:ln w="38100">
            <a:solidFill>
              <a:schemeClr val="tx1"/>
            </a:solidFill>
          </a:ln>
        </p:spPr>
        <p:txBody>
          <a:bodyPr wrap="square" lIns="186494" tIns="149196" rIns="186494" bIns="149196" rtlCol="0" anchor="ctr">
            <a:noAutofit/>
          </a:bodyPr>
          <a:lstStyle/>
          <a:p>
            <a:pPr marL="0" marR="0" lvl="0" indent="0" algn="l" defTabSz="932380" rtl="0" eaLnBrk="1" fontAlgn="auto" latinLnBrk="0" hangingPunct="1">
              <a:lnSpc>
                <a:spcPct val="90000"/>
              </a:lnSpc>
              <a:spcBef>
                <a:spcPts val="0"/>
              </a:spcBef>
              <a:spcAft>
                <a:spcPts val="612"/>
              </a:spcAft>
              <a:buClrTx/>
              <a:buSzTx/>
              <a:buFontTx/>
              <a:buNone/>
              <a:tabLst/>
              <a:defRPr/>
            </a:pPr>
            <a:endParaRPr kumimoji="0" lang="en-US" sz="1836" b="1" i="0" u="none" strike="noStrike" kern="0" cap="none" spc="0" normalizeH="0" baseline="0" noProof="0" dirty="0">
              <a:ln>
                <a:noFill/>
              </a:ln>
              <a:solidFill>
                <a:srgbClr val="0078D7"/>
              </a:solidFill>
              <a:effectLst/>
              <a:uLnTx/>
              <a:uFillTx/>
              <a:latin typeface="Segoe UI"/>
              <a:ea typeface="+mn-ea"/>
              <a:cs typeface="+mn-cs"/>
            </a:endParaRPr>
          </a:p>
        </p:txBody>
      </p:sp>
      <p:sp>
        <p:nvSpPr>
          <p:cNvPr id="53" name="TextBox 52"/>
          <p:cNvSpPr txBox="1"/>
          <p:nvPr/>
        </p:nvSpPr>
        <p:spPr>
          <a:xfrm>
            <a:off x="10759025" y="2416835"/>
            <a:ext cx="971486" cy="774485"/>
          </a:xfrm>
          <a:prstGeom prst="rect">
            <a:avLst/>
          </a:prstGeom>
          <a:noFill/>
        </p:spPr>
        <p:txBody>
          <a:bodyPr wrap="square" lIns="186494" tIns="149196" rIns="186494" bIns="149196" rtlCol="0" anchor="ctr">
            <a:noAutofit/>
          </a:bodyPr>
          <a:lstStyle/>
          <a:p>
            <a:pPr marL="0" marR="0" lvl="0" indent="0" algn="ctr" defTabSz="932380" rtl="0" eaLnBrk="1" fontAlgn="auto" latinLnBrk="0" hangingPunct="1">
              <a:lnSpc>
                <a:spcPct val="90000"/>
              </a:lnSpc>
              <a:spcBef>
                <a:spcPts val="0"/>
              </a:spcBef>
              <a:spcAft>
                <a:spcPts val="600"/>
              </a:spcAft>
              <a:buClrTx/>
              <a:buSzTx/>
              <a:buFontTx/>
              <a:buNone/>
              <a:tabLst/>
              <a:defRPr/>
            </a:pPr>
            <a:r>
              <a:rPr kumimoji="0" lang="en-US" sz="2000" b="1" i="0" u="none" strike="noStrike" kern="0" cap="none" spc="0" normalizeH="0" baseline="0" noProof="0" dirty="0">
                <a:ln>
                  <a:noFill/>
                </a:ln>
                <a:solidFill>
                  <a:sysClr val="windowText" lastClr="000000"/>
                </a:solidFill>
                <a:effectLst/>
                <a:uLnTx/>
                <a:uFillTx/>
                <a:latin typeface="Segoe UI"/>
                <a:ea typeface="+mn-ea"/>
                <a:cs typeface="+mn-cs"/>
              </a:rPr>
              <a:t>20%</a:t>
            </a:r>
          </a:p>
          <a:p>
            <a:pPr marL="0" marR="0" lvl="0" indent="0" algn="ctr" defTabSz="932380" rtl="0" eaLnBrk="1" fontAlgn="auto" latinLnBrk="0" hangingPunct="1">
              <a:lnSpc>
                <a:spcPct val="90000"/>
              </a:lnSpc>
              <a:spcBef>
                <a:spcPts val="0"/>
              </a:spcBef>
              <a:spcAft>
                <a:spcPts val="612"/>
              </a:spcAft>
              <a:buClrTx/>
              <a:buSzTx/>
              <a:buFontTx/>
              <a:buNone/>
              <a:tabLst/>
              <a:defRPr/>
            </a:pPr>
            <a:r>
              <a:rPr kumimoji="0" lang="en-US" sz="2000" b="1" i="0" u="none" strike="noStrike" kern="0" cap="none" spc="0" normalizeH="0" baseline="0" noProof="0" dirty="0">
                <a:ln>
                  <a:noFill/>
                </a:ln>
                <a:solidFill>
                  <a:sysClr val="windowText" lastClr="000000"/>
                </a:solidFill>
                <a:effectLst/>
                <a:uLnTx/>
                <a:uFillTx/>
                <a:latin typeface="Segoe UI"/>
                <a:ea typeface="+mn-ea"/>
                <a:cs typeface="+mn-cs"/>
              </a:rPr>
              <a:t>10%</a:t>
            </a:r>
          </a:p>
        </p:txBody>
      </p:sp>
      <p:sp>
        <p:nvSpPr>
          <p:cNvPr id="39" name="Rounded Rectangle 38"/>
          <p:cNvSpPr/>
          <p:nvPr/>
        </p:nvSpPr>
        <p:spPr bwMode="auto">
          <a:xfrm>
            <a:off x="566861" y="4335344"/>
            <a:ext cx="2730990" cy="2057108"/>
          </a:xfrm>
          <a:prstGeom prst="roundRect">
            <a:avLst>
              <a:gd name="adj" fmla="val 0"/>
            </a:avLst>
          </a:prstGeom>
          <a:solidFill>
            <a:schemeClr val="tx1">
              <a:lumMod val="50000"/>
            </a:schemeClr>
          </a:solidFill>
        </p:spPr>
        <p:txBody>
          <a:bodyPr wrap="square" lIns="186494" tIns="149196" rIns="186494" bIns="149196" rtlCol="0" anchor="ctr">
            <a:noAutofit/>
          </a:bodyPr>
          <a:lstStyle/>
          <a:p>
            <a:pPr marL="0" marR="0" lvl="0" indent="0" algn="ctr" defTabSz="932380" rtl="0" eaLnBrk="1" fontAlgn="auto" latinLnBrk="0" hangingPunct="1">
              <a:lnSpc>
                <a:spcPct val="90000"/>
              </a:lnSpc>
              <a:spcBef>
                <a:spcPts val="0"/>
              </a:spcBef>
              <a:spcAft>
                <a:spcPts val="612"/>
              </a:spcAft>
              <a:buClrTx/>
              <a:buSzTx/>
              <a:buFontTx/>
              <a:buNone/>
              <a:tabLst/>
              <a:defRPr/>
            </a:pPr>
            <a:r>
              <a:rPr kumimoji="0" lang="en-US" sz="2400" b="1" i="0" u="none" strike="noStrike" kern="0" cap="none" spc="0" normalizeH="0" baseline="0" noProof="0" dirty="0">
                <a:ln>
                  <a:noFill/>
                </a:ln>
                <a:solidFill>
                  <a:srgbClr val="FFFFFF"/>
                </a:solidFill>
                <a:effectLst/>
                <a:uLnTx/>
                <a:uFillTx/>
                <a:latin typeface="Segoe UI"/>
                <a:ea typeface="+mn-ea"/>
                <a:cs typeface="+mn-cs"/>
              </a:rPr>
              <a:t>PERFORM </a:t>
            </a:r>
          </a:p>
          <a:p>
            <a:pPr marL="0" marR="0" lvl="0" indent="0" algn="ctr" defTabSz="932380" rtl="0" eaLnBrk="1" fontAlgn="auto" latinLnBrk="0" hangingPunct="1">
              <a:lnSpc>
                <a:spcPct val="90000"/>
              </a:lnSpc>
              <a:spcBef>
                <a:spcPts val="0"/>
              </a:spcBef>
              <a:spcAft>
                <a:spcPts val="612"/>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a:ea typeface="+mn-ea"/>
                <a:cs typeface="+mn-cs"/>
              </a:rPr>
              <a:t>on your Primary Metric</a:t>
            </a:r>
          </a:p>
        </p:txBody>
      </p:sp>
      <p:sp>
        <p:nvSpPr>
          <p:cNvPr id="3" name="Oval 2"/>
          <p:cNvSpPr/>
          <p:nvPr/>
        </p:nvSpPr>
        <p:spPr bwMode="auto">
          <a:xfrm>
            <a:off x="7129679" y="5320326"/>
            <a:ext cx="3102714" cy="546400"/>
          </a:xfrm>
          <a:prstGeom prst="ellipse">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167320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1" y="1993498"/>
            <a:ext cx="6934135" cy="1828800"/>
          </a:xfrm>
        </p:spPr>
        <p:txBody>
          <a:bodyPr/>
          <a:lstStyle/>
          <a:p>
            <a:r>
              <a:rPr lang="en-US" dirty="0"/>
              <a:t>Selling Azure Indirectly</a:t>
            </a:r>
            <a:br>
              <a:rPr lang="en-US" dirty="0"/>
            </a:br>
            <a:endParaRPr lang="en-US" dirty="0"/>
          </a:p>
        </p:txBody>
      </p:sp>
      <p:sp>
        <p:nvSpPr>
          <p:cNvPr id="5" name="Text Placeholder 4"/>
          <p:cNvSpPr>
            <a:spLocks noGrp="1"/>
          </p:cNvSpPr>
          <p:nvPr>
            <p:ph type="body" sz="quarter" idx="14"/>
          </p:nvPr>
        </p:nvSpPr>
        <p:spPr/>
        <p:txBody>
          <a:bodyPr/>
          <a:lstStyle/>
          <a:p>
            <a:r>
              <a:rPr lang="en-US" dirty="0"/>
              <a:t>John F. Schaller</a:t>
            </a:r>
          </a:p>
          <a:p>
            <a:r>
              <a:rPr lang="en-US" dirty="0"/>
              <a:t>Cloud Infrastructure Solution Sales</a:t>
            </a:r>
          </a:p>
        </p:txBody>
      </p:sp>
    </p:spTree>
    <p:extLst>
      <p:ext uri="{BB962C8B-B14F-4D97-AF65-F5344CB8AC3E}">
        <p14:creationId xmlns:p14="http://schemas.microsoft.com/office/powerpoint/2010/main" val="1507673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74639" y="295274"/>
            <a:ext cx="11889564" cy="1449388"/>
          </a:xfrm>
        </p:spPr>
        <p:txBody>
          <a:bodyPr/>
          <a:lstStyle/>
          <a:p>
            <a:pPr algn="ctr"/>
            <a:r>
              <a:rPr lang="en-US" sz="4000" spc="0" dirty="0">
                <a:gradFill>
                  <a:gsLst>
                    <a:gs pos="1250">
                      <a:schemeClr val="tx2"/>
                    </a:gs>
                    <a:gs pos="99000">
                      <a:schemeClr val="tx2"/>
                    </a:gs>
                  </a:gsLst>
                  <a:lin ang="5400000" scaled="0"/>
                </a:gradFill>
                <a:cs typeface="+mn-cs"/>
              </a:rPr>
              <a:t>When there are no Cloud T&amp;C on your EA  </a:t>
            </a:r>
            <a:br>
              <a:rPr lang="en-US" sz="4000" spc="0" dirty="0">
                <a:gradFill>
                  <a:gsLst>
                    <a:gs pos="1250">
                      <a:schemeClr val="tx2"/>
                    </a:gs>
                    <a:gs pos="99000">
                      <a:schemeClr val="tx2"/>
                    </a:gs>
                  </a:gsLst>
                  <a:lin ang="5400000" scaled="0"/>
                </a:gradFill>
                <a:cs typeface="+mn-cs"/>
              </a:rPr>
            </a:br>
            <a:r>
              <a:rPr lang="en-US" sz="4000" spc="0" dirty="0">
                <a:gradFill>
                  <a:gsLst>
                    <a:gs pos="1250">
                      <a:schemeClr val="tx2"/>
                    </a:gs>
                    <a:gs pos="99000">
                      <a:schemeClr val="tx2"/>
                    </a:gs>
                  </a:gsLst>
                  <a:lin ang="5400000" scaled="0"/>
                </a:gradFill>
                <a:cs typeface="+mn-cs"/>
              </a:rPr>
              <a:t>You have 3 options:</a:t>
            </a:r>
          </a:p>
        </p:txBody>
      </p:sp>
      <p:sp>
        <p:nvSpPr>
          <p:cNvPr id="5" name="Rectangle 4"/>
          <p:cNvSpPr/>
          <p:nvPr/>
        </p:nvSpPr>
        <p:spPr bwMode="auto">
          <a:xfrm>
            <a:off x="1874837" y="2430462"/>
            <a:ext cx="9509760" cy="731520"/>
          </a:xfrm>
          <a:prstGeom prst="rect">
            <a:avLst/>
          </a:prstGeom>
          <a:solidFill>
            <a:schemeClr val="accent4"/>
          </a:solidFill>
          <a:ln w="10795" cap="flat" cmpd="sng" algn="ctr">
            <a:noFill/>
            <a:prstDash val="solid"/>
            <a:headEnd type="none" w="med" len="med"/>
            <a:tailEnd type="none" w="med" len="med"/>
          </a:ln>
          <a:effectLst/>
        </p:spPr>
        <p:txBody>
          <a:bodyPr vert="horz" wrap="square" lIns="45720" tIns="46637" rIns="0" bIns="46637" numCol="1" rtlCol="0" anchor="t" anchorCtr="0" compatLnSpc="1">
            <a:prstTxWarp prst="textNoShape">
              <a:avLst/>
            </a:prstTxWarp>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rPr>
              <a:t>LSP = Licensing Solution Partner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rPr>
              <a:t>Commit Options, Pay-As-You-Go options.  Think Minburn &amp; CDW-G</a:t>
            </a:r>
          </a:p>
        </p:txBody>
      </p:sp>
      <p:sp>
        <p:nvSpPr>
          <p:cNvPr id="7" name="Rectangle 6"/>
          <p:cNvSpPr/>
          <p:nvPr/>
        </p:nvSpPr>
        <p:spPr bwMode="auto">
          <a:xfrm>
            <a:off x="1874839" y="3279869"/>
            <a:ext cx="9509760" cy="731520"/>
          </a:xfrm>
          <a:prstGeom prst="rect">
            <a:avLst/>
          </a:prstGeom>
          <a:solidFill>
            <a:schemeClr val="accent4"/>
          </a:solidFill>
          <a:ln w="10795" cap="flat" cmpd="sng" algn="ctr">
            <a:noFill/>
            <a:prstDash val="solid"/>
            <a:headEnd type="none" w="med" len="med"/>
            <a:tailEnd type="none" w="med" len="med"/>
          </a:ln>
          <a:effectLst/>
        </p:spPr>
        <p:txBody>
          <a:bodyPr vert="horz" wrap="square" lIns="45720" tIns="46637" rIns="0" bIns="46637" numCol="1" rtlCol="0" anchor="t" anchorCtr="0" compatLnSpc="1">
            <a:prstTxWarp prst="textNoShape">
              <a:avLst/>
            </a:prstTxWarp>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rPr>
              <a:t>MSP = Managed Service Provider</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rPr>
              <a:t>Accenture</a:t>
            </a:r>
          </a:p>
        </p:txBody>
      </p:sp>
      <p:sp>
        <p:nvSpPr>
          <p:cNvPr id="8" name="Rectangle 7"/>
          <p:cNvSpPr/>
          <p:nvPr/>
        </p:nvSpPr>
        <p:spPr bwMode="auto">
          <a:xfrm>
            <a:off x="1874837" y="4129276"/>
            <a:ext cx="9509760" cy="731520"/>
          </a:xfrm>
          <a:prstGeom prst="rect">
            <a:avLst/>
          </a:prstGeom>
          <a:solidFill>
            <a:schemeClr val="accent3"/>
          </a:solidFill>
          <a:ln w="10795" cap="flat" cmpd="sng" algn="ctr">
            <a:noFill/>
            <a:prstDash val="solid"/>
            <a:headEnd type="none" w="med" len="med"/>
            <a:tailEnd type="none" w="med" len="med"/>
          </a:ln>
          <a:effectLst/>
        </p:spPr>
        <p:txBody>
          <a:bodyPr vert="horz" wrap="square" lIns="45720" tIns="46637" rIns="0" bIns="46637" numCol="1" rtlCol="0" anchor="t"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SP = Cloud Solution Provider</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rPr>
              <a:t>Broken</a:t>
            </a: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a:t>
            </a: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rPr>
              <a:t>for Federal – so option 4 was created** until this is fixed</a:t>
            </a:r>
          </a:p>
        </p:txBody>
      </p:sp>
      <p:sp>
        <p:nvSpPr>
          <p:cNvPr id="9" name="Rectangle 8"/>
          <p:cNvSpPr/>
          <p:nvPr/>
        </p:nvSpPr>
        <p:spPr bwMode="auto">
          <a:xfrm>
            <a:off x="1874837" y="4978683"/>
            <a:ext cx="9509760" cy="731520"/>
          </a:xfrm>
          <a:prstGeom prst="rect">
            <a:avLst/>
          </a:prstGeom>
          <a:solidFill>
            <a:schemeClr val="accent4"/>
          </a:solidFill>
          <a:ln w="10795" cap="flat" cmpd="sng" algn="ctr">
            <a:noFill/>
            <a:prstDash val="solid"/>
            <a:headEnd type="none" w="med" len="med"/>
            <a:tailEnd type="none" w="med" len="med"/>
          </a:ln>
          <a:effectLst/>
        </p:spPr>
        <p:txBody>
          <a:bodyPr vert="horz" wrap="square" lIns="45720" tIns="46637" rIns="0" bIns="46637" numCol="1" rtlCol="0" anchor="t" anchorCtr="0" compatLnSpc="1">
            <a:prstTxWarp prst="textNoShape">
              <a:avLst/>
            </a:prstTxWarp>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rPr>
              <a:t>PC2P = Prime Contractor Pilot Program</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rPr>
              <a:t>Accelera</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endParaRPr>
          </a:p>
        </p:txBody>
      </p:sp>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6926" y="2387634"/>
            <a:ext cx="634294" cy="735852"/>
          </a:xfrm>
          <a:prstGeom prst="rect">
            <a:avLst/>
          </a:prstGeom>
        </p:spPr>
      </p:pic>
      <p:pic>
        <p:nvPicPr>
          <p:cNvPr id="11" name="Picture 10"/>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36818" y="3224979"/>
            <a:ext cx="794509" cy="791861"/>
          </a:xfrm>
          <a:prstGeom prst="rect">
            <a:avLst/>
          </a:prstGeom>
          <a:blipFill>
            <a:blip r:embed="rId5">
              <a:duotone>
                <a:schemeClr val="accent4">
                  <a:shade val="45000"/>
                  <a:satMod val="135000"/>
                </a:schemeClr>
                <a:prstClr val="white"/>
              </a:duotone>
            </a:blip>
            <a:tile tx="0" ty="0" sx="100000" sy="100000" flip="none" algn="tl"/>
          </a:blipFill>
        </p:spPr>
      </p:pic>
      <p:pic>
        <p:nvPicPr>
          <p:cNvPr id="12" name="Picture 1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36818" y="4118333"/>
            <a:ext cx="788968" cy="788968"/>
          </a:xfrm>
          <a:prstGeom prst="rect">
            <a:avLst/>
          </a:prstGeom>
          <a:solidFill>
            <a:srgbClr val="0072C6"/>
          </a:solidFill>
        </p:spPr>
      </p:pic>
      <p:pic>
        <p:nvPicPr>
          <p:cNvPr id="13" name="Picture 1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99859" y="4858362"/>
            <a:ext cx="862885" cy="826476"/>
          </a:xfrm>
          <a:prstGeom prst="rect">
            <a:avLst/>
          </a:prstGeom>
        </p:spPr>
      </p:pic>
    </p:spTree>
    <p:extLst>
      <p:ext uri="{BB962C8B-B14F-4D97-AF65-F5344CB8AC3E}">
        <p14:creationId xmlns:p14="http://schemas.microsoft.com/office/powerpoint/2010/main" val="271938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6862"/>
            <a:ext cx="12319000" cy="1066800"/>
          </a:xfrm>
        </p:spPr>
        <p:txBody>
          <a:bodyPr/>
          <a:lstStyle/>
          <a:p>
            <a:pPr algn="ctr"/>
            <a:r>
              <a:rPr lang="en-US" sz="4000" spc="0" dirty="0">
                <a:gradFill>
                  <a:gsLst>
                    <a:gs pos="1250">
                      <a:schemeClr val="tx2"/>
                    </a:gs>
                    <a:gs pos="99000">
                      <a:schemeClr val="tx2"/>
                    </a:gs>
                  </a:gsLst>
                  <a:lin ang="5400000" scaled="0"/>
                </a:gradFill>
                <a:cs typeface="+mn-cs"/>
              </a:rPr>
              <a:t>Sales Option 1 LSP = Licensing Solutions Partners </a:t>
            </a:r>
          </a:p>
        </p:txBody>
      </p:sp>
      <p:sp>
        <p:nvSpPr>
          <p:cNvPr id="3" name="Content Placeholder 2"/>
          <p:cNvSpPr>
            <a:spLocks noGrp="1"/>
          </p:cNvSpPr>
          <p:nvPr>
            <p:ph idx="4294967295"/>
          </p:nvPr>
        </p:nvSpPr>
        <p:spPr>
          <a:xfrm>
            <a:off x="485775" y="1592262"/>
            <a:ext cx="11950700" cy="4859338"/>
          </a:xfrm>
        </p:spPr>
        <p:txBody>
          <a:bodyPr>
            <a:normAutofit/>
          </a:bodyPr>
          <a:lstStyle/>
          <a:p>
            <a:pPr marL="0" indent="0">
              <a:buNone/>
            </a:pPr>
            <a:r>
              <a:rPr lang="en-US" sz="2000" dirty="0">
                <a:latin typeface="+mn-lt"/>
              </a:rPr>
              <a:t>Account Manager is paid for “Cloud Billed Revenue” and “Consumed”</a:t>
            </a:r>
          </a:p>
          <a:p>
            <a:pPr marL="0" indent="0">
              <a:buNone/>
            </a:pPr>
            <a:r>
              <a:rPr lang="en-US" sz="2000" dirty="0">
                <a:latin typeface="+mn-lt"/>
              </a:rPr>
              <a:t>Customer has access to the portal</a:t>
            </a:r>
          </a:p>
          <a:p>
            <a:pPr marL="0" indent="0">
              <a:buNone/>
            </a:pPr>
            <a:r>
              <a:rPr lang="en-US" sz="2000" dirty="0">
                <a:latin typeface="+mn-lt"/>
              </a:rPr>
              <a:t>Customer has complete control (for better or worse)</a:t>
            </a:r>
          </a:p>
          <a:p>
            <a:pPr marL="0" indent="0">
              <a:buNone/>
            </a:pPr>
            <a:r>
              <a:rPr lang="en-US" sz="2000" dirty="0">
                <a:latin typeface="+mn-lt"/>
              </a:rPr>
              <a:t>Only Azure is sold, i.e. no services or management through this vehicle (other options).</a:t>
            </a:r>
          </a:p>
          <a:p>
            <a:pPr marL="0" indent="0">
              <a:buNone/>
            </a:pPr>
            <a:r>
              <a:rPr lang="en-US" sz="2000" dirty="0">
                <a:latin typeface="+mn-lt"/>
              </a:rPr>
              <a:t>GSA Resellers, aka “Licensing Partner” – No plans to expand this list</a:t>
            </a:r>
          </a:p>
          <a:p>
            <a:pPr marL="0" indent="0">
              <a:buNone/>
            </a:pPr>
            <a:endParaRPr lang="en-US" sz="2000" dirty="0">
              <a:latin typeface="+mn-lt"/>
            </a:endParaRPr>
          </a:p>
          <a:p>
            <a:endParaRPr lang="en-US" sz="2000" dirty="0">
              <a:latin typeface="+mn-lt"/>
            </a:endParaRPr>
          </a:p>
          <a:p>
            <a:endParaRPr lang="en-US" sz="2000" dirty="0">
              <a:latin typeface="+mn-lt"/>
            </a:endParaRPr>
          </a:p>
          <a:p>
            <a:endParaRPr lang="en-US" sz="2000" dirty="0">
              <a:latin typeface="+mn-lt"/>
            </a:endParaRPr>
          </a:p>
          <a:p>
            <a:endParaRPr lang="en-US" sz="2000" dirty="0">
              <a:latin typeface="+mn-lt"/>
            </a:endParaRPr>
          </a:p>
          <a:p>
            <a:pPr marL="0" indent="0">
              <a:buNone/>
            </a:pPr>
            <a:r>
              <a:rPr lang="en-US" sz="2000" dirty="0">
                <a:latin typeface="+mn-lt"/>
              </a:rPr>
              <a:t>Good option when the customer can execute against the PO, and services (either MSFT, Contractor, or competent cx) can setup and deploy services.</a:t>
            </a:r>
          </a:p>
          <a:p>
            <a:pPr marL="0" indent="0">
              <a:buNone/>
            </a:pPr>
            <a:r>
              <a:rPr lang="en-US" sz="2000" dirty="0">
                <a:latin typeface="+mn-lt"/>
              </a:rPr>
              <a:t>Pay as you go options</a:t>
            </a:r>
          </a:p>
          <a:p>
            <a:pPr marL="0" indent="0">
              <a:buNone/>
            </a:pPr>
            <a:r>
              <a:rPr lang="en-US" sz="2000" dirty="0">
                <a:latin typeface="+mn-lt"/>
              </a:rPr>
              <a:t>Commit options: Minimum is 1k per month</a:t>
            </a:r>
          </a:p>
        </p:txBody>
      </p:sp>
      <p:graphicFrame>
        <p:nvGraphicFramePr>
          <p:cNvPr id="5" name="Table 4"/>
          <p:cNvGraphicFramePr>
            <a:graphicFrameLocks noGrp="1"/>
          </p:cNvGraphicFramePr>
          <p:nvPr>
            <p:extLst/>
          </p:nvPr>
        </p:nvGraphicFramePr>
        <p:xfrm>
          <a:off x="1963736" y="3573462"/>
          <a:ext cx="8391528" cy="1119123"/>
        </p:xfrm>
        <a:graphic>
          <a:graphicData uri="http://schemas.openxmlformats.org/drawingml/2006/table">
            <a:tbl>
              <a:tblPr firstRow="1" bandRow="1">
                <a:tableStyleId>{3B4B98B0-60AC-42C2-AFA5-B58CD77FA1E5}</a:tableStyleId>
              </a:tblPr>
              <a:tblGrid>
                <a:gridCol w="2797176">
                  <a:extLst>
                    <a:ext uri="{9D8B030D-6E8A-4147-A177-3AD203B41FA5}">
                      <a16:colId xmlns:a16="http://schemas.microsoft.com/office/drawing/2014/main" val="3879548464"/>
                    </a:ext>
                  </a:extLst>
                </a:gridCol>
                <a:gridCol w="2797176">
                  <a:extLst>
                    <a:ext uri="{9D8B030D-6E8A-4147-A177-3AD203B41FA5}">
                      <a16:colId xmlns:a16="http://schemas.microsoft.com/office/drawing/2014/main" val="2351225929"/>
                    </a:ext>
                  </a:extLst>
                </a:gridCol>
                <a:gridCol w="2797176">
                  <a:extLst>
                    <a:ext uri="{9D8B030D-6E8A-4147-A177-3AD203B41FA5}">
                      <a16:colId xmlns:a16="http://schemas.microsoft.com/office/drawing/2014/main" val="2737717257"/>
                    </a:ext>
                  </a:extLst>
                </a:gridCol>
              </a:tblGrid>
              <a:tr h="373041">
                <a:tc>
                  <a:txBody>
                    <a:bodyPr/>
                    <a:lstStyle/>
                    <a:p>
                      <a:r>
                        <a:rPr lang="en-US" sz="1800" kern="1200" dirty="0">
                          <a:solidFill>
                            <a:schemeClr val="tx1"/>
                          </a:solidFill>
                          <a:latin typeface="+mn-lt"/>
                          <a:ea typeface="+mn-ea"/>
                          <a:cs typeface="+mn-cs"/>
                        </a:rPr>
                        <a:t>M</a:t>
                      </a:r>
                      <a:r>
                        <a:rPr lang="en-US" sz="1800" dirty="0"/>
                        <a:t>inburn</a:t>
                      </a: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dirty="0"/>
                        <a:t>Dell</a:t>
                      </a: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dirty="0"/>
                        <a:t>CDW-G</a:t>
                      </a: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17680591"/>
                  </a:ext>
                </a:extLst>
              </a:tr>
              <a:tr h="373041">
                <a:tc>
                  <a:txBody>
                    <a:bodyPr/>
                    <a:lstStyle/>
                    <a:p>
                      <a:r>
                        <a:rPr lang="en-US" sz="1800" dirty="0"/>
                        <a:t>Insight</a:t>
                      </a: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dirty="0"/>
                        <a:t>HP</a:t>
                      </a: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err="1"/>
                        <a:t>GovConnection</a:t>
                      </a:r>
                      <a:endParaRPr lang="en-US" sz="1800" dirty="0"/>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62375090"/>
                  </a:ext>
                </a:extLst>
              </a:tr>
              <a:tr h="373041">
                <a:tc>
                  <a:txBody>
                    <a:bodyPr/>
                    <a:lstStyle/>
                    <a:p>
                      <a:r>
                        <a:rPr lang="en-US" sz="1800" dirty="0"/>
                        <a:t>SHI</a:t>
                      </a: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dirty="0" err="1"/>
                        <a:t>Softchoice</a:t>
                      </a:r>
                      <a:endParaRPr lang="en-US" sz="1800" dirty="0"/>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dirty="0" err="1"/>
                        <a:t>Softmart</a:t>
                      </a:r>
                      <a:endParaRPr lang="en-US" sz="1800" dirty="0"/>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1577495"/>
                  </a:ext>
                </a:extLst>
              </a:tr>
            </a:tbl>
          </a:graphicData>
        </a:graphic>
      </p:graphicFrame>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68755" y="296862"/>
            <a:ext cx="634039" cy="731583"/>
          </a:xfrm>
          <a:prstGeom prst="rect">
            <a:avLst/>
          </a:prstGeom>
        </p:spPr>
      </p:pic>
    </p:spTree>
    <p:extLst>
      <p:ext uri="{BB962C8B-B14F-4D97-AF65-F5344CB8AC3E}">
        <p14:creationId xmlns:p14="http://schemas.microsoft.com/office/powerpoint/2010/main" val="342609302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98437" y="132510"/>
            <a:ext cx="11964922" cy="1424329"/>
          </a:xfrm>
          <a:solidFill>
            <a:schemeClr val="accent4"/>
          </a:solidFill>
        </p:spPr>
        <p:txBody>
          <a:bodyPr/>
          <a:lstStyle/>
          <a:p>
            <a:pPr algn="ctr"/>
            <a:r>
              <a:rPr lang="en-US" spc="0" dirty="0">
                <a:solidFill>
                  <a:schemeClr val="bg1"/>
                </a:solidFill>
              </a:rPr>
              <a:t>Sales Option 2 </a:t>
            </a:r>
            <a:br>
              <a:rPr lang="en-US" spc="0" dirty="0">
                <a:solidFill>
                  <a:schemeClr val="bg1"/>
                </a:solidFill>
              </a:rPr>
            </a:br>
            <a:r>
              <a:rPr lang="en-US" spc="0" dirty="0">
                <a:solidFill>
                  <a:schemeClr val="bg1"/>
                </a:solidFill>
              </a:rPr>
              <a:t>MSP = Managed Service Provider</a:t>
            </a:r>
            <a:endParaRPr lang="en-US" dirty="0">
              <a:solidFill>
                <a:schemeClr val="bg1"/>
              </a:solidFill>
            </a:endParaRPr>
          </a:p>
        </p:txBody>
      </p:sp>
      <p:sp>
        <p:nvSpPr>
          <p:cNvPr id="6" name="Rectangle 5"/>
          <p:cNvSpPr/>
          <p:nvPr/>
        </p:nvSpPr>
        <p:spPr bwMode="auto">
          <a:xfrm>
            <a:off x="1899949" y="1682914"/>
            <a:ext cx="9671529" cy="63001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6630" tIns="47565" rIns="0" bIns="47565" numCol="1" rtlCol="0" anchor="t" anchorCtr="0" compatLnSpc="1">
            <a:prstTxWarp prst="textNoShape">
              <a:avLst/>
            </a:prstTxWarp>
          </a:bodyPr>
          <a:lstStyle/>
          <a:p>
            <a:pPr marL="0" marR="0" lvl="0" indent="0" algn="l" defTabSz="951028" rtl="0" eaLnBrk="1" fontAlgn="base" latinLnBrk="0" hangingPunct="1">
              <a:lnSpc>
                <a:spcPct val="100000"/>
              </a:lnSpc>
              <a:spcBef>
                <a:spcPct val="0"/>
              </a:spcBef>
              <a:spcAft>
                <a:spcPts val="612"/>
              </a:spcAft>
              <a:buClrTx/>
              <a:buSzTx/>
              <a:buFontTx/>
              <a:buNone/>
              <a:tabLst/>
              <a:defRPr/>
            </a:pPr>
            <a:r>
              <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E does not get “Cloud Billed Revenue” only Azure Consumed</a:t>
            </a:r>
          </a:p>
        </p:txBody>
      </p:sp>
      <p:sp>
        <p:nvSpPr>
          <p:cNvPr id="7" name="Rectangle 6"/>
          <p:cNvSpPr/>
          <p:nvPr/>
        </p:nvSpPr>
        <p:spPr bwMode="auto">
          <a:xfrm>
            <a:off x="1866084" y="2532670"/>
            <a:ext cx="9705397" cy="69565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6630" tIns="47565" rIns="0" bIns="47565" numCol="1" rtlCol="0" anchor="t" anchorCtr="0" compatLnSpc="1">
            <a:prstTxWarp prst="textNoShape">
              <a:avLst/>
            </a:prstTxWarp>
          </a:bodyPr>
          <a:lstStyle/>
          <a:p>
            <a:pPr marL="0" marR="0" lvl="0" indent="0" algn="l" defTabSz="951028" rtl="0" eaLnBrk="1" fontAlgn="base" latinLnBrk="0" hangingPunct="1">
              <a:lnSpc>
                <a:spcPct val="100000"/>
              </a:lnSpc>
              <a:spcBef>
                <a:spcPct val="0"/>
              </a:spcBef>
              <a:spcAft>
                <a:spcPts val="612"/>
              </a:spcAft>
              <a:buClrTx/>
              <a:buSzTx/>
              <a:buFontTx/>
              <a:buNone/>
              <a:tabLst/>
              <a:defRPr/>
            </a:pPr>
            <a:r>
              <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ustomer does not have access to the portal</a:t>
            </a:r>
          </a:p>
        </p:txBody>
      </p:sp>
      <p:sp>
        <p:nvSpPr>
          <p:cNvPr id="8" name="Rectangle 7"/>
          <p:cNvSpPr/>
          <p:nvPr/>
        </p:nvSpPr>
        <p:spPr bwMode="auto">
          <a:xfrm>
            <a:off x="1866083" y="3448067"/>
            <a:ext cx="9705397" cy="59749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6630" tIns="47565" rIns="0" bIns="47565" numCol="1" rtlCol="0" anchor="t" anchorCtr="0" compatLnSpc="1">
            <a:prstTxWarp prst="textNoShape">
              <a:avLst/>
            </a:prstTxWarp>
          </a:bodyPr>
          <a:lstStyle/>
          <a:p>
            <a:pPr marL="0" marR="0" lvl="0" indent="0" algn="l" defTabSz="951028" rtl="0" eaLnBrk="1" fontAlgn="base" latinLnBrk="0" hangingPunct="1">
              <a:lnSpc>
                <a:spcPct val="100000"/>
              </a:lnSpc>
              <a:spcBef>
                <a:spcPct val="0"/>
              </a:spcBef>
              <a:spcAft>
                <a:spcPts val="612"/>
              </a:spcAft>
              <a:buClrTx/>
              <a:buSzTx/>
              <a:buFontTx/>
              <a:buNone/>
              <a:tabLst/>
              <a:defRPr/>
            </a:pPr>
            <a:r>
              <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Good option when the MSP brings us to the table</a:t>
            </a: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rPr>
              <a:t>. </a:t>
            </a:r>
          </a:p>
        </p:txBody>
      </p:sp>
      <p:sp>
        <p:nvSpPr>
          <p:cNvPr id="9" name="Rectangle 8"/>
          <p:cNvSpPr/>
          <p:nvPr/>
        </p:nvSpPr>
        <p:spPr bwMode="auto">
          <a:xfrm>
            <a:off x="1866082" y="4265301"/>
            <a:ext cx="9705397" cy="59749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6630" tIns="47565" rIns="0" bIns="47565" numCol="1" rtlCol="0" anchor="t" anchorCtr="0" compatLnSpc="1">
            <a:prstTxWarp prst="textNoShape">
              <a:avLst/>
            </a:prstTxWarp>
          </a:bodyPr>
          <a:lstStyle/>
          <a:p>
            <a:pPr marL="0" marR="0" lvl="0" indent="0" algn="l" defTabSz="951028" rtl="0" eaLnBrk="1" fontAlgn="base" latinLnBrk="0" hangingPunct="1">
              <a:lnSpc>
                <a:spcPct val="100000"/>
              </a:lnSpc>
              <a:spcBef>
                <a:spcPct val="0"/>
              </a:spcBef>
              <a:spcAft>
                <a:spcPts val="612"/>
              </a:spcAft>
              <a:buClrTx/>
              <a:buSzTx/>
              <a:buFontTx/>
              <a:buNone/>
              <a:tabLst/>
              <a:defRPr/>
            </a:pPr>
            <a:r>
              <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Good option when customer needs someone to do work “services” on their behalf</a:t>
            </a:r>
          </a:p>
        </p:txBody>
      </p:sp>
      <p:sp>
        <p:nvSpPr>
          <p:cNvPr id="10" name="Rectangle 9"/>
          <p:cNvSpPr/>
          <p:nvPr/>
        </p:nvSpPr>
        <p:spPr bwMode="auto">
          <a:xfrm>
            <a:off x="1866082" y="5082536"/>
            <a:ext cx="9705397" cy="68466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6630" tIns="47565" rIns="0" bIns="47565" numCol="1" rtlCol="0" anchor="t" anchorCtr="0" compatLnSpc="1">
            <a:prstTxWarp prst="textNoShape">
              <a:avLst/>
            </a:prstTxWarp>
          </a:bodyPr>
          <a:lstStyle/>
          <a:p>
            <a:pPr marL="0" marR="0" lvl="0" indent="0" algn="l" defTabSz="951028" rtl="0" eaLnBrk="1" fontAlgn="base" latinLnBrk="0" hangingPunct="1">
              <a:lnSpc>
                <a:spcPct val="100000"/>
              </a:lnSpc>
              <a:spcBef>
                <a:spcPct val="0"/>
              </a:spcBef>
              <a:spcAft>
                <a:spcPts val="612"/>
              </a:spcAft>
              <a:buClrTx/>
              <a:buSzTx/>
              <a:buFontTx/>
              <a:buNone/>
              <a:tabLst/>
              <a:defRPr/>
            </a:pPr>
            <a:r>
              <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Helps remove procurement hurdles if the MSP is already performing work for the gov</a:t>
            </a:r>
          </a:p>
        </p:txBody>
      </p:sp>
      <p:sp>
        <p:nvSpPr>
          <p:cNvPr id="13" name="Rectangle 12"/>
          <p:cNvSpPr/>
          <p:nvPr/>
        </p:nvSpPr>
        <p:spPr bwMode="auto">
          <a:xfrm>
            <a:off x="697381" y="1682914"/>
            <a:ext cx="687718" cy="63001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6630" tIns="47565" rIns="0" bIns="47565" numCol="1" rtlCol="0" anchor="t" anchorCtr="0" compatLnSpc="1">
            <a:prstTxWarp prst="textNoShape">
              <a:avLst/>
            </a:prstTxWarp>
          </a:bodyPr>
          <a:lstStyle/>
          <a:p>
            <a:pPr marL="0" marR="0" lvl="0" indent="0" algn="l" defTabSz="951028" rtl="0" eaLnBrk="1" fontAlgn="base" latinLnBrk="0" hangingPunct="1">
              <a:lnSpc>
                <a:spcPct val="100000"/>
              </a:lnSpc>
              <a:spcBef>
                <a:spcPct val="0"/>
              </a:spcBef>
              <a:spcAft>
                <a:spcPts val="612"/>
              </a:spcAft>
              <a:buClrTx/>
              <a:buSzTx/>
              <a:buFontTx/>
              <a:buNone/>
              <a:tabLst/>
              <a:defRPr/>
            </a:pPr>
            <a:endPar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endParaRPr>
          </a:p>
        </p:txBody>
      </p:sp>
      <p:sp>
        <p:nvSpPr>
          <p:cNvPr id="14" name="Rectangle 13"/>
          <p:cNvSpPr/>
          <p:nvPr/>
        </p:nvSpPr>
        <p:spPr bwMode="auto">
          <a:xfrm>
            <a:off x="663517" y="2538025"/>
            <a:ext cx="690126" cy="6956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6630" tIns="47565" rIns="0" bIns="47565" numCol="1" rtlCol="0" anchor="t" anchorCtr="0" compatLnSpc="1">
            <a:prstTxWarp prst="textNoShape">
              <a:avLst/>
            </a:prstTxWarp>
          </a:bodyPr>
          <a:lstStyle/>
          <a:p>
            <a:pPr marL="0" marR="0" lvl="0" indent="0" algn="l" defTabSz="951028" rtl="0" eaLnBrk="1" fontAlgn="base" latinLnBrk="0" hangingPunct="1">
              <a:lnSpc>
                <a:spcPct val="100000"/>
              </a:lnSpc>
              <a:spcBef>
                <a:spcPct val="0"/>
              </a:spcBef>
              <a:spcAft>
                <a:spcPts val="612"/>
              </a:spcAft>
              <a:buClrTx/>
              <a:buSzTx/>
              <a:buFontTx/>
              <a:buNone/>
              <a:tabLst/>
              <a:defRPr/>
            </a:pPr>
            <a:endPar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endParaRPr>
          </a:p>
        </p:txBody>
      </p:sp>
      <p:sp>
        <p:nvSpPr>
          <p:cNvPr id="15" name="Rectangle 14"/>
          <p:cNvSpPr/>
          <p:nvPr/>
        </p:nvSpPr>
        <p:spPr bwMode="auto">
          <a:xfrm>
            <a:off x="663517" y="3458777"/>
            <a:ext cx="690126" cy="59749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6630" tIns="47565" rIns="0" bIns="47565" numCol="1" rtlCol="0" anchor="t" anchorCtr="0" compatLnSpc="1">
            <a:prstTxWarp prst="textNoShape">
              <a:avLst/>
            </a:prstTxWarp>
          </a:bodyPr>
          <a:lstStyle/>
          <a:p>
            <a:pPr marL="0" marR="0" lvl="0" indent="0" algn="l" defTabSz="951028" rtl="0" eaLnBrk="1" fontAlgn="base" latinLnBrk="0" hangingPunct="1">
              <a:lnSpc>
                <a:spcPct val="100000"/>
              </a:lnSpc>
              <a:spcBef>
                <a:spcPct val="0"/>
              </a:spcBef>
              <a:spcAft>
                <a:spcPts val="612"/>
              </a:spcAft>
              <a:buClrTx/>
              <a:buSzTx/>
              <a:buFontTx/>
              <a:buNone/>
              <a:tabLst/>
              <a:defRPr/>
            </a:pPr>
            <a:endPar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endParaRPr>
          </a:p>
        </p:txBody>
      </p:sp>
      <p:sp>
        <p:nvSpPr>
          <p:cNvPr id="17" name="Rectangle 16"/>
          <p:cNvSpPr/>
          <p:nvPr/>
        </p:nvSpPr>
        <p:spPr bwMode="auto">
          <a:xfrm>
            <a:off x="663517" y="5103957"/>
            <a:ext cx="690126" cy="65788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6630" tIns="47565" rIns="0" bIns="47565" numCol="1" rtlCol="0" anchor="t" anchorCtr="0" compatLnSpc="1">
            <a:prstTxWarp prst="textNoShape">
              <a:avLst/>
            </a:prstTxWarp>
          </a:bodyPr>
          <a:lstStyle/>
          <a:p>
            <a:pPr marL="0" marR="0" lvl="0" indent="0" algn="l" defTabSz="951028" rtl="0" eaLnBrk="1" fontAlgn="base" latinLnBrk="0" hangingPunct="1">
              <a:lnSpc>
                <a:spcPct val="100000"/>
              </a:lnSpc>
              <a:spcBef>
                <a:spcPct val="0"/>
              </a:spcBef>
              <a:spcAft>
                <a:spcPts val="612"/>
              </a:spcAft>
              <a:buClrTx/>
              <a:buSzTx/>
              <a:buFontTx/>
              <a:buNone/>
              <a:tabLst/>
              <a:defRPr/>
            </a:pPr>
            <a:endPar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endParaRPr>
          </a:p>
        </p:txBody>
      </p:sp>
      <p:pic>
        <p:nvPicPr>
          <p:cNvPr id="21" name="Picture 2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2477" y="3510670"/>
            <a:ext cx="592205" cy="305988"/>
          </a:xfrm>
          <a:prstGeom prst="rect">
            <a:avLst/>
          </a:prstGeom>
        </p:spPr>
      </p:pic>
      <p:grpSp>
        <p:nvGrpSpPr>
          <p:cNvPr id="25" name="Group 24"/>
          <p:cNvGrpSpPr>
            <a:grpSpLocks noChangeAspect="1"/>
          </p:cNvGrpSpPr>
          <p:nvPr/>
        </p:nvGrpSpPr>
        <p:grpSpPr bwMode="black">
          <a:xfrm>
            <a:off x="697381" y="5284752"/>
            <a:ext cx="622393" cy="362709"/>
            <a:chOff x="10387012" y="4179358"/>
            <a:chExt cx="974726" cy="593725"/>
          </a:xfrm>
          <a:solidFill>
            <a:srgbClr val="FFFFFF"/>
          </a:solidFill>
        </p:grpSpPr>
        <p:sp>
          <p:nvSpPr>
            <p:cNvPr id="26"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7"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8"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9"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0"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ysClr val="windowText" lastClr="000000"/>
                </a:solidFill>
                <a:effectLst/>
                <a:uLnTx/>
                <a:uFillTx/>
                <a:latin typeface="Segoe UI"/>
                <a:ea typeface="+mn-ea"/>
                <a:cs typeface="+mn-cs"/>
              </a:endParaRPr>
            </a:p>
          </p:txBody>
        </p:sp>
      </p:grpSp>
      <p:pic>
        <p:nvPicPr>
          <p:cNvPr id="2" name="Picture 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53855" y="526894"/>
            <a:ext cx="798645" cy="792549"/>
          </a:xfrm>
          <a:prstGeom prst="rect">
            <a:avLst/>
          </a:prstGeom>
        </p:spPr>
      </p:pic>
      <p:grpSp>
        <p:nvGrpSpPr>
          <p:cNvPr id="31" name="Group 30"/>
          <p:cNvGrpSpPr/>
          <p:nvPr/>
        </p:nvGrpSpPr>
        <p:grpSpPr>
          <a:xfrm>
            <a:off x="674774" y="4221817"/>
            <a:ext cx="690126" cy="704904"/>
            <a:chOff x="663517" y="5986935"/>
            <a:chExt cx="690126" cy="704904"/>
          </a:xfrm>
        </p:grpSpPr>
        <p:sp>
          <p:nvSpPr>
            <p:cNvPr id="32" name="Rectangle 31"/>
            <p:cNvSpPr/>
            <p:nvPr/>
          </p:nvSpPr>
          <p:spPr bwMode="auto">
            <a:xfrm>
              <a:off x="663517" y="5986935"/>
              <a:ext cx="690126" cy="7049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6630" tIns="47565" rIns="0" bIns="47565" numCol="1" rtlCol="0" anchor="t" anchorCtr="0" compatLnSpc="1">
              <a:prstTxWarp prst="textNoShape">
                <a:avLst/>
              </a:prstTxWarp>
            </a:bodyPr>
            <a:lstStyle/>
            <a:p>
              <a:pPr marL="0" marR="0" lvl="0" indent="0" algn="l" defTabSz="951028" rtl="0" eaLnBrk="1" fontAlgn="base" latinLnBrk="0" hangingPunct="1">
                <a:lnSpc>
                  <a:spcPct val="100000"/>
                </a:lnSpc>
                <a:spcBef>
                  <a:spcPct val="0"/>
                </a:spcBef>
                <a:spcAft>
                  <a:spcPts val="612"/>
                </a:spcAft>
                <a:buClrTx/>
                <a:buSzTx/>
                <a:buFontTx/>
                <a:buNone/>
                <a:tabLst/>
                <a:defRPr/>
              </a:pPr>
              <a:endPar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endParaRPr>
            </a:p>
          </p:txBody>
        </p:sp>
        <p:sp>
          <p:nvSpPr>
            <p:cNvPr id="33" name="Freeform 81"/>
            <p:cNvSpPr>
              <a:spLocks/>
            </p:cNvSpPr>
            <p:nvPr/>
          </p:nvSpPr>
          <p:spPr bwMode="black">
            <a:xfrm>
              <a:off x="891857" y="6088623"/>
              <a:ext cx="233443" cy="282035"/>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62966" tIns="31484" rIns="62966" bIns="31484"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ysClr val="windowText" lastClr="000000"/>
                </a:solidFill>
                <a:effectLst/>
                <a:uLnTx/>
                <a:uFillTx/>
                <a:latin typeface="Segoe UI" pitchFamily="34" charset="0"/>
                <a:ea typeface="Segoe UI" pitchFamily="34" charset="0"/>
                <a:cs typeface="Segoe UI" pitchFamily="34" charset="0"/>
              </a:endParaRPr>
            </a:p>
          </p:txBody>
        </p:sp>
        <p:pic>
          <p:nvPicPr>
            <p:cNvPr id="34" name="Picture 7"/>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813205" y="6504931"/>
              <a:ext cx="390748" cy="111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7" name="Down Arrow 36"/>
          <p:cNvSpPr/>
          <p:nvPr/>
        </p:nvSpPr>
        <p:spPr bwMode="auto">
          <a:xfrm>
            <a:off x="759059" y="2610005"/>
            <a:ext cx="521551" cy="54659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Down Arrow 37"/>
          <p:cNvSpPr/>
          <p:nvPr/>
        </p:nvSpPr>
        <p:spPr bwMode="auto">
          <a:xfrm>
            <a:off x="751696" y="1718364"/>
            <a:ext cx="521551" cy="54659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3027687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98437" y="132510"/>
            <a:ext cx="11964922" cy="1424329"/>
          </a:xfrm>
          <a:solidFill>
            <a:schemeClr val="accent3"/>
          </a:solidFill>
        </p:spPr>
        <p:txBody>
          <a:bodyPr/>
          <a:lstStyle/>
          <a:p>
            <a:pPr algn="ctr"/>
            <a:r>
              <a:rPr lang="en-US" sz="4896" dirty="0">
                <a:solidFill>
                  <a:schemeClr val="bg1"/>
                </a:solidFill>
              </a:rPr>
              <a:t>CSP = Cloud Solution Provider</a:t>
            </a:r>
            <a:br>
              <a:rPr lang="en-US" sz="4896" dirty="0">
                <a:solidFill>
                  <a:schemeClr val="bg1"/>
                </a:solidFill>
              </a:rPr>
            </a:br>
            <a:r>
              <a:rPr lang="en-US" sz="4896" dirty="0">
                <a:solidFill>
                  <a:schemeClr val="bg1"/>
                </a:solidFill>
              </a:rPr>
              <a:t>Not for Federal Customers Yet </a:t>
            </a:r>
          </a:p>
        </p:txBody>
      </p:sp>
      <p:sp>
        <p:nvSpPr>
          <p:cNvPr id="6" name="Rectangle 5"/>
          <p:cNvSpPr/>
          <p:nvPr/>
        </p:nvSpPr>
        <p:spPr bwMode="auto">
          <a:xfrm>
            <a:off x="1899949" y="1682914"/>
            <a:ext cx="9671529" cy="63001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6630" tIns="47565" rIns="0" bIns="47565" numCol="1" rtlCol="0" anchor="t" anchorCtr="0" compatLnSpc="1">
            <a:prstTxWarp prst="textNoShape">
              <a:avLst/>
            </a:prstTxWarp>
          </a:bodyPr>
          <a:lstStyle/>
          <a:p>
            <a:pPr marL="0" marR="0" lvl="0" indent="0" algn="l" defTabSz="951028" rtl="0" eaLnBrk="1" fontAlgn="base" latinLnBrk="0" hangingPunct="1">
              <a:lnSpc>
                <a:spcPct val="100000"/>
              </a:lnSpc>
              <a:spcBef>
                <a:spcPct val="0"/>
              </a:spcBef>
              <a:spcAft>
                <a:spcPts val="612"/>
              </a:spcAft>
              <a:buClrTx/>
              <a:buSzTx/>
              <a:buFontTx/>
              <a:buNone/>
              <a:tabLst/>
              <a:defRPr/>
            </a:pPr>
            <a:r>
              <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roducts &amp; Services: Cloud Services </a:t>
            </a:r>
            <a:r>
              <a:rPr kumimoji="0" lang="en-US" sz="1836" b="0" i="0" u="sng"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nly</a:t>
            </a: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rPr>
              <a:t>CALs, and on-</a:t>
            </a:r>
            <a:r>
              <a:rPr kumimoji="0" lang="en-US" sz="142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rPr>
              <a:t>prem</a:t>
            </a:r>
            <a:r>
              <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rPr>
              <a:t> products are not available through CSP. </a:t>
            </a:r>
          </a:p>
        </p:txBody>
      </p:sp>
      <p:sp>
        <p:nvSpPr>
          <p:cNvPr id="7" name="Rectangle 6"/>
          <p:cNvSpPr/>
          <p:nvPr/>
        </p:nvSpPr>
        <p:spPr bwMode="auto">
          <a:xfrm>
            <a:off x="1866084" y="2532670"/>
            <a:ext cx="9705397" cy="69565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6630" tIns="47565" rIns="0" bIns="47565" numCol="1" rtlCol="0" anchor="t" anchorCtr="0" compatLnSpc="1">
            <a:prstTxWarp prst="textNoShape">
              <a:avLst/>
            </a:prstTxWarp>
          </a:bodyPr>
          <a:lstStyle/>
          <a:p>
            <a:pPr marL="0" marR="0" lvl="0" indent="0" algn="l" defTabSz="951028" rtl="0" eaLnBrk="1" fontAlgn="base" latinLnBrk="0" hangingPunct="1">
              <a:lnSpc>
                <a:spcPct val="100000"/>
              </a:lnSpc>
              <a:spcBef>
                <a:spcPct val="0"/>
              </a:spcBef>
              <a:spcAft>
                <a:spcPts val="612"/>
              </a:spcAft>
              <a:buClrTx/>
              <a:buSzTx/>
              <a:buFontTx/>
              <a:buNone/>
              <a:tabLst/>
              <a:defRPr/>
            </a:pPr>
            <a:r>
              <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ustomer Size: No seat-limit to CSP Subscriptions</a:t>
            </a:r>
            <a:endParaRPr kumimoji="0" lang="en-US" sz="1836" b="0" i="0" u="sng"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rPr>
              <a:t>CSP can be sold to a customer in any segment, of any size. </a:t>
            </a:r>
          </a:p>
        </p:txBody>
      </p:sp>
      <p:sp>
        <p:nvSpPr>
          <p:cNvPr id="8" name="Rectangle 7"/>
          <p:cNvSpPr/>
          <p:nvPr/>
        </p:nvSpPr>
        <p:spPr bwMode="auto">
          <a:xfrm>
            <a:off x="1866083" y="3448067"/>
            <a:ext cx="9705397" cy="59749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6630" tIns="47565" rIns="0" bIns="47565" numCol="1" rtlCol="0" anchor="t" anchorCtr="0" compatLnSpc="1">
            <a:prstTxWarp prst="textNoShape">
              <a:avLst/>
            </a:prstTxWarp>
          </a:bodyPr>
          <a:lstStyle/>
          <a:p>
            <a:pPr marL="0" marR="0" lvl="0" indent="0" algn="l" defTabSz="951028" rtl="0" eaLnBrk="1" fontAlgn="base" latinLnBrk="0" hangingPunct="1">
              <a:lnSpc>
                <a:spcPct val="100000"/>
              </a:lnSpc>
              <a:spcBef>
                <a:spcPct val="0"/>
              </a:spcBef>
              <a:spcAft>
                <a:spcPts val="612"/>
              </a:spcAft>
              <a:buClrTx/>
              <a:buSzTx/>
              <a:buFontTx/>
              <a:buNone/>
              <a:tabLst/>
              <a:defRPr/>
            </a:pPr>
            <a:r>
              <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Volume Discounts: No volume discount; only a flat discount off MSRP</a:t>
            </a:r>
            <a:endParaRPr kumimoji="0" lang="en-US" sz="1836" b="0" i="0" u="sng"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rPr>
              <a:t>Partners (and subsequently customers) receive no additional discount for higher volume orders. </a:t>
            </a:r>
          </a:p>
        </p:txBody>
      </p:sp>
      <p:sp>
        <p:nvSpPr>
          <p:cNvPr id="9" name="Rectangle 8"/>
          <p:cNvSpPr/>
          <p:nvPr/>
        </p:nvSpPr>
        <p:spPr bwMode="auto">
          <a:xfrm>
            <a:off x="1866082" y="4265301"/>
            <a:ext cx="9705397" cy="59749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6630" tIns="47565" rIns="0" bIns="47565" numCol="1" rtlCol="0" anchor="t" anchorCtr="0" compatLnSpc="1">
            <a:prstTxWarp prst="textNoShape">
              <a:avLst/>
            </a:prstTxWarp>
          </a:bodyPr>
          <a:lstStyle/>
          <a:p>
            <a:pPr marL="0" marR="0" lvl="0" indent="0" algn="l" defTabSz="951028" rtl="0" eaLnBrk="1" fontAlgn="base" latinLnBrk="0" hangingPunct="1">
              <a:lnSpc>
                <a:spcPct val="100000"/>
              </a:lnSpc>
              <a:spcBef>
                <a:spcPct val="0"/>
              </a:spcBef>
              <a:spcAft>
                <a:spcPts val="612"/>
              </a:spcAft>
              <a:buClrTx/>
              <a:buSzTx/>
              <a:buFontTx/>
              <a:buNone/>
              <a:tabLst/>
              <a:defRPr/>
            </a:pPr>
            <a:r>
              <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erm Length: 12-months</a:t>
            </a:r>
            <a:endParaRPr kumimoji="0" lang="en-US" sz="1836" b="0" i="0" u="sng"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rPr>
              <a:t>Customers who want to “lock-in” a price for multiple years, should lean towards EA. </a:t>
            </a:r>
          </a:p>
        </p:txBody>
      </p:sp>
      <p:sp>
        <p:nvSpPr>
          <p:cNvPr id="10" name="Rectangle 9"/>
          <p:cNvSpPr/>
          <p:nvPr/>
        </p:nvSpPr>
        <p:spPr bwMode="auto">
          <a:xfrm>
            <a:off x="1866082" y="5082536"/>
            <a:ext cx="9705397" cy="68466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6630" tIns="47565" rIns="0" bIns="47565" numCol="1" rtlCol="0" anchor="t" anchorCtr="0" compatLnSpc="1">
            <a:prstTxWarp prst="textNoShape">
              <a:avLst/>
            </a:prstTxWarp>
          </a:bodyPr>
          <a:lstStyle/>
          <a:p>
            <a:pPr marL="0" marR="0" lvl="0" indent="0" algn="l" defTabSz="951028" rtl="0" eaLnBrk="1" fontAlgn="base" latinLnBrk="0" hangingPunct="1">
              <a:lnSpc>
                <a:spcPct val="100000"/>
              </a:lnSpc>
              <a:spcBef>
                <a:spcPct val="0"/>
              </a:spcBef>
              <a:spcAft>
                <a:spcPts val="612"/>
              </a:spcAft>
              <a:buClrTx/>
              <a:buSzTx/>
              <a:buFontTx/>
              <a:buNone/>
              <a:tabLst/>
              <a:defRPr/>
            </a:pPr>
            <a:r>
              <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ales Flow: MS </a:t>
            </a:r>
            <a:r>
              <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sym typeface="Wingdings" panose="05000000000000000000" pitchFamily="2" charset="2"/>
              </a:rPr>
              <a:t> Partner(s)*  Customer</a:t>
            </a:r>
            <a:endParaRPr kumimoji="0" lang="en-US" sz="1836" b="0" i="0" u="sng"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rPr>
              <a:t>Microsoft sells a subscription to the CSP Partner (in the customer’s name); Partner sets price &amp; terms to customer. </a:t>
            </a:r>
          </a:p>
        </p:txBody>
      </p:sp>
      <p:sp>
        <p:nvSpPr>
          <p:cNvPr id="11" name="Rectangle 10"/>
          <p:cNvSpPr/>
          <p:nvPr/>
        </p:nvSpPr>
        <p:spPr bwMode="auto">
          <a:xfrm>
            <a:off x="1866080" y="5986935"/>
            <a:ext cx="9705397" cy="7049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6630" tIns="47565" rIns="0" bIns="47565" numCol="1" rtlCol="0" anchor="t" anchorCtr="0" compatLnSpc="1">
            <a:prstTxWarp prst="textNoShape">
              <a:avLst/>
            </a:prstTxWarp>
          </a:bodyPr>
          <a:lstStyle/>
          <a:p>
            <a:pPr marL="0" marR="0" lvl="0" indent="0" algn="l" defTabSz="951028" rtl="0" eaLnBrk="1" fontAlgn="base" latinLnBrk="0" hangingPunct="1">
              <a:lnSpc>
                <a:spcPct val="100000"/>
              </a:lnSpc>
              <a:spcBef>
                <a:spcPct val="0"/>
              </a:spcBef>
              <a:spcAft>
                <a:spcPts val="612"/>
              </a:spcAft>
              <a:buClrTx/>
              <a:buSzTx/>
              <a:buFontTx/>
              <a:buNone/>
              <a:tabLst/>
              <a:defRPr/>
            </a:pPr>
            <a:r>
              <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upport: Partner is accountable for support</a:t>
            </a:r>
            <a:endParaRPr kumimoji="0" lang="en-US" sz="1836" b="0" i="0" u="sng"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rPr>
              <a:t>Partner must provide technical &amp; billing support to the customer, but may monetize their services. </a:t>
            </a:r>
          </a:p>
        </p:txBody>
      </p:sp>
      <p:sp>
        <p:nvSpPr>
          <p:cNvPr id="12" name="TextBox 11"/>
          <p:cNvSpPr txBox="1"/>
          <p:nvPr/>
        </p:nvSpPr>
        <p:spPr>
          <a:xfrm>
            <a:off x="1866084" y="6691839"/>
            <a:ext cx="9362175" cy="445417"/>
          </a:xfrm>
          <a:prstGeom prst="rect">
            <a:avLst/>
          </a:prstGeom>
          <a:noFill/>
        </p:spPr>
        <p:txBody>
          <a:bodyPr wrap="none" lIns="186521" tIns="149217" rIns="186521" bIns="149217" rtlCol="0">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02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SP Indirect Program supports Microsoft selling to an authorized CSP Distributor, who sells to channel partners/resellers, who in turn sells to customers.</a:t>
            </a:r>
          </a:p>
        </p:txBody>
      </p:sp>
      <p:sp>
        <p:nvSpPr>
          <p:cNvPr id="13" name="Rectangle 12"/>
          <p:cNvSpPr/>
          <p:nvPr/>
        </p:nvSpPr>
        <p:spPr bwMode="auto">
          <a:xfrm>
            <a:off x="697381" y="1682914"/>
            <a:ext cx="687718" cy="63001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6630" tIns="47565" rIns="0" bIns="47565" numCol="1" rtlCol="0" anchor="t" anchorCtr="0" compatLnSpc="1">
            <a:prstTxWarp prst="textNoShape">
              <a:avLst/>
            </a:prstTxWarp>
          </a:bodyPr>
          <a:lstStyle/>
          <a:p>
            <a:pPr marL="0" marR="0" lvl="0" indent="0" algn="l" defTabSz="951028" rtl="0" eaLnBrk="1" fontAlgn="base" latinLnBrk="0" hangingPunct="1">
              <a:lnSpc>
                <a:spcPct val="100000"/>
              </a:lnSpc>
              <a:spcBef>
                <a:spcPct val="0"/>
              </a:spcBef>
              <a:spcAft>
                <a:spcPts val="612"/>
              </a:spcAft>
              <a:buClrTx/>
              <a:buSzTx/>
              <a:buFontTx/>
              <a:buNone/>
              <a:tabLst/>
              <a:defRPr/>
            </a:pPr>
            <a:endPar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endParaRPr>
          </a:p>
        </p:txBody>
      </p:sp>
      <p:sp>
        <p:nvSpPr>
          <p:cNvPr id="14" name="Rectangle 13"/>
          <p:cNvSpPr/>
          <p:nvPr/>
        </p:nvSpPr>
        <p:spPr bwMode="auto">
          <a:xfrm>
            <a:off x="663517" y="2538025"/>
            <a:ext cx="690126" cy="6956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6630" tIns="47565" rIns="0" bIns="47565" numCol="1" rtlCol="0" anchor="t" anchorCtr="0" compatLnSpc="1">
            <a:prstTxWarp prst="textNoShape">
              <a:avLst/>
            </a:prstTxWarp>
          </a:bodyPr>
          <a:lstStyle/>
          <a:p>
            <a:pPr marL="0" marR="0" lvl="0" indent="0" algn="l" defTabSz="951028" rtl="0" eaLnBrk="1" fontAlgn="base" latinLnBrk="0" hangingPunct="1">
              <a:lnSpc>
                <a:spcPct val="100000"/>
              </a:lnSpc>
              <a:spcBef>
                <a:spcPct val="0"/>
              </a:spcBef>
              <a:spcAft>
                <a:spcPts val="612"/>
              </a:spcAft>
              <a:buClrTx/>
              <a:buSzTx/>
              <a:buFontTx/>
              <a:buNone/>
              <a:tabLst/>
              <a:defRPr/>
            </a:pPr>
            <a:endPar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endParaRPr>
          </a:p>
        </p:txBody>
      </p:sp>
      <p:sp>
        <p:nvSpPr>
          <p:cNvPr id="15" name="Rectangle 14"/>
          <p:cNvSpPr/>
          <p:nvPr/>
        </p:nvSpPr>
        <p:spPr bwMode="auto">
          <a:xfrm>
            <a:off x="663517" y="3458777"/>
            <a:ext cx="690126" cy="59749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6630" tIns="47565" rIns="0" bIns="47565" numCol="1" rtlCol="0" anchor="t" anchorCtr="0" compatLnSpc="1">
            <a:prstTxWarp prst="textNoShape">
              <a:avLst/>
            </a:prstTxWarp>
          </a:bodyPr>
          <a:lstStyle/>
          <a:p>
            <a:pPr marL="0" marR="0" lvl="0" indent="0" algn="l" defTabSz="951028" rtl="0" eaLnBrk="1" fontAlgn="base" latinLnBrk="0" hangingPunct="1">
              <a:lnSpc>
                <a:spcPct val="100000"/>
              </a:lnSpc>
              <a:spcBef>
                <a:spcPct val="0"/>
              </a:spcBef>
              <a:spcAft>
                <a:spcPts val="612"/>
              </a:spcAft>
              <a:buClrTx/>
              <a:buSzTx/>
              <a:buFontTx/>
              <a:buNone/>
              <a:tabLst/>
              <a:defRPr/>
            </a:pPr>
            <a:endPar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endParaRPr>
          </a:p>
        </p:txBody>
      </p:sp>
      <p:sp>
        <p:nvSpPr>
          <p:cNvPr id="16" name="Rectangle 15"/>
          <p:cNvSpPr/>
          <p:nvPr/>
        </p:nvSpPr>
        <p:spPr bwMode="auto">
          <a:xfrm>
            <a:off x="663517" y="4281367"/>
            <a:ext cx="690126" cy="59749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6630" tIns="47565" rIns="0" bIns="47565" numCol="1" rtlCol="0" anchor="t" anchorCtr="0" compatLnSpc="1">
            <a:prstTxWarp prst="textNoShape">
              <a:avLst/>
            </a:prstTxWarp>
          </a:bodyPr>
          <a:lstStyle/>
          <a:p>
            <a:pPr marL="0" marR="0" lvl="0" indent="0" algn="l" defTabSz="951028" rtl="0" eaLnBrk="1" fontAlgn="base" latinLnBrk="0" hangingPunct="1">
              <a:lnSpc>
                <a:spcPct val="100000"/>
              </a:lnSpc>
              <a:spcBef>
                <a:spcPct val="0"/>
              </a:spcBef>
              <a:spcAft>
                <a:spcPts val="612"/>
              </a:spcAft>
              <a:buClrTx/>
              <a:buSzTx/>
              <a:buFontTx/>
              <a:buNone/>
              <a:tabLst/>
              <a:defRPr/>
            </a:pPr>
            <a:endPar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endParaRPr>
          </a:p>
        </p:txBody>
      </p:sp>
      <p:sp>
        <p:nvSpPr>
          <p:cNvPr id="17" name="Rectangle 16"/>
          <p:cNvSpPr/>
          <p:nvPr/>
        </p:nvSpPr>
        <p:spPr bwMode="auto">
          <a:xfrm>
            <a:off x="663517" y="5103957"/>
            <a:ext cx="690126" cy="65788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6630" tIns="47565" rIns="0" bIns="47565" numCol="1" rtlCol="0" anchor="t" anchorCtr="0" compatLnSpc="1">
            <a:prstTxWarp prst="textNoShape">
              <a:avLst/>
            </a:prstTxWarp>
          </a:bodyPr>
          <a:lstStyle/>
          <a:p>
            <a:pPr marL="0" marR="0" lvl="0" indent="0" algn="l" defTabSz="951028" rtl="0" eaLnBrk="1" fontAlgn="base" latinLnBrk="0" hangingPunct="1">
              <a:lnSpc>
                <a:spcPct val="100000"/>
              </a:lnSpc>
              <a:spcBef>
                <a:spcPct val="0"/>
              </a:spcBef>
              <a:spcAft>
                <a:spcPts val="612"/>
              </a:spcAft>
              <a:buClrTx/>
              <a:buSzTx/>
              <a:buFontTx/>
              <a:buNone/>
              <a:tabLst/>
              <a:defRPr/>
            </a:pPr>
            <a:endPar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endParaRPr>
          </a:p>
        </p:txBody>
      </p:sp>
      <p:sp>
        <p:nvSpPr>
          <p:cNvPr id="18" name="Rectangle 17"/>
          <p:cNvSpPr/>
          <p:nvPr/>
        </p:nvSpPr>
        <p:spPr bwMode="auto">
          <a:xfrm>
            <a:off x="663517" y="5986935"/>
            <a:ext cx="690126" cy="7049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6630" tIns="47565" rIns="0" bIns="47565" numCol="1" rtlCol="0" anchor="t" anchorCtr="0" compatLnSpc="1">
            <a:prstTxWarp prst="textNoShape">
              <a:avLst/>
            </a:prstTxWarp>
          </a:bodyPr>
          <a:lstStyle/>
          <a:p>
            <a:pPr marL="0" marR="0" lvl="0" indent="0" algn="l" defTabSz="951028" rtl="0" eaLnBrk="1" fontAlgn="base" latinLnBrk="0" hangingPunct="1">
              <a:lnSpc>
                <a:spcPct val="100000"/>
              </a:lnSpc>
              <a:spcBef>
                <a:spcPct val="0"/>
              </a:spcBef>
              <a:spcAft>
                <a:spcPts val="612"/>
              </a:spcAft>
              <a:buClrTx/>
              <a:buSzTx/>
              <a:buFontTx/>
              <a:buNone/>
              <a:tabLst/>
              <a:defRPr/>
            </a:pPr>
            <a:endPar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Semibold" panose="020B0702040204020203" pitchFamily="34" charset="0"/>
            </a:endParaRPr>
          </a:p>
        </p:txBody>
      </p:sp>
      <p:sp>
        <p:nvSpPr>
          <p:cNvPr id="19" name="Freeform 10"/>
          <p:cNvSpPr>
            <a:spLocks noEditPoints="1"/>
          </p:cNvSpPr>
          <p:nvPr/>
        </p:nvSpPr>
        <p:spPr bwMode="black">
          <a:xfrm>
            <a:off x="737981" y="1799857"/>
            <a:ext cx="614068" cy="338054"/>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marL="0" marR="0" lvl="0" indent="0" algn="l" defTabSz="699419" rtl="0"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000000"/>
              </a:solidFill>
              <a:effectLst/>
              <a:uLnTx/>
              <a:uFillTx/>
              <a:latin typeface="Segoe UI"/>
              <a:ea typeface="+mn-ea"/>
              <a:cs typeface="+mn-cs"/>
            </a:endParaRPr>
          </a:p>
        </p:txBody>
      </p:sp>
      <p:pic>
        <p:nvPicPr>
          <p:cNvPr id="20" name="Pictur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96777" y="2558132"/>
            <a:ext cx="423606" cy="518566"/>
          </a:xfrm>
          <a:prstGeom prst="rect">
            <a:avLst/>
          </a:prstGeom>
        </p:spPr>
      </p:pic>
      <p:pic>
        <p:nvPicPr>
          <p:cNvPr id="21" name="Picture 2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12477" y="3510670"/>
            <a:ext cx="592205" cy="305988"/>
          </a:xfrm>
          <a:prstGeom prst="rect">
            <a:avLst/>
          </a:prstGeom>
        </p:spPr>
      </p:pic>
      <p:sp>
        <p:nvSpPr>
          <p:cNvPr id="22" name="Freeform 81"/>
          <p:cNvSpPr>
            <a:spLocks/>
          </p:cNvSpPr>
          <p:nvPr/>
        </p:nvSpPr>
        <p:spPr bwMode="black">
          <a:xfrm>
            <a:off x="891857" y="6088623"/>
            <a:ext cx="233443" cy="282035"/>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62966" tIns="31484" rIns="62966" bIns="31484"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ysClr val="windowText" lastClr="000000"/>
              </a:solidFill>
              <a:effectLst/>
              <a:uLnTx/>
              <a:uFillTx/>
              <a:latin typeface="Segoe UI" pitchFamily="34" charset="0"/>
              <a:ea typeface="Segoe UI" pitchFamily="34" charset="0"/>
              <a:cs typeface="Segoe UI" pitchFamily="34" charset="0"/>
            </a:endParaRPr>
          </a:p>
        </p:txBody>
      </p:sp>
      <p:pic>
        <p:nvPicPr>
          <p:cNvPr id="23" name="Picture 7"/>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813205" y="6504931"/>
            <a:ext cx="390748" cy="111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3" descr="\\MAGNUM\Projects\Microsoft\Cloud Power FY12\Design\ICONS_PNG\Calendar.png"/>
          <p:cNvPicPr>
            <a:picLocks noChangeAspect="1" noChangeArrowheads="1"/>
          </p:cNvPicPr>
          <p:nvPr/>
        </p:nvPicPr>
        <p:blipFill>
          <a:blip r:embed="rId6" cstate="email">
            <a:lum bright="100000"/>
            <a:extLst>
              <a:ext uri="{28A0092B-C50C-407E-A947-70E740481C1C}">
                <a14:useLocalDpi xmlns:a14="http://schemas.microsoft.com/office/drawing/2010/main"/>
              </a:ext>
            </a:extLst>
          </a:blip>
          <a:srcRect/>
          <a:stretch>
            <a:fillRect/>
          </a:stretch>
        </p:blipFill>
        <p:spPr bwMode="auto">
          <a:xfrm>
            <a:off x="704117" y="4313594"/>
            <a:ext cx="618563" cy="537477"/>
          </a:xfrm>
          <a:prstGeom prst="rect">
            <a:avLst/>
          </a:prstGeom>
          <a:noFill/>
        </p:spPr>
      </p:pic>
      <p:grpSp>
        <p:nvGrpSpPr>
          <p:cNvPr id="25" name="Group 24"/>
          <p:cNvGrpSpPr>
            <a:grpSpLocks noChangeAspect="1"/>
          </p:cNvGrpSpPr>
          <p:nvPr/>
        </p:nvGrpSpPr>
        <p:grpSpPr bwMode="black">
          <a:xfrm>
            <a:off x="697381" y="5284752"/>
            <a:ext cx="622393" cy="362709"/>
            <a:chOff x="10387012" y="4179358"/>
            <a:chExt cx="974726" cy="593725"/>
          </a:xfrm>
          <a:solidFill>
            <a:srgbClr val="FFFFFF"/>
          </a:solidFill>
        </p:grpSpPr>
        <p:sp>
          <p:nvSpPr>
            <p:cNvPr id="26"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7"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8"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9"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0"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ysClr val="windowText" lastClr="000000"/>
                </a:solidFill>
                <a:effectLst/>
                <a:uLnTx/>
                <a:uFillTx/>
                <a:latin typeface="Segoe UI"/>
                <a:ea typeface="+mn-ea"/>
                <a:cs typeface="+mn-cs"/>
              </a:endParaRPr>
            </a:p>
          </p:txBody>
        </p:sp>
      </p:grpSp>
      <p:pic>
        <p:nvPicPr>
          <p:cNvPr id="2" name="Picture 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12303" y="434352"/>
            <a:ext cx="792549" cy="786452"/>
          </a:xfrm>
          <a:prstGeom prst="rect">
            <a:avLst/>
          </a:prstGeom>
        </p:spPr>
      </p:pic>
    </p:spTree>
    <p:extLst>
      <p:ext uri="{BB962C8B-B14F-4D97-AF65-F5344CB8AC3E}">
        <p14:creationId xmlns:p14="http://schemas.microsoft.com/office/powerpoint/2010/main" val="376160470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90489"/>
            <a:ext cx="12319000" cy="1273174"/>
          </a:xfrm>
        </p:spPr>
        <p:txBody>
          <a:bodyPr>
            <a:normAutofit fontScale="90000"/>
          </a:bodyPr>
          <a:lstStyle/>
          <a:p>
            <a:pPr algn="ctr"/>
            <a:r>
              <a:rPr lang="en-US" sz="4400" spc="0" dirty="0">
                <a:gradFill>
                  <a:gsLst>
                    <a:gs pos="1250">
                      <a:schemeClr val="tx2"/>
                    </a:gs>
                    <a:gs pos="99000">
                      <a:schemeClr val="tx2"/>
                    </a:gs>
                  </a:gsLst>
                  <a:lin ang="5400000" scaled="0"/>
                </a:gradFill>
                <a:cs typeface="+mn-cs"/>
              </a:rPr>
              <a:t>SALES OPTION 4 </a:t>
            </a:r>
            <a:br>
              <a:rPr lang="en-US" sz="4400" spc="0" dirty="0">
                <a:gradFill>
                  <a:gsLst>
                    <a:gs pos="1250">
                      <a:schemeClr val="tx2"/>
                    </a:gs>
                    <a:gs pos="99000">
                      <a:schemeClr val="tx2"/>
                    </a:gs>
                  </a:gsLst>
                  <a:lin ang="5400000" scaled="0"/>
                </a:gradFill>
                <a:cs typeface="+mn-cs"/>
              </a:rPr>
            </a:br>
            <a:r>
              <a:rPr lang="en-US" sz="4400" spc="0" dirty="0">
                <a:gradFill>
                  <a:gsLst>
                    <a:gs pos="1250">
                      <a:schemeClr val="tx2"/>
                    </a:gs>
                    <a:gs pos="99000">
                      <a:schemeClr val="tx2"/>
                    </a:gs>
                  </a:gsLst>
                  <a:lin ang="5400000" scaled="0"/>
                </a:gradFill>
                <a:cs typeface="+mn-cs"/>
              </a:rPr>
              <a:t>PC2P = PRIME CONTRACTOR PILOT PROGRAM</a:t>
            </a:r>
            <a:br>
              <a:rPr lang="en-US" sz="4488" dirty="0">
                <a:latin typeface="Segoe UI Light" panose="020B0502040204020203" pitchFamily="34" charset="0"/>
                <a:cs typeface="Segoe UI Light" panose="020B0502040204020203" pitchFamily="34" charset="0"/>
              </a:rPr>
            </a:br>
            <a:endParaRPr lang="en-US" sz="4488" dirty="0">
              <a:latin typeface="Segoe UI Light" panose="020B0502040204020203" pitchFamily="34" charset="0"/>
              <a:cs typeface="Segoe UI Light" panose="020B0502040204020203" pitchFamily="34" charset="0"/>
            </a:endParaRPr>
          </a:p>
        </p:txBody>
      </p:sp>
      <p:sp>
        <p:nvSpPr>
          <p:cNvPr id="6" name="Content Placeholder 2"/>
          <p:cNvSpPr txBox="1">
            <a:spLocks/>
          </p:cNvSpPr>
          <p:nvPr/>
        </p:nvSpPr>
        <p:spPr>
          <a:xfrm>
            <a:off x="370039" y="1287462"/>
            <a:ext cx="11948962" cy="5638800"/>
          </a:xfrm>
          <a:prstGeom prst="rect">
            <a:avLst/>
          </a:prstGeom>
        </p:spPr>
        <p:txBody>
          <a:bodyPr vert="horz" lIns="93260" tIns="46630" rIns="93260" bIns="4663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Temporary Solution – 12/2015 to ~4/2017 Bridge to CSP for Governmen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Key Design Goals</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Direct Contractual Relationship</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Ability to Configure Azure</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Leverage LSP for Order Fulfilment</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Customer Access to Azure Portal</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Designed for Pay-As-You-Go</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Participating contractor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2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2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Best use cases:</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One of these Primes has already positioned the Azure sale</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The Prime can assist with implementation, typically service add-on is easy</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Bad use case:  The customer wants Azure and has no relationship with one of the vendors and they can implement on their own or with current contractors</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Customer maintains access to the portal (Like LSP, unlike MSP)</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Bad use case:  </a:t>
            </a:r>
            <a:r>
              <a:rPr kumimoji="0" lang="en-US" sz="22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The customer wants Azure and has no relationship with one of the vendors and they can implement on their own or with current contractor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56437" y="2312543"/>
            <a:ext cx="1886866" cy="653971"/>
          </a:xfrm>
          <a:prstGeom prst="rect">
            <a:avLst/>
          </a:prstGeom>
        </p:spPr>
      </p:pic>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51237" y="3646076"/>
            <a:ext cx="7010400" cy="1034821"/>
          </a:xfrm>
          <a:prstGeom prst="rect">
            <a:avLst/>
          </a:prstGeom>
        </p:spPr>
      </p:pic>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8437" y="312512"/>
            <a:ext cx="865707" cy="829128"/>
          </a:xfrm>
          <a:prstGeom prst="rect">
            <a:avLst/>
          </a:prstGeom>
        </p:spPr>
      </p:pic>
    </p:spTree>
    <p:extLst>
      <p:ext uri="{BB962C8B-B14F-4D97-AF65-F5344CB8AC3E}">
        <p14:creationId xmlns:p14="http://schemas.microsoft.com/office/powerpoint/2010/main" val="79063437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eak until 10:50 AM</a:t>
            </a:r>
          </a:p>
        </p:txBody>
      </p:sp>
    </p:spTree>
    <p:extLst>
      <p:ext uri="{BB962C8B-B14F-4D97-AF65-F5344CB8AC3E}">
        <p14:creationId xmlns:p14="http://schemas.microsoft.com/office/powerpoint/2010/main" val="4080861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S Public Sector</a:t>
            </a:r>
            <a:br>
              <a:rPr lang="en-US" dirty="0"/>
            </a:br>
            <a:r>
              <a:rPr lang="en-US" dirty="0"/>
              <a:t>FY17 Azure Days</a:t>
            </a:r>
          </a:p>
        </p:txBody>
      </p:sp>
    </p:spTree>
    <p:extLst>
      <p:ext uri="{BB962C8B-B14F-4D97-AF65-F5344CB8AC3E}">
        <p14:creationId xmlns:p14="http://schemas.microsoft.com/office/powerpoint/2010/main" val="95648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eiving Credit</a:t>
            </a:r>
          </a:p>
        </p:txBody>
      </p:sp>
    </p:spTree>
    <p:extLst>
      <p:ext uri="{BB962C8B-B14F-4D97-AF65-F5344CB8AC3E}">
        <p14:creationId xmlns:p14="http://schemas.microsoft.com/office/powerpoint/2010/main" val="1625431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riving Azure with ISVs</a:t>
            </a:r>
          </a:p>
        </p:txBody>
      </p:sp>
      <p:sp>
        <p:nvSpPr>
          <p:cNvPr id="5" name="Text Placeholder 4"/>
          <p:cNvSpPr>
            <a:spLocks noGrp="1"/>
          </p:cNvSpPr>
          <p:nvPr>
            <p:ph type="body" sz="quarter" idx="14"/>
          </p:nvPr>
        </p:nvSpPr>
        <p:spPr/>
        <p:txBody>
          <a:bodyPr/>
          <a:lstStyle/>
          <a:p>
            <a:r>
              <a:rPr lang="en-US" dirty="0"/>
              <a:t>Greg Bateman</a:t>
            </a:r>
          </a:p>
          <a:p>
            <a:r>
              <a:rPr lang="en-US" dirty="0"/>
              <a:t>Senior Director, Industry Business Development </a:t>
            </a:r>
          </a:p>
        </p:txBody>
      </p:sp>
    </p:spTree>
    <p:extLst>
      <p:ext uri="{BB962C8B-B14F-4D97-AF65-F5344CB8AC3E}">
        <p14:creationId xmlns:p14="http://schemas.microsoft.com/office/powerpoint/2010/main" val="336064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186389" y="273802"/>
            <a:ext cx="12059790" cy="122070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35890" rtl="0" eaLnBrk="1" fontAlgn="auto" latinLnBrk="0" hangingPunct="1">
              <a:lnSpc>
                <a:spcPct val="100000"/>
              </a:lnSpc>
              <a:spcBef>
                <a:spcPts val="0"/>
              </a:spcBef>
              <a:spcAft>
                <a:spcPts val="0"/>
              </a:spcAft>
              <a:buClrTx/>
              <a:buSzTx/>
              <a:buFontTx/>
              <a:buNone/>
              <a:tabLst/>
              <a:defRPr/>
            </a:pPr>
            <a:endParaRPr kumimoji="0" lang="en-US" sz="1113" b="0" i="0" u="none" strike="noStrike" kern="1200" cap="none" spc="0" normalizeH="0" baseline="0" noProof="0" dirty="0">
              <a:ln>
                <a:noFill/>
              </a:ln>
              <a:solidFill>
                <a:prstClr val="white"/>
              </a:solidFill>
              <a:effectLst/>
              <a:uLnTx/>
              <a:uFillTx/>
              <a:latin typeface="Segoe UI"/>
              <a:ea typeface="+mn-ea"/>
              <a:cs typeface="+mn-cs"/>
            </a:endParaRPr>
          </a:p>
        </p:txBody>
      </p:sp>
      <p:sp>
        <p:nvSpPr>
          <p:cNvPr id="40" name="Title 1"/>
          <p:cNvSpPr txBox="1">
            <a:spLocks/>
          </p:cNvSpPr>
          <p:nvPr/>
        </p:nvSpPr>
        <p:spPr>
          <a:xfrm>
            <a:off x="446232" y="495653"/>
            <a:ext cx="11583753" cy="359582"/>
          </a:xfrm>
          <a:prstGeom prst="rect">
            <a:avLst/>
          </a:prstGeom>
        </p:spPr>
        <p:txBody>
          <a:bodyPr lIns="0" tIns="0" rIns="0" bIns="0"/>
          <a:lstStyle>
            <a:lvl1pPr>
              <a:defRPr sz="3500">
                <a:solidFill>
                  <a:schemeClr val="bg1"/>
                </a:solidFill>
                <a:latin typeface="Segoe UI"/>
                <a:ea typeface="+mj-ea"/>
                <a:cs typeface="Segoe UI"/>
              </a:defRPr>
            </a:lvl1pPr>
          </a:lstStyle>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2856" b="0" i="0" u="none" strike="noStrike" kern="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The </a:t>
            </a:r>
            <a:r>
              <a:rPr kumimoji="0" lang="en-US" sz="2856" b="1" i="0" u="none" strike="noStrike" kern="0" cap="none" spc="0" normalizeH="0" baseline="0" noProof="0" dirty="0">
                <a:ln>
                  <a:noFill/>
                </a:ln>
                <a:solidFill>
                  <a:prstClr val="white"/>
                </a:solidFill>
                <a:effectLst/>
                <a:uLnTx/>
                <a:uFillTx/>
                <a:latin typeface="Segoe UI Semibold" panose="020B0702040204020203" pitchFamily="34" charset="0"/>
                <a:ea typeface="+mj-ea"/>
                <a:cs typeface="Segoe UI Semibold" panose="020B0702040204020203" pitchFamily="34" charset="0"/>
              </a:rPr>
              <a:t>ISV Co-Sell</a:t>
            </a:r>
            <a:r>
              <a:rPr kumimoji="0" lang="en-US" sz="2856" b="0" i="0" u="none" strike="noStrike" kern="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 motion in one page</a:t>
            </a:r>
          </a:p>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a:ea typeface="+mj-ea"/>
                <a:cs typeface="Segoe UI" panose="020B0502040204020203" pitchFamily="34" charset="0"/>
              </a:rPr>
              <a:t>All you need to </a:t>
            </a:r>
            <a:r>
              <a:rPr kumimoji="0" lang="en-US" sz="1836" b="1" i="0" u="none" strike="noStrike" kern="0" cap="none" spc="0" normalizeH="0" baseline="0" noProof="0" dirty="0">
                <a:ln>
                  <a:noFill/>
                </a:ln>
                <a:solidFill>
                  <a:prstClr val="white"/>
                </a:solidFill>
                <a:effectLst/>
                <a:uLnTx/>
                <a:uFillTx/>
                <a:latin typeface="Segoe UI Light"/>
                <a:ea typeface="+mj-ea"/>
                <a:cs typeface="Segoe UI" panose="020B0502040204020203" pitchFamily="34" charset="0"/>
              </a:rPr>
              <a:t>discover ISVs</a:t>
            </a:r>
            <a:r>
              <a:rPr kumimoji="0" lang="en-US" sz="1836" b="0" i="0" u="none" strike="noStrike" kern="0" cap="none" spc="0" normalizeH="0" baseline="0" noProof="0" dirty="0">
                <a:ln>
                  <a:noFill/>
                </a:ln>
                <a:solidFill>
                  <a:prstClr val="white"/>
                </a:solidFill>
                <a:effectLst/>
                <a:uLnTx/>
                <a:uFillTx/>
                <a:latin typeface="Segoe UI Light"/>
                <a:ea typeface="+mj-ea"/>
                <a:cs typeface="Segoe UI" panose="020B0502040204020203" pitchFamily="34" charset="0"/>
              </a:rPr>
              <a:t>, </a:t>
            </a:r>
            <a:r>
              <a:rPr kumimoji="0" lang="en-US" sz="1836" b="1" i="0" u="none" strike="noStrike" kern="0" cap="none" spc="0" normalizeH="0" baseline="0" noProof="0" dirty="0">
                <a:ln>
                  <a:noFill/>
                </a:ln>
                <a:solidFill>
                  <a:prstClr val="white"/>
                </a:solidFill>
                <a:effectLst/>
                <a:uLnTx/>
                <a:uFillTx/>
                <a:latin typeface="Segoe UI Light"/>
                <a:ea typeface="+mj-ea"/>
                <a:cs typeface="Segoe UI" panose="020B0502040204020203" pitchFamily="34" charset="0"/>
              </a:rPr>
              <a:t>retire quota </a:t>
            </a:r>
            <a:r>
              <a:rPr kumimoji="0" lang="en-US" sz="1836" b="0" i="0" u="none" strike="noStrike" kern="0" cap="none" spc="0" normalizeH="0" baseline="0" noProof="0" dirty="0">
                <a:ln>
                  <a:noFill/>
                </a:ln>
                <a:solidFill>
                  <a:prstClr val="white"/>
                </a:solidFill>
                <a:effectLst/>
                <a:uLnTx/>
                <a:uFillTx/>
                <a:latin typeface="Segoe UI Light"/>
                <a:ea typeface="+mj-ea"/>
                <a:cs typeface="Segoe UI" panose="020B0502040204020203" pitchFamily="34" charset="0"/>
              </a:rPr>
              <a:t>and </a:t>
            </a:r>
            <a:r>
              <a:rPr kumimoji="0" lang="en-US" sz="1836" b="1" i="0" u="none" strike="noStrike" kern="0" cap="none" spc="0" normalizeH="0" baseline="0" noProof="0" dirty="0">
                <a:ln>
                  <a:noFill/>
                </a:ln>
                <a:solidFill>
                  <a:prstClr val="white"/>
                </a:solidFill>
                <a:effectLst/>
                <a:uLnTx/>
                <a:uFillTx/>
                <a:latin typeface="Segoe UI Light"/>
                <a:ea typeface="+mj-ea"/>
                <a:cs typeface="Segoe UI" panose="020B0502040204020203" pitchFamily="34" charset="0"/>
              </a:rPr>
              <a:t>get insights </a:t>
            </a:r>
            <a:r>
              <a:rPr kumimoji="0" lang="en-US" sz="1836" b="0" i="0" u="none" strike="noStrike" kern="0" cap="none" spc="0" normalizeH="0" baseline="0" noProof="0" dirty="0">
                <a:ln>
                  <a:noFill/>
                </a:ln>
                <a:solidFill>
                  <a:prstClr val="white"/>
                </a:solidFill>
                <a:effectLst/>
                <a:uLnTx/>
                <a:uFillTx/>
                <a:latin typeface="Segoe UI Light"/>
                <a:ea typeface="+mj-ea"/>
                <a:cs typeface="Segoe UI" panose="020B0502040204020203" pitchFamily="34" charset="0"/>
              </a:rPr>
              <a:t>on your customers</a:t>
            </a:r>
          </a:p>
        </p:txBody>
      </p:sp>
      <p:sp>
        <p:nvSpPr>
          <p:cNvPr id="23" name="Rectangle 22"/>
          <p:cNvSpPr/>
          <p:nvPr/>
        </p:nvSpPr>
        <p:spPr>
          <a:xfrm>
            <a:off x="186389" y="2095616"/>
            <a:ext cx="2999049" cy="1356846"/>
          </a:xfrm>
          <a:prstGeom prst="rect">
            <a:avLst/>
          </a:prstGeom>
          <a:solidFill>
            <a:srgbClr val="FB82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35890" rtl="0" eaLnBrk="1" fontAlgn="auto" latinLnBrk="0" hangingPunct="1">
              <a:lnSpc>
                <a:spcPct val="100000"/>
              </a:lnSpc>
              <a:spcBef>
                <a:spcPts val="0"/>
              </a:spcBef>
              <a:spcAft>
                <a:spcPts val="0"/>
              </a:spcAft>
              <a:buClrTx/>
              <a:buSzTx/>
              <a:buFontTx/>
              <a:buNone/>
              <a:tabLst/>
              <a:defRPr/>
            </a:pPr>
            <a:endParaRPr kumimoji="0" lang="en-US" sz="1113" b="0" i="0" u="none" strike="noStrike" kern="1200" cap="none" spc="0" normalizeH="0" baseline="0" noProof="0" dirty="0">
              <a:ln>
                <a:noFill/>
              </a:ln>
              <a:solidFill>
                <a:prstClr val="white"/>
              </a:solidFill>
              <a:effectLst/>
              <a:uLnTx/>
              <a:uFillTx/>
              <a:latin typeface="Segoe UI"/>
              <a:ea typeface="+mn-ea"/>
              <a:cs typeface="+mn-cs"/>
            </a:endParaRPr>
          </a:p>
        </p:txBody>
      </p:sp>
      <p:sp>
        <p:nvSpPr>
          <p:cNvPr id="26" name="Rectangle 25"/>
          <p:cNvSpPr/>
          <p:nvPr/>
        </p:nvSpPr>
        <p:spPr>
          <a:xfrm>
            <a:off x="186389" y="3478062"/>
            <a:ext cx="2999049" cy="1367268"/>
          </a:xfrm>
          <a:prstGeom prst="rect">
            <a:avLst/>
          </a:prstGeom>
          <a:solidFill>
            <a:srgbClr val="D247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35890" rtl="0" eaLnBrk="1" fontAlgn="auto" latinLnBrk="0" hangingPunct="1">
              <a:lnSpc>
                <a:spcPct val="100000"/>
              </a:lnSpc>
              <a:spcBef>
                <a:spcPts val="0"/>
              </a:spcBef>
              <a:spcAft>
                <a:spcPts val="0"/>
              </a:spcAft>
              <a:buClrTx/>
              <a:buSzTx/>
              <a:buFontTx/>
              <a:buNone/>
              <a:tabLst/>
              <a:defRPr/>
            </a:pPr>
            <a:endParaRPr kumimoji="0" lang="en-US" sz="1113" b="0" i="0" u="none" strike="noStrike" kern="1200" cap="none" spc="0" normalizeH="0" baseline="0" noProof="0" dirty="0">
              <a:ln>
                <a:noFill/>
              </a:ln>
              <a:solidFill>
                <a:prstClr val="white"/>
              </a:solidFill>
              <a:effectLst/>
              <a:uLnTx/>
              <a:uFillTx/>
              <a:latin typeface="Segoe UI"/>
              <a:ea typeface="+mn-ea"/>
              <a:cs typeface="+mn-cs"/>
            </a:endParaRPr>
          </a:p>
        </p:txBody>
      </p:sp>
      <p:sp>
        <p:nvSpPr>
          <p:cNvPr id="36" name="Rectangle 35"/>
          <p:cNvSpPr/>
          <p:nvPr/>
        </p:nvSpPr>
        <p:spPr>
          <a:xfrm>
            <a:off x="186389" y="1492652"/>
            <a:ext cx="12063699" cy="56733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35890" rtl="0" eaLnBrk="1" fontAlgn="auto" latinLnBrk="0" hangingPunct="1">
              <a:lnSpc>
                <a:spcPct val="100000"/>
              </a:lnSpc>
              <a:spcBef>
                <a:spcPts val="0"/>
              </a:spcBef>
              <a:spcAft>
                <a:spcPts val="0"/>
              </a:spcAft>
              <a:buClrTx/>
              <a:buSzTx/>
              <a:buFontTx/>
              <a:buNone/>
              <a:tabLst/>
              <a:defRPr/>
            </a:pPr>
            <a:endParaRPr kumimoji="0" lang="en-US" sz="1113" b="0" i="0" u="none" strike="noStrike" kern="1200" cap="none" spc="0" normalizeH="0" baseline="0" noProof="0" dirty="0">
              <a:ln>
                <a:noFill/>
              </a:ln>
              <a:solidFill>
                <a:prstClr val="white"/>
              </a:solidFill>
              <a:effectLst/>
              <a:uLnTx/>
              <a:uFillTx/>
              <a:latin typeface="Segoe UI"/>
              <a:ea typeface="+mn-ea"/>
              <a:cs typeface="+mn-cs"/>
            </a:endParaRPr>
          </a:p>
        </p:txBody>
      </p:sp>
      <p:sp>
        <p:nvSpPr>
          <p:cNvPr id="41" name="TextBox 40"/>
          <p:cNvSpPr txBox="1"/>
          <p:nvPr/>
        </p:nvSpPr>
        <p:spPr>
          <a:xfrm>
            <a:off x="320389" y="1504205"/>
            <a:ext cx="2856271" cy="521080"/>
          </a:xfrm>
          <a:prstGeom prst="rect">
            <a:avLst/>
          </a:prstGeom>
          <a:noFill/>
        </p:spPr>
        <p:txBody>
          <a:bodyPr wrap="square" rtlCol="0" anchor="ctr">
            <a:spAutoFit/>
          </a:bodyPr>
          <a:lstStyle/>
          <a:p>
            <a:pPr marL="0" marR="0" lvl="0" indent="0" algn="ctr" defTabSz="635890"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Discover</a:t>
            </a:r>
          </a:p>
          <a:p>
            <a:pPr marL="0" marR="0" lvl="0" indent="0" algn="ctr" defTabSz="635890"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The right partners</a:t>
            </a:r>
          </a:p>
        </p:txBody>
      </p:sp>
      <p:sp>
        <p:nvSpPr>
          <p:cNvPr id="42" name="TextBox 41"/>
          <p:cNvSpPr txBox="1"/>
          <p:nvPr/>
        </p:nvSpPr>
        <p:spPr>
          <a:xfrm>
            <a:off x="3215521" y="1504205"/>
            <a:ext cx="2989129" cy="521080"/>
          </a:xfrm>
          <a:prstGeom prst="rect">
            <a:avLst/>
          </a:prstGeom>
          <a:noFill/>
        </p:spPr>
        <p:txBody>
          <a:bodyPr wrap="square" rtlCol="0" anchor="ctr">
            <a:spAutoFit/>
          </a:bodyPr>
          <a:lstStyle/>
          <a:p>
            <a:pPr marL="0" marR="0" lvl="0" indent="0" algn="ctr" defTabSz="635890"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Share opportunities</a:t>
            </a:r>
          </a:p>
          <a:p>
            <a:pPr marL="0" marR="0" lvl="0" indent="0" algn="ctr" defTabSz="635890"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By using the relevant tools</a:t>
            </a:r>
          </a:p>
        </p:txBody>
      </p:sp>
      <p:sp>
        <p:nvSpPr>
          <p:cNvPr id="43" name="TextBox 42"/>
          <p:cNvSpPr txBox="1"/>
          <p:nvPr/>
        </p:nvSpPr>
        <p:spPr>
          <a:xfrm>
            <a:off x="6516915" y="1504205"/>
            <a:ext cx="2470355" cy="521080"/>
          </a:xfrm>
          <a:prstGeom prst="rect">
            <a:avLst/>
          </a:prstGeom>
          <a:noFill/>
        </p:spPr>
        <p:txBody>
          <a:bodyPr wrap="square" rtlCol="0" anchor="ctr">
            <a:spAutoFit/>
          </a:bodyPr>
          <a:lstStyle/>
          <a:p>
            <a:pPr marL="0" marR="0" lvl="0" indent="0" algn="ctr" defTabSz="635890"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Earn money</a:t>
            </a:r>
          </a:p>
          <a:p>
            <a:pPr marL="0" marR="0" lvl="0" indent="0" algn="ctr" defTabSz="635890"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Using all the available options</a:t>
            </a:r>
          </a:p>
        </p:txBody>
      </p:sp>
      <p:sp>
        <p:nvSpPr>
          <p:cNvPr id="44" name="TextBox 43"/>
          <p:cNvSpPr txBox="1"/>
          <p:nvPr/>
        </p:nvSpPr>
        <p:spPr>
          <a:xfrm>
            <a:off x="9490179" y="1511160"/>
            <a:ext cx="2568394" cy="521080"/>
          </a:xfrm>
          <a:prstGeom prst="rect">
            <a:avLst/>
          </a:prstGeom>
          <a:noFill/>
        </p:spPr>
        <p:txBody>
          <a:bodyPr wrap="square" rtlCol="0" anchor="ctr">
            <a:spAutoFit/>
          </a:bodyPr>
          <a:lstStyle/>
          <a:p>
            <a:pPr marL="0" marR="0" lvl="0" indent="0" algn="ctr" defTabSz="635890"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Get insights</a:t>
            </a:r>
          </a:p>
          <a:p>
            <a:pPr marL="0" marR="0" lvl="0" indent="0" algn="ctr" defTabSz="635890"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or ISV activity in your accounts</a:t>
            </a:r>
          </a:p>
        </p:txBody>
      </p:sp>
      <p:sp>
        <p:nvSpPr>
          <p:cNvPr id="55" name="TextBox 54"/>
          <p:cNvSpPr txBox="1"/>
          <p:nvPr/>
        </p:nvSpPr>
        <p:spPr>
          <a:xfrm>
            <a:off x="1053821" y="2284736"/>
            <a:ext cx="2044234" cy="1006322"/>
          </a:xfrm>
          <a:prstGeom prst="rect">
            <a:avLst/>
          </a:prstGeom>
          <a:noFill/>
        </p:spPr>
        <p:txBody>
          <a:bodyPr wrap="square" rtlCol="0">
            <a:spAutoFit/>
          </a:bodyPr>
          <a:lstStyle/>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Find prioritized ISVs</a:t>
            </a:r>
          </a:p>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113"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or your subsidiary, district or area by asking your STU lead and attending all the match-making activities</a:t>
            </a:r>
            <a:endParaRPr kumimoji="0" lang="en-US" sz="1088"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60" name="TextBox 59"/>
          <p:cNvSpPr txBox="1"/>
          <p:nvPr/>
        </p:nvSpPr>
        <p:spPr>
          <a:xfrm>
            <a:off x="221108" y="4932875"/>
            <a:ext cx="1803253" cy="870167"/>
          </a:xfrm>
          <a:prstGeom prst="rect">
            <a:avLst/>
          </a:prstGeom>
          <a:noFill/>
        </p:spPr>
        <p:txBody>
          <a:bodyPr wrap="square" rtlCol="0">
            <a:spAutoFit/>
          </a:bodyPr>
          <a:lstStyle/>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2175"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90</a:t>
            </a:r>
            <a:r>
              <a:rPr kumimoji="0" lang="en-US" sz="1632"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MM</a:t>
            </a:r>
            <a:r>
              <a:rPr kumimoji="0" lang="en-US" sz="2224"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 </a:t>
            </a:r>
          </a:p>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Microsoft IDs</a:t>
            </a:r>
            <a:r>
              <a:rPr kumimoji="0" lang="en-US" sz="1360" b="0" i="0" u="none" strike="noStrike" kern="1200" cap="none" spc="0" normalizeH="0" baseline="3000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2</a:t>
            </a:r>
            <a:r>
              <a:rPr kumimoji="0" lang="en-US" sz="1360" b="0" i="0" u="none" strike="noStrike" kern="1200" cap="none" spc="0" normalizeH="0" baseline="0" noProof="0" dirty="0">
                <a:ln>
                  <a:noFill/>
                </a:ln>
                <a:solidFill>
                  <a:srgbClr val="FFFF00"/>
                </a:solidFill>
                <a:effectLst/>
                <a:uLnTx/>
                <a:uFillTx/>
                <a:latin typeface="Segoe UI Semibold" panose="020B0702040204020203" pitchFamily="34" charset="0"/>
                <a:ea typeface="+mn-ea"/>
                <a:cs typeface="Segoe UI Semibold" panose="020B0702040204020203" pitchFamily="34" charset="0"/>
              </a:rPr>
              <a:t> </a:t>
            </a:r>
          </a:p>
          <a:p>
            <a:pPr marL="0" marR="0" lvl="0" indent="0" algn="l" defTabSz="635890" rtl="0" eaLnBrk="1" fontAlgn="auto" latinLnBrk="0" hangingPunct="1">
              <a:lnSpc>
                <a:spcPct val="100000"/>
              </a:lnSpc>
              <a:spcBef>
                <a:spcPts val="0"/>
              </a:spcBef>
              <a:spcAft>
                <a:spcPts val="0"/>
              </a:spcAft>
              <a:buClrTx/>
              <a:buSzTx/>
              <a:buFontTx/>
              <a:buNone/>
              <a:tabLst/>
              <a:defRPr/>
            </a:pPr>
            <a:endParaRPr kumimoji="0" lang="en-US" sz="1360" b="0" i="0" u="none" strike="noStrike" kern="1200" cap="none" spc="0" normalizeH="0" baseline="0" noProof="0" dirty="0">
              <a:ln>
                <a:noFill/>
              </a:ln>
              <a:solidFill>
                <a:srgbClr val="FFFF00"/>
              </a:solidFill>
              <a:effectLst/>
              <a:uLnTx/>
              <a:uFillTx/>
              <a:latin typeface="Segoe UI Light" panose="020B0502040204020203" pitchFamily="34" charset="0"/>
              <a:ea typeface="+mn-ea"/>
              <a:cs typeface="Segoe UI Light" panose="020B0502040204020203" pitchFamily="34" charset="0"/>
            </a:endParaRPr>
          </a:p>
        </p:txBody>
      </p:sp>
      <p:sp>
        <p:nvSpPr>
          <p:cNvPr id="38" name="Rectangle 37"/>
          <p:cNvSpPr/>
          <p:nvPr/>
        </p:nvSpPr>
        <p:spPr>
          <a:xfrm>
            <a:off x="186387" y="4877792"/>
            <a:ext cx="4028281" cy="183194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35890" rtl="0" eaLnBrk="1" fontAlgn="auto" latinLnBrk="0" hangingPunct="1">
              <a:lnSpc>
                <a:spcPct val="100000"/>
              </a:lnSpc>
              <a:spcBef>
                <a:spcPts val="0"/>
              </a:spcBef>
              <a:spcAft>
                <a:spcPts val="0"/>
              </a:spcAft>
              <a:buClrTx/>
              <a:buSzTx/>
              <a:buFontTx/>
              <a:buNone/>
              <a:tabLst/>
              <a:defRPr/>
            </a:pPr>
            <a:endParaRPr kumimoji="0" lang="en-US" sz="1113" b="0" i="0" u="none" strike="noStrike" kern="1200" cap="none" spc="0" normalizeH="0" baseline="0" noProof="0" dirty="0">
              <a:ln>
                <a:noFill/>
              </a:ln>
              <a:solidFill>
                <a:prstClr val="white"/>
              </a:solidFill>
              <a:effectLst/>
              <a:uLnTx/>
              <a:uFillTx/>
              <a:latin typeface="Segoe UI"/>
              <a:ea typeface="+mn-ea"/>
              <a:cs typeface="+mn-cs"/>
            </a:endParaRPr>
          </a:p>
        </p:txBody>
      </p:sp>
      <p:sp>
        <p:nvSpPr>
          <p:cNvPr id="72" name="Rectangle 71"/>
          <p:cNvSpPr/>
          <p:nvPr/>
        </p:nvSpPr>
        <p:spPr>
          <a:xfrm>
            <a:off x="248541" y="5673515"/>
            <a:ext cx="3521793" cy="646972"/>
          </a:xfrm>
          <a:prstGeom prst="rect">
            <a:avLst/>
          </a:prstGeom>
        </p:spPr>
        <p:txBody>
          <a:bodyPr wrap="square">
            <a:spAutoFit/>
          </a:bodyPr>
          <a:lstStyle/>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Have questions?</a:t>
            </a:r>
          </a:p>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Use </a:t>
            </a:r>
            <a:r>
              <a:rPr kumimoji="0" lang="en-US" sz="1122" b="1" i="0" u="none" strike="noStrike" kern="1200" cap="none" spc="0" normalizeH="0" baseline="0" noProof="0" dirty="0">
                <a:ln w="3175">
                  <a:solidFill>
                    <a:srgbClr val="6DD9FF"/>
                  </a:solidFill>
                </a:ln>
                <a:solidFill>
                  <a:srgbClr val="FFFFFF"/>
                </a:solidFill>
                <a:effectLst/>
                <a:uLnTx/>
                <a:uFillTx/>
                <a:latin typeface="Segoe UI Light" panose="020B0502040204020203" pitchFamily="34" charset="0"/>
                <a:ea typeface="+mn-ea"/>
                <a:cs typeface="Segoe UI Light" panose="020B0502040204020203" pitchFamily="34" charset="0"/>
              </a:rPr>
              <a:t>cosell@microsoft.com </a:t>
            </a:r>
            <a:r>
              <a:rPr kumimoji="0" lang="en-US" sz="1122"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to send any questions</a:t>
            </a:r>
          </a:p>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Use our</a:t>
            </a:r>
            <a:r>
              <a:rPr kumimoji="0" lang="en-US" sz="1122" b="1" i="0" u="none" strike="noStrike" kern="1200" cap="none" spc="0" normalizeH="0" baseline="0" noProof="0" dirty="0">
                <a:ln w="3175">
                  <a:solidFill>
                    <a:srgbClr val="6DD9FF"/>
                  </a:solidFill>
                </a:ln>
                <a:noFill/>
                <a:effectLst/>
                <a:uLnTx/>
                <a:uFillTx/>
                <a:latin typeface="Segoe UI Light" panose="020B0502040204020203" pitchFamily="34" charset="0"/>
                <a:ea typeface="+mn-ea"/>
                <a:cs typeface="Segoe UI Light" panose="020B0502040204020203" pitchFamily="34" charset="0"/>
              </a:rPr>
              <a:t> </a:t>
            </a:r>
            <a:r>
              <a:rPr kumimoji="0" lang="en-US" sz="1122" b="1" i="0" u="none" strike="noStrike" kern="1200" cap="none" spc="0" normalizeH="0" baseline="0" noProof="0" dirty="0">
                <a:ln w="3175">
                  <a:solidFill>
                    <a:srgbClr val="6DD9FF"/>
                  </a:solidFill>
                </a:ln>
                <a:solidFill>
                  <a:srgbClr val="FFFFFF"/>
                </a:solidFill>
                <a:effectLst/>
                <a:uLnTx/>
                <a:uFillTx/>
                <a:latin typeface="Segoe UI Light" panose="020B0502040204020203" pitchFamily="34" charset="0"/>
                <a:ea typeface="+mn-ea"/>
                <a:cs typeface="Segoe UI Light" panose="020B0502040204020203" pitchFamily="34" charset="0"/>
              </a:rPr>
              <a:t>ISV Co-Sell Yammer group </a:t>
            </a:r>
            <a:r>
              <a:rPr kumimoji="0" lang="en-US" sz="1122"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to start a discussion</a:t>
            </a:r>
            <a:endParaRPr kumimoji="0" lang="en-US" sz="1122"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83" name="eye ring"/>
          <p:cNvSpPr/>
          <p:nvPr/>
        </p:nvSpPr>
        <p:spPr bwMode="auto">
          <a:xfrm>
            <a:off x="365256" y="5061197"/>
            <a:ext cx="495058" cy="495058"/>
          </a:xfrm>
          <a:custGeom>
            <a:avLst/>
            <a:gdLst/>
            <a:ahLst/>
            <a:cxnLst/>
            <a:rect l="l" t="t" r="r" b="b"/>
            <a:pathLst>
              <a:path w="728248" h="728248">
                <a:moveTo>
                  <a:pt x="364124" y="48669"/>
                </a:moveTo>
                <a:cubicBezTo>
                  <a:pt x="189903" y="48669"/>
                  <a:pt x="48669" y="189903"/>
                  <a:pt x="48669" y="364124"/>
                </a:cubicBezTo>
                <a:cubicBezTo>
                  <a:pt x="48669" y="538345"/>
                  <a:pt x="189903" y="679579"/>
                  <a:pt x="364124" y="679579"/>
                </a:cubicBezTo>
                <a:cubicBezTo>
                  <a:pt x="538345" y="679579"/>
                  <a:pt x="679579" y="538345"/>
                  <a:pt x="679579" y="364124"/>
                </a:cubicBezTo>
                <a:cubicBezTo>
                  <a:pt x="679579" y="189903"/>
                  <a:pt x="538345" y="48669"/>
                  <a:pt x="364124" y="48669"/>
                </a:cubicBezTo>
                <a:close/>
                <a:moveTo>
                  <a:pt x="364124" y="0"/>
                </a:moveTo>
                <a:cubicBezTo>
                  <a:pt x="565224" y="0"/>
                  <a:pt x="728248" y="163024"/>
                  <a:pt x="728248" y="364124"/>
                </a:cubicBezTo>
                <a:cubicBezTo>
                  <a:pt x="728248" y="565224"/>
                  <a:pt x="565224" y="728248"/>
                  <a:pt x="364124" y="728248"/>
                </a:cubicBezTo>
                <a:cubicBezTo>
                  <a:pt x="163024" y="728248"/>
                  <a:pt x="0" y="565224"/>
                  <a:pt x="0" y="364124"/>
                </a:cubicBezTo>
                <a:cubicBezTo>
                  <a:pt x="0" y="163024"/>
                  <a:pt x="163024" y="0"/>
                  <a:pt x="3641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7173" tIns="101739" rIns="127173" bIns="101739" numCol="1" spcCol="0" rtlCol="0" fromWordArt="0" anchor="t" anchorCtr="0" forceAA="0" compatLnSpc="1">
            <a:prstTxWarp prst="textNoShape">
              <a:avLst/>
            </a:prstTxWarp>
            <a:noAutofit/>
          </a:bodyPr>
          <a:lstStyle/>
          <a:p>
            <a:pPr marL="0" marR="0" lvl="0" indent="0" algn="ctr" defTabSz="648458" rtl="0" eaLnBrk="1" fontAlgn="base" latinLnBrk="0" hangingPunct="1">
              <a:lnSpc>
                <a:spcPct val="90000"/>
              </a:lnSpc>
              <a:spcBef>
                <a:spcPct val="0"/>
              </a:spcBef>
              <a:spcAft>
                <a:spcPct val="0"/>
              </a:spcAft>
              <a:buClrTx/>
              <a:buSzTx/>
              <a:buFontTx/>
              <a:buNone/>
              <a:tabLst/>
              <a:defRPr/>
            </a:pPr>
            <a:endParaRPr kumimoji="0" lang="en-US" sz="139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p:cNvGrpSpPr/>
          <p:nvPr/>
        </p:nvGrpSpPr>
        <p:grpSpPr>
          <a:xfrm>
            <a:off x="4256671" y="4871455"/>
            <a:ext cx="3937920" cy="1841209"/>
            <a:chOff x="8430151" y="4773503"/>
            <a:chExt cx="3571842" cy="1805271"/>
          </a:xfrm>
        </p:grpSpPr>
        <p:sp>
          <p:nvSpPr>
            <p:cNvPr id="90" name="Rectangle 89">
              <a:hlinkClick r:id="rId3"/>
            </p:cNvPr>
            <p:cNvSpPr/>
            <p:nvPr/>
          </p:nvSpPr>
          <p:spPr>
            <a:xfrm>
              <a:off x="8430151" y="4773503"/>
              <a:ext cx="3565217" cy="1796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35890" rtl="0" eaLnBrk="1" fontAlgn="auto" latinLnBrk="0" hangingPunct="1">
                <a:lnSpc>
                  <a:spcPct val="100000"/>
                </a:lnSpc>
                <a:spcBef>
                  <a:spcPts val="0"/>
                </a:spcBef>
                <a:spcAft>
                  <a:spcPts val="0"/>
                </a:spcAft>
                <a:buClrTx/>
                <a:buSzTx/>
                <a:buFontTx/>
                <a:buNone/>
                <a:tabLst/>
                <a:defRPr/>
              </a:pPr>
              <a:endParaRPr kumimoji="0" lang="en-US" sz="1113" b="0" i="0" u="none" strike="noStrike" kern="1200" cap="none" spc="0" normalizeH="0" baseline="0" noProof="0" dirty="0">
                <a:ln>
                  <a:noFill/>
                </a:ln>
                <a:solidFill>
                  <a:prstClr val="white"/>
                </a:solidFill>
                <a:effectLst/>
                <a:uLnTx/>
                <a:uFillTx/>
                <a:latin typeface="Segoe UI"/>
                <a:ea typeface="+mn-ea"/>
                <a:cs typeface="+mn-cs"/>
              </a:endParaRPr>
            </a:p>
          </p:txBody>
        </p:sp>
        <p:sp>
          <p:nvSpPr>
            <p:cNvPr id="84" name="Rectangle 83"/>
            <p:cNvSpPr/>
            <p:nvPr/>
          </p:nvSpPr>
          <p:spPr>
            <a:xfrm>
              <a:off x="8436776" y="4779716"/>
              <a:ext cx="3565217" cy="179905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35890" rtl="0" eaLnBrk="1" fontAlgn="auto" latinLnBrk="0" hangingPunct="1">
                <a:lnSpc>
                  <a:spcPct val="100000"/>
                </a:lnSpc>
                <a:spcBef>
                  <a:spcPts val="0"/>
                </a:spcBef>
                <a:spcAft>
                  <a:spcPts val="0"/>
                </a:spcAft>
                <a:buClrTx/>
                <a:buSzTx/>
                <a:buFontTx/>
                <a:buNone/>
                <a:tabLst/>
                <a:defRPr/>
              </a:pPr>
              <a:endParaRPr kumimoji="0" lang="en-US" sz="1113" b="0" i="0" u="none" strike="noStrike" kern="1200" cap="none" spc="0" normalizeH="0" baseline="0" noProof="0" dirty="0">
                <a:ln>
                  <a:noFill/>
                </a:ln>
                <a:solidFill>
                  <a:prstClr val="white"/>
                </a:solidFill>
                <a:effectLst/>
                <a:uLnTx/>
                <a:uFillTx/>
                <a:latin typeface="Segoe UI"/>
                <a:ea typeface="+mn-ea"/>
                <a:cs typeface="+mn-cs"/>
              </a:endParaRPr>
            </a:p>
          </p:txBody>
        </p:sp>
        <p:sp>
          <p:nvSpPr>
            <p:cNvPr id="57" name="TextBox 56"/>
            <p:cNvSpPr txBox="1"/>
            <p:nvPr/>
          </p:nvSpPr>
          <p:spPr>
            <a:xfrm>
              <a:off x="8583572" y="5641469"/>
              <a:ext cx="3252335" cy="406265"/>
            </a:xfrm>
            <a:prstGeom prst="rect">
              <a:avLst/>
            </a:prstGeom>
            <a:noFill/>
          </p:spPr>
          <p:txBody>
            <a:bodyPr wrap="square" rtlCol="0">
              <a:spAutoFit/>
            </a:bodyPr>
            <a:lstStyle/>
            <a:p>
              <a:pPr marL="0" marR="0" lvl="0" indent="0" algn="ctr" defTabSz="635890"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Semibold" panose="020B0702040204020203" pitchFamily="34" charset="0"/>
                  <a:ea typeface="+mn-ea"/>
                  <a:cs typeface="Segoe UI Semibold" panose="020B0702040204020203" pitchFamily="34" charset="0"/>
                </a:rPr>
                <a:t>AKA.MS/ISVPLAYBOOK</a:t>
              </a:r>
            </a:p>
          </p:txBody>
        </p:sp>
        <p:sp>
          <p:nvSpPr>
            <p:cNvPr id="59" name="Rectangle 58"/>
            <p:cNvSpPr/>
            <p:nvPr/>
          </p:nvSpPr>
          <p:spPr>
            <a:xfrm>
              <a:off x="8474873" y="5183918"/>
              <a:ext cx="3527120" cy="343492"/>
            </a:xfrm>
            <a:prstGeom prst="rect">
              <a:avLst/>
            </a:prstGeom>
          </p:spPr>
          <p:txBody>
            <a:bodyPr wrap="square">
              <a:spAutoFit/>
            </a:bodyPr>
            <a:lstStyle/>
            <a:p>
              <a:pPr marL="0" marR="0" lvl="0" indent="0" algn="ctr" defTabSz="635890"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Want to know more?</a:t>
              </a:r>
              <a:endParaRPr kumimoji="0" lang="en-US" sz="1632"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06" name="Rectangle 105"/>
          <p:cNvSpPr/>
          <p:nvPr/>
        </p:nvSpPr>
        <p:spPr>
          <a:xfrm>
            <a:off x="3215740" y="2095616"/>
            <a:ext cx="2999049" cy="135684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35890" rtl="0" eaLnBrk="1" fontAlgn="auto" latinLnBrk="0" hangingPunct="1">
              <a:lnSpc>
                <a:spcPct val="100000"/>
              </a:lnSpc>
              <a:spcBef>
                <a:spcPts val="0"/>
              </a:spcBef>
              <a:spcAft>
                <a:spcPts val="0"/>
              </a:spcAft>
              <a:buClrTx/>
              <a:buSzTx/>
              <a:buFontTx/>
              <a:buNone/>
              <a:tabLst/>
              <a:defRPr/>
            </a:pPr>
            <a:endParaRPr kumimoji="0" lang="en-US" sz="1113" b="0" i="0" u="none" strike="noStrike" kern="1200" cap="none" spc="0" normalizeH="0" baseline="0" noProof="0" dirty="0">
              <a:ln>
                <a:noFill/>
              </a:ln>
              <a:solidFill>
                <a:prstClr val="white"/>
              </a:solidFill>
              <a:effectLst/>
              <a:uLnTx/>
              <a:uFillTx/>
              <a:latin typeface="Segoe UI"/>
              <a:ea typeface="+mn-ea"/>
              <a:cs typeface="+mn-cs"/>
            </a:endParaRPr>
          </a:p>
        </p:txBody>
      </p:sp>
      <p:sp>
        <p:nvSpPr>
          <p:cNvPr id="107" name="Rectangle 106"/>
          <p:cNvSpPr/>
          <p:nvPr/>
        </p:nvSpPr>
        <p:spPr>
          <a:xfrm>
            <a:off x="3215740" y="3478062"/>
            <a:ext cx="2999049" cy="1367268"/>
          </a:xfrm>
          <a:prstGeom prst="rect">
            <a:avLst/>
          </a:prstGeom>
          <a:solidFill>
            <a:srgbClr val="0086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35890" rtl="0" eaLnBrk="1" fontAlgn="auto" latinLnBrk="0" hangingPunct="1">
              <a:lnSpc>
                <a:spcPct val="100000"/>
              </a:lnSpc>
              <a:spcBef>
                <a:spcPts val="0"/>
              </a:spcBef>
              <a:spcAft>
                <a:spcPts val="0"/>
              </a:spcAft>
              <a:buClrTx/>
              <a:buSzTx/>
              <a:buFontTx/>
              <a:buNone/>
              <a:tabLst/>
              <a:defRPr/>
            </a:pPr>
            <a:endParaRPr kumimoji="0" lang="en-US" sz="1113" b="0" i="0" u="none" strike="noStrike" kern="1200" cap="none" spc="0" normalizeH="0" baseline="0" noProof="0" dirty="0">
              <a:ln>
                <a:noFill/>
              </a:ln>
              <a:solidFill>
                <a:prstClr val="white"/>
              </a:solidFill>
              <a:effectLst/>
              <a:uLnTx/>
              <a:uFillTx/>
              <a:latin typeface="Segoe UI"/>
              <a:ea typeface="+mn-ea"/>
              <a:cs typeface="+mn-cs"/>
            </a:endParaRPr>
          </a:p>
        </p:txBody>
      </p:sp>
      <p:sp>
        <p:nvSpPr>
          <p:cNvPr id="108" name="Rectangle 107"/>
          <p:cNvSpPr/>
          <p:nvPr/>
        </p:nvSpPr>
        <p:spPr>
          <a:xfrm>
            <a:off x="6245092" y="2092841"/>
            <a:ext cx="2999049" cy="1356846"/>
          </a:xfrm>
          <a:prstGeom prst="rect">
            <a:avLst/>
          </a:prstGeom>
          <a:solidFill>
            <a:srgbClr val="FF5D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35890" rtl="0" eaLnBrk="1" fontAlgn="auto" latinLnBrk="0" hangingPunct="1">
              <a:lnSpc>
                <a:spcPct val="100000"/>
              </a:lnSpc>
              <a:spcBef>
                <a:spcPts val="0"/>
              </a:spcBef>
              <a:spcAft>
                <a:spcPts val="0"/>
              </a:spcAft>
              <a:buClrTx/>
              <a:buSzTx/>
              <a:buFontTx/>
              <a:buNone/>
              <a:tabLst/>
              <a:defRPr/>
            </a:pPr>
            <a:endParaRPr kumimoji="0" lang="en-US" sz="1113" b="0" i="0" u="none" strike="noStrike" kern="1200" cap="none" spc="0" normalizeH="0" baseline="0" noProof="0" dirty="0">
              <a:ln>
                <a:noFill/>
              </a:ln>
              <a:solidFill>
                <a:prstClr val="white"/>
              </a:solidFill>
              <a:effectLst/>
              <a:uLnTx/>
              <a:uFillTx/>
              <a:latin typeface="Segoe UI"/>
              <a:ea typeface="+mn-ea"/>
              <a:cs typeface="+mn-cs"/>
            </a:endParaRPr>
          </a:p>
        </p:txBody>
      </p:sp>
      <p:sp>
        <p:nvSpPr>
          <p:cNvPr id="109" name="Rectangle 108"/>
          <p:cNvSpPr/>
          <p:nvPr/>
        </p:nvSpPr>
        <p:spPr>
          <a:xfrm>
            <a:off x="6245092" y="3475288"/>
            <a:ext cx="2999049" cy="1367268"/>
          </a:xfrm>
          <a:prstGeom prst="rect">
            <a:avLst/>
          </a:prstGeom>
          <a:solidFill>
            <a:srgbClr val="9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35890" rtl="0" eaLnBrk="1" fontAlgn="auto" latinLnBrk="0" hangingPunct="1">
              <a:lnSpc>
                <a:spcPct val="100000"/>
              </a:lnSpc>
              <a:spcBef>
                <a:spcPts val="0"/>
              </a:spcBef>
              <a:spcAft>
                <a:spcPts val="0"/>
              </a:spcAft>
              <a:buClrTx/>
              <a:buSzTx/>
              <a:buFontTx/>
              <a:buNone/>
              <a:tabLst/>
              <a:defRPr/>
            </a:pPr>
            <a:endParaRPr kumimoji="0" lang="en-US" sz="1113" b="0" i="0" u="none" strike="noStrike" kern="1200" cap="none" spc="0" normalizeH="0" baseline="0" noProof="0" dirty="0">
              <a:ln>
                <a:noFill/>
              </a:ln>
              <a:solidFill>
                <a:prstClr val="white"/>
              </a:solidFill>
              <a:effectLst/>
              <a:uLnTx/>
              <a:uFillTx/>
              <a:latin typeface="Segoe UI"/>
              <a:ea typeface="+mn-ea"/>
              <a:cs typeface="+mn-cs"/>
            </a:endParaRPr>
          </a:p>
        </p:txBody>
      </p:sp>
      <p:sp>
        <p:nvSpPr>
          <p:cNvPr id="110" name="Rectangle 109"/>
          <p:cNvSpPr/>
          <p:nvPr/>
        </p:nvSpPr>
        <p:spPr>
          <a:xfrm>
            <a:off x="9270822" y="2093802"/>
            <a:ext cx="2970982" cy="1356846"/>
          </a:xfrm>
          <a:prstGeom prst="rect">
            <a:avLst/>
          </a:prstGeom>
          <a:solidFill>
            <a:srgbClr val="9751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35890" rtl="0" eaLnBrk="1" fontAlgn="auto" latinLnBrk="0" hangingPunct="1">
              <a:lnSpc>
                <a:spcPct val="100000"/>
              </a:lnSpc>
              <a:spcBef>
                <a:spcPts val="0"/>
              </a:spcBef>
              <a:spcAft>
                <a:spcPts val="0"/>
              </a:spcAft>
              <a:buClrTx/>
              <a:buSzTx/>
              <a:buFontTx/>
              <a:buNone/>
              <a:tabLst/>
              <a:defRPr/>
            </a:pPr>
            <a:endParaRPr kumimoji="0" lang="en-US" sz="1113" b="0" i="0" u="none" strike="noStrike" kern="1200" cap="none" spc="0" normalizeH="0" baseline="0" noProof="0" dirty="0">
              <a:ln>
                <a:noFill/>
              </a:ln>
              <a:solidFill>
                <a:prstClr val="white"/>
              </a:solidFill>
              <a:effectLst/>
              <a:uLnTx/>
              <a:uFillTx/>
              <a:latin typeface="Segoe UI"/>
              <a:ea typeface="+mn-ea"/>
              <a:cs typeface="+mn-cs"/>
            </a:endParaRPr>
          </a:p>
        </p:txBody>
      </p:sp>
      <p:sp>
        <p:nvSpPr>
          <p:cNvPr id="111" name="Rectangle 110"/>
          <p:cNvSpPr/>
          <p:nvPr/>
        </p:nvSpPr>
        <p:spPr>
          <a:xfrm>
            <a:off x="9270822" y="3476249"/>
            <a:ext cx="2970982" cy="1367268"/>
          </a:xfrm>
          <a:prstGeom prst="rect">
            <a:avLst/>
          </a:prstGeom>
          <a:solidFill>
            <a:srgbClr val="5F28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35890" rtl="0" eaLnBrk="1" fontAlgn="auto" latinLnBrk="0" hangingPunct="1">
              <a:lnSpc>
                <a:spcPct val="100000"/>
              </a:lnSpc>
              <a:spcBef>
                <a:spcPts val="0"/>
              </a:spcBef>
              <a:spcAft>
                <a:spcPts val="0"/>
              </a:spcAft>
              <a:buClrTx/>
              <a:buSzTx/>
              <a:buFontTx/>
              <a:buNone/>
              <a:tabLst/>
              <a:defRPr/>
            </a:pPr>
            <a:endParaRPr kumimoji="0" lang="en-US" sz="1113" b="0" i="0" u="none" strike="noStrike" kern="1200" cap="none" spc="0" normalizeH="0" baseline="0" noProof="0" dirty="0">
              <a:ln>
                <a:noFill/>
              </a:ln>
              <a:solidFill>
                <a:prstClr val="white"/>
              </a:solidFill>
              <a:effectLst/>
              <a:uLnTx/>
              <a:uFillTx/>
              <a:latin typeface="Segoe UI"/>
              <a:ea typeface="+mn-ea"/>
              <a:cs typeface="+mn-cs"/>
            </a:endParaRPr>
          </a:p>
        </p:txBody>
      </p:sp>
      <p:sp>
        <p:nvSpPr>
          <p:cNvPr id="8" name="Rectangle 7">
            <a:hlinkClick r:id="rId4"/>
          </p:cNvPr>
          <p:cNvSpPr/>
          <p:nvPr/>
        </p:nvSpPr>
        <p:spPr>
          <a:xfrm>
            <a:off x="607283" y="5951096"/>
            <a:ext cx="1304808" cy="1463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2" name="Rectangle 111">
            <a:hlinkClick r:id="rId5"/>
          </p:cNvPr>
          <p:cNvSpPr/>
          <p:nvPr/>
        </p:nvSpPr>
        <p:spPr>
          <a:xfrm>
            <a:off x="820647" y="6108960"/>
            <a:ext cx="1630932" cy="180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0" name="TextBox 9"/>
          <p:cNvSpPr txBox="1"/>
          <p:nvPr/>
        </p:nvSpPr>
        <p:spPr>
          <a:xfrm>
            <a:off x="439707" y="5036456"/>
            <a:ext cx="346930" cy="542399"/>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dirty="0">
                <a:ln>
                  <a:noFill/>
                </a:ln>
                <a:solidFill>
                  <a:srgbClr val="FFFFFF"/>
                </a:solidFill>
                <a:effectLst/>
                <a:uLnTx/>
                <a:uFillTx/>
                <a:latin typeface="Agency FB" panose="020B0503020202020204" pitchFamily="34" charset="0"/>
                <a:ea typeface="+mn-ea"/>
                <a:cs typeface="+mn-cs"/>
              </a:rPr>
              <a:t>?</a:t>
            </a:r>
          </a:p>
        </p:txBody>
      </p:sp>
      <p:sp>
        <p:nvSpPr>
          <p:cNvPr id="113" name="TextBox 112"/>
          <p:cNvSpPr txBox="1"/>
          <p:nvPr/>
        </p:nvSpPr>
        <p:spPr>
          <a:xfrm>
            <a:off x="1053820" y="3670652"/>
            <a:ext cx="2044234" cy="865524"/>
          </a:xfrm>
          <a:prstGeom prst="rect">
            <a:avLst/>
          </a:prstGeom>
          <a:noFill/>
        </p:spPr>
        <p:txBody>
          <a:bodyPr wrap="square" rtlCol="0">
            <a:spAutoFit/>
          </a:bodyPr>
          <a:lstStyle/>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Find out more</a:t>
            </a:r>
          </a:p>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113"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By searching </a:t>
            </a:r>
            <a:r>
              <a:rPr kumimoji="0" lang="en-US" sz="1224"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ppCatalog</a:t>
            </a:r>
            <a:r>
              <a:rPr kumimoji="0" lang="en-US" sz="1113"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 for</a:t>
            </a:r>
            <a:r>
              <a:rPr kumimoji="0" lang="en-US" sz="1113"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the full list of solutions available WW</a:t>
            </a:r>
            <a:endParaRPr kumimoji="0" lang="en-US" sz="108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14" name="TextBox 113"/>
          <p:cNvSpPr txBox="1"/>
          <p:nvPr/>
        </p:nvSpPr>
        <p:spPr>
          <a:xfrm>
            <a:off x="4106274" y="2278180"/>
            <a:ext cx="2044234" cy="1005342"/>
          </a:xfrm>
          <a:prstGeom prst="rect">
            <a:avLst/>
          </a:prstGeom>
          <a:noFill/>
        </p:spPr>
        <p:txBody>
          <a:bodyPr wrap="square" rtlCol="0">
            <a:spAutoFit/>
          </a:bodyPr>
          <a:lstStyle/>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Use MSX</a:t>
            </a:r>
          </a:p>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113"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or opportunity sharing. Takes 90 seconds to do it! You can use the </a:t>
            </a:r>
            <a:r>
              <a:rPr kumimoji="0" lang="en-US" sz="1122"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MSX guidance </a:t>
            </a:r>
            <a:r>
              <a:rPr kumimoji="0" lang="en-US" sz="1113"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to learn how to do it</a:t>
            </a:r>
            <a:endParaRPr kumimoji="0" lang="en-US" sz="108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15" name="TextBox 114"/>
          <p:cNvSpPr txBox="1"/>
          <p:nvPr/>
        </p:nvSpPr>
        <p:spPr>
          <a:xfrm>
            <a:off x="4106276" y="3632887"/>
            <a:ext cx="2044234" cy="1006322"/>
          </a:xfrm>
          <a:prstGeom prst="rect">
            <a:avLst/>
          </a:prstGeom>
          <a:noFill/>
        </p:spPr>
        <p:txBody>
          <a:bodyPr wrap="square" rtlCol="0">
            <a:spAutoFit/>
          </a:bodyPr>
          <a:lstStyle/>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Maintain your pipeline</a:t>
            </a:r>
          </a:p>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113"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By interacting with the customer and with the ISV so you can ensure a strong close rate to drive consumption</a:t>
            </a:r>
            <a:endParaRPr kumimoji="0" lang="en-US" sz="108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17" name="TextBox 116"/>
          <p:cNvSpPr txBox="1"/>
          <p:nvPr/>
        </p:nvSpPr>
        <p:spPr>
          <a:xfrm>
            <a:off x="7170521" y="2203064"/>
            <a:ext cx="2044234" cy="1180866"/>
          </a:xfrm>
          <a:prstGeom prst="rect">
            <a:avLst/>
          </a:prstGeom>
          <a:noFill/>
        </p:spPr>
        <p:txBody>
          <a:bodyPr wrap="square" rtlCol="0">
            <a:spAutoFit/>
          </a:bodyPr>
          <a:lstStyle/>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Retire Azure quota</a:t>
            </a:r>
          </a:p>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113"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by sharing opportunities with ISVs </a:t>
            </a:r>
            <a:r>
              <a:rPr kumimoji="0" lang="en-US" sz="1122"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up to 50K) </a:t>
            </a:r>
            <a:r>
              <a:rPr kumimoji="0" lang="en-US" sz="1113"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nd by closing deals with them </a:t>
            </a:r>
            <a:r>
              <a:rPr kumimoji="0" lang="en-US" sz="1122"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10% of the ISV Total Contract Value!)</a:t>
            </a:r>
            <a:endParaRPr kumimoji="0" lang="en-US" sz="1088"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118" name="TextBox 117"/>
          <p:cNvSpPr txBox="1"/>
          <p:nvPr/>
        </p:nvSpPr>
        <p:spPr>
          <a:xfrm>
            <a:off x="7170521" y="3660608"/>
            <a:ext cx="2044234" cy="1001352"/>
          </a:xfrm>
          <a:prstGeom prst="rect">
            <a:avLst/>
          </a:prstGeom>
          <a:noFill/>
        </p:spPr>
        <p:txBody>
          <a:bodyPr wrap="square" rtlCol="0">
            <a:spAutoFit/>
          </a:bodyPr>
          <a:lstStyle/>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Earn cash</a:t>
            </a:r>
          </a:p>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by being the first sellers to close a deal that was shared by you </a:t>
            </a:r>
            <a:r>
              <a:rPr kumimoji="0" lang="en-US" sz="1122"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up to 5% of annual base salary!)</a:t>
            </a:r>
            <a:endParaRPr kumimoji="0" lang="en-US" sz="1088"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119" name="TextBox 118"/>
          <p:cNvSpPr txBox="1"/>
          <p:nvPr/>
        </p:nvSpPr>
        <p:spPr>
          <a:xfrm>
            <a:off x="10161357" y="2285428"/>
            <a:ext cx="2044234" cy="873306"/>
          </a:xfrm>
          <a:prstGeom prst="rect">
            <a:avLst/>
          </a:prstGeom>
          <a:noFill/>
        </p:spPr>
        <p:txBody>
          <a:bodyPr wrap="square" rtlCol="0">
            <a:spAutoFit/>
          </a:bodyPr>
          <a:lstStyle/>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Find out what customers are using</a:t>
            </a:r>
          </a:p>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113"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by exploring the </a:t>
            </a:r>
            <a:r>
              <a:rPr kumimoji="0" lang="en-US" sz="1122"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ISV Co-Sell Dashboard</a:t>
            </a:r>
          </a:p>
        </p:txBody>
      </p:sp>
      <p:sp>
        <p:nvSpPr>
          <p:cNvPr id="120" name="TextBox 119"/>
          <p:cNvSpPr txBox="1"/>
          <p:nvPr/>
        </p:nvSpPr>
        <p:spPr>
          <a:xfrm>
            <a:off x="10161356" y="3665309"/>
            <a:ext cx="2044234" cy="1047980"/>
          </a:xfrm>
          <a:prstGeom prst="rect">
            <a:avLst/>
          </a:prstGeom>
          <a:noFill/>
        </p:spPr>
        <p:txBody>
          <a:bodyPr wrap="square" rtlCol="0">
            <a:spAutoFit/>
          </a:bodyPr>
          <a:lstStyle/>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Control your performance</a:t>
            </a:r>
          </a:p>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113"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by exploring </a:t>
            </a:r>
            <a:r>
              <a:rPr kumimoji="0" lang="en-US" sz="1122"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reports on MSX data </a:t>
            </a:r>
            <a:r>
              <a:rPr kumimoji="0" lang="en-US" sz="1113"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rom opportunities and sourced deals</a:t>
            </a:r>
            <a:endParaRPr kumimoji="0" lang="en-US" sz="108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8" name="Graphic 17" descr="Telescope"/>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48541" y="2352840"/>
            <a:ext cx="804002" cy="804002"/>
          </a:xfrm>
          <a:prstGeom prst="rect">
            <a:avLst/>
          </a:prstGeom>
        </p:spPr>
      </p:pic>
      <p:pic>
        <p:nvPicPr>
          <p:cNvPr id="33" name="Graphic 32" descr="Magnifying glass"/>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71320" y="3727214"/>
            <a:ext cx="755818" cy="755818"/>
          </a:xfrm>
          <a:prstGeom prst="rect">
            <a:avLst/>
          </a:prstGeom>
        </p:spPr>
      </p:pic>
      <p:pic>
        <p:nvPicPr>
          <p:cNvPr id="35" name="Graphic 34" descr="Money"/>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390116" y="3749216"/>
            <a:ext cx="724479" cy="724479"/>
          </a:xfrm>
          <a:prstGeom prst="rect">
            <a:avLst/>
          </a:prstGeom>
        </p:spPr>
      </p:pic>
      <p:pic>
        <p:nvPicPr>
          <p:cNvPr id="39" name="Graphic 38" descr="Gold bars"/>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385517" y="2351794"/>
            <a:ext cx="714367" cy="714367"/>
          </a:xfrm>
          <a:prstGeom prst="rect">
            <a:avLst/>
          </a:prstGeom>
        </p:spPr>
      </p:pic>
      <p:pic>
        <p:nvPicPr>
          <p:cNvPr id="62" name="Graphic 61" descr="Teache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340936" y="2382220"/>
            <a:ext cx="745239" cy="745239"/>
          </a:xfrm>
          <a:prstGeom prst="rect">
            <a:avLst/>
          </a:prstGeom>
        </p:spPr>
      </p:pic>
      <p:pic>
        <p:nvPicPr>
          <p:cNvPr id="63" name="Graphic 62" descr="Checklist"/>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335917" y="3713428"/>
            <a:ext cx="779972" cy="779972"/>
          </a:xfrm>
          <a:prstGeom prst="rect">
            <a:avLst/>
          </a:prstGeom>
        </p:spPr>
      </p:pic>
      <p:pic>
        <p:nvPicPr>
          <p:cNvPr id="64" name="Graphic 63" descr="Bar chart"/>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9390372" y="2341592"/>
            <a:ext cx="734770" cy="734770"/>
          </a:xfrm>
          <a:prstGeom prst="rect">
            <a:avLst/>
          </a:prstGeom>
        </p:spPr>
      </p:pic>
      <p:pic>
        <p:nvPicPr>
          <p:cNvPr id="65" name="Graphic 64" descr="Bullseye"/>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9389165" y="3758282"/>
            <a:ext cx="787152" cy="787152"/>
          </a:xfrm>
          <a:prstGeom prst="rect">
            <a:avLst/>
          </a:prstGeom>
        </p:spPr>
      </p:pic>
      <p:sp>
        <p:nvSpPr>
          <p:cNvPr id="123" name="Rectangle 122"/>
          <p:cNvSpPr/>
          <p:nvPr/>
        </p:nvSpPr>
        <p:spPr>
          <a:xfrm>
            <a:off x="8243892" y="4878332"/>
            <a:ext cx="3997913" cy="183433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35890" rtl="0" eaLnBrk="1" fontAlgn="auto" latinLnBrk="0" hangingPunct="1">
              <a:lnSpc>
                <a:spcPct val="100000"/>
              </a:lnSpc>
              <a:spcBef>
                <a:spcPts val="0"/>
              </a:spcBef>
              <a:spcAft>
                <a:spcPts val="0"/>
              </a:spcAft>
              <a:buClrTx/>
              <a:buSzTx/>
              <a:buFontTx/>
              <a:buNone/>
              <a:tabLst/>
              <a:defRPr/>
            </a:pPr>
            <a:endParaRPr kumimoji="0" lang="en-US" sz="1113" b="0" i="0" u="none" strike="noStrike" kern="1200" cap="none" spc="0" normalizeH="0" baseline="0" noProof="0" dirty="0">
              <a:ln>
                <a:noFill/>
              </a:ln>
              <a:solidFill>
                <a:prstClr val="white"/>
              </a:solidFill>
              <a:effectLst/>
              <a:uLnTx/>
              <a:uFillTx/>
              <a:latin typeface="Segoe UI"/>
              <a:ea typeface="+mn-ea"/>
              <a:cs typeface="+mn-cs"/>
            </a:endParaRPr>
          </a:p>
        </p:txBody>
      </p:sp>
      <p:sp>
        <p:nvSpPr>
          <p:cNvPr id="125" name="Rectangle 124"/>
          <p:cNvSpPr/>
          <p:nvPr/>
        </p:nvSpPr>
        <p:spPr>
          <a:xfrm>
            <a:off x="8335199" y="5731641"/>
            <a:ext cx="3521793" cy="659852"/>
          </a:xfrm>
          <a:prstGeom prst="rect">
            <a:avLst/>
          </a:prstGeom>
        </p:spPr>
        <p:txBody>
          <a:bodyPr wrap="square">
            <a:spAutoFit/>
          </a:bodyPr>
          <a:lstStyle/>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Tell us your story!</a:t>
            </a:r>
          </a:p>
          <a:p>
            <a:pPr marL="0" marR="0" lvl="0" indent="0" algn="l" defTabSz="635890"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ubmit your win using </a:t>
            </a:r>
            <a:r>
              <a:rPr kumimoji="0" lang="en-US" sz="1122" b="1" i="0" u="none" strike="noStrike" kern="1200" cap="none" spc="0" normalizeH="0" baseline="0" noProof="0" dirty="0">
                <a:ln w="3175">
                  <a:solidFill>
                    <a:srgbClr val="6DD9FF"/>
                  </a:solidFill>
                </a:ln>
                <a:solidFill>
                  <a:srgbClr val="FFFFFF"/>
                </a:solidFill>
                <a:effectLst/>
                <a:uLnTx/>
                <a:uFillTx/>
                <a:latin typeface="Segoe UI Light" panose="020B0502040204020203" pitchFamily="34" charset="0"/>
                <a:ea typeface="+mn-ea"/>
                <a:cs typeface="Segoe UI Light" panose="020B0502040204020203" pitchFamily="34" charset="0"/>
              </a:rPr>
              <a:t>this template </a:t>
            </a:r>
            <a:r>
              <a:rPr kumimoji="0" lang="en-US" sz="1122"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nd we will tell our WW community about your experience</a:t>
            </a:r>
            <a:endParaRPr kumimoji="0" lang="en-US" sz="1122"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27" name="Rectangle 126">
            <a:hlinkClick r:id="rId4"/>
          </p:cNvPr>
          <p:cNvSpPr/>
          <p:nvPr/>
        </p:nvSpPr>
        <p:spPr>
          <a:xfrm>
            <a:off x="8693941" y="6009223"/>
            <a:ext cx="1304808" cy="1463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28" name="Rectangle 127">
            <a:hlinkClick r:id="rId5"/>
          </p:cNvPr>
          <p:cNvSpPr/>
          <p:nvPr/>
        </p:nvSpPr>
        <p:spPr>
          <a:xfrm>
            <a:off x="8907305" y="6167086"/>
            <a:ext cx="1630932" cy="180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pic>
        <p:nvPicPr>
          <p:cNvPr id="66" name="Graphic 65" descr="Megaphone"/>
          <p:cNvPicPr>
            <a:picLocks noChangeAspect="1"/>
          </p:cNvPicPr>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8367425" y="4952072"/>
            <a:ext cx="713199" cy="713199"/>
          </a:xfrm>
          <a:prstGeom prst="rect">
            <a:avLst/>
          </a:prstGeom>
        </p:spPr>
      </p:pic>
      <p:sp>
        <p:nvSpPr>
          <p:cNvPr id="130" name="Rectangle 129">
            <a:hlinkClick r:id="rId24"/>
          </p:cNvPr>
          <p:cNvSpPr/>
          <p:nvPr/>
        </p:nvSpPr>
        <p:spPr>
          <a:xfrm>
            <a:off x="9771279" y="5997732"/>
            <a:ext cx="780152" cy="1370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50">
            <a:hlinkClick r:id="rId25"/>
          </p:cNvPr>
          <p:cNvSpPr/>
          <p:nvPr/>
        </p:nvSpPr>
        <p:spPr>
          <a:xfrm>
            <a:off x="11249834" y="2763176"/>
            <a:ext cx="780152" cy="1370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52" name="Rectangle 51">
            <a:hlinkClick r:id="rId25"/>
          </p:cNvPr>
          <p:cNvSpPr/>
          <p:nvPr/>
        </p:nvSpPr>
        <p:spPr>
          <a:xfrm>
            <a:off x="10235525" y="2925231"/>
            <a:ext cx="780152" cy="1370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53" name="Rectangle 52">
            <a:hlinkClick r:id="rId25"/>
          </p:cNvPr>
          <p:cNvSpPr/>
          <p:nvPr/>
        </p:nvSpPr>
        <p:spPr>
          <a:xfrm>
            <a:off x="11015676" y="4157881"/>
            <a:ext cx="1014309" cy="14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54" name="Rectangle 53">
            <a:hlinkClick r:id="rId25"/>
          </p:cNvPr>
          <p:cNvSpPr/>
          <p:nvPr/>
        </p:nvSpPr>
        <p:spPr>
          <a:xfrm>
            <a:off x="10235524" y="4327220"/>
            <a:ext cx="315907" cy="1464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56" name="Rectangle 55">
            <a:hlinkClick r:id="rId26"/>
          </p:cNvPr>
          <p:cNvSpPr/>
          <p:nvPr/>
        </p:nvSpPr>
        <p:spPr>
          <a:xfrm>
            <a:off x="1894569" y="3960554"/>
            <a:ext cx="853003" cy="150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58" name="Rectangle 57">
            <a:hlinkClick r:id="rId27"/>
          </p:cNvPr>
          <p:cNvSpPr/>
          <p:nvPr/>
        </p:nvSpPr>
        <p:spPr>
          <a:xfrm>
            <a:off x="4643300" y="2873399"/>
            <a:ext cx="977321" cy="1888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11530544" y="6637777"/>
            <a:ext cx="772007" cy="286306"/>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24" b="0" i="1" u="none" strike="noStrike" kern="1200" cap="none" spc="0" normalizeH="0" baseline="0" noProof="0" dirty="0">
                <a:ln>
                  <a:noFill/>
                </a:ln>
                <a:solidFill>
                  <a:srgbClr val="505050">
                    <a:lumMod val="50000"/>
                    <a:lumOff val="50000"/>
                  </a:srgbClr>
                </a:solidFill>
                <a:effectLst/>
                <a:uLnTx/>
                <a:uFillTx/>
                <a:latin typeface="Segoe UI"/>
                <a:ea typeface="+mn-ea"/>
                <a:cs typeface="+mn-cs"/>
              </a:rPr>
              <a:t>H2 FY17</a:t>
            </a:r>
          </a:p>
        </p:txBody>
      </p:sp>
    </p:spTree>
    <p:extLst>
      <p:ext uri="{BB962C8B-B14F-4D97-AF65-F5344CB8AC3E}">
        <p14:creationId xmlns:p14="http://schemas.microsoft.com/office/powerpoint/2010/main" val="4009841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txBox="1">
            <a:spLocks/>
          </p:cNvSpPr>
          <p:nvPr/>
        </p:nvSpPr>
        <p:spPr>
          <a:xfrm>
            <a:off x="275481" y="295274"/>
            <a:ext cx="11429156" cy="917575"/>
          </a:xfrm>
          <a:prstGeom prst="rect">
            <a:avLst/>
          </a:prstGeom>
        </p:spPr>
        <p:txBody>
          <a:bodyPr vert="horz" wrap="square" lIns="146304" tIns="91440" rIns="146304" bIns="91440" rtlCol="0" anchor="t">
            <a:noAutofit/>
          </a:bodyPr>
          <a:lstStyle>
            <a:lvl1pPr algn="l" defTabSz="932563"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rPr>
              <a:t>Incentives For Our Sellers To Drive Your Business</a:t>
            </a:r>
          </a:p>
        </p:txBody>
      </p:sp>
      <p:sp>
        <p:nvSpPr>
          <p:cNvPr id="2" name="Slide Number Placeholder 1"/>
          <p:cNvSpPr>
            <a:spLocks noGrp="1"/>
          </p:cNvSpPr>
          <p:nvPr>
            <p:ph type="sldNum" sz="quarter" idx="12"/>
          </p:nvPr>
        </p:nvSpPr>
        <p:spPr/>
        <p:txBody>
          <a:bodyPr/>
          <a:lstStyle/>
          <a:p>
            <a:pPr marL="0" marR="0" lvl="0" indent="0" algn="l" defTabSz="914247" rtl="0" eaLnBrk="1" fontAlgn="auto" latinLnBrk="0" hangingPunct="1">
              <a:lnSpc>
                <a:spcPct val="100000"/>
              </a:lnSpc>
              <a:spcBef>
                <a:spcPts val="0"/>
              </a:spcBef>
              <a:spcAft>
                <a:spcPts val="0"/>
              </a:spcAft>
              <a:buClrTx/>
              <a:buSzTx/>
              <a:buFontTx/>
              <a:buNone/>
              <a:tabLst/>
              <a:defRPr/>
            </a:pPr>
            <a:r>
              <a:rPr kumimoji="0" lang="en-US" sz="1801" b="0" i="0" u="none" strike="noStrike" kern="0" cap="none" spc="0" normalizeH="0" baseline="0" noProof="0" dirty="0">
                <a:ln>
                  <a:noFill/>
                </a:ln>
                <a:solidFill>
                  <a:sysClr val="windowText" lastClr="000000"/>
                </a:solidFill>
                <a:effectLst/>
                <a:uLnTx/>
                <a:uFillTx/>
                <a:latin typeface="Segoe UI"/>
                <a:ea typeface="+mn-ea"/>
                <a:cs typeface="+mn-cs"/>
              </a:rPr>
              <a:t> </a:t>
            </a:r>
          </a:p>
        </p:txBody>
      </p:sp>
      <p:sp>
        <p:nvSpPr>
          <p:cNvPr id="4" name="Rectangle 3"/>
          <p:cNvSpPr/>
          <p:nvPr/>
        </p:nvSpPr>
        <p:spPr bwMode="auto">
          <a:xfrm>
            <a:off x="419265" y="1439862"/>
            <a:ext cx="3657081" cy="1017365"/>
          </a:xfrm>
          <a:prstGeom prst="rect">
            <a:avLst/>
          </a:prstGeom>
          <a:solidFill>
            <a:srgbClr val="0066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56" b="0" i="0" u="none" strike="noStrike" kern="0" cap="none" spc="0" normalizeH="0" baseline="0" noProof="0" dirty="0">
                <a:ln>
                  <a:noFill/>
                </a:ln>
                <a:solidFill>
                  <a:srgbClr val="FFFFFF"/>
                </a:solidFill>
                <a:effectLst/>
                <a:uLnTx/>
                <a:uFillTx/>
                <a:latin typeface="Segoe UI"/>
                <a:ea typeface="+mn-ea"/>
                <a:cs typeface="+mn-cs"/>
              </a:rPr>
              <a:t>Opportunity Sharing Incentive</a:t>
            </a:r>
            <a:endParaRPr kumimoji="0" lang="en-US" sz="28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 name="Rectangle 4"/>
          <p:cNvSpPr/>
          <p:nvPr/>
        </p:nvSpPr>
        <p:spPr bwMode="auto">
          <a:xfrm>
            <a:off x="8362491" y="1439862"/>
            <a:ext cx="3657081" cy="1017365"/>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FFFFFF"/>
                </a:solidFill>
                <a:effectLst/>
                <a:uLnTx/>
                <a:uFillTx/>
                <a:latin typeface="Segoe UI"/>
                <a:ea typeface="+mn-ea"/>
                <a:cs typeface="+mn-cs"/>
              </a:rPr>
              <a:t>Registered Deals Kickstart Contest</a:t>
            </a:r>
          </a:p>
        </p:txBody>
      </p:sp>
      <p:sp>
        <p:nvSpPr>
          <p:cNvPr id="6" name="Rectangle 5"/>
          <p:cNvSpPr/>
          <p:nvPr/>
        </p:nvSpPr>
        <p:spPr bwMode="auto">
          <a:xfrm>
            <a:off x="4390878" y="1439862"/>
            <a:ext cx="3657081" cy="1017365"/>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FFFFFF"/>
                </a:solidFill>
                <a:effectLst/>
                <a:uLnTx/>
                <a:uFillTx/>
                <a:latin typeface="Segoe UI"/>
                <a:ea typeface="+mn-ea"/>
                <a:cs typeface="+mn-cs"/>
              </a:rPr>
              <a:t>Registered Deals Incentive</a:t>
            </a:r>
          </a:p>
        </p:txBody>
      </p:sp>
      <p:sp>
        <p:nvSpPr>
          <p:cNvPr id="7" name="Rectangle 6"/>
          <p:cNvSpPr/>
          <p:nvPr/>
        </p:nvSpPr>
        <p:spPr bwMode="auto">
          <a:xfrm>
            <a:off x="419264" y="2430462"/>
            <a:ext cx="3657081" cy="3505200"/>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Sellers can receive up to $50K USD in Azure Consumed Revenue quota retirement by sharing accepted opportunities with partners</a:t>
            </a: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Launched October 15, 2016</a:t>
            </a:r>
            <a:endParaRPr kumimoji="0" lang="en-US" sz="1800" b="1"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8" name="Rectangle 7"/>
          <p:cNvSpPr/>
          <p:nvPr/>
        </p:nvSpPr>
        <p:spPr bwMode="auto">
          <a:xfrm>
            <a:off x="4390877" y="2430462"/>
            <a:ext cx="3657081" cy="3505200"/>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Sellers receive 10% of your total contract value in Azure or Data Services Consumed Revenue quota retirement for each registered deal</a:t>
            </a: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Launched January 3, 2017</a:t>
            </a:r>
            <a:endParaRPr kumimoji="0" lang="en-US" sz="1800" b="1"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9" name="Rectangle 8"/>
          <p:cNvSpPr/>
          <p:nvPr/>
        </p:nvSpPr>
        <p:spPr bwMode="auto">
          <a:xfrm>
            <a:off x="8362491" y="2430462"/>
            <a:ext cx="3657081" cy="3505200"/>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Sellers receive a cash award of 1% of their base salary per registered deal, up to 5 deals per seller</a:t>
            </a: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UI"/>
                <a:ea typeface="+mn-ea"/>
                <a:cs typeface="+mn-cs"/>
              </a:rPr>
              <a:t>Launched </a:t>
            </a:r>
            <a:r>
              <a:rPr kumimoji="0" lang="en-US" sz="1800" b="0" i="0" u="none" strike="noStrike" kern="0" cap="none" spc="0" normalizeH="0" baseline="0" noProof="0" dirty="0">
                <a:ln>
                  <a:noFill/>
                </a:ln>
                <a:solidFill>
                  <a:srgbClr val="000000"/>
                </a:solidFill>
                <a:effectLst/>
                <a:uLnTx/>
                <a:uFillTx/>
                <a:latin typeface="Segoe UI"/>
                <a:ea typeface="+mn-ea"/>
                <a:cs typeface="+mn-cs"/>
              </a:rPr>
              <a:t>January 3, 2017</a:t>
            </a:r>
            <a:endParaRPr kumimoji="0" lang="en-US" sz="1800" b="1"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77726271"/>
      </p:ext>
    </p:extLst>
  </p:cSld>
  <p:clrMapOvr>
    <a:masterClrMapping/>
  </p:clrMapOvr>
  <mc:AlternateContent xmlns:mc="http://schemas.openxmlformats.org/markup-compatibility/2006" xmlns:p14="http://schemas.microsoft.com/office/powerpoint/2010/main">
    <mc:Choice Requires="p14">
      <p:transition spd="slow" p14:dur="1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fill="hold" grpId="0" nodeType="afterEffect">
                                  <p:stCondLst>
                                    <p:cond delay="0"/>
                                  </p:stCondLst>
                                  <p:childTnLst>
                                    <p:set>
                                      <p:cBhvr>
                                        <p:cTn id="15" dur="1" fill="hold">
                                          <p:stCondLst>
                                            <p:cond delay="0"/>
                                          </p:stCondLst>
                                        </p:cTn>
                                        <p:tgtEl>
                                          <p:spTgt spid="6"/>
                                        </p:tgtEl>
                                        <p:attrNameLst>
                                          <p:attrName>style.visibility</p:attrName>
                                        </p:attrNameLst>
                                      </p:cBhvr>
                                      <p:to>
                                        <p:strVal val="visible"/>
                                      </p:to>
                                    </p:set>
                                    <p:anim calcmode="lin" valueType="num">
                                      <p:cBhvr additive="base">
                                        <p:cTn id="16" dur="500" fill="hold"/>
                                        <p:tgtEl>
                                          <p:spTgt spid="6"/>
                                        </p:tgtEl>
                                        <p:attrNameLst>
                                          <p:attrName>ppt_x</p:attrName>
                                        </p:attrNameLst>
                                      </p:cBhvr>
                                      <p:tavLst>
                                        <p:tav tm="0">
                                          <p:val>
                                            <p:strVal val="0-#ppt_w/2"/>
                                          </p:val>
                                        </p:tav>
                                        <p:tav tm="100000">
                                          <p:val>
                                            <p:strVal val="#ppt_x"/>
                                          </p:val>
                                        </p:tav>
                                      </p:tavLst>
                                    </p:anim>
                                    <p:anim calcmode="lin" valueType="num">
                                      <p:cBhvr additive="base">
                                        <p:cTn id="17" dur="500" fill="hold"/>
                                        <p:tgtEl>
                                          <p:spTgt spid="6"/>
                                        </p:tgtEl>
                                        <p:attrNameLst>
                                          <p:attrName>ppt_y</p:attrName>
                                        </p:attrNameLst>
                                      </p:cBhvr>
                                      <p:tavLst>
                                        <p:tav tm="0">
                                          <p:val>
                                            <p:strVal val="#ppt_y"/>
                                          </p:val>
                                        </p:tav>
                                        <p:tav tm="100000">
                                          <p:val>
                                            <p:strVal val="#ppt_y"/>
                                          </p:val>
                                        </p:tav>
                                      </p:tavLst>
                                    </p:anim>
                                  </p:childTnLst>
                                </p:cTn>
                              </p:par>
                              <p:par>
                                <p:cTn id="18" presetID="2" presetClass="entr" presetSubtype="8"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0-#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par>
                          <p:cTn id="22" fill="hold">
                            <p:stCondLst>
                              <p:cond delay="1000"/>
                            </p:stCondLst>
                            <p:childTnLst>
                              <p:par>
                                <p:cTn id="23" presetID="2" presetClass="entr" presetSubtype="8" fill="hold" grpId="0" nodeType="afterEffect">
                                  <p:stCondLst>
                                    <p:cond delay="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500" fill="hold"/>
                                        <p:tgtEl>
                                          <p:spTgt spid="4"/>
                                        </p:tgtEl>
                                        <p:attrNameLst>
                                          <p:attrName>ppt_x</p:attrName>
                                        </p:attrNameLst>
                                      </p:cBhvr>
                                      <p:tavLst>
                                        <p:tav tm="0">
                                          <p:val>
                                            <p:strVal val="0-#ppt_w/2"/>
                                          </p:val>
                                        </p:tav>
                                        <p:tav tm="100000">
                                          <p:val>
                                            <p:strVal val="#ppt_x"/>
                                          </p:val>
                                        </p:tav>
                                      </p:tavLst>
                                    </p:anim>
                                    <p:anim calcmode="lin" valueType="num">
                                      <p:cBhvr additive="base">
                                        <p:cTn id="26" dur="500" fill="hold"/>
                                        <p:tgtEl>
                                          <p:spTgt spid="4"/>
                                        </p:tgtEl>
                                        <p:attrNameLst>
                                          <p:attrName>ppt_y</p:attrName>
                                        </p:attrNameLst>
                                      </p:cBhvr>
                                      <p:tavLst>
                                        <p:tav tm="0">
                                          <p:val>
                                            <p:strVal val="#ppt_y"/>
                                          </p:val>
                                        </p:tav>
                                        <p:tav tm="100000">
                                          <p:val>
                                            <p:strVal val="#ppt_y"/>
                                          </p:val>
                                        </p:tav>
                                      </p:tavLst>
                                    </p:anim>
                                  </p:childTnLst>
                                </p:cTn>
                              </p:par>
                              <p:par>
                                <p:cTn id="27" presetID="2" presetClass="entr" presetSubtype="8"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anim calcmode="lin" valueType="num">
                                      <p:cBhvr additive="base">
                                        <p:cTn id="29" dur="500" fill="hold"/>
                                        <p:tgtEl>
                                          <p:spTgt spid="7"/>
                                        </p:tgtEl>
                                        <p:attrNameLst>
                                          <p:attrName>ppt_x</p:attrName>
                                        </p:attrNameLst>
                                      </p:cBhvr>
                                      <p:tavLst>
                                        <p:tav tm="0">
                                          <p:val>
                                            <p:strVal val="0-#ppt_w/2"/>
                                          </p:val>
                                        </p:tav>
                                        <p:tav tm="100000">
                                          <p:val>
                                            <p:strVal val="#ppt_x"/>
                                          </p:val>
                                        </p:tav>
                                      </p:tavLst>
                                    </p:anim>
                                    <p:anim calcmode="lin" valueType="num">
                                      <p:cBhvr additive="base">
                                        <p:cTn id="30"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id:image002.png@01D26BEF.BEFCA5B0"/>
          <p:cNvPicPr/>
          <p:nvPr/>
        </p:nvPicPr>
        <p:blipFill>
          <a:blip r:embed="rId2" r:link="rId3">
            <a:extLst>
              <a:ext uri="{28A0092B-C50C-407E-A947-70E740481C1C}">
                <a14:useLocalDpi xmlns:a14="http://schemas.microsoft.com/office/drawing/2010/main"/>
              </a:ext>
            </a:extLst>
          </a:blip>
          <a:srcRect/>
          <a:stretch>
            <a:fillRect/>
          </a:stretch>
        </p:blipFill>
        <p:spPr bwMode="auto">
          <a:xfrm>
            <a:off x="0" y="-84138"/>
            <a:ext cx="12436475" cy="6400801"/>
          </a:xfrm>
          <a:prstGeom prst="rect">
            <a:avLst/>
          </a:prstGeom>
          <a:noFill/>
          <a:ln>
            <a:noFill/>
          </a:ln>
        </p:spPr>
      </p:pic>
    </p:spTree>
    <p:extLst>
      <p:ext uri="{BB962C8B-B14F-4D97-AF65-F5344CB8AC3E}">
        <p14:creationId xmlns:p14="http://schemas.microsoft.com/office/powerpoint/2010/main" val="90262879"/>
      </p:ext>
    </p:extLst>
  </p:cSld>
  <p:clrMapOvr>
    <a:masterClrMapping/>
  </p:clrMapOvr>
  <mc:AlternateContent xmlns:mc="http://schemas.openxmlformats.org/markup-compatibility/2006" xmlns:p14="http://schemas.microsoft.com/office/powerpoint/2010/main">
    <mc:Choice Requires="p14">
      <p:transition spd="slow" p14:dur="1400">
        <p14:reveal/>
      </p:transition>
    </mc:Choice>
    <mc:Fallback xmlns="">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xt Up: ISV 10 Minute Elevator Pitches</a:t>
            </a:r>
          </a:p>
        </p:txBody>
      </p:sp>
      <p:sp>
        <p:nvSpPr>
          <p:cNvPr id="3" name="Text Placeholder 2"/>
          <p:cNvSpPr>
            <a:spLocks noGrp="1"/>
          </p:cNvSpPr>
          <p:nvPr>
            <p:ph type="body" sz="quarter" idx="10"/>
          </p:nvPr>
        </p:nvSpPr>
        <p:spPr>
          <a:xfrm>
            <a:off x="274638" y="1212851"/>
            <a:ext cx="11887200" cy="4646612"/>
          </a:xfrm>
        </p:spPr>
        <p:txBody>
          <a:bodyPr/>
          <a:lstStyle/>
          <a:p>
            <a:r>
              <a:rPr lang="en-US" dirty="0" err="1"/>
              <a:t>NewTek</a:t>
            </a:r>
            <a:endParaRPr lang="en-US" dirty="0"/>
          </a:p>
          <a:p>
            <a:r>
              <a:rPr lang="en-US" dirty="0"/>
              <a:t>NetApp</a:t>
            </a:r>
          </a:p>
          <a:p>
            <a:r>
              <a:rPr lang="en-US" dirty="0" err="1"/>
              <a:t>RedHat</a:t>
            </a:r>
            <a:endParaRPr lang="en-US" dirty="0"/>
          </a:p>
          <a:p>
            <a:r>
              <a:rPr lang="en-US" dirty="0"/>
              <a:t>CGI Federal</a:t>
            </a:r>
          </a:p>
          <a:p>
            <a:r>
              <a:rPr lang="en-US" dirty="0" err="1"/>
              <a:t>AvePoint</a:t>
            </a:r>
            <a:endParaRPr lang="en-US" dirty="0"/>
          </a:p>
          <a:p>
            <a:r>
              <a:rPr lang="en-US" dirty="0"/>
              <a:t>ESRI</a:t>
            </a:r>
          </a:p>
          <a:p>
            <a:r>
              <a:rPr lang="en-US" dirty="0" err="1"/>
              <a:t>eSignLive</a:t>
            </a:r>
            <a:endParaRPr lang="en-US" dirty="0"/>
          </a:p>
          <a:p>
            <a:pPr marL="0" indent="0" algn="ctr">
              <a:buNone/>
            </a:pPr>
            <a:endParaRPr lang="en-US" dirty="0"/>
          </a:p>
        </p:txBody>
      </p:sp>
    </p:spTree>
    <p:extLst>
      <p:ext uri="{BB962C8B-B14F-4D97-AF65-F5344CB8AC3E}">
        <p14:creationId xmlns:p14="http://schemas.microsoft.com/office/powerpoint/2010/main" val="4264327199"/>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2905411"/>
          </a:xfrm>
        </p:spPr>
        <p:txBody>
          <a:bodyPr/>
          <a:lstStyle/>
          <a:p>
            <a:r>
              <a:rPr lang="en-US" dirty="0"/>
              <a:t>ISVs will come to you</a:t>
            </a:r>
          </a:p>
          <a:p>
            <a:r>
              <a:rPr lang="en-US" dirty="0"/>
              <a:t>10 minute follow up on elevator pitches</a:t>
            </a:r>
          </a:p>
          <a:p>
            <a:r>
              <a:rPr lang="en-US" dirty="0"/>
              <a:t>Come to Happy Hour at Westwood CC for more:</a:t>
            </a:r>
          </a:p>
          <a:p>
            <a:pPr lvl="1"/>
            <a:r>
              <a:rPr lang="en-US" dirty="0"/>
              <a:t>5-7 PM</a:t>
            </a:r>
          </a:p>
          <a:p>
            <a:pPr lvl="1"/>
            <a:r>
              <a:rPr lang="en-US" dirty="0"/>
              <a:t>800 Maple Avenue East (aka </a:t>
            </a:r>
            <a:r>
              <a:rPr lang="en-US" dirty="0" err="1"/>
              <a:t>Rt</a:t>
            </a:r>
            <a:r>
              <a:rPr lang="en-US" dirty="0"/>
              <a:t> 123), Vienna, VA </a:t>
            </a:r>
          </a:p>
        </p:txBody>
      </p:sp>
      <p:sp>
        <p:nvSpPr>
          <p:cNvPr id="3" name="Title 2"/>
          <p:cNvSpPr>
            <a:spLocks noGrp="1"/>
          </p:cNvSpPr>
          <p:nvPr>
            <p:ph type="title"/>
          </p:nvPr>
        </p:nvSpPr>
        <p:spPr/>
        <p:txBody>
          <a:bodyPr/>
          <a:lstStyle/>
          <a:p>
            <a:r>
              <a:rPr lang="en-US" dirty="0"/>
              <a:t>Afternoon Breakouts</a:t>
            </a:r>
          </a:p>
        </p:txBody>
      </p:sp>
    </p:spTree>
    <p:extLst>
      <p:ext uri="{BB962C8B-B14F-4D97-AF65-F5344CB8AC3E}">
        <p14:creationId xmlns:p14="http://schemas.microsoft.com/office/powerpoint/2010/main" val="109333872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p:cNvSpPr/>
          <p:nvPr/>
        </p:nvSpPr>
        <p:spPr bwMode="auto">
          <a:xfrm>
            <a:off x="8868724" y="2080272"/>
            <a:ext cx="3147632" cy="250578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p:cNvSpPr/>
          <p:nvPr/>
        </p:nvSpPr>
        <p:spPr bwMode="auto">
          <a:xfrm>
            <a:off x="882" y="6409617"/>
            <a:ext cx="12434711" cy="6027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05" rtl="0"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GovMeetup</a:t>
            </a: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Slide Number Placeholder 21"/>
          <p:cNvSpPr>
            <a:spLocks noGrp="1"/>
          </p:cNvSpPr>
          <p:nvPr>
            <p:ph type="sldNum" sz="quarter" idx="11"/>
          </p:nvPr>
        </p:nvSpPr>
        <p:spPr/>
        <p:txBody>
          <a:bodyPr/>
          <a:lstStyle/>
          <a:p>
            <a:pPr marL="0" marR="0" lvl="0" indent="0" algn="r" defTabSz="932539" rtl="0" eaLnBrk="1" fontAlgn="auto" latinLnBrk="0" hangingPunct="1">
              <a:lnSpc>
                <a:spcPct val="100000"/>
              </a:lnSpc>
              <a:spcBef>
                <a:spcPts val="0"/>
              </a:spcBef>
              <a:spcAft>
                <a:spcPts val="0"/>
              </a:spcAft>
              <a:buClrTx/>
              <a:buSzTx/>
              <a:buFontTx/>
              <a:buNone/>
              <a:tabLst/>
              <a:defRPr/>
            </a:pPr>
            <a:fld id="{27258FFF-F925-446B-8502-81C933981705}" type="slidenum">
              <a:rPr kumimoji="0" lang="en-US" sz="1836" b="0" i="0" u="none" strike="noStrike" kern="0" cap="none" spc="0" normalizeH="0" baseline="0" noProof="0">
                <a:ln>
                  <a:noFill/>
                </a:ln>
                <a:solidFill>
                  <a:srgbClr val="505050"/>
                </a:solidFill>
                <a:effectLst/>
                <a:uLnTx/>
                <a:uFillTx/>
                <a:latin typeface="Segoe UI"/>
                <a:ea typeface="+mn-ea"/>
                <a:cs typeface="+mn-cs"/>
              </a:rPr>
              <a:pPr marL="0" marR="0" lvl="0" indent="0" algn="r" defTabSz="932539" rtl="0" eaLnBrk="1" fontAlgn="auto" latinLnBrk="0" hangingPunct="1">
                <a:lnSpc>
                  <a:spcPct val="100000"/>
                </a:lnSpc>
                <a:spcBef>
                  <a:spcPts val="0"/>
                </a:spcBef>
                <a:spcAft>
                  <a:spcPts val="0"/>
                </a:spcAft>
                <a:buClrTx/>
                <a:buSzTx/>
                <a:buFontTx/>
                <a:buNone/>
                <a:tabLst/>
                <a:defRPr/>
              </a:pPr>
              <a:t>56</a:t>
            </a:fld>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5" name="Rectangle 14"/>
          <p:cNvSpPr/>
          <p:nvPr/>
        </p:nvSpPr>
        <p:spPr>
          <a:xfrm>
            <a:off x="3624012" y="5717691"/>
            <a:ext cx="5753591" cy="478376"/>
          </a:xfrm>
          <a:prstGeom prst="rect">
            <a:avLst/>
          </a:prstGeom>
        </p:spPr>
        <p:txBody>
          <a:bodyPr wrap="non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a:noFill/>
                </a:ln>
                <a:solidFill>
                  <a:srgbClr val="FFFFFF"/>
                </a:solidFill>
                <a:effectLst/>
                <a:uLnTx/>
                <a:uFillTx/>
                <a:latin typeface="Segoe UI"/>
                <a:ea typeface="+mn-ea"/>
                <a:cs typeface="+mn-cs"/>
                <a:hlinkClick r:id="rId2"/>
              </a:rPr>
              <a:t>http://www.meetup.com/DCAzureGov/</a:t>
            </a:r>
            <a:r>
              <a:rPr kumimoji="0" lang="en-US" sz="2448" b="0" i="0" u="none" strike="noStrike" kern="0" cap="none" spc="0" normalizeH="0" baseline="0" noProof="0" dirty="0">
                <a:ln>
                  <a:noFill/>
                </a:ln>
                <a:solidFill>
                  <a:srgbClr val="FFFFFF"/>
                </a:solidFill>
                <a:effectLst/>
                <a:uLnTx/>
                <a:uFillTx/>
                <a:latin typeface="Segoe UI"/>
                <a:ea typeface="+mn-ea"/>
                <a:cs typeface="+mn-cs"/>
              </a:rPr>
              <a:t> </a:t>
            </a:r>
          </a:p>
        </p:txBody>
      </p:sp>
      <p:pic>
        <p:nvPicPr>
          <p:cNvPr id="20" name="Picture 19"/>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131009" y="103418"/>
            <a:ext cx="2048893" cy="721705"/>
          </a:xfrm>
          <a:prstGeom prst="rect">
            <a:avLst/>
          </a:prstGeom>
        </p:spPr>
      </p:pic>
      <p:sp>
        <p:nvSpPr>
          <p:cNvPr id="4" name="Title 3"/>
          <p:cNvSpPr>
            <a:spLocks noGrp="1"/>
          </p:cNvSpPr>
          <p:nvPr>
            <p:ph type="title"/>
          </p:nvPr>
        </p:nvSpPr>
        <p:spPr>
          <a:xfrm>
            <a:off x="233244" y="103418"/>
            <a:ext cx="11224603" cy="1097302"/>
          </a:xfrm>
        </p:spPr>
        <p:txBody>
          <a:bodyPr/>
          <a:lstStyle/>
          <a:p>
            <a:pPr>
              <a:lnSpc>
                <a:spcPts val="3978"/>
              </a:lnSpc>
            </a:pPr>
            <a:r>
              <a:rPr lang="en-US" dirty="0"/>
              <a:t>Azure Gov DC Meetup – January 25th</a:t>
            </a:r>
            <a:br>
              <a:rPr lang="en-US" dirty="0"/>
            </a:br>
            <a:r>
              <a:rPr lang="en-US" b="1" dirty="0"/>
              <a:t>How to Jumpstart Your Move to the Cloud - Gov Edition</a:t>
            </a:r>
          </a:p>
        </p:txBody>
      </p:sp>
      <p:sp>
        <p:nvSpPr>
          <p:cNvPr id="7" name="Rectangle 6"/>
          <p:cNvSpPr/>
          <p:nvPr/>
        </p:nvSpPr>
        <p:spPr>
          <a:xfrm>
            <a:off x="190934" y="1740341"/>
            <a:ext cx="8374553" cy="3259803"/>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1224"/>
              </a:spcAft>
              <a:buClrTx/>
              <a:buSzTx/>
              <a:buFontTx/>
              <a:buNone/>
              <a:tabLst/>
              <a:defRPr/>
            </a:pPr>
            <a:r>
              <a:rPr kumimoji="0" lang="en-US" sz="2448"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Agenda:</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1"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Getting Past Go:  Accelerate Your App Deployment to the Cloud </a:t>
            </a:r>
            <a:r>
              <a:rPr kumimoji="0" lang="en-US" sz="2040" b="0"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Level 100)</a:t>
            </a:r>
            <a:endParaRPr kumimoji="0" lang="en-US" sz="204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1" u="none" strike="noStrike" kern="1200" cap="none" spc="0" normalizeH="0" baseline="0" noProof="0" dirty="0">
                <a:ln>
                  <a:noFill/>
                </a:ln>
                <a:solidFill>
                  <a:srgbClr val="E28C61"/>
                </a:solidFill>
                <a:effectLst/>
                <a:uLnTx/>
                <a:uFillTx/>
                <a:latin typeface="Calibri" panose="020F0502020204030204" pitchFamily="34" charset="0"/>
                <a:ea typeface="Calibri" panose="020F0502020204030204" pitchFamily="34" charset="0"/>
                <a:cs typeface="+mn-cs"/>
                <a:hlinkClick r:id="rId4"/>
              </a:rPr>
              <a:t>David Simsik</a:t>
            </a:r>
            <a:r>
              <a:rPr kumimoji="0" lang="en-US" sz="1836"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Cloud Practice Manager, </a:t>
            </a:r>
            <a:r>
              <a:rPr kumimoji="0" lang="en-US" sz="1836" b="0" i="1" u="none" strike="noStrike" kern="1200" cap="none" spc="0" normalizeH="0" baseline="0" noProof="0" dirty="0" err="1">
                <a:ln>
                  <a:noFill/>
                </a:ln>
                <a:solidFill>
                  <a:srgbClr val="E28C61"/>
                </a:solidFill>
                <a:effectLst/>
                <a:uLnTx/>
                <a:uFillTx/>
                <a:latin typeface="Calibri" panose="020F0502020204030204" pitchFamily="34" charset="0"/>
                <a:ea typeface="Calibri" panose="020F0502020204030204" pitchFamily="34" charset="0"/>
                <a:cs typeface="+mn-cs"/>
                <a:hlinkClick r:id="rId5"/>
              </a:rPr>
              <a:t>Accelera</a:t>
            </a:r>
            <a:endParaRPr kumimoji="0" lang="en-US" sz="1836"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p>
            <a:pPr marL="932597"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a:t>
            </a:r>
            <a:endParaRPr kumimoji="0" lang="en-US" sz="1836" b="1"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1"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Azure Gov Training Resources and Strategies</a:t>
            </a:r>
            <a:r>
              <a:rPr kumimoji="0" lang="en-US" sz="2040" b="0"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 (Level 100-200)</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1" u="none" strike="noStrike" kern="1200" cap="none" spc="0" normalizeH="0" baseline="0" noProof="0" dirty="0">
                <a:ln>
                  <a:noFill/>
                </a:ln>
                <a:solidFill>
                  <a:srgbClr val="E28C61"/>
                </a:solidFill>
                <a:effectLst/>
                <a:uLnTx/>
                <a:uFillTx/>
                <a:latin typeface="Calibri" panose="020F0502020204030204" pitchFamily="34" charset="0"/>
                <a:ea typeface="Calibri" panose="020F0502020204030204" pitchFamily="34" charset="0"/>
                <a:cs typeface="+mn-cs"/>
                <a:hlinkClick r:id="rId6"/>
              </a:rPr>
              <a:t>Dan Patrick</a:t>
            </a:r>
            <a:r>
              <a:rPr kumimoji="0" lang="en-US" sz="1836"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Chief Cloud Strategist, </a:t>
            </a:r>
            <a:r>
              <a:rPr kumimoji="0" lang="en-US" sz="1836" b="0" i="1" u="none" strike="noStrike" kern="1200" cap="none" spc="0" normalizeH="0" baseline="0" noProof="0" dirty="0" err="1">
                <a:ln>
                  <a:noFill/>
                </a:ln>
                <a:solidFill>
                  <a:srgbClr val="E28C61"/>
                </a:solidFill>
                <a:effectLst/>
                <a:uLnTx/>
                <a:uFillTx/>
                <a:latin typeface="Calibri" panose="020F0502020204030204" pitchFamily="34" charset="0"/>
                <a:ea typeface="Calibri" panose="020F0502020204030204" pitchFamily="34" charset="0"/>
                <a:cs typeface="+mn-cs"/>
                <a:hlinkClick r:id="rId7"/>
              </a:rPr>
              <a:t>Opsgility</a:t>
            </a:r>
            <a:endParaRPr kumimoji="0" lang="en-US" sz="1836"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p>
            <a:pPr marL="932597"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1"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Tech Demos: Getting Started on Azure Gov—It's Quick and Easy!</a:t>
            </a:r>
            <a:r>
              <a:rPr kumimoji="0" lang="en-US" sz="2040" b="0"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 (Level 200)</a:t>
            </a:r>
            <a:endParaRPr kumimoji="0" lang="en-US" sz="204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1" u="none" strike="noStrike" kern="1200" cap="none" spc="0" normalizeH="0" baseline="0" noProof="0" dirty="0">
                <a:ln>
                  <a:noFill/>
                </a:ln>
                <a:solidFill>
                  <a:srgbClr val="E28C61"/>
                </a:solidFill>
                <a:effectLst/>
                <a:uLnTx/>
                <a:uFillTx/>
                <a:latin typeface="Calibri" panose="020F0502020204030204" pitchFamily="34" charset="0"/>
                <a:ea typeface="Calibri" panose="020F0502020204030204" pitchFamily="34" charset="0"/>
                <a:cs typeface="+mn-cs"/>
                <a:hlinkClick r:id="rId8"/>
              </a:rPr>
              <a:t>Brian Harrison</a:t>
            </a:r>
            <a:r>
              <a:rPr kumimoji="0" lang="en-US" sz="1836"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Cloud Solution Architect, </a:t>
            </a:r>
            <a:r>
              <a:rPr kumimoji="0" lang="en-US" sz="1836" b="0" i="1" u="none" strike="noStrike" kern="1200" cap="none" spc="0" normalizeH="0" baseline="0" noProof="0" dirty="0">
                <a:ln>
                  <a:noFill/>
                </a:ln>
                <a:solidFill>
                  <a:srgbClr val="E28C61"/>
                </a:solidFill>
                <a:effectLst/>
                <a:uLnTx/>
                <a:uFillTx/>
                <a:latin typeface="Calibri" panose="020F0502020204030204" pitchFamily="34" charset="0"/>
                <a:ea typeface="Calibri" panose="020F0502020204030204" pitchFamily="34" charset="0"/>
                <a:cs typeface="+mn-cs"/>
                <a:hlinkClick r:id="rId9"/>
              </a:rPr>
              <a:t>Microsoft</a:t>
            </a:r>
            <a:endParaRPr kumimoji="0" lang="en-US" sz="1836"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1" u="none" strike="noStrike" kern="1200" cap="none" spc="0" normalizeH="0" baseline="0" noProof="0" dirty="0">
                <a:ln>
                  <a:noFill/>
                </a:ln>
                <a:solidFill>
                  <a:srgbClr val="E28C61"/>
                </a:solidFill>
                <a:effectLst/>
                <a:uLnTx/>
                <a:uFillTx/>
                <a:latin typeface="Calibri" panose="020F0502020204030204" pitchFamily="34" charset="0"/>
                <a:ea typeface="Calibri" panose="020F0502020204030204" pitchFamily="34" charset="0"/>
                <a:cs typeface="+mn-cs"/>
                <a:hlinkClick r:id="rId10"/>
              </a:rPr>
              <a:t>Vishwas Lele</a:t>
            </a:r>
            <a:r>
              <a:rPr kumimoji="0" lang="en-US" sz="1836"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Chief Technology Officer, </a:t>
            </a:r>
            <a:r>
              <a:rPr kumimoji="0" lang="en-US" sz="1836" b="0" i="1" u="none" strike="noStrike" kern="1200" cap="none" spc="0" normalizeH="0" baseline="0" noProof="0" dirty="0">
                <a:ln>
                  <a:noFill/>
                </a:ln>
                <a:solidFill>
                  <a:srgbClr val="E28C61"/>
                </a:solidFill>
                <a:effectLst/>
                <a:uLnTx/>
                <a:uFillTx/>
                <a:latin typeface="Calibri" panose="020F0502020204030204" pitchFamily="34" charset="0"/>
                <a:ea typeface="Calibri" panose="020F0502020204030204" pitchFamily="34" charset="0"/>
                <a:cs typeface="+mn-cs"/>
                <a:hlinkClick r:id="rId11"/>
              </a:rPr>
              <a:t>AIS</a:t>
            </a:r>
            <a:endParaRPr kumimoji="0" lang="en-US" sz="1836"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p:txBody>
      </p:sp>
      <p:sp>
        <p:nvSpPr>
          <p:cNvPr id="8" name="Rectangle 7"/>
          <p:cNvSpPr/>
          <p:nvPr/>
        </p:nvSpPr>
        <p:spPr>
          <a:xfrm>
            <a:off x="9016047" y="2225848"/>
            <a:ext cx="2852987" cy="2335443"/>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rPr>
              <a:t>DC Azure Gov Meetup Schedule:</a:t>
            </a:r>
            <a:endParaRPr kumimoji="0" lang="en-US" sz="204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endParaRPr>
          </a:p>
          <a:p>
            <a:pPr marL="349724" marR="0" lvl="0" indent="-349724" algn="l" defTabSz="932597"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2040" b="0" i="0" u="none" strike="noStrike" kern="1200" cap="none" spc="0" normalizeH="0" baseline="0" noProof="0" dirty="0">
                <a:ln>
                  <a:noFill/>
                </a:ln>
                <a:solidFill>
                  <a:srgbClr val="FFFFFF"/>
                </a:solidFill>
                <a:effectLst/>
                <a:uLnTx/>
                <a:uFillTx/>
                <a:latin typeface="Calibri" panose="020F0502020204030204" pitchFamily="34" charset="0"/>
                <a:ea typeface="Times New Roman" panose="02020603050405020304" pitchFamily="18" charset="0"/>
                <a:cs typeface="+mn-cs"/>
              </a:rPr>
              <a:t>January 25</a:t>
            </a:r>
          </a:p>
          <a:p>
            <a:pPr marL="349724" marR="0" lvl="0" indent="-349724" algn="l" defTabSz="932597"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2040" b="0" i="0" u="none" strike="noStrike" kern="1200" cap="none" spc="0" normalizeH="0" baseline="0" noProof="0" dirty="0">
                <a:ln>
                  <a:noFill/>
                </a:ln>
                <a:solidFill>
                  <a:srgbClr val="FFFFFF"/>
                </a:solidFill>
                <a:effectLst/>
                <a:uLnTx/>
                <a:uFillTx/>
                <a:latin typeface="Calibri" panose="020F0502020204030204" pitchFamily="34" charset="0"/>
                <a:ea typeface="Times New Roman" panose="02020603050405020304" pitchFamily="18" charset="0"/>
                <a:cs typeface="+mn-cs"/>
              </a:rPr>
              <a:t>February 22</a:t>
            </a:r>
          </a:p>
          <a:p>
            <a:pPr marL="349724" marR="0" lvl="0" indent="-349724" algn="l" defTabSz="932597"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2040" b="0" i="0" u="none" strike="noStrike" kern="1200" cap="none" spc="0" normalizeH="0" baseline="0" noProof="0" dirty="0">
                <a:ln>
                  <a:noFill/>
                </a:ln>
                <a:solidFill>
                  <a:srgbClr val="FFFFFF"/>
                </a:solidFill>
                <a:effectLst/>
                <a:uLnTx/>
                <a:uFillTx/>
                <a:latin typeface="Calibri" panose="020F0502020204030204" pitchFamily="34" charset="0"/>
                <a:ea typeface="Times New Roman" panose="02020603050405020304" pitchFamily="18" charset="0"/>
                <a:cs typeface="+mn-cs"/>
              </a:rPr>
              <a:t>March 29</a:t>
            </a:r>
          </a:p>
          <a:p>
            <a:pPr marL="349724" marR="0" lvl="0" indent="-349724" algn="l" defTabSz="932597"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2040" b="0" i="0" u="none" strike="noStrike" kern="1200" cap="none" spc="0" normalizeH="0" baseline="0" noProof="0" dirty="0">
                <a:ln>
                  <a:noFill/>
                </a:ln>
                <a:solidFill>
                  <a:srgbClr val="FFFFFF"/>
                </a:solidFill>
                <a:effectLst/>
                <a:uLnTx/>
                <a:uFillTx/>
                <a:latin typeface="Calibri" panose="020F0502020204030204" pitchFamily="34" charset="0"/>
                <a:ea typeface="Times New Roman" panose="02020603050405020304" pitchFamily="18" charset="0"/>
                <a:cs typeface="+mn-cs"/>
              </a:rPr>
              <a:t>April 26</a:t>
            </a:r>
          </a:p>
          <a:p>
            <a:pPr marL="349724" marR="0" lvl="0" indent="-349724" algn="l" defTabSz="932597"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2040" b="0" i="0" u="none" strike="noStrike" kern="1200" cap="none" spc="0" normalizeH="0" baseline="0" noProof="0" dirty="0">
                <a:ln>
                  <a:noFill/>
                </a:ln>
                <a:solidFill>
                  <a:srgbClr val="FFFFFF"/>
                </a:solidFill>
                <a:effectLst/>
                <a:uLnTx/>
                <a:uFillTx/>
                <a:latin typeface="Calibri" panose="020F0502020204030204" pitchFamily="34" charset="0"/>
                <a:ea typeface="Times New Roman" panose="02020603050405020304" pitchFamily="18" charset="0"/>
                <a:cs typeface="+mn-cs"/>
              </a:rPr>
              <a:t>May 31</a:t>
            </a:r>
            <a:endParaRPr kumimoji="0" lang="en-US" sz="1122" b="0" i="0" u="none" strike="noStrike" kern="1200" cap="none" spc="0" normalizeH="0" baseline="0" noProof="0" dirty="0">
              <a:ln>
                <a:noFill/>
              </a:ln>
              <a:solidFill>
                <a:srgbClr val="FFFFFF"/>
              </a:solidFill>
              <a:effectLst/>
              <a:uLnTx/>
              <a:uFillTx/>
              <a:latin typeface="Calibri" panose="020F0502020204030204" pitchFamily="34" charset="0"/>
              <a:ea typeface="Times New Roman" panose="02020603050405020304" pitchFamily="18" charset="0"/>
              <a:cs typeface="+mn-cs"/>
            </a:endParaRPr>
          </a:p>
        </p:txBody>
      </p:sp>
      <p:sp>
        <p:nvSpPr>
          <p:cNvPr id="10" name="Rectangle 9"/>
          <p:cNvSpPr/>
          <p:nvPr/>
        </p:nvSpPr>
        <p:spPr>
          <a:xfrm>
            <a:off x="122917" y="1223218"/>
            <a:ext cx="5569303" cy="382308"/>
          </a:xfrm>
          <a:prstGeom prst="rect">
            <a:avLst/>
          </a:prstGeom>
        </p:spPr>
        <p:txBody>
          <a:bodyPr wrap="non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000000"/>
                </a:solidFill>
                <a:effectLst/>
                <a:uLnTx/>
                <a:uFillTx/>
                <a:latin typeface="Segoe UI"/>
                <a:ea typeface="+mn-ea"/>
                <a:cs typeface="+mn-cs"/>
              </a:rPr>
              <a:t>1776 1133 15th St NW, Washington, DC, 12th Floor</a:t>
            </a:r>
          </a:p>
        </p:txBody>
      </p:sp>
      <p:sp>
        <p:nvSpPr>
          <p:cNvPr id="12" name="TextBox 11"/>
          <p:cNvSpPr txBox="1"/>
          <p:nvPr/>
        </p:nvSpPr>
        <p:spPr>
          <a:xfrm>
            <a:off x="265472" y="6438331"/>
            <a:ext cx="8225478" cy="647165"/>
          </a:xfrm>
          <a:prstGeom prst="rect">
            <a:avLst/>
          </a:prstGeom>
          <a:noFill/>
        </p:spPr>
        <p:txBody>
          <a:bodyPr wrap="square" lIns="186521" tIns="149217" rIns="186521" bIns="149217" rtlCol="0">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448" b="0" i="0" u="none" strike="noStrike" kern="1200" cap="none" spc="0" normalizeH="0" baseline="0" noProof="0" dirty="0">
                <a:ln>
                  <a:noFill/>
                </a:ln>
                <a:solidFill>
                  <a:srgbClr val="FFFFFF"/>
                </a:solidFill>
                <a:effectLst/>
                <a:uLnTx/>
                <a:uFillTx/>
                <a:latin typeface="Segoe UI"/>
                <a:ea typeface="+mn-ea"/>
                <a:cs typeface="+mn-cs"/>
              </a:rPr>
              <a:t>Contact: Karina Homme khomme@Microsoft.com</a:t>
            </a:r>
          </a:p>
        </p:txBody>
      </p:sp>
      <p:sp>
        <p:nvSpPr>
          <p:cNvPr id="2" name="TextBox 1"/>
          <p:cNvSpPr txBox="1"/>
          <p:nvPr/>
        </p:nvSpPr>
        <p:spPr>
          <a:xfrm>
            <a:off x="3334443" y="5121430"/>
            <a:ext cx="6553392" cy="647165"/>
          </a:xfrm>
          <a:prstGeom prst="rect">
            <a:avLst/>
          </a:prstGeom>
          <a:noFill/>
        </p:spPr>
        <p:txBody>
          <a:bodyPr wrap="none" lIns="186521" tIns="149217" rIns="186521" bIns="149217" rtlCol="0">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pproaching 700 members and growing!</a:t>
            </a:r>
          </a:p>
        </p:txBody>
      </p:sp>
    </p:spTree>
    <p:extLst>
      <p:ext uri="{BB962C8B-B14F-4D97-AF65-F5344CB8AC3E}">
        <p14:creationId xmlns:p14="http://schemas.microsoft.com/office/powerpoint/2010/main" val="304071107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4737" y="2098358"/>
            <a:ext cx="5597077" cy="2003203"/>
          </a:xfrm>
        </p:spPr>
        <p:txBody>
          <a:bodyPr>
            <a:normAutofit fontScale="90000"/>
          </a:bodyPr>
          <a:lstStyle/>
          <a:p>
            <a:r>
              <a:rPr lang="en-US" sz="3672" dirty="0"/>
              <a:t>Broadcast quality live video to increase Azure sales</a:t>
            </a:r>
            <a:br>
              <a:rPr lang="en-US" sz="3672" dirty="0"/>
            </a:br>
            <a:r>
              <a:rPr lang="en-US" sz="2040" dirty="0"/>
              <a:t>MTC</a:t>
            </a:r>
            <a:br>
              <a:rPr lang="en-US" dirty="0"/>
            </a:br>
            <a:br>
              <a:rPr lang="en-US" dirty="0"/>
            </a:br>
            <a:r>
              <a:rPr lang="en-US" sz="2295" dirty="0"/>
              <a:t>Philip Nelson</a:t>
            </a:r>
            <a:br>
              <a:rPr lang="en-US" sz="2295" dirty="0"/>
            </a:br>
            <a:r>
              <a:rPr lang="en-US" sz="2295" dirty="0"/>
              <a:t>NewTek - TriCaster</a:t>
            </a:r>
            <a:endParaRPr lang="en-US" dirty="0"/>
          </a:p>
        </p:txBody>
      </p:sp>
      <p:sp>
        <p:nvSpPr>
          <p:cNvPr id="2" name="Text Placeholder 1"/>
          <p:cNvSpPr>
            <a:spLocks noGrp="1"/>
          </p:cNvSpPr>
          <p:nvPr>
            <p:ph type="body" sz="quarter" idx="10"/>
          </p:nvPr>
        </p:nvSpPr>
        <p:spPr/>
        <p:txBody>
          <a:bodyPr/>
          <a:lstStyle/>
          <a:p>
            <a:br>
              <a:rPr lang="en-US" dirty="0"/>
            </a:br>
            <a:r>
              <a:rPr lang="en-US" dirty="0"/>
              <a:t>January, 2017</a:t>
            </a:r>
          </a:p>
        </p:txBody>
      </p:sp>
      <p:pic>
        <p:nvPicPr>
          <p:cNvPr id="9" name="tmpA258">
            <a:hlinkClick r:id="" action="ppaction://media"/>
          </p:cNvPr>
          <p:cNvPicPr>
            <a:picLocks noChangeAspect="1"/>
          </p:cNvPicPr>
          <p:nvPr>
            <a:videoFile r:link="rId3"/>
            <p:custDataLst>
              <p:custData r:id="rId4"/>
              <p:tags r:id="rId5"/>
            </p:custDataLst>
            <p:extLst>
              <p:ext uri="{DAA4B4D4-6D71-4841-9C94-3DE7FCFB9230}">
                <p14:media xmlns:p14="http://schemas.microsoft.com/office/powerpoint/2010/main" r:embed="rId6">
                  <p14:trim end="189665.4761"/>
                </p14:media>
              </p:ext>
            </p:extLst>
          </p:nvPr>
        </p:nvPicPr>
        <p:blipFill>
          <a:blip r:embed="rId8"/>
          <a:stretch>
            <a:fillRect/>
          </a:stretch>
        </p:blipFill>
        <p:spPr>
          <a:xfrm>
            <a:off x="12098819" y="103622"/>
            <a:ext cx="233151" cy="233151"/>
          </a:xfrm>
          <a:prstGeom prst="rect">
            <a:avLst/>
          </a:prstGeom>
        </p:spPr>
      </p:pic>
    </p:spTree>
    <p:custDataLst>
      <p:custData r:id="rId1"/>
      <p:tags r:id="rId2"/>
    </p:custDataLst>
    <p:extLst>
      <p:ext uri="{BB962C8B-B14F-4D97-AF65-F5344CB8AC3E}">
        <p14:creationId xmlns:p14="http://schemas.microsoft.com/office/powerpoint/2010/main" val="1872319531"/>
      </p:ext>
    </p:extLst>
  </p:cSld>
  <p:clrMapOvr>
    <a:masterClrMapping/>
  </p:clrMapOvr>
  <p:transition>
    <p:fade/>
  </p:transition>
  <p:timing>
    <p:tnLst>
      <p:par>
        <p:cTn id="1" dur="indefinite" restart="never" nodeType="tmRoot">
          <p:childTnLst>
            <p:video>
              <p:cMediaNode vol="80000">
                <p:cTn id="2" fill="hold" display="0">
                  <p:stCondLst>
                    <p:cond delay="indefinite"/>
                  </p:stCondLst>
                </p:cTn>
                <p:tgtEl>
                  <p:spTgt spid="9"/>
                </p:tgtEl>
              </p:cMediaNode>
            </p:video>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998135" y="1"/>
            <a:ext cx="10261310" cy="843398"/>
          </a:xfrm>
        </p:spPr>
        <p:txBody>
          <a:bodyPr/>
          <a:lstStyle/>
          <a:p>
            <a:r>
              <a:rPr lang="en-US" dirty="0"/>
              <a:t>MTC - 11 Times Square - Capabilities</a:t>
            </a:r>
          </a:p>
        </p:txBody>
      </p:sp>
      <p:sp>
        <p:nvSpPr>
          <p:cNvPr id="8" name="TextBox 7"/>
          <p:cNvSpPr txBox="1"/>
          <p:nvPr/>
        </p:nvSpPr>
        <p:spPr>
          <a:xfrm>
            <a:off x="195511" y="1321864"/>
            <a:ext cx="10209979" cy="3316824"/>
          </a:xfrm>
          <a:prstGeom prst="rect">
            <a:avLst/>
          </a:prstGeom>
        </p:spPr>
        <p:txBody>
          <a:bodyPr vert="horz" wrap="square" lIns="93260" tIns="93260" rIns="93260" bIns="93260" rtlCol="0" anchor="t">
            <a:noAutofit/>
          </a:bodyPr>
          <a:lstStyle/>
          <a:p>
            <a:pPr marL="174862" marR="0" lvl="0" indent="-174862" algn="l" defTabSz="932597" rtl="0" eaLnBrk="1" fontAlgn="auto" latinLnBrk="0" hangingPunct="1">
              <a:lnSpc>
                <a:spcPct val="100000"/>
              </a:lnSpc>
              <a:spcBef>
                <a:spcPts val="0"/>
              </a:spcBef>
              <a:spcAft>
                <a:spcPts val="0"/>
              </a:spcAft>
              <a:buClrTx/>
              <a:buSzTx/>
              <a:buFont typeface="Wingdings" pitchFamily="2" charset="2"/>
              <a:buChar char="§"/>
              <a:tabLst/>
              <a:defRPr/>
            </a:pPr>
            <a:endParaRPr kumimoji="0" lang="en-US" sz="1632" b="0" i="0" u="none" strike="noStrike" kern="0" cap="none" spc="0" normalizeH="0" baseline="0" noProof="0" dirty="0">
              <a:ln>
                <a:noFill/>
              </a:ln>
              <a:solidFill>
                <a:sysClr val="windowText" lastClr="000000"/>
              </a:solidFill>
              <a:effectLst/>
              <a:uLnTx/>
              <a:uFillTx/>
              <a:latin typeface="Segoe UI" pitchFamily="34" charset="0"/>
              <a:ea typeface="Segoe UI" pitchFamily="34" charset="0"/>
              <a:cs typeface="Segoe UI" pitchFamily="34" charset="0"/>
            </a:endParaRPr>
          </a:p>
        </p:txBody>
      </p:sp>
      <p:sp>
        <p:nvSpPr>
          <p:cNvPr id="9" name="TextBox 8"/>
          <p:cNvSpPr txBox="1"/>
          <p:nvPr/>
        </p:nvSpPr>
        <p:spPr>
          <a:xfrm>
            <a:off x="349594" y="1321863"/>
            <a:ext cx="9674746" cy="1946303"/>
          </a:xfrm>
          <a:prstGeom prst="rect">
            <a:avLst/>
          </a:prstGeom>
        </p:spPr>
        <p:txBody>
          <a:bodyPr vert="horz" wrap="none" lIns="93260" tIns="93260" rIns="93260" bIns="93260" rtlCol="0" anchor="t">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white">
                  <a:lumMod val="95000"/>
                </a:prstClr>
              </a:solidFill>
              <a:effectLst/>
              <a:uLnTx/>
              <a:uFillTx/>
              <a:latin typeface="Segoe UI"/>
              <a:ea typeface="+mn-ea"/>
              <a:cs typeface="+mn-cs"/>
            </a:endParaRPr>
          </a:p>
          <a:p>
            <a:pPr marL="174862" marR="0" lvl="0" indent="-174862" algn="l" defTabSz="932597" rtl="0" eaLnBrk="1" fontAlgn="auto" latinLnBrk="0" hangingPunct="1">
              <a:lnSpc>
                <a:spcPct val="100000"/>
              </a:lnSpc>
              <a:spcBef>
                <a:spcPts val="0"/>
              </a:spcBef>
              <a:spcAft>
                <a:spcPts val="0"/>
              </a:spcAft>
              <a:buClrTx/>
              <a:buSzTx/>
              <a:buFont typeface="Wingdings" pitchFamily="2" charset="2"/>
              <a:buChar char="§"/>
              <a:tabLst/>
              <a:defRPr/>
            </a:pPr>
            <a:r>
              <a:rPr kumimoji="0" lang="en-US" sz="1632" b="0" i="0" u="none" strike="noStrike" kern="0" cap="none" spc="0" normalizeH="0" baseline="0" noProof="0" dirty="0">
                <a:ln>
                  <a:noFill/>
                </a:ln>
                <a:solidFill>
                  <a:prstClr val="white">
                    <a:lumMod val="95000"/>
                  </a:prstClr>
                </a:solidFill>
                <a:effectLst/>
                <a:uLnTx/>
                <a:uFillTx/>
                <a:latin typeface="Segoe UI"/>
                <a:ea typeface="+mn-ea"/>
                <a:cs typeface="+mn-cs"/>
              </a:rPr>
              <a:t>A broadcast quality studio in partnership with the Azure /Skype Teams </a:t>
            </a:r>
          </a:p>
          <a:p>
            <a:pPr marL="174862" marR="0" lvl="0" indent="-174862" algn="l" defTabSz="932597" rtl="0" eaLnBrk="1" fontAlgn="auto" latinLnBrk="0" hangingPunct="1">
              <a:lnSpc>
                <a:spcPct val="100000"/>
              </a:lnSpc>
              <a:spcBef>
                <a:spcPts val="0"/>
              </a:spcBef>
              <a:spcAft>
                <a:spcPts val="0"/>
              </a:spcAft>
              <a:buClrTx/>
              <a:buSzTx/>
              <a:buFont typeface="Wingdings" pitchFamily="2" charset="2"/>
              <a:buChar char="§"/>
              <a:tabLst/>
              <a:defRPr/>
            </a:pPr>
            <a:r>
              <a:rPr kumimoji="0" lang="en-US" sz="1632" b="0" i="0" u="none" strike="noStrike" kern="0" cap="none" spc="0" normalizeH="0" baseline="0" noProof="0" dirty="0">
                <a:ln>
                  <a:noFill/>
                </a:ln>
                <a:solidFill>
                  <a:prstClr val="white">
                    <a:lumMod val="95000"/>
                  </a:prstClr>
                </a:solidFill>
                <a:effectLst/>
                <a:uLnTx/>
                <a:uFillTx/>
                <a:latin typeface="Segoe UI"/>
                <a:ea typeface="+mn-ea"/>
                <a:cs typeface="+mn-cs"/>
              </a:rPr>
              <a:t>Multiple remote controlled PTZ (Pan Tilt and Zoom) Cameras installed in the Envisioning Center (EC)</a:t>
            </a:r>
          </a:p>
          <a:p>
            <a:pPr marL="174862" marR="0" lvl="0" indent="-174862" algn="l" defTabSz="932597" rtl="0" eaLnBrk="1" fontAlgn="auto" latinLnBrk="0" hangingPunct="1">
              <a:lnSpc>
                <a:spcPct val="100000"/>
              </a:lnSpc>
              <a:spcBef>
                <a:spcPts val="0"/>
              </a:spcBef>
              <a:spcAft>
                <a:spcPts val="0"/>
              </a:spcAft>
              <a:buClrTx/>
              <a:buSzTx/>
              <a:buFont typeface="Wingdings" pitchFamily="2" charset="2"/>
              <a:buChar char="§"/>
              <a:tabLst/>
              <a:defRPr/>
            </a:pPr>
            <a:r>
              <a:rPr kumimoji="0" lang="en-US" sz="1632" b="0" i="0" u="none" strike="noStrike" kern="0" cap="none" spc="0" normalizeH="0" baseline="0" noProof="0" dirty="0">
                <a:ln>
                  <a:noFill/>
                </a:ln>
                <a:solidFill>
                  <a:prstClr val="white">
                    <a:lumMod val="95000"/>
                  </a:prstClr>
                </a:solidFill>
                <a:effectLst/>
                <a:uLnTx/>
                <a:uFillTx/>
                <a:latin typeface="Segoe UI"/>
                <a:ea typeface="+mn-ea"/>
                <a:cs typeface="+mn-cs"/>
              </a:rPr>
              <a:t>Skype TX (HD Skype content) integration of  video calls and recordings</a:t>
            </a:r>
          </a:p>
          <a:p>
            <a:pPr marL="174862" marR="0" lvl="0" indent="-174862" algn="l" defTabSz="932597" rtl="0" eaLnBrk="1" fontAlgn="auto" latinLnBrk="0" hangingPunct="1">
              <a:lnSpc>
                <a:spcPct val="100000"/>
              </a:lnSpc>
              <a:spcBef>
                <a:spcPts val="0"/>
              </a:spcBef>
              <a:spcAft>
                <a:spcPts val="0"/>
              </a:spcAft>
              <a:buClrTx/>
              <a:buSzTx/>
              <a:buFont typeface="Wingdings" pitchFamily="2" charset="2"/>
              <a:buChar char="§"/>
              <a:tabLst/>
              <a:defRPr/>
            </a:pPr>
            <a:r>
              <a:rPr kumimoji="0" lang="en-US" sz="1632" b="0" i="0" u="none" strike="noStrike" kern="0" cap="none" spc="0" normalizeH="0" baseline="0" noProof="0" dirty="0">
                <a:ln>
                  <a:noFill/>
                </a:ln>
                <a:solidFill>
                  <a:prstClr val="white">
                    <a:lumMod val="95000"/>
                  </a:prstClr>
                </a:solidFill>
                <a:effectLst/>
                <a:uLnTx/>
                <a:uFillTx/>
                <a:latin typeface="Segoe UI"/>
                <a:ea typeface="+mn-ea"/>
                <a:cs typeface="+mn-cs"/>
              </a:rPr>
              <a:t>Virtual Sets / Chroma Key (Green Screen) capabilities – the ability to place speakers in a virtual studio</a:t>
            </a:r>
          </a:p>
          <a:p>
            <a:pPr marL="174862" marR="0" lvl="0" indent="-174862" algn="l" defTabSz="932597" rtl="0" eaLnBrk="1" fontAlgn="auto" latinLnBrk="0" hangingPunct="1">
              <a:lnSpc>
                <a:spcPct val="100000"/>
              </a:lnSpc>
              <a:spcBef>
                <a:spcPts val="0"/>
              </a:spcBef>
              <a:spcAft>
                <a:spcPts val="0"/>
              </a:spcAft>
              <a:buClrTx/>
              <a:buSzTx/>
              <a:buFont typeface="Wingdings" pitchFamily="2" charset="2"/>
              <a:buChar char="§"/>
              <a:tabLst/>
              <a:defRPr/>
            </a:pPr>
            <a:r>
              <a:rPr kumimoji="0" lang="en-US" sz="1632" b="0" i="0" u="none" strike="noStrike" kern="0" cap="none" spc="0" normalizeH="0" baseline="0" noProof="0" dirty="0">
                <a:ln>
                  <a:noFill/>
                </a:ln>
                <a:solidFill>
                  <a:prstClr val="white">
                    <a:lumMod val="95000"/>
                  </a:prstClr>
                </a:solidFill>
                <a:effectLst/>
                <a:uLnTx/>
                <a:uFillTx/>
                <a:latin typeface="Segoe UI"/>
                <a:ea typeface="+mn-ea"/>
                <a:cs typeface="+mn-cs"/>
              </a:rPr>
              <a:t>Transmission via Azure Media Services and Skype Broadcast of “MTC Studios” and other events</a:t>
            </a:r>
            <a:endParaRPr kumimoji="0" lang="en-US" sz="1632" b="0" i="0" u="none" strike="noStrike" kern="0" cap="none" spc="0" normalizeH="0" baseline="0" noProof="0" dirty="0">
              <a:ln>
                <a:noFill/>
              </a:ln>
              <a:solidFill>
                <a:prstClr val="white">
                  <a:lumMod val="95000"/>
                </a:prstClr>
              </a:solidFill>
              <a:effectLst/>
              <a:uLnTx/>
              <a:uFillTx/>
              <a:latin typeface="Segoe UI" pitchFamily="34" charset="0"/>
              <a:ea typeface="Segoe UI" pitchFamily="34" charset="0"/>
              <a:cs typeface="Segoe UI" pitchFamily="34" charset="0"/>
            </a:endParaRPr>
          </a:p>
        </p:txBody>
      </p:sp>
      <p:pic>
        <p:nvPicPr>
          <p:cNvPr id="2" name="Picture 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682661" y="3529748"/>
            <a:ext cx="5456034" cy="3516037"/>
          </a:xfrm>
          <a:prstGeom prst="rect">
            <a:avLst/>
          </a:prstGeom>
        </p:spPr>
      </p:pic>
      <p:pic>
        <p:nvPicPr>
          <p:cNvPr id="6" name="tmpA258">
            <a:hlinkClick r:id="" action="ppaction://media"/>
          </p:cNvPr>
          <p:cNvPicPr>
            <a:picLocks noChangeAspect="1"/>
          </p:cNvPicPr>
          <p:nvPr>
            <a:videoFile r:link="rId3"/>
            <p:custDataLst>
              <p:custData r:id="rId4"/>
              <p:tags r:id="rId5"/>
            </p:custDataLst>
            <p:extLst>
              <p:ext uri="{DAA4B4D4-6D71-4841-9C94-3DE7FCFB9230}">
                <p14:media xmlns:p14="http://schemas.microsoft.com/office/powerpoint/2010/main" r:embed="rId6">
                  <p14:trim st="14275" end="147116.4761"/>
                </p14:media>
              </p:ext>
            </p:extLst>
          </p:nvPr>
        </p:nvPicPr>
        <p:blipFill>
          <a:blip r:embed="rId9"/>
          <a:stretch>
            <a:fillRect/>
          </a:stretch>
        </p:blipFill>
        <p:spPr>
          <a:xfrm>
            <a:off x="12098819" y="103622"/>
            <a:ext cx="233151" cy="233151"/>
          </a:xfrm>
          <a:prstGeom prst="rect">
            <a:avLst/>
          </a:prstGeom>
        </p:spPr>
      </p:pic>
    </p:spTree>
    <p:custDataLst>
      <p:custData r:id="rId1"/>
      <p:tags r:id="rId2"/>
    </p:custDataLst>
    <p:extLst>
      <p:ext uri="{BB962C8B-B14F-4D97-AF65-F5344CB8AC3E}">
        <p14:creationId xmlns:p14="http://schemas.microsoft.com/office/powerpoint/2010/main" val="4027358624"/>
      </p:ext>
    </p:extLst>
  </p:cSld>
  <p:clrMapOvr>
    <a:masterClrMapping/>
  </p:clrMapOvr>
  <p:transition>
    <p:fade/>
  </p:transition>
  <p:timing>
    <p:tnLst>
      <p:par>
        <p:cTn id="1" dur="indefinite" restart="never" nodeType="tmRoot">
          <p:childTnLst>
            <p:video>
              <p:cMediaNode vol="80000">
                <p:cTn id="2" fill="hold" display="0">
                  <p:stCondLst>
                    <p:cond delay="indefinite"/>
                  </p:stCondLst>
                </p:cTn>
                <p:tgtEl>
                  <p:spTgt spid="6"/>
                </p:tgtEl>
              </p:cMediaNode>
            </p:video>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NewTek Impact</a:t>
            </a:r>
          </a:p>
        </p:txBody>
      </p:sp>
      <p:sp>
        <p:nvSpPr>
          <p:cNvPr id="4" name="Text Placeholder 3"/>
          <p:cNvSpPr>
            <a:spLocks noGrp="1"/>
          </p:cNvSpPr>
          <p:nvPr>
            <p:ph type="body" sz="quarter" idx="13"/>
          </p:nvPr>
        </p:nvSpPr>
        <p:spPr/>
        <p:txBody>
          <a:bodyPr/>
          <a:lstStyle/>
          <a:p>
            <a:endParaRPr lang="en-US" dirty="0"/>
          </a:p>
        </p:txBody>
      </p:sp>
      <p:sp>
        <p:nvSpPr>
          <p:cNvPr id="5" name="Text Placeholder 4"/>
          <p:cNvSpPr>
            <a:spLocks noGrp="1"/>
          </p:cNvSpPr>
          <p:nvPr>
            <p:ph type="body" sz="quarter" idx="14"/>
          </p:nvPr>
        </p:nvSpPr>
        <p:spPr/>
        <p:txBody>
          <a:bodyPr>
            <a:normAutofit/>
          </a:bodyPr>
          <a:lstStyle/>
          <a:p>
            <a:pPr marL="0" indent="0" algn="ctr">
              <a:buNone/>
            </a:pPr>
            <a:endParaRPr lang="en-US" sz="4896" dirty="0"/>
          </a:p>
          <a:p>
            <a:pPr marL="0" indent="0" algn="ctr">
              <a:buNone/>
            </a:pPr>
            <a:r>
              <a:rPr lang="en-US" sz="4896" dirty="0"/>
              <a:t>Before TriCaster:</a:t>
            </a:r>
          </a:p>
          <a:p>
            <a:pPr marL="0" indent="0" algn="ctr">
              <a:buNone/>
            </a:pPr>
            <a:r>
              <a:rPr lang="en-US" sz="4896" dirty="0"/>
              <a:t>MTC Broadcasts were averaging less than 5 min view times on a 30 min live webcast</a:t>
            </a:r>
          </a:p>
        </p:txBody>
      </p:sp>
      <p:sp>
        <p:nvSpPr>
          <p:cNvPr id="2" name="Slide Number Placeholder 1"/>
          <p:cNvSpPr>
            <a:spLocks noGrp="1"/>
          </p:cNvSpPr>
          <p:nvPr>
            <p:ph type="sldNum" sz="quarter" idx="15"/>
          </p:nvPr>
        </p:nvSpPr>
        <p:spPr/>
        <p:txBody>
          <a:bodyPr/>
          <a:lstStyle/>
          <a:p>
            <a:pPr marL="0" marR="0" lvl="0" indent="0" algn="r" defTabSz="1040398" rtl="0" eaLnBrk="1" fontAlgn="auto" latinLnBrk="0" hangingPunct="1">
              <a:lnSpc>
                <a:spcPct val="100000"/>
              </a:lnSpc>
              <a:spcBef>
                <a:spcPts val="0"/>
              </a:spcBef>
              <a:spcAft>
                <a:spcPts val="0"/>
              </a:spcAft>
              <a:buClrTx/>
              <a:buSzTx/>
              <a:buFontTx/>
              <a:buNone/>
              <a:tabLst/>
              <a:defRPr/>
            </a:pPr>
            <a:fld id="{FAADACFB-7C71-4E89-89D2-7BBA40B7BFA9}" type="slidenum">
              <a:rPr kumimoji="0" lang="en-US" sz="1836" b="0" i="0" u="none" strike="noStrike" kern="0" cap="none" spc="0" normalizeH="0" baseline="0" noProof="0">
                <a:ln>
                  <a:noFill/>
                </a:ln>
                <a:solidFill>
                  <a:srgbClr val="0078D7"/>
                </a:solidFill>
                <a:effectLst/>
                <a:uLnTx/>
                <a:uFillTx/>
                <a:latin typeface="Segoe UI" pitchFamily="34" charset="0"/>
                <a:cs typeface="Segoe UI" pitchFamily="34" charset="0"/>
              </a:rPr>
              <a:pPr marL="0" marR="0" lvl="0" indent="0" algn="r" defTabSz="1040398" rtl="0" eaLnBrk="1" fontAlgn="auto" latinLnBrk="0" hangingPunct="1">
                <a:lnSpc>
                  <a:spcPct val="100000"/>
                </a:lnSpc>
                <a:spcBef>
                  <a:spcPts val="0"/>
                </a:spcBef>
                <a:spcAft>
                  <a:spcPts val="0"/>
                </a:spcAft>
                <a:buClrTx/>
                <a:buSzTx/>
                <a:buFontTx/>
                <a:buNone/>
                <a:tabLst/>
                <a:defRPr/>
              </a:pPr>
              <a:t>59</a:t>
            </a:fld>
            <a:endParaRPr kumimoji="0" lang="en-US" sz="1836" b="0" i="0" u="none" strike="noStrike" kern="0" cap="none" spc="0" normalizeH="0" baseline="0" noProof="0" dirty="0">
              <a:ln>
                <a:noFill/>
              </a:ln>
              <a:solidFill>
                <a:srgbClr val="0078D7"/>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6573575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 – Morning </a:t>
            </a:r>
            <a:r>
              <a:rPr lang="en-US" i="1" dirty="0"/>
              <a:t>(broadcast)</a:t>
            </a:r>
            <a:endParaRPr lang="en-US" dirty="0"/>
          </a:p>
        </p:txBody>
      </p:sp>
      <p:sp>
        <p:nvSpPr>
          <p:cNvPr id="3" name="Text Placeholder 2"/>
          <p:cNvSpPr>
            <a:spLocks noGrp="1"/>
          </p:cNvSpPr>
          <p:nvPr>
            <p:ph type="body" sz="quarter" idx="10"/>
          </p:nvPr>
        </p:nvSpPr>
        <p:spPr>
          <a:xfrm>
            <a:off x="274638" y="1212850"/>
            <a:ext cx="11887200" cy="5281446"/>
          </a:xfrm>
        </p:spPr>
        <p:txBody>
          <a:bodyPr numCol="2"/>
          <a:lstStyle/>
          <a:p>
            <a:r>
              <a:rPr lang="en-US" sz="1600" b="1" i="1" dirty="0"/>
              <a:t>8:30 – Kickoff – Greg Myers, Rhys Ziemer</a:t>
            </a:r>
          </a:p>
          <a:p>
            <a:endParaRPr lang="en-US" sz="1600" b="1" i="1" dirty="0"/>
          </a:p>
          <a:p>
            <a:r>
              <a:rPr lang="en-US" sz="1600" b="1" i="1" dirty="0"/>
              <a:t>8:50 – Azure Key Plays – Misty Jordan</a:t>
            </a:r>
          </a:p>
          <a:p>
            <a:r>
              <a:rPr lang="en-US" sz="1600" dirty="0">
                <a:solidFill>
                  <a:schemeClr val="bg1">
                    <a:lumMod val="40000"/>
                    <a:lumOff val="60000"/>
                  </a:schemeClr>
                </a:solidFill>
              </a:rPr>
              <a:t>9:00 – Intelligent Cloud &amp; Analytics – Jeff Bednarczyk</a:t>
            </a:r>
          </a:p>
          <a:p>
            <a:r>
              <a:rPr lang="en-US" sz="1600" dirty="0">
                <a:solidFill>
                  <a:schemeClr val="bg1">
                    <a:lumMod val="40000"/>
                    <a:lumOff val="60000"/>
                  </a:schemeClr>
                </a:solidFill>
              </a:rPr>
              <a:t>9:10 – Dev/Test Environments in Azure – Jessica Wilson</a:t>
            </a:r>
          </a:p>
          <a:p>
            <a:r>
              <a:rPr lang="en-US" sz="1600" dirty="0">
                <a:solidFill>
                  <a:schemeClr val="bg1">
                    <a:lumMod val="40000"/>
                    <a:lumOff val="60000"/>
                  </a:schemeClr>
                </a:solidFill>
              </a:rPr>
              <a:t>9:20 – Resilient Identity in the Cloud – Pishoy Bous</a:t>
            </a:r>
          </a:p>
          <a:p>
            <a:r>
              <a:rPr lang="en-US" sz="1600" dirty="0">
                <a:solidFill>
                  <a:schemeClr val="bg1">
                    <a:lumMod val="40000"/>
                    <a:lumOff val="60000"/>
                  </a:schemeClr>
                </a:solidFill>
              </a:rPr>
              <a:t>9:30 – Cloud Storage Solutions – Steve Coleman</a:t>
            </a:r>
          </a:p>
          <a:p>
            <a:r>
              <a:rPr lang="en-US" sz="1600" dirty="0">
                <a:solidFill>
                  <a:schemeClr val="bg1">
                    <a:lumMod val="40000"/>
                    <a:lumOff val="60000"/>
                  </a:schemeClr>
                </a:solidFill>
              </a:rPr>
              <a:t>9:40 – Modernize Enterprise Apps with the Cloud – Eric </a:t>
            </a:r>
            <a:r>
              <a:rPr lang="en-US" sz="1600" dirty="0" err="1">
                <a:solidFill>
                  <a:schemeClr val="bg1">
                    <a:lumMod val="40000"/>
                    <a:lumOff val="60000"/>
                  </a:schemeClr>
                </a:solidFill>
              </a:rPr>
              <a:t>Baran</a:t>
            </a:r>
            <a:endParaRPr lang="en-US" sz="1600" dirty="0">
              <a:solidFill>
                <a:schemeClr val="bg1">
                  <a:lumMod val="40000"/>
                  <a:lumOff val="60000"/>
                </a:schemeClr>
              </a:solidFill>
            </a:endParaRPr>
          </a:p>
          <a:p>
            <a:r>
              <a:rPr lang="en-US" sz="1600" dirty="0">
                <a:solidFill>
                  <a:schemeClr val="bg1">
                    <a:lumMod val="40000"/>
                    <a:lumOff val="60000"/>
                  </a:schemeClr>
                </a:solidFill>
              </a:rPr>
              <a:t>9:50 – MCS Azure Offerings – Dan Craytor</a:t>
            </a:r>
          </a:p>
          <a:p>
            <a:r>
              <a:rPr lang="en-US" sz="1600" dirty="0">
                <a:solidFill>
                  <a:schemeClr val="bg1">
                    <a:lumMod val="40000"/>
                    <a:lumOff val="60000"/>
                  </a:schemeClr>
                </a:solidFill>
              </a:rPr>
              <a:t>10:00 – How to Buy Azure Indirectly – John Schaller</a:t>
            </a:r>
          </a:p>
          <a:p>
            <a:endParaRPr lang="en-US" sz="1600" b="1" i="1" dirty="0"/>
          </a:p>
          <a:p>
            <a:r>
              <a:rPr lang="en-US" sz="1600" b="1" i="1" dirty="0"/>
              <a:t>10:10 – Break</a:t>
            </a:r>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r>
              <a:rPr lang="en-US" sz="1600" b="1" i="1" dirty="0"/>
              <a:t>10:50 – Azure Partner Plays – Greg Bateman</a:t>
            </a:r>
          </a:p>
          <a:p>
            <a:r>
              <a:rPr lang="en-US" sz="1600" dirty="0">
                <a:solidFill>
                  <a:schemeClr val="bg1">
                    <a:lumMod val="40000"/>
                    <a:lumOff val="60000"/>
                  </a:schemeClr>
                </a:solidFill>
              </a:rPr>
              <a:t>11:00 – </a:t>
            </a:r>
            <a:r>
              <a:rPr lang="en-US" sz="1600" dirty="0" err="1">
                <a:solidFill>
                  <a:schemeClr val="bg1">
                    <a:lumMod val="40000"/>
                    <a:lumOff val="60000"/>
                  </a:schemeClr>
                </a:solidFill>
              </a:rPr>
              <a:t>NewTek</a:t>
            </a:r>
            <a:endParaRPr lang="en-US" sz="1600" dirty="0">
              <a:solidFill>
                <a:schemeClr val="bg1">
                  <a:lumMod val="40000"/>
                  <a:lumOff val="60000"/>
                </a:schemeClr>
              </a:solidFill>
            </a:endParaRPr>
          </a:p>
          <a:p>
            <a:r>
              <a:rPr lang="en-US" sz="1600" dirty="0">
                <a:solidFill>
                  <a:schemeClr val="bg1">
                    <a:lumMod val="40000"/>
                    <a:lumOff val="60000"/>
                  </a:schemeClr>
                </a:solidFill>
              </a:rPr>
              <a:t>11:10 – NetApp</a:t>
            </a:r>
          </a:p>
          <a:p>
            <a:r>
              <a:rPr lang="en-US" sz="1600" dirty="0">
                <a:solidFill>
                  <a:schemeClr val="bg1">
                    <a:lumMod val="40000"/>
                    <a:lumOff val="60000"/>
                  </a:schemeClr>
                </a:solidFill>
              </a:rPr>
              <a:t>11:20 – </a:t>
            </a:r>
            <a:r>
              <a:rPr lang="en-US" sz="1600" dirty="0" err="1">
                <a:solidFill>
                  <a:schemeClr val="bg1">
                    <a:lumMod val="40000"/>
                    <a:lumOff val="60000"/>
                  </a:schemeClr>
                </a:solidFill>
              </a:rPr>
              <a:t>RedHat</a:t>
            </a:r>
            <a:endParaRPr lang="en-US" sz="1600" dirty="0">
              <a:solidFill>
                <a:schemeClr val="bg1">
                  <a:lumMod val="40000"/>
                  <a:lumOff val="60000"/>
                </a:schemeClr>
              </a:solidFill>
            </a:endParaRPr>
          </a:p>
          <a:p>
            <a:r>
              <a:rPr lang="en-US" sz="1600" dirty="0">
                <a:solidFill>
                  <a:schemeClr val="bg1">
                    <a:lumMod val="40000"/>
                    <a:lumOff val="60000"/>
                  </a:schemeClr>
                </a:solidFill>
              </a:rPr>
              <a:t>11:30 – CGI Federal</a:t>
            </a:r>
          </a:p>
          <a:p>
            <a:r>
              <a:rPr lang="en-US" sz="1600" dirty="0">
                <a:solidFill>
                  <a:schemeClr val="bg1">
                    <a:lumMod val="40000"/>
                    <a:lumOff val="60000"/>
                  </a:schemeClr>
                </a:solidFill>
              </a:rPr>
              <a:t>11:40 – </a:t>
            </a:r>
            <a:r>
              <a:rPr lang="en-US" sz="1600" dirty="0" err="1">
                <a:solidFill>
                  <a:schemeClr val="bg1">
                    <a:lumMod val="40000"/>
                    <a:lumOff val="60000"/>
                  </a:schemeClr>
                </a:solidFill>
              </a:rPr>
              <a:t>AvePoint</a:t>
            </a:r>
            <a:endParaRPr lang="en-US" sz="1600" dirty="0">
              <a:solidFill>
                <a:schemeClr val="bg1">
                  <a:lumMod val="40000"/>
                  <a:lumOff val="60000"/>
                </a:schemeClr>
              </a:solidFill>
            </a:endParaRPr>
          </a:p>
          <a:p>
            <a:r>
              <a:rPr lang="en-US" sz="1600" dirty="0">
                <a:solidFill>
                  <a:schemeClr val="bg1">
                    <a:lumMod val="40000"/>
                    <a:lumOff val="60000"/>
                  </a:schemeClr>
                </a:solidFill>
              </a:rPr>
              <a:t>11:50 – ESRI</a:t>
            </a:r>
          </a:p>
          <a:p>
            <a:r>
              <a:rPr lang="en-US" sz="1600" dirty="0">
                <a:solidFill>
                  <a:schemeClr val="bg1">
                    <a:lumMod val="40000"/>
                    <a:lumOff val="60000"/>
                  </a:schemeClr>
                </a:solidFill>
              </a:rPr>
              <a:t>12:00 – </a:t>
            </a:r>
            <a:r>
              <a:rPr lang="en-US" sz="1600" dirty="0" err="1">
                <a:solidFill>
                  <a:schemeClr val="bg1">
                    <a:lumMod val="40000"/>
                    <a:lumOff val="60000"/>
                  </a:schemeClr>
                </a:solidFill>
              </a:rPr>
              <a:t>eSignLive</a:t>
            </a:r>
            <a:endParaRPr lang="en-US" sz="1600" dirty="0">
              <a:solidFill>
                <a:schemeClr val="bg1">
                  <a:lumMod val="40000"/>
                  <a:lumOff val="60000"/>
                </a:schemeClr>
              </a:solidFill>
            </a:endParaRPr>
          </a:p>
          <a:p>
            <a:endParaRPr lang="en-US" sz="1600" b="1" i="1" dirty="0"/>
          </a:p>
          <a:p>
            <a:r>
              <a:rPr lang="en-US" sz="1600" b="1" i="1" dirty="0"/>
              <a:t>12:10 – Lunch</a:t>
            </a:r>
          </a:p>
        </p:txBody>
      </p:sp>
    </p:spTree>
    <p:extLst>
      <p:ext uri="{BB962C8B-B14F-4D97-AF65-F5344CB8AC3E}">
        <p14:creationId xmlns:p14="http://schemas.microsoft.com/office/powerpoint/2010/main" val="542811703"/>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pPr marL="0" marR="0" lvl="0" indent="0" algn="r" defTabSz="1040398" rtl="0" eaLnBrk="1" fontAlgn="auto" latinLnBrk="0" hangingPunct="1">
              <a:lnSpc>
                <a:spcPct val="100000"/>
              </a:lnSpc>
              <a:spcBef>
                <a:spcPts val="0"/>
              </a:spcBef>
              <a:spcAft>
                <a:spcPts val="0"/>
              </a:spcAft>
              <a:buClrTx/>
              <a:buSzTx/>
              <a:buFontTx/>
              <a:buNone/>
              <a:tabLst/>
              <a:defRPr/>
            </a:pPr>
            <a:fld id="{FAADACFB-7C71-4E89-89D2-7BBA40B7BFA9}" type="slidenum">
              <a:rPr kumimoji="0" lang="en-US" sz="1836" b="0" i="0" u="none" strike="noStrike" kern="0" cap="none" spc="0" normalizeH="0" baseline="0" noProof="0">
                <a:ln>
                  <a:noFill/>
                </a:ln>
                <a:solidFill>
                  <a:srgbClr val="0078D7"/>
                </a:solidFill>
                <a:effectLst/>
                <a:uLnTx/>
                <a:uFillTx/>
                <a:latin typeface="Segoe UI" pitchFamily="34" charset="0"/>
                <a:cs typeface="Segoe UI" pitchFamily="34" charset="0"/>
              </a:rPr>
              <a:pPr marL="0" marR="0" lvl="0" indent="0" algn="r" defTabSz="1040398" rtl="0" eaLnBrk="1" fontAlgn="auto" latinLnBrk="0" hangingPunct="1">
                <a:lnSpc>
                  <a:spcPct val="100000"/>
                </a:lnSpc>
                <a:spcBef>
                  <a:spcPts val="0"/>
                </a:spcBef>
                <a:spcAft>
                  <a:spcPts val="0"/>
                </a:spcAft>
                <a:buClrTx/>
                <a:buSzTx/>
                <a:buFontTx/>
                <a:buNone/>
                <a:tabLst/>
                <a:defRPr/>
              </a:pPr>
              <a:t>60</a:t>
            </a:fld>
            <a:endParaRPr kumimoji="0" lang="en-US" sz="1836" b="0" i="0" u="none" strike="noStrike" kern="0" cap="none" spc="0" normalizeH="0" baseline="0" noProof="0" dirty="0">
              <a:ln>
                <a:noFill/>
              </a:ln>
              <a:solidFill>
                <a:srgbClr val="0078D7"/>
              </a:solidFill>
              <a:effectLst/>
              <a:uLnTx/>
              <a:uFillTx/>
              <a:latin typeface="Segoe UI" pitchFamily="34" charset="0"/>
              <a:cs typeface="Segoe UI" pitchFamily="34" charset="0"/>
            </a:endParaRPr>
          </a:p>
        </p:txBody>
      </p:sp>
      <p:pic>
        <p:nvPicPr>
          <p:cNvPr id="3" name="Picture 2"/>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98379" y="2066116"/>
            <a:ext cx="3016478" cy="1547173"/>
          </a:xfrm>
          <a:prstGeom prst="rect">
            <a:avLst/>
          </a:prstGeom>
        </p:spPr>
      </p:pic>
      <p:sp>
        <p:nvSpPr>
          <p:cNvPr id="4" name="Title 1"/>
          <p:cNvSpPr txBox="1">
            <a:spLocks/>
          </p:cNvSpPr>
          <p:nvPr/>
        </p:nvSpPr>
        <p:spPr>
          <a:xfrm>
            <a:off x="1098379" y="-19430"/>
            <a:ext cx="7460827" cy="718882"/>
          </a:xfrm>
          <a:prstGeom prst="rect">
            <a:avLst/>
          </a:prstGeom>
        </p:spPr>
        <p:txBody>
          <a:bodyPr vert="horz" lIns="93260" tIns="46630" rIns="93260" bIns="46630" rtlCol="0" anchor="ctr">
            <a:normAutofit/>
          </a:bodyPr>
          <a:lstStyle>
            <a:lvl1pPr algn="l" defTabSz="914400" rtl="0" eaLnBrk="1" latinLnBrk="0" hangingPunct="1">
              <a:spcBef>
                <a:spcPct val="0"/>
              </a:spcBef>
              <a:buNone/>
              <a:defRPr sz="3000" kern="1200">
                <a:solidFill>
                  <a:schemeClr val="bg2">
                    <a:lumMod val="90000"/>
                  </a:schemeClr>
                </a:solidFill>
                <a:latin typeface="Helvetica" pitchFamily="34" charset="0"/>
                <a:ea typeface="+mj-ea"/>
                <a:cs typeface="Helvetica" pitchFamily="34" charset="0"/>
              </a:defRPr>
            </a:lvl1pPr>
          </a:lstStyle>
          <a:p>
            <a:pPr marL="0" marR="0" lvl="0" indent="0" algn="l" defTabSz="932597" rtl="0" eaLnBrk="1" fontAlgn="auto" latinLnBrk="0" hangingPunct="1">
              <a:lnSpc>
                <a:spcPct val="100000"/>
              </a:lnSpc>
              <a:spcBef>
                <a:spcPct val="0"/>
              </a:spcBef>
              <a:spcAft>
                <a:spcPts val="0"/>
              </a:spcAft>
              <a:buClrTx/>
              <a:buSzTx/>
              <a:buFontTx/>
              <a:buNone/>
              <a:tabLst/>
              <a:defRPr/>
            </a:pPr>
            <a:r>
              <a:rPr kumimoji="0" lang="en-US" sz="3060" b="0" i="0" u="none" strike="noStrike" kern="1200" cap="none" spc="0" normalizeH="0" baseline="0" noProof="0" dirty="0">
                <a:ln>
                  <a:noFill/>
                </a:ln>
                <a:solidFill>
                  <a:srgbClr val="0078D7"/>
                </a:solidFill>
                <a:effectLst/>
                <a:uLnTx/>
                <a:uFillTx/>
                <a:latin typeface="Helvetica" pitchFamily="34" charset="0"/>
                <a:ea typeface="+mj-ea"/>
                <a:cs typeface="Helvetica" pitchFamily="34" charset="0"/>
              </a:rPr>
              <a:t>TriCaster 8000 </a:t>
            </a:r>
          </a:p>
        </p:txBody>
      </p:sp>
      <p:sp>
        <p:nvSpPr>
          <p:cNvPr id="5" name="Rectangle 4"/>
          <p:cNvSpPr/>
          <p:nvPr/>
        </p:nvSpPr>
        <p:spPr>
          <a:xfrm>
            <a:off x="5770856" y="699453"/>
            <a:ext cx="6217356" cy="3263682"/>
          </a:xfrm>
          <a:prstGeom prst="rect">
            <a:avLst/>
          </a:prstGeom>
        </p:spPr>
        <p:txBody>
          <a:bodyPr>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latin typeface="Segoe UI"/>
                <a:ea typeface="+mn-ea"/>
                <a:cs typeface="+mn-cs"/>
              </a:rPr>
              <a:t>Complete Multi Channel Production System, some relevant features include</a:t>
            </a:r>
          </a:p>
          <a:p>
            <a:pPr marL="291436" marR="0" lvl="0" indent="-291436"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36" b="0" i="0" u="none" strike="noStrike" kern="0" cap="none" spc="0" normalizeH="0" baseline="0" noProof="0" dirty="0">
                <a:ln>
                  <a:noFill/>
                </a:ln>
                <a:solidFill>
                  <a:sysClr val="windowText" lastClr="000000"/>
                </a:solidFill>
                <a:effectLst/>
                <a:uLnTx/>
                <a:uFillTx/>
                <a:latin typeface="Segoe UI"/>
                <a:ea typeface="+mn-ea"/>
                <a:cs typeface="+mn-cs"/>
              </a:rPr>
              <a:t>Multiple Live and recorded video channels </a:t>
            </a:r>
          </a:p>
          <a:p>
            <a:pPr marL="291436" marR="0" lvl="0" indent="-291436"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36" b="0" i="0" u="none" strike="noStrike" kern="0" cap="none" spc="0" normalizeH="0" baseline="0" noProof="0" dirty="0">
                <a:ln>
                  <a:noFill/>
                </a:ln>
                <a:solidFill>
                  <a:sysClr val="windowText" lastClr="000000"/>
                </a:solidFill>
                <a:effectLst/>
                <a:uLnTx/>
                <a:uFillTx/>
                <a:latin typeface="Segoe UI"/>
                <a:ea typeface="+mn-ea"/>
                <a:cs typeface="+mn-cs"/>
              </a:rPr>
              <a:t>Holographic Live Sets</a:t>
            </a:r>
          </a:p>
          <a:p>
            <a:pPr marL="291436" marR="0" lvl="0" indent="-291436"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36" b="0" i="0" u="none" strike="noStrike" kern="0" cap="none" spc="0" normalizeH="0" baseline="0" noProof="0" dirty="0">
                <a:ln>
                  <a:noFill/>
                </a:ln>
                <a:solidFill>
                  <a:sysClr val="windowText" lastClr="000000"/>
                </a:solidFill>
                <a:effectLst/>
                <a:uLnTx/>
                <a:uFillTx/>
                <a:latin typeface="Segoe UI"/>
                <a:ea typeface="+mn-ea"/>
                <a:cs typeface="+mn-cs"/>
              </a:rPr>
              <a:t>Direct Output to Azure Media Services</a:t>
            </a:r>
          </a:p>
          <a:p>
            <a:pPr marL="291436" marR="0" lvl="0" indent="-291436"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36" b="0" i="0" u="none" strike="noStrike" kern="0" cap="none" spc="0" normalizeH="0" baseline="0" noProof="0" dirty="0">
                <a:ln>
                  <a:noFill/>
                </a:ln>
                <a:solidFill>
                  <a:sysClr val="windowText" lastClr="000000"/>
                </a:solidFill>
                <a:effectLst/>
                <a:uLnTx/>
                <a:uFillTx/>
                <a:latin typeface="Segoe UI"/>
                <a:ea typeface="+mn-ea"/>
                <a:cs typeface="+mn-cs"/>
              </a:rPr>
              <a:t>Video output that can be consumed by Skype for Business</a:t>
            </a:r>
          </a:p>
          <a:p>
            <a:pPr marL="291436" marR="0" lvl="0" indent="-291436"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36" b="0" i="0" u="none" strike="noStrike" kern="0" cap="none" spc="0" normalizeH="0" baseline="0" noProof="0" dirty="0">
                <a:ln>
                  <a:noFill/>
                </a:ln>
                <a:solidFill>
                  <a:sysClr val="windowText" lastClr="000000"/>
                </a:solidFill>
                <a:effectLst/>
                <a:uLnTx/>
                <a:uFillTx/>
                <a:latin typeface="Segoe UI"/>
                <a:ea typeface="+mn-ea"/>
                <a:cs typeface="+mn-cs"/>
              </a:rPr>
              <a:t>Template-based graphics with real-time feeds from internal or external sources</a:t>
            </a:r>
          </a:p>
          <a:p>
            <a:pPr marL="291436" marR="0" lvl="0" indent="-291436"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6" name="Picture 5"/>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6187134" y="3225295"/>
            <a:ext cx="5134742" cy="2719365"/>
          </a:xfrm>
          <a:prstGeom prst="rect">
            <a:avLst/>
          </a:prstGeom>
        </p:spPr>
      </p:pic>
      <p:pic>
        <p:nvPicPr>
          <p:cNvPr id="7" name="tmpA258">
            <a:hlinkClick r:id="" action="ppaction://media"/>
          </p:cNvPr>
          <p:cNvPicPr>
            <a:picLocks noChangeAspect="1"/>
          </p:cNvPicPr>
          <p:nvPr>
            <a:videoFile r:link="rId3"/>
            <p:custDataLst>
              <p:custData r:id="rId4"/>
              <p:tags r:id="rId5"/>
            </p:custDataLst>
            <p:extLst>
              <p:ext uri="{DAA4B4D4-6D71-4841-9C94-3DE7FCFB9230}">
                <p14:media xmlns:p14="http://schemas.microsoft.com/office/powerpoint/2010/main" r:embed="rId6">
                  <p14:trim st="176271" end="74.4761"/>
                </p14:media>
              </p:ext>
            </p:extLst>
          </p:nvPr>
        </p:nvPicPr>
        <p:blipFill>
          <a:blip r:embed="rId12"/>
          <a:stretch>
            <a:fillRect/>
          </a:stretch>
        </p:blipFill>
        <p:spPr>
          <a:xfrm>
            <a:off x="12098819" y="103622"/>
            <a:ext cx="233151" cy="233151"/>
          </a:xfrm>
          <a:prstGeom prst="rect">
            <a:avLst/>
          </a:prstGeom>
        </p:spPr>
      </p:pic>
      <p:pic>
        <p:nvPicPr>
          <p:cNvPr id="8" name="Picture 7"/>
          <p:cNvPicPr>
            <a:picLocks/>
          </p:cNvPicPr>
          <p:nvPr>
            <p:custDataLst>
              <p:custData r:id="rId7"/>
              <p:tags r:id="rId8"/>
            </p:custDataLst>
          </p:nvPr>
        </p:nvPicPr>
        <p:blipFill>
          <a:blip r:embed="rId13" cstate="email">
            <a:extLst>
              <a:ext uri="{28A0092B-C50C-407E-A947-70E740481C1C}">
                <a14:useLocalDpi xmlns:a14="http://schemas.microsoft.com/office/drawing/2010/main"/>
              </a:ext>
            </a:extLst>
          </a:blip>
          <a:stretch>
            <a:fillRect/>
          </a:stretch>
        </p:blipFill>
        <p:spPr>
          <a:xfrm>
            <a:off x="2272432" y="261149"/>
            <a:ext cx="455226" cy="2141119"/>
          </a:xfrm>
          <a:prstGeom prst="rect">
            <a:avLst/>
          </a:prstGeom>
        </p:spPr>
      </p:pic>
    </p:spTree>
    <p:custDataLst>
      <p:custData r:id="rId1"/>
      <p:tags r:id="rId2"/>
    </p:custDataLst>
    <p:extLst>
      <p:ext uri="{BB962C8B-B14F-4D97-AF65-F5344CB8AC3E}">
        <p14:creationId xmlns:p14="http://schemas.microsoft.com/office/powerpoint/2010/main" val="3921614831"/>
      </p:ext>
    </p:extLst>
  </p:cSld>
  <p:clrMapOvr>
    <a:masterClrMapping/>
  </p:clrMapOvr>
  <p:transition>
    <p:fade/>
  </p:transition>
  <p:timing>
    <p:tnLst>
      <p:par>
        <p:cTn id="1" dur="indefinite" restart="never" nodeType="tmRoot">
          <p:childTnLst>
            <p:video>
              <p:cMediaNode vol="80000">
                <p:cTn id="2" fill="hold" display="0">
                  <p:stCondLst>
                    <p:cond delay="indefinite"/>
                  </p:stCondLst>
                </p:cTn>
                <p:tgtEl>
                  <p:spTgt spid="7"/>
                </p:tgtEl>
              </p:cMediaNode>
            </p:video>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pPr marL="0" marR="0" lvl="0" indent="0" algn="r" defTabSz="1040398" rtl="0" eaLnBrk="1" fontAlgn="auto" latinLnBrk="0" hangingPunct="1">
              <a:lnSpc>
                <a:spcPct val="100000"/>
              </a:lnSpc>
              <a:spcBef>
                <a:spcPts val="0"/>
              </a:spcBef>
              <a:spcAft>
                <a:spcPts val="0"/>
              </a:spcAft>
              <a:buClrTx/>
              <a:buSzTx/>
              <a:buFontTx/>
              <a:buNone/>
              <a:tabLst/>
              <a:defRPr/>
            </a:pPr>
            <a:fld id="{FAADACFB-7C71-4E89-89D2-7BBA40B7BFA9}" type="slidenum">
              <a:rPr kumimoji="0" lang="en-US" sz="1836" b="0" i="0" u="none" strike="noStrike" kern="0" cap="none" spc="0" normalizeH="0" baseline="0" noProof="0">
                <a:ln>
                  <a:noFill/>
                </a:ln>
                <a:solidFill>
                  <a:srgbClr val="0078D7"/>
                </a:solidFill>
                <a:effectLst/>
                <a:uLnTx/>
                <a:uFillTx/>
                <a:latin typeface="Segoe UI" pitchFamily="34" charset="0"/>
                <a:cs typeface="Segoe UI" pitchFamily="34" charset="0"/>
              </a:rPr>
              <a:pPr marL="0" marR="0" lvl="0" indent="0" algn="r" defTabSz="1040398" rtl="0" eaLnBrk="1" fontAlgn="auto" latinLnBrk="0" hangingPunct="1">
                <a:lnSpc>
                  <a:spcPct val="100000"/>
                </a:lnSpc>
                <a:spcBef>
                  <a:spcPts val="0"/>
                </a:spcBef>
                <a:spcAft>
                  <a:spcPts val="0"/>
                </a:spcAft>
                <a:buClrTx/>
                <a:buSzTx/>
                <a:buFontTx/>
                <a:buNone/>
                <a:tabLst/>
                <a:defRPr/>
              </a:pPr>
              <a:t>61</a:t>
            </a:fld>
            <a:endParaRPr kumimoji="0" lang="en-US" sz="1836" b="0" i="0" u="none" strike="noStrike" kern="0" cap="none" spc="0" normalizeH="0" baseline="0" noProof="0" dirty="0">
              <a:ln>
                <a:noFill/>
              </a:ln>
              <a:solidFill>
                <a:srgbClr val="0078D7"/>
              </a:solidFill>
              <a:effectLst/>
              <a:uLnTx/>
              <a:uFillTx/>
              <a:latin typeface="Segoe UI" pitchFamily="34" charset="0"/>
              <a:cs typeface="Segoe UI" pitchFamily="34" charset="0"/>
            </a:endParaRPr>
          </a:p>
        </p:txBody>
      </p:sp>
      <p:sp>
        <p:nvSpPr>
          <p:cNvPr id="3" name="Title 1"/>
          <p:cNvSpPr txBox="1">
            <a:spLocks/>
          </p:cNvSpPr>
          <p:nvPr/>
        </p:nvSpPr>
        <p:spPr>
          <a:xfrm>
            <a:off x="1098379" y="-19430"/>
            <a:ext cx="7460827" cy="718882"/>
          </a:xfrm>
          <a:prstGeom prst="rect">
            <a:avLst/>
          </a:prstGeom>
        </p:spPr>
        <p:txBody>
          <a:bodyPr vert="horz" lIns="93260" tIns="46630" rIns="93260" bIns="46630" rtlCol="0" anchor="ctr">
            <a:normAutofit/>
          </a:bodyPr>
          <a:lstStyle>
            <a:lvl1pPr algn="l" defTabSz="914400" rtl="0" eaLnBrk="1" latinLnBrk="0" hangingPunct="1">
              <a:spcBef>
                <a:spcPct val="0"/>
              </a:spcBef>
              <a:buNone/>
              <a:defRPr sz="3000" kern="1200">
                <a:solidFill>
                  <a:schemeClr val="bg2">
                    <a:lumMod val="90000"/>
                  </a:schemeClr>
                </a:solidFill>
                <a:latin typeface="Helvetica" pitchFamily="34" charset="0"/>
                <a:ea typeface="+mj-ea"/>
                <a:cs typeface="Helvetica" pitchFamily="34" charset="0"/>
              </a:defRPr>
            </a:lvl1pPr>
          </a:lstStyle>
          <a:p>
            <a:pPr marL="0" marR="0" lvl="0" indent="0" algn="l" defTabSz="932597" rtl="0" eaLnBrk="1" fontAlgn="auto" latinLnBrk="0" hangingPunct="1">
              <a:lnSpc>
                <a:spcPct val="100000"/>
              </a:lnSpc>
              <a:spcBef>
                <a:spcPct val="0"/>
              </a:spcBef>
              <a:spcAft>
                <a:spcPts val="0"/>
              </a:spcAft>
              <a:buClrTx/>
              <a:buSzTx/>
              <a:buFontTx/>
              <a:buNone/>
              <a:tabLst/>
              <a:defRPr/>
            </a:pPr>
            <a:r>
              <a:rPr kumimoji="0" lang="en-US" sz="3060" b="0" i="0" u="none" strike="noStrike" kern="1200" cap="none" spc="0" normalizeH="0" baseline="0" noProof="0" dirty="0">
                <a:ln>
                  <a:noFill/>
                </a:ln>
                <a:solidFill>
                  <a:srgbClr val="0078D7"/>
                </a:solidFill>
                <a:effectLst/>
                <a:uLnTx/>
                <a:uFillTx/>
                <a:latin typeface="Helvetica" pitchFamily="34" charset="0"/>
                <a:ea typeface="+mj-ea"/>
                <a:cs typeface="Helvetica" pitchFamily="34" charset="0"/>
              </a:rPr>
              <a:t>TalkShow – Broadcast Skype TX solution</a:t>
            </a:r>
          </a:p>
        </p:txBody>
      </p:sp>
      <p:sp>
        <p:nvSpPr>
          <p:cNvPr id="5" name="Rectangle 4"/>
          <p:cNvSpPr/>
          <p:nvPr/>
        </p:nvSpPr>
        <p:spPr>
          <a:xfrm>
            <a:off x="5308610" y="701479"/>
            <a:ext cx="6217356" cy="1246721"/>
          </a:xfrm>
          <a:prstGeom prst="rect">
            <a:avLst/>
          </a:prstGeom>
        </p:spPr>
        <p:txBody>
          <a:bodyPr>
            <a:spAutoFit/>
          </a:bodyPr>
          <a:lstStyle/>
          <a:p>
            <a:pPr marL="291436" marR="0" lvl="0" indent="-291436"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36" b="0" i="0" u="none" strike="noStrike" kern="0" cap="none" spc="0" normalizeH="0" baseline="0" noProof="0" dirty="0">
                <a:ln>
                  <a:noFill/>
                </a:ln>
                <a:solidFill>
                  <a:sysClr val="windowText" lastClr="000000"/>
                </a:solidFill>
                <a:effectLst/>
                <a:uLnTx/>
                <a:uFillTx/>
                <a:latin typeface="Segoe UI"/>
                <a:ea typeface="+mn-ea"/>
                <a:cs typeface="+mn-cs"/>
              </a:rPr>
              <a:t>Talk Show provides the ability to accept and manage multiple inbound Skype calls in HD</a:t>
            </a:r>
          </a:p>
          <a:p>
            <a:pPr marL="291436" marR="0" lvl="0" indent="-291436"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36" b="0" i="0" u="none" strike="noStrike" kern="0" cap="none" spc="0" normalizeH="0" baseline="0" noProof="0" dirty="0">
                <a:ln>
                  <a:noFill/>
                </a:ln>
                <a:solidFill>
                  <a:sysClr val="windowText" lastClr="000000"/>
                </a:solidFill>
                <a:effectLst/>
                <a:uLnTx/>
                <a:uFillTx/>
                <a:latin typeface="Segoe UI"/>
                <a:ea typeface="+mn-ea"/>
                <a:cs typeface="+mn-cs"/>
              </a:rPr>
              <a:t>It provides Professional I/O without breakout cables and direct Network I/O with TriCaster</a:t>
            </a:r>
          </a:p>
        </p:txBody>
      </p:sp>
      <p:pic>
        <p:nvPicPr>
          <p:cNvPr id="6" name="Picture 5"/>
          <p:cNvPicPr>
            <a:picLocks noChangeAspect="1"/>
          </p:cNvPicPr>
          <p:nvPr/>
        </p:nvPicPr>
        <p:blipFill>
          <a:blip r:embed="rId2"/>
          <a:stretch>
            <a:fillRect/>
          </a:stretch>
        </p:blipFill>
        <p:spPr>
          <a:xfrm>
            <a:off x="5455935" y="3368648"/>
            <a:ext cx="5595620" cy="3176680"/>
          </a:xfrm>
          <a:prstGeom prst="rect">
            <a:avLst/>
          </a:prstGeom>
        </p:spPr>
      </p:pic>
      <p:pic>
        <p:nvPicPr>
          <p:cNvPr id="4"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37503" y="983456"/>
            <a:ext cx="6008125" cy="337950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417407195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NewTek Impact</a:t>
            </a:r>
          </a:p>
        </p:txBody>
      </p:sp>
      <p:sp>
        <p:nvSpPr>
          <p:cNvPr id="4" name="Text Placeholder 3"/>
          <p:cNvSpPr>
            <a:spLocks noGrp="1"/>
          </p:cNvSpPr>
          <p:nvPr>
            <p:ph type="body" sz="quarter" idx="13"/>
          </p:nvPr>
        </p:nvSpPr>
        <p:spPr/>
        <p:txBody>
          <a:bodyPr/>
          <a:lstStyle/>
          <a:p>
            <a:endParaRPr lang="en-US" dirty="0"/>
          </a:p>
        </p:txBody>
      </p:sp>
      <p:sp>
        <p:nvSpPr>
          <p:cNvPr id="5" name="Text Placeholder 4"/>
          <p:cNvSpPr>
            <a:spLocks noGrp="1"/>
          </p:cNvSpPr>
          <p:nvPr>
            <p:ph type="body" sz="quarter" idx="14"/>
          </p:nvPr>
        </p:nvSpPr>
        <p:spPr/>
        <p:txBody>
          <a:bodyPr>
            <a:normAutofit/>
          </a:bodyPr>
          <a:lstStyle/>
          <a:p>
            <a:pPr marL="0" indent="0" algn="ctr">
              <a:buNone/>
            </a:pPr>
            <a:endParaRPr lang="en-US" sz="4896" dirty="0"/>
          </a:p>
          <a:p>
            <a:pPr marL="0" indent="0" algn="ctr">
              <a:buNone/>
            </a:pPr>
            <a:r>
              <a:rPr lang="en-US" sz="4896" dirty="0"/>
              <a:t>With TriCaster:</a:t>
            </a:r>
          </a:p>
          <a:p>
            <a:pPr marL="0" indent="0" algn="ctr">
              <a:buNone/>
            </a:pPr>
            <a:r>
              <a:rPr lang="en-US" sz="4896" dirty="0"/>
              <a:t>MTC Broadcasts view times increased from 5 min to over 30 min.</a:t>
            </a:r>
          </a:p>
        </p:txBody>
      </p:sp>
      <p:sp>
        <p:nvSpPr>
          <p:cNvPr id="2" name="Slide Number Placeholder 1"/>
          <p:cNvSpPr>
            <a:spLocks noGrp="1"/>
          </p:cNvSpPr>
          <p:nvPr>
            <p:ph type="sldNum" sz="quarter" idx="15"/>
          </p:nvPr>
        </p:nvSpPr>
        <p:spPr/>
        <p:txBody>
          <a:bodyPr/>
          <a:lstStyle/>
          <a:p>
            <a:pPr marL="0" marR="0" lvl="0" indent="0" algn="r" defTabSz="1040398" rtl="0" eaLnBrk="1" fontAlgn="auto" latinLnBrk="0" hangingPunct="1">
              <a:lnSpc>
                <a:spcPct val="100000"/>
              </a:lnSpc>
              <a:spcBef>
                <a:spcPts val="0"/>
              </a:spcBef>
              <a:spcAft>
                <a:spcPts val="0"/>
              </a:spcAft>
              <a:buClrTx/>
              <a:buSzTx/>
              <a:buFontTx/>
              <a:buNone/>
              <a:tabLst/>
              <a:defRPr/>
            </a:pPr>
            <a:fld id="{FAADACFB-7C71-4E89-89D2-7BBA40B7BFA9}" type="slidenum">
              <a:rPr kumimoji="0" lang="en-US" sz="1836" b="0" i="0" u="none" strike="noStrike" kern="0" cap="none" spc="0" normalizeH="0" baseline="0" noProof="0">
                <a:ln>
                  <a:noFill/>
                </a:ln>
                <a:solidFill>
                  <a:srgbClr val="0078D7"/>
                </a:solidFill>
                <a:effectLst/>
                <a:uLnTx/>
                <a:uFillTx/>
                <a:latin typeface="Segoe UI" pitchFamily="34" charset="0"/>
                <a:cs typeface="Segoe UI" pitchFamily="34" charset="0"/>
              </a:rPr>
              <a:pPr marL="0" marR="0" lvl="0" indent="0" algn="r" defTabSz="1040398" rtl="0" eaLnBrk="1" fontAlgn="auto" latinLnBrk="0" hangingPunct="1">
                <a:lnSpc>
                  <a:spcPct val="100000"/>
                </a:lnSpc>
                <a:spcBef>
                  <a:spcPts val="0"/>
                </a:spcBef>
                <a:spcAft>
                  <a:spcPts val="0"/>
                </a:spcAft>
                <a:buClrTx/>
                <a:buSzTx/>
                <a:buFontTx/>
                <a:buNone/>
                <a:tabLst/>
                <a:defRPr/>
              </a:pPr>
              <a:t>62</a:t>
            </a:fld>
            <a:endParaRPr kumimoji="0" lang="en-US" sz="1836" b="0" i="0" u="none" strike="noStrike" kern="0" cap="none" spc="0" normalizeH="0" baseline="0" noProof="0" dirty="0">
              <a:ln>
                <a:noFill/>
              </a:ln>
              <a:solidFill>
                <a:srgbClr val="0078D7"/>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11827380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NewTek Impact</a:t>
            </a:r>
          </a:p>
        </p:txBody>
      </p:sp>
      <p:sp>
        <p:nvSpPr>
          <p:cNvPr id="4" name="Text Placeholder 3"/>
          <p:cNvSpPr>
            <a:spLocks noGrp="1"/>
          </p:cNvSpPr>
          <p:nvPr>
            <p:ph type="body" sz="quarter" idx="13"/>
          </p:nvPr>
        </p:nvSpPr>
        <p:spPr/>
        <p:txBody>
          <a:bodyPr/>
          <a:lstStyle/>
          <a:p>
            <a:endParaRPr lang="en-US" dirty="0"/>
          </a:p>
        </p:txBody>
      </p:sp>
      <p:sp>
        <p:nvSpPr>
          <p:cNvPr id="5" name="Text Placeholder 4"/>
          <p:cNvSpPr>
            <a:spLocks noGrp="1"/>
          </p:cNvSpPr>
          <p:nvPr>
            <p:ph type="body" sz="quarter" idx="14"/>
          </p:nvPr>
        </p:nvSpPr>
        <p:spPr/>
        <p:txBody>
          <a:bodyPr>
            <a:normAutofit/>
          </a:bodyPr>
          <a:lstStyle/>
          <a:p>
            <a:pPr marL="0" indent="0" algn="ctr">
              <a:buNone/>
            </a:pPr>
            <a:endParaRPr lang="en-US" sz="4896" dirty="0"/>
          </a:p>
          <a:p>
            <a:pPr marL="0" indent="0" algn="ctr">
              <a:buNone/>
            </a:pPr>
            <a:r>
              <a:rPr lang="en-US" sz="4896" dirty="0"/>
              <a:t>How can NewTek TriCaster increase your sales of Microsoft products?</a:t>
            </a:r>
          </a:p>
        </p:txBody>
      </p:sp>
      <p:sp>
        <p:nvSpPr>
          <p:cNvPr id="2" name="Slide Number Placeholder 1"/>
          <p:cNvSpPr>
            <a:spLocks noGrp="1"/>
          </p:cNvSpPr>
          <p:nvPr>
            <p:ph type="sldNum" sz="quarter" idx="15"/>
          </p:nvPr>
        </p:nvSpPr>
        <p:spPr/>
        <p:txBody>
          <a:bodyPr/>
          <a:lstStyle/>
          <a:p>
            <a:pPr marL="0" marR="0" lvl="0" indent="0" algn="r" defTabSz="1040398" rtl="0" eaLnBrk="1" fontAlgn="auto" latinLnBrk="0" hangingPunct="1">
              <a:lnSpc>
                <a:spcPct val="100000"/>
              </a:lnSpc>
              <a:spcBef>
                <a:spcPts val="0"/>
              </a:spcBef>
              <a:spcAft>
                <a:spcPts val="0"/>
              </a:spcAft>
              <a:buClrTx/>
              <a:buSzTx/>
              <a:buFontTx/>
              <a:buNone/>
              <a:tabLst/>
              <a:defRPr/>
            </a:pPr>
            <a:fld id="{FAADACFB-7C71-4E89-89D2-7BBA40B7BFA9}" type="slidenum">
              <a:rPr kumimoji="0" lang="en-US" sz="1836" b="0" i="0" u="none" strike="noStrike" kern="0" cap="none" spc="0" normalizeH="0" baseline="0" noProof="0">
                <a:ln>
                  <a:noFill/>
                </a:ln>
                <a:solidFill>
                  <a:srgbClr val="0078D7"/>
                </a:solidFill>
                <a:effectLst/>
                <a:uLnTx/>
                <a:uFillTx/>
                <a:latin typeface="Segoe UI" pitchFamily="34" charset="0"/>
                <a:cs typeface="Segoe UI" pitchFamily="34" charset="0"/>
              </a:rPr>
              <a:pPr marL="0" marR="0" lvl="0" indent="0" algn="r" defTabSz="1040398" rtl="0" eaLnBrk="1" fontAlgn="auto" latinLnBrk="0" hangingPunct="1">
                <a:lnSpc>
                  <a:spcPct val="100000"/>
                </a:lnSpc>
                <a:spcBef>
                  <a:spcPts val="0"/>
                </a:spcBef>
                <a:spcAft>
                  <a:spcPts val="0"/>
                </a:spcAft>
                <a:buClrTx/>
                <a:buSzTx/>
                <a:buFontTx/>
                <a:buNone/>
                <a:tabLst/>
                <a:defRPr/>
              </a:pPr>
              <a:t>63</a:t>
            </a:fld>
            <a:endParaRPr kumimoji="0" lang="en-US" sz="1836" b="0" i="0" u="none" strike="noStrike" kern="0" cap="none" spc="0" normalizeH="0" baseline="0" noProof="0" dirty="0">
              <a:ln>
                <a:noFill/>
              </a:ln>
              <a:solidFill>
                <a:srgbClr val="0078D7"/>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26050156"/>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NewTek Impact</a:t>
            </a:r>
          </a:p>
        </p:txBody>
      </p:sp>
      <p:sp>
        <p:nvSpPr>
          <p:cNvPr id="4" name="Text Placeholder 3"/>
          <p:cNvSpPr>
            <a:spLocks noGrp="1"/>
          </p:cNvSpPr>
          <p:nvPr>
            <p:ph type="body" sz="quarter" idx="13"/>
          </p:nvPr>
        </p:nvSpPr>
        <p:spPr/>
        <p:txBody>
          <a:bodyPr/>
          <a:lstStyle/>
          <a:p>
            <a:endParaRPr lang="en-US" dirty="0"/>
          </a:p>
        </p:txBody>
      </p:sp>
      <p:sp>
        <p:nvSpPr>
          <p:cNvPr id="5" name="Text Placeholder 4"/>
          <p:cNvSpPr>
            <a:spLocks noGrp="1"/>
          </p:cNvSpPr>
          <p:nvPr>
            <p:ph type="body" sz="quarter" idx="14"/>
          </p:nvPr>
        </p:nvSpPr>
        <p:spPr/>
        <p:txBody>
          <a:bodyPr>
            <a:normAutofit/>
          </a:bodyPr>
          <a:lstStyle/>
          <a:p>
            <a:pPr marL="0" indent="0" algn="ctr">
              <a:buNone/>
            </a:pPr>
            <a:endParaRPr lang="en-US" sz="4896" dirty="0"/>
          </a:p>
          <a:p>
            <a:pPr marL="0" indent="0" algn="ctr">
              <a:buNone/>
            </a:pPr>
            <a:r>
              <a:rPr lang="en-US" sz="4896" dirty="0"/>
              <a:t>When federal clients produce content that looks like broadcast television, consumption increases!</a:t>
            </a:r>
          </a:p>
        </p:txBody>
      </p:sp>
      <p:sp>
        <p:nvSpPr>
          <p:cNvPr id="2" name="Slide Number Placeholder 1"/>
          <p:cNvSpPr>
            <a:spLocks noGrp="1"/>
          </p:cNvSpPr>
          <p:nvPr>
            <p:ph type="sldNum" sz="quarter" idx="15"/>
          </p:nvPr>
        </p:nvSpPr>
        <p:spPr/>
        <p:txBody>
          <a:bodyPr/>
          <a:lstStyle/>
          <a:p>
            <a:pPr marL="0" marR="0" lvl="0" indent="0" algn="r" defTabSz="1040398" rtl="0" eaLnBrk="1" fontAlgn="auto" latinLnBrk="0" hangingPunct="1">
              <a:lnSpc>
                <a:spcPct val="100000"/>
              </a:lnSpc>
              <a:spcBef>
                <a:spcPts val="0"/>
              </a:spcBef>
              <a:spcAft>
                <a:spcPts val="0"/>
              </a:spcAft>
              <a:buClrTx/>
              <a:buSzTx/>
              <a:buFontTx/>
              <a:buNone/>
              <a:tabLst/>
              <a:defRPr/>
            </a:pPr>
            <a:fld id="{FAADACFB-7C71-4E89-89D2-7BBA40B7BFA9}" type="slidenum">
              <a:rPr kumimoji="0" lang="en-US" sz="1836" b="0" i="0" u="none" strike="noStrike" kern="0" cap="none" spc="0" normalizeH="0" baseline="0" noProof="0">
                <a:ln>
                  <a:noFill/>
                </a:ln>
                <a:solidFill>
                  <a:srgbClr val="0078D7"/>
                </a:solidFill>
                <a:effectLst/>
                <a:uLnTx/>
                <a:uFillTx/>
                <a:latin typeface="Segoe UI" pitchFamily="34" charset="0"/>
                <a:cs typeface="Segoe UI" pitchFamily="34" charset="0"/>
              </a:rPr>
              <a:pPr marL="0" marR="0" lvl="0" indent="0" algn="r" defTabSz="1040398" rtl="0" eaLnBrk="1" fontAlgn="auto" latinLnBrk="0" hangingPunct="1">
                <a:lnSpc>
                  <a:spcPct val="100000"/>
                </a:lnSpc>
                <a:spcBef>
                  <a:spcPts val="0"/>
                </a:spcBef>
                <a:spcAft>
                  <a:spcPts val="0"/>
                </a:spcAft>
                <a:buClrTx/>
                <a:buSzTx/>
                <a:buFontTx/>
                <a:buNone/>
                <a:tabLst/>
                <a:defRPr/>
              </a:pPr>
              <a:t>64</a:t>
            </a:fld>
            <a:endParaRPr kumimoji="0" lang="en-US" sz="1836" b="0" i="0" u="none" strike="noStrike" kern="0" cap="none" spc="0" normalizeH="0" baseline="0" noProof="0" dirty="0">
              <a:ln>
                <a:noFill/>
              </a:ln>
              <a:solidFill>
                <a:srgbClr val="0078D7"/>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989500648"/>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roadcast Studio at 11 Times Square</a:t>
            </a:r>
          </a:p>
        </p:txBody>
      </p:sp>
      <p:sp>
        <p:nvSpPr>
          <p:cNvPr id="5" name="Text Placeholder 4"/>
          <p:cNvSpPr>
            <a:spLocks noGrp="1"/>
          </p:cNvSpPr>
          <p:nvPr>
            <p:ph type="body" sz="quarter" idx="13"/>
          </p:nvPr>
        </p:nvSpPr>
        <p:spPr/>
        <p:txBody>
          <a:bodyPr/>
          <a:lstStyle/>
          <a:p>
            <a:r>
              <a:rPr lang="en-US" dirty="0"/>
              <a:t>What's in it for me if my customer is not a TV station?	</a:t>
            </a:r>
          </a:p>
        </p:txBody>
      </p:sp>
      <p:sp>
        <p:nvSpPr>
          <p:cNvPr id="6" name="Text Placeholder 5"/>
          <p:cNvSpPr>
            <a:spLocks noGrp="1"/>
          </p:cNvSpPr>
          <p:nvPr>
            <p:ph type="body" sz="quarter" idx="14"/>
          </p:nvPr>
        </p:nvSpPr>
        <p:spPr/>
        <p:txBody>
          <a:bodyPr/>
          <a:lstStyle/>
          <a:p>
            <a:r>
              <a:rPr lang="en-US" dirty="0"/>
              <a:t>Production Quality videos – all of our customers want to create great looking videos or present live events for internal or external consumption.  We can demonstrate the ability create studio quality presentations in their own facility </a:t>
            </a:r>
          </a:p>
          <a:p>
            <a:r>
              <a:rPr lang="en-US" dirty="0"/>
              <a:t>Integration of speakers or customers for virtual panel discussions – to enhance the videos we can have their customers and presenter “dial in” via Skype video</a:t>
            </a:r>
          </a:p>
          <a:p>
            <a:r>
              <a:rPr lang="en-US" sz="3672" dirty="0"/>
              <a:t>All of this drives consumption of Azure Media Services and Skype for Business</a:t>
            </a:r>
          </a:p>
        </p:txBody>
      </p:sp>
      <p:pic>
        <p:nvPicPr>
          <p:cNvPr id="2" name="tmpA258">
            <a:hlinkClick r:id="" action="ppaction://media"/>
          </p:cNvPr>
          <p:cNvPicPr>
            <a:picLocks noChangeAspect="1"/>
          </p:cNvPicPr>
          <p:nvPr>
            <a:videoFile r:link="rId3"/>
            <p:custDataLst>
              <p:custData r:id="rId4"/>
              <p:tags r:id="rId5"/>
            </p:custDataLst>
            <p:extLst>
              <p:ext uri="{DAA4B4D4-6D71-4841-9C94-3DE7FCFB9230}">
                <p14:media xmlns:p14="http://schemas.microsoft.com/office/powerpoint/2010/main" r:embed="rId6">
                  <p14:trim st="56824" end="107988.4761"/>
                </p14:media>
              </p:ext>
            </p:extLst>
          </p:nvPr>
        </p:nvPicPr>
        <p:blipFill>
          <a:blip r:embed="rId8"/>
          <a:stretch>
            <a:fillRect/>
          </a:stretch>
        </p:blipFill>
        <p:spPr>
          <a:xfrm>
            <a:off x="12098819" y="103622"/>
            <a:ext cx="233151" cy="233151"/>
          </a:xfrm>
          <a:prstGeom prst="rect">
            <a:avLst/>
          </a:prstGeom>
        </p:spPr>
      </p:pic>
    </p:spTree>
    <p:custDataLst>
      <p:custData r:id="rId1"/>
      <p:tags r:id="rId2"/>
    </p:custDataLst>
    <p:extLst>
      <p:ext uri="{BB962C8B-B14F-4D97-AF65-F5344CB8AC3E}">
        <p14:creationId xmlns:p14="http://schemas.microsoft.com/office/powerpoint/2010/main" val="774996665"/>
      </p:ext>
    </p:extLst>
  </p:cSld>
  <p:clrMapOvr>
    <a:masterClrMapping/>
  </p:clrMapOvr>
  <p:transition>
    <p:fade/>
  </p:transition>
  <p:timing>
    <p:tnLst>
      <p:par>
        <p:cTn id="1" dur="indefinite" restart="never" nodeType="tmRoot">
          <p:childTnLst>
            <p:video>
              <p:cMediaNode vol="80000">
                <p:cTn id="2" fill="hold" display="0">
                  <p:stCondLst>
                    <p:cond delay="indefinite"/>
                  </p:stCondLst>
                </p:cTn>
                <p:tgtEl>
                  <p:spTgt spid="2"/>
                </p:tgtEl>
              </p:cMediaNode>
            </p:video>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NewTek Impact</a:t>
            </a:r>
          </a:p>
        </p:txBody>
      </p:sp>
      <p:sp>
        <p:nvSpPr>
          <p:cNvPr id="4" name="Text Placeholder 3"/>
          <p:cNvSpPr>
            <a:spLocks noGrp="1"/>
          </p:cNvSpPr>
          <p:nvPr>
            <p:ph type="body" sz="quarter" idx="13"/>
          </p:nvPr>
        </p:nvSpPr>
        <p:spPr/>
        <p:txBody>
          <a:bodyPr/>
          <a:lstStyle/>
          <a:p>
            <a:r>
              <a:rPr lang="en-US" dirty="0"/>
              <a:t> </a:t>
            </a:r>
          </a:p>
        </p:txBody>
      </p:sp>
      <p:sp>
        <p:nvSpPr>
          <p:cNvPr id="5" name="Text Placeholder 4"/>
          <p:cNvSpPr>
            <a:spLocks noGrp="1"/>
          </p:cNvSpPr>
          <p:nvPr>
            <p:ph type="body" sz="quarter" idx="14"/>
          </p:nvPr>
        </p:nvSpPr>
        <p:spPr/>
        <p:txBody>
          <a:bodyPr>
            <a:normAutofit/>
          </a:bodyPr>
          <a:lstStyle/>
          <a:p>
            <a:pPr marL="0" indent="0" algn="ctr">
              <a:buNone/>
            </a:pPr>
            <a:endParaRPr lang="en-US" sz="4896" dirty="0"/>
          </a:p>
          <a:p>
            <a:pPr marL="0" indent="0" algn="ctr">
              <a:buNone/>
            </a:pPr>
            <a:r>
              <a:rPr lang="en-US" sz="4896" dirty="0"/>
              <a:t>NewTek customers are producing over 250,000 hours of content each month!</a:t>
            </a:r>
          </a:p>
        </p:txBody>
      </p:sp>
      <p:sp>
        <p:nvSpPr>
          <p:cNvPr id="2" name="Slide Number Placeholder 1"/>
          <p:cNvSpPr>
            <a:spLocks noGrp="1"/>
          </p:cNvSpPr>
          <p:nvPr>
            <p:ph type="sldNum" sz="quarter" idx="15"/>
          </p:nvPr>
        </p:nvSpPr>
        <p:spPr/>
        <p:txBody>
          <a:bodyPr/>
          <a:lstStyle/>
          <a:p>
            <a:pPr marL="0" marR="0" lvl="0" indent="0" algn="r" defTabSz="1040398" rtl="0" eaLnBrk="1" fontAlgn="auto" latinLnBrk="0" hangingPunct="1">
              <a:lnSpc>
                <a:spcPct val="100000"/>
              </a:lnSpc>
              <a:spcBef>
                <a:spcPts val="0"/>
              </a:spcBef>
              <a:spcAft>
                <a:spcPts val="0"/>
              </a:spcAft>
              <a:buClrTx/>
              <a:buSzTx/>
              <a:buFontTx/>
              <a:buNone/>
              <a:tabLst/>
              <a:defRPr/>
            </a:pPr>
            <a:fld id="{FAADACFB-7C71-4E89-89D2-7BBA40B7BFA9}" type="slidenum">
              <a:rPr kumimoji="0" lang="en-US" sz="1836" b="0" i="0" u="none" strike="noStrike" kern="0" cap="none" spc="0" normalizeH="0" baseline="0" noProof="0">
                <a:ln>
                  <a:noFill/>
                </a:ln>
                <a:solidFill>
                  <a:srgbClr val="0078D7"/>
                </a:solidFill>
                <a:effectLst/>
                <a:uLnTx/>
                <a:uFillTx/>
                <a:latin typeface="Segoe UI" pitchFamily="34" charset="0"/>
                <a:cs typeface="Segoe UI" pitchFamily="34" charset="0"/>
              </a:rPr>
              <a:pPr marL="0" marR="0" lvl="0" indent="0" algn="r" defTabSz="1040398" rtl="0" eaLnBrk="1" fontAlgn="auto" latinLnBrk="0" hangingPunct="1">
                <a:lnSpc>
                  <a:spcPct val="100000"/>
                </a:lnSpc>
                <a:spcBef>
                  <a:spcPts val="0"/>
                </a:spcBef>
                <a:spcAft>
                  <a:spcPts val="0"/>
                </a:spcAft>
                <a:buClrTx/>
                <a:buSzTx/>
                <a:buFontTx/>
                <a:buNone/>
                <a:tabLst/>
                <a:defRPr/>
              </a:pPr>
              <a:t>66</a:t>
            </a:fld>
            <a:endParaRPr kumimoji="0" lang="en-US" sz="1836" b="0" i="0" u="none" strike="noStrike" kern="0" cap="none" spc="0" normalizeH="0" baseline="0" noProof="0" dirty="0">
              <a:ln>
                <a:noFill/>
              </a:ln>
              <a:solidFill>
                <a:srgbClr val="0078D7"/>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64745740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NewTek Impact</a:t>
            </a:r>
          </a:p>
        </p:txBody>
      </p:sp>
      <p:sp>
        <p:nvSpPr>
          <p:cNvPr id="4" name="Text Placeholder 3"/>
          <p:cNvSpPr>
            <a:spLocks noGrp="1"/>
          </p:cNvSpPr>
          <p:nvPr>
            <p:ph type="body" sz="quarter" idx="13"/>
          </p:nvPr>
        </p:nvSpPr>
        <p:spPr/>
        <p:txBody>
          <a:bodyPr/>
          <a:lstStyle/>
          <a:p>
            <a:r>
              <a:rPr lang="en-US" dirty="0"/>
              <a:t> </a:t>
            </a:r>
          </a:p>
        </p:txBody>
      </p:sp>
      <p:sp>
        <p:nvSpPr>
          <p:cNvPr id="5" name="Text Placeholder 4"/>
          <p:cNvSpPr>
            <a:spLocks noGrp="1"/>
          </p:cNvSpPr>
          <p:nvPr>
            <p:ph type="body" sz="quarter" idx="14"/>
          </p:nvPr>
        </p:nvSpPr>
        <p:spPr/>
        <p:txBody>
          <a:bodyPr>
            <a:normAutofit/>
          </a:bodyPr>
          <a:lstStyle/>
          <a:p>
            <a:pPr marL="0" indent="0" algn="ctr">
              <a:buNone/>
            </a:pPr>
            <a:endParaRPr lang="en-US" sz="4896" dirty="0"/>
          </a:p>
          <a:p>
            <a:pPr marL="0" indent="0" algn="ctr">
              <a:buNone/>
            </a:pPr>
            <a:r>
              <a:rPr lang="en-US" sz="4896" dirty="0"/>
              <a:t>80 Fortune 100 Companies are using TriCaster for live streaming</a:t>
            </a:r>
          </a:p>
          <a:p>
            <a:pPr marL="0" indent="0" algn="ctr">
              <a:buNone/>
            </a:pPr>
            <a:r>
              <a:rPr lang="en-US" sz="4896" dirty="0"/>
              <a:t>(EMC, Wal-Mart, Federal Express)</a:t>
            </a:r>
          </a:p>
        </p:txBody>
      </p:sp>
      <p:sp>
        <p:nvSpPr>
          <p:cNvPr id="2" name="Slide Number Placeholder 1"/>
          <p:cNvSpPr>
            <a:spLocks noGrp="1"/>
          </p:cNvSpPr>
          <p:nvPr>
            <p:ph type="sldNum" sz="quarter" idx="15"/>
          </p:nvPr>
        </p:nvSpPr>
        <p:spPr/>
        <p:txBody>
          <a:bodyPr/>
          <a:lstStyle/>
          <a:p>
            <a:pPr marL="0" marR="0" lvl="0" indent="0" algn="r" defTabSz="1040398" rtl="0" eaLnBrk="1" fontAlgn="auto" latinLnBrk="0" hangingPunct="1">
              <a:lnSpc>
                <a:spcPct val="100000"/>
              </a:lnSpc>
              <a:spcBef>
                <a:spcPts val="0"/>
              </a:spcBef>
              <a:spcAft>
                <a:spcPts val="0"/>
              </a:spcAft>
              <a:buClrTx/>
              <a:buSzTx/>
              <a:buFontTx/>
              <a:buNone/>
              <a:tabLst/>
              <a:defRPr/>
            </a:pPr>
            <a:fld id="{FAADACFB-7C71-4E89-89D2-7BBA40B7BFA9}" type="slidenum">
              <a:rPr kumimoji="0" lang="en-US" sz="1836" b="0" i="0" u="none" strike="noStrike" kern="0" cap="none" spc="0" normalizeH="0" baseline="0" noProof="0">
                <a:ln>
                  <a:noFill/>
                </a:ln>
                <a:solidFill>
                  <a:srgbClr val="0078D7"/>
                </a:solidFill>
                <a:effectLst/>
                <a:uLnTx/>
                <a:uFillTx/>
                <a:latin typeface="Segoe UI" pitchFamily="34" charset="0"/>
                <a:cs typeface="Segoe UI" pitchFamily="34" charset="0"/>
              </a:rPr>
              <a:pPr marL="0" marR="0" lvl="0" indent="0" algn="r" defTabSz="1040398" rtl="0" eaLnBrk="1" fontAlgn="auto" latinLnBrk="0" hangingPunct="1">
                <a:lnSpc>
                  <a:spcPct val="100000"/>
                </a:lnSpc>
                <a:spcBef>
                  <a:spcPts val="0"/>
                </a:spcBef>
                <a:spcAft>
                  <a:spcPts val="0"/>
                </a:spcAft>
                <a:buClrTx/>
                <a:buSzTx/>
                <a:buFontTx/>
                <a:buNone/>
                <a:tabLst/>
                <a:defRPr/>
              </a:pPr>
              <a:t>67</a:t>
            </a:fld>
            <a:endParaRPr kumimoji="0" lang="en-US" sz="1836" b="0" i="0" u="none" strike="noStrike" kern="0" cap="none" spc="0" normalizeH="0" baseline="0" noProof="0" dirty="0">
              <a:ln>
                <a:noFill/>
              </a:ln>
              <a:solidFill>
                <a:srgbClr val="0078D7"/>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15628409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NewTek Impact</a:t>
            </a:r>
          </a:p>
        </p:txBody>
      </p:sp>
      <p:sp>
        <p:nvSpPr>
          <p:cNvPr id="4" name="Text Placeholder 3"/>
          <p:cNvSpPr>
            <a:spLocks noGrp="1"/>
          </p:cNvSpPr>
          <p:nvPr>
            <p:ph type="body" sz="quarter" idx="13"/>
          </p:nvPr>
        </p:nvSpPr>
        <p:spPr/>
        <p:txBody>
          <a:bodyPr/>
          <a:lstStyle/>
          <a:p>
            <a:r>
              <a:rPr lang="en-US" dirty="0"/>
              <a:t> </a:t>
            </a:r>
          </a:p>
        </p:txBody>
      </p:sp>
      <p:sp>
        <p:nvSpPr>
          <p:cNvPr id="5" name="Text Placeholder 4"/>
          <p:cNvSpPr>
            <a:spLocks noGrp="1"/>
          </p:cNvSpPr>
          <p:nvPr>
            <p:ph type="body" sz="quarter" idx="14"/>
          </p:nvPr>
        </p:nvSpPr>
        <p:spPr/>
        <p:txBody>
          <a:bodyPr>
            <a:normAutofit/>
          </a:bodyPr>
          <a:lstStyle/>
          <a:p>
            <a:pPr marL="0" indent="0" algn="ctr">
              <a:buNone/>
            </a:pPr>
            <a:r>
              <a:rPr lang="en-US" sz="4896" dirty="0"/>
              <a:t>Horizon League</a:t>
            </a:r>
          </a:p>
          <a:p>
            <a:pPr algn="ctr"/>
            <a:r>
              <a:rPr lang="en-US" sz="4896" dirty="0"/>
              <a:t>Pre TriCaster (8 to 10 Events/Year)</a:t>
            </a:r>
          </a:p>
          <a:p>
            <a:pPr algn="ctr"/>
            <a:r>
              <a:rPr lang="en-US" sz="4896" dirty="0"/>
              <a:t>With TriCaster (&gt;400 Events/Year)</a:t>
            </a:r>
          </a:p>
        </p:txBody>
      </p:sp>
      <p:sp>
        <p:nvSpPr>
          <p:cNvPr id="2" name="Slide Number Placeholder 1"/>
          <p:cNvSpPr>
            <a:spLocks noGrp="1"/>
          </p:cNvSpPr>
          <p:nvPr>
            <p:ph type="sldNum" sz="quarter" idx="15"/>
          </p:nvPr>
        </p:nvSpPr>
        <p:spPr/>
        <p:txBody>
          <a:bodyPr/>
          <a:lstStyle/>
          <a:p>
            <a:pPr marL="0" marR="0" lvl="0" indent="0" algn="r" defTabSz="1040398" rtl="0" eaLnBrk="1" fontAlgn="auto" latinLnBrk="0" hangingPunct="1">
              <a:lnSpc>
                <a:spcPct val="100000"/>
              </a:lnSpc>
              <a:spcBef>
                <a:spcPts val="0"/>
              </a:spcBef>
              <a:spcAft>
                <a:spcPts val="0"/>
              </a:spcAft>
              <a:buClrTx/>
              <a:buSzTx/>
              <a:buFontTx/>
              <a:buNone/>
              <a:tabLst/>
              <a:defRPr/>
            </a:pPr>
            <a:fld id="{FAADACFB-7C71-4E89-89D2-7BBA40B7BFA9}" type="slidenum">
              <a:rPr kumimoji="0" lang="en-US" sz="1836" b="0" i="0" u="none" strike="noStrike" kern="0" cap="none" spc="0" normalizeH="0" baseline="0" noProof="0">
                <a:ln>
                  <a:noFill/>
                </a:ln>
                <a:solidFill>
                  <a:srgbClr val="0078D7"/>
                </a:solidFill>
                <a:effectLst/>
                <a:uLnTx/>
                <a:uFillTx/>
                <a:latin typeface="Segoe UI" pitchFamily="34" charset="0"/>
                <a:cs typeface="Segoe UI" pitchFamily="34" charset="0"/>
              </a:rPr>
              <a:pPr marL="0" marR="0" lvl="0" indent="0" algn="r" defTabSz="1040398" rtl="0" eaLnBrk="1" fontAlgn="auto" latinLnBrk="0" hangingPunct="1">
                <a:lnSpc>
                  <a:spcPct val="100000"/>
                </a:lnSpc>
                <a:spcBef>
                  <a:spcPts val="0"/>
                </a:spcBef>
                <a:spcAft>
                  <a:spcPts val="0"/>
                </a:spcAft>
                <a:buClrTx/>
                <a:buSzTx/>
                <a:buFontTx/>
                <a:buNone/>
                <a:tabLst/>
                <a:defRPr/>
              </a:pPr>
              <a:t>68</a:t>
            </a:fld>
            <a:endParaRPr kumimoji="0" lang="en-US" sz="1836" b="0" i="0" u="none" strike="noStrike" kern="0" cap="none" spc="0" normalizeH="0" baseline="0" noProof="0" dirty="0">
              <a:ln>
                <a:noFill/>
              </a:ln>
              <a:solidFill>
                <a:srgbClr val="0078D7"/>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419788867"/>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NewTek Impact</a:t>
            </a:r>
          </a:p>
        </p:txBody>
      </p:sp>
      <p:sp>
        <p:nvSpPr>
          <p:cNvPr id="4" name="Text Placeholder 3"/>
          <p:cNvSpPr>
            <a:spLocks noGrp="1"/>
          </p:cNvSpPr>
          <p:nvPr>
            <p:ph type="body" sz="quarter" idx="13"/>
          </p:nvPr>
        </p:nvSpPr>
        <p:spPr/>
        <p:txBody>
          <a:bodyPr/>
          <a:lstStyle/>
          <a:p>
            <a:r>
              <a:rPr lang="en-US" dirty="0"/>
              <a:t> </a:t>
            </a:r>
          </a:p>
        </p:txBody>
      </p:sp>
      <p:sp>
        <p:nvSpPr>
          <p:cNvPr id="5" name="Text Placeholder 4"/>
          <p:cNvSpPr>
            <a:spLocks noGrp="1"/>
          </p:cNvSpPr>
          <p:nvPr>
            <p:ph type="body" sz="quarter" idx="14"/>
          </p:nvPr>
        </p:nvSpPr>
        <p:spPr/>
        <p:txBody>
          <a:bodyPr>
            <a:normAutofit/>
          </a:bodyPr>
          <a:lstStyle/>
          <a:p>
            <a:pPr marL="0" indent="0" algn="ctr">
              <a:buNone/>
            </a:pPr>
            <a:endParaRPr lang="en-US" sz="4896" dirty="0"/>
          </a:p>
          <a:p>
            <a:pPr marL="0" indent="0" algn="ctr">
              <a:buNone/>
            </a:pPr>
            <a:r>
              <a:rPr lang="en-US" sz="4896" dirty="0"/>
              <a:t>Department of Homeland Security </a:t>
            </a:r>
          </a:p>
          <a:p>
            <a:pPr marL="0" indent="0" algn="ctr">
              <a:buNone/>
            </a:pPr>
            <a:r>
              <a:rPr lang="en-US" sz="4896" dirty="0"/>
              <a:t>Science &amp; Technology Directorate</a:t>
            </a:r>
          </a:p>
        </p:txBody>
      </p:sp>
      <p:sp>
        <p:nvSpPr>
          <p:cNvPr id="2" name="Slide Number Placeholder 1"/>
          <p:cNvSpPr>
            <a:spLocks noGrp="1"/>
          </p:cNvSpPr>
          <p:nvPr>
            <p:ph type="sldNum" sz="quarter" idx="15"/>
          </p:nvPr>
        </p:nvSpPr>
        <p:spPr/>
        <p:txBody>
          <a:bodyPr/>
          <a:lstStyle/>
          <a:p>
            <a:pPr marL="0" marR="0" lvl="0" indent="0" algn="r" defTabSz="1040398" rtl="0" eaLnBrk="1" fontAlgn="auto" latinLnBrk="0" hangingPunct="1">
              <a:lnSpc>
                <a:spcPct val="100000"/>
              </a:lnSpc>
              <a:spcBef>
                <a:spcPts val="0"/>
              </a:spcBef>
              <a:spcAft>
                <a:spcPts val="0"/>
              </a:spcAft>
              <a:buClrTx/>
              <a:buSzTx/>
              <a:buFontTx/>
              <a:buNone/>
              <a:tabLst/>
              <a:defRPr/>
            </a:pPr>
            <a:fld id="{FAADACFB-7C71-4E89-89D2-7BBA40B7BFA9}" type="slidenum">
              <a:rPr kumimoji="0" lang="en-US" sz="1836" b="0" i="0" u="none" strike="noStrike" kern="0" cap="none" spc="0" normalizeH="0" baseline="0" noProof="0">
                <a:ln>
                  <a:noFill/>
                </a:ln>
                <a:solidFill>
                  <a:srgbClr val="0078D7"/>
                </a:solidFill>
                <a:effectLst/>
                <a:uLnTx/>
                <a:uFillTx/>
                <a:latin typeface="Segoe UI" pitchFamily="34" charset="0"/>
                <a:cs typeface="Segoe UI" pitchFamily="34" charset="0"/>
              </a:rPr>
              <a:pPr marL="0" marR="0" lvl="0" indent="0" algn="r" defTabSz="1040398" rtl="0" eaLnBrk="1" fontAlgn="auto" latinLnBrk="0" hangingPunct="1">
                <a:lnSpc>
                  <a:spcPct val="100000"/>
                </a:lnSpc>
                <a:spcBef>
                  <a:spcPts val="0"/>
                </a:spcBef>
                <a:spcAft>
                  <a:spcPts val="0"/>
                </a:spcAft>
                <a:buClrTx/>
                <a:buSzTx/>
                <a:buFontTx/>
                <a:buNone/>
                <a:tabLst/>
                <a:defRPr/>
              </a:pPr>
              <a:t>69</a:t>
            </a:fld>
            <a:endParaRPr kumimoji="0" lang="en-US" sz="1836" b="0" i="0" u="none" strike="noStrike" kern="0" cap="none" spc="0" normalizeH="0" baseline="0" noProof="0" dirty="0">
              <a:ln>
                <a:noFill/>
              </a:ln>
              <a:solidFill>
                <a:srgbClr val="0078D7"/>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1255415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 – Afternoon </a:t>
            </a:r>
            <a:r>
              <a:rPr lang="en-US" i="1" dirty="0"/>
              <a:t>(not broadcast)</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704716369"/>
              </p:ext>
            </p:extLst>
          </p:nvPr>
        </p:nvGraphicFramePr>
        <p:xfrm>
          <a:off x="339416" y="1212855"/>
          <a:ext cx="9841223" cy="5375668"/>
        </p:xfrm>
        <a:graphic>
          <a:graphicData uri="http://schemas.openxmlformats.org/drawingml/2006/table">
            <a:tbl>
              <a:tblPr/>
              <a:tblGrid>
                <a:gridCol w="957009">
                  <a:extLst>
                    <a:ext uri="{9D8B030D-6E8A-4147-A177-3AD203B41FA5}">
                      <a16:colId xmlns:a16="http://schemas.microsoft.com/office/drawing/2014/main" val="1262382148"/>
                    </a:ext>
                  </a:extLst>
                </a:gridCol>
                <a:gridCol w="3205974">
                  <a:extLst>
                    <a:ext uri="{9D8B030D-6E8A-4147-A177-3AD203B41FA5}">
                      <a16:colId xmlns:a16="http://schemas.microsoft.com/office/drawing/2014/main" val="2926914191"/>
                    </a:ext>
                  </a:extLst>
                </a:gridCol>
                <a:gridCol w="1419560">
                  <a:extLst>
                    <a:ext uri="{9D8B030D-6E8A-4147-A177-3AD203B41FA5}">
                      <a16:colId xmlns:a16="http://schemas.microsoft.com/office/drawing/2014/main" val="2419195792"/>
                    </a:ext>
                  </a:extLst>
                </a:gridCol>
                <a:gridCol w="1419560">
                  <a:extLst>
                    <a:ext uri="{9D8B030D-6E8A-4147-A177-3AD203B41FA5}">
                      <a16:colId xmlns:a16="http://schemas.microsoft.com/office/drawing/2014/main" val="1788336467"/>
                    </a:ext>
                  </a:extLst>
                </a:gridCol>
                <a:gridCol w="1419560">
                  <a:extLst>
                    <a:ext uri="{9D8B030D-6E8A-4147-A177-3AD203B41FA5}">
                      <a16:colId xmlns:a16="http://schemas.microsoft.com/office/drawing/2014/main" val="3310900814"/>
                    </a:ext>
                  </a:extLst>
                </a:gridCol>
                <a:gridCol w="1419560">
                  <a:extLst>
                    <a:ext uri="{9D8B030D-6E8A-4147-A177-3AD203B41FA5}">
                      <a16:colId xmlns:a16="http://schemas.microsoft.com/office/drawing/2014/main" val="1678809982"/>
                    </a:ext>
                  </a:extLst>
                </a:gridCol>
              </a:tblGrid>
              <a:tr h="233670">
                <a:tc>
                  <a:txBody>
                    <a:bodyPr/>
                    <a:lstStyle/>
                    <a:p>
                      <a:pPr algn="l" fontAlgn="b"/>
                      <a:r>
                        <a:rPr lang="en-US" sz="1500" b="1" i="0" u="none" strike="noStrike">
                          <a:solidFill>
                            <a:schemeClr val="tx1"/>
                          </a:solidFill>
                          <a:effectLst/>
                          <a:latin typeface="Calibri" panose="020F0502020204030204" pitchFamily="34" charset="0"/>
                        </a:rPr>
                        <a:t>Time</a:t>
                      </a:r>
                    </a:p>
                  </a:txBody>
                  <a:tcPr marL="5983" marR="5983" marT="5983" marB="0" anchor="b">
                    <a:lnL>
                      <a:noFill/>
                    </a:lnL>
                    <a:lnR>
                      <a:noFill/>
                    </a:lnR>
                    <a:lnT>
                      <a:noFill/>
                    </a:lnT>
                    <a:lnB w="12700" cap="flat" cmpd="sng" algn="ctr">
                      <a:solidFill>
                        <a:srgbClr val="9BC2E6"/>
                      </a:solidFill>
                      <a:prstDash val="solid"/>
                      <a:round/>
                      <a:headEnd type="none" w="med" len="med"/>
                      <a:tailEnd type="none" w="med" len="med"/>
                    </a:lnB>
                  </a:tcPr>
                </a:tc>
                <a:tc>
                  <a:txBody>
                    <a:bodyPr/>
                    <a:lstStyle/>
                    <a:p>
                      <a:pPr algn="l" fontAlgn="b"/>
                      <a:r>
                        <a:rPr lang="en-US" sz="1500" b="1" i="0" u="none" strike="noStrike">
                          <a:solidFill>
                            <a:schemeClr val="tx1"/>
                          </a:solidFill>
                          <a:effectLst/>
                          <a:latin typeface="Calibri" panose="020F0502020204030204" pitchFamily="34" charset="0"/>
                        </a:rPr>
                        <a:t>Session</a:t>
                      </a:r>
                    </a:p>
                  </a:txBody>
                  <a:tcPr marL="5983" marR="5983" marT="5983" marB="0" anchor="b">
                    <a:lnL>
                      <a:noFill/>
                    </a:lnL>
                    <a:lnR>
                      <a:noFill/>
                    </a:lnR>
                    <a:lnT>
                      <a:noFill/>
                    </a:lnT>
                    <a:lnB w="12700" cap="flat" cmpd="sng" algn="ctr">
                      <a:solidFill>
                        <a:srgbClr val="9BC2E6"/>
                      </a:solidFill>
                      <a:prstDash val="solid"/>
                      <a:round/>
                      <a:headEnd type="none" w="med" len="med"/>
                      <a:tailEnd type="none" w="med" len="med"/>
                    </a:lnB>
                  </a:tcPr>
                </a:tc>
                <a:tc>
                  <a:txBody>
                    <a:bodyPr/>
                    <a:lstStyle/>
                    <a:p>
                      <a:pPr algn="ctr" fontAlgn="b"/>
                      <a:r>
                        <a:rPr lang="en-US" sz="1500" b="1" i="0" u="none" strike="noStrike">
                          <a:solidFill>
                            <a:schemeClr val="tx1"/>
                          </a:solidFill>
                          <a:effectLst/>
                          <a:latin typeface="Calibri" panose="020F0502020204030204" pitchFamily="34" charset="0"/>
                        </a:rPr>
                        <a:t>DOD</a:t>
                      </a:r>
                    </a:p>
                  </a:txBody>
                  <a:tcPr marL="5983" marR="5983" marT="5983" marB="0" anchor="b">
                    <a:lnL>
                      <a:noFill/>
                    </a:lnL>
                    <a:lnR>
                      <a:noFill/>
                    </a:lnR>
                    <a:lnT>
                      <a:noFill/>
                    </a:lnT>
                    <a:lnB w="12700" cap="flat" cmpd="sng" algn="ctr">
                      <a:solidFill>
                        <a:srgbClr val="9BC2E6"/>
                      </a:solidFill>
                      <a:prstDash val="solid"/>
                      <a:round/>
                      <a:headEnd type="none" w="med" len="med"/>
                      <a:tailEnd type="none" w="med" len="med"/>
                    </a:lnB>
                  </a:tcPr>
                </a:tc>
                <a:tc>
                  <a:txBody>
                    <a:bodyPr/>
                    <a:lstStyle/>
                    <a:p>
                      <a:pPr algn="ctr" fontAlgn="b"/>
                      <a:r>
                        <a:rPr lang="en-US" sz="1500" b="1" i="0" u="none" strike="noStrike">
                          <a:solidFill>
                            <a:schemeClr val="tx1"/>
                          </a:solidFill>
                          <a:effectLst/>
                          <a:latin typeface="Calibri" panose="020F0502020204030204" pitchFamily="34" charset="0"/>
                        </a:rPr>
                        <a:t>NSG</a:t>
                      </a:r>
                    </a:p>
                  </a:txBody>
                  <a:tcPr marL="5983" marR="5983" marT="5983" marB="0" anchor="b">
                    <a:lnL>
                      <a:noFill/>
                    </a:lnL>
                    <a:lnR>
                      <a:noFill/>
                    </a:lnR>
                    <a:lnT>
                      <a:noFill/>
                    </a:lnT>
                    <a:lnB w="12700" cap="flat" cmpd="sng" algn="ctr">
                      <a:solidFill>
                        <a:srgbClr val="9BC2E6"/>
                      </a:solidFill>
                      <a:prstDash val="solid"/>
                      <a:round/>
                      <a:headEnd type="none" w="med" len="med"/>
                      <a:tailEnd type="none" w="med" len="med"/>
                    </a:lnB>
                  </a:tcPr>
                </a:tc>
                <a:tc>
                  <a:txBody>
                    <a:bodyPr/>
                    <a:lstStyle/>
                    <a:p>
                      <a:pPr algn="ctr" fontAlgn="b"/>
                      <a:r>
                        <a:rPr lang="en-US" sz="1500" b="1" i="0" u="none" strike="noStrike">
                          <a:solidFill>
                            <a:schemeClr val="tx1"/>
                          </a:solidFill>
                          <a:effectLst/>
                          <a:latin typeface="Calibri" panose="020F0502020204030204" pitchFamily="34" charset="0"/>
                        </a:rPr>
                        <a:t>CIV</a:t>
                      </a:r>
                    </a:p>
                  </a:txBody>
                  <a:tcPr marL="5983" marR="5983" marT="5983" marB="0" anchor="b">
                    <a:lnL>
                      <a:noFill/>
                    </a:lnL>
                    <a:lnR>
                      <a:noFill/>
                    </a:lnR>
                    <a:lnT>
                      <a:noFill/>
                    </a:lnT>
                    <a:lnB w="12700" cap="flat" cmpd="sng" algn="ctr">
                      <a:solidFill>
                        <a:srgbClr val="9BC2E6"/>
                      </a:solidFill>
                      <a:prstDash val="solid"/>
                      <a:round/>
                      <a:headEnd type="none" w="med" len="med"/>
                      <a:tailEnd type="none" w="med" len="med"/>
                    </a:lnB>
                  </a:tcPr>
                </a:tc>
                <a:tc>
                  <a:txBody>
                    <a:bodyPr/>
                    <a:lstStyle/>
                    <a:p>
                      <a:pPr algn="ctr" fontAlgn="b"/>
                      <a:r>
                        <a:rPr lang="en-US" sz="1500" b="1" i="0" u="none" strike="noStrike">
                          <a:solidFill>
                            <a:schemeClr val="tx1"/>
                          </a:solidFill>
                          <a:effectLst/>
                          <a:latin typeface="Calibri" panose="020F0502020204030204" pitchFamily="34" charset="0"/>
                        </a:rPr>
                        <a:t>SI</a:t>
                      </a:r>
                    </a:p>
                  </a:txBody>
                  <a:tcPr marL="5983" marR="5983" marT="5983" marB="0" anchor="b">
                    <a:lnL>
                      <a:noFill/>
                    </a:lnL>
                    <a:lnR>
                      <a:noFill/>
                    </a:lnR>
                    <a:lnT>
                      <a:noFill/>
                    </a:lnT>
                    <a:lnB w="12700" cap="flat" cmpd="sng" algn="ctr">
                      <a:solidFill>
                        <a:srgbClr val="9BC2E6"/>
                      </a:solidFill>
                      <a:prstDash val="solid"/>
                      <a:round/>
                      <a:headEnd type="none" w="med" len="med"/>
                      <a:tailEnd type="none" w="med" len="med"/>
                    </a:lnB>
                  </a:tcPr>
                </a:tc>
                <a:extLst>
                  <a:ext uri="{0D108BD9-81ED-4DB2-BD59-A6C34878D82A}">
                    <a16:rowId xmlns:a16="http://schemas.microsoft.com/office/drawing/2014/main" val="1855040780"/>
                  </a:ext>
                </a:extLst>
              </a:tr>
              <a:tr h="232792">
                <a:tc>
                  <a:txBody>
                    <a:bodyPr/>
                    <a:lstStyle/>
                    <a:p>
                      <a:pPr algn="r" fontAlgn="b"/>
                      <a:r>
                        <a:rPr lang="en-US" sz="1500" b="0" i="0" u="none" strike="noStrike" dirty="0">
                          <a:solidFill>
                            <a:schemeClr val="tx1"/>
                          </a:solidFill>
                          <a:effectLst/>
                          <a:latin typeface="Calibri" panose="020F0502020204030204" pitchFamily="34" charset="0"/>
                        </a:rPr>
                        <a:t>1:30 PM</a:t>
                      </a:r>
                    </a:p>
                  </a:txBody>
                  <a:tcPr marL="5983" marR="5983" marT="5983" marB="0" anchor="ctr">
                    <a:lnL>
                      <a:noFill/>
                    </a:lnL>
                    <a:lnR>
                      <a:noFill/>
                    </a:lnR>
                    <a:lnT w="12700" cap="flat" cmpd="sng" algn="ctr">
                      <a:solidFill>
                        <a:srgbClr val="9BC2E6"/>
                      </a:solidFill>
                      <a:prstDash val="solid"/>
                      <a:round/>
                      <a:headEnd type="none" w="med" len="med"/>
                      <a:tailEnd type="none" w="med" len="med"/>
                    </a:lnT>
                    <a:lnB>
                      <a:noFill/>
                    </a:lnB>
                    <a:solidFill>
                      <a:schemeClr val="bg1">
                        <a:lumMod val="75000"/>
                      </a:schemeClr>
                    </a:solidFill>
                  </a:tcPr>
                </a:tc>
                <a:tc rowSpan="2">
                  <a:txBody>
                    <a:bodyPr/>
                    <a:lstStyle/>
                    <a:p>
                      <a:pPr algn="l" fontAlgn="ctr"/>
                      <a:r>
                        <a:rPr lang="en-US" sz="1500" b="0" i="0" u="none" strike="noStrike" dirty="0">
                          <a:solidFill>
                            <a:schemeClr val="tx1"/>
                          </a:solidFill>
                          <a:effectLst/>
                          <a:latin typeface="Calibri" panose="020F0502020204030204" pitchFamily="34" charset="0"/>
                        </a:rPr>
                        <a:t>Session 1</a:t>
                      </a:r>
                    </a:p>
                  </a:txBody>
                  <a:tcPr marL="113404" marR="113404" marT="56702" marB="56702" anchor="ctr">
                    <a:lnL>
                      <a:noFill/>
                    </a:lnL>
                    <a:lnR>
                      <a:noFill/>
                    </a:lnR>
                    <a:lnT w="12700" cap="flat" cmpd="sng" algn="ctr">
                      <a:solidFill>
                        <a:srgbClr val="9BC2E6"/>
                      </a:solidFill>
                      <a:prstDash val="solid"/>
                      <a:round/>
                      <a:headEnd type="none" w="med" len="med"/>
                      <a:tailEnd type="none" w="med" len="med"/>
                    </a:lnT>
                    <a:lnB>
                      <a:noFill/>
                    </a:lnB>
                    <a:solidFill>
                      <a:schemeClr val="bg1">
                        <a:lumMod val="75000"/>
                      </a:schemeClr>
                    </a:solidFill>
                  </a:tcPr>
                </a:tc>
                <a:tc rowSpan="2">
                  <a:txBody>
                    <a:bodyPr/>
                    <a:lstStyle/>
                    <a:p>
                      <a:pPr algn="ctr" fontAlgn="ctr"/>
                      <a:r>
                        <a:rPr lang="en-US" sz="1500" b="0" i="0" u="none" strike="noStrike" dirty="0" err="1">
                          <a:solidFill>
                            <a:schemeClr val="tx1"/>
                          </a:solidFill>
                          <a:effectLst/>
                          <a:latin typeface="Calibri" panose="020F0502020204030204" pitchFamily="34" charset="0"/>
                        </a:rPr>
                        <a:t>RedHat</a:t>
                      </a:r>
                      <a:endParaRPr lang="en-US" sz="1500" b="0" i="0" u="none" strike="noStrike" dirty="0">
                        <a:solidFill>
                          <a:schemeClr val="tx1"/>
                        </a:solidFill>
                        <a:effectLst/>
                        <a:latin typeface="Calibri" panose="020F0502020204030204" pitchFamily="34" charset="0"/>
                      </a:endParaRPr>
                    </a:p>
                  </a:txBody>
                  <a:tcPr marL="113404" marR="113404" marT="56702" marB="56702" anchor="ctr">
                    <a:lnL>
                      <a:noFill/>
                    </a:lnL>
                    <a:lnR>
                      <a:noFill/>
                    </a:lnR>
                    <a:lnT w="12700" cap="flat" cmpd="sng" algn="ctr">
                      <a:solidFill>
                        <a:srgbClr val="9BC2E6"/>
                      </a:solidFill>
                      <a:prstDash val="solid"/>
                      <a:round/>
                      <a:headEnd type="none" w="med" len="med"/>
                      <a:tailEnd type="none" w="med" len="med"/>
                    </a:lnT>
                    <a:lnB>
                      <a:noFill/>
                    </a:lnB>
                    <a:solidFill>
                      <a:schemeClr val="accent2">
                        <a:lumMod val="90000"/>
                        <a:lumOff val="10000"/>
                      </a:schemeClr>
                    </a:solidFill>
                  </a:tcPr>
                </a:tc>
                <a:tc rowSpan="2">
                  <a:txBody>
                    <a:bodyPr/>
                    <a:lstStyle/>
                    <a:p>
                      <a:pPr algn="ctr" fontAlgn="ctr"/>
                      <a:r>
                        <a:rPr lang="en-US" sz="1500" b="0" i="0" u="none" strike="noStrike" dirty="0">
                          <a:solidFill>
                            <a:schemeClr val="tx1"/>
                          </a:solidFill>
                          <a:effectLst/>
                          <a:latin typeface="Calibri" panose="020F0502020204030204" pitchFamily="34" charset="0"/>
                        </a:rPr>
                        <a:t>ESRI</a:t>
                      </a:r>
                    </a:p>
                  </a:txBody>
                  <a:tcPr marL="113404" marR="113404" marT="56702" marB="56702" anchor="ctr">
                    <a:lnL>
                      <a:noFill/>
                    </a:lnL>
                    <a:lnR>
                      <a:noFill/>
                    </a:lnR>
                    <a:lnT w="12700" cap="flat" cmpd="sng" algn="ctr">
                      <a:solidFill>
                        <a:srgbClr val="9BC2E6"/>
                      </a:solidFill>
                      <a:prstDash val="solid"/>
                      <a:round/>
                      <a:headEnd type="none" w="med" len="med"/>
                      <a:tailEnd type="none" w="med" len="med"/>
                    </a:lnT>
                    <a:lnB>
                      <a:noFill/>
                    </a:lnB>
                    <a:noFill/>
                  </a:tcPr>
                </a:tc>
                <a:tc rowSpan="2">
                  <a:txBody>
                    <a:bodyPr/>
                    <a:lstStyle/>
                    <a:p>
                      <a:pPr algn="ctr" fontAlgn="ctr"/>
                      <a:r>
                        <a:rPr lang="en-US" sz="1500" b="0" i="0" u="none" strike="noStrike" dirty="0" err="1">
                          <a:solidFill>
                            <a:schemeClr val="tx1"/>
                          </a:solidFill>
                          <a:effectLst/>
                          <a:latin typeface="Calibri" panose="020F0502020204030204" pitchFamily="34" charset="0"/>
                        </a:rPr>
                        <a:t>NewTek</a:t>
                      </a:r>
                      <a:endParaRPr lang="en-US" sz="1500" b="0" i="0" u="none" strike="noStrike" dirty="0">
                        <a:solidFill>
                          <a:schemeClr val="tx1"/>
                        </a:solidFill>
                        <a:effectLst/>
                        <a:latin typeface="Calibri" panose="020F0502020204030204" pitchFamily="34" charset="0"/>
                      </a:endParaRPr>
                    </a:p>
                  </a:txBody>
                  <a:tcPr marL="113404" marR="113404" marT="56702" marB="56702" anchor="ctr">
                    <a:lnL>
                      <a:noFill/>
                    </a:lnL>
                    <a:lnR>
                      <a:noFill/>
                    </a:lnR>
                    <a:lnT w="12700" cap="flat" cmpd="sng" algn="ctr">
                      <a:solidFill>
                        <a:srgbClr val="9BC2E6"/>
                      </a:solidFill>
                      <a:prstDash val="solid"/>
                      <a:round/>
                      <a:headEnd type="none" w="med" len="med"/>
                      <a:tailEnd type="none" w="med" len="med"/>
                    </a:lnT>
                    <a:lnB>
                      <a:noFill/>
                    </a:lnB>
                    <a:solidFill>
                      <a:schemeClr val="accent2">
                        <a:lumMod val="90000"/>
                        <a:lumOff val="10000"/>
                      </a:schemeClr>
                    </a:solidFill>
                  </a:tcPr>
                </a:tc>
                <a:tc rowSpan="2">
                  <a:txBody>
                    <a:bodyPr/>
                    <a:lstStyle/>
                    <a:p>
                      <a:pPr algn="ctr" fontAlgn="ctr"/>
                      <a:r>
                        <a:rPr lang="en-US" sz="1500" b="0" i="0" u="none" strike="noStrike">
                          <a:solidFill>
                            <a:schemeClr val="tx1"/>
                          </a:solidFill>
                          <a:effectLst/>
                          <a:latin typeface="Calibri" panose="020F0502020204030204" pitchFamily="34" charset="0"/>
                        </a:rPr>
                        <a:t>CGI Federal</a:t>
                      </a:r>
                    </a:p>
                  </a:txBody>
                  <a:tcPr marL="113404" marR="113404" marT="56702" marB="56702" anchor="ctr">
                    <a:lnL>
                      <a:noFill/>
                    </a:lnL>
                    <a:lnR>
                      <a:noFill/>
                    </a:lnR>
                    <a:lnT w="12700" cap="flat" cmpd="sng" algn="ctr">
                      <a:solidFill>
                        <a:srgbClr val="9BC2E6"/>
                      </a:solidFill>
                      <a:prstDash val="solid"/>
                      <a:round/>
                      <a:headEnd type="none" w="med" len="med"/>
                      <a:tailEnd type="none" w="med" len="med"/>
                    </a:lnT>
                    <a:lnB>
                      <a:noFill/>
                    </a:lnB>
                    <a:noFill/>
                  </a:tcPr>
                </a:tc>
                <a:extLst>
                  <a:ext uri="{0D108BD9-81ED-4DB2-BD59-A6C34878D82A}">
                    <a16:rowId xmlns:a16="http://schemas.microsoft.com/office/drawing/2014/main" val="1112171552"/>
                  </a:ext>
                </a:extLst>
              </a:tr>
              <a:tr h="232792">
                <a:tc>
                  <a:txBody>
                    <a:bodyPr/>
                    <a:lstStyle/>
                    <a:p>
                      <a:pPr algn="r" fontAlgn="b"/>
                      <a:r>
                        <a:rPr lang="en-US" sz="1500" b="0" i="0" u="none" strike="noStrike" dirty="0">
                          <a:solidFill>
                            <a:schemeClr val="tx1"/>
                          </a:solidFill>
                          <a:effectLst/>
                          <a:latin typeface="Calibri" panose="020F0502020204030204" pitchFamily="34" charset="0"/>
                        </a:rPr>
                        <a:t>1:40 PM</a:t>
                      </a:r>
                    </a:p>
                  </a:txBody>
                  <a:tcPr marL="5983" marR="5983" marT="5983" marB="0" anchor="ctr">
                    <a:lnL>
                      <a:noFill/>
                    </a:lnL>
                    <a:lnR>
                      <a:noFill/>
                    </a:lnR>
                    <a:lnT>
                      <a:noFill/>
                    </a:lnT>
                    <a:lnB>
                      <a:noFill/>
                    </a:lnB>
                    <a:solidFill>
                      <a:schemeClr val="bg1">
                        <a:lumMod val="75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237679646"/>
                  </a:ext>
                </a:extLst>
              </a:tr>
              <a:tr h="232792">
                <a:tc>
                  <a:txBody>
                    <a:bodyPr/>
                    <a:lstStyle/>
                    <a:p>
                      <a:pPr algn="r" fontAlgn="b"/>
                      <a:r>
                        <a:rPr lang="en-US" sz="1500" b="0" i="0" u="none" strike="noStrike" dirty="0">
                          <a:solidFill>
                            <a:schemeClr val="tx1"/>
                          </a:solidFill>
                          <a:effectLst/>
                          <a:latin typeface="Calibri" panose="020F0502020204030204" pitchFamily="34" charset="0"/>
                        </a:rPr>
                        <a:t>1:50 PM</a:t>
                      </a:r>
                    </a:p>
                  </a:txBody>
                  <a:tcPr marL="5983" marR="5983" marT="5983" marB="0" anchor="ctr">
                    <a:lnL>
                      <a:noFill/>
                    </a:lnL>
                    <a:lnR>
                      <a:noFill/>
                    </a:lnR>
                    <a:lnT>
                      <a:noFill/>
                    </a:lnT>
                    <a:lnB>
                      <a:noFill/>
                    </a:lnB>
                    <a:solidFill>
                      <a:schemeClr val="bg1">
                        <a:lumMod val="75000"/>
                      </a:schemeClr>
                    </a:solidFill>
                  </a:tcPr>
                </a:tc>
                <a:tc rowSpan="2">
                  <a:txBody>
                    <a:bodyPr/>
                    <a:lstStyle/>
                    <a:p>
                      <a:pPr algn="l" fontAlgn="ctr"/>
                      <a:r>
                        <a:rPr lang="en-US" sz="1500" b="0" i="0" u="none" strike="noStrike" dirty="0">
                          <a:solidFill>
                            <a:schemeClr val="tx1"/>
                          </a:solidFill>
                          <a:effectLst/>
                          <a:latin typeface="Calibri" panose="020F0502020204030204" pitchFamily="34" charset="0"/>
                        </a:rPr>
                        <a:t>Session 2</a:t>
                      </a:r>
                    </a:p>
                  </a:txBody>
                  <a:tcPr marL="113404" marR="113404" marT="56702" marB="56702" anchor="ctr">
                    <a:lnL>
                      <a:noFill/>
                    </a:lnL>
                    <a:lnR>
                      <a:noFill/>
                    </a:lnR>
                    <a:lnT>
                      <a:noFill/>
                    </a:lnT>
                    <a:lnB>
                      <a:noFill/>
                    </a:lnB>
                    <a:solidFill>
                      <a:schemeClr val="bg1">
                        <a:lumMod val="75000"/>
                      </a:schemeClr>
                    </a:solidFill>
                  </a:tcPr>
                </a:tc>
                <a:tc rowSpan="2">
                  <a:txBody>
                    <a:bodyPr/>
                    <a:lstStyle/>
                    <a:p>
                      <a:pPr algn="ctr" fontAlgn="ctr"/>
                      <a:r>
                        <a:rPr lang="en-US" sz="1500" b="0" i="0" u="none" strike="noStrike" dirty="0">
                          <a:solidFill>
                            <a:schemeClr val="tx1"/>
                          </a:solidFill>
                          <a:effectLst/>
                          <a:latin typeface="Calibri" panose="020F0502020204030204" pitchFamily="34" charset="0"/>
                        </a:rPr>
                        <a:t>ESRI</a:t>
                      </a:r>
                    </a:p>
                  </a:txBody>
                  <a:tcPr marL="113404" marR="113404" marT="56702" marB="56702" anchor="ctr">
                    <a:lnL>
                      <a:noFill/>
                    </a:lnL>
                    <a:lnR>
                      <a:noFill/>
                    </a:lnR>
                    <a:lnT>
                      <a:noFill/>
                    </a:lnT>
                    <a:lnB>
                      <a:noFill/>
                    </a:lnB>
                    <a:solidFill>
                      <a:schemeClr val="accent2">
                        <a:lumMod val="90000"/>
                        <a:lumOff val="10000"/>
                      </a:schemeClr>
                    </a:solidFill>
                  </a:tcPr>
                </a:tc>
                <a:tc rowSpan="2">
                  <a:txBody>
                    <a:bodyPr/>
                    <a:lstStyle/>
                    <a:p>
                      <a:pPr algn="ctr" fontAlgn="ctr"/>
                      <a:r>
                        <a:rPr lang="en-US" sz="1500" b="0" i="0" u="none" strike="noStrike" dirty="0">
                          <a:solidFill>
                            <a:schemeClr val="tx1"/>
                          </a:solidFill>
                          <a:effectLst/>
                          <a:latin typeface="Calibri" panose="020F0502020204030204" pitchFamily="34" charset="0"/>
                        </a:rPr>
                        <a:t>NetApp</a:t>
                      </a:r>
                    </a:p>
                  </a:txBody>
                  <a:tcPr marL="113404" marR="113404" marT="56702" marB="56702" anchor="ctr">
                    <a:lnL>
                      <a:noFill/>
                    </a:lnL>
                    <a:lnR>
                      <a:noFill/>
                    </a:lnR>
                    <a:lnT>
                      <a:noFill/>
                    </a:lnT>
                    <a:lnB>
                      <a:noFill/>
                    </a:lnB>
                    <a:noFill/>
                  </a:tcPr>
                </a:tc>
                <a:tc rowSpan="2">
                  <a:txBody>
                    <a:bodyPr/>
                    <a:lstStyle/>
                    <a:p>
                      <a:pPr algn="ctr" fontAlgn="ctr"/>
                      <a:r>
                        <a:rPr lang="en-US" sz="1500" b="0" i="0" u="none" strike="noStrike" dirty="0" err="1">
                          <a:solidFill>
                            <a:schemeClr val="tx1"/>
                          </a:solidFill>
                          <a:effectLst/>
                          <a:latin typeface="Calibri" panose="020F0502020204030204" pitchFamily="34" charset="0"/>
                        </a:rPr>
                        <a:t>RedHat</a:t>
                      </a:r>
                      <a:endParaRPr lang="en-US" sz="1500" b="0" i="0" u="none" strike="noStrike" dirty="0">
                        <a:solidFill>
                          <a:schemeClr val="tx1"/>
                        </a:solidFill>
                        <a:effectLst/>
                        <a:latin typeface="Calibri" panose="020F0502020204030204" pitchFamily="34" charset="0"/>
                      </a:endParaRPr>
                    </a:p>
                  </a:txBody>
                  <a:tcPr marL="113404" marR="113404" marT="56702" marB="56702" anchor="ctr">
                    <a:lnL>
                      <a:noFill/>
                    </a:lnL>
                    <a:lnR>
                      <a:noFill/>
                    </a:lnR>
                    <a:lnT>
                      <a:noFill/>
                    </a:lnT>
                    <a:lnB>
                      <a:noFill/>
                    </a:lnB>
                    <a:solidFill>
                      <a:schemeClr val="accent2">
                        <a:lumMod val="90000"/>
                        <a:lumOff val="10000"/>
                      </a:schemeClr>
                    </a:solidFill>
                  </a:tcPr>
                </a:tc>
                <a:tc rowSpan="2">
                  <a:txBody>
                    <a:bodyPr/>
                    <a:lstStyle/>
                    <a:p>
                      <a:pPr algn="ctr" fontAlgn="ctr"/>
                      <a:r>
                        <a:rPr lang="en-US" sz="1500" b="0" i="0" u="none" strike="noStrike" dirty="0" err="1">
                          <a:solidFill>
                            <a:schemeClr val="tx1"/>
                          </a:solidFill>
                          <a:effectLst/>
                          <a:latin typeface="Calibri" panose="020F0502020204030204" pitchFamily="34" charset="0"/>
                        </a:rPr>
                        <a:t>AvePoint</a:t>
                      </a:r>
                      <a:endParaRPr lang="en-US" sz="1500" b="0" i="0" u="none" strike="noStrike" dirty="0">
                        <a:solidFill>
                          <a:schemeClr val="tx1"/>
                        </a:solidFill>
                        <a:effectLst/>
                        <a:latin typeface="Calibri" panose="020F0502020204030204" pitchFamily="34" charset="0"/>
                      </a:endParaRPr>
                    </a:p>
                  </a:txBody>
                  <a:tcPr marL="113404" marR="113404" marT="56702" marB="56702" anchor="ctr">
                    <a:lnL>
                      <a:noFill/>
                    </a:lnL>
                    <a:lnR>
                      <a:noFill/>
                    </a:lnR>
                    <a:lnT>
                      <a:noFill/>
                    </a:lnT>
                    <a:lnB>
                      <a:noFill/>
                    </a:lnB>
                    <a:noFill/>
                  </a:tcPr>
                </a:tc>
                <a:extLst>
                  <a:ext uri="{0D108BD9-81ED-4DB2-BD59-A6C34878D82A}">
                    <a16:rowId xmlns:a16="http://schemas.microsoft.com/office/drawing/2014/main" val="2892486357"/>
                  </a:ext>
                </a:extLst>
              </a:tr>
              <a:tr h="232792">
                <a:tc>
                  <a:txBody>
                    <a:bodyPr/>
                    <a:lstStyle/>
                    <a:p>
                      <a:pPr algn="r" fontAlgn="b"/>
                      <a:r>
                        <a:rPr lang="en-US" sz="1500" b="0" i="0" u="none" strike="noStrike" dirty="0">
                          <a:solidFill>
                            <a:schemeClr val="tx1"/>
                          </a:solidFill>
                          <a:effectLst/>
                          <a:latin typeface="Calibri" panose="020F0502020204030204" pitchFamily="34" charset="0"/>
                        </a:rPr>
                        <a:t>2:00 PM</a:t>
                      </a:r>
                    </a:p>
                  </a:txBody>
                  <a:tcPr marL="5983" marR="5983" marT="5983" marB="0" anchor="ctr">
                    <a:lnL>
                      <a:noFill/>
                    </a:lnL>
                    <a:lnR>
                      <a:noFill/>
                    </a:lnR>
                    <a:lnT>
                      <a:noFill/>
                    </a:lnT>
                    <a:lnB>
                      <a:noFill/>
                    </a:lnB>
                    <a:no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850703863"/>
                  </a:ext>
                </a:extLst>
              </a:tr>
              <a:tr h="0">
                <a:tc>
                  <a:txBody>
                    <a:bodyPr/>
                    <a:lstStyle/>
                    <a:p>
                      <a:pPr algn="r" fontAlgn="b"/>
                      <a:r>
                        <a:rPr lang="en-US" sz="1500" b="0" i="0" u="none" strike="noStrike" dirty="0">
                          <a:solidFill>
                            <a:schemeClr val="tx1"/>
                          </a:solidFill>
                          <a:effectLst/>
                          <a:latin typeface="Calibri" panose="020F0502020204030204" pitchFamily="34" charset="0"/>
                        </a:rPr>
                        <a:t>2:10 PM</a:t>
                      </a:r>
                    </a:p>
                  </a:txBody>
                  <a:tcPr marL="5983" marR="5983" marT="5983" marB="0" anchor="ctr">
                    <a:lnL>
                      <a:noFill/>
                    </a:lnL>
                    <a:lnR>
                      <a:noFill/>
                    </a:lnR>
                    <a:lnT>
                      <a:noFill/>
                    </a:lnT>
                    <a:lnB>
                      <a:noFill/>
                    </a:lnB>
                    <a:noFill/>
                  </a:tcPr>
                </a:tc>
                <a:tc gridSpan="5">
                  <a:txBody>
                    <a:bodyPr/>
                    <a:lstStyle/>
                    <a:p>
                      <a:pPr algn="l" fontAlgn="b"/>
                      <a:r>
                        <a:rPr lang="en-US" sz="1500" b="0" i="0" u="none" strike="noStrike" dirty="0">
                          <a:solidFill>
                            <a:schemeClr val="tx1"/>
                          </a:solidFill>
                          <a:effectLst/>
                          <a:latin typeface="Calibri" panose="020F0502020204030204" pitchFamily="34" charset="0"/>
                        </a:rPr>
                        <a:t>Buffer</a:t>
                      </a:r>
                    </a:p>
                  </a:txBody>
                  <a:tcPr marL="113404" marR="113404" marT="56702" marB="56702" anchor="b">
                    <a:lnL>
                      <a:noFill/>
                    </a:lnL>
                    <a:lnR>
                      <a:noFill/>
                    </a:lnR>
                    <a:lnT>
                      <a:noFill/>
                    </a:lnT>
                    <a:lnB>
                      <a:noFill/>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048081236"/>
                  </a:ext>
                </a:extLst>
              </a:tr>
              <a:tr h="232792">
                <a:tc>
                  <a:txBody>
                    <a:bodyPr/>
                    <a:lstStyle/>
                    <a:p>
                      <a:pPr algn="r" fontAlgn="b"/>
                      <a:r>
                        <a:rPr lang="en-US" sz="1500" b="0" i="0" u="none" strike="noStrike" dirty="0">
                          <a:solidFill>
                            <a:schemeClr val="tx1"/>
                          </a:solidFill>
                          <a:effectLst/>
                          <a:latin typeface="Calibri" panose="020F0502020204030204" pitchFamily="34" charset="0"/>
                        </a:rPr>
                        <a:t>2:20 PM</a:t>
                      </a:r>
                    </a:p>
                  </a:txBody>
                  <a:tcPr marL="5983" marR="5983" marT="5983" marB="0" anchor="ctr">
                    <a:lnL>
                      <a:noFill/>
                    </a:lnL>
                    <a:lnR>
                      <a:noFill/>
                    </a:lnR>
                    <a:lnT>
                      <a:noFill/>
                    </a:lnT>
                    <a:lnB>
                      <a:noFill/>
                    </a:lnB>
                    <a:noFill/>
                  </a:tcPr>
                </a:tc>
                <a:tc rowSpan="2">
                  <a:txBody>
                    <a:bodyPr/>
                    <a:lstStyle/>
                    <a:p>
                      <a:pPr algn="l" fontAlgn="ctr"/>
                      <a:r>
                        <a:rPr lang="en-US" sz="1500" b="0" i="0" u="none" strike="noStrike" dirty="0">
                          <a:solidFill>
                            <a:schemeClr val="tx1"/>
                          </a:solidFill>
                          <a:effectLst/>
                          <a:latin typeface="Calibri" panose="020F0502020204030204" pitchFamily="34" charset="0"/>
                        </a:rPr>
                        <a:t>Session 3</a:t>
                      </a:r>
                    </a:p>
                  </a:txBody>
                  <a:tcPr marL="113404" marR="113404" marT="56702" marB="56702" anchor="ctr">
                    <a:lnL>
                      <a:noFill/>
                    </a:lnL>
                    <a:lnR>
                      <a:noFill/>
                    </a:lnR>
                    <a:lnT>
                      <a:noFill/>
                    </a:lnT>
                    <a:lnB>
                      <a:noFill/>
                    </a:lnB>
                  </a:tcPr>
                </a:tc>
                <a:tc rowSpan="2">
                  <a:txBody>
                    <a:bodyPr/>
                    <a:lstStyle/>
                    <a:p>
                      <a:pPr algn="ctr" fontAlgn="ctr"/>
                      <a:r>
                        <a:rPr lang="en-US" sz="1500" b="0" i="0" u="none" strike="noStrike" dirty="0" err="1">
                          <a:solidFill>
                            <a:schemeClr val="tx1"/>
                          </a:solidFill>
                          <a:effectLst/>
                          <a:latin typeface="Calibri" panose="020F0502020204030204" pitchFamily="34" charset="0"/>
                        </a:rPr>
                        <a:t>NewTek</a:t>
                      </a:r>
                      <a:endParaRPr lang="en-US" sz="1500" b="0" i="0" u="none" strike="noStrike" dirty="0">
                        <a:solidFill>
                          <a:schemeClr val="tx1"/>
                        </a:solidFill>
                        <a:effectLst/>
                        <a:latin typeface="Calibri" panose="020F0502020204030204" pitchFamily="34" charset="0"/>
                      </a:endParaRPr>
                    </a:p>
                  </a:txBody>
                  <a:tcPr marL="113404" marR="113404" marT="56702" marB="56702" anchor="ctr">
                    <a:lnL>
                      <a:noFill/>
                    </a:lnL>
                    <a:lnR>
                      <a:noFill/>
                    </a:lnR>
                    <a:lnT>
                      <a:noFill/>
                    </a:lnT>
                    <a:lnB>
                      <a:noFill/>
                    </a:lnB>
                    <a:solidFill>
                      <a:schemeClr val="accent2">
                        <a:lumMod val="90000"/>
                        <a:lumOff val="10000"/>
                      </a:schemeClr>
                    </a:solidFill>
                  </a:tcPr>
                </a:tc>
                <a:tc rowSpan="2">
                  <a:txBody>
                    <a:bodyPr/>
                    <a:lstStyle/>
                    <a:p>
                      <a:pPr algn="ctr" fontAlgn="ctr"/>
                      <a:r>
                        <a:rPr lang="en-US" sz="1500" b="0" i="0" u="none" strike="noStrike">
                          <a:solidFill>
                            <a:schemeClr val="tx1"/>
                          </a:solidFill>
                          <a:effectLst/>
                          <a:latin typeface="Calibri" panose="020F0502020204030204" pitchFamily="34" charset="0"/>
                        </a:rPr>
                        <a:t>RedHat</a:t>
                      </a:r>
                    </a:p>
                  </a:txBody>
                  <a:tcPr marL="113404" marR="113404" marT="56702" marB="56702" anchor="ctr">
                    <a:lnL>
                      <a:noFill/>
                    </a:lnL>
                    <a:lnR>
                      <a:noFill/>
                    </a:lnR>
                    <a:lnT>
                      <a:noFill/>
                    </a:lnT>
                    <a:lnB>
                      <a:noFill/>
                    </a:lnB>
                    <a:noFill/>
                  </a:tcPr>
                </a:tc>
                <a:tc rowSpan="2">
                  <a:txBody>
                    <a:bodyPr/>
                    <a:lstStyle/>
                    <a:p>
                      <a:pPr algn="ctr" fontAlgn="ctr"/>
                      <a:r>
                        <a:rPr lang="en-US" sz="1500" b="0" i="0" u="none" strike="noStrike" dirty="0">
                          <a:solidFill>
                            <a:schemeClr val="tx1"/>
                          </a:solidFill>
                          <a:effectLst/>
                          <a:latin typeface="Calibri" panose="020F0502020204030204" pitchFamily="34" charset="0"/>
                        </a:rPr>
                        <a:t>NetApp</a:t>
                      </a:r>
                    </a:p>
                  </a:txBody>
                  <a:tcPr marL="113404" marR="113404" marT="56702" marB="56702" anchor="ctr">
                    <a:lnL>
                      <a:noFill/>
                    </a:lnL>
                    <a:lnR>
                      <a:noFill/>
                    </a:lnR>
                    <a:lnT>
                      <a:noFill/>
                    </a:lnT>
                    <a:lnB>
                      <a:noFill/>
                    </a:lnB>
                    <a:solidFill>
                      <a:schemeClr val="accent2">
                        <a:lumMod val="90000"/>
                        <a:lumOff val="10000"/>
                      </a:schemeClr>
                    </a:solidFill>
                  </a:tcPr>
                </a:tc>
                <a:tc rowSpan="2">
                  <a:txBody>
                    <a:bodyPr/>
                    <a:lstStyle/>
                    <a:p>
                      <a:pPr algn="ctr" fontAlgn="ctr"/>
                      <a:r>
                        <a:rPr lang="en-US" sz="1500" b="0" i="0" u="none" strike="noStrike" dirty="0">
                          <a:solidFill>
                            <a:schemeClr val="tx1"/>
                          </a:solidFill>
                          <a:effectLst/>
                          <a:latin typeface="Calibri" panose="020F0502020204030204" pitchFamily="34" charset="0"/>
                        </a:rPr>
                        <a:t>ESRI</a:t>
                      </a:r>
                    </a:p>
                  </a:txBody>
                  <a:tcPr marL="113404" marR="113404" marT="56702" marB="56702" anchor="ctr">
                    <a:lnL>
                      <a:noFill/>
                    </a:lnL>
                    <a:lnR>
                      <a:noFill/>
                    </a:lnR>
                    <a:lnT>
                      <a:noFill/>
                    </a:lnT>
                    <a:lnB>
                      <a:noFill/>
                    </a:lnB>
                    <a:noFill/>
                  </a:tcPr>
                </a:tc>
                <a:extLst>
                  <a:ext uri="{0D108BD9-81ED-4DB2-BD59-A6C34878D82A}">
                    <a16:rowId xmlns:a16="http://schemas.microsoft.com/office/drawing/2014/main" val="3796320746"/>
                  </a:ext>
                </a:extLst>
              </a:tr>
              <a:tr h="232792">
                <a:tc>
                  <a:txBody>
                    <a:bodyPr/>
                    <a:lstStyle/>
                    <a:p>
                      <a:pPr algn="r" fontAlgn="b"/>
                      <a:r>
                        <a:rPr lang="en-US" sz="1500" b="0" i="0" u="none" strike="noStrike">
                          <a:solidFill>
                            <a:schemeClr val="tx1"/>
                          </a:solidFill>
                          <a:effectLst/>
                          <a:latin typeface="Calibri" panose="020F0502020204030204" pitchFamily="34" charset="0"/>
                        </a:rPr>
                        <a:t>2:30 PM</a:t>
                      </a:r>
                    </a:p>
                  </a:txBody>
                  <a:tcPr marL="5983" marR="5983" marT="5983" marB="0" anchor="ctr">
                    <a:lnL>
                      <a:noFill/>
                    </a:lnL>
                    <a:lnR>
                      <a:noFill/>
                    </a:lnR>
                    <a:lnT>
                      <a:noFill/>
                    </a:lnT>
                    <a:lnB>
                      <a:noFill/>
                    </a:lnB>
                    <a:no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771438434"/>
                  </a:ext>
                </a:extLst>
              </a:tr>
              <a:tr h="232792">
                <a:tc>
                  <a:txBody>
                    <a:bodyPr/>
                    <a:lstStyle/>
                    <a:p>
                      <a:pPr algn="r" fontAlgn="b"/>
                      <a:r>
                        <a:rPr lang="en-US" sz="1500" b="0" i="0" u="none" strike="noStrike" dirty="0">
                          <a:solidFill>
                            <a:schemeClr val="tx1"/>
                          </a:solidFill>
                          <a:effectLst/>
                          <a:latin typeface="Calibri" panose="020F0502020204030204" pitchFamily="34" charset="0"/>
                        </a:rPr>
                        <a:t>2:40 PM</a:t>
                      </a:r>
                    </a:p>
                  </a:txBody>
                  <a:tcPr marL="5983" marR="5983" marT="5983" marB="0" anchor="ctr">
                    <a:lnL>
                      <a:noFill/>
                    </a:lnL>
                    <a:lnR>
                      <a:noFill/>
                    </a:lnR>
                    <a:lnT>
                      <a:noFill/>
                    </a:lnT>
                    <a:lnB>
                      <a:noFill/>
                    </a:lnB>
                    <a:noFill/>
                  </a:tcPr>
                </a:tc>
                <a:tc rowSpan="2">
                  <a:txBody>
                    <a:bodyPr/>
                    <a:lstStyle/>
                    <a:p>
                      <a:pPr algn="l" fontAlgn="ctr"/>
                      <a:r>
                        <a:rPr lang="en-US" sz="1500" b="0" i="0" u="none" strike="noStrike">
                          <a:solidFill>
                            <a:schemeClr val="tx1"/>
                          </a:solidFill>
                          <a:effectLst/>
                          <a:latin typeface="Calibri" panose="020F0502020204030204" pitchFamily="34" charset="0"/>
                        </a:rPr>
                        <a:t>Session 4</a:t>
                      </a:r>
                    </a:p>
                  </a:txBody>
                  <a:tcPr marL="113404" marR="113404" marT="56702" marB="56702" anchor="ctr">
                    <a:lnL>
                      <a:noFill/>
                    </a:lnL>
                    <a:lnR>
                      <a:noFill/>
                    </a:lnR>
                    <a:lnT>
                      <a:noFill/>
                    </a:lnT>
                    <a:lnB>
                      <a:noFill/>
                    </a:lnB>
                  </a:tcPr>
                </a:tc>
                <a:tc rowSpan="2">
                  <a:txBody>
                    <a:bodyPr/>
                    <a:lstStyle/>
                    <a:p>
                      <a:pPr algn="ctr" fontAlgn="ctr"/>
                      <a:r>
                        <a:rPr lang="en-US" sz="1500" b="0" i="0" u="none" strike="noStrike" dirty="0">
                          <a:solidFill>
                            <a:schemeClr val="tx1"/>
                          </a:solidFill>
                          <a:effectLst/>
                          <a:latin typeface="Calibri" panose="020F0502020204030204" pitchFamily="34" charset="0"/>
                        </a:rPr>
                        <a:t>NetApp</a:t>
                      </a:r>
                    </a:p>
                  </a:txBody>
                  <a:tcPr marL="113404" marR="113404" marT="56702" marB="56702" anchor="ctr">
                    <a:lnL>
                      <a:noFill/>
                    </a:lnL>
                    <a:lnR>
                      <a:noFill/>
                    </a:lnR>
                    <a:lnT>
                      <a:noFill/>
                    </a:lnT>
                    <a:lnB>
                      <a:noFill/>
                    </a:lnB>
                    <a:solidFill>
                      <a:schemeClr val="accent2">
                        <a:lumMod val="90000"/>
                        <a:lumOff val="10000"/>
                      </a:schemeClr>
                    </a:solidFill>
                  </a:tcPr>
                </a:tc>
                <a:tc rowSpan="2">
                  <a:txBody>
                    <a:bodyPr/>
                    <a:lstStyle/>
                    <a:p>
                      <a:pPr algn="ctr" fontAlgn="ctr"/>
                      <a:r>
                        <a:rPr lang="en-US" sz="1500" b="0" i="0" u="none" strike="noStrike">
                          <a:solidFill>
                            <a:schemeClr val="tx1"/>
                          </a:solidFill>
                          <a:effectLst/>
                          <a:latin typeface="Calibri" panose="020F0502020204030204" pitchFamily="34" charset="0"/>
                        </a:rPr>
                        <a:t>eSignLive</a:t>
                      </a:r>
                    </a:p>
                  </a:txBody>
                  <a:tcPr marL="113404" marR="113404" marT="56702" marB="56702" anchor="ctr">
                    <a:lnL>
                      <a:noFill/>
                    </a:lnL>
                    <a:lnR>
                      <a:noFill/>
                    </a:lnR>
                    <a:lnT>
                      <a:noFill/>
                    </a:lnT>
                    <a:lnB>
                      <a:noFill/>
                    </a:lnB>
                    <a:noFill/>
                  </a:tcPr>
                </a:tc>
                <a:tc rowSpan="2">
                  <a:txBody>
                    <a:bodyPr/>
                    <a:lstStyle/>
                    <a:p>
                      <a:pPr algn="ctr" fontAlgn="ctr"/>
                      <a:r>
                        <a:rPr lang="en-US" sz="1500" b="0" i="0" u="none" strike="noStrike" dirty="0">
                          <a:solidFill>
                            <a:schemeClr val="tx1"/>
                          </a:solidFill>
                          <a:effectLst/>
                          <a:latin typeface="Calibri" panose="020F0502020204030204" pitchFamily="34" charset="0"/>
                        </a:rPr>
                        <a:t>ESRI</a:t>
                      </a:r>
                    </a:p>
                  </a:txBody>
                  <a:tcPr marL="113404" marR="113404" marT="56702" marB="56702" anchor="ctr">
                    <a:lnL>
                      <a:noFill/>
                    </a:lnL>
                    <a:lnR>
                      <a:noFill/>
                    </a:lnR>
                    <a:lnT>
                      <a:noFill/>
                    </a:lnT>
                    <a:lnB>
                      <a:noFill/>
                    </a:lnB>
                    <a:solidFill>
                      <a:schemeClr val="accent2">
                        <a:lumMod val="90000"/>
                        <a:lumOff val="10000"/>
                      </a:schemeClr>
                    </a:solidFill>
                  </a:tcPr>
                </a:tc>
                <a:tc rowSpan="2">
                  <a:txBody>
                    <a:bodyPr/>
                    <a:lstStyle/>
                    <a:p>
                      <a:pPr algn="ctr" fontAlgn="ctr"/>
                      <a:r>
                        <a:rPr lang="en-US" sz="1500" b="0" i="0" u="none" strike="noStrike">
                          <a:solidFill>
                            <a:schemeClr val="tx1"/>
                          </a:solidFill>
                          <a:effectLst/>
                          <a:latin typeface="Calibri" panose="020F0502020204030204" pitchFamily="34" charset="0"/>
                        </a:rPr>
                        <a:t>RedHat</a:t>
                      </a:r>
                    </a:p>
                  </a:txBody>
                  <a:tcPr marL="113404" marR="113404" marT="56702" marB="56702" anchor="ctr">
                    <a:lnL>
                      <a:noFill/>
                    </a:lnL>
                    <a:lnR>
                      <a:noFill/>
                    </a:lnR>
                    <a:lnT>
                      <a:noFill/>
                    </a:lnT>
                    <a:lnB>
                      <a:noFill/>
                    </a:lnB>
                    <a:noFill/>
                  </a:tcPr>
                </a:tc>
                <a:extLst>
                  <a:ext uri="{0D108BD9-81ED-4DB2-BD59-A6C34878D82A}">
                    <a16:rowId xmlns:a16="http://schemas.microsoft.com/office/drawing/2014/main" val="2678982089"/>
                  </a:ext>
                </a:extLst>
              </a:tr>
              <a:tr h="234583">
                <a:tc>
                  <a:txBody>
                    <a:bodyPr/>
                    <a:lstStyle/>
                    <a:p>
                      <a:pPr algn="r" fontAlgn="b"/>
                      <a:r>
                        <a:rPr lang="en-US" sz="1500" b="0" i="0" u="none" strike="noStrike">
                          <a:solidFill>
                            <a:schemeClr val="tx1"/>
                          </a:solidFill>
                          <a:effectLst/>
                          <a:latin typeface="Calibri" panose="020F0502020204030204" pitchFamily="34" charset="0"/>
                        </a:rPr>
                        <a:t>2:50 PM</a:t>
                      </a:r>
                    </a:p>
                  </a:txBody>
                  <a:tcPr marL="5983" marR="5983" marT="5983" marB="0" anchor="ctr">
                    <a:lnL>
                      <a:noFill/>
                    </a:lnL>
                    <a:lnR>
                      <a:noFill/>
                    </a:lnR>
                    <a:lnT>
                      <a:noFill/>
                    </a:lnT>
                    <a:lnB>
                      <a:noFill/>
                    </a:lnB>
                    <a:no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343030455"/>
                  </a:ext>
                </a:extLst>
              </a:tr>
              <a:tr h="232792">
                <a:tc>
                  <a:txBody>
                    <a:bodyPr/>
                    <a:lstStyle/>
                    <a:p>
                      <a:pPr algn="r" fontAlgn="b"/>
                      <a:r>
                        <a:rPr lang="en-US" sz="1500" b="0" i="0" u="none" strike="noStrike" dirty="0">
                          <a:solidFill>
                            <a:schemeClr val="tx1"/>
                          </a:solidFill>
                          <a:effectLst/>
                          <a:latin typeface="Calibri" panose="020F0502020204030204" pitchFamily="34" charset="0"/>
                        </a:rPr>
                        <a:t>3:00 PM</a:t>
                      </a:r>
                    </a:p>
                  </a:txBody>
                  <a:tcPr marL="5983" marR="5983" marT="5983" marB="0" anchor="ctr">
                    <a:lnL>
                      <a:noFill/>
                    </a:lnL>
                    <a:lnR>
                      <a:noFill/>
                    </a:lnR>
                    <a:lnT>
                      <a:noFill/>
                    </a:lnT>
                    <a:lnB>
                      <a:noFill/>
                    </a:lnB>
                    <a:solidFill>
                      <a:schemeClr val="bg1">
                        <a:lumMod val="75000"/>
                      </a:schemeClr>
                    </a:solidFill>
                  </a:tcPr>
                </a:tc>
                <a:tc rowSpan="2" gridSpan="5">
                  <a:txBody>
                    <a:bodyPr/>
                    <a:lstStyle/>
                    <a:p>
                      <a:pPr algn="l" fontAlgn="ctr"/>
                      <a:r>
                        <a:rPr lang="en-US" sz="1500" b="0" i="0" u="none" strike="noStrike" dirty="0">
                          <a:solidFill>
                            <a:schemeClr val="tx1"/>
                          </a:solidFill>
                          <a:effectLst/>
                          <a:latin typeface="Calibri" panose="020F0502020204030204" pitchFamily="34" charset="0"/>
                        </a:rPr>
                        <a:t>Break</a:t>
                      </a:r>
                    </a:p>
                  </a:txBody>
                  <a:tcPr marL="113404" marR="113404" marT="56702" marB="56702" anchor="ctr">
                    <a:lnL>
                      <a:noFill/>
                    </a:lnL>
                    <a:lnR>
                      <a:noFill/>
                    </a:lnR>
                    <a:lnT>
                      <a:noFill/>
                    </a:lnT>
                    <a:lnB>
                      <a:noFill/>
                    </a:lnB>
                    <a:solidFill>
                      <a:schemeClr val="bg1">
                        <a:lumMod val="75000"/>
                      </a:schemeClr>
                    </a:solidFill>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extLst>
                  <a:ext uri="{0D108BD9-81ED-4DB2-BD59-A6C34878D82A}">
                    <a16:rowId xmlns:a16="http://schemas.microsoft.com/office/drawing/2014/main" val="2507735864"/>
                  </a:ext>
                </a:extLst>
              </a:tr>
              <a:tr h="232792">
                <a:tc>
                  <a:txBody>
                    <a:bodyPr/>
                    <a:lstStyle/>
                    <a:p>
                      <a:pPr algn="r" fontAlgn="b"/>
                      <a:r>
                        <a:rPr lang="en-US" sz="1500" b="0" i="0" u="none" strike="noStrike" dirty="0">
                          <a:solidFill>
                            <a:schemeClr val="tx1"/>
                          </a:solidFill>
                          <a:effectLst/>
                          <a:latin typeface="Calibri" panose="020F0502020204030204" pitchFamily="34" charset="0"/>
                        </a:rPr>
                        <a:t>3:10 PM</a:t>
                      </a:r>
                    </a:p>
                  </a:txBody>
                  <a:tcPr marL="5983" marR="5983" marT="5983" marB="0" anchor="ctr">
                    <a:lnL>
                      <a:noFill/>
                    </a:lnL>
                    <a:lnR>
                      <a:noFill/>
                    </a:lnR>
                    <a:lnT>
                      <a:noFill/>
                    </a:lnT>
                    <a:lnB>
                      <a:noFill/>
                    </a:lnB>
                    <a:solidFill>
                      <a:schemeClr val="bg1">
                        <a:lumMod val="75000"/>
                      </a:schemeClr>
                    </a:solidFill>
                  </a:tcPr>
                </a:tc>
                <a:tc gridSpan="5"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369285094"/>
                  </a:ext>
                </a:extLst>
              </a:tr>
              <a:tr h="232792">
                <a:tc>
                  <a:txBody>
                    <a:bodyPr/>
                    <a:lstStyle/>
                    <a:p>
                      <a:pPr algn="r" fontAlgn="b"/>
                      <a:r>
                        <a:rPr lang="en-US" sz="1500" b="0" i="0" u="none" strike="noStrike" dirty="0">
                          <a:solidFill>
                            <a:schemeClr val="tx1"/>
                          </a:solidFill>
                          <a:effectLst/>
                          <a:latin typeface="Calibri" panose="020F0502020204030204" pitchFamily="34" charset="0"/>
                        </a:rPr>
                        <a:t>3:20 PM</a:t>
                      </a:r>
                    </a:p>
                  </a:txBody>
                  <a:tcPr marL="5983" marR="5983" marT="5983" marB="0" anchor="ctr">
                    <a:lnL>
                      <a:noFill/>
                    </a:lnL>
                    <a:lnR>
                      <a:noFill/>
                    </a:lnR>
                    <a:lnT>
                      <a:noFill/>
                    </a:lnT>
                    <a:lnB>
                      <a:noFill/>
                    </a:lnB>
                    <a:solidFill>
                      <a:schemeClr val="bg1">
                        <a:lumMod val="75000"/>
                      </a:schemeClr>
                    </a:solidFill>
                  </a:tcPr>
                </a:tc>
                <a:tc rowSpan="2">
                  <a:txBody>
                    <a:bodyPr/>
                    <a:lstStyle/>
                    <a:p>
                      <a:pPr algn="l" fontAlgn="ctr"/>
                      <a:r>
                        <a:rPr lang="en-US" sz="1500" b="0" i="0" u="none" strike="noStrike" dirty="0">
                          <a:solidFill>
                            <a:schemeClr val="tx1"/>
                          </a:solidFill>
                          <a:effectLst/>
                          <a:latin typeface="Calibri" panose="020F0502020204030204" pitchFamily="34" charset="0"/>
                        </a:rPr>
                        <a:t>Session 5</a:t>
                      </a:r>
                    </a:p>
                  </a:txBody>
                  <a:tcPr marL="113404" marR="113404" marT="56702" marB="56702" anchor="ctr">
                    <a:lnL>
                      <a:noFill/>
                    </a:lnL>
                    <a:lnR>
                      <a:noFill/>
                    </a:lnR>
                    <a:lnT>
                      <a:noFill/>
                    </a:lnT>
                    <a:lnB>
                      <a:noFill/>
                    </a:lnB>
                    <a:solidFill>
                      <a:schemeClr val="bg1">
                        <a:lumMod val="75000"/>
                      </a:schemeClr>
                    </a:solidFill>
                  </a:tcPr>
                </a:tc>
                <a:tc rowSpan="2">
                  <a:txBody>
                    <a:bodyPr/>
                    <a:lstStyle/>
                    <a:p>
                      <a:pPr algn="ctr" fontAlgn="ctr"/>
                      <a:r>
                        <a:rPr lang="en-US" sz="1500" b="0" i="0" u="none" strike="noStrike" dirty="0">
                          <a:solidFill>
                            <a:schemeClr val="tx1"/>
                          </a:solidFill>
                          <a:effectLst/>
                          <a:latin typeface="Calibri" panose="020F0502020204030204" pitchFamily="34" charset="0"/>
                        </a:rPr>
                        <a:t>CGI Federal</a:t>
                      </a:r>
                    </a:p>
                  </a:txBody>
                  <a:tcPr marL="113404" marR="113404" marT="56702" marB="56702" anchor="ctr">
                    <a:lnL>
                      <a:noFill/>
                    </a:lnL>
                    <a:lnR>
                      <a:noFill/>
                    </a:lnR>
                    <a:lnT>
                      <a:noFill/>
                    </a:lnT>
                    <a:lnB>
                      <a:noFill/>
                    </a:lnB>
                    <a:solidFill>
                      <a:schemeClr val="accent2">
                        <a:lumMod val="90000"/>
                        <a:lumOff val="10000"/>
                      </a:schemeClr>
                    </a:solidFill>
                  </a:tcPr>
                </a:tc>
                <a:tc rowSpan="2">
                  <a:txBody>
                    <a:bodyPr/>
                    <a:lstStyle/>
                    <a:p>
                      <a:pPr algn="ctr" fontAlgn="ctr"/>
                      <a:r>
                        <a:rPr lang="en-US" sz="1500" b="0" i="0" u="none" strike="noStrike">
                          <a:solidFill>
                            <a:schemeClr val="tx1"/>
                          </a:solidFill>
                          <a:effectLst/>
                          <a:latin typeface="Calibri" panose="020F0502020204030204" pitchFamily="34" charset="0"/>
                        </a:rPr>
                        <a:t>NewTek</a:t>
                      </a:r>
                    </a:p>
                  </a:txBody>
                  <a:tcPr marL="113404" marR="113404" marT="56702" marB="56702" anchor="ctr">
                    <a:lnL>
                      <a:noFill/>
                    </a:lnL>
                    <a:lnR>
                      <a:noFill/>
                    </a:lnR>
                    <a:lnT>
                      <a:noFill/>
                    </a:lnT>
                    <a:lnB>
                      <a:noFill/>
                    </a:lnB>
                    <a:noFill/>
                  </a:tcPr>
                </a:tc>
                <a:tc rowSpan="2">
                  <a:txBody>
                    <a:bodyPr/>
                    <a:lstStyle/>
                    <a:p>
                      <a:pPr algn="ctr" fontAlgn="ctr"/>
                      <a:r>
                        <a:rPr lang="en-US" sz="1500" b="0" i="0" u="none" strike="noStrike" dirty="0" err="1">
                          <a:solidFill>
                            <a:schemeClr val="tx1"/>
                          </a:solidFill>
                          <a:effectLst/>
                          <a:latin typeface="Calibri" panose="020F0502020204030204" pitchFamily="34" charset="0"/>
                        </a:rPr>
                        <a:t>AvePoint</a:t>
                      </a:r>
                      <a:endParaRPr lang="en-US" sz="1500" b="0" i="0" u="none" strike="noStrike" dirty="0">
                        <a:solidFill>
                          <a:schemeClr val="tx1"/>
                        </a:solidFill>
                        <a:effectLst/>
                        <a:latin typeface="Calibri" panose="020F0502020204030204" pitchFamily="34" charset="0"/>
                      </a:endParaRPr>
                    </a:p>
                  </a:txBody>
                  <a:tcPr marL="113404" marR="113404" marT="56702" marB="56702" anchor="ctr">
                    <a:lnL>
                      <a:noFill/>
                    </a:lnL>
                    <a:lnR>
                      <a:noFill/>
                    </a:lnR>
                    <a:lnT>
                      <a:noFill/>
                    </a:lnT>
                    <a:lnB>
                      <a:noFill/>
                    </a:lnB>
                    <a:solidFill>
                      <a:schemeClr val="accent2">
                        <a:lumMod val="90000"/>
                        <a:lumOff val="10000"/>
                      </a:schemeClr>
                    </a:solidFill>
                  </a:tcPr>
                </a:tc>
                <a:tc rowSpan="2">
                  <a:txBody>
                    <a:bodyPr/>
                    <a:lstStyle/>
                    <a:p>
                      <a:pPr algn="ctr" fontAlgn="ctr"/>
                      <a:r>
                        <a:rPr lang="en-US" sz="1500" b="0" i="0" u="none" strike="noStrike">
                          <a:solidFill>
                            <a:schemeClr val="tx1"/>
                          </a:solidFill>
                          <a:effectLst/>
                          <a:latin typeface="Calibri" panose="020F0502020204030204" pitchFamily="34" charset="0"/>
                        </a:rPr>
                        <a:t>eSignLive</a:t>
                      </a:r>
                    </a:p>
                  </a:txBody>
                  <a:tcPr marL="113404" marR="113404" marT="56702" marB="56702" anchor="ctr">
                    <a:lnL>
                      <a:noFill/>
                    </a:lnL>
                    <a:lnR>
                      <a:noFill/>
                    </a:lnR>
                    <a:lnT>
                      <a:noFill/>
                    </a:lnT>
                    <a:lnB>
                      <a:noFill/>
                    </a:lnB>
                    <a:noFill/>
                  </a:tcPr>
                </a:tc>
                <a:extLst>
                  <a:ext uri="{0D108BD9-81ED-4DB2-BD59-A6C34878D82A}">
                    <a16:rowId xmlns:a16="http://schemas.microsoft.com/office/drawing/2014/main" val="1257065470"/>
                  </a:ext>
                </a:extLst>
              </a:tr>
              <a:tr h="232792">
                <a:tc>
                  <a:txBody>
                    <a:bodyPr/>
                    <a:lstStyle/>
                    <a:p>
                      <a:pPr algn="r" fontAlgn="b"/>
                      <a:r>
                        <a:rPr lang="en-US" sz="1500" b="0" i="0" u="none" strike="noStrike" dirty="0">
                          <a:solidFill>
                            <a:schemeClr val="tx1"/>
                          </a:solidFill>
                          <a:effectLst/>
                          <a:latin typeface="Calibri" panose="020F0502020204030204" pitchFamily="34" charset="0"/>
                        </a:rPr>
                        <a:t>3:30 PM</a:t>
                      </a:r>
                    </a:p>
                  </a:txBody>
                  <a:tcPr marL="5983" marR="5983" marT="5983" marB="0" anchor="ctr">
                    <a:lnL>
                      <a:noFill/>
                    </a:lnL>
                    <a:lnR>
                      <a:noFill/>
                    </a:lnR>
                    <a:lnT>
                      <a:noFill/>
                    </a:lnT>
                    <a:lnB>
                      <a:noFill/>
                    </a:lnB>
                    <a:solidFill>
                      <a:schemeClr val="bg1">
                        <a:lumMod val="75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550671027"/>
                  </a:ext>
                </a:extLst>
              </a:tr>
              <a:tr h="232792">
                <a:tc>
                  <a:txBody>
                    <a:bodyPr/>
                    <a:lstStyle/>
                    <a:p>
                      <a:pPr algn="r" fontAlgn="b"/>
                      <a:r>
                        <a:rPr lang="en-US" sz="1500" b="0" i="0" u="none" strike="noStrike" dirty="0">
                          <a:solidFill>
                            <a:schemeClr val="tx1"/>
                          </a:solidFill>
                          <a:effectLst/>
                          <a:latin typeface="Calibri" panose="020F0502020204030204" pitchFamily="34" charset="0"/>
                        </a:rPr>
                        <a:t>3:40 PM</a:t>
                      </a:r>
                    </a:p>
                  </a:txBody>
                  <a:tcPr marL="5983" marR="5983" marT="5983" marB="0" anchor="ctr">
                    <a:lnL>
                      <a:noFill/>
                    </a:lnL>
                    <a:lnR>
                      <a:noFill/>
                    </a:lnR>
                    <a:lnT>
                      <a:noFill/>
                    </a:lnT>
                    <a:lnB>
                      <a:noFill/>
                    </a:lnB>
                    <a:solidFill>
                      <a:schemeClr val="bg1">
                        <a:lumMod val="75000"/>
                      </a:schemeClr>
                    </a:solidFill>
                  </a:tcPr>
                </a:tc>
                <a:tc rowSpan="2">
                  <a:txBody>
                    <a:bodyPr/>
                    <a:lstStyle/>
                    <a:p>
                      <a:pPr algn="l" fontAlgn="ctr"/>
                      <a:r>
                        <a:rPr lang="en-US" sz="1500" b="0" i="0" u="none" strike="noStrike" dirty="0">
                          <a:solidFill>
                            <a:schemeClr val="tx1"/>
                          </a:solidFill>
                          <a:effectLst/>
                          <a:latin typeface="Calibri" panose="020F0502020204030204" pitchFamily="34" charset="0"/>
                        </a:rPr>
                        <a:t>Session 6</a:t>
                      </a:r>
                    </a:p>
                  </a:txBody>
                  <a:tcPr marL="113404" marR="113404" marT="56702" marB="56702" anchor="ctr">
                    <a:lnL>
                      <a:noFill/>
                    </a:lnL>
                    <a:lnR>
                      <a:noFill/>
                    </a:lnR>
                    <a:lnT>
                      <a:noFill/>
                    </a:lnT>
                    <a:lnB>
                      <a:noFill/>
                    </a:lnB>
                    <a:solidFill>
                      <a:schemeClr val="bg1">
                        <a:lumMod val="75000"/>
                      </a:schemeClr>
                    </a:solidFill>
                  </a:tcPr>
                </a:tc>
                <a:tc rowSpan="2">
                  <a:txBody>
                    <a:bodyPr/>
                    <a:lstStyle/>
                    <a:p>
                      <a:pPr algn="ctr" fontAlgn="ctr"/>
                      <a:r>
                        <a:rPr lang="en-US" sz="1500" b="0" i="0" u="none" strike="noStrike" dirty="0" err="1">
                          <a:solidFill>
                            <a:schemeClr val="tx1"/>
                          </a:solidFill>
                          <a:effectLst/>
                          <a:latin typeface="Calibri" panose="020F0502020204030204" pitchFamily="34" charset="0"/>
                        </a:rPr>
                        <a:t>eSignLive</a:t>
                      </a:r>
                      <a:endParaRPr lang="en-US" sz="1500" b="0" i="0" u="none" strike="noStrike" dirty="0">
                        <a:solidFill>
                          <a:schemeClr val="tx1"/>
                        </a:solidFill>
                        <a:effectLst/>
                        <a:latin typeface="Calibri" panose="020F0502020204030204" pitchFamily="34" charset="0"/>
                      </a:endParaRPr>
                    </a:p>
                  </a:txBody>
                  <a:tcPr marL="113404" marR="113404" marT="56702" marB="56702" anchor="ctr">
                    <a:lnL>
                      <a:noFill/>
                    </a:lnL>
                    <a:lnR>
                      <a:noFill/>
                    </a:lnR>
                    <a:lnT>
                      <a:noFill/>
                    </a:lnT>
                    <a:lnB>
                      <a:noFill/>
                    </a:lnB>
                    <a:solidFill>
                      <a:schemeClr val="accent2">
                        <a:lumMod val="90000"/>
                        <a:lumOff val="10000"/>
                      </a:schemeClr>
                    </a:solidFill>
                  </a:tcPr>
                </a:tc>
                <a:tc rowSpan="2">
                  <a:txBody>
                    <a:bodyPr/>
                    <a:lstStyle/>
                    <a:p>
                      <a:pPr algn="ctr" fontAlgn="ctr"/>
                      <a:r>
                        <a:rPr lang="en-US" sz="1500" b="0" i="0" u="none" strike="noStrike">
                          <a:solidFill>
                            <a:schemeClr val="tx1"/>
                          </a:solidFill>
                          <a:effectLst/>
                          <a:latin typeface="Calibri" panose="020F0502020204030204" pitchFamily="34" charset="0"/>
                        </a:rPr>
                        <a:t>AvePoint</a:t>
                      </a:r>
                    </a:p>
                  </a:txBody>
                  <a:tcPr marL="113404" marR="113404" marT="56702" marB="56702" anchor="ctr">
                    <a:lnL>
                      <a:noFill/>
                    </a:lnL>
                    <a:lnR>
                      <a:noFill/>
                    </a:lnR>
                    <a:lnT>
                      <a:noFill/>
                    </a:lnT>
                    <a:lnB>
                      <a:noFill/>
                    </a:lnB>
                    <a:noFill/>
                  </a:tcPr>
                </a:tc>
                <a:tc rowSpan="2">
                  <a:txBody>
                    <a:bodyPr/>
                    <a:lstStyle/>
                    <a:p>
                      <a:pPr algn="ctr" fontAlgn="ctr"/>
                      <a:r>
                        <a:rPr lang="en-US" sz="1500" b="0" i="0" u="none" strike="noStrike" dirty="0">
                          <a:solidFill>
                            <a:schemeClr val="tx1"/>
                          </a:solidFill>
                          <a:effectLst/>
                          <a:latin typeface="Calibri" panose="020F0502020204030204" pitchFamily="34" charset="0"/>
                        </a:rPr>
                        <a:t>CGI Federal</a:t>
                      </a:r>
                    </a:p>
                  </a:txBody>
                  <a:tcPr marL="113404" marR="113404" marT="56702" marB="56702" anchor="ctr">
                    <a:lnL>
                      <a:noFill/>
                    </a:lnL>
                    <a:lnR>
                      <a:noFill/>
                    </a:lnR>
                    <a:lnT>
                      <a:noFill/>
                    </a:lnT>
                    <a:lnB>
                      <a:noFill/>
                    </a:lnB>
                    <a:solidFill>
                      <a:schemeClr val="accent2">
                        <a:lumMod val="90000"/>
                        <a:lumOff val="10000"/>
                      </a:schemeClr>
                    </a:solidFill>
                  </a:tcPr>
                </a:tc>
                <a:tc rowSpan="2">
                  <a:txBody>
                    <a:bodyPr/>
                    <a:lstStyle/>
                    <a:p>
                      <a:pPr algn="ctr" fontAlgn="ctr"/>
                      <a:r>
                        <a:rPr lang="en-US" sz="1500" b="0" i="0" u="none" strike="noStrike" dirty="0">
                          <a:solidFill>
                            <a:schemeClr val="tx1"/>
                          </a:solidFill>
                          <a:effectLst/>
                          <a:latin typeface="Calibri" panose="020F0502020204030204" pitchFamily="34" charset="0"/>
                        </a:rPr>
                        <a:t>NetApp</a:t>
                      </a:r>
                    </a:p>
                  </a:txBody>
                  <a:tcPr marL="113404" marR="113404" marT="56702" marB="56702" anchor="ctr">
                    <a:lnL>
                      <a:noFill/>
                    </a:lnL>
                    <a:lnR>
                      <a:noFill/>
                    </a:lnR>
                    <a:lnT>
                      <a:noFill/>
                    </a:lnT>
                    <a:lnB>
                      <a:noFill/>
                    </a:lnB>
                    <a:noFill/>
                  </a:tcPr>
                </a:tc>
                <a:extLst>
                  <a:ext uri="{0D108BD9-81ED-4DB2-BD59-A6C34878D82A}">
                    <a16:rowId xmlns:a16="http://schemas.microsoft.com/office/drawing/2014/main" val="3275075559"/>
                  </a:ext>
                </a:extLst>
              </a:tr>
              <a:tr h="232792">
                <a:tc>
                  <a:txBody>
                    <a:bodyPr/>
                    <a:lstStyle/>
                    <a:p>
                      <a:pPr algn="r" fontAlgn="b"/>
                      <a:r>
                        <a:rPr lang="en-US" sz="1500" b="0" i="0" u="none" strike="noStrike" dirty="0">
                          <a:solidFill>
                            <a:schemeClr val="tx1"/>
                          </a:solidFill>
                          <a:effectLst/>
                          <a:latin typeface="Calibri" panose="020F0502020204030204" pitchFamily="34" charset="0"/>
                        </a:rPr>
                        <a:t>3:50 PM</a:t>
                      </a:r>
                    </a:p>
                  </a:txBody>
                  <a:tcPr marL="5983" marR="5983" marT="5983" marB="0" anchor="ctr">
                    <a:lnL>
                      <a:noFill/>
                    </a:lnL>
                    <a:lnR>
                      <a:noFill/>
                    </a:lnR>
                    <a:lnT>
                      <a:noFill/>
                    </a:lnT>
                    <a:lnB>
                      <a:noFill/>
                    </a:lnB>
                    <a:solidFill>
                      <a:schemeClr val="bg1">
                        <a:lumMod val="75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514215445"/>
                  </a:ext>
                </a:extLst>
              </a:tr>
              <a:tr h="0">
                <a:tc>
                  <a:txBody>
                    <a:bodyPr/>
                    <a:lstStyle/>
                    <a:p>
                      <a:pPr algn="r" fontAlgn="b"/>
                      <a:r>
                        <a:rPr lang="en-US" sz="1500" b="0" i="0" u="none" strike="noStrike" dirty="0">
                          <a:solidFill>
                            <a:schemeClr val="tx1"/>
                          </a:solidFill>
                          <a:effectLst/>
                          <a:latin typeface="Calibri" panose="020F0502020204030204" pitchFamily="34" charset="0"/>
                        </a:rPr>
                        <a:t>4:00 PM</a:t>
                      </a:r>
                    </a:p>
                  </a:txBody>
                  <a:tcPr marL="5983" marR="5983" marT="5983" marB="0" anchor="ctr">
                    <a:lnL>
                      <a:noFill/>
                    </a:lnL>
                    <a:lnR>
                      <a:noFill/>
                    </a:lnR>
                    <a:lnT>
                      <a:noFill/>
                    </a:lnT>
                    <a:lnB>
                      <a:noFill/>
                    </a:lnB>
                    <a:noFill/>
                  </a:tcPr>
                </a:tc>
                <a:tc gridSpan="5">
                  <a:txBody>
                    <a:bodyPr/>
                    <a:lstStyle/>
                    <a:p>
                      <a:pPr algn="l" fontAlgn="b"/>
                      <a:r>
                        <a:rPr lang="en-US" sz="1500" b="0" i="0" u="none" strike="noStrike" dirty="0">
                          <a:solidFill>
                            <a:schemeClr val="tx1"/>
                          </a:solidFill>
                          <a:effectLst/>
                          <a:latin typeface="Calibri" panose="020F0502020204030204" pitchFamily="34" charset="0"/>
                        </a:rPr>
                        <a:t>Buffer</a:t>
                      </a:r>
                    </a:p>
                  </a:txBody>
                  <a:tcPr marL="113404" marR="113404" marT="56702" marB="56702" anchor="b">
                    <a:lnL>
                      <a:noFill/>
                    </a:lnL>
                    <a:lnR>
                      <a:noFill/>
                    </a:lnR>
                    <a:lnT>
                      <a:noFill/>
                    </a:lnT>
                    <a:lnB>
                      <a:noFill/>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54178310"/>
                  </a:ext>
                </a:extLst>
              </a:tr>
              <a:tr h="232792">
                <a:tc>
                  <a:txBody>
                    <a:bodyPr/>
                    <a:lstStyle/>
                    <a:p>
                      <a:pPr algn="r" fontAlgn="b"/>
                      <a:r>
                        <a:rPr lang="en-US" sz="1500" b="0" i="0" u="none" strike="noStrike" dirty="0">
                          <a:solidFill>
                            <a:schemeClr val="tx1"/>
                          </a:solidFill>
                          <a:effectLst/>
                          <a:latin typeface="Calibri" panose="020F0502020204030204" pitchFamily="34" charset="0"/>
                        </a:rPr>
                        <a:t>4:10 PM</a:t>
                      </a:r>
                    </a:p>
                  </a:txBody>
                  <a:tcPr marL="5983" marR="5983" marT="5983" marB="0" anchor="ctr">
                    <a:lnL>
                      <a:noFill/>
                    </a:lnL>
                    <a:lnR>
                      <a:noFill/>
                    </a:lnR>
                    <a:lnT>
                      <a:noFill/>
                    </a:lnT>
                    <a:lnB>
                      <a:noFill/>
                    </a:lnB>
                    <a:noFill/>
                  </a:tcPr>
                </a:tc>
                <a:tc rowSpan="2">
                  <a:txBody>
                    <a:bodyPr/>
                    <a:lstStyle/>
                    <a:p>
                      <a:pPr algn="l" fontAlgn="ctr"/>
                      <a:r>
                        <a:rPr lang="en-US" sz="1500" b="0" i="0" u="none" strike="noStrike" dirty="0">
                          <a:solidFill>
                            <a:schemeClr val="tx1"/>
                          </a:solidFill>
                          <a:effectLst/>
                          <a:latin typeface="Calibri" panose="020F0502020204030204" pitchFamily="34" charset="0"/>
                        </a:rPr>
                        <a:t>Session 7</a:t>
                      </a:r>
                    </a:p>
                  </a:txBody>
                  <a:tcPr marL="113404" marR="113404" marT="56702" marB="56702" anchor="ctr">
                    <a:lnL>
                      <a:noFill/>
                    </a:lnL>
                    <a:lnR>
                      <a:noFill/>
                    </a:lnR>
                    <a:lnT>
                      <a:noFill/>
                    </a:lnT>
                    <a:lnB>
                      <a:noFill/>
                    </a:lnB>
                  </a:tcPr>
                </a:tc>
                <a:tc rowSpan="2">
                  <a:txBody>
                    <a:bodyPr/>
                    <a:lstStyle/>
                    <a:p>
                      <a:pPr algn="ctr" fontAlgn="ctr"/>
                      <a:r>
                        <a:rPr lang="en-US" sz="1500" b="0" i="0" u="none" strike="noStrike" dirty="0" err="1">
                          <a:solidFill>
                            <a:schemeClr val="tx1"/>
                          </a:solidFill>
                          <a:effectLst/>
                          <a:latin typeface="Calibri" panose="020F0502020204030204" pitchFamily="34" charset="0"/>
                        </a:rPr>
                        <a:t>AvePoint</a:t>
                      </a:r>
                      <a:endParaRPr lang="en-US" sz="1500" b="0" i="0" u="none" strike="noStrike" dirty="0">
                        <a:solidFill>
                          <a:schemeClr val="tx1"/>
                        </a:solidFill>
                        <a:effectLst/>
                        <a:latin typeface="Calibri" panose="020F0502020204030204" pitchFamily="34" charset="0"/>
                      </a:endParaRPr>
                    </a:p>
                  </a:txBody>
                  <a:tcPr marL="113404" marR="113404" marT="56702" marB="56702" anchor="ctr">
                    <a:lnL>
                      <a:noFill/>
                    </a:lnL>
                    <a:lnR>
                      <a:noFill/>
                    </a:lnR>
                    <a:lnT>
                      <a:noFill/>
                    </a:lnT>
                    <a:lnB>
                      <a:noFill/>
                    </a:lnB>
                    <a:solidFill>
                      <a:schemeClr val="accent2">
                        <a:lumMod val="90000"/>
                        <a:lumOff val="10000"/>
                      </a:schemeClr>
                    </a:solidFill>
                  </a:tcPr>
                </a:tc>
                <a:tc rowSpan="2">
                  <a:txBody>
                    <a:bodyPr/>
                    <a:lstStyle/>
                    <a:p>
                      <a:pPr algn="ctr" fontAlgn="ctr"/>
                      <a:r>
                        <a:rPr lang="en-US" sz="1500" b="0" i="0" u="none" strike="noStrike">
                          <a:solidFill>
                            <a:schemeClr val="tx1"/>
                          </a:solidFill>
                          <a:effectLst/>
                          <a:latin typeface="Calibri" panose="020F0502020204030204" pitchFamily="34" charset="0"/>
                        </a:rPr>
                        <a:t>CGI Federal</a:t>
                      </a:r>
                    </a:p>
                  </a:txBody>
                  <a:tcPr marL="113404" marR="113404" marT="56702" marB="56702" anchor="ctr">
                    <a:lnL>
                      <a:noFill/>
                    </a:lnL>
                    <a:lnR>
                      <a:noFill/>
                    </a:lnR>
                    <a:lnT>
                      <a:noFill/>
                    </a:lnT>
                    <a:lnB>
                      <a:noFill/>
                    </a:lnB>
                    <a:noFill/>
                  </a:tcPr>
                </a:tc>
                <a:tc rowSpan="2">
                  <a:txBody>
                    <a:bodyPr/>
                    <a:lstStyle/>
                    <a:p>
                      <a:pPr algn="ctr" fontAlgn="ctr"/>
                      <a:r>
                        <a:rPr lang="en-US" sz="1500" b="0" i="0" u="none" strike="noStrike" dirty="0" err="1">
                          <a:solidFill>
                            <a:schemeClr val="tx1"/>
                          </a:solidFill>
                          <a:effectLst/>
                          <a:latin typeface="Calibri" panose="020F0502020204030204" pitchFamily="34" charset="0"/>
                        </a:rPr>
                        <a:t>eSignLive</a:t>
                      </a:r>
                      <a:endParaRPr lang="en-US" sz="1500" b="0" i="0" u="none" strike="noStrike" dirty="0">
                        <a:solidFill>
                          <a:schemeClr val="tx1"/>
                        </a:solidFill>
                        <a:effectLst/>
                        <a:latin typeface="Calibri" panose="020F0502020204030204" pitchFamily="34" charset="0"/>
                      </a:endParaRPr>
                    </a:p>
                  </a:txBody>
                  <a:tcPr marL="113404" marR="113404" marT="56702" marB="56702" anchor="ctr">
                    <a:lnL>
                      <a:noFill/>
                    </a:lnL>
                    <a:lnR>
                      <a:noFill/>
                    </a:lnR>
                    <a:lnT>
                      <a:noFill/>
                    </a:lnT>
                    <a:lnB>
                      <a:noFill/>
                    </a:lnB>
                    <a:solidFill>
                      <a:schemeClr val="accent2">
                        <a:lumMod val="90000"/>
                        <a:lumOff val="10000"/>
                      </a:schemeClr>
                    </a:solidFill>
                  </a:tcPr>
                </a:tc>
                <a:tc rowSpan="2">
                  <a:txBody>
                    <a:bodyPr/>
                    <a:lstStyle/>
                    <a:p>
                      <a:pPr algn="ctr" fontAlgn="ctr"/>
                      <a:r>
                        <a:rPr lang="en-US" sz="1500" b="0" i="0" u="none" strike="noStrike" dirty="0" err="1">
                          <a:solidFill>
                            <a:schemeClr val="tx1"/>
                          </a:solidFill>
                          <a:effectLst/>
                          <a:latin typeface="Calibri" panose="020F0502020204030204" pitchFamily="34" charset="0"/>
                        </a:rPr>
                        <a:t>NewTek</a:t>
                      </a:r>
                      <a:endParaRPr lang="en-US" sz="1500" b="0" i="0" u="none" strike="noStrike" dirty="0">
                        <a:solidFill>
                          <a:schemeClr val="tx1"/>
                        </a:solidFill>
                        <a:effectLst/>
                        <a:latin typeface="Calibri" panose="020F0502020204030204" pitchFamily="34" charset="0"/>
                      </a:endParaRPr>
                    </a:p>
                  </a:txBody>
                  <a:tcPr marL="113404" marR="113404" marT="56702" marB="56702" anchor="ctr">
                    <a:lnL>
                      <a:noFill/>
                    </a:lnL>
                    <a:lnR>
                      <a:noFill/>
                    </a:lnR>
                    <a:lnT>
                      <a:noFill/>
                    </a:lnT>
                    <a:lnB>
                      <a:noFill/>
                    </a:lnB>
                    <a:noFill/>
                  </a:tcPr>
                </a:tc>
                <a:extLst>
                  <a:ext uri="{0D108BD9-81ED-4DB2-BD59-A6C34878D82A}">
                    <a16:rowId xmlns:a16="http://schemas.microsoft.com/office/drawing/2014/main" val="859945174"/>
                  </a:ext>
                </a:extLst>
              </a:tr>
              <a:tr h="232792">
                <a:tc>
                  <a:txBody>
                    <a:bodyPr/>
                    <a:lstStyle/>
                    <a:p>
                      <a:pPr algn="r" fontAlgn="b"/>
                      <a:r>
                        <a:rPr lang="en-US" sz="1500" b="0" i="0" u="none" strike="noStrike" dirty="0">
                          <a:solidFill>
                            <a:schemeClr val="tx1"/>
                          </a:solidFill>
                          <a:effectLst/>
                          <a:latin typeface="Calibri" panose="020F0502020204030204" pitchFamily="34" charset="0"/>
                        </a:rPr>
                        <a:t>4:20 PM</a:t>
                      </a:r>
                    </a:p>
                  </a:txBody>
                  <a:tcPr marL="5983" marR="5983" marT="5983" marB="0" anchor="ctr">
                    <a:lnL>
                      <a:noFill/>
                    </a:lnL>
                    <a:lnR>
                      <a:noFill/>
                    </a:lnR>
                    <a:lnT>
                      <a:noFill/>
                    </a:lnT>
                    <a:lnB>
                      <a:noFill/>
                    </a:lnB>
                    <a:no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440292336"/>
                  </a:ext>
                </a:extLst>
              </a:tr>
              <a:tr h="232792">
                <a:tc>
                  <a:txBody>
                    <a:bodyPr/>
                    <a:lstStyle/>
                    <a:p>
                      <a:pPr algn="r" fontAlgn="b"/>
                      <a:r>
                        <a:rPr lang="en-US" sz="1500" b="0" i="0" u="none" strike="noStrike" dirty="0">
                          <a:solidFill>
                            <a:schemeClr val="tx1"/>
                          </a:solidFill>
                          <a:effectLst/>
                          <a:latin typeface="Calibri" panose="020F0502020204030204" pitchFamily="34" charset="0"/>
                        </a:rPr>
                        <a:t>4:30 PM</a:t>
                      </a:r>
                    </a:p>
                  </a:txBody>
                  <a:tcPr marL="5983" marR="5983" marT="5983" marB="0" anchor="ctr">
                    <a:lnL>
                      <a:noFill/>
                    </a:lnL>
                    <a:lnR>
                      <a:noFill/>
                    </a:lnR>
                    <a:lnT>
                      <a:noFill/>
                    </a:lnT>
                    <a:lnB>
                      <a:noFill/>
                    </a:lnB>
                    <a:noFill/>
                  </a:tcPr>
                </a:tc>
                <a:tc rowSpan="3" gridSpan="5">
                  <a:txBody>
                    <a:bodyPr/>
                    <a:lstStyle/>
                    <a:p>
                      <a:pPr algn="l" fontAlgn="ctr"/>
                      <a:r>
                        <a:rPr lang="en-US" sz="1500" b="0" i="0" u="none" strike="noStrike" dirty="0">
                          <a:solidFill>
                            <a:schemeClr val="tx1"/>
                          </a:solidFill>
                          <a:effectLst/>
                          <a:latin typeface="Calibri" panose="020F0502020204030204" pitchFamily="34" charset="0"/>
                        </a:rPr>
                        <a:t>Transit to Westwood Country Club</a:t>
                      </a:r>
                    </a:p>
                  </a:txBody>
                  <a:tcPr marL="113404" marR="113404" marT="56702" marB="56702" anchor="ctr">
                    <a:lnL>
                      <a:noFill/>
                    </a:lnL>
                    <a:lnR>
                      <a:noFill/>
                    </a:lnR>
                    <a:lnT>
                      <a:noFill/>
                    </a:lnT>
                    <a:lnB>
                      <a:noFill/>
                    </a:lnB>
                    <a:noFill/>
                  </a:tcPr>
                </a:tc>
                <a:tc rowSpan="3" hMerge="1">
                  <a:txBody>
                    <a:bodyPr/>
                    <a:lstStyle/>
                    <a:p>
                      <a:endParaRPr lang="en-US"/>
                    </a:p>
                  </a:txBody>
                  <a:tcPr/>
                </a:tc>
                <a:tc rowSpan="3" hMerge="1">
                  <a:txBody>
                    <a:bodyPr/>
                    <a:lstStyle/>
                    <a:p>
                      <a:endParaRPr lang="en-US"/>
                    </a:p>
                  </a:txBody>
                  <a:tcPr/>
                </a:tc>
                <a:tc rowSpan="3" hMerge="1">
                  <a:txBody>
                    <a:bodyPr/>
                    <a:lstStyle/>
                    <a:p>
                      <a:endParaRPr lang="en-US"/>
                    </a:p>
                  </a:txBody>
                  <a:tcPr/>
                </a:tc>
                <a:tc rowSpan="3" hMerge="1">
                  <a:txBody>
                    <a:bodyPr/>
                    <a:lstStyle/>
                    <a:p>
                      <a:endParaRPr lang="en-US"/>
                    </a:p>
                  </a:txBody>
                  <a:tcPr/>
                </a:tc>
                <a:extLst>
                  <a:ext uri="{0D108BD9-81ED-4DB2-BD59-A6C34878D82A}">
                    <a16:rowId xmlns:a16="http://schemas.microsoft.com/office/drawing/2014/main" val="282947311"/>
                  </a:ext>
                </a:extLst>
              </a:tr>
              <a:tr h="232792">
                <a:tc>
                  <a:txBody>
                    <a:bodyPr/>
                    <a:lstStyle/>
                    <a:p>
                      <a:pPr algn="r" fontAlgn="b"/>
                      <a:r>
                        <a:rPr lang="en-US" sz="1500" b="0" i="0" u="none" strike="noStrike" dirty="0">
                          <a:solidFill>
                            <a:schemeClr val="tx1"/>
                          </a:solidFill>
                          <a:effectLst/>
                          <a:latin typeface="Calibri" panose="020F0502020204030204" pitchFamily="34" charset="0"/>
                        </a:rPr>
                        <a:t>4:40 PM</a:t>
                      </a:r>
                    </a:p>
                  </a:txBody>
                  <a:tcPr marL="5983" marR="5983" marT="5983" marB="0" anchor="ctr">
                    <a:lnL>
                      <a:noFill/>
                    </a:lnL>
                    <a:lnR>
                      <a:noFill/>
                    </a:lnR>
                    <a:lnT>
                      <a:noFill/>
                    </a:lnT>
                    <a:lnB>
                      <a:noFill/>
                    </a:lnB>
                    <a:noFill/>
                  </a:tcPr>
                </a:tc>
                <a:tc gridSpan="5"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739148776"/>
                  </a:ext>
                </a:extLst>
              </a:tr>
              <a:tr h="232792">
                <a:tc>
                  <a:txBody>
                    <a:bodyPr/>
                    <a:lstStyle/>
                    <a:p>
                      <a:pPr algn="r" fontAlgn="b"/>
                      <a:r>
                        <a:rPr lang="en-US" sz="1500" b="0" i="0" u="none" strike="noStrike" dirty="0">
                          <a:solidFill>
                            <a:schemeClr val="tx1"/>
                          </a:solidFill>
                          <a:effectLst/>
                          <a:latin typeface="Calibri" panose="020F0502020204030204" pitchFamily="34" charset="0"/>
                        </a:rPr>
                        <a:t>4:50 PM</a:t>
                      </a:r>
                    </a:p>
                  </a:txBody>
                  <a:tcPr marL="5983" marR="5983" marT="5983" marB="0" anchor="ctr">
                    <a:lnL>
                      <a:noFill/>
                    </a:lnL>
                    <a:lnR>
                      <a:noFill/>
                    </a:lnR>
                    <a:lnT>
                      <a:noFill/>
                    </a:lnT>
                    <a:lnB>
                      <a:noFill/>
                    </a:lnB>
                    <a:noFill/>
                  </a:tcPr>
                </a:tc>
                <a:tc gridSpan="5"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3698176511"/>
                  </a:ext>
                </a:extLst>
              </a:tr>
            </a:tbl>
          </a:graphicData>
        </a:graphic>
      </p:graphicFrame>
    </p:spTree>
    <p:extLst>
      <p:ext uri="{BB962C8B-B14F-4D97-AF65-F5344CB8AC3E}">
        <p14:creationId xmlns:p14="http://schemas.microsoft.com/office/powerpoint/2010/main" val="116454832"/>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Federal Clients already using NewTek TriCaster</a:t>
            </a:r>
          </a:p>
        </p:txBody>
      </p:sp>
      <p:sp>
        <p:nvSpPr>
          <p:cNvPr id="4" name="Text Placeholder 3"/>
          <p:cNvSpPr>
            <a:spLocks noGrp="1"/>
          </p:cNvSpPr>
          <p:nvPr>
            <p:ph type="body" sz="quarter" idx="13"/>
          </p:nvPr>
        </p:nvSpPr>
        <p:spPr/>
        <p:txBody>
          <a:bodyPr/>
          <a:lstStyle/>
          <a:p>
            <a:r>
              <a:rPr lang="en-US" dirty="0"/>
              <a:t> </a:t>
            </a:r>
          </a:p>
        </p:txBody>
      </p:sp>
      <p:sp>
        <p:nvSpPr>
          <p:cNvPr id="5" name="Text Placeholder 4"/>
          <p:cNvSpPr>
            <a:spLocks noGrp="1"/>
          </p:cNvSpPr>
          <p:nvPr>
            <p:ph type="body" sz="quarter" idx="14"/>
          </p:nvPr>
        </p:nvSpPr>
        <p:spPr/>
        <p:txBody>
          <a:bodyPr numCol="2">
            <a:normAutofit fontScale="92500" lnSpcReduction="20000"/>
          </a:bodyPr>
          <a:lstStyle/>
          <a:p>
            <a:pPr marL="0" indent="0" algn="ctr">
              <a:buNone/>
            </a:pPr>
            <a:r>
              <a:rPr lang="en-US" sz="2448" dirty="0"/>
              <a:t>Air National Guard</a:t>
            </a:r>
          </a:p>
          <a:p>
            <a:pPr marL="0" indent="0" algn="ctr">
              <a:buNone/>
            </a:pPr>
            <a:r>
              <a:rPr lang="en-US" sz="2448" dirty="0"/>
              <a:t>Bureau of Prisons</a:t>
            </a:r>
          </a:p>
          <a:p>
            <a:pPr marL="0" indent="0" algn="ctr">
              <a:buNone/>
            </a:pPr>
            <a:r>
              <a:rPr lang="en-US" sz="2448" dirty="0"/>
              <a:t>Defense Media Activity</a:t>
            </a:r>
          </a:p>
          <a:p>
            <a:pPr marL="0" indent="0" algn="ctr">
              <a:buNone/>
            </a:pPr>
            <a:r>
              <a:rPr lang="en-US" sz="2448" dirty="0"/>
              <a:t>Department of Homeland Security</a:t>
            </a:r>
          </a:p>
          <a:p>
            <a:pPr marL="0" indent="0" algn="ctr">
              <a:buNone/>
            </a:pPr>
            <a:r>
              <a:rPr lang="en-US" sz="2448" dirty="0"/>
              <a:t>Department of Transportation</a:t>
            </a:r>
          </a:p>
          <a:p>
            <a:pPr marL="0" indent="0" algn="ctr">
              <a:buNone/>
            </a:pPr>
            <a:r>
              <a:rPr lang="en-US" sz="2448" dirty="0"/>
              <a:t>Department of Veterans Affairs</a:t>
            </a:r>
          </a:p>
          <a:p>
            <a:pPr marL="0" indent="0" algn="ctr">
              <a:buNone/>
            </a:pPr>
            <a:r>
              <a:rPr lang="en-US" sz="2448" dirty="0"/>
              <a:t>DHS / FEMA Public Affairs</a:t>
            </a:r>
          </a:p>
          <a:p>
            <a:pPr marL="0" indent="0" algn="ctr">
              <a:buNone/>
            </a:pPr>
            <a:r>
              <a:rPr lang="en-US" sz="2448" dirty="0"/>
              <a:t>FDA</a:t>
            </a:r>
          </a:p>
          <a:p>
            <a:pPr marL="0" indent="0" algn="ctr">
              <a:buNone/>
            </a:pPr>
            <a:r>
              <a:rPr lang="en-US" sz="2448" dirty="0"/>
              <a:t>Federal Aviation Administration</a:t>
            </a:r>
          </a:p>
          <a:p>
            <a:pPr marL="0" indent="0" algn="ctr">
              <a:buNone/>
            </a:pPr>
            <a:r>
              <a:rPr lang="en-US" sz="2448" dirty="0"/>
              <a:t>Federal Law Enforcement </a:t>
            </a:r>
            <a:r>
              <a:rPr lang="en-US" sz="2448"/>
              <a:t>Training Center</a:t>
            </a:r>
            <a:endParaRPr lang="en-US" sz="2448" dirty="0"/>
          </a:p>
          <a:p>
            <a:pPr marL="0" indent="0" algn="ctr">
              <a:buNone/>
            </a:pPr>
            <a:r>
              <a:rPr lang="en-US" sz="2448" dirty="0"/>
              <a:t>Jet Propulsion Laboratory</a:t>
            </a:r>
          </a:p>
          <a:p>
            <a:pPr marL="0" indent="0" algn="ctr">
              <a:buNone/>
            </a:pPr>
            <a:r>
              <a:rPr lang="en-US" sz="2448" dirty="0"/>
              <a:t>Lockheed Martin    </a:t>
            </a:r>
          </a:p>
          <a:p>
            <a:pPr marL="0" indent="0" algn="ctr">
              <a:buNone/>
            </a:pPr>
            <a:r>
              <a:rPr lang="en-US" sz="2448" dirty="0"/>
              <a:t>NASA</a:t>
            </a:r>
          </a:p>
          <a:p>
            <a:pPr marL="0" indent="0" algn="ctr">
              <a:buNone/>
            </a:pPr>
            <a:r>
              <a:rPr lang="en-US" sz="2448" dirty="0"/>
              <a:t>Social Security Administration </a:t>
            </a:r>
            <a:br>
              <a:rPr lang="en-US" sz="2448" dirty="0"/>
            </a:br>
            <a:br>
              <a:rPr lang="en-US" sz="2448" dirty="0"/>
            </a:br>
            <a:r>
              <a:rPr lang="en-US" sz="2448" dirty="0"/>
              <a:t>U.S. Department of Transportation  </a:t>
            </a:r>
          </a:p>
          <a:p>
            <a:pPr marL="0" indent="0" algn="ctr">
              <a:buNone/>
            </a:pPr>
            <a:r>
              <a:rPr lang="en-US" sz="2448" dirty="0"/>
              <a:t>Air Force/Army/Navy/Marines/Coast Guard</a:t>
            </a:r>
          </a:p>
          <a:p>
            <a:pPr marL="0" indent="0" algn="ctr">
              <a:buNone/>
            </a:pPr>
            <a:r>
              <a:rPr lang="en-US" sz="2448" dirty="0"/>
              <a:t>        </a:t>
            </a:r>
          </a:p>
        </p:txBody>
      </p:sp>
      <p:sp>
        <p:nvSpPr>
          <p:cNvPr id="2" name="Slide Number Placeholder 1"/>
          <p:cNvSpPr>
            <a:spLocks noGrp="1"/>
          </p:cNvSpPr>
          <p:nvPr>
            <p:ph type="sldNum" sz="quarter" idx="15"/>
          </p:nvPr>
        </p:nvSpPr>
        <p:spPr/>
        <p:txBody>
          <a:bodyPr/>
          <a:lstStyle/>
          <a:p>
            <a:pPr marL="0" marR="0" lvl="0" indent="0" algn="r" defTabSz="1040398" rtl="0" eaLnBrk="1" fontAlgn="auto" latinLnBrk="0" hangingPunct="1">
              <a:lnSpc>
                <a:spcPct val="100000"/>
              </a:lnSpc>
              <a:spcBef>
                <a:spcPts val="0"/>
              </a:spcBef>
              <a:spcAft>
                <a:spcPts val="0"/>
              </a:spcAft>
              <a:buClrTx/>
              <a:buSzTx/>
              <a:buFontTx/>
              <a:buNone/>
              <a:tabLst/>
              <a:defRPr/>
            </a:pPr>
            <a:fld id="{FAADACFB-7C71-4E89-89D2-7BBA40B7BFA9}" type="slidenum">
              <a:rPr kumimoji="0" lang="en-US" sz="1836" b="0" i="0" u="none" strike="noStrike" kern="0" cap="none" spc="0" normalizeH="0" baseline="0" noProof="0">
                <a:ln>
                  <a:noFill/>
                </a:ln>
                <a:solidFill>
                  <a:srgbClr val="0078D7"/>
                </a:solidFill>
                <a:effectLst/>
                <a:uLnTx/>
                <a:uFillTx/>
                <a:latin typeface="Segoe UI" pitchFamily="34" charset="0"/>
                <a:cs typeface="Segoe UI" pitchFamily="34" charset="0"/>
              </a:rPr>
              <a:pPr marL="0" marR="0" lvl="0" indent="0" algn="r" defTabSz="1040398" rtl="0" eaLnBrk="1" fontAlgn="auto" latinLnBrk="0" hangingPunct="1">
                <a:lnSpc>
                  <a:spcPct val="100000"/>
                </a:lnSpc>
                <a:spcBef>
                  <a:spcPts val="0"/>
                </a:spcBef>
                <a:spcAft>
                  <a:spcPts val="0"/>
                </a:spcAft>
                <a:buClrTx/>
                <a:buSzTx/>
                <a:buFontTx/>
                <a:buNone/>
                <a:tabLst/>
                <a:defRPr/>
              </a:pPr>
              <a:t>70</a:t>
            </a:fld>
            <a:endParaRPr kumimoji="0" lang="en-US" sz="1836" b="0" i="0" u="none" strike="noStrike" kern="0" cap="none" spc="0" normalizeH="0" baseline="0" noProof="0" dirty="0">
              <a:ln>
                <a:noFill/>
              </a:ln>
              <a:solidFill>
                <a:srgbClr val="0078D7"/>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84352138"/>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605778" y="2665426"/>
            <a:ext cx="9224855" cy="1499289"/>
          </a:xfrm>
        </p:spPr>
        <p:txBody>
          <a:bodyPr/>
          <a:lstStyle/>
          <a:p>
            <a:r>
              <a:rPr lang="en-US" sz="4692" dirty="0"/>
              <a:t>NetApp Cloud with Microsoft</a:t>
            </a:r>
            <a:endParaRPr lang="en-US" dirty="0"/>
          </a:p>
        </p:txBody>
      </p:sp>
      <p:sp>
        <p:nvSpPr>
          <p:cNvPr id="7" name="Footer Placeholder 6"/>
          <p:cNvSpPr>
            <a:spLocks noGrp="1"/>
          </p:cNvSpPr>
          <p:nvPr>
            <p:ph type="ftr" sz="quarter" idx="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dirty="0">
                <a:ln>
                  <a:noFill/>
                </a:ln>
                <a:solidFill>
                  <a:srgbClr val="EAEAEA"/>
                </a:solidFill>
                <a:effectLst/>
                <a:uLnTx/>
                <a:uFillTx/>
                <a:latin typeface="Segoe UI"/>
                <a:ea typeface="+mn-ea"/>
                <a:cs typeface="+mn-cs"/>
              </a:rPr>
              <a:t>© 2016 NetApp, Inc. All rights reserved. </a:t>
            </a:r>
          </a:p>
        </p:txBody>
      </p:sp>
      <p:sp>
        <p:nvSpPr>
          <p:cNvPr id="8" name="Slide Number Placeholder 7"/>
          <p:cNvSpPr>
            <a:spLocks noGrp="1"/>
          </p:cNvSpPr>
          <p:nvPr>
            <p:ph type="sldNum" sz="quarter" idx="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B071A5F3-A4FF-4CEE-8215-C08835B585C1}" type="slidenum">
              <a:rPr kumimoji="0" lang="en-US" sz="1071" b="1" i="0" u="none" strike="noStrike" kern="1200" cap="none" spc="0" normalizeH="0" baseline="0" noProof="0" smtClean="0">
                <a:ln>
                  <a:noFill/>
                </a:ln>
                <a:solidFill>
                  <a:srgbClr val="EAEAEA">
                    <a:lumMod val="50000"/>
                  </a:srgbClr>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71</a:t>
            </a:fld>
            <a:endParaRPr kumimoji="0" lang="en-US" sz="1071" b="1" i="0" u="none" strike="noStrike" kern="1200" cap="none" spc="0" normalizeH="0" baseline="0" noProof="0" dirty="0">
              <a:ln>
                <a:noFill/>
              </a:ln>
              <a:solidFill>
                <a:srgbClr val="EAEAEA">
                  <a:lumMod val="50000"/>
                </a:srgbClr>
              </a:solidFill>
              <a:effectLst/>
              <a:uLnTx/>
              <a:uFillTx/>
              <a:latin typeface="Segoe UI"/>
              <a:ea typeface="+mn-ea"/>
              <a:cs typeface="+mn-cs"/>
            </a:endParaRPr>
          </a:p>
        </p:txBody>
      </p:sp>
      <p:sp>
        <p:nvSpPr>
          <p:cNvPr id="10" name="Freeform 9"/>
          <p:cNvSpPr/>
          <p:nvPr/>
        </p:nvSpPr>
        <p:spPr>
          <a:xfrm flipH="1">
            <a:off x="2502" y="0"/>
            <a:ext cx="2797811" cy="2331508"/>
          </a:xfrm>
          <a:custGeom>
            <a:avLst/>
            <a:gdLst>
              <a:gd name="connsiteX0" fmla="*/ 0 w 6800964"/>
              <a:gd name="connsiteY0" fmla="*/ 0 h 5676543"/>
              <a:gd name="connsiteX1" fmla="*/ 6940 w 6800964"/>
              <a:gd name="connsiteY1" fmla="*/ 5669604 h 5676543"/>
              <a:gd name="connsiteX2" fmla="*/ 2637109 w 6800964"/>
              <a:gd name="connsiteY2" fmla="*/ 5676543 h 5676543"/>
              <a:gd name="connsiteX3" fmla="*/ 2630169 w 6800964"/>
              <a:gd name="connsiteY3" fmla="*/ 2241471 h 5676543"/>
              <a:gd name="connsiteX4" fmla="*/ 4177735 w 6800964"/>
              <a:gd name="connsiteY4" fmla="*/ 2255350 h 5676543"/>
              <a:gd name="connsiteX5" fmla="*/ 4163856 w 6800964"/>
              <a:gd name="connsiteY5" fmla="*/ 5676543 h 5676543"/>
              <a:gd name="connsiteX6" fmla="*/ 6800964 w 6800964"/>
              <a:gd name="connsiteY6" fmla="*/ 5669604 h 5676543"/>
              <a:gd name="connsiteX7" fmla="*/ 6800964 w 6800964"/>
              <a:gd name="connsiteY7" fmla="*/ 6939 h 5676543"/>
              <a:gd name="connsiteX8" fmla="*/ 0 w 6800964"/>
              <a:gd name="connsiteY8" fmla="*/ 0 h 5676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00964" h="5676543">
                <a:moveTo>
                  <a:pt x="0" y="0"/>
                </a:moveTo>
                <a:cubicBezTo>
                  <a:pt x="2313" y="1889868"/>
                  <a:pt x="4627" y="3779736"/>
                  <a:pt x="6940" y="5669604"/>
                </a:cubicBezTo>
                <a:lnTo>
                  <a:pt x="2637109" y="5676543"/>
                </a:lnTo>
                <a:cubicBezTo>
                  <a:pt x="2634796" y="4531519"/>
                  <a:pt x="2632482" y="3386495"/>
                  <a:pt x="2630169" y="2241471"/>
                </a:cubicBezTo>
                <a:lnTo>
                  <a:pt x="4177735" y="2255350"/>
                </a:lnTo>
                <a:cubicBezTo>
                  <a:pt x="4173109" y="3395748"/>
                  <a:pt x="4168482" y="4536145"/>
                  <a:pt x="4163856" y="5676543"/>
                </a:cubicBezTo>
                <a:lnTo>
                  <a:pt x="6800964" y="5669604"/>
                </a:lnTo>
                <a:lnTo>
                  <a:pt x="6800964" y="6939"/>
                </a:lnTo>
                <a:lnTo>
                  <a:pt x="0" y="0"/>
                </a:lnTo>
                <a:close/>
              </a:path>
            </a:pathLst>
          </a:custGeom>
          <a:gradFill flip="none" rotWithShape="1">
            <a:gsLst>
              <a:gs pos="100000">
                <a:schemeClr val="accent1">
                  <a:lumMod val="75000"/>
                </a:schemeClr>
              </a:gs>
              <a:gs pos="0">
                <a:schemeClr val="accent1"/>
              </a:gs>
            </a:gsLst>
            <a:lin ang="8100000" scaled="0"/>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21238" tIns="121238" rIns="121238" bIns="121238" rtlCol="0" anchor="ctr"/>
          <a:lstStyle/>
          <a:p>
            <a:pPr marL="0" marR="0" lvl="0" indent="0" algn="ctr" defTabSz="932742" rtl="0" eaLnBrk="1" fontAlgn="auto" latinLnBrk="0" hangingPunct="1">
              <a:lnSpc>
                <a:spcPct val="85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Text Placeholder 2"/>
          <p:cNvSpPr>
            <a:spLocks noGrp="1"/>
          </p:cNvSpPr>
          <p:nvPr>
            <p:ph type="body" sz="quarter" idx="10"/>
          </p:nvPr>
        </p:nvSpPr>
        <p:spPr>
          <a:xfrm>
            <a:off x="1605777" y="4498633"/>
            <a:ext cx="9224726" cy="1715873"/>
          </a:xfrm>
        </p:spPr>
        <p:txBody>
          <a:bodyPr/>
          <a:lstStyle/>
          <a:p>
            <a:r>
              <a:rPr lang="en-US" dirty="0"/>
              <a:t>Anna Parker, Hybrid Cloud Business Development Manager</a:t>
            </a:r>
          </a:p>
          <a:p>
            <a:r>
              <a:rPr lang="en-US" dirty="0"/>
              <a:t>Jim Cosby, Director, Systems Engineering</a:t>
            </a:r>
          </a:p>
        </p:txBody>
      </p:sp>
    </p:spTree>
    <p:extLst>
      <p:ext uri="{BB962C8B-B14F-4D97-AF65-F5344CB8AC3E}">
        <p14:creationId xmlns:p14="http://schemas.microsoft.com/office/powerpoint/2010/main" val="122832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01" y="425035"/>
            <a:ext cx="12431602" cy="6996274"/>
          </a:xfrm>
          <a:prstGeom prst="rect">
            <a:avLst/>
          </a:prstGeom>
        </p:spPr>
      </p:pic>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988100" y="6624481"/>
            <a:ext cx="1064959" cy="194276"/>
          </a:xfrm>
          <a:prstGeom prst="rect">
            <a:avLst/>
          </a:prstGeom>
        </p:spPr>
      </p:pic>
      <p:sp>
        <p:nvSpPr>
          <p:cNvPr id="2" name="Title 1"/>
          <p:cNvSpPr>
            <a:spLocks noGrp="1"/>
          </p:cNvSpPr>
          <p:nvPr>
            <p:ph type="title"/>
          </p:nvPr>
        </p:nvSpPr>
        <p:spPr/>
        <p:txBody>
          <a:bodyPr/>
          <a:lstStyle/>
          <a:p>
            <a:r>
              <a:rPr lang="en-US" dirty="0"/>
              <a:t>NetApp cloud portfolio:</a:t>
            </a:r>
          </a:p>
        </p:txBody>
      </p:sp>
      <p:sp>
        <p:nvSpPr>
          <p:cNvPr id="3" name="Content Placeholder 2"/>
          <p:cNvSpPr>
            <a:spLocks noGrp="1"/>
          </p:cNvSpPr>
          <p:nvPr>
            <p:ph sz="quarter" idx="14"/>
          </p:nvPr>
        </p:nvSpPr>
        <p:spPr>
          <a:xfrm>
            <a:off x="270699" y="1360703"/>
            <a:ext cx="11890693" cy="4976468"/>
          </a:xfrm>
        </p:spPr>
        <p:txBody>
          <a:bodyPr/>
          <a:lstStyle/>
          <a:p>
            <a:r>
              <a:rPr lang="en-US" dirty="0"/>
              <a:t>NetApp Data Fabric</a:t>
            </a:r>
          </a:p>
          <a:p>
            <a:r>
              <a:rPr lang="en-US" dirty="0" err="1">
                <a:solidFill>
                  <a:srgbClr val="000000"/>
                </a:solidFill>
              </a:rPr>
              <a:t>AltaVault</a:t>
            </a:r>
            <a:r>
              <a:rPr lang="en-US">
                <a:solidFill>
                  <a:srgbClr val="000000"/>
                </a:solidFill>
              </a:rPr>
              <a:t> </a:t>
            </a:r>
            <a:r>
              <a:rPr lang="en-US"/>
              <a:t>for </a:t>
            </a:r>
            <a:r>
              <a:rPr lang="en-US" dirty="0"/>
              <a:t>cloud backup</a:t>
            </a:r>
            <a:endParaRPr lang="en-US" dirty="0">
              <a:solidFill>
                <a:srgbClr val="000000"/>
              </a:solidFill>
            </a:endParaRPr>
          </a:p>
          <a:p>
            <a:r>
              <a:rPr lang="en-US" dirty="0"/>
              <a:t>NetApp ONTAP</a:t>
            </a:r>
            <a:r>
              <a:rPr lang="en-US" sz="2040" baseline="30000" dirty="0">
                <a:solidFill>
                  <a:prstClr val="black"/>
                </a:solidFill>
              </a:rPr>
              <a:t>®</a:t>
            </a:r>
            <a:r>
              <a:rPr lang="en-US" dirty="0"/>
              <a:t> Cloud for Microsoft Azure</a:t>
            </a:r>
          </a:p>
        </p:txBody>
      </p:sp>
      <p:sp>
        <p:nvSpPr>
          <p:cNvPr id="18" name="Footer Placeholder 17"/>
          <p:cNvSpPr>
            <a:spLocks noGrp="1"/>
          </p:cNvSpPr>
          <p:nvPr>
            <p:ph type="ftr" sz="quarter" idx="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dirty="0">
                <a:ln>
                  <a:noFill/>
                </a:ln>
                <a:solidFill>
                  <a:srgbClr val="EAEAEA"/>
                </a:solidFill>
                <a:effectLst/>
                <a:uLnTx/>
                <a:uFillTx/>
                <a:latin typeface="Segoe UI"/>
                <a:ea typeface="+mn-ea"/>
                <a:cs typeface="+mn-cs"/>
              </a:rPr>
              <a:t>© 2016 NetApp, Inc. All rights reserved. </a:t>
            </a:r>
          </a:p>
        </p:txBody>
      </p:sp>
      <p:sp>
        <p:nvSpPr>
          <p:cNvPr id="19" name="Slide Number Placeholder 18"/>
          <p:cNvSpPr>
            <a:spLocks noGrp="1"/>
          </p:cNvSpPr>
          <p:nvPr>
            <p:ph type="sldNum" sz="quarter" idx="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B071A5F3-A4FF-4CEE-8215-C08835B585C1}" type="slidenum">
              <a:rPr kumimoji="0" lang="en-US" sz="1071" b="1" i="0" u="none" strike="noStrike" kern="1200" cap="none" spc="0" normalizeH="0" baseline="0" noProof="0" smtClean="0">
                <a:ln>
                  <a:noFill/>
                </a:ln>
                <a:solidFill>
                  <a:srgbClr val="EAEAEA">
                    <a:lumMod val="50000"/>
                  </a:srgbClr>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72</a:t>
            </a:fld>
            <a:endParaRPr kumimoji="0" lang="en-US" sz="1071" b="1" i="0" u="none" strike="noStrike" kern="1200" cap="none" spc="0" normalizeH="0" baseline="0" noProof="0" dirty="0">
              <a:ln>
                <a:noFill/>
              </a:ln>
              <a:solidFill>
                <a:srgbClr val="EAEAEA">
                  <a:lumMod val="50000"/>
                </a:srgbClr>
              </a:solidFill>
              <a:effectLst/>
              <a:uLnTx/>
              <a:uFillTx/>
              <a:latin typeface="Segoe UI"/>
              <a:ea typeface="+mn-ea"/>
              <a:cs typeface="+mn-cs"/>
            </a:endParaRPr>
          </a:p>
        </p:txBody>
      </p:sp>
    </p:spTree>
    <p:extLst>
      <p:ext uri="{BB962C8B-B14F-4D97-AF65-F5344CB8AC3E}">
        <p14:creationId xmlns:p14="http://schemas.microsoft.com/office/powerpoint/2010/main" val="670860814"/>
      </p:ext>
    </p:extLst>
  </p:cSld>
  <p:clrMapOvr>
    <a:masterClrMapping/>
  </p:clrMapOvr>
  <p:transition spd="med">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NetApp Data Fabric – Cloud, Hybrid, Anywhere</a:t>
            </a:r>
            <a:endParaRPr lang="en-US" sz="1632" dirty="0"/>
          </a:p>
        </p:txBody>
      </p:sp>
      <p:sp>
        <p:nvSpPr>
          <p:cNvPr id="7" name="Footer Placeholder 6"/>
          <p:cNvSpPr>
            <a:spLocks noGrp="1"/>
          </p:cNvSpPr>
          <p:nvPr>
            <p:ph type="ftr" sz="quarter" idx="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dirty="0">
                <a:ln>
                  <a:noFill/>
                </a:ln>
                <a:solidFill>
                  <a:srgbClr val="EAEAEA"/>
                </a:solidFill>
                <a:effectLst/>
                <a:uLnTx/>
                <a:uFillTx/>
                <a:latin typeface="Segoe UI"/>
                <a:ea typeface="+mn-ea"/>
                <a:cs typeface="+mn-cs"/>
              </a:rPr>
              <a:t>© 2016 NetApp, Inc. All rights reserved. </a:t>
            </a:r>
          </a:p>
        </p:txBody>
      </p:sp>
      <p:sp>
        <p:nvSpPr>
          <p:cNvPr id="9" name="Slide Number Placeholder 8"/>
          <p:cNvSpPr>
            <a:spLocks noGrp="1"/>
          </p:cNvSpPr>
          <p:nvPr>
            <p:ph type="sldNum" sz="quarter" idx="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B071A5F3-A4FF-4CEE-8215-C08835B585C1}" type="slidenum">
              <a:rPr kumimoji="0" lang="en-US" sz="1071" b="1" i="0" u="none" strike="noStrike" kern="1200" cap="none" spc="0" normalizeH="0" baseline="0" noProof="0" smtClean="0">
                <a:ln>
                  <a:noFill/>
                </a:ln>
                <a:solidFill>
                  <a:srgbClr val="EAEAEA">
                    <a:lumMod val="50000"/>
                  </a:srgbClr>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73</a:t>
            </a:fld>
            <a:endParaRPr kumimoji="0" lang="en-US" sz="1071" b="1" i="0" u="none" strike="noStrike" kern="1200" cap="none" spc="0" normalizeH="0" baseline="0" noProof="0" dirty="0">
              <a:ln>
                <a:noFill/>
              </a:ln>
              <a:solidFill>
                <a:srgbClr val="EAEAEA">
                  <a:lumMod val="50000"/>
                </a:srgbClr>
              </a:solidFill>
              <a:effectLst/>
              <a:uLnTx/>
              <a:uFillTx/>
              <a:latin typeface="Segoe UI"/>
              <a:ea typeface="+mn-ea"/>
              <a:cs typeface="+mn-cs"/>
            </a:endParaRPr>
          </a:p>
        </p:txBody>
      </p:sp>
      <p:sp>
        <p:nvSpPr>
          <p:cNvPr id="53" name="Rounded Rectangle 52"/>
          <p:cNvSpPr/>
          <p:nvPr/>
        </p:nvSpPr>
        <p:spPr>
          <a:xfrm>
            <a:off x="2220388" y="2883483"/>
            <a:ext cx="4575469" cy="2384934"/>
          </a:xfrm>
          <a:prstGeom prst="roundRect">
            <a:avLst/>
          </a:prstGeom>
          <a:solidFill>
            <a:schemeClr val="accent2">
              <a:lumMod val="20000"/>
              <a:lumOff val="80000"/>
            </a:schemeClr>
          </a:solidFill>
          <a:ln w="3810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3260" rIns="0" bIns="9326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5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7" name="Picture 56" descr="E2760-4U.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79483" y="4584979"/>
            <a:ext cx="1566882" cy="558855"/>
          </a:xfrm>
          <a:prstGeom prst="rect">
            <a:avLst/>
          </a:prstGeom>
        </p:spPr>
      </p:pic>
      <p:sp>
        <p:nvSpPr>
          <p:cNvPr id="59" name="TextBox 58"/>
          <p:cNvSpPr txBox="1"/>
          <p:nvPr/>
        </p:nvSpPr>
        <p:spPr>
          <a:xfrm>
            <a:off x="2852016" y="3701824"/>
            <a:ext cx="3312209" cy="734534"/>
          </a:xfrm>
          <a:prstGeom prst="rect">
            <a:avLst/>
          </a:prstGeom>
        </p:spPr>
        <p:txBody>
          <a:bodyPr vert="horz" wrap="square" lIns="93260" tIns="46630" rIns="93260" bIns="46630" rtlCol="0" anchor="ctr">
            <a:spAutoFit/>
          </a:bodyPr>
          <a:lstStyle/>
          <a:p>
            <a:pPr marL="0" marR="0" lvl="0" indent="0" algn="ctr" defTabSz="932597" rtl="0" eaLnBrk="1" fontAlgn="auto" latinLnBrk="0" hangingPunct="1">
              <a:lnSpc>
                <a:spcPct val="100000"/>
              </a:lnSpc>
              <a:spcBef>
                <a:spcPts val="408"/>
              </a:spcBef>
              <a:spcAft>
                <a:spcPts val="204"/>
              </a:spcAft>
              <a:buClrTx/>
              <a:buSzTx/>
              <a:buFontTx/>
              <a:buNone/>
              <a:tabLst/>
              <a:defRPr/>
            </a:pPr>
            <a:r>
              <a:rPr kumimoji="0" lang="en-US" sz="2040" b="0" i="0" u="none" strike="noStrike" kern="1200" cap="none" spc="0" normalizeH="0" baseline="0" noProof="0" dirty="0">
                <a:ln>
                  <a:noFill/>
                </a:ln>
                <a:solidFill>
                  <a:srgbClr val="0078D7"/>
                </a:solidFill>
                <a:effectLst/>
                <a:uLnTx/>
                <a:uFillTx/>
                <a:latin typeface="Segoe UI"/>
                <a:ea typeface="+mn-ea"/>
                <a:cs typeface="+mn-cs"/>
              </a:rPr>
              <a:t>Common Data</a:t>
            </a:r>
            <a:br>
              <a:rPr kumimoji="0" lang="en-US" sz="2040" b="0" i="0" u="none" strike="noStrike" kern="1200" cap="none" spc="0" normalizeH="0" baseline="0" noProof="0" dirty="0">
                <a:ln>
                  <a:noFill/>
                </a:ln>
                <a:solidFill>
                  <a:srgbClr val="0078D7"/>
                </a:solidFill>
                <a:effectLst/>
                <a:uLnTx/>
                <a:uFillTx/>
                <a:latin typeface="Segoe UI"/>
                <a:ea typeface="+mn-ea"/>
                <a:cs typeface="+mn-cs"/>
              </a:rPr>
            </a:br>
            <a:r>
              <a:rPr kumimoji="0" lang="en-US" sz="2040" b="0" i="0" u="none" strike="noStrike" kern="1200" cap="none" spc="0" normalizeH="0" baseline="0" noProof="0" dirty="0">
                <a:ln>
                  <a:noFill/>
                </a:ln>
                <a:solidFill>
                  <a:srgbClr val="0078D7"/>
                </a:solidFill>
                <a:effectLst/>
                <a:uLnTx/>
                <a:uFillTx/>
                <a:latin typeface="Segoe UI"/>
                <a:ea typeface="+mn-ea"/>
                <a:cs typeface="+mn-cs"/>
              </a:rPr>
              <a:t>Transport</a:t>
            </a:r>
          </a:p>
        </p:txBody>
      </p:sp>
      <p:sp>
        <p:nvSpPr>
          <p:cNvPr id="60" name="TextBox 59"/>
          <p:cNvSpPr txBox="1"/>
          <p:nvPr/>
        </p:nvSpPr>
        <p:spPr>
          <a:xfrm>
            <a:off x="998449" y="4260219"/>
            <a:ext cx="1270989" cy="328391"/>
          </a:xfrm>
          <a:prstGeom prst="rect">
            <a:avLst/>
          </a:prstGeom>
        </p:spPr>
        <p:txBody>
          <a:bodyPr vert="horz" wrap="square" lIns="93260" tIns="46630" rIns="93260" bIns="46630" rtlCol="0" anchor="ctr">
            <a:noAutofit/>
          </a:bodyPr>
          <a:lstStyle/>
          <a:p>
            <a:pPr marL="0" marR="0" lvl="0" indent="0" algn="l" defTabSz="932597" rtl="0" eaLnBrk="1" fontAlgn="auto" latinLnBrk="0" hangingPunct="1">
              <a:lnSpc>
                <a:spcPct val="95000"/>
              </a:lnSpc>
              <a:spcBef>
                <a:spcPts val="408"/>
              </a:spcBef>
              <a:spcAft>
                <a:spcPts val="204"/>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a:ea typeface="+mn-ea"/>
                <a:cs typeface="+mn-cs"/>
              </a:rPr>
              <a:t>E-Series</a:t>
            </a:r>
            <a:endParaRPr kumimoji="0" lang="en-US" sz="1224" b="0" i="0" u="none" strike="noStrike" kern="1200" cap="none" spc="0" normalizeH="0" baseline="0" noProof="0" dirty="0">
              <a:ln>
                <a:noFill/>
              </a:ln>
              <a:solidFill>
                <a:srgbClr val="505050"/>
              </a:solidFill>
              <a:effectLst/>
              <a:uLnTx/>
              <a:uFillTx/>
              <a:latin typeface="Segoe UI"/>
              <a:ea typeface="+mn-ea"/>
              <a:cs typeface="+mn-cs"/>
            </a:endParaRPr>
          </a:p>
        </p:txBody>
      </p:sp>
      <p:sp>
        <p:nvSpPr>
          <p:cNvPr id="61" name="TextBox 60"/>
          <p:cNvSpPr txBox="1"/>
          <p:nvPr/>
        </p:nvSpPr>
        <p:spPr>
          <a:xfrm>
            <a:off x="959101" y="2878053"/>
            <a:ext cx="1687263" cy="337605"/>
          </a:xfrm>
          <a:prstGeom prst="rect">
            <a:avLst/>
          </a:prstGeom>
        </p:spPr>
        <p:txBody>
          <a:bodyPr vert="horz" wrap="square" lIns="93260" tIns="46630" rIns="93260" bIns="46630" rtlCol="0" anchor="ctr">
            <a:noAutofit/>
          </a:bodyPr>
          <a:lstStyle/>
          <a:p>
            <a:pPr marL="0" marR="0" lvl="0" indent="0" algn="l" defTabSz="932597" rtl="0" eaLnBrk="1" fontAlgn="auto" latinLnBrk="0" hangingPunct="1">
              <a:lnSpc>
                <a:spcPct val="95000"/>
              </a:lnSpc>
              <a:spcBef>
                <a:spcPts val="408"/>
              </a:spcBef>
              <a:spcAft>
                <a:spcPts val="204"/>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a:ea typeface="+mn-ea"/>
                <a:cs typeface="+mn-cs"/>
              </a:rPr>
              <a:t>All Flash FAS</a:t>
            </a:r>
            <a:endParaRPr kumimoji="0" lang="en-US" sz="1428" b="0" i="0" u="none" strike="noStrike" kern="1200" cap="none" spc="0" normalizeH="0" baseline="30000" noProof="0" dirty="0">
              <a:ln>
                <a:noFill/>
              </a:ln>
              <a:solidFill>
                <a:srgbClr val="505050"/>
              </a:solidFill>
              <a:effectLst/>
              <a:uLnTx/>
              <a:uFillTx/>
              <a:latin typeface="Segoe UI"/>
              <a:ea typeface="+mn-ea"/>
              <a:cs typeface="+mn-cs"/>
            </a:endParaRPr>
          </a:p>
        </p:txBody>
      </p:sp>
      <p:sp>
        <p:nvSpPr>
          <p:cNvPr id="64" name="TextBox 63"/>
          <p:cNvSpPr txBox="1"/>
          <p:nvPr/>
        </p:nvSpPr>
        <p:spPr>
          <a:xfrm>
            <a:off x="3684422" y="4632803"/>
            <a:ext cx="1631506" cy="328391"/>
          </a:xfrm>
          <a:prstGeom prst="rect">
            <a:avLst/>
          </a:prstGeom>
        </p:spPr>
        <p:txBody>
          <a:bodyPr vert="horz" wrap="square" lIns="93260" tIns="46630" rIns="93260" bIns="46630" rtlCol="0" anchor="ctr">
            <a:noAutofit/>
          </a:bodyPr>
          <a:lstStyle/>
          <a:p>
            <a:pPr marL="0" marR="0" lvl="0" indent="0" algn="ctr" defTabSz="932597" rtl="0" eaLnBrk="1" fontAlgn="auto" latinLnBrk="0" hangingPunct="1">
              <a:lnSpc>
                <a:spcPct val="95000"/>
              </a:lnSpc>
              <a:spcBef>
                <a:spcPts val="408"/>
              </a:spcBef>
              <a:spcAft>
                <a:spcPts val="204"/>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a:ea typeface="+mn-ea"/>
                <a:cs typeface="+mn-cs"/>
              </a:rPr>
              <a:t>FAS</a:t>
            </a:r>
            <a:endParaRPr kumimoji="0" lang="en-US" sz="1224"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66" name="image11.png" descr="FAS8080EX-6U.png"/>
          <p:cNvPicPr/>
          <p:nvPr/>
        </p:nvPicPr>
        <p:blipFill>
          <a:blip r:embed="rId4" cstate="email">
            <a:extLst>
              <a:ext uri="{28A0092B-C50C-407E-A947-70E740481C1C}">
                <a14:useLocalDpi xmlns:a14="http://schemas.microsoft.com/office/drawing/2010/main"/>
              </a:ext>
            </a:extLst>
          </a:blip>
          <a:stretch>
            <a:fillRect/>
          </a:stretch>
        </p:blipFill>
        <p:spPr>
          <a:xfrm>
            <a:off x="3684422" y="4980432"/>
            <a:ext cx="1631507" cy="861131"/>
          </a:xfrm>
          <a:prstGeom prst="rect">
            <a:avLst/>
          </a:prstGeom>
          <a:ln w="12700">
            <a:miter lim="400000"/>
          </a:ln>
        </p:spPr>
      </p:pic>
      <p:sp>
        <p:nvSpPr>
          <p:cNvPr id="33" name="TextBox 32"/>
          <p:cNvSpPr txBox="1"/>
          <p:nvPr/>
        </p:nvSpPr>
        <p:spPr>
          <a:xfrm>
            <a:off x="3753666" y="1840456"/>
            <a:ext cx="1687263" cy="337605"/>
          </a:xfrm>
          <a:prstGeom prst="rect">
            <a:avLst/>
          </a:prstGeom>
        </p:spPr>
        <p:txBody>
          <a:bodyPr vert="horz" wrap="square" lIns="93260" tIns="46630" rIns="93260" bIns="46630" rtlCol="0" anchor="ctr">
            <a:noAutofit/>
          </a:bodyPr>
          <a:lstStyle/>
          <a:p>
            <a:pPr marL="0" marR="0" lvl="0" indent="0" algn="l" defTabSz="932597" rtl="0" eaLnBrk="1" fontAlgn="auto" latinLnBrk="0" hangingPunct="1">
              <a:lnSpc>
                <a:spcPct val="95000"/>
              </a:lnSpc>
              <a:spcBef>
                <a:spcPts val="408"/>
              </a:spcBef>
              <a:spcAft>
                <a:spcPts val="204"/>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a:ea typeface="+mn-ea"/>
                <a:cs typeface="+mn-cs"/>
              </a:rPr>
              <a:t>ONTAP</a:t>
            </a:r>
            <a:r>
              <a:rPr kumimoji="0" lang="en-US" sz="1428" b="0" i="0" u="none" strike="noStrike" kern="1200" cap="none" spc="0" normalizeH="0" baseline="30000" noProof="0" dirty="0">
                <a:ln>
                  <a:noFill/>
                </a:ln>
                <a:solidFill>
                  <a:srgbClr val="505050"/>
                </a:solidFill>
                <a:effectLst/>
                <a:uLnTx/>
                <a:uFillTx/>
                <a:latin typeface="Segoe UI"/>
                <a:ea typeface="+mn-ea"/>
                <a:cs typeface="+mn-cs"/>
              </a:rPr>
              <a:t>®</a:t>
            </a:r>
            <a:r>
              <a:rPr kumimoji="0" lang="en-US" sz="1428" b="0" i="0" u="none" strike="noStrike" kern="1200" cap="none" spc="0" normalizeH="0" baseline="0" noProof="0" dirty="0">
                <a:ln>
                  <a:noFill/>
                </a:ln>
                <a:solidFill>
                  <a:srgbClr val="505050"/>
                </a:solidFill>
                <a:effectLst/>
                <a:uLnTx/>
                <a:uFillTx/>
                <a:latin typeface="Segoe UI"/>
                <a:ea typeface="+mn-ea"/>
                <a:cs typeface="+mn-cs"/>
              </a:rPr>
              <a:t> Cloud</a:t>
            </a:r>
            <a:endParaRPr kumimoji="0" lang="en-US" sz="1428" b="0" i="0" u="none" strike="noStrike" kern="1200" cap="none" spc="0" normalizeH="0" baseline="30000" noProof="0" dirty="0">
              <a:ln>
                <a:noFill/>
              </a:ln>
              <a:solidFill>
                <a:srgbClr val="505050"/>
              </a:solidFill>
              <a:effectLst/>
              <a:uLnTx/>
              <a:uFillTx/>
              <a:latin typeface="Segoe UI"/>
              <a:ea typeface="+mn-ea"/>
              <a:cs typeface="+mn-cs"/>
            </a:endParaRPr>
          </a:p>
        </p:txBody>
      </p:sp>
      <p:pic>
        <p:nvPicPr>
          <p:cNvPr id="2" name="Picture 1" descr="ontap-cloud.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037307" y="2461275"/>
            <a:ext cx="792057" cy="792057"/>
          </a:xfrm>
          <a:prstGeom prst="rect">
            <a:avLst/>
          </a:prstGeom>
        </p:spPr>
      </p:pic>
      <p:sp>
        <p:nvSpPr>
          <p:cNvPr id="35" name="TextBox 34"/>
          <p:cNvSpPr txBox="1"/>
          <p:nvPr/>
        </p:nvSpPr>
        <p:spPr>
          <a:xfrm>
            <a:off x="5906134" y="2350786"/>
            <a:ext cx="2193502" cy="358134"/>
          </a:xfrm>
          <a:prstGeom prst="rect">
            <a:avLst/>
          </a:prstGeom>
        </p:spPr>
        <p:txBody>
          <a:bodyPr vert="horz" wrap="square" lIns="93260" tIns="46630" rIns="93260" bIns="46630" rtlCol="0" anchor="ctr">
            <a:noAutofit/>
          </a:bodyPr>
          <a:lstStyle/>
          <a:p>
            <a:pPr marL="0" marR="0" lvl="0" indent="0" algn="ctr" defTabSz="932597" rtl="0" eaLnBrk="1" fontAlgn="auto" latinLnBrk="0" hangingPunct="1">
              <a:lnSpc>
                <a:spcPct val="95000"/>
              </a:lnSpc>
              <a:spcBef>
                <a:spcPts val="408"/>
              </a:spcBef>
              <a:spcAft>
                <a:spcPts val="204"/>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a:ea typeface="+mn-ea"/>
                <a:cs typeface="+mn-cs"/>
              </a:rPr>
              <a:t>NetApp</a:t>
            </a:r>
            <a:r>
              <a:rPr kumimoji="0" lang="en-US" sz="1428" b="0" i="0" u="none" strike="noStrike" kern="1200" cap="none" spc="0" normalizeH="0" baseline="30000" noProof="0" dirty="0">
                <a:ln>
                  <a:noFill/>
                </a:ln>
                <a:solidFill>
                  <a:srgbClr val="505050"/>
                </a:solidFill>
                <a:effectLst/>
                <a:uLnTx/>
                <a:uFillTx/>
                <a:latin typeface="Segoe UI"/>
                <a:ea typeface="+mn-ea"/>
                <a:cs typeface="+mn-cs"/>
              </a:rPr>
              <a:t>®</a:t>
            </a:r>
            <a:r>
              <a:rPr kumimoji="0" lang="en-US" sz="1428" b="0" i="0" u="none" strike="noStrike" kern="1200" cap="none" spc="0" normalizeH="0" baseline="0" noProof="0" dirty="0">
                <a:ln>
                  <a:noFill/>
                </a:ln>
                <a:solidFill>
                  <a:srgbClr val="505050"/>
                </a:solidFill>
                <a:effectLst/>
                <a:uLnTx/>
                <a:uFillTx/>
                <a:latin typeface="Segoe UI"/>
                <a:ea typeface="+mn-ea"/>
                <a:cs typeface="+mn-cs"/>
              </a:rPr>
              <a:t> Private </a:t>
            </a:r>
            <a:br>
              <a:rPr kumimoji="0" lang="en-US" sz="1428" b="0" i="0" u="none" strike="noStrike" kern="1200" cap="none" spc="0" normalizeH="0" baseline="0" noProof="0" dirty="0">
                <a:ln>
                  <a:noFill/>
                </a:ln>
                <a:solidFill>
                  <a:srgbClr val="505050"/>
                </a:solidFill>
                <a:effectLst/>
                <a:uLnTx/>
                <a:uFillTx/>
                <a:latin typeface="Segoe UI"/>
                <a:ea typeface="+mn-ea"/>
                <a:cs typeface="+mn-cs"/>
              </a:rPr>
            </a:br>
            <a:r>
              <a:rPr kumimoji="0" lang="en-US" sz="1428" b="0" i="0" u="none" strike="noStrike" kern="1200" cap="none" spc="0" normalizeH="0" baseline="0" noProof="0" dirty="0">
                <a:ln>
                  <a:noFill/>
                </a:ln>
                <a:solidFill>
                  <a:srgbClr val="505050"/>
                </a:solidFill>
                <a:effectLst/>
                <a:uLnTx/>
                <a:uFillTx/>
                <a:latin typeface="Segoe UI"/>
                <a:ea typeface="+mn-ea"/>
                <a:cs typeface="+mn-cs"/>
              </a:rPr>
              <a:t>Storage for Cloud (Hybrid Cloud)</a:t>
            </a:r>
          </a:p>
        </p:txBody>
      </p:sp>
      <p:pic>
        <p:nvPicPr>
          <p:cNvPr id="36" name="image11.png" descr="FAS8080EX-6U.png"/>
          <p:cNvPicPr/>
          <p:nvPr/>
        </p:nvPicPr>
        <p:blipFill>
          <a:blip r:embed="rId4" cstate="email">
            <a:extLst>
              <a:ext uri="{28A0092B-C50C-407E-A947-70E740481C1C}">
                <a14:useLocalDpi xmlns:a14="http://schemas.microsoft.com/office/drawing/2010/main"/>
              </a:ext>
            </a:extLst>
          </a:blip>
          <a:stretch>
            <a:fillRect/>
          </a:stretch>
        </p:blipFill>
        <p:spPr>
          <a:xfrm>
            <a:off x="6085011" y="3012864"/>
            <a:ext cx="1631507" cy="861131"/>
          </a:xfrm>
          <a:prstGeom prst="rect">
            <a:avLst/>
          </a:prstGeom>
          <a:ln w="12700">
            <a:miter lim="400000"/>
          </a:ln>
        </p:spPr>
      </p:pic>
      <p:cxnSp>
        <p:nvCxnSpPr>
          <p:cNvPr id="47" name="Straight Connector 46"/>
          <p:cNvCxnSpPr/>
          <p:nvPr/>
        </p:nvCxnSpPr>
        <p:spPr bwMode="gray">
          <a:xfrm flipH="1">
            <a:off x="7515779" y="3474595"/>
            <a:ext cx="2299464" cy="0"/>
          </a:xfrm>
          <a:prstGeom prst="line">
            <a:avLst/>
          </a:prstGeom>
          <a:ln w="31750" cap="rnd">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bwMode="gray">
          <a:xfrm flipV="1">
            <a:off x="9811603" y="3157584"/>
            <a:ext cx="910" cy="313527"/>
          </a:xfrm>
          <a:prstGeom prst="line">
            <a:avLst/>
          </a:prstGeom>
          <a:ln w="31750" cap="rnd">
            <a:solidFill>
              <a:srgbClr val="000000"/>
            </a:solidFill>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7289179" y="4572851"/>
            <a:ext cx="1687263" cy="337605"/>
          </a:xfrm>
          <a:prstGeom prst="rect">
            <a:avLst/>
          </a:prstGeom>
        </p:spPr>
        <p:txBody>
          <a:bodyPr vert="horz" wrap="square" lIns="93260" tIns="46630" rIns="93260" bIns="46630" rtlCol="0" anchor="ctr">
            <a:noAutofit/>
          </a:bodyPr>
          <a:lstStyle/>
          <a:p>
            <a:pPr marL="0" marR="0" lvl="0" indent="0" algn="l" defTabSz="932597" rtl="0" eaLnBrk="1" fontAlgn="auto" latinLnBrk="0" hangingPunct="1">
              <a:lnSpc>
                <a:spcPct val="95000"/>
              </a:lnSpc>
              <a:spcBef>
                <a:spcPts val="408"/>
              </a:spcBef>
              <a:spcAft>
                <a:spcPts val="204"/>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a:ea typeface="+mn-ea"/>
                <a:cs typeface="+mn-cs"/>
              </a:rPr>
              <a:t>ONTAP Select</a:t>
            </a:r>
          </a:p>
          <a:p>
            <a:pPr marL="0" marR="0" lvl="0" indent="0" algn="l" defTabSz="932597" rtl="0" eaLnBrk="1" fontAlgn="auto" latinLnBrk="0" hangingPunct="1">
              <a:lnSpc>
                <a:spcPct val="95000"/>
              </a:lnSpc>
              <a:spcBef>
                <a:spcPts val="408"/>
              </a:spcBef>
              <a:spcAft>
                <a:spcPts val="204"/>
              </a:spcAft>
              <a:buClrTx/>
              <a:buSzTx/>
              <a:buFontTx/>
              <a:buNone/>
              <a:tabLst/>
              <a:defRPr/>
            </a:pPr>
            <a:r>
              <a:rPr kumimoji="0" lang="en-US" sz="2040" b="0" i="0" u="none" strike="noStrike" kern="1200" cap="none" spc="0" normalizeH="0" baseline="30000" noProof="0" dirty="0">
                <a:ln>
                  <a:noFill/>
                </a:ln>
                <a:solidFill>
                  <a:srgbClr val="505050"/>
                </a:solidFill>
                <a:effectLst/>
                <a:uLnTx/>
                <a:uFillTx/>
                <a:latin typeface="Segoe UI"/>
                <a:ea typeface="+mn-ea"/>
                <a:cs typeface="+mn-cs"/>
              </a:rPr>
              <a:t>(Software Defined)</a:t>
            </a:r>
          </a:p>
        </p:txBody>
      </p:sp>
      <p:pic>
        <p:nvPicPr>
          <p:cNvPr id="50" name="Picture 49" descr="ONTAP-Select.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76958" y="4336364"/>
            <a:ext cx="792057" cy="792057"/>
          </a:xfrm>
          <a:prstGeom prst="rect">
            <a:avLst/>
          </a:prstGeom>
        </p:spPr>
      </p:pic>
      <p:grpSp>
        <p:nvGrpSpPr>
          <p:cNvPr id="28" name="Group 27"/>
          <p:cNvGrpSpPr/>
          <p:nvPr/>
        </p:nvGrpSpPr>
        <p:grpSpPr>
          <a:xfrm>
            <a:off x="8567547" y="911415"/>
            <a:ext cx="2372767" cy="2209926"/>
            <a:chOff x="2904614" y="1553283"/>
            <a:chExt cx="1166546" cy="1059829"/>
          </a:xfrm>
        </p:grpSpPr>
        <p:cxnSp>
          <p:nvCxnSpPr>
            <p:cNvPr id="54" name="Straight Connector 53"/>
            <p:cNvCxnSpPr>
              <a:stCxn id="38" idx="2"/>
            </p:cNvCxnSpPr>
            <p:nvPr/>
          </p:nvCxnSpPr>
          <p:spPr bwMode="gray">
            <a:xfrm flipV="1">
              <a:off x="3517312" y="2245381"/>
              <a:ext cx="5092" cy="367728"/>
            </a:xfrm>
            <a:prstGeom prst="line">
              <a:avLst/>
            </a:prstGeom>
            <a:ln w="31750" cap="rnd">
              <a:solidFill>
                <a:srgbClr val="0067C5"/>
              </a:solidFill>
              <a:prstDash val="sysDot"/>
            </a:ln>
          </p:spPr>
          <p:style>
            <a:lnRef idx="1">
              <a:schemeClr val="accent1"/>
            </a:lnRef>
            <a:fillRef idx="0">
              <a:schemeClr val="accent1"/>
            </a:fillRef>
            <a:effectRef idx="0">
              <a:schemeClr val="accent1"/>
            </a:effectRef>
            <a:fontRef idx="minor">
              <a:schemeClr val="tx1"/>
            </a:fontRef>
          </p:style>
        </p:cxnSp>
        <p:pic>
          <p:nvPicPr>
            <p:cNvPr id="38" name="Picture 37" descr="ArrowCloud.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343815" y="2387168"/>
              <a:ext cx="347240" cy="225944"/>
            </a:xfrm>
            <a:prstGeom prst="rect">
              <a:avLst/>
            </a:prstGeom>
          </p:spPr>
        </p:pic>
        <p:grpSp>
          <p:nvGrpSpPr>
            <p:cNvPr id="39" name="Group 38"/>
            <p:cNvGrpSpPr/>
            <p:nvPr/>
          </p:nvGrpSpPr>
          <p:grpSpPr>
            <a:xfrm>
              <a:off x="2904614" y="1553283"/>
              <a:ext cx="1166546" cy="749181"/>
              <a:chOff x="2547333" y="882176"/>
              <a:chExt cx="1494995" cy="960119"/>
            </a:xfrm>
          </p:grpSpPr>
          <p:pic>
            <p:nvPicPr>
              <p:cNvPr id="40" name="Picture 39" descr="BlueCloud.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547333" y="882176"/>
                <a:ext cx="1494995" cy="960119"/>
              </a:xfrm>
              <a:prstGeom prst="rect">
                <a:avLst/>
              </a:prstGeom>
            </p:spPr>
          </p:pic>
          <p:pic>
            <p:nvPicPr>
              <p:cNvPr id="41" name="Picture 40" descr="MicrosoftAzure.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622821" y="1471794"/>
                <a:ext cx="1359866" cy="165095"/>
              </a:xfrm>
              <a:prstGeom prst="rect">
                <a:avLst/>
              </a:prstGeom>
            </p:spPr>
          </p:pic>
        </p:grpSp>
      </p:grpSp>
      <p:pic>
        <p:nvPicPr>
          <p:cNvPr id="45" name="Picture 44" descr="MicrosoftAzure.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766448" y="2179452"/>
            <a:ext cx="1351308" cy="183340"/>
          </a:xfrm>
          <a:prstGeom prst="rect">
            <a:avLst/>
          </a:prstGeom>
        </p:spPr>
      </p:pic>
      <p:pic>
        <p:nvPicPr>
          <p:cNvPr id="63" name="Picture 62"/>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39137" y="3264356"/>
            <a:ext cx="1571250" cy="567396"/>
          </a:xfrm>
          <a:prstGeom prst="rect">
            <a:avLst/>
          </a:prstGeom>
        </p:spPr>
      </p:pic>
    </p:spTree>
    <p:extLst>
      <p:ext uri="{BB962C8B-B14F-4D97-AF65-F5344CB8AC3E}">
        <p14:creationId xmlns:p14="http://schemas.microsoft.com/office/powerpoint/2010/main" val="1852076178"/>
      </p:ext>
    </p:extLst>
  </p:cSld>
  <p:clrMapOvr>
    <a:masterClrMapping/>
  </p:clrMapOvr>
  <p:transition spd="med">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0" name="Straight Connector 99"/>
          <p:cNvCxnSpPr/>
          <p:nvPr/>
        </p:nvCxnSpPr>
        <p:spPr bwMode="gray">
          <a:xfrm flipH="1">
            <a:off x="3827311" y="5202729"/>
            <a:ext cx="725627"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p:txBody>
          <a:bodyPr/>
          <a:lstStyle/>
          <a:p>
            <a:r>
              <a:rPr lang="en-US" dirty="0"/>
              <a:t>Data Fabric goes beyond ONTAP</a:t>
            </a:r>
          </a:p>
        </p:txBody>
      </p:sp>
      <p:sp>
        <p:nvSpPr>
          <p:cNvPr id="13" name="Footer Placeholder 12"/>
          <p:cNvSpPr>
            <a:spLocks noGrp="1"/>
          </p:cNvSpPr>
          <p:nvPr>
            <p:ph type="ftr" sz="quarter" idx="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dirty="0">
                <a:ln>
                  <a:noFill/>
                </a:ln>
                <a:solidFill>
                  <a:srgbClr val="EAEAEA"/>
                </a:solidFill>
                <a:effectLst/>
                <a:uLnTx/>
                <a:uFillTx/>
                <a:latin typeface="Segoe UI"/>
                <a:ea typeface="+mn-ea"/>
                <a:cs typeface="+mn-cs"/>
              </a:rPr>
              <a:t>© 2016 NetApp, Inc. All rights reserved. </a:t>
            </a:r>
          </a:p>
        </p:txBody>
      </p:sp>
      <p:sp>
        <p:nvSpPr>
          <p:cNvPr id="14" name="Slide Number Placeholder 13"/>
          <p:cNvSpPr>
            <a:spLocks noGrp="1"/>
          </p:cNvSpPr>
          <p:nvPr>
            <p:ph type="sldNum" sz="quarter" idx="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B071A5F3-A4FF-4CEE-8215-C08835B585C1}" type="slidenum">
              <a:rPr kumimoji="0" lang="en-US" sz="1071" b="1" i="0" u="none" strike="noStrike" kern="1200" cap="none" spc="0" normalizeH="0" baseline="0" noProof="0" smtClean="0">
                <a:ln>
                  <a:noFill/>
                </a:ln>
                <a:solidFill>
                  <a:srgbClr val="EAEAEA">
                    <a:lumMod val="50000"/>
                  </a:srgbClr>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74</a:t>
            </a:fld>
            <a:endParaRPr kumimoji="0" lang="en-US" sz="1071" b="1" i="0" u="none" strike="noStrike" kern="1200" cap="none" spc="0" normalizeH="0" baseline="0" noProof="0" dirty="0">
              <a:ln>
                <a:noFill/>
              </a:ln>
              <a:solidFill>
                <a:srgbClr val="EAEAEA">
                  <a:lumMod val="50000"/>
                </a:srgbClr>
              </a:solidFill>
              <a:effectLst/>
              <a:uLnTx/>
              <a:uFillTx/>
              <a:latin typeface="Segoe UI"/>
              <a:ea typeface="+mn-ea"/>
              <a:cs typeface="+mn-cs"/>
            </a:endParaRPr>
          </a:p>
        </p:txBody>
      </p:sp>
      <p:cxnSp>
        <p:nvCxnSpPr>
          <p:cNvPr id="23" name="Straight Connector 22"/>
          <p:cNvCxnSpPr/>
          <p:nvPr/>
        </p:nvCxnSpPr>
        <p:spPr bwMode="gray">
          <a:xfrm flipV="1">
            <a:off x="4009449" y="4096915"/>
            <a:ext cx="0" cy="315344"/>
          </a:xfrm>
          <a:prstGeom prst="line">
            <a:avLst/>
          </a:prstGeom>
          <a:ln w="31750" cap="rnd">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Isosceles Triangle 15"/>
          <p:cNvSpPr/>
          <p:nvPr/>
        </p:nvSpPr>
        <p:spPr>
          <a:xfrm rot="396544">
            <a:off x="3271255" y="2261695"/>
            <a:ext cx="4419905" cy="1641866"/>
          </a:xfrm>
          <a:prstGeom prst="triangle">
            <a:avLst>
              <a:gd name="adj" fmla="val 81971"/>
            </a:avLst>
          </a:prstGeom>
          <a:solidFill>
            <a:schemeClr val="accent6">
              <a:lumMod val="40000"/>
              <a:lumOff val="60000"/>
            </a:schemeClr>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5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53" name="Rounded Rectangle 52"/>
          <p:cNvSpPr/>
          <p:nvPr/>
        </p:nvSpPr>
        <p:spPr>
          <a:xfrm>
            <a:off x="2933699" y="1881677"/>
            <a:ext cx="3974442" cy="1814344"/>
          </a:xfrm>
          <a:prstGeom prst="roundRect">
            <a:avLst/>
          </a:prstGeom>
          <a:solidFill>
            <a:schemeClr val="accent2">
              <a:lumMod val="20000"/>
              <a:lumOff val="80000"/>
            </a:schemeClr>
          </a:solidFill>
          <a:ln w="3810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3260" rIns="0" bIns="9326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5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59" name="TextBox 58"/>
          <p:cNvSpPr txBox="1"/>
          <p:nvPr/>
        </p:nvSpPr>
        <p:spPr>
          <a:xfrm>
            <a:off x="3482357" y="2302253"/>
            <a:ext cx="2877123" cy="722035"/>
          </a:xfrm>
          <a:prstGeom prst="rect">
            <a:avLst/>
          </a:prstGeom>
        </p:spPr>
        <p:txBody>
          <a:bodyPr vert="horz" wrap="square" lIns="93260" tIns="46630" rIns="93260" bIns="46630" rtlCol="0" anchor="ctr">
            <a:spAutoFit/>
          </a:bodyPr>
          <a:lstStyle/>
          <a:p>
            <a:pPr marL="0" marR="0" lvl="0" indent="0" algn="ctr" defTabSz="932597" rtl="0" eaLnBrk="1" fontAlgn="auto" latinLnBrk="0" hangingPunct="1">
              <a:lnSpc>
                <a:spcPct val="100000"/>
              </a:lnSpc>
              <a:spcBef>
                <a:spcPts val="408"/>
              </a:spcBef>
              <a:spcAft>
                <a:spcPts val="204"/>
              </a:spcAft>
              <a:buClrTx/>
              <a:buSzTx/>
              <a:buFontTx/>
              <a:buNone/>
              <a:tabLst/>
              <a:defRPr/>
            </a:pPr>
            <a:r>
              <a:rPr kumimoji="0" lang="en-US" sz="2040" b="0" i="0" u="none" strike="noStrike" kern="1200" cap="none" spc="0" normalizeH="0" baseline="0" noProof="0" dirty="0">
                <a:ln>
                  <a:noFill/>
                </a:ln>
                <a:solidFill>
                  <a:srgbClr val="0078D7"/>
                </a:solidFill>
                <a:effectLst/>
                <a:uLnTx/>
                <a:uFillTx/>
                <a:latin typeface="Segoe UI"/>
                <a:ea typeface="+mn-ea"/>
                <a:cs typeface="+mn-cs"/>
              </a:rPr>
              <a:t>Common Transport</a:t>
            </a:r>
            <a:br>
              <a:rPr kumimoji="0" lang="en-US" sz="2040" b="0" i="0" u="none" strike="noStrike" kern="1200" cap="none" spc="0" normalizeH="0" baseline="0" noProof="0" dirty="0">
                <a:ln>
                  <a:noFill/>
                </a:ln>
                <a:solidFill>
                  <a:srgbClr val="0078D7"/>
                </a:solidFill>
                <a:effectLst/>
                <a:uLnTx/>
                <a:uFillTx/>
                <a:latin typeface="Segoe UI"/>
                <a:ea typeface="+mn-ea"/>
                <a:cs typeface="+mn-cs"/>
              </a:rPr>
            </a:br>
            <a:r>
              <a:rPr kumimoji="0" lang="en-US" sz="2040" b="0" i="0" u="none" strike="noStrike" kern="1200" cap="none" spc="0" normalizeH="0" baseline="0" noProof="0" dirty="0">
                <a:ln>
                  <a:noFill/>
                </a:ln>
                <a:solidFill>
                  <a:srgbClr val="0078D7"/>
                </a:solidFill>
                <a:effectLst/>
                <a:uLnTx/>
                <a:uFillTx/>
                <a:latin typeface="Segoe UI"/>
                <a:ea typeface="+mn-ea"/>
                <a:cs typeface="+mn-cs"/>
              </a:rPr>
              <a:t>Common Management</a:t>
            </a:r>
          </a:p>
        </p:txBody>
      </p:sp>
      <p:sp>
        <p:nvSpPr>
          <p:cNvPr id="60" name="TextBox 59"/>
          <p:cNvSpPr txBox="1"/>
          <p:nvPr/>
        </p:nvSpPr>
        <p:spPr>
          <a:xfrm>
            <a:off x="4237634" y="5598958"/>
            <a:ext cx="1104033" cy="285254"/>
          </a:xfrm>
          <a:prstGeom prst="rect">
            <a:avLst/>
          </a:prstGeom>
        </p:spPr>
        <p:txBody>
          <a:bodyPr vert="horz" wrap="square" lIns="93260" tIns="46630" rIns="93260" bIns="46630" rtlCol="0" anchor="ctr">
            <a:noAutofit/>
          </a:bodyPr>
          <a:lstStyle/>
          <a:p>
            <a:pPr marL="0" marR="0" lvl="0" indent="0" algn="l" defTabSz="932597" rtl="0" eaLnBrk="1" fontAlgn="auto" latinLnBrk="0" hangingPunct="1">
              <a:lnSpc>
                <a:spcPct val="95000"/>
              </a:lnSpc>
              <a:spcBef>
                <a:spcPts val="408"/>
              </a:spcBef>
              <a:spcAft>
                <a:spcPts val="204"/>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a:ea typeface="+mn-ea"/>
                <a:cs typeface="+mn-cs"/>
              </a:rPr>
              <a:t>E-Series</a:t>
            </a:r>
            <a:endParaRPr kumimoji="0" lang="en-US" sz="1224" b="0" i="0" u="none" strike="noStrike" kern="1200" cap="none" spc="0" normalizeH="0" baseline="0" noProof="0" dirty="0">
              <a:ln>
                <a:noFill/>
              </a:ln>
              <a:solidFill>
                <a:srgbClr val="505050"/>
              </a:solidFill>
              <a:effectLst/>
              <a:uLnTx/>
              <a:uFillTx/>
              <a:latin typeface="Segoe UI"/>
              <a:ea typeface="+mn-ea"/>
              <a:cs typeface="+mn-cs"/>
            </a:endParaRPr>
          </a:p>
        </p:txBody>
      </p:sp>
      <p:sp>
        <p:nvSpPr>
          <p:cNvPr id="61" name="TextBox 60"/>
          <p:cNvSpPr txBox="1"/>
          <p:nvPr/>
        </p:nvSpPr>
        <p:spPr>
          <a:xfrm>
            <a:off x="1630339" y="1981272"/>
            <a:ext cx="1465627" cy="293258"/>
          </a:xfrm>
          <a:prstGeom prst="rect">
            <a:avLst/>
          </a:prstGeom>
        </p:spPr>
        <p:txBody>
          <a:bodyPr vert="horz" wrap="square" lIns="93260" tIns="46630" rIns="93260" bIns="46630" rtlCol="0" anchor="ctr">
            <a:noAutofit/>
          </a:bodyPr>
          <a:lstStyle/>
          <a:p>
            <a:pPr marL="0" marR="0" lvl="0" indent="0" algn="l" defTabSz="932597" rtl="0" eaLnBrk="1" fontAlgn="auto" latinLnBrk="0" hangingPunct="1">
              <a:lnSpc>
                <a:spcPct val="95000"/>
              </a:lnSpc>
              <a:spcBef>
                <a:spcPts val="408"/>
              </a:spcBef>
              <a:spcAft>
                <a:spcPts val="204"/>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a:ea typeface="+mn-ea"/>
                <a:cs typeface="+mn-cs"/>
              </a:rPr>
              <a:t>All Flash FAS</a:t>
            </a:r>
            <a:endParaRPr kumimoji="0" lang="en-US" sz="1428" b="0" i="0" u="none" strike="noStrike" kern="1200" cap="none" spc="0" normalizeH="0" baseline="30000" noProof="0" dirty="0">
              <a:ln>
                <a:noFill/>
              </a:ln>
              <a:solidFill>
                <a:srgbClr val="505050"/>
              </a:solidFill>
              <a:effectLst/>
              <a:uLnTx/>
              <a:uFillTx/>
              <a:latin typeface="Segoe UI"/>
              <a:ea typeface="+mn-ea"/>
              <a:cs typeface="+mn-cs"/>
            </a:endParaRPr>
          </a:p>
        </p:txBody>
      </p:sp>
      <p:sp>
        <p:nvSpPr>
          <p:cNvPr id="64" name="TextBox 63"/>
          <p:cNvSpPr txBox="1"/>
          <p:nvPr/>
        </p:nvSpPr>
        <p:spPr>
          <a:xfrm>
            <a:off x="3573059" y="3061464"/>
            <a:ext cx="1417194" cy="285254"/>
          </a:xfrm>
          <a:prstGeom prst="rect">
            <a:avLst/>
          </a:prstGeom>
        </p:spPr>
        <p:txBody>
          <a:bodyPr vert="horz" wrap="square" lIns="93260" tIns="46630" rIns="93260" bIns="46630" rtlCol="0" anchor="ctr">
            <a:noAutofit/>
          </a:bodyPr>
          <a:lstStyle/>
          <a:p>
            <a:pPr marL="0" marR="0" lvl="0" indent="0" algn="ctr" defTabSz="932597" rtl="0" eaLnBrk="1" fontAlgn="auto" latinLnBrk="0" hangingPunct="1">
              <a:lnSpc>
                <a:spcPct val="95000"/>
              </a:lnSpc>
              <a:spcBef>
                <a:spcPts val="408"/>
              </a:spcBef>
              <a:spcAft>
                <a:spcPts val="204"/>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a:ea typeface="+mn-ea"/>
                <a:cs typeface="+mn-cs"/>
              </a:rPr>
              <a:t>FAS</a:t>
            </a:r>
            <a:endParaRPr kumimoji="0" lang="en-US" sz="1224"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 name="TextBox 32"/>
          <p:cNvSpPr txBox="1"/>
          <p:nvPr/>
        </p:nvSpPr>
        <p:spPr>
          <a:xfrm>
            <a:off x="2973416" y="1425355"/>
            <a:ext cx="1465627" cy="293258"/>
          </a:xfrm>
          <a:prstGeom prst="rect">
            <a:avLst/>
          </a:prstGeom>
        </p:spPr>
        <p:txBody>
          <a:bodyPr vert="horz" wrap="square" lIns="93260" tIns="46630" rIns="93260" bIns="46630" rtlCol="0" anchor="ctr">
            <a:noAutofit/>
          </a:bodyPr>
          <a:lstStyle/>
          <a:p>
            <a:pPr marL="0" marR="0" lvl="0" indent="0" algn="l" defTabSz="932597" rtl="0" eaLnBrk="1" fontAlgn="auto" latinLnBrk="0" hangingPunct="1">
              <a:lnSpc>
                <a:spcPct val="95000"/>
              </a:lnSpc>
              <a:spcBef>
                <a:spcPts val="408"/>
              </a:spcBef>
              <a:spcAft>
                <a:spcPts val="204"/>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a:ea typeface="+mn-ea"/>
                <a:cs typeface="+mn-cs"/>
              </a:rPr>
              <a:t>ONTAP</a:t>
            </a:r>
            <a:r>
              <a:rPr kumimoji="0" lang="en-US" sz="1428" b="0" i="0" u="none" strike="noStrike" kern="1200" cap="none" spc="0" normalizeH="0" baseline="30000" noProof="0" dirty="0">
                <a:ln>
                  <a:noFill/>
                </a:ln>
                <a:solidFill>
                  <a:srgbClr val="505050"/>
                </a:solidFill>
                <a:effectLst/>
                <a:uLnTx/>
                <a:uFillTx/>
                <a:latin typeface="Segoe UI"/>
                <a:ea typeface="+mn-ea"/>
                <a:cs typeface="+mn-cs"/>
              </a:rPr>
              <a:t>®</a:t>
            </a:r>
            <a:r>
              <a:rPr kumimoji="0" lang="en-US" sz="1428" b="0" i="0" u="none" strike="noStrike" kern="1200" cap="none" spc="0" normalizeH="0" baseline="0" noProof="0" dirty="0">
                <a:ln>
                  <a:noFill/>
                </a:ln>
                <a:solidFill>
                  <a:srgbClr val="505050"/>
                </a:solidFill>
                <a:effectLst/>
                <a:uLnTx/>
                <a:uFillTx/>
                <a:latin typeface="Segoe UI"/>
                <a:ea typeface="+mn-ea"/>
                <a:cs typeface="+mn-cs"/>
              </a:rPr>
              <a:t> Cloud</a:t>
            </a:r>
            <a:endParaRPr kumimoji="0" lang="en-US" sz="1428" b="0" i="0" u="none" strike="noStrike" kern="1200" cap="none" spc="0" normalizeH="0" baseline="30000" noProof="0" dirty="0">
              <a:ln>
                <a:noFill/>
              </a:ln>
              <a:solidFill>
                <a:srgbClr val="505050"/>
              </a:solidFill>
              <a:effectLst/>
              <a:uLnTx/>
              <a:uFillTx/>
              <a:latin typeface="Segoe UI"/>
              <a:ea typeface="+mn-ea"/>
              <a:cs typeface="+mn-cs"/>
            </a:endParaRPr>
          </a:p>
        </p:txBody>
      </p:sp>
      <p:sp>
        <p:nvSpPr>
          <p:cNvPr id="34" name="TextBox 33"/>
          <p:cNvSpPr txBox="1"/>
          <p:nvPr/>
        </p:nvSpPr>
        <p:spPr>
          <a:xfrm>
            <a:off x="6191231" y="1372544"/>
            <a:ext cx="1465627" cy="293258"/>
          </a:xfrm>
          <a:prstGeom prst="rect">
            <a:avLst/>
          </a:prstGeom>
        </p:spPr>
        <p:txBody>
          <a:bodyPr vert="horz" wrap="square" lIns="93260" tIns="46630" rIns="93260" bIns="46630" rtlCol="0" anchor="ctr">
            <a:noAutofit/>
          </a:bodyPr>
          <a:lstStyle/>
          <a:p>
            <a:pPr marL="0" marR="0" lvl="0" indent="0" algn="l" defTabSz="932597" rtl="0" eaLnBrk="1" fontAlgn="auto" latinLnBrk="0" hangingPunct="1">
              <a:lnSpc>
                <a:spcPct val="95000"/>
              </a:lnSpc>
              <a:spcBef>
                <a:spcPts val="408"/>
              </a:spcBef>
              <a:spcAft>
                <a:spcPts val="204"/>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a:ea typeface="+mn-ea"/>
                <a:cs typeface="+mn-cs"/>
              </a:rPr>
              <a:t>ONTAP Select</a:t>
            </a:r>
            <a:endParaRPr kumimoji="0" lang="en-US" sz="1428" b="0" i="0" u="none" strike="noStrike" kern="1200" cap="none" spc="0" normalizeH="0" baseline="30000" noProof="0" dirty="0">
              <a:ln>
                <a:noFill/>
              </a:ln>
              <a:solidFill>
                <a:srgbClr val="505050"/>
              </a:solidFill>
              <a:effectLst/>
              <a:uLnTx/>
              <a:uFillTx/>
              <a:latin typeface="Segoe UI"/>
              <a:ea typeface="+mn-ea"/>
              <a:cs typeface="+mn-cs"/>
            </a:endParaRPr>
          </a:p>
        </p:txBody>
      </p:sp>
      <p:pic>
        <p:nvPicPr>
          <p:cNvPr id="2" name="Picture 1" descr="ontap-cloud.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11951" y="1514930"/>
            <a:ext cx="688014" cy="688014"/>
          </a:xfrm>
          <a:prstGeom prst="rect">
            <a:avLst/>
          </a:prstGeom>
        </p:spPr>
      </p:pic>
      <p:cxnSp>
        <p:nvCxnSpPr>
          <p:cNvPr id="22" name="Straight Connector 21"/>
          <p:cNvCxnSpPr>
            <a:endCxn id="29" idx="3"/>
          </p:cNvCxnSpPr>
          <p:nvPr/>
        </p:nvCxnSpPr>
        <p:spPr bwMode="gray">
          <a:xfrm flipH="1">
            <a:off x="2373481" y="4414709"/>
            <a:ext cx="1628198" cy="10644"/>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bwMode="gray">
          <a:xfrm flipH="1">
            <a:off x="1438538" y="4035764"/>
            <a:ext cx="2131885" cy="6034"/>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1304444" y="3745423"/>
            <a:ext cx="1069037" cy="991793"/>
            <a:chOff x="815745" y="3806308"/>
            <a:chExt cx="1478429" cy="1371604"/>
          </a:xfrm>
        </p:grpSpPr>
        <p:pic>
          <p:nvPicPr>
            <p:cNvPr id="28" name="image233.png"/>
            <p:cNvPicPr/>
            <p:nvPr/>
          </p:nvPicPr>
          <p:blipFill>
            <a:blip r:embed="rId4" cstate="email">
              <a:extLst>
                <a:ext uri="{28A0092B-C50C-407E-A947-70E740481C1C}">
                  <a14:useLocalDpi xmlns:a14="http://schemas.microsoft.com/office/drawing/2010/main"/>
                </a:ext>
              </a:extLst>
            </a:blip>
            <a:stretch>
              <a:fillRect/>
            </a:stretch>
          </p:blipFill>
          <p:spPr>
            <a:xfrm>
              <a:off x="815745" y="3806308"/>
              <a:ext cx="685806" cy="1371604"/>
            </a:xfrm>
            <a:prstGeom prst="rect">
              <a:avLst/>
            </a:prstGeom>
            <a:ln w="12700">
              <a:miter lim="400000"/>
            </a:ln>
          </p:spPr>
        </p:pic>
        <p:pic>
          <p:nvPicPr>
            <p:cNvPr id="29" name="Picture 28" descr="3rdPartyStorage.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99230" y="4315328"/>
              <a:ext cx="694944" cy="862584"/>
            </a:xfrm>
            <a:prstGeom prst="rect">
              <a:avLst/>
            </a:prstGeom>
          </p:spPr>
        </p:pic>
      </p:grpSp>
      <p:sp>
        <p:nvSpPr>
          <p:cNvPr id="30" name="TextBox 29"/>
          <p:cNvSpPr txBox="1"/>
          <p:nvPr/>
        </p:nvSpPr>
        <p:spPr>
          <a:xfrm>
            <a:off x="1304444" y="4752902"/>
            <a:ext cx="1131211" cy="369073"/>
          </a:xfrm>
          <a:prstGeom prst="rect">
            <a:avLst/>
          </a:prstGeom>
        </p:spPr>
        <p:txBody>
          <a:bodyPr vert="horz" wrap="square" lIns="93260" tIns="46630" rIns="93260" bIns="46630" rtlCol="0" anchor="ctr">
            <a:noAutofit/>
          </a:bodyPr>
          <a:lstStyle/>
          <a:p>
            <a:pPr marL="0" marR="0" lvl="0" indent="0" algn="ctr" defTabSz="932597" rtl="0" eaLnBrk="1" fontAlgn="auto" latinLnBrk="0" hangingPunct="1">
              <a:lnSpc>
                <a:spcPct val="95000"/>
              </a:lnSpc>
              <a:spcBef>
                <a:spcPts val="408"/>
              </a:spcBef>
              <a:spcAft>
                <a:spcPts val="204"/>
              </a:spcAft>
              <a:buClrTx/>
              <a:buSzTx/>
              <a:buFontTx/>
              <a:buNone/>
              <a:tabLst/>
              <a:defRPr/>
            </a:pPr>
            <a:r>
              <a:rPr kumimoji="0" lang="en-US" sz="1224" b="0" i="0" u="none" strike="noStrike" kern="1200" cap="none" spc="0" normalizeH="0" baseline="0" noProof="0" dirty="0">
                <a:ln>
                  <a:noFill/>
                </a:ln>
                <a:solidFill>
                  <a:srgbClr val="505050"/>
                </a:solidFill>
                <a:effectLst/>
                <a:uLnTx/>
                <a:uFillTx/>
                <a:latin typeface="Segoe UI"/>
                <a:ea typeface="+mn-ea"/>
                <a:cs typeface="+mn-cs"/>
              </a:rPr>
              <a:t>Third-Party Storage</a:t>
            </a:r>
          </a:p>
        </p:txBody>
      </p:sp>
      <p:sp>
        <p:nvSpPr>
          <p:cNvPr id="35" name="TextBox 34"/>
          <p:cNvSpPr txBox="1"/>
          <p:nvPr/>
        </p:nvSpPr>
        <p:spPr>
          <a:xfrm>
            <a:off x="1942784" y="3717970"/>
            <a:ext cx="1741530" cy="289919"/>
          </a:xfrm>
          <a:prstGeom prst="rect">
            <a:avLst/>
          </a:prstGeom>
        </p:spPr>
        <p:txBody>
          <a:bodyPr vert="horz" wrap="square" lIns="93260" tIns="46630" rIns="93260" bIns="46630" rtlCol="0" anchor="ctr">
            <a:noAutofit/>
          </a:bodyPr>
          <a:lstStyle/>
          <a:p>
            <a:pPr marL="0" marR="0" lvl="0" indent="0" algn="l" defTabSz="932597" rtl="0" eaLnBrk="1" fontAlgn="auto" latinLnBrk="0" hangingPunct="1">
              <a:lnSpc>
                <a:spcPct val="95000"/>
              </a:lnSpc>
              <a:spcBef>
                <a:spcPts val="408"/>
              </a:spcBef>
              <a:spcAft>
                <a:spcPts val="204"/>
              </a:spcAft>
              <a:buClrTx/>
              <a:buSzTx/>
              <a:buFontTx/>
              <a:buNone/>
              <a:tabLst/>
              <a:defRPr/>
            </a:pPr>
            <a:r>
              <a:rPr kumimoji="0" lang="en-US" sz="1224" b="0" i="0" u="none" strike="noStrike" kern="1200" cap="none" spc="0" normalizeH="0" baseline="0" noProof="0" dirty="0">
                <a:ln>
                  <a:noFill/>
                </a:ln>
                <a:solidFill>
                  <a:srgbClr val="505050"/>
                </a:solidFill>
                <a:effectLst/>
                <a:uLnTx/>
                <a:uFillTx/>
                <a:latin typeface="Segoe UI"/>
                <a:ea typeface="+mn-ea"/>
                <a:cs typeface="+mn-cs"/>
              </a:rPr>
              <a:t>FlexArray® and FLI</a:t>
            </a:r>
          </a:p>
        </p:txBody>
      </p:sp>
      <p:sp>
        <p:nvSpPr>
          <p:cNvPr id="45" name="TextBox 44"/>
          <p:cNvSpPr txBox="1"/>
          <p:nvPr/>
        </p:nvSpPr>
        <p:spPr>
          <a:xfrm>
            <a:off x="6189094" y="4080747"/>
            <a:ext cx="1383015" cy="469579"/>
          </a:xfrm>
          <a:prstGeom prst="rect">
            <a:avLst/>
          </a:prstGeom>
        </p:spPr>
        <p:txBody>
          <a:bodyPr vert="horz" wrap="square" lIns="93260" tIns="46630" rIns="93260" bIns="46630" rtlCol="0" anchor="ctr">
            <a:noAutofit/>
          </a:bodyPr>
          <a:lstStyle/>
          <a:p>
            <a:pPr marL="0" marR="0" lvl="0" indent="0" algn="l" defTabSz="932597" rtl="0" eaLnBrk="1" fontAlgn="auto" latinLnBrk="0" hangingPunct="1">
              <a:lnSpc>
                <a:spcPct val="95000"/>
              </a:lnSpc>
              <a:spcBef>
                <a:spcPts val="408"/>
              </a:spcBef>
              <a:spcAft>
                <a:spcPts val="204"/>
              </a:spcAft>
              <a:buClrTx/>
              <a:buSzTx/>
              <a:buFontTx/>
              <a:buNone/>
              <a:tabLst/>
              <a:defRPr/>
            </a:pPr>
            <a:r>
              <a:rPr kumimoji="0" lang="en-US" sz="1224" b="0" i="0" u="none" strike="noStrike" kern="1200" cap="none" spc="0" normalizeH="0" baseline="0" noProof="0" dirty="0">
                <a:ln>
                  <a:noFill/>
                </a:ln>
                <a:solidFill>
                  <a:srgbClr val="000000"/>
                </a:solidFill>
                <a:effectLst/>
                <a:uLnTx/>
                <a:uFillTx/>
                <a:latin typeface="Segoe UI"/>
                <a:ea typeface="+mn-ea"/>
                <a:cs typeface="+mn-cs"/>
              </a:rPr>
              <a:t>Object Store Backup</a:t>
            </a:r>
          </a:p>
        </p:txBody>
      </p:sp>
      <p:sp>
        <p:nvSpPr>
          <p:cNvPr id="46" name="TextBox 45"/>
          <p:cNvSpPr txBox="1"/>
          <p:nvPr/>
        </p:nvSpPr>
        <p:spPr>
          <a:xfrm>
            <a:off x="9249042" y="5175488"/>
            <a:ext cx="1658644" cy="371496"/>
          </a:xfrm>
          <a:prstGeom prst="rect">
            <a:avLst/>
          </a:prstGeom>
        </p:spPr>
        <p:txBody>
          <a:bodyPr vert="horz" wrap="square" lIns="93260" tIns="46630" rIns="93260" bIns="46630" rtlCol="0" anchor="ctr">
            <a:noAutofit/>
          </a:bodyPr>
          <a:lstStyle/>
          <a:p>
            <a:pPr marL="0" marR="0" lvl="0" indent="0" algn="ctr" defTabSz="932597" rtl="0" eaLnBrk="1" fontAlgn="auto" latinLnBrk="0" hangingPunct="1">
              <a:lnSpc>
                <a:spcPct val="95000"/>
              </a:lnSpc>
              <a:spcBef>
                <a:spcPts val="408"/>
              </a:spcBef>
              <a:spcAft>
                <a:spcPts val="204"/>
              </a:spcAft>
              <a:buClrTx/>
              <a:buSzTx/>
              <a:buFontTx/>
              <a:buNone/>
              <a:tabLst/>
              <a:defRPr/>
            </a:pPr>
            <a:r>
              <a:rPr kumimoji="0" lang="en-US" sz="1224" b="0" i="0" u="none" strike="noStrike" kern="1200" cap="none" spc="0" normalizeH="0" baseline="0" noProof="0" dirty="0">
                <a:ln>
                  <a:noFill/>
                </a:ln>
                <a:solidFill>
                  <a:srgbClr val="505050"/>
                </a:solidFill>
                <a:effectLst/>
                <a:uLnTx/>
                <a:uFillTx/>
                <a:latin typeface="Segoe UI"/>
                <a:ea typeface="+mn-ea"/>
                <a:cs typeface="+mn-cs"/>
              </a:rPr>
              <a:t>Third-Party Storage</a:t>
            </a:r>
          </a:p>
        </p:txBody>
      </p:sp>
      <p:cxnSp>
        <p:nvCxnSpPr>
          <p:cNvPr id="48" name="Straight Connector 47"/>
          <p:cNvCxnSpPr/>
          <p:nvPr/>
        </p:nvCxnSpPr>
        <p:spPr bwMode="gray">
          <a:xfrm flipH="1">
            <a:off x="8441206" y="3885181"/>
            <a:ext cx="951350"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bwMode="gray">
          <a:xfrm flipH="1">
            <a:off x="8308921" y="4722931"/>
            <a:ext cx="1232178" cy="5279"/>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bwMode="gray">
          <a:xfrm flipV="1">
            <a:off x="8303834" y="4361250"/>
            <a:ext cx="0" cy="361682"/>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1" name="Group 50"/>
          <p:cNvGrpSpPr/>
          <p:nvPr/>
        </p:nvGrpSpPr>
        <p:grpSpPr>
          <a:xfrm>
            <a:off x="9427706" y="4241319"/>
            <a:ext cx="1090523" cy="991793"/>
            <a:chOff x="8660508" y="3806308"/>
            <a:chExt cx="1508143" cy="1371604"/>
          </a:xfrm>
        </p:grpSpPr>
        <p:pic>
          <p:nvPicPr>
            <p:cNvPr id="52" name="image233.png"/>
            <p:cNvPicPr/>
            <p:nvPr/>
          </p:nvPicPr>
          <p:blipFill>
            <a:blip r:embed="rId4" cstate="email">
              <a:extLst>
                <a:ext uri="{28A0092B-C50C-407E-A947-70E740481C1C}">
                  <a14:useLocalDpi xmlns:a14="http://schemas.microsoft.com/office/drawing/2010/main"/>
                </a:ext>
              </a:extLst>
            </a:blip>
            <a:stretch>
              <a:fillRect/>
            </a:stretch>
          </p:blipFill>
          <p:spPr>
            <a:xfrm>
              <a:off x="9482845" y="3806308"/>
              <a:ext cx="685806" cy="1371604"/>
            </a:xfrm>
            <a:prstGeom prst="rect">
              <a:avLst/>
            </a:prstGeom>
            <a:ln w="12700">
              <a:miter lim="400000"/>
            </a:ln>
          </p:spPr>
        </p:pic>
        <p:pic>
          <p:nvPicPr>
            <p:cNvPr id="54" name="Picture 53" descr="3rdPartyStorage.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660508" y="4315328"/>
              <a:ext cx="694944" cy="862584"/>
            </a:xfrm>
            <a:prstGeom prst="rect">
              <a:avLst/>
            </a:prstGeom>
          </p:spPr>
        </p:pic>
      </p:grpSp>
      <p:sp>
        <p:nvSpPr>
          <p:cNvPr id="55" name="TextBox 54"/>
          <p:cNvSpPr txBox="1"/>
          <p:nvPr/>
        </p:nvSpPr>
        <p:spPr>
          <a:xfrm>
            <a:off x="7351725" y="3395144"/>
            <a:ext cx="1288743" cy="276632"/>
          </a:xfrm>
          <a:prstGeom prst="rect">
            <a:avLst/>
          </a:prstGeom>
        </p:spPr>
        <p:txBody>
          <a:bodyPr vert="horz" wrap="square" lIns="93260" tIns="46630" rIns="93260" bIns="46630" rtlCol="0" anchor="ctr">
            <a:noAutofit/>
          </a:bodyPr>
          <a:lstStyle/>
          <a:p>
            <a:pPr marL="0" marR="0" lvl="0" indent="0" algn="r" defTabSz="932597" rtl="0" eaLnBrk="1" fontAlgn="auto" latinLnBrk="0" hangingPunct="1">
              <a:lnSpc>
                <a:spcPct val="95000"/>
              </a:lnSpc>
              <a:spcBef>
                <a:spcPts val="408"/>
              </a:spcBef>
              <a:spcAft>
                <a:spcPts val="204"/>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a:ea typeface="+mn-ea"/>
                <a:cs typeface="+mn-cs"/>
              </a:rPr>
              <a:t>AltaVault</a:t>
            </a:r>
            <a:r>
              <a:rPr kumimoji="0" lang="en-US" sz="1428" b="0" i="0" u="none" strike="noStrike" kern="1200" cap="none" spc="0" normalizeH="0" baseline="30000" noProof="0" dirty="0">
                <a:ln>
                  <a:noFill/>
                </a:ln>
                <a:solidFill>
                  <a:srgbClr val="505050"/>
                </a:solidFill>
                <a:effectLst/>
                <a:uLnTx/>
                <a:uFillTx/>
                <a:latin typeface="Segoe UI"/>
                <a:ea typeface="+mn-ea"/>
                <a:cs typeface="+mn-cs"/>
              </a:rPr>
              <a:t>™</a:t>
            </a:r>
          </a:p>
        </p:txBody>
      </p:sp>
      <p:pic>
        <p:nvPicPr>
          <p:cNvPr id="58" name="Picture 57" descr="AVA.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214747" y="3682941"/>
            <a:ext cx="1408502" cy="754556"/>
          </a:xfrm>
          <a:prstGeom prst="rect">
            <a:avLst/>
          </a:prstGeom>
        </p:spPr>
      </p:pic>
      <p:grpSp>
        <p:nvGrpSpPr>
          <p:cNvPr id="62" name="Group 61"/>
          <p:cNvGrpSpPr/>
          <p:nvPr/>
        </p:nvGrpSpPr>
        <p:grpSpPr>
          <a:xfrm>
            <a:off x="9029384" y="3228212"/>
            <a:ext cx="1650771" cy="900426"/>
            <a:chOff x="8570383" y="3132803"/>
            <a:chExt cx="2282942" cy="1245248"/>
          </a:xfrm>
        </p:grpSpPr>
        <p:pic>
          <p:nvPicPr>
            <p:cNvPr id="63" name="image45.png"/>
            <p:cNvPicPr/>
            <p:nvPr/>
          </p:nvPicPr>
          <p:blipFill>
            <a:blip r:embed="rId7" cstate="email">
              <a:extLst>
                <a:ext uri="{28A0092B-C50C-407E-A947-70E740481C1C}">
                  <a14:useLocalDpi xmlns:a14="http://schemas.microsoft.com/office/drawing/2010/main"/>
                </a:ext>
              </a:extLst>
            </a:blip>
            <a:stretch>
              <a:fillRect/>
            </a:stretch>
          </p:blipFill>
          <p:spPr>
            <a:xfrm>
              <a:off x="8570383" y="3132803"/>
              <a:ext cx="2282942" cy="1245248"/>
            </a:xfrm>
            <a:prstGeom prst="rect">
              <a:avLst/>
            </a:prstGeom>
            <a:ln w="12700">
              <a:miter lim="400000"/>
            </a:ln>
          </p:spPr>
        </p:pic>
        <p:sp>
          <p:nvSpPr>
            <p:cNvPr id="67" name="TextBox 66"/>
            <p:cNvSpPr txBox="1"/>
            <p:nvPr/>
          </p:nvSpPr>
          <p:spPr>
            <a:xfrm>
              <a:off x="8950415" y="3543910"/>
              <a:ext cx="1604776" cy="503471"/>
            </a:xfrm>
            <a:prstGeom prst="rect">
              <a:avLst/>
            </a:prstGeom>
          </p:spPr>
          <p:txBody>
            <a:bodyPr vert="horz" wrap="square" lIns="93260" tIns="46630" rIns="93260" bIns="46630" rtlCol="0" anchor="ctr">
              <a:noAutofit/>
            </a:bodyPr>
            <a:lstStyle/>
            <a:p>
              <a:pPr marL="0" marR="0" lvl="0" indent="0" algn="ctr" defTabSz="932597" rtl="0" eaLnBrk="1" fontAlgn="auto" latinLnBrk="0" hangingPunct="1">
                <a:lnSpc>
                  <a:spcPct val="95000"/>
                </a:lnSpc>
                <a:spcBef>
                  <a:spcPts val="408"/>
                </a:spcBef>
                <a:spcAft>
                  <a:spcPts val="204"/>
                </a:spcAft>
                <a:buClrTx/>
                <a:buSzTx/>
                <a:buFontTx/>
                <a:buNone/>
                <a:tabLst/>
                <a:defRPr/>
              </a:pPr>
              <a:r>
                <a:rPr kumimoji="0" lang="en-US" sz="1224" b="0" i="0" u="none" strike="noStrike" kern="1200" cap="none" spc="0" normalizeH="0" baseline="0" noProof="0" dirty="0">
                  <a:ln>
                    <a:noFill/>
                  </a:ln>
                  <a:solidFill>
                    <a:srgbClr val="505050"/>
                  </a:solidFill>
                  <a:effectLst/>
                  <a:uLnTx/>
                  <a:uFillTx/>
                  <a:latin typeface="Segoe UI"/>
                  <a:ea typeface="+mn-ea"/>
                  <a:cs typeface="+mn-cs"/>
                </a:rPr>
                <a:t>Public Cloud Object Storage</a:t>
              </a:r>
            </a:p>
          </p:txBody>
        </p:sp>
      </p:grpSp>
      <p:sp>
        <p:nvSpPr>
          <p:cNvPr id="70" name="Rounded Rectangle 69"/>
          <p:cNvSpPr/>
          <p:nvPr/>
        </p:nvSpPr>
        <p:spPr>
          <a:xfrm>
            <a:off x="4400142" y="4783741"/>
            <a:ext cx="4904040" cy="698418"/>
          </a:xfrm>
          <a:prstGeom prst="roundRect">
            <a:avLst/>
          </a:prstGeom>
          <a:noFill/>
          <a:ln w="12700">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3260" rIns="0" bIns="9326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5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71" name="Rounded Rectangle 70"/>
          <p:cNvSpPr/>
          <p:nvPr/>
        </p:nvSpPr>
        <p:spPr>
          <a:xfrm>
            <a:off x="4483971" y="4994333"/>
            <a:ext cx="1147153" cy="415354"/>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3260" rIns="0" bIns="9326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5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StorageGRID</a:t>
            </a:r>
            <a:r>
              <a:rPr kumimoji="0" lang="en-US" sz="1224" b="0" i="0" u="none" strike="noStrike" kern="1200" cap="none" spc="0" normalizeH="0" baseline="30000" noProof="0" dirty="0">
                <a:ln>
                  <a:noFill/>
                </a:ln>
                <a:solidFill>
                  <a:srgbClr val="FFFFFF"/>
                </a:solidFill>
                <a:effectLst/>
                <a:uLnTx/>
                <a:uFillTx/>
                <a:latin typeface="Segoe UI"/>
                <a:ea typeface="+mn-ea"/>
                <a:cs typeface="+mn-cs"/>
              </a:rPr>
              <a:t>®</a:t>
            </a:r>
          </a:p>
        </p:txBody>
      </p:sp>
      <p:sp>
        <p:nvSpPr>
          <p:cNvPr id="72" name="Rounded Rectangle 71"/>
          <p:cNvSpPr/>
          <p:nvPr/>
        </p:nvSpPr>
        <p:spPr>
          <a:xfrm>
            <a:off x="5684856" y="4994333"/>
            <a:ext cx="1147153" cy="415354"/>
          </a:xfrm>
          <a:prstGeom prst="roundRect">
            <a:avLst/>
          </a:prstGeom>
          <a:solidFill>
            <a:schemeClr val="tx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3260" rIns="0" bIns="9326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5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OpenStack Swift</a:t>
            </a:r>
          </a:p>
        </p:txBody>
      </p:sp>
      <p:sp>
        <p:nvSpPr>
          <p:cNvPr id="73" name="Rounded Rectangle 72"/>
          <p:cNvSpPr/>
          <p:nvPr/>
        </p:nvSpPr>
        <p:spPr>
          <a:xfrm>
            <a:off x="6885741" y="4994333"/>
            <a:ext cx="1147153" cy="415354"/>
          </a:xfrm>
          <a:prstGeom prst="roundRect">
            <a:avLst/>
          </a:prstGeom>
          <a:solidFill>
            <a:schemeClr val="tx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3260" rIns="0" bIns="9326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5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CEPH</a:t>
            </a:r>
          </a:p>
        </p:txBody>
      </p:sp>
      <p:sp>
        <p:nvSpPr>
          <p:cNvPr id="74" name="Rounded Rectangle 73"/>
          <p:cNvSpPr/>
          <p:nvPr/>
        </p:nvSpPr>
        <p:spPr>
          <a:xfrm>
            <a:off x="8086626" y="4994333"/>
            <a:ext cx="1147153" cy="415354"/>
          </a:xfrm>
          <a:prstGeom prst="roundRect">
            <a:avLst/>
          </a:prstGeom>
          <a:solidFill>
            <a:schemeClr val="tx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3260" rIns="0" bIns="9326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5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Homegrown</a:t>
            </a:r>
          </a:p>
        </p:txBody>
      </p:sp>
      <p:sp>
        <p:nvSpPr>
          <p:cNvPr id="75" name="TextBox 74"/>
          <p:cNvSpPr txBox="1"/>
          <p:nvPr/>
        </p:nvSpPr>
        <p:spPr>
          <a:xfrm>
            <a:off x="6065776" y="4763467"/>
            <a:ext cx="1576982" cy="227971"/>
          </a:xfrm>
          <a:prstGeom prst="rect">
            <a:avLst/>
          </a:prstGeom>
        </p:spPr>
        <p:txBody>
          <a:bodyPr vert="horz" wrap="none" lIns="93260" tIns="46630" rIns="93260" bIns="46630" rtlCol="0" anchor="ctr">
            <a:noAutofit/>
          </a:bodyPr>
          <a:lstStyle/>
          <a:p>
            <a:pPr marL="0" marR="0" lvl="0" indent="0" algn="l" defTabSz="932597" rtl="0" eaLnBrk="1" fontAlgn="auto" latinLnBrk="0" hangingPunct="1">
              <a:lnSpc>
                <a:spcPct val="95000"/>
              </a:lnSpc>
              <a:spcBef>
                <a:spcPts val="408"/>
              </a:spcBef>
              <a:spcAft>
                <a:spcPts val="204"/>
              </a:spcAft>
              <a:buClrTx/>
              <a:buSzTx/>
              <a:buFontTx/>
              <a:buNone/>
              <a:tabLst/>
              <a:defRPr/>
            </a:pPr>
            <a:r>
              <a:rPr kumimoji="0" lang="en-US" sz="1224" b="0" i="0" u="none" strike="noStrike" kern="1200" cap="none" spc="0" normalizeH="0" baseline="0" noProof="0" dirty="0">
                <a:ln>
                  <a:noFill/>
                </a:ln>
                <a:solidFill>
                  <a:sysClr val="windowText" lastClr="000000"/>
                </a:solidFill>
                <a:effectLst/>
                <a:uLnTx/>
                <a:uFillTx/>
                <a:latin typeface="Segoe UI"/>
                <a:ea typeface="+mn-ea"/>
                <a:cs typeface="+mn-cs"/>
              </a:rPr>
              <a:t>Local Object Stores</a:t>
            </a:r>
          </a:p>
        </p:txBody>
      </p:sp>
      <p:cxnSp>
        <p:nvCxnSpPr>
          <p:cNvPr id="76" name="Straight Connector 75"/>
          <p:cNvCxnSpPr/>
          <p:nvPr/>
        </p:nvCxnSpPr>
        <p:spPr bwMode="gray">
          <a:xfrm flipV="1">
            <a:off x="7848897" y="4305939"/>
            <a:ext cx="0" cy="462102"/>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pic>
        <p:nvPicPr>
          <p:cNvPr id="68" name="Picture 67" descr="ONTAP-Select.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481208" y="1519644"/>
            <a:ext cx="688014" cy="688014"/>
          </a:xfrm>
          <a:prstGeom prst="rect">
            <a:avLst/>
          </a:prstGeom>
        </p:spPr>
      </p:pic>
      <p:sp>
        <p:nvSpPr>
          <p:cNvPr id="77" name="TextBox 76"/>
          <p:cNvSpPr txBox="1"/>
          <p:nvPr/>
        </p:nvSpPr>
        <p:spPr>
          <a:xfrm>
            <a:off x="6757581" y="1846830"/>
            <a:ext cx="1905368" cy="311090"/>
          </a:xfrm>
          <a:prstGeom prst="rect">
            <a:avLst/>
          </a:prstGeom>
        </p:spPr>
        <p:txBody>
          <a:bodyPr vert="horz" wrap="square" lIns="93260" tIns="46630" rIns="93260" bIns="46630" rtlCol="0" anchor="ctr">
            <a:noAutofit/>
          </a:bodyPr>
          <a:lstStyle/>
          <a:p>
            <a:pPr marL="0" marR="0" lvl="0" indent="0" algn="ctr" defTabSz="932597" rtl="0" eaLnBrk="1" fontAlgn="auto" latinLnBrk="0" hangingPunct="1">
              <a:lnSpc>
                <a:spcPct val="95000"/>
              </a:lnSpc>
              <a:spcBef>
                <a:spcPts val="408"/>
              </a:spcBef>
              <a:spcAft>
                <a:spcPts val="204"/>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a:ea typeface="+mn-ea"/>
                <a:cs typeface="+mn-cs"/>
              </a:rPr>
              <a:t>NetApp</a:t>
            </a:r>
            <a:r>
              <a:rPr kumimoji="0" lang="en-US" sz="1428" b="0" i="0" u="none" strike="noStrike" kern="1200" cap="none" spc="0" normalizeH="0" baseline="30000" noProof="0" dirty="0">
                <a:ln>
                  <a:noFill/>
                </a:ln>
                <a:solidFill>
                  <a:srgbClr val="505050"/>
                </a:solidFill>
                <a:effectLst/>
                <a:uLnTx/>
                <a:uFillTx/>
                <a:latin typeface="Segoe UI"/>
                <a:ea typeface="+mn-ea"/>
                <a:cs typeface="+mn-cs"/>
              </a:rPr>
              <a:t>®</a:t>
            </a:r>
            <a:r>
              <a:rPr kumimoji="0" lang="en-US" sz="1428" b="0" i="0" u="none" strike="noStrike" kern="1200" cap="none" spc="0" normalizeH="0" baseline="0" noProof="0" dirty="0">
                <a:ln>
                  <a:noFill/>
                </a:ln>
                <a:solidFill>
                  <a:srgbClr val="505050"/>
                </a:solidFill>
                <a:effectLst/>
                <a:uLnTx/>
                <a:uFillTx/>
                <a:latin typeface="Segoe UI"/>
                <a:ea typeface="+mn-ea"/>
                <a:cs typeface="+mn-cs"/>
              </a:rPr>
              <a:t> Private Storage for Cloud</a:t>
            </a:r>
            <a:endParaRPr kumimoji="0" lang="en-US" sz="1224"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79" name="Straight Connector 78"/>
          <p:cNvCxnSpPr/>
          <p:nvPr/>
        </p:nvCxnSpPr>
        <p:spPr bwMode="gray">
          <a:xfrm flipH="1">
            <a:off x="7529302" y="2753350"/>
            <a:ext cx="2205527"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1" name="Group 80"/>
          <p:cNvGrpSpPr/>
          <p:nvPr/>
        </p:nvGrpSpPr>
        <p:grpSpPr>
          <a:xfrm>
            <a:off x="8967946" y="861644"/>
            <a:ext cx="2104154" cy="2034929"/>
            <a:chOff x="2908963" y="1553283"/>
            <a:chExt cx="1166546" cy="1083016"/>
          </a:xfrm>
        </p:grpSpPr>
        <p:cxnSp>
          <p:nvCxnSpPr>
            <p:cNvPr id="93" name="Straight Connector 92"/>
            <p:cNvCxnSpPr/>
            <p:nvPr/>
          </p:nvCxnSpPr>
          <p:spPr bwMode="gray">
            <a:xfrm flipV="1">
              <a:off x="3517312" y="2193212"/>
              <a:ext cx="5092" cy="367728"/>
            </a:xfrm>
            <a:prstGeom prst="line">
              <a:avLst/>
            </a:prstGeom>
            <a:ln w="31750" cap="rnd">
              <a:solidFill>
                <a:srgbClr val="0067C5"/>
              </a:solidFill>
              <a:prstDash val="sysDot"/>
            </a:ln>
          </p:spPr>
          <p:style>
            <a:lnRef idx="1">
              <a:schemeClr val="accent1"/>
            </a:lnRef>
            <a:fillRef idx="0">
              <a:schemeClr val="accent1"/>
            </a:fillRef>
            <a:effectRef idx="0">
              <a:schemeClr val="accent1"/>
            </a:effectRef>
            <a:fontRef idx="minor">
              <a:schemeClr val="tx1"/>
            </a:fontRef>
          </p:style>
        </p:cxnSp>
        <p:pic>
          <p:nvPicPr>
            <p:cNvPr id="85" name="Picture 84" descr="ArrowCloud.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343815" y="2410355"/>
              <a:ext cx="347240" cy="225944"/>
            </a:xfrm>
            <a:prstGeom prst="rect">
              <a:avLst/>
            </a:prstGeom>
          </p:spPr>
        </p:pic>
        <p:grpSp>
          <p:nvGrpSpPr>
            <p:cNvPr id="86" name="Group 85"/>
            <p:cNvGrpSpPr/>
            <p:nvPr/>
          </p:nvGrpSpPr>
          <p:grpSpPr>
            <a:xfrm>
              <a:off x="2908963" y="1553283"/>
              <a:ext cx="1166546" cy="749181"/>
              <a:chOff x="2552907" y="882176"/>
              <a:chExt cx="1494995" cy="960119"/>
            </a:xfrm>
          </p:grpSpPr>
          <p:pic>
            <p:nvPicPr>
              <p:cNvPr id="87" name="Picture 86" descr="BlueCloud.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552907" y="882176"/>
                <a:ext cx="1494995" cy="960119"/>
              </a:xfrm>
              <a:prstGeom prst="rect">
                <a:avLst/>
              </a:prstGeom>
            </p:spPr>
          </p:pic>
          <p:pic>
            <p:nvPicPr>
              <p:cNvPr id="88" name="Picture 87" descr="MicrosoftAzure.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622821" y="1471794"/>
                <a:ext cx="1359866" cy="165095"/>
              </a:xfrm>
              <a:prstGeom prst="rect">
                <a:avLst/>
              </a:prstGeom>
            </p:spPr>
          </p:pic>
        </p:grpSp>
      </p:grpSp>
      <p:pic>
        <p:nvPicPr>
          <p:cNvPr id="57" name="Picture 56" descr="E2760-4U.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065990" y="5436779"/>
            <a:ext cx="1361058" cy="485444"/>
          </a:xfrm>
          <a:prstGeom prst="rect">
            <a:avLst/>
          </a:prstGeom>
        </p:spPr>
      </p:pic>
      <p:sp>
        <p:nvSpPr>
          <p:cNvPr id="97" name="Rectangle 96"/>
          <p:cNvSpPr/>
          <p:nvPr/>
        </p:nvSpPr>
        <p:spPr>
          <a:xfrm>
            <a:off x="2733964" y="5409686"/>
            <a:ext cx="1075882" cy="308710"/>
          </a:xfrm>
          <a:prstGeom prst="rect">
            <a:avLst/>
          </a:prstGeom>
        </p:spPr>
        <p:txBody>
          <a:bodyPr wrap="none" lIns="0" tIns="0" rIns="0" bIns="0" anchor="ctr">
            <a:noAutofit/>
          </a:bodyPr>
          <a:lstStyle/>
          <a:p>
            <a:pPr marL="0" marR="0" lvl="0" indent="0" algn="l" defTabSz="932742" rtl="0" eaLnBrk="1" fontAlgn="auto" latinLnBrk="0" hangingPunct="1">
              <a:lnSpc>
                <a:spcPct val="95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a:ea typeface="+mn-ea"/>
                <a:cs typeface="+mn-cs"/>
              </a:rPr>
              <a:t>SolidFire</a:t>
            </a:r>
            <a:r>
              <a:rPr kumimoji="0" lang="en-US" sz="1428" b="0" i="0" u="none" strike="noStrike" kern="1200" cap="none" spc="0" normalizeH="0" baseline="30000" noProof="0" dirty="0">
                <a:ln>
                  <a:noFill/>
                </a:ln>
                <a:solidFill>
                  <a:srgbClr val="505050"/>
                </a:solidFill>
                <a:effectLst/>
                <a:uLnTx/>
                <a:uFillTx/>
                <a:latin typeface="Segoe UI"/>
                <a:ea typeface="+mn-ea"/>
                <a:cs typeface="+mn-cs"/>
              </a:rPr>
              <a:t>®</a:t>
            </a:r>
            <a:endParaRPr kumimoji="0" lang="en-US" sz="1428"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98" name="Picture 97"/>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2694066" y="4956705"/>
            <a:ext cx="1346037" cy="482324"/>
          </a:xfrm>
          <a:prstGeom prst="rect">
            <a:avLst/>
          </a:prstGeom>
        </p:spPr>
      </p:pic>
      <p:sp>
        <p:nvSpPr>
          <p:cNvPr id="9" name="Left-Right Arrow 8"/>
          <p:cNvSpPr/>
          <p:nvPr/>
        </p:nvSpPr>
        <p:spPr>
          <a:xfrm>
            <a:off x="1080771" y="5977356"/>
            <a:ext cx="10152018" cy="488286"/>
          </a:xfrm>
          <a:prstGeom prst="leftRightArrow">
            <a:avLst>
              <a:gd name="adj1" fmla="val 61111"/>
              <a:gd name="adj2" fmla="val 5000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5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Common Data Services</a:t>
            </a:r>
          </a:p>
        </p:txBody>
      </p:sp>
      <p:pic>
        <p:nvPicPr>
          <p:cNvPr id="66" name="image11.png" descr="FAS8080EX-6U.png"/>
          <p:cNvPicPr/>
          <p:nvPr/>
        </p:nvPicPr>
        <p:blipFill>
          <a:blip r:embed="rId14" cstate="email">
            <a:extLst>
              <a:ext uri="{28A0092B-C50C-407E-A947-70E740481C1C}">
                <a14:useLocalDpi xmlns:a14="http://schemas.microsoft.com/office/drawing/2010/main"/>
              </a:ext>
            </a:extLst>
          </a:blip>
          <a:stretch>
            <a:fillRect/>
          </a:stretch>
        </p:blipFill>
        <p:spPr>
          <a:xfrm>
            <a:off x="3573059" y="3363429"/>
            <a:ext cx="1417195" cy="748014"/>
          </a:xfrm>
          <a:prstGeom prst="rect">
            <a:avLst/>
          </a:prstGeom>
          <a:ln w="12700">
            <a:miter lim="400000"/>
          </a:ln>
        </p:spPr>
      </p:pic>
      <p:pic>
        <p:nvPicPr>
          <p:cNvPr id="69" name="Picture 68"/>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676290" y="2298146"/>
            <a:ext cx="1571250" cy="567396"/>
          </a:xfrm>
          <a:prstGeom prst="rect">
            <a:avLst/>
          </a:prstGeom>
        </p:spPr>
      </p:pic>
      <p:pic>
        <p:nvPicPr>
          <p:cNvPr id="78" name="image11.png" descr="FAS8080EX-6U.png"/>
          <p:cNvPicPr/>
          <p:nvPr/>
        </p:nvPicPr>
        <p:blipFill>
          <a:blip r:embed="rId14" cstate="email">
            <a:extLst>
              <a:ext uri="{28A0092B-C50C-407E-A947-70E740481C1C}">
                <a14:useLocalDpi xmlns:a14="http://schemas.microsoft.com/office/drawing/2010/main"/>
              </a:ext>
            </a:extLst>
          </a:blip>
          <a:stretch>
            <a:fillRect/>
          </a:stretch>
        </p:blipFill>
        <p:spPr>
          <a:xfrm>
            <a:off x="6659828" y="2393047"/>
            <a:ext cx="1417195" cy="748014"/>
          </a:xfrm>
          <a:prstGeom prst="rect">
            <a:avLst/>
          </a:prstGeom>
          <a:ln w="12700">
            <a:miter lim="400000"/>
          </a:ln>
        </p:spPr>
      </p:pic>
    </p:spTree>
    <p:extLst>
      <p:ext uri="{BB962C8B-B14F-4D97-AF65-F5344CB8AC3E}">
        <p14:creationId xmlns:p14="http://schemas.microsoft.com/office/powerpoint/2010/main" val="1811427198"/>
      </p:ext>
    </p:extLst>
  </p:cSld>
  <p:clrMapOvr>
    <a:masterClrMapping/>
  </p:clrMapOvr>
  <p:transition spd="med">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350460" y="1893469"/>
            <a:ext cx="11582335" cy="4095205"/>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93236" rIns="0" bIns="93236" rtlCol="0" anchor="ctr"/>
          <a:lstStyle/>
          <a:p>
            <a:pPr marL="0" marR="0" lvl="0" indent="0" algn="ctr" defTabSz="932742" rtl="0" eaLnBrk="1" fontAlgn="auto" latinLnBrk="0" hangingPunct="1">
              <a:lnSpc>
                <a:spcPct val="95000"/>
              </a:lnSpc>
              <a:spcBef>
                <a:spcPts val="0"/>
              </a:spcBef>
              <a:spcAft>
                <a:spcPts val="0"/>
              </a:spcAft>
              <a:buClrTx/>
              <a:buSzTx/>
              <a:buFontTx/>
              <a:buNone/>
              <a:tabLst/>
              <a:defRPr/>
            </a:pPr>
            <a:endParaRPr kumimoji="0" lang="en-US" sz="1428" b="0" i="0" u="none" strike="noStrike" kern="1200" cap="none" spc="0" normalizeH="0" baseline="0" noProof="0" dirty="0">
              <a:ln>
                <a:noFill/>
              </a:ln>
              <a:solidFill>
                <a:srgbClr val="FFFFFF"/>
              </a:solidFill>
              <a:effectLst/>
              <a:uLnTx/>
              <a:uFillTx/>
              <a:latin typeface="Segoe UI"/>
              <a:ea typeface="+mn-ea"/>
              <a:cs typeface="+mn-cs"/>
            </a:endParaRPr>
          </a:p>
        </p:txBody>
      </p:sp>
      <p:sp>
        <p:nvSpPr>
          <p:cNvPr id="21" name="Line 8"/>
          <p:cNvSpPr>
            <a:spLocks noChangeShapeType="1"/>
          </p:cNvSpPr>
          <p:nvPr/>
        </p:nvSpPr>
        <p:spPr bwMode="auto">
          <a:xfrm flipV="1">
            <a:off x="6219324" y="2757784"/>
            <a:ext cx="1316527" cy="1030201"/>
          </a:xfrm>
          <a:prstGeom prst="line">
            <a:avLst/>
          </a:prstGeom>
          <a:noFill/>
          <a:ln w="3">
            <a:noFill/>
            <a:prstDash val="solid"/>
            <a:round/>
            <a:headEnd/>
            <a:tailEnd/>
          </a:ln>
          <a:extLst>
            <a:ext uri="{909E8E84-426E-40DD-AFC4-6F175D3DCCD1}">
              <a14:hiddenFill xmlns:a14="http://schemas.microsoft.com/office/drawing/2010/main">
                <a:noFill/>
              </a14:hiddenFill>
            </a:ext>
          </a:extLst>
        </p:spPr>
        <p:txBody>
          <a:bodyPr vert="horz" wrap="square" lIns="93199" tIns="46600" rIns="93199" bIns="4660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CA" sz="1937" b="0" i="0" u="none" strike="noStrike" kern="1200" cap="none" spc="0" normalizeH="0" baseline="0" noProof="0" dirty="0">
              <a:ln>
                <a:noFill/>
              </a:ln>
              <a:solidFill>
                <a:srgbClr val="505050"/>
              </a:solidFill>
              <a:effectLst/>
              <a:uLnTx/>
              <a:uFillTx/>
              <a:latin typeface="Segoe UI"/>
              <a:ea typeface="+mn-ea"/>
              <a:cs typeface="+mn-cs"/>
            </a:endParaRPr>
          </a:p>
        </p:txBody>
      </p:sp>
      <p:sp>
        <p:nvSpPr>
          <p:cNvPr id="22" name="Line 8"/>
          <p:cNvSpPr>
            <a:spLocks noChangeShapeType="1"/>
          </p:cNvSpPr>
          <p:nvPr/>
        </p:nvSpPr>
        <p:spPr bwMode="auto">
          <a:xfrm flipV="1">
            <a:off x="6009866" y="3040950"/>
            <a:ext cx="1316527" cy="1030201"/>
          </a:xfrm>
          <a:prstGeom prst="line">
            <a:avLst/>
          </a:prstGeom>
          <a:noFill/>
          <a:ln w="3">
            <a:noFill/>
            <a:prstDash val="solid"/>
            <a:round/>
            <a:headEnd/>
            <a:tailEnd/>
          </a:ln>
          <a:extLst>
            <a:ext uri="{909E8E84-426E-40DD-AFC4-6F175D3DCCD1}">
              <a14:hiddenFill xmlns:a14="http://schemas.microsoft.com/office/drawing/2010/main">
                <a:noFill/>
              </a14:hiddenFill>
            </a:ext>
          </a:extLst>
        </p:spPr>
        <p:txBody>
          <a:bodyPr vert="horz" wrap="square" lIns="93199" tIns="46600" rIns="93199" bIns="4660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CA" sz="1937" b="0" i="0" u="none" strike="noStrike" kern="1200" cap="none" spc="0" normalizeH="0" baseline="0" noProof="0" dirty="0">
              <a:ln>
                <a:noFill/>
              </a:ln>
              <a:solidFill>
                <a:srgbClr val="505050"/>
              </a:soli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a:t>NetApp AltaVault Cloud-Integrated Storage Backup</a:t>
            </a:r>
          </a:p>
        </p:txBody>
      </p:sp>
      <p:sp>
        <p:nvSpPr>
          <p:cNvPr id="12" name="Footer Placeholder 11"/>
          <p:cNvSpPr>
            <a:spLocks noGrp="1"/>
          </p:cNvSpPr>
          <p:nvPr>
            <p:ph type="ftr" sz="quarter" idx="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dirty="0">
                <a:ln>
                  <a:noFill/>
                </a:ln>
                <a:solidFill>
                  <a:srgbClr val="EAEAEA"/>
                </a:solidFill>
                <a:effectLst/>
                <a:uLnTx/>
                <a:uFillTx/>
                <a:latin typeface="Segoe UI"/>
                <a:ea typeface="+mn-ea"/>
                <a:cs typeface="+mn-cs"/>
              </a:rPr>
              <a:t>© 2016 NetApp, Inc. All rights reserved. </a:t>
            </a:r>
          </a:p>
        </p:txBody>
      </p:sp>
      <p:sp>
        <p:nvSpPr>
          <p:cNvPr id="13" name="Slide Number Placeholder 12"/>
          <p:cNvSpPr>
            <a:spLocks noGrp="1"/>
          </p:cNvSpPr>
          <p:nvPr>
            <p:ph type="sldNum" sz="quarter" idx="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B071A5F3-A4FF-4CEE-8215-C08835B585C1}" type="slidenum">
              <a:rPr kumimoji="0" lang="en-US" sz="1122" b="1" i="0" u="none" strike="noStrike" kern="1200" cap="none" spc="0" normalizeH="0" baseline="0" noProof="0" smtClean="0">
                <a:ln>
                  <a:noFill/>
                </a:ln>
                <a:solidFill>
                  <a:srgbClr val="EAEAEA">
                    <a:lumMod val="50000"/>
                  </a:srgbClr>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75</a:t>
            </a:fld>
            <a:endParaRPr kumimoji="0" lang="en-US" sz="1122" b="1" i="0" u="none" strike="noStrike" kern="1200" cap="none" spc="0" normalizeH="0" baseline="0" noProof="0" dirty="0">
              <a:ln>
                <a:noFill/>
              </a:ln>
              <a:solidFill>
                <a:srgbClr val="EAEAEA">
                  <a:lumMod val="50000"/>
                </a:srgbClr>
              </a:solidFill>
              <a:effectLst/>
              <a:uLnTx/>
              <a:uFillTx/>
              <a:latin typeface="Segoe UI"/>
              <a:ea typeface="+mn-ea"/>
              <a:cs typeface="+mn-cs"/>
            </a:endParaRPr>
          </a:p>
        </p:txBody>
      </p:sp>
      <p:sp>
        <p:nvSpPr>
          <p:cNvPr id="7" name="Oval 6"/>
          <p:cNvSpPr/>
          <p:nvPr/>
        </p:nvSpPr>
        <p:spPr>
          <a:xfrm>
            <a:off x="9869209" y="4937576"/>
            <a:ext cx="1443098" cy="125844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3236" rIns="0" bIns="93236"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5000"/>
              </a:lnSpc>
              <a:spcBef>
                <a:spcPts val="0"/>
              </a:spcBef>
              <a:spcAft>
                <a:spcPts val="0"/>
              </a:spcAft>
              <a:buClrTx/>
              <a:buSzTx/>
              <a:buFontTx/>
              <a:buNone/>
              <a:tabLst/>
              <a:defRPr/>
            </a:pPr>
            <a:endParaRPr kumimoji="0" lang="en-US" sz="193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 name="TextBox 15"/>
          <p:cNvSpPr txBox="1"/>
          <p:nvPr/>
        </p:nvSpPr>
        <p:spPr>
          <a:xfrm>
            <a:off x="1570360" y="3429084"/>
            <a:ext cx="9706139" cy="1707667"/>
          </a:xfrm>
          <a:prstGeom prst="rect">
            <a:avLst/>
          </a:prstGeom>
        </p:spPr>
        <p:txBody>
          <a:bodyPr vert="horz" wrap="square" lIns="0" tIns="0" rIns="93236" bIns="46618" rtlCol="0" anchor="t">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39" b="0" i="0" u="none" strike="noStrike" kern="1200" cap="none" spc="0" normalizeH="0" baseline="0" noProof="0" dirty="0">
                <a:ln>
                  <a:noFill/>
                </a:ln>
                <a:solidFill>
                  <a:srgbClr val="FFFFFF"/>
                </a:solidFill>
                <a:effectLst/>
                <a:uLnTx/>
                <a:uFillTx/>
                <a:latin typeface="Segoe UI"/>
                <a:ea typeface="+mn-ea"/>
                <a:cs typeface="+mn-cs"/>
              </a:rPr>
              <a:t>NetApp</a:t>
            </a:r>
            <a:r>
              <a:rPr kumimoji="0" lang="en-US" sz="2039" b="0" i="0" u="none" strike="noStrike" kern="1200" cap="none" spc="0" normalizeH="0" baseline="30000" noProof="0" dirty="0">
                <a:ln>
                  <a:noFill/>
                </a:ln>
                <a:solidFill>
                  <a:srgbClr val="FFFFFF"/>
                </a:solidFill>
                <a:effectLst/>
                <a:uLnTx/>
                <a:uFillTx/>
                <a:latin typeface="Segoe UI"/>
                <a:ea typeface="+mn-ea"/>
                <a:cs typeface="+mn-cs"/>
              </a:rPr>
              <a:t> </a:t>
            </a:r>
            <a:r>
              <a:rPr kumimoji="0" lang="en-US" sz="2039" b="0" i="0" u="none" strike="noStrike" kern="1200" cap="none" spc="0" normalizeH="0" baseline="0" noProof="0" dirty="0">
                <a:ln>
                  <a:noFill/>
                </a:ln>
                <a:solidFill>
                  <a:srgbClr val="FFFFFF"/>
                </a:solidFill>
                <a:effectLst/>
                <a:uLnTx/>
                <a:uFillTx/>
                <a:latin typeface="Segoe UI"/>
                <a:ea typeface="+mn-ea"/>
                <a:cs typeface="+mn-cs"/>
              </a:rPr>
              <a:t>AltaVault enables customers to securely back up data to any cloud at up to 90% less cost compared to on-premises solutions. AltaVault gives customers the power to tap into cloud economics while preserving investments in existing backup infrastructure and meeting backup and recovery SLAs.</a:t>
            </a:r>
          </a:p>
        </p:txBody>
      </p:sp>
      <p:sp>
        <p:nvSpPr>
          <p:cNvPr id="17" name="Isosceles Triangle 16"/>
          <p:cNvSpPr/>
          <p:nvPr/>
        </p:nvSpPr>
        <p:spPr>
          <a:xfrm rot="5400000">
            <a:off x="247531" y="2480842"/>
            <a:ext cx="567302" cy="394648"/>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93236" rIns="0" bIns="93236" rtlCol="0" anchor="ctr"/>
          <a:lstStyle/>
          <a:p>
            <a:pPr marL="0" marR="0" lvl="0" indent="0" algn="ctr" defTabSz="932742" rtl="0" eaLnBrk="1" fontAlgn="auto" latinLnBrk="0" hangingPunct="1">
              <a:lnSpc>
                <a:spcPct val="95000"/>
              </a:lnSpc>
              <a:spcBef>
                <a:spcPts val="0"/>
              </a:spcBef>
              <a:spcAft>
                <a:spcPts val="0"/>
              </a:spcAft>
              <a:buClrTx/>
              <a:buSzTx/>
              <a:buFontTx/>
              <a:buNone/>
              <a:tabLst/>
              <a:defRPr/>
            </a:pPr>
            <a:endParaRPr kumimoji="0" lang="en-US" sz="1428"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p:nvSpPr>
        <p:spPr>
          <a:xfrm>
            <a:off x="8051298" y="4937576"/>
            <a:ext cx="1443098" cy="125844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3236" rIns="0" bIns="93236"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5000"/>
              </a:lnSpc>
              <a:spcBef>
                <a:spcPts val="0"/>
              </a:spcBef>
              <a:spcAft>
                <a:spcPts val="0"/>
              </a:spcAft>
              <a:buClrTx/>
              <a:buSzTx/>
              <a:buFontTx/>
              <a:buNone/>
              <a:tabLst/>
              <a:defRPr/>
            </a:pPr>
            <a:endParaRPr kumimoji="0" lang="en-US" sz="193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 name="TextBox 23"/>
          <p:cNvSpPr txBox="1"/>
          <p:nvPr/>
        </p:nvSpPr>
        <p:spPr>
          <a:xfrm>
            <a:off x="4368164" y="1354892"/>
            <a:ext cx="1243148" cy="932361"/>
          </a:xfrm>
          <a:prstGeom prst="rect">
            <a:avLst/>
          </a:prstGeom>
        </p:spPr>
        <p:txBody>
          <a:bodyPr vert="horz" wrap="none" lIns="93236" tIns="46618" rIns="93236" bIns="46618" rtlCol="0" anchor="ctr">
            <a:noAutofit/>
          </a:bodyPr>
          <a:lstStyle/>
          <a:p>
            <a:pPr marL="0" marR="0" lvl="0" indent="0" algn="l" defTabSz="932317" rtl="0" eaLnBrk="1" fontAlgn="auto" latinLnBrk="0" hangingPunct="1">
              <a:lnSpc>
                <a:spcPct val="95000"/>
              </a:lnSpc>
              <a:spcBef>
                <a:spcPts val="408"/>
              </a:spcBef>
              <a:spcAft>
                <a:spcPts val="204"/>
              </a:spcAft>
              <a:buClrTx/>
              <a:buSzTx/>
              <a:buFontTx/>
              <a:buNone/>
              <a:tabLst/>
              <a:defRPr/>
            </a:pPr>
            <a:endParaRPr kumimoji="0" lang="en-US" sz="1835" b="0" i="0" u="none" strike="noStrike" kern="1200" cap="none" spc="0" normalizeH="0" baseline="0" noProof="0" dirty="0">
              <a:ln>
                <a:noFill/>
              </a:ln>
              <a:solidFill>
                <a:sysClr val="windowText" lastClr="000000"/>
              </a:solidFill>
              <a:effectLst/>
              <a:uLnTx/>
              <a:uFillTx/>
              <a:latin typeface="Segoe UI"/>
              <a:ea typeface="+mn-ea"/>
              <a:cs typeface="+mn-cs"/>
            </a:endParaRPr>
          </a:p>
        </p:txBody>
      </p:sp>
      <p:pic>
        <p:nvPicPr>
          <p:cNvPr id="34" name="Picture 33"/>
          <p:cNvPicPr>
            <a:picLocks noChangeAspect="1"/>
          </p:cNvPicPr>
          <p:nvPr/>
        </p:nvPicPr>
        <p:blipFill>
          <a:blip r:embed="rId4"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8146546" y="5066947"/>
            <a:ext cx="1252604" cy="999698"/>
          </a:xfrm>
          <a:prstGeom prst="rect">
            <a:avLst/>
          </a:prstGeom>
        </p:spPr>
      </p:pic>
      <p:pic>
        <p:nvPicPr>
          <p:cNvPr id="35" name="Picture 34"/>
          <p:cNvPicPr>
            <a:picLocks noChangeAspect="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019200" y="5199974"/>
            <a:ext cx="1143116" cy="733642"/>
          </a:xfrm>
          <a:prstGeom prst="rect">
            <a:avLst/>
          </a:prstGeom>
        </p:spPr>
      </p:pic>
      <p:grpSp>
        <p:nvGrpSpPr>
          <p:cNvPr id="5" name="Group 4"/>
          <p:cNvGrpSpPr/>
          <p:nvPr/>
        </p:nvGrpSpPr>
        <p:grpSpPr>
          <a:xfrm>
            <a:off x="6219324" y="4937576"/>
            <a:ext cx="1443098" cy="1258440"/>
            <a:chOff x="6095478" y="4841200"/>
            <a:chExt cx="1414930" cy="1233877"/>
          </a:xfrm>
        </p:grpSpPr>
        <p:sp>
          <p:nvSpPr>
            <p:cNvPr id="23" name="Oval 22"/>
            <p:cNvSpPr/>
            <p:nvPr/>
          </p:nvSpPr>
          <p:spPr>
            <a:xfrm>
              <a:off x="6095478" y="4841200"/>
              <a:ext cx="1414930" cy="1233877"/>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3236" rIns="0" bIns="93236"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5000"/>
                </a:lnSpc>
                <a:spcBef>
                  <a:spcPts val="0"/>
                </a:spcBef>
                <a:spcAft>
                  <a:spcPts val="0"/>
                </a:spcAft>
                <a:buClrTx/>
                <a:buSzTx/>
                <a:buFontTx/>
                <a:buNone/>
                <a:tabLst/>
                <a:defRPr/>
              </a:pPr>
              <a:endParaRPr kumimoji="0" lang="en-US" sz="1937"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36" name="Picture 35"/>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376833" y="5049811"/>
              <a:ext cx="852220" cy="816654"/>
            </a:xfrm>
            <a:prstGeom prst="rect">
              <a:avLst/>
            </a:prstGeom>
          </p:spPr>
        </p:pic>
      </p:grpSp>
      <p:pic>
        <p:nvPicPr>
          <p:cNvPr id="46" name="Picture 4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984871" y="1588056"/>
            <a:ext cx="1247023" cy="1119124"/>
          </a:xfrm>
          <a:prstGeom prst="rect">
            <a:avLst/>
          </a:prstGeom>
        </p:spPr>
      </p:pic>
      <p:pic>
        <p:nvPicPr>
          <p:cNvPr id="50" name="Picture 4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295545" y="1601065"/>
            <a:ext cx="1247023" cy="1119124"/>
          </a:xfrm>
          <a:prstGeom prst="rect">
            <a:avLst/>
          </a:prstGeom>
        </p:spPr>
      </p:pic>
      <p:pic>
        <p:nvPicPr>
          <p:cNvPr id="3" name="Picture 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923623" y="1284333"/>
            <a:ext cx="1865369" cy="1647742"/>
          </a:xfrm>
          <a:prstGeom prst="rect">
            <a:avLst/>
          </a:prstGeom>
        </p:spPr>
      </p:pic>
    </p:spTree>
    <p:custDataLst>
      <p:tags r:id="rId1"/>
    </p:custDataLst>
    <p:extLst>
      <p:ext uri="{BB962C8B-B14F-4D97-AF65-F5344CB8AC3E}">
        <p14:creationId xmlns:p14="http://schemas.microsoft.com/office/powerpoint/2010/main" val="1578672713"/>
      </p:ext>
    </p:extLst>
  </p:cSld>
  <p:clrMapOvr>
    <a:masterClrMapping/>
  </p:clrMapOvr>
  <p:transition spd="med">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0000"/>
                </a:solidFill>
              </a:rPr>
              <a:t>NetApp AltaVault </a:t>
            </a:r>
            <a:r>
              <a:rPr lang="en-US" sz="3264" dirty="0">
                <a:solidFill>
                  <a:srgbClr val="000000"/>
                </a:solidFill>
              </a:rPr>
              <a:t>Cloud-Integrated Storage Backup</a:t>
            </a:r>
          </a:p>
        </p:txBody>
      </p:sp>
      <p:sp>
        <p:nvSpPr>
          <p:cNvPr id="3" name="Content Placeholder 2"/>
          <p:cNvSpPr>
            <a:spLocks noGrp="1"/>
          </p:cNvSpPr>
          <p:nvPr>
            <p:ph sz="quarter" idx="14"/>
          </p:nvPr>
        </p:nvSpPr>
        <p:spPr>
          <a:xfrm>
            <a:off x="270700" y="1894350"/>
            <a:ext cx="11445822" cy="4442820"/>
          </a:xfrm>
        </p:spPr>
        <p:txBody>
          <a:bodyPr/>
          <a:lstStyle/>
          <a:p>
            <a:pPr marL="0" indent="0">
              <a:lnSpc>
                <a:spcPct val="100000"/>
              </a:lnSpc>
              <a:buNone/>
            </a:pPr>
            <a:r>
              <a:rPr lang="en-US" dirty="0">
                <a:solidFill>
                  <a:srgbClr val="0067C5"/>
                </a:solidFill>
              </a:rPr>
              <a:t>Enjoy the flexibility and economics of cloud. Cut management costs and complexity. </a:t>
            </a:r>
          </a:p>
          <a:p>
            <a:r>
              <a:rPr lang="en-US" dirty="0">
                <a:solidFill>
                  <a:srgbClr val="0067C5"/>
                </a:solidFill>
              </a:rPr>
              <a:t>Get unparalleled efficiency. </a:t>
            </a:r>
            <a:r>
              <a:rPr lang="en-US" dirty="0"/>
              <a:t>AltaVault</a:t>
            </a:r>
            <a:r>
              <a:rPr lang="en-US" baseline="30000" dirty="0"/>
              <a:t>™</a:t>
            </a:r>
            <a:r>
              <a:rPr lang="en-US" dirty="0"/>
              <a:t> uses inline deduplication and compression for up to 30:1 data-reduction ratios</a:t>
            </a:r>
          </a:p>
          <a:p>
            <a:r>
              <a:rPr lang="en-US" dirty="0">
                <a:solidFill>
                  <a:srgbClr val="0067C5"/>
                </a:solidFill>
              </a:rPr>
              <a:t>Take advantage of an open platform. </a:t>
            </a:r>
            <a:r>
              <a:rPr lang="en-US" dirty="0"/>
              <a:t>AltaVault integrates with ease into your existing backup architecture</a:t>
            </a:r>
          </a:p>
          <a:p>
            <a:r>
              <a:rPr lang="en-US" dirty="0">
                <a:solidFill>
                  <a:srgbClr val="0067C5"/>
                </a:solidFill>
              </a:rPr>
              <a:t>Keep your data secure. </a:t>
            </a:r>
            <a:r>
              <a:rPr lang="en-US" dirty="0"/>
              <a:t>Data is encrypted and secure at all times using </a:t>
            </a:r>
            <a:br>
              <a:rPr lang="en-US" dirty="0"/>
            </a:br>
            <a:r>
              <a:rPr lang="en-US" dirty="0"/>
              <a:t>FIPS 140-2 level 1 validated encryption</a:t>
            </a:r>
          </a:p>
          <a:p>
            <a:r>
              <a:rPr lang="en-US" dirty="0">
                <a:solidFill>
                  <a:srgbClr val="0067C5"/>
                </a:solidFill>
              </a:rPr>
              <a:t>Simplify deployment. </a:t>
            </a:r>
            <a:r>
              <a:rPr lang="en-US" dirty="0"/>
              <a:t>Go from zero to protected in less than 30 minutes </a:t>
            </a:r>
          </a:p>
          <a:p>
            <a:endParaRPr lang="en-US" dirty="0"/>
          </a:p>
        </p:txBody>
      </p:sp>
      <p:sp>
        <p:nvSpPr>
          <p:cNvPr id="4" name="Text Placeholder 3"/>
          <p:cNvSpPr>
            <a:spLocks noGrp="1"/>
          </p:cNvSpPr>
          <p:nvPr>
            <p:ph type="body" idx="10"/>
          </p:nvPr>
        </p:nvSpPr>
        <p:spPr/>
        <p:txBody>
          <a:bodyPr/>
          <a:lstStyle/>
          <a:p>
            <a:r>
              <a:rPr lang="en-US" dirty="0"/>
              <a:t>Securely back up data to any cloud at up to 90% lower cost compared with on-premises solutions</a:t>
            </a:r>
            <a:endParaRPr lang="en-US" sz="1938" dirty="0"/>
          </a:p>
        </p:txBody>
      </p:sp>
      <p:pic>
        <p:nvPicPr>
          <p:cNvPr id="14" name="AltaVault-400-6U-SS10S.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566814" y="3731452"/>
            <a:ext cx="2361966" cy="2471542"/>
          </a:xfrm>
          <a:prstGeom prst="rect">
            <a:avLst/>
          </a:prstGeom>
          <a:ln w="12700">
            <a:miter lim="400000"/>
          </a:ln>
        </p:spPr>
      </p:pic>
      <p:sp>
        <p:nvSpPr>
          <p:cNvPr id="15" name="Footer Placeholder 14"/>
          <p:cNvSpPr>
            <a:spLocks noGrp="1"/>
          </p:cNvSpPr>
          <p:nvPr>
            <p:ph type="ftr" sz="quarter" idx="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dirty="0">
                <a:ln>
                  <a:noFill/>
                </a:ln>
                <a:solidFill>
                  <a:srgbClr val="EAEAEA"/>
                </a:solidFill>
                <a:effectLst/>
                <a:uLnTx/>
                <a:uFillTx/>
                <a:latin typeface="Segoe UI"/>
                <a:ea typeface="+mn-ea"/>
                <a:cs typeface="+mn-cs"/>
              </a:rPr>
              <a:t>© 2016 NetApp, Inc. All rights reserved. </a:t>
            </a:r>
          </a:p>
        </p:txBody>
      </p:sp>
      <p:sp>
        <p:nvSpPr>
          <p:cNvPr id="16" name="Slide Number Placeholder 15"/>
          <p:cNvSpPr>
            <a:spLocks noGrp="1"/>
          </p:cNvSpPr>
          <p:nvPr>
            <p:ph type="sldNum" sz="quarter" idx="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B071A5F3-A4FF-4CEE-8215-C08835B585C1}" type="slidenum">
              <a:rPr kumimoji="0" lang="en-US" sz="1071" b="1" i="0" u="none" strike="noStrike" kern="1200" cap="none" spc="0" normalizeH="0" baseline="0" noProof="0" smtClean="0">
                <a:ln>
                  <a:noFill/>
                </a:ln>
                <a:solidFill>
                  <a:srgbClr val="EAEAEA">
                    <a:lumMod val="50000"/>
                  </a:srgbClr>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76</a:t>
            </a:fld>
            <a:endParaRPr kumimoji="0" lang="en-US" sz="1071" b="1" i="0" u="none" strike="noStrike" kern="1200" cap="none" spc="0" normalizeH="0" baseline="0" noProof="0" dirty="0">
              <a:ln>
                <a:noFill/>
              </a:ln>
              <a:solidFill>
                <a:srgbClr val="EAEAEA">
                  <a:lumMod val="50000"/>
                </a:srgbClr>
              </a:solidFill>
              <a:effectLst/>
              <a:uLnTx/>
              <a:uFillTx/>
              <a:latin typeface="Segoe UI"/>
              <a:ea typeface="+mn-ea"/>
              <a:cs typeface="+mn-cs"/>
            </a:endParaRPr>
          </a:p>
        </p:txBody>
      </p:sp>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722304" y="5181112"/>
            <a:ext cx="1049246" cy="941632"/>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748363" y="5171233"/>
            <a:ext cx="1060255" cy="951511"/>
          </a:xfrm>
          <a:prstGeom prst="rect">
            <a:avLst/>
          </a:prstGeom>
        </p:spPr>
      </p:pic>
    </p:spTree>
    <p:extLst>
      <p:ext uri="{BB962C8B-B14F-4D97-AF65-F5344CB8AC3E}">
        <p14:creationId xmlns:p14="http://schemas.microsoft.com/office/powerpoint/2010/main" val="2051771749"/>
      </p:ext>
    </p:extLst>
  </p:cSld>
  <p:clrMapOvr>
    <a:masterClrMapping/>
  </p:clrMapOvr>
  <p:transition spd="med">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699" y="245114"/>
            <a:ext cx="11890693" cy="660304"/>
          </a:xfrm>
        </p:spPr>
        <p:txBody>
          <a:bodyPr/>
          <a:lstStyle/>
          <a:p>
            <a:r>
              <a:rPr lang="en-US" dirty="0"/>
              <a:t>AltaVault Ecosystem for Azure</a:t>
            </a:r>
          </a:p>
        </p:txBody>
      </p:sp>
      <p:sp>
        <p:nvSpPr>
          <p:cNvPr id="5" name="Footer Placeholder 4"/>
          <p:cNvSpPr>
            <a:spLocks noGrp="1"/>
          </p:cNvSpPr>
          <p:nvPr>
            <p:ph type="ftr" sz="quarter" idx="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dirty="0">
                <a:ln>
                  <a:noFill/>
                </a:ln>
                <a:solidFill>
                  <a:srgbClr val="EAEAEA"/>
                </a:solidFill>
                <a:effectLst/>
                <a:uLnTx/>
                <a:uFillTx/>
                <a:latin typeface="Segoe UI"/>
                <a:ea typeface="+mn-ea"/>
                <a:cs typeface="+mn-cs"/>
              </a:rPr>
              <a:t>© 2016 NetApp, Inc. All rights reserved. </a:t>
            </a:r>
          </a:p>
        </p:txBody>
      </p:sp>
      <p:sp>
        <p:nvSpPr>
          <p:cNvPr id="6" name="Slide Number Placeholder 5"/>
          <p:cNvSpPr>
            <a:spLocks noGrp="1"/>
          </p:cNvSpPr>
          <p:nvPr>
            <p:ph type="sldNum" sz="quarter" idx="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B071A5F3-A4FF-4CEE-8215-C08835B585C1}" type="slidenum">
              <a:rPr kumimoji="0" lang="en-US" sz="1122" b="1" i="0" u="none" strike="noStrike" kern="1200" cap="none" spc="0" normalizeH="0" baseline="0" noProof="0" smtClean="0">
                <a:ln>
                  <a:noFill/>
                </a:ln>
                <a:solidFill>
                  <a:srgbClr val="EAEAEA">
                    <a:lumMod val="50000"/>
                  </a:srgbClr>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77</a:t>
            </a:fld>
            <a:endParaRPr kumimoji="0" lang="en-US" sz="1122" b="1" i="0" u="none" strike="noStrike" kern="1200" cap="none" spc="0" normalizeH="0" baseline="0" noProof="0" dirty="0">
              <a:ln>
                <a:noFill/>
              </a:ln>
              <a:solidFill>
                <a:srgbClr val="EAEAEA">
                  <a:lumMod val="50000"/>
                </a:srgbClr>
              </a:solidFill>
              <a:effectLst/>
              <a:uLnTx/>
              <a:uFillTx/>
              <a:latin typeface="Segoe UI"/>
              <a:ea typeface="+mn-ea"/>
              <a:cs typeface="+mn-cs"/>
            </a:endParaRPr>
          </a:p>
        </p:txBody>
      </p:sp>
      <p:sp>
        <p:nvSpPr>
          <p:cNvPr id="14" name="TextBox 13"/>
          <p:cNvSpPr txBox="1"/>
          <p:nvPr/>
        </p:nvSpPr>
        <p:spPr>
          <a:xfrm>
            <a:off x="203649" y="1188580"/>
            <a:ext cx="1971240" cy="1701887"/>
          </a:xfrm>
          <a:prstGeom prst="rect">
            <a:avLst/>
          </a:prstGeom>
        </p:spPr>
        <p:txBody>
          <a:bodyPr vert="horz" wrap="square" lIns="93236" tIns="46618" rIns="93236" bIns="46618" rtlCol="0" anchor="ctr">
            <a:noAutofit/>
          </a:bodyPr>
          <a:lstStyle/>
          <a:p>
            <a:pPr marL="0" marR="0" lvl="0" indent="0" algn="l" defTabSz="932317" rtl="0" eaLnBrk="1" fontAlgn="auto" latinLnBrk="0" hangingPunct="1">
              <a:lnSpc>
                <a:spcPct val="95000"/>
              </a:lnSpc>
              <a:spcBef>
                <a:spcPts val="408"/>
              </a:spcBef>
              <a:spcAft>
                <a:spcPts val="204"/>
              </a:spcAft>
              <a:buClrTx/>
              <a:buSzTx/>
              <a:buFontTx/>
              <a:buNone/>
              <a:tabLst/>
              <a:defRPr/>
            </a:pPr>
            <a:endParaRPr kumimoji="0" lang="en-US" sz="1835"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15" name="TextBox 14"/>
          <p:cNvSpPr txBox="1"/>
          <p:nvPr/>
        </p:nvSpPr>
        <p:spPr>
          <a:xfrm>
            <a:off x="1743267" y="1161707"/>
            <a:ext cx="1621321" cy="3604027"/>
          </a:xfrm>
          <a:prstGeom prst="rect">
            <a:avLst/>
          </a:prstGeom>
        </p:spPr>
        <p:txBody>
          <a:bodyPr vert="horz" wrap="square" lIns="93236" tIns="46618" rIns="93236" bIns="46618" rtlCol="0" anchor="ctr">
            <a:noAutofit/>
          </a:bodyPr>
          <a:lstStyle/>
          <a:p>
            <a:pPr marL="0" marR="0" lvl="6" indent="0" algn="ctr" defTabSz="932742" rtl="0" eaLnBrk="1" fontAlgn="auto" latinLnBrk="0" hangingPunct="1">
              <a:lnSpc>
                <a:spcPct val="80000"/>
              </a:lnSpc>
              <a:spcBef>
                <a:spcPts val="408"/>
              </a:spcBef>
              <a:spcAft>
                <a:spcPts val="204"/>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Any leading backup software or Microsoft SQL Server</a:t>
            </a:r>
          </a:p>
        </p:txBody>
      </p:sp>
      <p:sp>
        <p:nvSpPr>
          <p:cNvPr id="22" name="Left-Right Arrow 21"/>
          <p:cNvSpPr/>
          <p:nvPr/>
        </p:nvSpPr>
        <p:spPr>
          <a:xfrm>
            <a:off x="6702388" y="2912819"/>
            <a:ext cx="932603" cy="233151"/>
          </a:xfrm>
          <a:prstGeom prst="leftRightArrow">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3236" rIns="0" bIns="93236"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5000"/>
              </a:lnSpc>
              <a:spcBef>
                <a:spcPts val="0"/>
              </a:spcBef>
              <a:spcAft>
                <a:spcPts val="0"/>
              </a:spcAft>
              <a:buClrTx/>
              <a:buSzTx/>
              <a:buFontTx/>
              <a:buNone/>
              <a:tabLst/>
              <a:defRPr/>
            </a:pPr>
            <a:endParaRPr kumimoji="0" lang="en-US" sz="193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 name="Left-Right Arrow 22"/>
          <p:cNvSpPr/>
          <p:nvPr/>
        </p:nvSpPr>
        <p:spPr>
          <a:xfrm>
            <a:off x="3486890" y="2912819"/>
            <a:ext cx="932603" cy="233151"/>
          </a:xfrm>
          <a:prstGeom prst="leftRightArrow">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3236" rIns="0" bIns="93236"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5000"/>
              </a:lnSpc>
              <a:spcBef>
                <a:spcPts val="0"/>
              </a:spcBef>
              <a:spcAft>
                <a:spcPts val="0"/>
              </a:spcAft>
              <a:buClrTx/>
              <a:buSzTx/>
              <a:buFontTx/>
              <a:buNone/>
              <a:tabLst/>
              <a:defRPr/>
            </a:pPr>
            <a:endParaRPr kumimoji="0" lang="en-US" sz="1937"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25" name="Group 24"/>
          <p:cNvGrpSpPr/>
          <p:nvPr/>
        </p:nvGrpSpPr>
        <p:grpSpPr>
          <a:xfrm>
            <a:off x="388615" y="2094819"/>
            <a:ext cx="1212384" cy="1415728"/>
            <a:chOff x="283058" y="1387966"/>
            <a:chExt cx="1601476" cy="1935122"/>
          </a:xfrm>
        </p:grpSpPr>
        <p:pic>
          <p:nvPicPr>
            <p:cNvPr id="26" name="image226.png"/>
            <p:cNvPicPr/>
            <p:nvPr/>
          </p:nvPicPr>
          <p:blipFill>
            <a:blip r:embed="rId3" cstate="email">
              <a:extLst>
                <a:ext uri="{28A0092B-C50C-407E-A947-70E740481C1C}">
                  <a14:useLocalDpi xmlns:a14="http://schemas.microsoft.com/office/drawing/2010/main"/>
                </a:ext>
              </a:extLst>
            </a:blip>
            <a:stretch>
              <a:fillRect/>
            </a:stretch>
          </p:blipFill>
          <p:spPr>
            <a:xfrm>
              <a:off x="740895" y="1951485"/>
              <a:ext cx="685804" cy="1371603"/>
            </a:xfrm>
            <a:prstGeom prst="rect">
              <a:avLst/>
            </a:prstGeom>
            <a:ln w="12700">
              <a:miter lim="400000"/>
            </a:ln>
          </p:spPr>
        </p:pic>
        <p:sp>
          <p:nvSpPr>
            <p:cNvPr id="27" name="Shape 805"/>
            <p:cNvSpPr/>
            <p:nvPr/>
          </p:nvSpPr>
          <p:spPr>
            <a:xfrm>
              <a:off x="283058" y="1387966"/>
              <a:ext cx="1601476" cy="52524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sz="1800"/>
              </a:pPr>
              <a:r>
                <a:rPr kumimoji="0" lang="en-US" sz="1224" b="0" i="0" u="none" strike="noStrike" kern="1200" cap="none" spc="0" normalizeH="0" baseline="0" noProof="0" dirty="0">
                  <a:ln>
                    <a:noFill/>
                  </a:ln>
                  <a:solidFill>
                    <a:srgbClr val="505050"/>
                  </a:solidFill>
                  <a:effectLst/>
                  <a:uLnTx/>
                  <a:uFillTx/>
                  <a:latin typeface="Arial"/>
                  <a:ea typeface="+mn-ea"/>
                  <a:cs typeface="Arial"/>
                  <a:sym typeface="Arial"/>
                </a:rPr>
                <a:t>Primary</a:t>
              </a:r>
            </a:p>
            <a:p>
              <a:pPr marL="0" marR="0" lvl="0" indent="0" algn="ctr" defTabSz="932742" rtl="0" eaLnBrk="1" fontAlgn="auto" latinLnBrk="0" hangingPunct="1">
                <a:lnSpc>
                  <a:spcPct val="100000"/>
                </a:lnSpc>
                <a:spcBef>
                  <a:spcPts val="0"/>
                </a:spcBef>
                <a:spcAft>
                  <a:spcPts val="0"/>
                </a:spcAft>
                <a:buClrTx/>
                <a:buSzTx/>
                <a:buFontTx/>
                <a:buNone/>
                <a:tabLst/>
                <a:defRPr sz="1800"/>
              </a:pPr>
              <a:r>
                <a:rPr kumimoji="0" lang="en-US" sz="1224" b="0" i="0" u="none" strike="noStrike" kern="1200" cap="none" spc="0" normalizeH="0" baseline="0" noProof="0" dirty="0">
                  <a:ln>
                    <a:noFill/>
                  </a:ln>
                  <a:solidFill>
                    <a:srgbClr val="505050"/>
                  </a:solidFill>
                  <a:effectLst/>
                  <a:uLnTx/>
                  <a:uFillTx/>
                  <a:latin typeface="Arial"/>
                  <a:ea typeface="+mn-ea"/>
                  <a:cs typeface="Arial"/>
                  <a:sym typeface="Arial"/>
                </a:rPr>
                <a:t>Storage</a:t>
              </a:r>
              <a:endParaRPr kumimoji="0" sz="3671" b="0" i="0" u="none" strike="noStrike" kern="1200" cap="none" spc="0" normalizeH="0" baseline="0" noProof="0" dirty="0">
                <a:ln>
                  <a:noFill/>
                </a:ln>
                <a:solidFill>
                  <a:srgbClr val="505050"/>
                </a:solidFill>
                <a:effectLst/>
                <a:uLnTx/>
                <a:uFillTx/>
                <a:latin typeface="Segoe UI"/>
                <a:ea typeface="+mn-ea"/>
                <a:cs typeface="+mn-cs"/>
                <a:sym typeface="Helvetica"/>
              </a:endParaRPr>
            </a:p>
          </p:txBody>
        </p:sp>
      </p:grpSp>
      <p:sp>
        <p:nvSpPr>
          <p:cNvPr id="28" name="Right Brace 27"/>
          <p:cNvSpPr/>
          <p:nvPr/>
        </p:nvSpPr>
        <p:spPr>
          <a:xfrm>
            <a:off x="1380299" y="1091389"/>
            <a:ext cx="233151" cy="3730413"/>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 name="Rounded Rectangle 19"/>
          <p:cNvSpPr/>
          <p:nvPr/>
        </p:nvSpPr>
        <p:spPr>
          <a:xfrm>
            <a:off x="802136" y="5398229"/>
            <a:ext cx="2144988" cy="1193732"/>
          </a:xfrm>
          <a:prstGeom prst="roundRect">
            <a:avLst/>
          </a:prstGeom>
          <a:solidFill>
            <a:schemeClr val="accent1"/>
          </a:solidFill>
          <a:ln w="12700">
            <a:gradFill>
              <a:gsLst>
                <a:gs pos="0">
                  <a:schemeClr val="bg1">
                    <a:alpha val="90000"/>
                  </a:schemeClr>
                </a:gs>
                <a:gs pos="100000">
                  <a:schemeClr val="bg1">
                    <a:alpha val="0"/>
                  </a:schemeClr>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square" tIns="46618" bIns="46618" rtlCol="0" anchor="ctr" anchorCtr="1">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mn-ea"/>
                <a:cs typeface="+mn-cs"/>
              </a:rPr>
              <a:t>Seamlessly integrates into existing infrastructure</a:t>
            </a:r>
          </a:p>
        </p:txBody>
      </p:sp>
      <p:sp>
        <p:nvSpPr>
          <p:cNvPr id="24" name="Rounded Rectangle 23"/>
          <p:cNvSpPr/>
          <p:nvPr/>
        </p:nvSpPr>
        <p:spPr>
          <a:xfrm>
            <a:off x="3261740" y="5405000"/>
            <a:ext cx="2144988" cy="1196623"/>
          </a:xfrm>
          <a:prstGeom prst="roundRect">
            <a:avLst/>
          </a:prstGeom>
          <a:solidFill>
            <a:schemeClr val="accent1"/>
          </a:solidFill>
          <a:ln w="12700">
            <a:gradFill>
              <a:gsLst>
                <a:gs pos="0">
                  <a:schemeClr val="bg1">
                    <a:alpha val="90000"/>
                  </a:schemeClr>
                </a:gs>
                <a:gs pos="100000">
                  <a:schemeClr val="bg1">
                    <a:alpha val="0"/>
                  </a:schemeClr>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square" tIns="46618" bIns="46618" rtlCol="0" anchor="ctr" anchorCtr="1">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mn-ea"/>
                <a:cs typeface="+mn-cs"/>
              </a:rPr>
              <a:t>Deduplicates, compresses, and encrypts</a:t>
            </a:r>
          </a:p>
        </p:txBody>
      </p:sp>
      <p:sp>
        <p:nvSpPr>
          <p:cNvPr id="29" name="Rounded Rectangle 28"/>
          <p:cNvSpPr/>
          <p:nvPr/>
        </p:nvSpPr>
        <p:spPr>
          <a:xfrm>
            <a:off x="5665163" y="5405000"/>
            <a:ext cx="2144988" cy="1196623"/>
          </a:xfrm>
          <a:prstGeom prst="roundRect">
            <a:avLst/>
          </a:prstGeom>
          <a:solidFill>
            <a:schemeClr val="accent1"/>
          </a:solidFill>
          <a:ln w="12700">
            <a:gradFill>
              <a:gsLst>
                <a:gs pos="0">
                  <a:schemeClr val="bg1">
                    <a:alpha val="90000"/>
                  </a:schemeClr>
                </a:gs>
                <a:gs pos="100000">
                  <a:schemeClr val="bg1">
                    <a:alpha val="0"/>
                  </a:schemeClr>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square" tIns="46618" bIns="46618" rtlCol="0" anchor="ctr" anchorCtr="1">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mn-ea"/>
                <a:cs typeface="+mn-cs"/>
              </a:rPr>
              <a:t>Caches recent backups locally, vaults everything to the cloud</a:t>
            </a:r>
          </a:p>
        </p:txBody>
      </p:sp>
      <p:sp>
        <p:nvSpPr>
          <p:cNvPr id="30" name="Rounded Rectangle 29"/>
          <p:cNvSpPr/>
          <p:nvPr/>
        </p:nvSpPr>
        <p:spPr>
          <a:xfrm>
            <a:off x="8091059" y="5398277"/>
            <a:ext cx="2144988" cy="1196623"/>
          </a:xfrm>
          <a:prstGeom prst="roundRect">
            <a:avLst/>
          </a:prstGeom>
          <a:solidFill>
            <a:schemeClr val="accent1"/>
          </a:solidFill>
          <a:ln w="12700">
            <a:gradFill>
              <a:gsLst>
                <a:gs pos="0">
                  <a:schemeClr val="bg1">
                    <a:alpha val="90000"/>
                  </a:schemeClr>
                </a:gs>
                <a:gs pos="100000">
                  <a:schemeClr val="bg1">
                    <a:alpha val="0"/>
                  </a:schemeClr>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square" tIns="46618" bIns="46618" rtlCol="0" anchor="ctr" anchorCtr="1">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mn-ea"/>
                <a:cs typeface="+mn-cs"/>
              </a:rPr>
              <a:t>Stores data in the public or private cloud of choice</a:t>
            </a:r>
          </a:p>
        </p:txBody>
      </p:sp>
      <p:cxnSp>
        <p:nvCxnSpPr>
          <p:cNvPr id="31" name="Straight Arrow Connector 30"/>
          <p:cNvCxnSpPr/>
          <p:nvPr/>
        </p:nvCxnSpPr>
        <p:spPr>
          <a:xfrm flipV="1">
            <a:off x="1861334" y="4889221"/>
            <a:ext cx="0" cy="5090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4329002" y="4900105"/>
            <a:ext cx="0" cy="5090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6702388" y="4900105"/>
            <a:ext cx="0" cy="5090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9133557" y="4899263"/>
            <a:ext cx="0" cy="5090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7" name="Picture 36" descr="AVA800-6U-SS10S.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71015" y="2376572"/>
            <a:ext cx="1478089" cy="1305645"/>
          </a:xfrm>
          <a:prstGeom prst="rect">
            <a:avLst/>
          </a:prstGeom>
        </p:spPr>
      </p:pic>
      <p:sp>
        <p:nvSpPr>
          <p:cNvPr id="43" name="TextBox 42"/>
          <p:cNvSpPr txBox="1"/>
          <p:nvPr/>
        </p:nvSpPr>
        <p:spPr>
          <a:xfrm>
            <a:off x="4303605" y="1914479"/>
            <a:ext cx="2412909" cy="358050"/>
          </a:xfrm>
          <a:prstGeom prst="rect">
            <a:avLst/>
          </a:prstGeom>
        </p:spPr>
        <p:txBody>
          <a:bodyPr vert="horz" wrap="square" lIns="93236" tIns="46618" rIns="93236" bIns="46618" rtlCol="0" anchor="ctr">
            <a:noAutofit/>
          </a:bodyPr>
          <a:lstStyle/>
          <a:p>
            <a:pPr marL="0" marR="0" lvl="0" indent="0" algn="ctr" defTabSz="932317" rtl="0" eaLnBrk="1" fontAlgn="auto" latinLnBrk="0" hangingPunct="1">
              <a:lnSpc>
                <a:spcPct val="95000"/>
              </a:lnSpc>
              <a:spcBef>
                <a:spcPts val="408"/>
              </a:spcBef>
              <a:spcAft>
                <a:spcPts val="204"/>
              </a:spcAft>
              <a:buClrTx/>
              <a:buSzTx/>
              <a:buFontTx/>
              <a:buNone/>
              <a:tabLst/>
              <a:defRPr/>
            </a:pPr>
            <a:r>
              <a:rPr kumimoji="0" lang="en-US" sz="1632" b="1" i="0" u="none" strike="noStrike" kern="1200" cap="none" spc="0" normalizeH="0" baseline="0" noProof="0" dirty="0">
                <a:ln>
                  <a:noFill/>
                </a:ln>
                <a:solidFill>
                  <a:srgbClr val="0078D7"/>
                </a:solidFill>
                <a:effectLst/>
                <a:uLnTx/>
                <a:uFillTx/>
                <a:latin typeface="Segoe UI"/>
                <a:ea typeface="+mn-ea"/>
                <a:cs typeface="+mn-cs"/>
              </a:rPr>
              <a:t>NetApp® AltaVault™ </a:t>
            </a:r>
            <a:r>
              <a:rPr kumimoji="0" lang="en-US" sz="1428" b="1" i="0" u="none" strike="noStrike" kern="1200" cap="none" spc="0" normalizeH="0" baseline="0" noProof="0" dirty="0">
                <a:ln>
                  <a:noFill/>
                </a:ln>
                <a:solidFill>
                  <a:srgbClr val="0078D7"/>
                </a:solidFill>
                <a:effectLst/>
                <a:uLnTx/>
                <a:uFillTx/>
                <a:latin typeface="Segoe UI"/>
                <a:ea typeface="+mn-ea"/>
                <a:cs typeface="+mn-cs"/>
                <a:sym typeface="Arial"/>
              </a:rPr>
              <a:t>Cloud-Integrated Storage</a:t>
            </a:r>
            <a:endParaRPr kumimoji="0" lang="en-US" sz="1428" b="1" i="0" u="none" strike="noStrike" kern="1200" cap="none" spc="0" normalizeH="0" baseline="0" noProof="0" dirty="0">
              <a:ln>
                <a:noFill/>
              </a:ln>
              <a:solidFill>
                <a:srgbClr val="0078D7"/>
              </a:solidFill>
              <a:effectLst/>
              <a:uLnTx/>
              <a:uFillTx/>
              <a:latin typeface="Segoe UI"/>
              <a:ea typeface="+mn-ea"/>
              <a:cs typeface="+mn-cs"/>
              <a:sym typeface="Helvetica"/>
            </a:endParaRPr>
          </a:p>
        </p:txBody>
      </p:sp>
      <p:pic>
        <p:nvPicPr>
          <p:cNvPr id="44" name="Picture 4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516898" y="3724593"/>
            <a:ext cx="1039187" cy="932603"/>
          </a:xfrm>
          <a:prstGeom prst="rect">
            <a:avLst/>
          </a:prstGeom>
        </p:spPr>
      </p:pic>
      <p:sp>
        <p:nvSpPr>
          <p:cNvPr id="39" name="Freeform 6"/>
          <p:cNvSpPr>
            <a:spLocks/>
          </p:cNvSpPr>
          <p:nvPr/>
        </p:nvSpPr>
        <p:spPr bwMode="auto">
          <a:xfrm>
            <a:off x="7810151" y="1910271"/>
            <a:ext cx="3097938" cy="1771946"/>
          </a:xfrm>
          <a:custGeom>
            <a:avLst/>
            <a:gdLst>
              <a:gd name="T0" fmla="*/ 716 w 807"/>
              <a:gd name="T1" fmla="*/ 199 h 427"/>
              <a:gd name="T2" fmla="*/ 567 w 807"/>
              <a:gd name="T3" fmla="*/ 72 h 427"/>
              <a:gd name="T4" fmla="*/ 505 w 807"/>
              <a:gd name="T5" fmla="*/ 85 h 427"/>
              <a:gd name="T6" fmla="*/ 505 w 807"/>
              <a:gd name="T7" fmla="*/ 85 h 427"/>
              <a:gd name="T8" fmla="*/ 505 w 807"/>
              <a:gd name="T9" fmla="*/ 85 h 427"/>
              <a:gd name="T10" fmla="*/ 346 w 807"/>
              <a:gd name="T11" fmla="*/ 0 h 427"/>
              <a:gd name="T12" fmla="*/ 346 w 807"/>
              <a:gd name="T13" fmla="*/ 0 h 427"/>
              <a:gd name="T14" fmla="*/ 346 w 807"/>
              <a:gd name="T15" fmla="*/ 0 h 427"/>
              <a:gd name="T16" fmla="*/ 346 w 807"/>
              <a:gd name="T17" fmla="*/ 0 h 427"/>
              <a:gd name="T18" fmla="*/ 163 w 807"/>
              <a:gd name="T19" fmla="*/ 134 h 427"/>
              <a:gd name="T20" fmla="*/ 163 w 807"/>
              <a:gd name="T21" fmla="*/ 134 h 427"/>
              <a:gd name="T22" fmla="*/ 147 w 807"/>
              <a:gd name="T23" fmla="*/ 133 h 427"/>
              <a:gd name="T24" fmla="*/ 0 w 807"/>
              <a:gd name="T25" fmla="*/ 279 h 427"/>
              <a:gd name="T26" fmla="*/ 147 w 807"/>
              <a:gd name="T27" fmla="*/ 427 h 427"/>
              <a:gd name="T28" fmla="*/ 692 w 807"/>
              <a:gd name="T29" fmla="*/ 427 h 427"/>
              <a:gd name="T30" fmla="*/ 807 w 807"/>
              <a:gd name="T31" fmla="*/ 311 h 427"/>
              <a:gd name="T32" fmla="*/ 716 w 807"/>
              <a:gd name="T33" fmla="*/ 199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7" h="427">
                <a:moveTo>
                  <a:pt x="716" y="199"/>
                </a:moveTo>
                <a:cubicBezTo>
                  <a:pt x="704" y="127"/>
                  <a:pt x="642" y="72"/>
                  <a:pt x="567" y="72"/>
                </a:cubicBezTo>
                <a:cubicBezTo>
                  <a:pt x="545" y="72"/>
                  <a:pt x="524" y="76"/>
                  <a:pt x="505" y="85"/>
                </a:cubicBezTo>
                <a:cubicBezTo>
                  <a:pt x="505" y="85"/>
                  <a:pt x="505" y="85"/>
                  <a:pt x="505" y="85"/>
                </a:cubicBezTo>
                <a:cubicBezTo>
                  <a:pt x="505" y="85"/>
                  <a:pt x="505" y="85"/>
                  <a:pt x="505" y="85"/>
                </a:cubicBezTo>
                <a:cubicBezTo>
                  <a:pt x="470" y="33"/>
                  <a:pt x="411" y="0"/>
                  <a:pt x="346" y="0"/>
                </a:cubicBezTo>
                <a:cubicBezTo>
                  <a:pt x="346" y="0"/>
                  <a:pt x="346" y="0"/>
                  <a:pt x="346" y="0"/>
                </a:cubicBezTo>
                <a:cubicBezTo>
                  <a:pt x="346" y="0"/>
                  <a:pt x="346" y="0"/>
                  <a:pt x="346" y="0"/>
                </a:cubicBezTo>
                <a:cubicBezTo>
                  <a:pt x="346" y="0"/>
                  <a:pt x="346" y="0"/>
                  <a:pt x="346" y="0"/>
                </a:cubicBezTo>
                <a:cubicBezTo>
                  <a:pt x="262" y="0"/>
                  <a:pt x="188" y="55"/>
                  <a:pt x="163" y="134"/>
                </a:cubicBezTo>
                <a:cubicBezTo>
                  <a:pt x="163" y="134"/>
                  <a:pt x="163" y="134"/>
                  <a:pt x="163" y="134"/>
                </a:cubicBezTo>
                <a:cubicBezTo>
                  <a:pt x="158" y="134"/>
                  <a:pt x="153" y="133"/>
                  <a:pt x="147" y="133"/>
                </a:cubicBezTo>
                <a:cubicBezTo>
                  <a:pt x="66" y="133"/>
                  <a:pt x="0" y="199"/>
                  <a:pt x="0" y="279"/>
                </a:cubicBezTo>
                <a:cubicBezTo>
                  <a:pt x="0" y="361"/>
                  <a:pt x="66" y="427"/>
                  <a:pt x="147" y="427"/>
                </a:cubicBezTo>
                <a:cubicBezTo>
                  <a:pt x="692" y="427"/>
                  <a:pt x="692" y="427"/>
                  <a:pt x="692" y="427"/>
                </a:cubicBezTo>
                <a:cubicBezTo>
                  <a:pt x="756" y="427"/>
                  <a:pt x="807" y="375"/>
                  <a:pt x="807" y="311"/>
                </a:cubicBezTo>
                <a:cubicBezTo>
                  <a:pt x="807" y="257"/>
                  <a:pt x="768" y="211"/>
                  <a:pt x="716" y="199"/>
                </a:cubicBezTo>
                <a:close/>
              </a:path>
            </a:pathLst>
          </a:custGeom>
          <a:solidFill>
            <a:schemeClr val="bg1"/>
          </a:solidFill>
          <a:ln>
            <a:solidFill>
              <a:srgbClr val="0067C5"/>
            </a:solidFill>
          </a:ln>
          <a:sp3d prstMaterial="matte"/>
        </p:spPr>
        <p:txBody>
          <a:bodyPr vert="horz" wrap="square" lIns="95117" tIns="47558" rIns="95117" bIns="47558"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dirty="0">
              <a:ln>
                <a:noFill/>
              </a:ln>
              <a:solidFill>
                <a:srgbClr val="FFFFFF"/>
              </a:solidFill>
              <a:effectLst/>
              <a:uLnTx/>
              <a:uFillTx/>
              <a:latin typeface="Segoe UI"/>
              <a:ea typeface="+mn-ea"/>
              <a:cs typeface="+mn-cs"/>
            </a:endParaRPr>
          </a:p>
        </p:txBody>
      </p:sp>
      <p:sp>
        <p:nvSpPr>
          <p:cNvPr id="40" name="TextBox 39"/>
          <p:cNvSpPr txBox="1"/>
          <p:nvPr/>
        </p:nvSpPr>
        <p:spPr>
          <a:xfrm>
            <a:off x="8225378" y="2689208"/>
            <a:ext cx="2224925" cy="678063"/>
          </a:xfrm>
          <a:prstGeom prst="rect">
            <a:avLst/>
          </a:prstGeom>
        </p:spPr>
        <p:txBody>
          <a:bodyPr vert="horz" wrap="square" lIns="93260" tIns="46630" rIns="93260" bIns="46630" rtlCol="0" anchor="ctr">
            <a:noAutofit/>
          </a:bodyPr>
          <a:lstStyle/>
          <a:p>
            <a:pPr marL="0" marR="0" lvl="0" indent="0" algn="ctr" defTabSz="932597" rtl="0" eaLnBrk="1" fontAlgn="auto" latinLnBrk="0" hangingPunct="1">
              <a:lnSpc>
                <a:spcPct val="95000"/>
              </a:lnSpc>
              <a:spcBef>
                <a:spcPts val="408"/>
              </a:spcBef>
              <a:spcAft>
                <a:spcPts val="204"/>
              </a:spcAft>
              <a:buClrTx/>
              <a:buSzTx/>
              <a:buFontTx/>
              <a:buNone/>
              <a:tabLst/>
              <a:defRPr/>
            </a:pPr>
            <a:r>
              <a:rPr kumimoji="0" lang="en-US" sz="1836" b="0" i="0" u="none" strike="noStrike" kern="1200" cap="none" spc="0" normalizeH="0" baseline="0" noProof="0" dirty="0">
                <a:ln>
                  <a:noFill/>
                </a:ln>
                <a:solidFill>
                  <a:sysClr val="windowText" lastClr="000000"/>
                </a:solidFill>
                <a:effectLst/>
                <a:uLnTx/>
                <a:uFillTx/>
                <a:latin typeface="Segoe UI"/>
                <a:ea typeface="+mn-ea"/>
                <a:cs typeface="+mn-cs"/>
              </a:rPr>
              <a:t>Microsoft Azure, Cool Blob &amp; GovCloud</a:t>
            </a:r>
          </a:p>
        </p:txBody>
      </p:sp>
      <p:pic>
        <p:nvPicPr>
          <p:cNvPr id="45" name="Picture 4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77711" y="3718104"/>
            <a:ext cx="1039187" cy="932603"/>
          </a:xfrm>
          <a:prstGeom prst="rect">
            <a:avLst/>
          </a:prstGeom>
        </p:spPr>
      </p:pic>
    </p:spTree>
    <p:extLst>
      <p:ext uri="{BB962C8B-B14F-4D97-AF65-F5344CB8AC3E}">
        <p14:creationId xmlns:p14="http://schemas.microsoft.com/office/powerpoint/2010/main" val="2408753490"/>
      </p:ext>
    </p:extLst>
  </p:cSld>
  <p:clrMapOvr>
    <a:masterClrMapping/>
  </p:clrMapOvr>
  <p:transition spd="med">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tect Cloud-Native Apps with AltaVault Cloud-Based Appliances</a:t>
            </a:r>
          </a:p>
        </p:txBody>
      </p:sp>
      <p:sp>
        <p:nvSpPr>
          <p:cNvPr id="4" name="Text Placeholder 3"/>
          <p:cNvSpPr>
            <a:spLocks noGrp="1"/>
          </p:cNvSpPr>
          <p:nvPr>
            <p:ph type="body" idx="10"/>
          </p:nvPr>
        </p:nvSpPr>
        <p:spPr/>
        <p:txBody>
          <a:bodyPr/>
          <a:lstStyle/>
          <a:p>
            <a:r>
              <a:rPr lang="en-US" dirty="0"/>
              <a:t>Available in the Azure Marketplace</a:t>
            </a:r>
          </a:p>
        </p:txBody>
      </p:sp>
      <p:sp>
        <p:nvSpPr>
          <p:cNvPr id="5" name="Text Placeholder 4"/>
          <p:cNvSpPr>
            <a:spLocks noGrp="1"/>
          </p:cNvSpPr>
          <p:nvPr>
            <p:ph type="body" sz="quarter" idx="16"/>
          </p:nvPr>
        </p:nvSpPr>
        <p:spPr/>
        <p:txBody>
          <a:bodyPr/>
          <a:lstStyle/>
          <a:p>
            <a:endParaRPr lang="en-US"/>
          </a:p>
        </p:txBody>
      </p:sp>
      <p:sp>
        <p:nvSpPr>
          <p:cNvPr id="6" name="Footer Placeholder 5"/>
          <p:cNvSpPr>
            <a:spLocks noGrp="1"/>
          </p:cNvSpPr>
          <p:nvPr>
            <p:ph type="ftr" sz="quarter" idx="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a:ln>
                  <a:noFill/>
                </a:ln>
                <a:solidFill>
                  <a:srgbClr val="EAEAEA"/>
                </a:solidFill>
                <a:effectLst/>
                <a:uLnTx/>
                <a:uFillTx/>
                <a:latin typeface="Segoe UI"/>
                <a:ea typeface="+mn-ea"/>
                <a:cs typeface="+mn-cs"/>
              </a:rPr>
              <a:t>© 2016 NetApp, Inc. All rights reserved. </a:t>
            </a:r>
            <a:endParaRPr kumimoji="0" lang="en-US" sz="816" b="0" i="0" u="none" strike="noStrike" kern="1200" cap="none" spc="0" normalizeH="0" baseline="0" noProof="0" dirty="0">
              <a:ln>
                <a:noFill/>
              </a:ln>
              <a:solidFill>
                <a:srgbClr val="EAEAEA"/>
              </a:solidFill>
              <a:effectLst/>
              <a:uLnTx/>
              <a:uFillTx/>
              <a:latin typeface="Segoe UI"/>
              <a:ea typeface="+mn-ea"/>
              <a:cs typeface="+mn-cs"/>
            </a:endParaRPr>
          </a:p>
        </p:txBody>
      </p:sp>
      <p:sp>
        <p:nvSpPr>
          <p:cNvPr id="7" name="Slide Number Placeholder 6"/>
          <p:cNvSpPr>
            <a:spLocks noGrp="1"/>
          </p:cNvSpPr>
          <p:nvPr>
            <p:ph type="sldNum" sz="quarter" idx="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B071A5F3-A4FF-4CEE-8215-C08835B585C1}" type="slidenum">
              <a:rPr kumimoji="0" lang="en-US" sz="1071" b="1" i="0" u="none" strike="noStrike" kern="1200" cap="none" spc="0" normalizeH="0" baseline="0" noProof="0" smtClean="0">
                <a:ln>
                  <a:noFill/>
                </a:ln>
                <a:solidFill>
                  <a:srgbClr val="EAEAEA">
                    <a:lumMod val="50000"/>
                  </a:srgbClr>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78</a:t>
            </a:fld>
            <a:endParaRPr kumimoji="0" lang="en-US" sz="1071" b="1" i="0" u="none" strike="noStrike" kern="1200" cap="none" spc="0" normalizeH="0" baseline="0" noProof="0" dirty="0">
              <a:ln>
                <a:noFill/>
              </a:ln>
              <a:solidFill>
                <a:srgbClr val="EAEAEA">
                  <a:lumMod val="50000"/>
                </a:srgbClr>
              </a:solidFill>
              <a:effectLst/>
              <a:uLnTx/>
              <a:uFillTx/>
              <a:latin typeface="Segoe UI"/>
              <a:ea typeface="+mn-ea"/>
              <a:cs typeface="+mn-cs"/>
            </a:endParaRPr>
          </a:p>
        </p:txBody>
      </p:sp>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914287" y="4050444"/>
            <a:ext cx="5755062" cy="2299644"/>
          </a:xfrm>
          <a:prstGeom prst="rect">
            <a:avLst/>
          </a:prstGeom>
        </p:spPr>
      </p:pic>
      <p:grpSp>
        <p:nvGrpSpPr>
          <p:cNvPr id="9" name="Group 8"/>
          <p:cNvGrpSpPr/>
          <p:nvPr/>
        </p:nvGrpSpPr>
        <p:grpSpPr>
          <a:xfrm>
            <a:off x="4238936" y="1167920"/>
            <a:ext cx="7201671" cy="3658093"/>
            <a:chOff x="234760" y="2220939"/>
            <a:chExt cx="6517854" cy="3375469"/>
          </a:xfrm>
        </p:grpSpPr>
        <p:sp>
          <p:nvSpPr>
            <p:cNvPr id="10" name="Freeform 6"/>
            <p:cNvSpPr>
              <a:spLocks/>
            </p:cNvSpPr>
            <p:nvPr/>
          </p:nvSpPr>
          <p:spPr bwMode="auto">
            <a:xfrm>
              <a:off x="234760" y="2220939"/>
              <a:ext cx="6517854" cy="3375469"/>
            </a:xfrm>
            <a:custGeom>
              <a:avLst/>
              <a:gdLst>
                <a:gd name="T0" fmla="*/ 716 w 807"/>
                <a:gd name="T1" fmla="*/ 199 h 427"/>
                <a:gd name="T2" fmla="*/ 567 w 807"/>
                <a:gd name="T3" fmla="*/ 72 h 427"/>
                <a:gd name="T4" fmla="*/ 505 w 807"/>
                <a:gd name="T5" fmla="*/ 85 h 427"/>
                <a:gd name="T6" fmla="*/ 505 w 807"/>
                <a:gd name="T7" fmla="*/ 85 h 427"/>
                <a:gd name="T8" fmla="*/ 505 w 807"/>
                <a:gd name="T9" fmla="*/ 85 h 427"/>
                <a:gd name="T10" fmla="*/ 346 w 807"/>
                <a:gd name="T11" fmla="*/ 0 h 427"/>
                <a:gd name="T12" fmla="*/ 346 w 807"/>
                <a:gd name="T13" fmla="*/ 0 h 427"/>
                <a:gd name="T14" fmla="*/ 346 w 807"/>
                <a:gd name="T15" fmla="*/ 0 h 427"/>
                <a:gd name="T16" fmla="*/ 346 w 807"/>
                <a:gd name="T17" fmla="*/ 0 h 427"/>
                <a:gd name="T18" fmla="*/ 163 w 807"/>
                <a:gd name="T19" fmla="*/ 134 h 427"/>
                <a:gd name="T20" fmla="*/ 163 w 807"/>
                <a:gd name="T21" fmla="*/ 134 h 427"/>
                <a:gd name="T22" fmla="*/ 147 w 807"/>
                <a:gd name="T23" fmla="*/ 133 h 427"/>
                <a:gd name="T24" fmla="*/ 0 w 807"/>
                <a:gd name="T25" fmla="*/ 279 h 427"/>
                <a:gd name="T26" fmla="*/ 147 w 807"/>
                <a:gd name="T27" fmla="*/ 427 h 427"/>
                <a:gd name="T28" fmla="*/ 692 w 807"/>
                <a:gd name="T29" fmla="*/ 427 h 427"/>
                <a:gd name="T30" fmla="*/ 807 w 807"/>
                <a:gd name="T31" fmla="*/ 311 h 427"/>
                <a:gd name="T32" fmla="*/ 716 w 807"/>
                <a:gd name="T33" fmla="*/ 199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7" h="427">
                  <a:moveTo>
                    <a:pt x="716" y="199"/>
                  </a:moveTo>
                  <a:cubicBezTo>
                    <a:pt x="704" y="127"/>
                    <a:pt x="642" y="72"/>
                    <a:pt x="567" y="72"/>
                  </a:cubicBezTo>
                  <a:cubicBezTo>
                    <a:pt x="545" y="72"/>
                    <a:pt x="524" y="76"/>
                    <a:pt x="505" y="85"/>
                  </a:cubicBezTo>
                  <a:cubicBezTo>
                    <a:pt x="505" y="85"/>
                    <a:pt x="505" y="85"/>
                    <a:pt x="505" y="85"/>
                  </a:cubicBezTo>
                  <a:cubicBezTo>
                    <a:pt x="505" y="85"/>
                    <a:pt x="505" y="85"/>
                    <a:pt x="505" y="85"/>
                  </a:cubicBezTo>
                  <a:cubicBezTo>
                    <a:pt x="470" y="33"/>
                    <a:pt x="411" y="0"/>
                    <a:pt x="346" y="0"/>
                  </a:cubicBezTo>
                  <a:cubicBezTo>
                    <a:pt x="346" y="0"/>
                    <a:pt x="346" y="0"/>
                    <a:pt x="346" y="0"/>
                  </a:cubicBezTo>
                  <a:cubicBezTo>
                    <a:pt x="346" y="0"/>
                    <a:pt x="346" y="0"/>
                    <a:pt x="346" y="0"/>
                  </a:cubicBezTo>
                  <a:cubicBezTo>
                    <a:pt x="346" y="0"/>
                    <a:pt x="346" y="0"/>
                    <a:pt x="346" y="0"/>
                  </a:cubicBezTo>
                  <a:cubicBezTo>
                    <a:pt x="262" y="0"/>
                    <a:pt x="188" y="55"/>
                    <a:pt x="163" y="134"/>
                  </a:cubicBezTo>
                  <a:cubicBezTo>
                    <a:pt x="163" y="134"/>
                    <a:pt x="163" y="134"/>
                    <a:pt x="163" y="134"/>
                  </a:cubicBezTo>
                  <a:cubicBezTo>
                    <a:pt x="158" y="134"/>
                    <a:pt x="153" y="133"/>
                    <a:pt x="147" y="133"/>
                  </a:cubicBezTo>
                  <a:cubicBezTo>
                    <a:pt x="66" y="133"/>
                    <a:pt x="0" y="199"/>
                    <a:pt x="0" y="279"/>
                  </a:cubicBezTo>
                  <a:cubicBezTo>
                    <a:pt x="0" y="361"/>
                    <a:pt x="66" y="427"/>
                    <a:pt x="147" y="427"/>
                  </a:cubicBezTo>
                  <a:cubicBezTo>
                    <a:pt x="692" y="427"/>
                    <a:pt x="692" y="427"/>
                    <a:pt x="692" y="427"/>
                  </a:cubicBezTo>
                  <a:cubicBezTo>
                    <a:pt x="756" y="427"/>
                    <a:pt x="807" y="375"/>
                    <a:pt x="807" y="311"/>
                  </a:cubicBezTo>
                  <a:cubicBezTo>
                    <a:pt x="807" y="257"/>
                    <a:pt x="768" y="211"/>
                    <a:pt x="716" y="199"/>
                  </a:cubicBezTo>
                  <a:close/>
                </a:path>
              </a:pathLst>
            </a:custGeom>
            <a:solidFill>
              <a:schemeClr val="bg1"/>
            </a:solidFill>
            <a:ln w="19050" cmpd="sng">
              <a:solidFill>
                <a:schemeClr val="accent1"/>
              </a:solidFill>
            </a:ln>
            <a:sp3d prstMaterial="matte"/>
          </p:spPr>
          <p:txBody>
            <a:bodyPr vert="horz" wrap="square" lIns="95117" tIns="47558" rIns="95117" bIns="47558"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TextBox 10"/>
            <p:cNvSpPr txBox="1"/>
            <p:nvPr/>
          </p:nvSpPr>
          <p:spPr>
            <a:xfrm>
              <a:off x="390531" y="4092140"/>
              <a:ext cx="1842330" cy="921097"/>
            </a:xfrm>
            <a:prstGeom prst="rect">
              <a:avLst/>
            </a:prstGeom>
          </p:spPr>
          <p:txBody>
            <a:bodyPr vert="horz" wrap="square" lIns="95117" tIns="47558" rIns="95117" bIns="47558" rtlCol="0" anchor="ctr">
              <a:noAutofit/>
            </a:bodyPr>
            <a:lstStyle/>
            <a:p>
              <a:pPr marL="0" marR="0" lvl="6" indent="0" algn="l" defTabSz="932742" rtl="0" eaLnBrk="1" fontAlgn="auto" latinLnBrk="0" hangingPunct="1">
                <a:lnSpc>
                  <a:spcPct val="80000"/>
                </a:lnSpc>
                <a:spcBef>
                  <a:spcPts val="416"/>
                </a:spcBef>
                <a:spcAft>
                  <a:spcPts val="208"/>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Any leading backup software or Microsoft SQL Server</a:t>
              </a:r>
              <a:endParaRPr kumimoji="0" lang="en-US" sz="1632" b="0" i="0" u="none" strike="noStrike" kern="1200" cap="none" spc="0" normalizeH="0" baseline="30000" noProof="0" dirty="0">
                <a:ln>
                  <a:noFill/>
                </a:ln>
                <a:solidFill>
                  <a:srgbClr val="505050"/>
                </a:solidFill>
                <a:effectLst/>
                <a:uLnTx/>
                <a:uFillTx/>
                <a:latin typeface="Segoe UI"/>
                <a:ea typeface="+mn-ea"/>
                <a:cs typeface="+mn-cs"/>
              </a:endParaRPr>
            </a:p>
          </p:txBody>
        </p:sp>
        <p:sp>
          <p:nvSpPr>
            <p:cNvPr id="12" name="Left-Right Arrow 11"/>
            <p:cNvSpPr/>
            <p:nvPr/>
          </p:nvSpPr>
          <p:spPr>
            <a:xfrm>
              <a:off x="3880587" y="4410628"/>
              <a:ext cx="548640" cy="182880"/>
            </a:xfrm>
            <a:prstGeom prst="leftRightArrow">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5117" rIns="0" bIns="95117"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5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 name="TextBox 12"/>
            <p:cNvSpPr txBox="1"/>
            <p:nvPr/>
          </p:nvSpPr>
          <p:spPr>
            <a:xfrm>
              <a:off x="2231594" y="3866573"/>
              <a:ext cx="1923313" cy="285399"/>
            </a:xfrm>
            <a:prstGeom prst="rect">
              <a:avLst/>
            </a:prstGeom>
          </p:spPr>
          <p:txBody>
            <a:bodyPr vert="horz" wrap="square" lIns="95092" tIns="47546" rIns="95092" bIns="47546" rtlCol="0" anchor="ctr">
              <a:noAutofit/>
            </a:bodyPr>
            <a:lstStyle/>
            <a:p>
              <a:pPr marL="0" marR="0" lvl="0" indent="0" algn="ctr" defTabSz="950870" rtl="0" eaLnBrk="1" fontAlgn="auto" latinLnBrk="0" hangingPunct="1">
                <a:lnSpc>
                  <a:spcPct val="95000"/>
                </a:lnSpc>
                <a:spcBef>
                  <a:spcPts val="416"/>
                </a:spcBef>
                <a:spcAft>
                  <a:spcPts val="208"/>
                </a:spcAft>
                <a:buClrTx/>
                <a:buSzTx/>
                <a:buFontTx/>
                <a:buNone/>
                <a:tabLst/>
                <a:defRPr/>
              </a:pPr>
              <a:r>
                <a:rPr kumimoji="0" lang="en-US" sz="1836" b="1" i="0" u="none" strike="noStrike" kern="1200" cap="none" spc="0" normalizeH="0" baseline="0" noProof="0" dirty="0">
                  <a:ln>
                    <a:noFill/>
                  </a:ln>
                  <a:solidFill>
                    <a:srgbClr val="0078D7"/>
                  </a:solidFill>
                  <a:effectLst/>
                  <a:uLnTx/>
                  <a:uFillTx/>
                  <a:latin typeface="Segoe UI"/>
                  <a:ea typeface="+mn-ea"/>
                  <a:cs typeface="+mn-cs"/>
                </a:rPr>
                <a:t>NetApp AltaVault</a:t>
              </a:r>
            </a:p>
          </p:txBody>
        </p:sp>
        <p:sp>
          <p:nvSpPr>
            <p:cNvPr id="15" name="Left-Right Arrow 14"/>
            <p:cNvSpPr/>
            <p:nvPr/>
          </p:nvSpPr>
          <p:spPr>
            <a:xfrm>
              <a:off x="1859158" y="4410628"/>
              <a:ext cx="548640" cy="182880"/>
            </a:xfrm>
            <a:prstGeom prst="leftRightArrow">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5117" rIns="0" bIns="95117"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5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FFFFFF"/>
                </a:solidFill>
                <a:effectLst/>
                <a:uLnTx/>
                <a:uFillTx/>
                <a:latin typeface="Segoe UI"/>
                <a:ea typeface="+mn-ea"/>
                <a:cs typeface="+mn-cs"/>
              </a:endParaRPr>
            </a:p>
          </p:txBody>
        </p:sp>
        <p:sp>
          <p:nvSpPr>
            <p:cNvPr id="22" name="Rectangle 21"/>
            <p:cNvSpPr/>
            <p:nvPr/>
          </p:nvSpPr>
          <p:spPr>
            <a:xfrm>
              <a:off x="2506877" y="4162621"/>
              <a:ext cx="1277363" cy="68551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5117" rIns="0" bIns="95117"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5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FFFFFF"/>
                </a:solidFill>
                <a:effectLst/>
                <a:uLnTx/>
                <a:uFillTx/>
                <a:latin typeface="Segoe UI"/>
                <a:ea typeface="+mn-ea"/>
                <a:cs typeface="+mn-cs"/>
              </a:endParaRPr>
            </a:p>
          </p:txBody>
        </p:sp>
        <p:sp>
          <p:nvSpPr>
            <p:cNvPr id="17" name="Rectangle 16"/>
            <p:cNvSpPr/>
            <p:nvPr/>
          </p:nvSpPr>
          <p:spPr>
            <a:xfrm>
              <a:off x="4640642" y="4737111"/>
              <a:ext cx="1502829" cy="709103"/>
            </a:xfrm>
            <a:prstGeom prst="rect">
              <a:avLst/>
            </a:prstGeom>
            <a:ln w="12700">
              <a:miter lim="400000"/>
            </a:ln>
          </p:spPr>
          <p:txBody>
            <a:bodyPr wrap="square" lIns="0" tIns="0" rIns="0" bIns="0" anchor="ctr">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Arial" panose="020B0604020202020204" pitchFamily="34" charset="0"/>
                </a:rPr>
                <a:t>Microsoft Azure, Cool Blob &amp; </a:t>
              </a:r>
              <a:r>
                <a:rPr kumimoji="0" lang="en-US" sz="1632" b="0" i="0" u="none" strike="noStrike" kern="1200" cap="none" spc="0" normalizeH="0" baseline="0" noProof="0" dirty="0" err="1">
                  <a:ln>
                    <a:noFill/>
                  </a:ln>
                  <a:solidFill>
                    <a:srgbClr val="505050"/>
                  </a:solidFill>
                  <a:effectLst/>
                  <a:uLnTx/>
                  <a:uFillTx/>
                  <a:latin typeface="Segoe UI"/>
                  <a:ea typeface="+mn-ea"/>
                  <a:cs typeface="Arial" panose="020B0604020202020204" pitchFamily="34" charset="0"/>
                </a:rPr>
                <a:t>GovCloud</a:t>
              </a:r>
              <a:endParaRPr kumimoji="0" lang="en-US" sz="1632" b="0" i="0" u="none" strike="noStrike" kern="1200" cap="none" spc="0" normalizeH="0" baseline="0" noProof="0" dirty="0">
                <a:ln>
                  <a:noFill/>
                </a:ln>
                <a:solidFill>
                  <a:srgbClr val="505050"/>
                </a:solidFill>
                <a:effectLst/>
                <a:uLnTx/>
                <a:uFillTx/>
                <a:latin typeface="Segoe UI"/>
                <a:ea typeface="+mn-ea"/>
                <a:cs typeface="Arial" panose="020B0604020202020204" pitchFamily="34" charset="0"/>
              </a:endParaRPr>
            </a:p>
          </p:txBody>
        </p:sp>
        <p:pic>
          <p:nvPicPr>
            <p:cNvPr id="18" name="Picture 17" descr="WormVolume.gif"/>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52825" y="4175647"/>
              <a:ext cx="495652" cy="566319"/>
            </a:xfrm>
            <a:prstGeom prst="rect">
              <a:avLst/>
            </a:prstGeom>
          </p:spPr>
        </p:pic>
        <p:pic>
          <p:nvPicPr>
            <p:cNvPr id="19" name="Picture 18" descr="WormVolume.gif"/>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119604" y="4187517"/>
              <a:ext cx="495652" cy="566319"/>
            </a:xfrm>
            <a:prstGeom prst="rect">
              <a:avLst/>
            </a:prstGeom>
          </p:spPr>
        </p:pic>
        <p:pic>
          <p:nvPicPr>
            <p:cNvPr id="20" name="Picture 19" descr="WormVolume.gif"/>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62735" y="4192168"/>
              <a:ext cx="495652" cy="566319"/>
            </a:xfrm>
            <a:prstGeom prst="rect">
              <a:avLst/>
            </a:prstGeom>
          </p:spPr>
        </p:pic>
        <p:pic>
          <p:nvPicPr>
            <p:cNvPr id="21" name="Picture 20" descr="MS-Azure_rgb_Blk_D.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37231" y="3101066"/>
              <a:ext cx="2815594" cy="652819"/>
            </a:xfrm>
            <a:prstGeom prst="rect">
              <a:avLst/>
            </a:prstGeom>
          </p:spPr>
        </p:pic>
      </p:grpSp>
      <p:cxnSp>
        <p:nvCxnSpPr>
          <p:cNvPr id="24" name="Straight Connector 23"/>
          <p:cNvCxnSpPr>
            <a:endCxn id="10" idx="12"/>
          </p:cNvCxnSpPr>
          <p:nvPr/>
        </p:nvCxnSpPr>
        <p:spPr>
          <a:xfrm flipV="1">
            <a:off x="3158131" y="3558103"/>
            <a:ext cx="1080804" cy="2356554"/>
          </a:xfrm>
          <a:prstGeom prst="line">
            <a:avLst/>
          </a:prstGeom>
          <a:ln w="19050">
            <a:solidFill>
              <a:srgbClr val="8CC519"/>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endCxn id="10" idx="14"/>
          </p:cNvCxnSpPr>
          <p:nvPr/>
        </p:nvCxnSpPr>
        <p:spPr>
          <a:xfrm flipV="1">
            <a:off x="4791060" y="4826013"/>
            <a:ext cx="5623286" cy="1348697"/>
          </a:xfrm>
          <a:prstGeom prst="line">
            <a:avLst/>
          </a:prstGeom>
          <a:ln w="19050">
            <a:solidFill>
              <a:srgbClr val="8CC519"/>
            </a:solidFill>
          </a:ln>
        </p:spPr>
        <p:style>
          <a:lnRef idx="1">
            <a:schemeClr val="accent1"/>
          </a:lnRef>
          <a:fillRef idx="0">
            <a:schemeClr val="accent1"/>
          </a:fillRef>
          <a:effectRef idx="0">
            <a:schemeClr val="accent1"/>
          </a:effectRef>
          <a:fontRef idx="minor">
            <a:schemeClr val="tx1"/>
          </a:fontRef>
        </p:style>
      </p:cxnSp>
      <p:pic>
        <p:nvPicPr>
          <p:cNvPr id="26" name="Picture 2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987068" y="3311029"/>
            <a:ext cx="1039187" cy="932603"/>
          </a:xfrm>
          <a:prstGeom prst="rect">
            <a:avLst/>
          </a:prstGeom>
        </p:spPr>
      </p:pic>
    </p:spTree>
    <p:extLst>
      <p:ext uri="{BB962C8B-B14F-4D97-AF65-F5344CB8AC3E}">
        <p14:creationId xmlns:p14="http://schemas.microsoft.com/office/powerpoint/2010/main" val="301024609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down)">
                                      <p:cBhvr>
                                        <p:cTn id="7" dur="500"/>
                                        <p:tgtEl>
                                          <p:spTgt spid="24"/>
                                        </p:tgtEl>
                                      </p:cBhvr>
                                    </p:animEffect>
                                  </p:childTnLst>
                                </p:cTn>
                              </p:par>
                              <p:par>
                                <p:cTn id="8" presetID="22" presetClass="entr" presetSubtype="4" fill="hold"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wipe(down)">
                                      <p:cBhvr>
                                        <p:cTn id="10" dur="500"/>
                                        <p:tgtEl>
                                          <p:spTgt spid="2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TAP Cloud for Microsoft Azure</a:t>
            </a:r>
          </a:p>
        </p:txBody>
      </p:sp>
      <p:sp>
        <p:nvSpPr>
          <p:cNvPr id="7" name="Content Placeholder 6"/>
          <p:cNvSpPr>
            <a:spLocks noGrp="1"/>
          </p:cNvSpPr>
          <p:nvPr>
            <p:ph sz="quarter" idx="14"/>
          </p:nvPr>
        </p:nvSpPr>
        <p:spPr>
          <a:xfrm>
            <a:off x="270699" y="1600494"/>
            <a:ext cx="11890693" cy="4736678"/>
          </a:xfrm>
        </p:spPr>
        <p:txBody>
          <a:bodyPr/>
          <a:lstStyle/>
          <a:p>
            <a:pPr>
              <a:spcBef>
                <a:spcPts val="408"/>
              </a:spcBef>
            </a:pPr>
            <a:r>
              <a:rPr lang="en-US" sz="2040" dirty="0"/>
              <a:t>Software-only data management IaaS offering for Microsoft Azure</a:t>
            </a:r>
          </a:p>
          <a:p>
            <a:pPr>
              <a:spcBef>
                <a:spcPts val="408"/>
              </a:spcBef>
            </a:pPr>
            <a:r>
              <a:rPr lang="en-US" sz="2040" dirty="0"/>
              <a:t>Extends the data fabric to Microsoft Azure resources</a:t>
            </a:r>
          </a:p>
          <a:p>
            <a:pPr>
              <a:spcBef>
                <a:spcPts val="408"/>
              </a:spcBef>
            </a:pPr>
            <a:r>
              <a:rPr lang="en-US" sz="2040" dirty="0"/>
              <a:t>Available as pay as you go (PAYGO) and bring your own license (BYOL)</a:t>
            </a:r>
          </a:p>
          <a:p>
            <a:pPr>
              <a:spcBef>
                <a:spcPts val="408"/>
              </a:spcBef>
            </a:pPr>
            <a:r>
              <a:rPr lang="en-US" sz="2040" dirty="0"/>
              <a:t>Rapid deployment of dev/test workspaces with FlexClone</a:t>
            </a:r>
            <a:r>
              <a:rPr lang="en-US" sz="1836" baseline="30000" dirty="0"/>
              <a:t>®</a:t>
            </a:r>
            <a:endParaRPr lang="en-US" sz="2040" baseline="30000" dirty="0"/>
          </a:p>
          <a:p>
            <a:pPr>
              <a:spcBef>
                <a:spcPts val="408"/>
              </a:spcBef>
            </a:pPr>
            <a:r>
              <a:rPr lang="en-US" sz="2040" dirty="0"/>
              <a:t>Reduce your cloud storage footprint up to 90% or more with enterprise-class storage efficiency</a:t>
            </a:r>
          </a:p>
          <a:p>
            <a:pPr>
              <a:spcBef>
                <a:spcPts val="408"/>
              </a:spcBef>
            </a:pPr>
            <a:r>
              <a:rPr lang="en-US" sz="2040" dirty="0"/>
              <a:t>Replicate across the Data Fabric with drag-and-drop simplicity</a:t>
            </a:r>
          </a:p>
          <a:p>
            <a:pPr>
              <a:spcBef>
                <a:spcPts val="408"/>
              </a:spcBef>
            </a:pPr>
            <a:r>
              <a:rPr lang="en-US" sz="2040" dirty="0"/>
              <a:t>Pay only for what you need, when you need it</a:t>
            </a:r>
          </a:p>
          <a:p>
            <a:pPr>
              <a:spcBef>
                <a:spcPts val="408"/>
              </a:spcBef>
            </a:pPr>
            <a:r>
              <a:rPr lang="en-US" sz="2040" dirty="0"/>
              <a:t>SAN and NAS support for legacy applications</a:t>
            </a:r>
          </a:p>
          <a:p>
            <a:pPr>
              <a:spcBef>
                <a:spcPts val="408"/>
              </a:spcBef>
            </a:pPr>
            <a:r>
              <a:rPr lang="en-US" sz="2040" dirty="0"/>
              <a:t>Use cases:</a:t>
            </a:r>
          </a:p>
          <a:p>
            <a:pPr lvl="1"/>
            <a:r>
              <a:rPr lang="en-US" dirty="0"/>
              <a:t>Cloud disaster recovery environments</a:t>
            </a:r>
          </a:p>
          <a:p>
            <a:pPr lvl="1"/>
            <a:r>
              <a:rPr lang="en-US" dirty="0"/>
              <a:t>Software DevOps</a:t>
            </a:r>
          </a:p>
          <a:p>
            <a:pPr lvl="1"/>
            <a:r>
              <a:rPr lang="en-US" dirty="0"/>
              <a:t>Production applications</a:t>
            </a:r>
          </a:p>
          <a:p>
            <a:endParaRPr lang="en-US" sz="2040" dirty="0"/>
          </a:p>
          <a:p>
            <a:endParaRPr lang="en-US" sz="2040" dirty="0"/>
          </a:p>
        </p:txBody>
      </p:sp>
      <p:sp>
        <p:nvSpPr>
          <p:cNvPr id="3" name="Text Placeholder 2"/>
          <p:cNvSpPr>
            <a:spLocks noGrp="1"/>
          </p:cNvSpPr>
          <p:nvPr>
            <p:ph type="body" idx="10"/>
          </p:nvPr>
        </p:nvSpPr>
        <p:spPr/>
        <p:txBody>
          <a:bodyPr/>
          <a:lstStyle/>
          <a:p>
            <a:r>
              <a:rPr lang="en-US" sz="2040" dirty="0"/>
              <a:t>Expanding the Data Fabric beyond AWS into multiple hyperscale cloud providers</a:t>
            </a:r>
          </a:p>
        </p:txBody>
      </p:sp>
      <p:sp>
        <p:nvSpPr>
          <p:cNvPr id="16" name="Content Placeholder 6"/>
          <p:cNvSpPr txBox="1">
            <a:spLocks/>
          </p:cNvSpPr>
          <p:nvPr/>
        </p:nvSpPr>
        <p:spPr>
          <a:xfrm>
            <a:off x="6211009" y="1752042"/>
            <a:ext cx="5560617" cy="4487601"/>
          </a:xfrm>
          <a:prstGeom prst="rect">
            <a:avLst/>
          </a:prstGeom>
        </p:spPr>
        <p:txBody>
          <a:bodyPr vert="horz" wrap="square" lIns="93343" tIns="46672" rIns="93343" bIns="46672" rtlCol="0">
            <a:noAutofit/>
          </a:bodyPr>
          <a:lstStyle>
            <a:lvl1pPr marL="235159" indent="-235159" algn="l" defTabSz="915216" rtl="0" eaLnBrk="1" latinLnBrk="0" hangingPunct="1">
              <a:lnSpc>
                <a:spcPct val="95000"/>
              </a:lnSpc>
              <a:spcBef>
                <a:spcPts val="1201"/>
              </a:spcBef>
              <a:spcAft>
                <a:spcPts val="400"/>
              </a:spcAft>
              <a:buClr>
                <a:schemeClr val="accent1"/>
              </a:buClr>
              <a:buFont typeface="Wingdings" panose="05000000000000000000" pitchFamily="2" charset="2"/>
              <a:buChar char="§"/>
              <a:defRPr sz="2200" kern="1200">
                <a:solidFill>
                  <a:schemeClr val="tx1"/>
                </a:solidFill>
                <a:latin typeface="+mn-lt"/>
                <a:ea typeface="+mn-ea"/>
                <a:cs typeface="+mn-cs"/>
              </a:defRPr>
            </a:lvl1pPr>
            <a:lvl2pPr marL="457608" indent="-228804" algn="l" defTabSz="915216" rtl="0" eaLnBrk="1" latinLnBrk="0" hangingPunct="1">
              <a:lnSpc>
                <a:spcPct val="90000"/>
              </a:lnSpc>
              <a:spcBef>
                <a:spcPts val="200"/>
              </a:spcBef>
              <a:spcAft>
                <a:spcPts val="400"/>
              </a:spcAft>
              <a:buClr>
                <a:schemeClr val="tx1">
                  <a:lumMod val="65000"/>
                  <a:lumOff val="35000"/>
                </a:schemeClr>
              </a:buClr>
              <a:buFont typeface="Wingdings" panose="05000000000000000000" pitchFamily="2" charset="2"/>
              <a:buChar char="§"/>
              <a:defRPr sz="1800" kern="1200">
                <a:solidFill>
                  <a:schemeClr val="tx1"/>
                </a:solidFill>
                <a:latin typeface="+mn-lt"/>
                <a:ea typeface="+mn-ea"/>
                <a:cs typeface="+mn-cs"/>
              </a:defRPr>
            </a:lvl2pPr>
            <a:lvl3pPr marL="686412" indent="-228804" algn="l" defTabSz="915216" rtl="0" eaLnBrk="1" latinLnBrk="0" hangingPunct="1">
              <a:lnSpc>
                <a:spcPct val="85000"/>
              </a:lnSpc>
              <a:spcBef>
                <a:spcPts val="200"/>
              </a:spcBef>
              <a:spcAft>
                <a:spcPts val="400"/>
              </a:spcAft>
              <a:buClr>
                <a:schemeClr val="tx1">
                  <a:lumMod val="65000"/>
                  <a:lumOff val="35000"/>
                </a:schemeClr>
              </a:buClr>
              <a:buFont typeface="Wingdings" panose="05000000000000000000" pitchFamily="2" charset="2"/>
              <a:buChar char="§"/>
              <a:defRPr sz="1600" kern="1200">
                <a:solidFill>
                  <a:schemeClr val="tx1"/>
                </a:solidFill>
                <a:latin typeface="+mn-lt"/>
                <a:ea typeface="+mn-ea"/>
                <a:cs typeface="+mn-cs"/>
              </a:defRPr>
            </a:lvl3pPr>
            <a:lvl4pPr marL="915216" indent="-228804" algn="l" defTabSz="915216" rtl="0" eaLnBrk="1" latinLnBrk="0" hangingPunct="1">
              <a:lnSpc>
                <a:spcPct val="85000"/>
              </a:lnSpc>
              <a:spcBef>
                <a:spcPts val="200"/>
              </a:spcBef>
              <a:spcAft>
                <a:spcPts val="400"/>
              </a:spcAft>
              <a:buClr>
                <a:schemeClr val="tx1">
                  <a:lumMod val="65000"/>
                  <a:lumOff val="35000"/>
                </a:schemeClr>
              </a:buClr>
              <a:buFont typeface="Wingdings" panose="05000000000000000000" pitchFamily="2" charset="2"/>
              <a:buChar char="§"/>
              <a:defRPr sz="1400" kern="1200">
                <a:solidFill>
                  <a:schemeClr val="tx1"/>
                </a:solidFill>
                <a:latin typeface="+mn-lt"/>
                <a:ea typeface="+mn-ea"/>
                <a:cs typeface="+mn-cs"/>
              </a:defRPr>
            </a:lvl4pPr>
            <a:lvl5pPr marL="1086818" marR="0" indent="-171603" algn="l" defTabSz="915216" rtl="0" eaLnBrk="1" fontAlgn="auto" latinLnBrk="0" hangingPunct="1">
              <a:lnSpc>
                <a:spcPct val="85000"/>
              </a:lnSpc>
              <a:spcBef>
                <a:spcPts val="200"/>
              </a:spcBef>
              <a:spcAft>
                <a:spcPts val="400"/>
              </a:spcAft>
              <a:buClr>
                <a:schemeClr val="tx1">
                  <a:lumMod val="65000"/>
                  <a:lumOff val="35000"/>
                </a:schemeClr>
              </a:buClr>
              <a:buSzTx/>
              <a:buFont typeface="Wingdings" panose="05000000000000000000" pitchFamily="2" charset="2"/>
              <a:buChar char="§"/>
              <a:tabLst/>
              <a:defRPr lang="en-US" sz="1200" kern="1200" dirty="0">
                <a:solidFill>
                  <a:schemeClr val="tx1"/>
                </a:solidFill>
                <a:latin typeface="+mn-lt"/>
                <a:ea typeface="+mn-ea"/>
                <a:cs typeface="+mn-cs"/>
              </a:defRPr>
            </a:lvl5pPr>
            <a:lvl6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35159" marR="0" lvl="0" indent="-235159" algn="l" defTabSz="915216" rtl="0" eaLnBrk="1" fontAlgn="auto" latinLnBrk="0" hangingPunct="1">
              <a:lnSpc>
                <a:spcPct val="95000"/>
              </a:lnSpc>
              <a:spcBef>
                <a:spcPts val="918"/>
              </a:spcBef>
              <a:spcAft>
                <a:spcPts val="204"/>
              </a:spcAft>
              <a:buClr>
                <a:srgbClr val="0078D7"/>
              </a:buClr>
              <a:buSzTx/>
              <a:buFont typeface="Wingdings" panose="05000000000000000000" pitchFamily="2" charset="2"/>
              <a:buChar char="§"/>
              <a:tabLst/>
              <a:defRPr/>
            </a:pPr>
            <a:endParaRPr kumimoji="0" lang="en-US" sz="153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15" name="Picture 14" descr="ontap-cloud.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382044" y="4110378"/>
            <a:ext cx="1498101" cy="1498101"/>
          </a:xfrm>
          <a:prstGeom prst="rect">
            <a:avLst/>
          </a:prstGeom>
        </p:spPr>
      </p:pic>
      <p:pic>
        <p:nvPicPr>
          <p:cNvPr id="17" name="Picture 16" descr="MS-Azure_rgb_Blk_D.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86365" y="5764074"/>
            <a:ext cx="2421021" cy="322421"/>
          </a:xfrm>
          <a:prstGeom prst="rect">
            <a:avLst/>
          </a:prstGeom>
        </p:spPr>
      </p:pic>
      <p:sp>
        <p:nvSpPr>
          <p:cNvPr id="18" name="Footer Placeholder 17"/>
          <p:cNvSpPr>
            <a:spLocks noGrp="1"/>
          </p:cNvSpPr>
          <p:nvPr>
            <p:ph type="ftr" sz="quarter" idx="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dirty="0">
                <a:ln>
                  <a:noFill/>
                </a:ln>
                <a:solidFill>
                  <a:srgbClr val="EAEAEA"/>
                </a:solidFill>
                <a:effectLst/>
                <a:uLnTx/>
                <a:uFillTx/>
                <a:latin typeface="Segoe UI"/>
                <a:ea typeface="+mn-ea"/>
                <a:cs typeface="+mn-cs"/>
              </a:rPr>
              <a:t>© 2016 NetApp, Inc. All rights reserved. </a:t>
            </a:r>
          </a:p>
        </p:txBody>
      </p:sp>
      <p:sp>
        <p:nvSpPr>
          <p:cNvPr id="19" name="Slide Number Placeholder 18"/>
          <p:cNvSpPr>
            <a:spLocks noGrp="1"/>
          </p:cNvSpPr>
          <p:nvPr>
            <p:ph type="sldNum" sz="quarter" idx="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B071A5F3-A4FF-4CEE-8215-C08835B585C1}" type="slidenum">
              <a:rPr kumimoji="0" lang="en-US" sz="1071" b="1" i="0" u="none" strike="noStrike" kern="1200" cap="none" spc="0" normalizeH="0" baseline="0" noProof="0" smtClean="0">
                <a:ln>
                  <a:noFill/>
                </a:ln>
                <a:solidFill>
                  <a:srgbClr val="EAEAEA">
                    <a:lumMod val="50000"/>
                  </a:srgbClr>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79</a:t>
            </a:fld>
            <a:endParaRPr kumimoji="0" lang="en-US" sz="1071" b="1" i="0" u="none" strike="noStrike" kern="1200" cap="none" spc="0" normalizeH="0" baseline="0" noProof="0" dirty="0">
              <a:ln>
                <a:noFill/>
              </a:ln>
              <a:solidFill>
                <a:srgbClr val="EAEAEA">
                  <a:lumMod val="50000"/>
                </a:srgbClr>
              </a:solidFill>
              <a:effectLst/>
              <a:uLnTx/>
              <a:uFillTx/>
              <a:latin typeface="Segoe UI"/>
              <a:ea typeface="+mn-ea"/>
              <a:cs typeface="+mn-cs"/>
            </a:endParaRPr>
          </a:p>
        </p:txBody>
      </p:sp>
    </p:spTree>
    <p:extLst>
      <p:ext uri="{BB962C8B-B14F-4D97-AF65-F5344CB8AC3E}">
        <p14:creationId xmlns:p14="http://schemas.microsoft.com/office/powerpoint/2010/main" val="3510067843"/>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 – Thursday</a:t>
            </a:r>
          </a:p>
        </p:txBody>
      </p:sp>
      <p:sp>
        <p:nvSpPr>
          <p:cNvPr id="3" name="Text Placeholder 2"/>
          <p:cNvSpPr>
            <a:spLocks noGrp="1"/>
          </p:cNvSpPr>
          <p:nvPr>
            <p:ph type="body" sz="quarter" idx="10"/>
          </p:nvPr>
        </p:nvSpPr>
        <p:spPr>
          <a:xfrm>
            <a:off x="274638" y="1212850"/>
            <a:ext cx="11887200" cy="3139321"/>
          </a:xfrm>
        </p:spPr>
        <p:txBody>
          <a:bodyPr/>
          <a:lstStyle/>
          <a:p>
            <a:pPr marL="571500" indent="-571500">
              <a:buFont typeface="Arial" panose="020B0604020202020204" pitchFamily="34" charset="0"/>
              <a:buChar char="•"/>
            </a:pPr>
            <a:r>
              <a:rPr lang="en-US" sz="2400" dirty="0"/>
              <a:t>All S-Roles need to create </a:t>
            </a:r>
            <a:r>
              <a:rPr lang="en-US" sz="2400" b="1" dirty="0">
                <a:effectLst>
                  <a:outerShdw blurRad="38100" dist="38100" dir="2700000" algn="tl">
                    <a:srgbClr val="000000">
                      <a:alpha val="43137"/>
                    </a:srgbClr>
                  </a:outerShdw>
                </a:effectLst>
              </a:rPr>
              <a:t>two</a:t>
            </a:r>
            <a:r>
              <a:rPr lang="en-US" sz="2400" dirty="0"/>
              <a:t> leads for two individual meetings in MSX and tag them with marketing code 7-LXBPP4CQ3</a:t>
            </a:r>
          </a:p>
          <a:p>
            <a:endParaRPr lang="en-US" sz="2400" dirty="0"/>
          </a:p>
          <a:p>
            <a:pPr marL="571500" indent="-571500">
              <a:buFont typeface="Arial" panose="020B0604020202020204" pitchFamily="34" charset="0"/>
              <a:buChar char="•"/>
            </a:pPr>
            <a:r>
              <a:rPr lang="en-US" sz="2400" dirty="0"/>
              <a:t>STU T-Roles should report to the MTC MPR rooms to support on an ad-hoc basis the sales meetings occurring</a:t>
            </a:r>
          </a:p>
          <a:p>
            <a:pPr marL="571500" indent="-571500">
              <a:buFont typeface="Arial" panose="020B0604020202020204" pitchFamily="34" charset="0"/>
              <a:buChar char="•"/>
            </a:pPr>
            <a:endParaRPr lang="en-US" sz="2400" dirty="0"/>
          </a:p>
          <a:p>
            <a:pPr marL="571500" indent="-571500">
              <a:buFont typeface="Arial" panose="020B0604020202020204" pitchFamily="34" charset="0"/>
              <a:buChar char="•"/>
            </a:pPr>
            <a:r>
              <a:rPr lang="en-US" sz="2400" dirty="0"/>
              <a:t>Anyone requiring support should IM </a:t>
            </a:r>
            <a:r>
              <a:rPr lang="en-US" sz="2400" dirty="0">
                <a:hlinkClick r:id="rId2"/>
              </a:rPr>
              <a:t>rhysz@Microsoft.com</a:t>
            </a:r>
            <a:r>
              <a:rPr lang="en-US" sz="2400" dirty="0"/>
              <a:t> and I will find you the best available resource to dial into your meeting</a:t>
            </a:r>
          </a:p>
        </p:txBody>
      </p:sp>
    </p:spTree>
    <p:extLst>
      <p:ext uri="{BB962C8B-B14F-4D97-AF65-F5344CB8AC3E}">
        <p14:creationId xmlns:p14="http://schemas.microsoft.com/office/powerpoint/2010/main" val="2214472921"/>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TAP Cloud for Microsoft Azure</a:t>
            </a:r>
          </a:p>
        </p:txBody>
      </p:sp>
      <p:sp>
        <p:nvSpPr>
          <p:cNvPr id="8" name="TextBox 7"/>
          <p:cNvSpPr txBox="1"/>
          <p:nvPr/>
        </p:nvSpPr>
        <p:spPr>
          <a:xfrm>
            <a:off x="5246705" y="675799"/>
            <a:ext cx="932603" cy="932603"/>
          </a:xfrm>
          <a:prstGeom prst="rect">
            <a:avLst/>
          </a:prstGeom>
        </p:spPr>
        <p:txBody>
          <a:bodyPr vert="horz" wrap="none" lIns="93260" tIns="46630" rIns="93260" bIns="46630" rtlCol="0" anchor="ctr">
            <a:noAutofit/>
          </a:bodyPr>
          <a:lstStyle/>
          <a:p>
            <a:pPr marL="0" marR="0" lvl="0" indent="0" algn="l" defTabSz="932597" rtl="0" eaLnBrk="1" fontAlgn="auto" latinLnBrk="0" hangingPunct="1">
              <a:lnSpc>
                <a:spcPct val="95000"/>
              </a:lnSpc>
              <a:spcBef>
                <a:spcPts val="408"/>
              </a:spcBef>
              <a:spcAft>
                <a:spcPts val="204"/>
              </a:spcAft>
              <a:buClrTx/>
              <a:buSzTx/>
              <a:buFontTx/>
              <a:buNone/>
              <a:tabLst/>
              <a:defRPr/>
            </a:pPr>
            <a:endParaRPr kumimoji="0" lang="en-US" sz="1836" b="0" i="0" u="none" strike="noStrike" kern="1200" cap="none" spc="0" normalizeH="0" baseline="0" noProof="0" dirty="0">
              <a:ln>
                <a:noFill/>
              </a:ln>
              <a:solidFill>
                <a:sysClr val="windowText" lastClr="000000"/>
              </a:solidFill>
              <a:effectLst/>
              <a:uLnTx/>
              <a:uFillTx/>
              <a:latin typeface="Segoe UI"/>
              <a:ea typeface="+mn-ea"/>
              <a:cs typeface="+mn-cs"/>
            </a:endParaRPr>
          </a:p>
        </p:txBody>
      </p:sp>
      <p:grpSp>
        <p:nvGrpSpPr>
          <p:cNvPr id="27" name="Group 26"/>
          <p:cNvGrpSpPr/>
          <p:nvPr/>
        </p:nvGrpSpPr>
        <p:grpSpPr>
          <a:xfrm>
            <a:off x="1387124" y="1704255"/>
            <a:ext cx="8997966" cy="4240089"/>
            <a:chOff x="1065032" y="1551301"/>
            <a:chExt cx="8822336" cy="4157327"/>
          </a:xfrm>
        </p:grpSpPr>
        <p:grpSp>
          <p:nvGrpSpPr>
            <p:cNvPr id="28" name="Group 27"/>
            <p:cNvGrpSpPr/>
            <p:nvPr/>
          </p:nvGrpSpPr>
          <p:grpSpPr>
            <a:xfrm>
              <a:off x="1065032" y="1551301"/>
              <a:ext cx="8802389" cy="4157327"/>
              <a:chOff x="1065032" y="1551301"/>
              <a:chExt cx="8802389" cy="4157327"/>
            </a:xfrm>
          </p:grpSpPr>
          <p:grpSp>
            <p:nvGrpSpPr>
              <p:cNvPr id="33" name="Group 32"/>
              <p:cNvGrpSpPr/>
              <p:nvPr/>
            </p:nvGrpSpPr>
            <p:grpSpPr>
              <a:xfrm>
                <a:off x="1065032" y="1551301"/>
                <a:ext cx="8735233" cy="4157327"/>
                <a:chOff x="5962073" y="2193406"/>
                <a:chExt cx="6052498" cy="2880543"/>
              </a:xfrm>
            </p:grpSpPr>
            <p:pic>
              <p:nvPicPr>
                <p:cNvPr id="35" name="Content Placeholder 9" descr="Screen Shot 2016-08-26 at 9.23.46 AM.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962073" y="2288376"/>
                  <a:ext cx="6052498" cy="2785573"/>
                </a:xfrm>
                <a:prstGeom prst="rect">
                  <a:avLst/>
                </a:prstGeom>
              </p:spPr>
            </p:pic>
            <p:pic>
              <p:nvPicPr>
                <p:cNvPr id="36" name="image5.png" descr="FAS2554-4U.png"/>
                <p:cNvPicPr/>
                <p:nvPr/>
              </p:nvPicPr>
              <p:blipFill>
                <a:blip r:embed="rId4" cstate="email">
                  <a:extLst>
                    <a:ext uri="{28A0092B-C50C-407E-A947-70E740481C1C}">
                      <a14:useLocalDpi xmlns:a14="http://schemas.microsoft.com/office/drawing/2010/main"/>
                    </a:ext>
                  </a:extLst>
                </a:blip>
                <a:stretch>
                  <a:fillRect/>
                </a:stretch>
              </p:blipFill>
              <p:spPr>
                <a:xfrm>
                  <a:off x="6159826" y="3149364"/>
                  <a:ext cx="1014363" cy="361794"/>
                </a:xfrm>
                <a:prstGeom prst="rect">
                  <a:avLst/>
                </a:prstGeom>
                <a:ln w="12700">
                  <a:miter lim="400000"/>
                </a:ln>
              </p:spPr>
            </p:pic>
            <p:pic>
              <p:nvPicPr>
                <p:cNvPr id="37" name="image273.png" descr="Stack-Virtual-App-OS.png"/>
                <p:cNvPicPr/>
                <p:nvPr/>
              </p:nvPicPr>
              <p:blipFill>
                <a:blip r:embed="rId5" cstate="email">
                  <a:extLst>
                    <a:ext uri="{28A0092B-C50C-407E-A947-70E740481C1C}">
                      <a14:useLocalDpi xmlns:a14="http://schemas.microsoft.com/office/drawing/2010/main"/>
                    </a:ext>
                  </a:extLst>
                </a:blip>
                <a:stretch>
                  <a:fillRect/>
                </a:stretch>
              </p:blipFill>
              <p:spPr>
                <a:xfrm>
                  <a:off x="8177998" y="2271918"/>
                  <a:ext cx="372756" cy="559960"/>
                </a:xfrm>
                <a:prstGeom prst="rect">
                  <a:avLst/>
                </a:prstGeom>
                <a:ln w="12700">
                  <a:miter lim="400000"/>
                </a:ln>
              </p:spPr>
            </p:pic>
            <p:pic>
              <p:nvPicPr>
                <p:cNvPr id="38" name="image273.png" descr="Stack-Virtual-App-OS.png"/>
                <p:cNvPicPr/>
                <p:nvPr/>
              </p:nvPicPr>
              <p:blipFill>
                <a:blip r:embed="rId5" cstate="email">
                  <a:extLst>
                    <a:ext uri="{28A0092B-C50C-407E-A947-70E740481C1C}">
                      <a14:useLocalDpi xmlns:a14="http://schemas.microsoft.com/office/drawing/2010/main"/>
                    </a:ext>
                  </a:extLst>
                </a:blip>
                <a:stretch>
                  <a:fillRect/>
                </a:stretch>
              </p:blipFill>
              <p:spPr>
                <a:xfrm>
                  <a:off x="8683175" y="2193406"/>
                  <a:ext cx="372756" cy="559960"/>
                </a:xfrm>
                <a:prstGeom prst="rect">
                  <a:avLst/>
                </a:prstGeom>
                <a:ln w="12700">
                  <a:miter lim="400000"/>
                </a:ln>
              </p:spPr>
            </p:pic>
            <p:pic>
              <p:nvPicPr>
                <p:cNvPr id="39" name="image273.png" descr="Stack-Virtual-App-OS.png"/>
                <p:cNvPicPr/>
                <p:nvPr/>
              </p:nvPicPr>
              <p:blipFill>
                <a:blip r:embed="rId5" cstate="email">
                  <a:extLst>
                    <a:ext uri="{28A0092B-C50C-407E-A947-70E740481C1C}">
                      <a14:useLocalDpi xmlns:a14="http://schemas.microsoft.com/office/drawing/2010/main"/>
                    </a:ext>
                  </a:extLst>
                </a:blip>
                <a:stretch>
                  <a:fillRect/>
                </a:stretch>
              </p:blipFill>
              <p:spPr>
                <a:xfrm>
                  <a:off x="9167440" y="2263963"/>
                  <a:ext cx="372756" cy="559960"/>
                </a:xfrm>
                <a:prstGeom prst="rect">
                  <a:avLst/>
                </a:prstGeom>
                <a:ln w="12700">
                  <a:miter lim="400000"/>
                </a:ln>
              </p:spPr>
            </p:pic>
            <p:sp>
              <p:nvSpPr>
                <p:cNvPr id="40" name="Rectangle 39"/>
                <p:cNvSpPr/>
                <p:nvPr/>
              </p:nvSpPr>
              <p:spPr>
                <a:xfrm>
                  <a:off x="7520551" y="3159002"/>
                  <a:ext cx="432953" cy="29826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5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41" name="image128.png" descr="SnapMirror-Right.png"/>
                <p:cNvPicPr/>
                <p:nvPr/>
              </p:nvPicPr>
              <p:blipFill>
                <a:blip r:embed="rId6" cstate="email">
                  <a:extLst>
                    <a:ext uri="{28A0092B-C50C-407E-A947-70E740481C1C}">
                      <a14:useLocalDpi xmlns:a14="http://schemas.microsoft.com/office/drawing/2010/main"/>
                    </a:ext>
                  </a:extLst>
                </a:blip>
                <a:stretch>
                  <a:fillRect/>
                </a:stretch>
              </p:blipFill>
              <p:spPr>
                <a:xfrm>
                  <a:off x="7510930" y="3155794"/>
                  <a:ext cx="439368" cy="306355"/>
                </a:xfrm>
                <a:prstGeom prst="rect">
                  <a:avLst/>
                </a:prstGeom>
                <a:ln w="12700">
                  <a:miter lim="400000"/>
                </a:ln>
              </p:spPr>
            </p:pic>
          </p:grpSp>
          <p:sp>
            <p:nvSpPr>
              <p:cNvPr id="34" name="Rectangle 33"/>
              <p:cNvSpPr/>
              <p:nvPr/>
            </p:nvSpPr>
            <p:spPr>
              <a:xfrm>
                <a:off x="7101352" y="1868475"/>
                <a:ext cx="2766069" cy="1708889"/>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5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9" name="Content Placeholder 3"/>
            <p:cNvSpPr txBox="1">
              <a:spLocks/>
            </p:cNvSpPr>
            <p:nvPr/>
          </p:nvSpPr>
          <p:spPr>
            <a:xfrm>
              <a:off x="7291173" y="1687007"/>
              <a:ext cx="2596195" cy="2229476"/>
            </a:xfrm>
            <a:prstGeom prst="rect">
              <a:avLst/>
            </a:prstGeom>
          </p:spPr>
          <p:txBody>
            <a:bodyPr/>
            <a:lstStyle>
              <a:lvl1pPr marL="235159" indent="-235159" algn="l" defTabSz="915216" rtl="0" eaLnBrk="1" latinLnBrk="0" hangingPunct="1">
                <a:lnSpc>
                  <a:spcPct val="95000"/>
                </a:lnSpc>
                <a:spcBef>
                  <a:spcPts val="1201"/>
                </a:spcBef>
                <a:spcAft>
                  <a:spcPts val="400"/>
                </a:spcAft>
                <a:buClr>
                  <a:schemeClr val="accent1"/>
                </a:buClr>
                <a:buFont typeface="Wingdings" panose="05000000000000000000" pitchFamily="2" charset="2"/>
                <a:buChar char="§"/>
                <a:defRPr sz="2200" kern="1200">
                  <a:solidFill>
                    <a:schemeClr val="tx1"/>
                  </a:solidFill>
                  <a:latin typeface="+mn-lt"/>
                  <a:ea typeface="+mn-ea"/>
                  <a:cs typeface="+mn-cs"/>
                </a:defRPr>
              </a:lvl1pPr>
              <a:lvl2pPr marL="457608" indent="-228804" algn="l" defTabSz="915216" rtl="0" eaLnBrk="1" latinLnBrk="0" hangingPunct="1">
                <a:lnSpc>
                  <a:spcPct val="90000"/>
                </a:lnSpc>
                <a:spcBef>
                  <a:spcPts val="200"/>
                </a:spcBef>
                <a:spcAft>
                  <a:spcPts val="400"/>
                </a:spcAft>
                <a:buClr>
                  <a:schemeClr val="tx1">
                    <a:lumMod val="65000"/>
                    <a:lumOff val="35000"/>
                  </a:schemeClr>
                </a:buClr>
                <a:buFont typeface="Wingdings" panose="05000000000000000000" pitchFamily="2" charset="2"/>
                <a:buChar char="§"/>
                <a:defRPr sz="1800" kern="1200">
                  <a:solidFill>
                    <a:schemeClr val="tx1"/>
                  </a:solidFill>
                  <a:latin typeface="+mn-lt"/>
                  <a:ea typeface="+mn-ea"/>
                  <a:cs typeface="+mn-cs"/>
                </a:defRPr>
              </a:lvl2pPr>
              <a:lvl3pPr marL="686412" indent="-228804" algn="l" defTabSz="915216" rtl="0" eaLnBrk="1" latinLnBrk="0" hangingPunct="1">
                <a:lnSpc>
                  <a:spcPct val="85000"/>
                </a:lnSpc>
                <a:spcBef>
                  <a:spcPts val="200"/>
                </a:spcBef>
                <a:spcAft>
                  <a:spcPts val="400"/>
                </a:spcAft>
                <a:buClr>
                  <a:schemeClr val="tx1">
                    <a:lumMod val="65000"/>
                    <a:lumOff val="35000"/>
                  </a:schemeClr>
                </a:buClr>
                <a:buFont typeface="Wingdings" panose="05000000000000000000" pitchFamily="2" charset="2"/>
                <a:buChar char="§"/>
                <a:defRPr sz="1600" kern="1200">
                  <a:solidFill>
                    <a:schemeClr val="tx1"/>
                  </a:solidFill>
                  <a:latin typeface="+mn-lt"/>
                  <a:ea typeface="+mn-ea"/>
                  <a:cs typeface="+mn-cs"/>
                </a:defRPr>
              </a:lvl3pPr>
              <a:lvl4pPr marL="915216" indent="-228804" algn="l" defTabSz="915216" rtl="0" eaLnBrk="1" latinLnBrk="0" hangingPunct="1">
                <a:lnSpc>
                  <a:spcPct val="85000"/>
                </a:lnSpc>
                <a:spcBef>
                  <a:spcPts val="200"/>
                </a:spcBef>
                <a:spcAft>
                  <a:spcPts val="400"/>
                </a:spcAft>
                <a:buClr>
                  <a:schemeClr val="tx1">
                    <a:lumMod val="65000"/>
                    <a:lumOff val="35000"/>
                  </a:schemeClr>
                </a:buClr>
                <a:buFont typeface="Wingdings" panose="05000000000000000000" pitchFamily="2" charset="2"/>
                <a:buChar char="§"/>
                <a:defRPr sz="1400" kern="1200">
                  <a:solidFill>
                    <a:schemeClr val="tx1"/>
                  </a:solidFill>
                  <a:latin typeface="+mn-lt"/>
                  <a:ea typeface="+mn-ea"/>
                  <a:cs typeface="+mn-cs"/>
                </a:defRPr>
              </a:lvl4pPr>
              <a:lvl5pPr marL="1086818" marR="0" indent="-171603" algn="l" defTabSz="915216" rtl="0" eaLnBrk="1" fontAlgn="auto" latinLnBrk="0" hangingPunct="1">
                <a:lnSpc>
                  <a:spcPct val="85000"/>
                </a:lnSpc>
                <a:spcBef>
                  <a:spcPts val="200"/>
                </a:spcBef>
                <a:spcAft>
                  <a:spcPts val="400"/>
                </a:spcAft>
                <a:buClr>
                  <a:schemeClr val="tx1">
                    <a:lumMod val="65000"/>
                    <a:lumOff val="35000"/>
                  </a:schemeClr>
                </a:buClr>
                <a:buSzTx/>
                <a:buFont typeface="Wingdings" panose="05000000000000000000" pitchFamily="2" charset="2"/>
                <a:buChar char="§"/>
                <a:tabLst/>
                <a:defRPr lang="en-US" sz="1200" kern="1200" dirty="0">
                  <a:solidFill>
                    <a:schemeClr val="tx1"/>
                  </a:solidFill>
                  <a:latin typeface="+mn-lt"/>
                  <a:ea typeface="+mn-ea"/>
                  <a:cs typeface="+mn-cs"/>
                </a:defRPr>
              </a:lvl5pPr>
              <a:lvl6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1144018" indent="-228804" algn="l" defTabSz="91521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6481" marR="0" lvl="0" indent="-176481" algn="l" defTabSz="915216" rtl="0" eaLnBrk="1" fontAlgn="auto" latinLnBrk="0" hangingPunct="1">
                <a:lnSpc>
                  <a:spcPct val="95000"/>
                </a:lnSpc>
                <a:spcBef>
                  <a:spcPts val="204"/>
                </a:spcBef>
                <a:spcAft>
                  <a:spcPts val="400"/>
                </a:spcAft>
                <a:buClr>
                  <a:srgbClr val="0078D7"/>
                </a:buClr>
                <a:buSzTx/>
                <a:buFont typeface="Wingdings" panose="05000000000000000000" pitchFamily="2" charset="2"/>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Snapshot</a:t>
              </a:r>
              <a:r>
                <a:rPr kumimoji="0" lang="en-US" sz="1428" b="0" i="0" u="none" strike="noStrike" kern="1200" cap="none" spc="0" normalizeH="0" baseline="30000" noProof="0" dirty="0">
                  <a:ln>
                    <a:noFill/>
                  </a:ln>
                  <a:solidFill>
                    <a:srgbClr val="505050"/>
                  </a:solidFill>
                  <a:effectLst/>
                  <a:uLnTx/>
                  <a:uFillTx/>
                  <a:latin typeface="Segoe UI"/>
                  <a:ea typeface="+mn-ea"/>
                  <a:cs typeface="+mn-cs"/>
                </a:rPr>
                <a:t>®</a:t>
              </a:r>
              <a:r>
                <a:rPr kumimoji="0" lang="en-US" sz="1632" b="0" i="0" u="none" strike="noStrike" kern="1200" cap="none" spc="0" normalizeH="0" baseline="0" noProof="0" dirty="0">
                  <a:ln>
                    <a:noFill/>
                  </a:ln>
                  <a:solidFill>
                    <a:srgbClr val="505050"/>
                  </a:solidFill>
                  <a:effectLst/>
                  <a:uLnTx/>
                  <a:uFillTx/>
                  <a:latin typeface="Segoe UI"/>
                  <a:ea typeface="+mn-ea"/>
                  <a:cs typeface="+mn-cs"/>
                </a:rPr>
                <a:t> copies</a:t>
              </a:r>
            </a:p>
            <a:p>
              <a:pPr marL="176481" marR="0" lvl="0" indent="-176481" algn="l" defTabSz="915216" rtl="0" eaLnBrk="1" fontAlgn="auto" latinLnBrk="0" hangingPunct="1">
                <a:lnSpc>
                  <a:spcPct val="95000"/>
                </a:lnSpc>
                <a:spcBef>
                  <a:spcPts val="204"/>
                </a:spcBef>
                <a:spcAft>
                  <a:spcPts val="400"/>
                </a:spcAft>
                <a:buClr>
                  <a:srgbClr val="0078D7"/>
                </a:buClr>
                <a:buSzTx/>
                <a:buFont typeface="Wingdings" panose="05000000000000000000" pitchFamily="2" charset="2"/>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Deduplication</a:t>
              </a:r>
            </a:p>
            <a:p>
              <a:pPr marL="176481" marR="0" lvl="0" indent="-176481" algn="l" defTabSz="915216" rtl="0" eaLnBrk="1" fontAlgn="auto" latinLnBrk="0" hangingPunct="1">
                <a:lnSpc>
                  <a:spcPct val="95000"/>
                </a:lnSpc>
                <a:spcBef>
                  <a:spcPts val="204"/>
                </a:spcBef>
                <a:spcAft>
                  <a:spcPts val="400"/>
                </a:spcAft>
                <a:buClr>
                  <a:srgbClr val="0078D7"/>
                </a:buClr>
                <a:buSzTx/>
                <a:buFont typeface="Wingdings" panose="05000000000000000000" pitchFamily="2" charset="2"/>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Compression</a:t>
              </a:r>
            </a:p>
            <a:p>
              <a:pPr marL="176481" marR="0" lvl="0" indent="-176481" algn="l" defTabSz="915216" rtl="0" eaLnBrk="1" fontAlgn="auto" latinLnBrk="0" hangingPunct="1">
                <a:lnSpc>
                  <a:spcPct val="95000"/>
                </a:lnSpc>
                <a:spcBef>
                  <a:spcPts val="204"/>
                </a:spcBef>
                <a:spcAft>
                  <a:spcPts val="400"/>
                </a:spcAft>
                <a:buClr>
                  <a:srgbClr val="0078D7"/>
                </a:buClr>
                <a:buSzTx/>
                <a:buFont typeface="Wingdings" panose="05000000000000000000" pitchFamily="2" charset="2"/>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SnapMirror</a:t>
              </a:r>
              <a:r>
                <a:rPr kumimoji="0" lang="en-US" sz="1428" b="0" i="0" u="none" strike="noStrike" kern="1200" cap="none" spc="0" normalizeH="0" baseline="30000" noProof="0" dirty="0">
                  <a:ln>
                    <a:noFill/>
                  </a:ln>
                  <a:solidFill>
                    <a:srgbClr val="505050"/>
                  </a:solidFill>
                  <a:effectLst/>
                  <a:uLnTx/>
                  <a:uFillTx/>
                  <a:latin typeface="Segoe UI"/>
                  <a:ea typeface="+mn-ea"/>
                  <a:cs typeface="+mn-cs"/>
                </a:rPr>
                <a:t>®</a:t>
              </a:r>
              <a:r>
                <a:rPr kumimoji="0" lang="en-US" sz="1632" b="0" i="0" u="none" strike="noStrike" kern="1200" cap="none" spc="0" normalizeH="0" baseline="0" noProof="0" dirty="0">
                  <a:ln>
                    <a:noFill/>
                  </a:ln>
                  <a:solidFill>
                    <a:srgbClr val="505050"/>
                  </a:solidFill>
                  <a:effectLst/>
                  <a:uLnTx/>
                  <a:uFillTx/>
                  <a:latin typeface="Segoe UI"/>
                  <a:ea typeface="+mn-ea"/>
                  <a:cs typeface="+mn-cs"/>
                </a:rPr>
                <a:t> and SnapVault</a:t>
              </a:r>
              <a:r>
                <a:rPr kumimoji="0" lang="en-US" sz="1428" b="0" i="0" u="none" strike="noStrike" kern="1200" cap="none" spc="0" normalizeH="0" baseline="30000" noProof="0" dirty="0">
                  <a:ln>
                    <a:noFill/>
                  </a:ln>
                  <a:solidFill>
                    <a:srgbClr val="505050"/>
                  </a:solidFill>
                  <a:effectLst/>
                  <a:uLnTx/>
                  <a:uFillTx/>
                  <a:latin typeface="Segoe UI"/>
                  <a:ea typeface="+mn-ea"/>
                  <a:cs typeface="+mn-cs"/>
                </a:rPr>
                <a:t>®</a:t>
              </a:r>
              <a:endParaRPr kumimoji="0" lang="en-US" sz="1632" b="0" i="0" u="none" strike="noStrike" kern="1200" cap="none" spc="0" normalizeH="0" baseline="30000" noProof="0" dirty="0">
                <a:ln>
                  <a:noFill/>
                </a:ln>
                <a:solidFill>
                  <a:srgbClr val="505050"/>
                </a:solidFill>
                <a:effectLst/>
                <a:uLnTx/>
                <a:uFillTx/>
                <a:latin typeface="Segoe UI"/>
                <a:ea typeface="+mn-ea"/>
                <a:cs typeface="+mn-cs"/>
              </a:endParaRPr>
            </a:p>
            <a:p>
              <a:pPr marL="176481" marR="0" lvl="0" indent="-176481" algn="l" defTabSz="915216" rtl="0" eaLnBrk="1" fontAlgn="auto" latinLnBrk="0" hangingPunct="1">
                <a:lnSpc>
                  <a:spcPct val="95000"/>
                </a:lnSpc>
                <a:spcBef>
                  <a:spcPts val="204"/>
                </a:spcBef>
                <a:spcAft>
                  <a:spcPts val="400"/>
                </a:spcAft>
                <a:buClr>
                  <a:srgbClr val="0078D7"/>
                </a:buClr>
                <a:buSzTx/>
                <a:buFont typeface="Wingdings" panose="05000000000000000000" pitchFamily="2" charset="2"/>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FlexClone</a:t>
              </a:r>
              <a:r>
                <a:rPr kumimoji="0" lang="en-US" sz="1428" b="0" i="0" u="none" strike="noStrike" kern="1200" cap="none" spc="0" normalizeH="0" baseline="30000" noProof="0" dirty="0">
                  <a:ln>
                    <a:noFill/>
                  </a:ln>
                  <a:solidFill>
                    <a:srgbClr val="505050"/>
                  </a:solidFill>
                  <a:effectLst/>
                  <a:uLnTx/>
                  <a:uFillTx/>
                  <a:latin typeface="Segoe UI"/>
                  <a:ea typeface="+mn-ea"/>
                  <a:cs typeface="+mn-cs"/>
                </a:rPr>
                <a:t>®</a:t>
              </a:r>
              <a:r>
                <a:rPr kumimoji="0" lang="en-US" sz="1632" b="0" i="0" u="none" strike="noStrike" kern="1200" cap="none" spc="0" normalizeH="0" baseline="0" noProof="0" dirty="0">
                  <a:ln>
                    <a:noFill/>
                  </a:ln>
                  <a:solidFill>
                    <a:srgbClr val="505050"/>
                  </a:solidFill>
                  <a:effectLst/>
                  <a:uLnTx/>
                  <a:uFillTx/>
                  <a:latin typeface="Segoe UI"/>
                  <a:ea typeface="+mn-ea"/>
                  <a:cs typeface="+mn-cs"/>
                </a:rPr>
                <a:t> volumes</a:t>
              </a:r>
            </a:p>
            <a:p>
              <a:pPr marL="176481" marR="0" lvl="0" indent="-176481" algn="l" defTabSz="915216" rtl="0" eaLnBrk="1" fontAlgn="auto" latinLnBrk="0" hangingPunct="1">
                <a:lnSpc>
                  <a:spcPct val="95000"/>
                </a:lnSpc>
                <a:spcBef>
                  <a:spcPts val="204"/>
                </a:spcBef>
                <a:spcAft>
                  <a:spcPts val="400"/>
                </a:spcAft>
                <a:buClr>
                  <a:srgbClr val="0078D7"/>
                </a:buClr>
                <a:buSzTx/>
                <a:buFont typeface="Wingdings" panose="05000000000000000000" pitchFamily="2" charset="2"/>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NFS/CIFS/iSCSI</a:t>
              </a:r>
            </a:p>
          </p:txBody>
        </p:sp>
        <p:sp>
          <p:nvSpPr>
            <p:cNvPr id="30" name="Can 29"/>
            <p:cNvSpPr/>
            <p:nvPr/>
          </p:nvSpPr>
          <p:spPr>
            <a:xfrm>
              <a:off x="4614548" y="3424432"/>
              <a:ext cx="1296595" cy="452156"/>
            </a:xfrm>
            <a:prstGeom prst="can">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95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31" name="TextBox 30"/>
            <p:cNvSpPr txBox="1"/>
            <p:nvPr/>
          </p:nvSpPr>
          <p:spPr>
            <a:xfrm>
              <a:off x="4208948" y="3510871"/>
              <a:ext cx="2121096" cy="339118"/>
            </a:xfrm>
            <a:prstGeom prst="rect">
              <a:avLst/>
            </a:prstGeom>
          </p:spPr>
          <p:txBody>
            <a:bodyPr vert="horz" wrap="square" lIns="93260" tIns="46630" rIns="93260" bIns="46630" rtlCol="0" anchor="ctr">
              <a:noAutofit/>
            </a:bodyPr>
            <a:lstStyle/>
            <a:p>
              <a:pPr marL="0" marR="0" lvl="0" indent="0" algn="ctr" defTabSz="932597" rtl="0" eaLnBrk="1" fontAlgn="auto" latinLnBrk="0" hangingPunct="1">
                <a:lnSpc>
                  <a:spcPct val="95000"/>
                </a:lnSpc>
                <a:spcBef>
                  <a:spcPts val="408"/>
                </a:spcBef>
                <a:spcAft>
                  <a:spcPts val="204"/>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mn-cs"/>
                </a:rPr>
                <a:t>Standard/</a:t>
              </a:r>
              <a:br>
                <a:rPr kumimoji="0" lang="en-US" sz="1122" b="0" i="0" u="none" strike="noStrike" kern="1200" cap="none" spc="0" normalizeH="0" baseline="0" noProof="0" dirty="0">
                  <a:ln>
                    <a:noFill/>
                  </a:ln>
                  <a:solidFill>
                    <a:srgbClr val="FFFFFF"/>
                  </a:solidFill>
                  <a:effectLst/>
                  <a:uLnTx/>
                  <a:uFillTx/>
                  <a:latin typeface="Segoe UI"/>
                  <a:ea typeface="+mn-ea"/>
                  <a:cs typeface="+mn-cs"/>
                </a:rPr>
              </a:br>
              <a:r>
                <a:rPr kumimoji="0" lang="en-US" sz="1122" b="0" i="0" u="none" strike="noStrike" kern="1200" cap="none" spc="0" normalizeH="0" baseline="0" noProof="0" dirty="0">
                  <a:ln>
                    <a:noFill/>
                  </a:ln>
                  <a:solidFill>
                    <a:srgbClr val="FFFFFF"/>
                  </a:solidFill>
                  <a:effectLst/>
                  <a:uLnTx/>
                  <a:uFillTx/>
                  <a:latin typeface="Segoe UI"/>
                  <a:ea typeface="+mn-ea"/>
                  <a:cs typeface="+mn-cs"/>
                </a:rPr>
                <a:t>Premium Storage</a:t>
              </a:r>
            </a:p>
          </p:txBody>
        </p:sp>
        <p:pic>
          <p:nvPicPr>
            <p:cNvPr id="32" name="Picture 31" descr="ontap-cloud.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954271" y="2873158"/>
              <a:ext cx="584517" cy="584517"/>
            </a:xfrm>
            <a:prstGeom prst="rect">
              <a:avLst/>
            </a:prstGeom>
          </p:spPr>
        </p:pic>
      </p:grpSp>
      <p:sp>
        <p:nvSpPr>
          <p:cNvPr id="44" name="Footer Placeholder 43"/>
          <p:cNvSpPr>
            <a:spLocks noGrp="1"/>
          </p:cNvSpPr>
          <p:nvPr>
            <p:ph type="ftr" sz="quarter" idx="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dirty="0">
                <a:ln>
                  <a:noFill/>
                </a:ln>
                <a:solidFill>
                  <a:srgbClr val="EAEAEA"/>
                </a:solidFill>
                <a:effectLst/>
                <a:uLnTx/>
                <a:uFillTx/>
                <a:latin typeface="Segoe UI"/>
                <a:ea typeface="+mn-ea"/>
                <a:cs typeface="+mn-cs"/>
              </a:rPr>
              <a:t>© 2016 NetApp, Inc. All rights reserved. </a:t>
            </a:r>
          </a:p>
        </p:txBody>
      </p:sp>
      <p:sp>
        <p:nvSpPr>
          <p:cNvPr id="45" name="Slide Number Placeholder 44"/>
          <p:cNvSpPr>
            <a:spLocks noGrp="1"/>
          </p:cNvSpPr>
          <p:nvPr>
            <p:ph type="sldNum" sz="quarter" idx="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B071A5F3-A4FF-4CEE-8215-C08835B585C1}" type="slidenum">
              <a:rPr kumimoji="0" lang="en-US" sz="1071" b="1" i="0" u="none" strike="noStrike" kern="1200" cap="none" spc="0" normalizeH="0" baseline="0" noProof="0" smtClean="0">
                <a:ln>
                  <a:noFill/>
                </a:ln>
                <a:solidFill>
                  <a:srgbClr val="EAEAEA">
                    <a:lumMod val="50000"/>
                  </a:srgbClr>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80</a:t>
            </a:fld>
            <a:endParaRPr kumimoji="0" lang="en-US" sz="1071" b="1" i="0" u="none" strike="noStrike" kern="1200" cap="none" spc="0" normalizeH="0" baseline="0" noProof="0" dirty="0">
              <a:ln>
                <a:noFill/>
              </a:ln>
              <a:solidFill>
                <a:srgbClr val="EAEAEA">
                  <a:lumMod val="50000"/>
                </a:srgbClr>
              </a:solidFill>
              <a:effectLst/>
              <a:uLnTx/>
              <a:uFillTx/>
              <a:latin typeface="Segoe UI"/>
              <a:ea typeface="+mn-ea"/>
              <a:cs typeface="+mn-cs"/>
            </a:endParaRPr>
          </a:p>
        </p:txBody>
      </p:sp>
    </p:spTree>
    <p:extLst>
      <p:ext uri="{BB962C8B-B14F-4D97-AF65-F5344CB8AC3E}">
        <p14:creationId xmlns:p14="http://schemas.microsoft.com/office/powerpoint/2010/main" val="1648659163"/>
      </p:ext>
    </p:extLst>
  </p:cSld>
  <p:clrMapOvr>
    <a:masterClrMapping/>
  </p:clrMapOvr>
  <p:transition spd="med">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en-US" dirty="0"/>
              <a:t>Thank you</a:t>
            </a:r>
          </a:p>
        </p:txBody>
      </p:sp>
      <p:sp>
        <p:nvSpPr>
          <p:cNvPr id="4" name="Footer Placeholder 3"/>
          <p:cNvSpPr>
            <a:spLocks noGrp="1"/>
          </p:cNvSpPr>
          <p:nvPr>
            <p:ph type="ftr" sz="quarter" idx="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dirty="0">
                <a:ln>
                  <a:noFill/>
                </a:ln>
                <a:solidFill>
                  <a:srgbClr val="EAEAEA"/>
                </a:solidFill>
                <a:effectLst/>
                <a:uLnTx/>
                <a:uFillTx/>
                <a:latin typeface="Segoe UI"/>
                <a:ea typeface="+mn-ea"/>
                <a:cs typeface="+mn-cs"/>
              </a:rPr>
              <a:t>© 2016 NetApp, Inc. All rights reserved. </a:t>
            </a:r>
          </a:p>
        </p:txBody>
      </p:sp>
      <p:sp>
        <p:nvSpPr>
          <p:cNvPr id="5" name="Slide Number Placeholder 4"/>
          <p:cNvSpPr>
            <a:spLocks noGrp="1"/>
          </p:cNvSpPr>
          <p:nvPr>
            <p:ph type="sldNum" sz="quarter" idx="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B071A5F3-A4FF-4CEE-8215-C08835B585C1}" type="slidenum">
              <a:rPr kumimoji="0" lang="en-US" sz="1071" b="1" i="0" u="none" strike="noStrike" kern="1200" cap="none" spc="0" normalizeH="0" baseline="0" noProof="0" smtClean="0">
                <a:ln>
                  <a:noFill/>
                </a:ln>
                <a:solidFill>
                  <a:srgbClr val="EAEAEA">
                    <a:lumMod val="50000"/>
                  </a:srgbClr>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81</a:t>
            </a:fld>
            <a:endParaRPr kumimoji="0" lang="en-US" sz="1071" b="1" i="0" u="none" strike="noStrike" kern="1200" cap="none" spc="0" normalizeH="0" baseline="0" noProof="0" dirty="0">
              <a:ln>
                <a:noFill/>
              </a:ln>
              <a:solidFill>
                <a:srgbClr val="EAEAEA">
                  <a:lumMod val="50000"/>
                </a:srgbClr>
              </a:solidFill>
              <a:effectLst/>
              <a:uLnTx/>
              <a:uFillTx/>
              <a:latin typeface="Segoe UI"/>
              <a:ea typeface="+mn-ea"/>
              <a:cs typeface="+mn-cs"/>
            </a:endParaRPr>
          </a:p>
        </p:txBody>
      </p:sp>
    </p:spTree>
    <p:extLst>
      <p:ext uri="{BB962C8B-B14F-4D97-AF65-F5344CB8AC3E}">
        <p14:creationId xmlns:p14="http://schemas.microsoft.com/office/powerpoint/2010/main" val="847033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843"/>
        <p:cNvGrpSpPr/>
        <p:nvPr/>
      </p:nvGrpSpPr>
      <p:grpSpPr>
        <a:xfrm>
          <a:off x="0" y="0"/>
          <a:ext cx="0" cy="0"/>
          <a:chOff x="0" y="0"/>
          <a:chExt cx="0" cy="0"/>
        </a:xfrm>
      </p:grpSpPr>
      <p:sp>
        <p:nvSpPr>
          <p:cNvPr id="844" name="Shape 844"/>
          <p:cNvSpPr txBox="1">
            <a:spLocks noGrp="1"/>
          </p:cNvSpPr>
          <p:nvPr>
            <p:ph type="title"/>
          </p:nvPr>
        </p:nvSpPr>
        <p:spPr>
          <a:xfrm>
            <a:off x="1387582" y="3030961"/>
            <a:ext cx="10197442" cy="932603"/>
          </a:xfrm>
          <a:prstGeom prst="rect">
            <a:avLst/>
          </a:prstGeom>
        </p:spPr>
        <p:txBody>
          <a:bodyPr lIns="124327" tIns="124327" rIns="124327" bIns="124327" anchor="b" anchorCtr="0">
            <a:noAutofit/>
          </a:bodyPr>
          <a:lstStyle/>
          <a:p>
            <a:r>
              <a:rPr lang="en" sz="3808"/>
              <a:t>MICROSOFT AND RED HAT:</a:t>
            </a:r>
          </a:p>
          <a:p>
            <a:r>
              <a:rPr lang="en" sz="3808"/>
              <a:t>DRIVING OPENNESS IN GOVERNMENT</a:t>
            </a:r>
          </a:p>
        </p:txBody>
      </p:sp>
      <p:sp>
        <p:nvSpPr>
          <p:cNvPr id="845" name="Shape 845"/>
          <p:cNvSpPr txBox="1">
            <a:spLocks noGrp="1"/>
          </p:cNvSpPr>
          <p:nvPr>
            <p:ph type="subTitle" idx="1"/>
          </p:nvPr>
        </p:nvSpPr>
        <p:spPr>
          <a:xfrm>
            <a:off x="1387582" y="4766639"/>
            <a:ext cx="9858017" cy="1631852"/>
          </a:xfrm>
          <a:prstGeom prst="rect">
            <a:avLst/>
          </a:prstGeom>
        </p:spPr>
        <p:txBody>
          <a:bodyPr lIns="124327" tIns="124327" rIns="124327" bIns="124327" anchor="ctr" anchorCtr="0">
            <a:noAutofit/>
          </a:bodyPr>
          <a:lstStyle/>
          <a:p>
            <a:r>
              <a:rPr lang="en" sz="2448" b="1"/>
              <a:t>Adam Clater</a:t>
            </a:r>
          </a:p>
          <a:p>
            <a:r>
              <a:rPr lang="en" sz="2448"/>
              <a:t>Chief Architect, North America Public Sector, Red Hat</a:t>
            </a:r>
          </a:p>
          <a:p>
            <a:r>
              <a:rPr lang="en" sz="2448"/>
              <a:t>+1 (703)829 0138 </a:t>
            </a:r>
            <a:r>
              <a:rPr lang="en" sz="2448">
                <a:solidFill>
                  <a:schemeClr val="lt1"/>
                </a:solidFill>
              </a:rPr>
              <a:t>•</a:t>
            </a:r>
            <a:r>
              <a:rPr lang="en" sz="2448"/>
              <a:t> adam@redhat.com • @aclater</a:t>
            </a:r>
          </a:p>
          <a:p>
            <a:endParaRPr sz="2448"/>
          </a:p>
          <a:p>
            <a:r>
              <a:rPr lang="en" sz="2448" b="1"/>
              <a:t>Sima Shahin</a:t>
            </a:r>
          </a:p>
          <a:p>
            <a:r>
              <a:rPr lang="en" sz="2448"/>
              <a:t>Business Development Manager, North America Public Sector, Red Hat</a:t>
            </a:r>
          </a:p>
          <a:p>
            <a:r>
              <a:rPr lang="en" sz="2448"/>
              <a:t>+1(703)867-8022 </a:t>
            </a:r>
            <a:r>
              <a:rPr lang="en" sz="2448">
                <a:solidFill>
                  <a:schemeClr val="lt1"/>
                </a:solidFill>
              </a:rPr>
              <a:t>•</a:t>
            </a:r>
            <a:r>
              <a:rPr lang="en" sz="2448"/>
              <a:t> sishain@redhat.com </a:t>
            </a:r>
            <a:r>
              <a:rPr lang="en" sz="2448">
                <a:solidFill>
                  <a:schemeClr val="lt1"/>
                </a:solidFill>
              </a:rPr>
              <a:t>• @SimaShahin</a:t>
            </a:r>
          </a:p>
        </p:txBody>
      </p:sp>
    </p:spTree>
    <p:extLst>
      <p:ext uri="{BB962C8B-B14F-4D97-AF65-F5344CB8AC3E}">
        <p14:creationId xmlns:p14="http://schemas.microsoft.com/office/powerpoint/2010/main" val="227454384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849"/>
        <p:cNvGrpSpPr/>
        <p:nvPr/>
      </p:nvGrpSpPr>
      <p:grpSpPr>
        <a:xfrm>
          <a:off x="0" y="0"/>
          <a:ext cx="0" cy="0"/>
          <a:chOff x="0" y="0"/>
          <a:chExt cx="0" cy="0"/>
        </a:xfrm>
      </p:grpSpPr>
      <p:sp>
        <p:nvSpPr>
          <p:cNvPr id="850" name="Shape 850"/>
          <p:cNvSpPr txBox="1"/>
          <p:nvPr/>
        </p:nvSpPr>
        <p:spPr>
          <a:xfrm>
            <a:off x="882" y="381642"/>
            <a:ext cx="12434711" cy="896295"/>
          </a:xfrm>
          <a:prstGeom prst="rect">
            <a:avLst/>
          </a:prstGeom>
          <a:noFill/>
          <a:ln>
            <a:noFill/>
          </a:ln>
        </p:spPr>
        <p:txBody>
          <a:bodyPr lIns="124327" tIns="124327" rIns="124327" bIns="124327" anchor="ctr" anchorCtr="0">
            <a:noAutofit/>
          </a:bodyPr>
          <a:lstStyle/>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 sz="3536" b="1" i="0" u="none" strike="noStrike" kern="0" cap="none" spc="0" normalizeH="0" baseline="0" noProof="0">
                <a:ln>
                  <a:noFill/>
                </a:ln>
                <a:solidFill>
                  <a:sysClr val="windowText" lastClr="000000"/>
                </a:solidFill>
                <a:effectLst/>
                <a:uLnTx/>
                <a:uFillTx/>
                <a:latin typeface="Proxima Nova"/>
                <a:ea typeface="Proxima Nova"/>
                <a:cs typeface="Proxima Nova"/>
                <a:sym typeface="Proxima Nova"/>
              </a:rPr>
              <a:t>STRATEGIC PARTNERSHIP </a:t>
            </a:r>
          </a:p>
        </p:txBody>
      </p:sp>
      <p:sp>
        <p:nvSpPr>
          <p:cNvPr id="851" name="Shape 851"/>
          <p:cNvSpPr txBox="1"/>
          <p:nvPr/>
        </p:nvSpPr>
        <p:spPr>
          <a:xfrm>
            <a:off x="2003" y="1084484"/>
            <a:ext cx="12434711" cy="535247"/>
          </a:xfrm>
          <a:prstGeom prst="rect">
            <a:avLst/>
          </a:prstGeom>
          <a:noFill/>
          <a:ln>
            <a:noFill/>
          </a:ln>
        </p:spPr>
        <p:txBody>
          <a:bodyPr lIns="124327" tIns="124327" rIns="124327" bIns="124327" anchor="b" anchorCtr="0">
            <a:noAutofit/>
          </a:bodyPr>
          <a:lstStyle/>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 sz="2176" b="0" i="0" u="none" strike="noStrike" kern="0" cap="none" spc="0" normalizeH="0" baseline="0" noProof="0">
                <a:ln>
                  <a:noFill/>
                </a:ln>
                <a:solidFill>
                  <a:sysClr val="windowText" lastClr="000000"/>
                </a:solidFill>
                <a:effectLst/>
                <a:uLnTx/>
                <a:uFillTx/>
                <a:latin typeface="Proxima Nova"/>
                <a:ea typeface="Proxima Nova"/>
                <a:cs typeface="Proxima Nova"/>
                <a:sym typeface="Proxima Nova"/>
              </a:rPr>
              <a:t>Red Hat and Microsoft</a:t>
            </a:r>
          </a:p>
        </p:txBody>
      </p:sp>
      <p:sp>
        <p:nvSpPr>
          <p:cNvPr id="852" name="Shape 852"/>
          <p:cNvSpPr/>
          <p:nvPr/>
        </p:nvSpPr>
        <p:spPr>
          <a:xfrm>
            <a:off x="2601621" y="1723031"/>
            <a:ext cx="2414325" cy="3167016"/>
          </a:xfrm>
          <a:prstGeom prst="rect">
            <a:avLst/>
          </a:prstGeom>
          <a:solidFill>
            <a:srgbClr val="5C2D91"/>
          </a:solidFill>
          <a:ln>
            <a:noFill/>
          </a:ln>
        </p:spPr>
        <p:txBody>
          <a:bodyPr lIns="243792" tIns="194836" rIns="243792" bIns="194836" anchor="t" anchorCtr="0">
            <a:noAutofit/>
          </a:bodyPr>
          <a:lstStyle/>
          <a:p>
            <a:pPr marL="0" marR="0" lvl="0" indent="0" algn="l" defTabSz="1243493" rtl="0" eaLnBrk="1" fontAlgn="auto" latinLnBrk="0" hangingPunct="1">
              <a:lnSpc>
                <a:spcPct val="90000"/>
              </a:lnSpc>
              <a:spcBef>
                <a:spcPts val="0"/>
              </a:spcBef>
              <a:spcAft>
                <a:spcPts val="0"/>
              </a:spcAft>
              <a:buClrTx/>
              <a:buSzPct val="25000"/>
              <a:buFontTx/>
              <a:buNone/>
              <a:tabLst/>
              <a:defRPr/>
            </a:pPr>
            <a:r>
              <a:rPr kumimoji="0" lang="en" sz="1632" b="0" i="0" u="none" strike="noStrike" kern="0" cap="none" spc="0" normalizeH="0" baseline="0" noProof="0">
                <a:ln>
                  <a:noFill/>
                </a:ln>
                <a:solidFill>
                  <a:srgbClr val="FFFFFF"/>
                </a:solidFill>
                <a:effectLst/>
                <a:uLnTx/>
                <a:uFillTx/>
                <a:latin typeface="Proxima Nova"/>
                <a:ea typeface="Proxima Nova"/>
                <a:cs typeface="Proxima Nova"/>
                <a:sym typeface="Proxima Nova"/>
              </a:rPr>
              <a:t>Red Hat products offered and supported on Microsoft Azure</a:t>
            </a:r>
          </a:p>
          <a:p>
            <a:pPr marL="0" marR="0" lvl="0" indent="0" algn="l" defTabSz="1243493" rtl="0" eaLnBrk="1" fontAlgn="auto" latinLnBrk="0" hangingPunct="1">
              <a:lnSpc>
                <a:spcPct val="90000"/>
              </a:lnSpc>
              <a:spcBef>
                <a:spcPts val="800"/>
              </a:spcBef>
              <a:spcAft>
                <a:spcPts val="0"/>
              </a:spcAft>
              <a:buClrTx/>
              <a:buSzPct val="25000"/>
              <a:buFontTx/>
              <a:buNone/>
              <a:tabLst/>
              <a:defRPr/>
            </a:pPr>
            <a:r>
              <a:rPr kumimoji="0" lang="en" sz="1632" b="0" i="0" u="none" strike="noStrike" kern="0" cap="none" spc="0" normalizeH="0" baseline="0" noProof="0">
                <a:ln>
                  <a:noFill/>
                </a:ln>
                <a:solidFill>
                  <a:srgbClr val="FFFFFF"/>
                </a:solidFill>
                <a:effectLst/>
                <a:uLnTx/>
                <a:uFillTx/>
                <a:latin typeface="Proxima Nova"/>
                <a:ea typeface="Proxima Nova"/>
                <a:cs typeface="Proxima Nova"/>
                <a:sym typeface="Proxima Nova"/>
              </a:rPr>
              <a:t>Microsoft Windows supported on Red Hat OpenStack Platform and Red Hat Virtuali</a:t>
            </a:r>
            <a:r>
              <a:rPr kumimoji="0" lang="en" sz="1768" b="0" i="0" u="none" strike="noStrike" kern="0" cap="none" spc="0" normalizeH="0" baseline="0" noProof="0">
                <a:ln>
                  <a:noFill/>
                </a:ln>
                <a:solidFill>
                  <a:srgbClr val="FFFFFF"/>
                </a:solidFill>
                <a:effectLst/>
                <a:uLnTx/>
                <a:uFillTx/>
                <a:latin typeface="Proxima Nova"/>
                <a:ea typeface="Proxima Nova"/>
                <a:cs typeface="Proxima Nova"/>
                <a:sym typeface="Proxima Nova"/>
              </a:rPr>
              <a:t>zation</a:t>
            </a:r>
          </a:p>
        </p:txBody>
      </p:sp>
      <p:sp>
        <p:nvSpPr>
          <p:cNvPr id="853" name="Shape 853"/>
          <p:cNvSpPr/>
          <p:nvPr/>
        </p:nvSpPr>
        <p:spPr>
          <a:xfrm>
            <a:off x="5003784" y="1723031"/>
            <a:ext cx="2414325" cy="3167016"/>
          </a:xfrm>
          <a:prstGeom prst="rect">
            <a:avLst/>
          </a:prstGeom>
          <a:solidFill>
            <a:srgbClr val="32145A"/>
          </a:solidFill>
          <a:ln>
            <a:noFill/>
          </a:ln>
        </p:spPr>
        <p:txBody>
          <a:bodyPr lIns="243792" tIns="194836" rIns="243792" bIns="194836" anchor="t" anchorCtr="0">
            <a:noAutofit/>
          </a:bodyPr>
          <a:lstStyle/>
          <a:p>
            <a:pPr marL="0" marR="0" lvl="0" indent="0" algn="l" defTabSz="1243493" rtl="0" eaLnBrk="1" fontAlgn="auto" latinLnBrk="0" hangingPunct="1">
              <a:lnSpc>
                <a:spcPct val="90000"/>
              </a:lnSpc>
              <a:spcBef>
                <a:spcPts val="0"/>
              </a:spcBef>
              <a:spcAft>
                <a:spcPts val="0"/>
              </a:spcAft>
              <a:buClrTx/>
              <a:buSzPct val="25000"/>
              <a:buFontTx/>
              <a:buNone/>
              <a:tabLst/>
              <a:defRPr/>
            </a:pPr>
            <a:r>
              <a:rPr kumimoji="0" lang="en" sz="1632" b="0" i="0" u="none" strike="noStrike" kern="0" cap="none" spc="0" normalizeH="0" baseline="0" noProof="0">
                <a:ln>
                  <a:noFill/>
                </a:ln>
                <a:solidFill>
                  <a:srgbClr val="FFFFFF"/>
                </a:solidFill>
                <a:effectLst/>
                <a:uLnTx/>
                <a:uFillTx/>
                <a:latin typeface="Proxima Nova"/>
                <a:ea typeface="Proxima Nova"/>
                <a:cs typeface="Proxima Nova"/>
                <a:sym typeface="Proxima Nova"/>
              </a:rPr>
              <a:t>Integrated support services for hybrid clouds, including Red Hat products in on-premises customer environments and on Microsoft Azure</a:t>
            </a:r>
          </a:p>
        </p:txBody>
      </p:sp>
      <p:sp>
        <p:nvSpPr>
          <p:cNvPr id="854" name="Shape 854"/>
          <p:cNvSpPr/>
          <p:nvPr/>
        </p:nvSpPr>
        <p:spPr>
          <a:xfrm>
            <a:off x="7418268" y="1723031"/>
            <a:ext cx="2414325" cy="3167016"/>
          </a:xfrm>
          <a:prstGeom prst="rect">
            <a:avLst/>
          </a:prstGeom>
          <a:solidFill>
            <a:srgbClr val="00188F"/>
          </a:solidFill>
          <a:ln>
            <a:noFill/>
          </a:ln>
        </p:spPr>
        <p:txBody>
          <a:bodyPr lIns="243792" tIns="194836" rIns="243792" bIns="194836" anchor="t" anchorCtr="0">
            <a:noAutofit/>
          </a:bodyPr>
          <a:lstStyle/>
          <a:p>
            <a:pPr marL="0" marR="0" lvl="0" indent="0" algn="l" defTabSz="1243493" rtl="0" eaLnBrk="1" fontAlgn="auto" latinLnBrk="0" hangingPunct="1">
              <a:lnSpc>
                <a:spcPct val="90000"/>
              </a:lnSpc>
              <a:spcBef>
                <a:spcPts val="0"/>
              </a:spcBef>
              <a:spcAft>
                <a:spcPts val="0"/>
              </a:spcAft>
              <a:buClrTx/>
              <a:buSzPct val="25000"/>
              <a:buFontTx/>
              <a:buNone/>
              <a:tabLst/>
              <a:defRPr/>
            </a:pPr>
            <a:r>
              <a:rPr kumimoji="0" lang="en" sz="1632" b="0" i="0" u="none" strike="noStrike" kern="0" cap="none" spc="0" normalizeH="0" baseline="0" noProof="0">
                <a:ln>
                  <a:noFill/>
                </a:ln>
                <a:solidFill>
                  <a:srgbClr val="FFFFFF"/>
                </a:solidFill>
                <a:effectLst/>
                <a:uLnTx/>
                <a:uFillTx/>
                <a:latin typeface="Proxima Nova"/>
                <a:ea typeface="Proxima Nova"/>
                <a:cs typeface="Proxima Nova"/>
                <a:sym typeface="Proxima Nova"/>
              </a:rPr>
              <a:t>Management tooling integration for open hybrid cloud implementation with Red Hat CloudForms</a:t>
            </a:r>
          </a:p>
        </p:txBody>
      </p:sp>
      <p:sp>
        <p:nvSpPr>
          <p:cNvPr id="855" name="Shape 855"/>
          <p:cNvSpPr/>
          <p:nvPr/>
        </p:nvSpPr>
        <p:spPr>
          <a:xfrm>
            <a:off x="9837599" y="1723031"/>
            <a:ext cx="2414325" cy="3167016"/>
          </a:xfrm>
          <a:prstGeom prst="rect">
            <a:avLst/>
          </a:prstGeom>
          <a:solidFill>
            <a:srgbClr val="00126B"/>
          </a:solidFill>
          <a:ln>
            <a:noFill/>
          </a:ln>
        </p:spPr>
        <p:txBody>
          <a:bodyPr lIns="243792" tIns="194836" rIns="243792" bIns="194836" anchor="t" anchorCtr="0">
            <a:noAutofit/>
          </a:bodyPr>
          <a:lstStyle/>
          <a:p>
            <a:pPr marL="0" marR="0" lvl="0" indent="0" algn="l" defTabSz="1243493" rtl="0" eaLnBrk="1" fontAlgn="auto" latinLnBrk="0" hangingPunct="1">
              <a:lnSpc>
                <a:spcPct val="90000"/>
              </a:lnSpc>
              <a:spcBef>
                <a:spcPts val="0"/>
              </a:spcBef>
              <a:spcAft>
                <a:spcPts val="0"/>
              </a:spcAft>
              <a:buClrTx/>
              <a:buSzPct val="25000"/>
              <a:buFontTx/>
              <a:buNone/>
              <a:tabLst/>
              <a:defRPr/>
            </a:pPr>
            <a:r>
              <a:rPr kumimoji="0" lang="en" sz="1632" b="0" i="0" u="none" strike="noStrike" kern="0" cap="none" spc="0" normalizeH="0" baseline="0" noProof="0">
                <a:ln>
                  <a:noFill/>
                </a:ln>
                <a:solidFill>
                  <a:srgbClr val="FFFFFF"/>
                </a:solidFill>
                <a:effectLst/>
                <a:uLnTx/>
                <a:uFillTx/>
                <a:latin typeface="Proxima Nova"/>
                <a:ea typeface="Proxima Nova"/>
                <a:cs typeface="Proxima Nova"/>
                <a:sym typeface="Proxima Nova"/>
              </a:rPr>
              <a:t>Microsoft .NET integration and availability with Red Hat Enterprise Linux, including Atomic Host, and OpenShift Container Platform</a:t>
            </a:r>
          </a:p>
        </p:txBody>
      </p:sp>
      <p:sp>
        <p:nvSpPr>
          <p:cNvPr id="856" name="Shape 856"/>
          <p:cNvSpPr/>
          <p:nvPr/>
        </p:nvSpPr>
        <p:spPr>
          <a:xfrm>
            <a:off x="184549" y="1723031"/>
            <a:ext cx="2421260" cy="3167016"/>
          </a:xfrm>
          <a:prstGeom prst="rect">
            <a:avLst/>
          </a:prstGeom>
          <a:solidFill>
            <a:srgbClr val="8064A2"/>
          </a:solidFill>
          <a:ln>
            <a:noFill/>
          </a:ln>
        </p:spPr>
        <p:txBody>
          <a:bodyPr lIns="243792" tIns="194836" rIns="243792" bIns="194836" anchor="t" anchorCtr="0">
            <a:noAutofit/>
          </a:bodyPr>
          <a:lstStyle/>
          <a:p>
            <a:pPr marL="0" marR="0" lvl="0" indent="0" algn="l" defTabSz="1243493" rtl="0" eaLnBrk="1" fontAlgn="auto" latinLnBrk="0" hangingPunct="1">
              <a:lnSpc>
                <a:spcPct val="90000"/>
              </a:lnSpc>
              <a:spcBef>
                <a:spcPts val="0"/>
              </a:spcBef>
              <a:spcAft>
                <a:spcPts val="0"/>
              </a:spcAft>
              <a:buClrTx/>
              <a:buSzPct val="25000"/>
              <a:buFontTx/>
              <a:buNone/>
              <a:tabLst/>
              <a:defRPr/>
            </a:pPr>
            <a:r>
              <a:rPr kumimoji="0" lang="en" sz="1632" b="0" i="0" u="none" strike="noStrike" kern="0" cap="none" spc="0" normalizeH="0" baseline="0" noProof="0">
                <a:ln>
                  <a:noFill/>
                </a:ln>
                <a:solidFill>
                  <a:srgbClr val="FFFFFF"/>
                </a:solidFill>
                <a:effectLst/>
                <a:uLnTx/>
                <a:uFillTx/>
                <a:latin typeface="Proxima Nova"/>
                <a:ea typeface="Proxima Nova"/>
                <a:cs typeface="Proxima Nova"/>
                <a:sym typeface="Proxima Nova"/>
              </a:rPr>
              <a:t>Microsoft joins the Red Hat Certified Cloud and Service Provider program (CCSP)</a:t>
            </a:r>
          </a:p>
        </p:txBody>
      </p:sp>
      <p:grpSp>
        <p:nvGrpSpPr>
          <p:cNvPr id="857" name="Shape 857"/>
          <p:cNvGrpSpPr/>
          <p:nvPr/>
        </p:nvGrpSpPr>
        <p:grpSpPr>
          <a:xfrm>
            <a:off x="7125273" y="5555230"/>
            <a:ext cx="3000326" cy="644126"/>
            <a:chOff x="457200" y="1643392"/>
            <a:chExt cx="4492614" cy="964500"/>
          </a:xfrm>
        </p:grpSpPr>
        <p:pic>
          <p:nvPicPr>
            <p:cNvPr id="858" name="Shape 858"/>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457200" y="1643392"/>
              <a:ext cx="964500" cy="964500"/>
            </a:xfrm>
            <a:prstGeom prst="rect">
              <a:avLst/>
            </a:prstGeom>
            <a:noFill/>
            <a:ln>
              <a:noFill/>
            </a:ln>
          </p:spPr>
        </p:pic>
        <p:sp>
          <p:nvSpPr>
            <p:cNvPr id="859" name="Shape 859"/>
            <p:cNvSpPr/>
            <p:nvPr/>
          </p:nvSpPr>
          <p:spPr>
            <a:xfrm>
              <a:off x="1703514" y="1792709"/>
              <a:ext cx="3246300" cy="635400"/>
            </a:xfrm>
            <a:custGeom>
              <a:avLst/>
              <a:gdLst/>
              <a:ahLst/>
              <a:cxnLst/>
              <a:rect l="0" t="0" r="0" b="0"/>
              <a:pathLst>
                <a:path w="120000" h="120000" extrusionOk="0">
                  <a:moveTo>
                    <a:pt x="18015" y="8181"/>
                  </a:moveTo>
                  <a:cubicBezTo>
                    <a:pt x="22967" y="8181"/>
                    <a:pt x="22967" y="8181"/>
                    <a:pt x="22967" y="8181"/>
                  </a:cubicBezTo>
                  <a:cubicBezTo>
                    <a:pt x="22967" y="118363"/>
                    <a:pt x="22967" y="118363"/>
                    <a:pt x="22967" y="118363"/>
                  </a:cubicBezTo>
                  <a:cubicBezTo>
                    <a:pt x="19385" y="118363"/>
                    <a:pt x="19385" y="118363"/>
                    <a:pt x="19385" y="118363"/>
                  </a:cubicBezTo>
                  <a:cubicBezTo>
                    <a:pt x="19385" y="48545"/>
                    <a:pt x="19385" y="48545"/>
                    <a:pt x="19385" y="48545"/>
                  </a:cubicBezTo>
                  <a:cubicBezTo>
                    <a:pt x="19385" y="43636"/>
                    <a:pt x="19385" y="36545"/>
                    <a:pt x="19490" y="28363"/>
                  </a:cubicBezTo>
                  <a:cubicBezTo>
                    <a:pt x="19490" y="28363"/>
                    <a:pt x="19490" y="28363"/>
                    <a:pt x="19490" y="28363"/>
                  </a:cubicBezTo>
                  <a:cubicBezTo>
                    <a:pt x="19280" y="31636"/>
                    <a:pt x="19174" y="35454"/>
                    <a:pt x="18964" y="37090"/>
                  </a:cubicBezTo>
                  <a:cubicBezTo>
                    <a:pt x="12642" y="118363"/>
                    <a:pt x="12642" y="118363"/>
                    <a:pt x="12642" y="118363"/>
                  </a:cubicBezTo>
                  <a:cubicBezTo>
                    <a:pt x="10219" y="118363"/>
                    <a:pt x="10219" y="118363"/>
                    <a:pt x="10219" y="118363"/>
                  </a:cubicBezTo>
                  <a:cubicBezTo>
                    <a:pt x="3898" y="38181"/>
                    <a:pt x="3898" y="38181"/>
                    <a:pt x="3898" y="38181"/>
                  </a:cubicBezTo>
                  <a:cubicBezTo>
                    <a:pt x="3792" y="36000"/>
                    <a:pt x="3582" y="32727"/>
                    <a:pt x="3371" y="28363"/>
                  </a:cubicBezTo>
                  <a:cubicBezTo>
                    <a:pt x="3266" y="28363"/>
                    <a:pt x="3266" y="28363"/>
                    <a:pt x="3266" y="28363"/>
                  </a:cubicBezTo>
                  <a:cubicBezTo>
                    <a:pt x="3371" y="30545"/>
                    <a:pt x="3371" y="32727"/>
                    <a:pt x="3371" y="35454"/>
                  </a:cubicBezTo>
                  <a:cubicBezTo>
                    <a:pt x="3476" y="41454"/>
                    <a:pt x="3476" y="46363"/>
                    <a:pt x="3476" y="50727"/>
                  </a:cubicBezTo>
                  <a:cubicBezTo>
                    <a:pt x="3476" y="118363"/>
                    <a:pt x="3476" y="118363"/>
                    <a:pt x="3476" y="118363"/>
                  </a:cubicBezTo>
                  <a:cubicBezTo>
                    <a:pt x="0" y="118363"/>
                    <a:pt x="0" y="118363"/>
                    <a:pt x="0" y="118363"/>
                  </a:cubicBezTo>
                  <a:cubicBezTo>
                    <a:pt x="0" y="8181"/>
                    <a:pt x="0" y="8181"/>
                    <a:pt x="0" y="8181"/>
                  </a:cubicBezTo>
                  <a:cubicBezTo>
                    <a:pt x="5267" y="8181"/>
                    <a:pt x="5267" y="8181"/>
                    <a:pt x="5267" y="8181"/>
                  </a:cubicBezTo>
                  <a:cubicBezTo>
                    <a:pt x="10535" y="77454"/>
                    <a:pt x="10535" y="77454"/>
                    <a:pt x="10535" y="77454"/>
                  </a:cubicBezTo>
                  <a:cubicBezTo>
                    <a:pt x="11062" y="83454"/>
                    <a:pt x="11378" y="88363"/>
                    <a:pt x="11483" y="91636"/>
                  </a:cubicBezTo>
                  <a:cubicBezTo>
                    <a:pt x="11589" y="91636"/>
                    <a:pt x="11589" y="91636"/>
                    <a:pt x="11589" y="91636"/>
                  </a:cubicBezTo>
                  <a:cubicBezTo>
                    <a:pt x="12537" y="77454"/>
                    <a:pt x="12537" y="77454"/>
                    <a:pt x="12537" y="77454"/>
                  </a:cubicBezTo>
                  <a:lnTo>
                    <a:pt x="18015" y="8181"/>
                  </a:lnTo>
                  <a:close/>
                  <a:moveTo>
                    <a:pt x="26444" y="118363"/>
                  </a:moveTo>
                  <a:cubicBezTo>
                    <a:pt x="30026" y="118363"/>
                    <a:pt x="30026" y="118363"/>
                    <a:pt x="30026" y="118363"/>
                  </a:cubicBezTo>
                  <a:cubicBezTo>
                    <a:pt x="30026" y="39272"/>
                    <a:pt x="30026" y="39272"/>
                    <a:pt x="30026" y="39272"/>
                  </a:cubicBezTo>
                  <a:cubicBezTo>
                    <a:pt x="26444" y="39272"/>
                    <a:pt x="26444" y="39272"/>
                    <a:pt x="26444" y="39272"/>
                  </a:cubicBezTo>
                  <a:lnTo>
                    <a:pt x="26444" y="118363"/>
                  </a:lnTo>
                  <a:close/>
                  <a:moveTo>
                    <a:pt x="28340" y="6000"/>
                  </a:moveTo>
                  <a:cubicBezTo>
                    <a:pt x="27708" y="6000"/>
                    <a:pt x="27181" y="7090"/>
                    <a:pt x="26760" y="9272"/>
                  </a:cubicBezTo>
                  <a:cubicBezTo>
                    <a:pt x="26338" y="10909"/>
                    <a:pt x="26128" y="13636"/>
                    <a:pt x="26128" y="16909"/>
                  </a:cubicBezTo>
                  <a:cubicBezTo>
                    <a:pt x="26128" y="19636"/>
                    <a:pt x="26338" y="22363"/>
                    <a:pt x="26760" y="24545"/>
                  </a:cubicBezTo>
                  <a:cubicBezTo>
                    <a:pt x="27181" y="26181"/>
                    <a:pt x="27708" y="27272"/>
                    <a:pt x="28340" y="27272"/>
                  </a:cubicBezTo>
                  <a:cubicBezTo>
                    <a:pt x="28867" y="27272"/>
                    <a:pt x="29394" y="26181"/>
                    <a:pt x="29815" y="24545"/>
                  </a:cubicBezTo>
                  <a:cubicBezTo>
                    <a:pt x="30237" y="22363"/>
                    <a:pt x="30447" y="19636"/>
                    <a:pt x="30447" y="16909"/>
                  </a:cubicBezTo>
                  <a:cubicBezTo>
                    <a:pt x="30447" y="13636"/>
                    <a:pt x="30237" y="11454"/>
                    <a:pt x="29815" y="9272"/>
                  </a:cubicBezTo>
                  <a:cubicBezTo>
                    <a:pt x="29394" y="7090"/>
                    <a:pt x="28867" y="6000"/>
                    <a:pt x="28340" y="6000"/>
                  </a:cubicBezTo>
                  <a:close/>
                  <a:moveTo>
                    <a:pt x="42669" y="38727"/>
                  </a:moveTo>
                  <a:cubicBezTo>
                    <a:pt x="42036" y="37636"/>
                    <a:pt x="41404" y="37636"/>
                    <a:pt x="40667" y="37636"/>
                  </a:cubicBezTo>
                  <a:cubicBezTo>
                    <a:pt x="39086" y="37636"/>
                    <a:pt x="37611" y="39272"/>
                    <a:pt x="36347" y="43090"/>
                  </a:cubicBezTo>
                  <a:cubicBezTo>
                    <a:pt x="35083" y="46363"/>
                    <a:pt x="34135" y="51818"/>
                    <a:pt x="33503" y="58363"/>
                  </a:cubicBezTo>
                  <a:cubicBezTo>
                    <a:pt x="32870" y="64909"/>
                    <a:pt x="32554" y="72545"/>
                    <a:pt x="32554" y="80727"/>
                  </a:cubicBezTo>
                  <a:cubicBezTo>
                    <a:pt x="32554" y="88363"/>
                    <a:pt x="32870" y="94909"/>
                    <a:pt x="33503" y="100909"/>
                  </a:cubicBezTo>
                  <a:cubicBezTo>
                    <a:pt x="34135" y="106909"/>
                    <a:pt x="34978" y="111818"/>
                    <a:pt x="36136" y="115090"/>
                  </a:cubicBezTo>
                  <a:cubicBezTo>
                    <a:pt x="37295" y="118363"/>
                    <a:pt x="38560" y="120000"/>
                    <a:pt x="40035" y="120000"/>
                  </a:cubicBezTo>
                  <a:cubicBezTo>
                    <a:pt x="41720" y="120000"/>
                    <a:pt x="43195" y="118363"/>
                    <a:pt x="44354" y="115090"/>
                  </a:cubicBezTo>
                  <a:cubicBezTo>
                    <a:pt x="44460" y="114545"/>
                    <a:pt x="44460" y="114545"/>
                    <a:pt x="44460" y="114545"/>
                  </a:cubicBezTo>
                  <a:cubicBezTo>
                    <a:pt x="44460" y="97636"/>
                    <a:pt x="44460" y="97636"/>
                    <a:pt x="44460" y="97636"/>
                  </a:cubicBezTo>
                  <a:cubicBezTo>
                    <a:pt x="44249" y="98181"/>
                    <a:pt x="44249" y="98181"/>
                    <a:pt x="44249" y="98181"/>
                  </a:cubicBezTo>
                  <a:cubicBezTo>
                    <a:pt x="43722" y="100363"/>
                    <a:pt x="43195" y="102000"/>
                    <a:pt x="42563" y="103090"/>
                  </a:cubicBezTo>
                  <a:cubicBezTo>
                    <a:pt x="41931" y="104181"/>
                    <a:pt x="41299" y="104727"/>
                    <a:pt x="40772" y="104727"/>
                  </a:cubicBezTo>
                  <a:cubicBezTo>
                    <a:pt x="39402" y="104727"/>
                    <a:pt x="38244" y="102545"/>
                    <a:pt x="37401" y="98181"/>
                  </a:cubicBezTo>
                  <a:cubicBezTo>
                    <a:pt x="36663" y="93272"/>
                    <a:pt x="36242" y="87272"/>
                    <a:pt x="36242" y="79090"/>
                  </a:cubicBezTo>
                  <a:cubicBezTo>
                    <a:pt x="36242" y="71454"/>
                    <a:pt x="36663" y="64909"/>
                    <a:pt x="37506" y="60000"/>
                  </a:cubicBezTo>
                  <a:cubicBezTo>
                    <a:pt x="38349" y="55090"/>
                    <a:pt x="39508" y="52909"/>
                    <a:pt x="40877" y="52909"/>
                  </a:cubicBezTo>
                  <a:cubicBezTo>
                    <a:pt x="42036" y="52909"/>
                    <a:pt x="43195" y="55090"/>
                    <a:pt x="44249" y="58909"/>
                  </a:cubicBezTo>
                  <a:cubicBezTo>
                    <a:pt x="44460" y="59454"/>
                    <a:pt x="44460" y="59454"/>
                    <a:pt x="44460" y="59454"/>
                  </a:cubicBezTo>
                  <a:cubicBezTo>
                    <a:pt x="44460" y="41454"/>
                    <a:pt x="44460" y="41454"/>
                    <a:pt x="44460" y="41454"/>
                  </a:cubicBezTo>
                  <a:cubicBezTo>
                    <a:pt x="44354" y="41454"/>
                    <a:pt x="44354" y="41454"/>
                    <a:pt x="44354" y="41454"/>
                  </a:cubicBezTo>
                  <a:cubicBezTo>
                    <a:pt x="43933" y="40363"/>
                    <a:pt x="43406" y="39272"/>
                    <a:pt x="42669" y="38727"/>
                  </a:cubicBezTo>
                  <a:close/>
                  <a:moveTo>
                    <a:pt x="54468" y="38181"/>
                  </a:moveTo>
                  <a:cubicBezTo>
                    <a:pt x="53625" y="38181"/>
                    <a:pt x="52783" y="39272"/>
                    <a:pt x="52151" y="42545"/>
                  </a:cubicBezTo>
                  <a:cubicBezTo>
                    <a:pt x="51518" y="45272"/>
                    <a:pt x="51097" y="48545"/>
                    <a:pt x="50781" y="52909"/>
                  </a:cubicBezTo>
                  <a:cubicBezTo>
                    <a:pt x="50676" y="52909"/>
                    <a:pt x="50676" y="52909"/>
                    <a:pt x="50676" y="52909"/>
                  </a:cubicBezTo>
                  <a:cubicBezTo>
                    <a:pt x="50676" y="39272"/>
                    <a:pt x="50676" y="39272"/>
                    <a:pt x="50676" y="39272"/>
                  </a:cubicBezTo>
                  <a:cubicBezTo>
                    <a:pt x="47093" y="39272"/>
                    <a:pt x="47093" y="39272"/>
                    <a:pt x="47093" y="39272"/>
                  </a:cubicBezTo>
                  <a:cubicBezTo>
                    <a:pt x="47093" y="118363"/>
                    <a:pt x="47093" y="118363"/>
                    <a:pt x="47093" y="118363"/>
                  </a:cubicBezTo>
                  <a:cubicBezTo>
                    <a:pt x="50676" y="118363"/>
                    <a:pt x="50676" y="118363"/>
                    <a:pt x="50676" y="118363"/>
                  </a:cubicBezTo>
                  <a:cubicBezTo>
                    <a:pt x="50676" y="78000"/>
                    <a:pt x="50676" y="78000"/>
                    <a:pt x="50676" y="78000"/>
                  </a:cubicBezTo>
                  <a:cubicBezTo>
                    <a:pt x="50676" y="70909"/>
                    <a:pt x="50992" y="65454"/>
                    <a:pt x="51624" y="61090"/>
                  </a:cubicBezTo>
                  <a:cubicBezTo>
                    <a:pt x="52151" y="56727"/>
                    <a:pt x="52993" y="54545"/>
                    <a:pt x="53942" y="54545"/>
                  </a:cubicBezTo>
                  <a:cubicBezTo>
                    <a:pt x="54258" y="54545"/>
                    <a:pt x="54574" y="55090"/>
                    <a:pt x="54995" y="55636"/>
                  </a:cubicBezTo>
                  <a:cubicBezTo>
                    <a:pt x="55417" y="56181"/>
                    <a:pt x="55627" y="56727"/>
                    <a:pt x="55838" y="57272"/>
                  </a:cubicBezTo>
                  <a:cubicBezTo>
                    <a:pt x="55943" y="57818"/>
                    <a:pt x="55943" y="57818"/>
                    <a:pt x="55943" y="57818"/>
                  </a:cubicBezTo>
                  <a:cubicBezTo>
                    <a:pt x="55943" y="39272"/>
                    <a:pt x="55943" y="39272"/>
                    <a:pt x="55943" y="39272"/>
                  </a:cubicBezTo>
                  <a:cubicBezTo>
                    <a:pt x="55943" y="39272"/>
                    <a:pt x="55943" y="39272"/>
                    <a:pt x="55943" y="39272"/>
                  </a:cubicBezTo>
                  <a:cubicBezTo>
                    <a:pt x="55627" y="38181"/>
                    <a:pt x="55100" y="38181"/>
                    <a:pt x="54468" y="38181"/>
                  </a:cubicBezTo>
                  <a:close/>
                  <a:moveTo>
                    <a:pt x="69850" y="48545"/>
                  </a:moveTo>
                  <a:cubicBezTo>
                    <a:pt x="71115" y="55636"/>
                    <a:pt x="71852" y="65454"/>
                    <a:pt x="71852" y="78000"/>
                  </a:cubicBezTo>
                  <a:cubicBezTo>
                    <a:pt x="71852" y="90545"/>
                    <a:pt x="71115" y="100909"/>
                    <a:pt x="69640" y="108545"/>
                  </a:cubicBezTo>
                  <a:cubicBezTo>
                    <a:pt x="68270" y="116181"/>
                    <a:pt x="66268" y="120000"/>
                    <a:pt x="63845" y="120000"/>
                  </a:cubicBezTo>
                  <a:cubicBezTo>
                    <a:pt x="61527" y="120000"/>
                    <a:pt x="59631" y="116181"/>
                    <a:pt x="58261" y="109090"/>
                  </a:cubicBezTo>
                  <a:cubicBezTo>
                    <a:pt x="56892" y="102000"/>
                    <a:pt x="56154" y="92181"/>
                    <a:pt x="56154" y="79636"/>
                  </a:cubicBezTo>
                  <a:cubicBezTo>
                    <a:pt x="56154" y="66545"/>
                    <a:pt x="56892" y="56181"/>
                    <a:pt x="58261" y="48545"/>
                  </a:cubicBezTo>
                  <a:cubicBezTo>
                    <a:pt x="59736" y="41454"/>
                    <a:pt x="61738" y="37636"/>
                    <a:pt x="64266" y="37636"/>
                  </a:cubicBezTo>
                  <a:cubicBezTo>
                    <a:pt x="66584" y="37636"/>
                    <a:pt x="68481" y="40909"/>
                    <a:pt x="69850" y="48545"/>
                  </a:cubicBezTo>
                  <a:close/>
                  <a:moveTo>
                    <a:pt x="68059" y="78545"/>
                  </a:moveTo>
                  <a:cubicBezTo>
                    <a:pt x="68059" y="70363"/>
                    <a:pt x="67743" y="63818"/>
                    <a:pt x="67006" y="59454"/>
                  </a:cubicBezTo>
                  <a:cubicBezTo>
                    <a:pt x="66268" y="55090"/>
                    <a:pt x="65320" y="52909"/>
                    <a:pt x="64056" y="52909"/>
                  </a:cubicBezTo>
                  <a:cubicBezTo>
                    <a:pt x="62791" y="52909"/>
                    <a:pt x="61738" y="55090"/>
                    <a:pt x="61000" y="59454"/>
                  </a:cubicBezTo>
                  <a:cubicBezTo>
                    <a:pt x="60263" y="64363"/>
                    <a:pt x="59841" y="70909"/>
                    <a:pt x="59841" y="79090"/>
                  </a:cubicBezTo>
                  <a:cubicBezTo>
                    <a:pt x="59841" y="87272"/>
                    <a:pt x="60263" y="93818"/>
                    <a:pt x="61000" y="98181"/>
                  </a:cubicBezTo>
                  <a:cubicBezTo>
                    <a:pt x="61738" y="102545"/>
                    <a:pt x="62791" y="104727"/>
                    <a:pt x="64056" y="104727"/>
                  </a:cubicBezTo>
                  <a:cubicBezTo>
                    <a:pt x="65425" y="104727"/>
                    <a:pt x="66374" y="102545"/>
                    <a:pt x="67111" y="98181"/>
                  </a:cubicBezTo>
                  <a:cubicBezTo>
                    <a:pt x="67743" y="93818"/>
                    <a:pt x="68059" y="87272"/>
                    <a:pt x="68059" y="78545"/>
                  </a:cubicBezTo>
                  <a:close/>
                  <a:moveTo>
                    <a:pt x="79754" y="72000"/>
                  </a:moveTo>
                  <a:cubicBezTo>
                    <a:pt x="78595" y="69818"/>
                    <a:pt x="77857" y="67636"/>
                    <a:pt x="77647" y="66000"/>
                  </a:cubicBezTo>
                  <a:cubicBezTo>
                    <a:pt x="77330" y="64909"/>
                    <a:pt x="77120" y="62727"/>
                    <a:pt x="77120" y="60000"/>
                  </a:cubicBezTo>
                  <a:cubicBezTo>
                    <a:pt x="77120" y="57818"/>
                    <a:pt x="77330" y="56181"/>
                    <a:pt x="77752" y="54545"/>
                  </a:cubicBezTo>
                  <a:cubicBezTo>
                    <a:pt x="78068" y="52909"/>
                    <a:pt x="78595" y="52363"/>
                    <a:pt x="79227" y="52363"/>
                  </a:cubicBezTo>
                  <a:cubicBezTo>
                    <a:pt x="79859" y="52363"/>
                    <a:pt x="80491" y="52909"/>
                    <a:pt x="81123" y="53454"/>
                  </a:cubicBezTo>
                  <a:cubicBezTo>
                    <a:pt x="81755" y="54545"/>
                    <a:pt x="82282" y="56181"/>
                    <a:pt x="82704" y="57272"/>
                  </a:cubicBezTo>
                  <a:cubicBezTo>
                    <a:pt x="82809" y="57818"/>
                    <a:pt x="82809" y="57818"/>
                    <a:pt x="82809" y="57818"/>
                  </a:cubicBezTo>
                  <a:cubicBezTo>
                    <a:pt x="82809" y="40909"/>
                    <a:pt x="82809" y="40909"/>
                    <a:pt x="82809" y="40909"/>
                  </a:cubicBezTo>
                  <a:cubicBezTo>
                    <a:pt x="82809" y="40909"/>
                    <a:pt x="82809" y="40909"/>
                    <a:pt x="82809" y="40909"/>
                  </a:cubicBezTo>
                  <a:cubicBezTo>
                    <a:pt x="82388" y="39818"/>
                    <a:pt x="81861" y="39272"/>
                    <a:pt x="81123" y="38181"/>
                  </a:cubicBezTo>
                  <a:cubicBezTo>
                    <a:pt x="80491" y="37636"/>
                    <a:pt x="79859" y="37636"/>
                    <a:pt x="79332" y="37636"/>
                  </a:cubicBezTo>
                  <a:cubicBezTo>
                    <a:pt x="77647" y="37636"/>
                    <a:pt x="76277" y="39818"/>
                    <a:pt x="75223" y="44181"/>
                  </a:cubicBezTo>
                  <a:cubicBezTo>
                    <a:pt x="74064" y="48545"/>
                    <a:pt x="73538" y="54545"/>
                    <a:pt x="73538" y="61636"/>
                  </a:cubicBezTo>
                  <a:cubicBezTo>
                    <a:pt x="73538" y="65454"/>
                    <a:pt x="73643" y="68727"/>
                    <a:pt x="73854" y="71454"/>
                  </a:cubicBezTo>
                  <a:cubicBezTo>
                    <a:pt x="74170" y="74181"/>
                    <a:pt x="74486" y="76909"/>
                    <a:pt x="75013" y="78545"/>
                  </a:cubicBezTo>
                  <a:cubicBezTo>
                    <a:pt x="75434" y="80727"/>
                    <a:pt x="76172" y="82909"/>
                    <a:pt x="77225" y="85090"/>
                  </a:cubicBezTo>
                  <a:cubicBezTo>
                    <a:pt x="77963" y="86727"/>
                    <a:pt x="78595" y="88363"/>
                    <a:pt x="79016" y="89454"/>
                  </a:cubicBezTo>
                  <a:cubicBezTo>
                    <a:pt x="79438" y="90545"/>
                    <a:pt x="79648" y="91636"/>
                    <a:pt x="79859" y="93272"/>
                  </a:cubicBezTo>
                  <a:cubicBezTo>
                    <a:pt x="79964" y="94363"/>
                    <a:pt x="80070" y="95454"/>
                    <a:pt x="80070" y="97636"/>
                  </a:cubicBezTo>
                  <a:cubicBezTo>
                    <a:pt x="80070" y="102545"/>
                    <a:pt x="79332" y="105272"/>
                    <a:pt x="77752" y="105272"/>
                  </a:cubicBezTo>
                  <a:cubicBezTo>
                    <a:pt x="77120" y="105272"/>
                    <a:pt x="76488" y="104727"/>
                    <a:pt x="75750" y="103636"/>
                  </a:cubicBezTo>
                  <a:cubicBezTo>
                    <a:pt x="75013" y="102000"/>
                    <a:pt x="74275" y="100363"/>
                    <a:pt x="73748" y="98181"/>
                  </a:cubicBezTo>
                  <a:cubicBezTo>
                    <a:pt x="73538" y="97636"/>
                    <a:pt x="73538" y="97636"/>
                    <a:pt x="73538" y="97636"/>
                  </a:cubicBezTo>
                  <a:cubicBezTo>
                    <a:pt x="73538" y="115636"/>
                    <a:pt x="73538" y="115636"/>
                    <a:pt x="73538" y="115636"/>
                  </a:cubicBezTo>
                  <a:cubicBezTo>
                    <a:pt x="73643" y="115636"/>
                    <a:pt x="73643" y="115636"/>
                    <a:pt x="73643" y="115636"/>
                  </a:cubicBezTo>
                  <a:cubicBezTo>
                    <a:pt x="74064" y="117272"/>
                    <a:pt x="74802" y="117818"/>
                    <a:pt x="75539" y="118909"/>
                  </a:cubicBezTo>
                  <a:cubicBezTo>
                    <a:pt x="76277" y="119454"/>
                    <a:pt x="77014" y="120000"/>
                    <a:pt x="77541" y="120000"/>
                  </a:cubicBezTo>
                  <a:cubicBezTo>
                    <a:pt x="79438" y="120000"/>
                    <a:pt x="80913" y="117818"/>
                    <a:pt x="81966" y="113454"/>
                  </a:cubicBezTo>
                  <a:cubicBezTo>
                    <a:pt x="83125" y="108545"/>
                    <a:pt x="83652" y="102545"/>
                    <a:pt x="83652" y="95454"/>
                  </a:cubicBezTo>
                  <a:cubicBezTo>
                    <a:pt x="83652" y="90000"/>
                    <a:pt x="83336" y="85636"/>
                    <a:pt x="82809" y="81818"/>
                  </a:cubicBezTo>
                  <a:cubicBezTo>
                    <a:pt x="82177" y="78000"/>
                    <a:pt x="81123" y="74727"/>
                    <a:pt x="79754" y="72000"/>
                  </a:cubicBezTo>
                  <a:close/>
                  <a:moveTo>
                    <a:pt x="98823" y="48545"/>
                  </a:moveTo>
                  <a:cubicBezTo>
                    <a:pt x="100193" y="55636"/>
                    <a:pt x="100825" y="65454"/>
                    <a:pt x="100825" y="78000"/>
                  </a:cubicBezTo>
                  <a:cubicBezTo>
                    <a:pt x="100825" y="90545"/>
                    <a:pt x="100193" y="100909"/>
                    <a:pt x="98718" y="108545"/>
                  </a:cubicBezTo>
                  <a:cubicBezTo>
                    <a:pt x="97348" y="116181"/>
                    <a:pt x="95346" y="120000"/>
                    <a:pt x="92923" y="120000"/>
                  </a:cubicBezTo>
                  <a:cubicBezTo>
                    <a:pt x="90605" y="120000"/>
                    <a:pt x="88709" y="116181"/>
                    <a:pt x="87339" y="109090"/>
                  </a:cubicBezTo>
                  <a:cubicBezTo>
                    <a:pt x="85970" y="102000"/>
                    <a:pt x="85232" y="92181"/>
                    <a:pt x="85232" y="79636"/>
                  </a:cubicBezTo>
                  <a:cubicBezTo>
                    <a:pt x="85232" y="66545"/>
                    <a:pt x="85970" y="56181"/>
                    <a:pt x="87339" y="48545"/>
                  </a:cubicBezTo>
                  <a:cubicBezTo>
                    <a:pt x="88814" y="41454"/>
                    <a:pt x="90816" y="37636"/>
                    <a:pt x="93239" y="37636"/>
                  </a:cubicBezTo>
                  <a:cubicBezTo>
                    <a:pt x="95662" y="37636"/>
                    <a:pt x="97559" y="40909"/>
                    <a:pt x="98823" y="48545"/>
                  </a:cubicBezTo>
                  <a:close/>
                  <a:moveTo>
                    <a:pt x="97137" y="78545"/>
                  </a:moveTo>
                  <a:cubicBezTo>
                    <a:pt x="97137" y="70363"/>
                    <a:pt x="96821" y="63818"/>
                    <a:pt x="96084" y="59454"/>
                  </a:cubicBezTo>
                  <a:cubicBezTo>
                    <a:pt x="95346" y="55090"/>
                    <a:pt x="94398" y="52909"/>
                    <a:pt x="93134" y="52909"/>
                  </a:cubicBezTo>
                  <a:cubicBezTo>
                    <a:pt x="91764" y="52909"/>
                    <a:pt x="90816" y="55090"/>
                    <a:pt x="90079" y="59454"/>
                  </a:cubicBezTo>
                  <a:cubicBezTo>
                    <a:pt x="89341" y="64363"/>
                    <a:pt x="88920" y="70909"/>
                    <a:pt x="88920" y="79090"/>
                  </a:cubicBezTo>
                  <a:cubicBezTo>
                    <a:pt x="88920" y="87272"/>
                    <a:pt x="89341" y="93818"/>
                    <a:pt x="90079" y="98181"/>
                  </a:cubicBezTo>
                  <a:cubicBezTo>
                    <a:pt x="90816" y="102545"/>
                    <a:pt x="91764" y="104727"/>
                    <a:pt x="93134" y="104727"/>
                  </a:cubicBezTo>
                  <a:cubicBezTo>
                    <a:pt x="94398" y="104727"/>
                    <a:pt x="95452" y="102545"/>
                    <a:pt x="96084" y="98181"/>
                  </a:cubicBezTo>
                  <a:cubicBezTo>
                    <a:pt x="96821" y="93818"/>
                    <a:pt x="97137" y="87272"/>
                    <a:pt x="97137" y="78545"/>
                  </a:cubicBezTo>
                  <a:close/>
                  <a:moveTo>
                    <a:pt x="120000" y="54545"/>
                  </a:moveTo>
                  <a:cubicBezTo>
                    <a:pt x="120000" y="39272"/>
                    <a:pt x="120000" y="39272"/>
                    <a:pt x="120000" y="39272"/>
                  </a:cubicBezTo>
                  <a:cubicBezTo>
                    <a:pt x="116312" y="39272"/>
                    <a:pt x="116312" y="39272"/>
                    <a:pt x="116312" y="39272"/>
                  </a:cubicBezTo>
                  <a:cubicBezTo>
                    <a:pt x="116312" y="15818"/>
                    <a:pt x="116312" y="15818"/>
                    <a:pt x="116312" y="15818"/>
                  </a:cubicBezTo>
                  <a:cubicBezTo>
                    <a:pt x="116207" y="15818"/>
                    <a:pt x="116207" y="15818"/>
                    <a:pt x="116207" y="15818"/>
                  </a:cubicBezTo>
                  <a:cubicBezTo>
                    <a:pt x="112835" y="21272"/>
                    <a:pt x="112835" y="21272"/>
                    <a:pt x="112835" y="21272"/>
                  </a:cubicBezTo>
                  <a:cubicBezTo>
                    <a:pt x="112730" y="21818"/>
                    <a:pt x="112730" y="21818"/>
                    <a:pt x="112730" y="21818"/>
                  </a:cubicBezTo>
                  <a:cubicBezTo>
                    <a:pt x="112730" y="39272"/>
                    <a:pt x="112730" y="39272"/>
                    <a:pt x="112730" y="39272"/>
                  </a:cubicBezTo>
                  <a:cubicBezTo>
                    <a:pt x="107357" y="39272"/>
                    <a:pt x="107357" y="39272"/>
                    <a:pt x="107357" y="39272"/>
                  </a:cubicBezTo>
                  <a:cubicBezTo>
                    <a:pt x="107357" y="29454"/>
                    <a:pt x="107357" y="29454"/>
                    <a:pt x="107357" y="29454"/>
                  </a:cubicBezTo>
                  <a:cubicBezTo>
                    <a:pt x="107357" y="25090"/>
                    <a:pt x="107568" y="21272"/>
                    <a:pt x="107989" y="19090"/>
                  </a:cubicBezTo>
                  <a:cubicBezTo>
                    <a:pt x="108305" y="16363"/>
                    <a:pt x="108937" y="15272"/>
                    <a:pt x="109569" y="15272"/>
                  </a:cubicBezTo>
                  <a:cubicBezTo>
                    <a:pt x="110096" y="15272"/>
                    <a:pt x="110623" y="15818"/>
                    <a:pt x="111150" y="17454"/>
                  </a:cubicBezTo>
                  <a:cubicBezTo>
                    <a:pt x="111360" y="17454"/>
                    <a:pt x="111360" y="17454"/>
                    <a:pt x="111360" y="17454"/>
                  </a:cubicBezTo>
                  <a:cubicBezTo>
                    <a:pt x="111360" y="1636"/>
                    <a:pt x="111360" y="1636"/>
                    <a:pt x="111360" y="1636"/>
                  </a:cubicBezTo>
                  <a:cubicBezTo>
                    <a:pt x="111255" y="1636"/>
                    <a:pt x="111255" y="1636"/>
                    <a:pt x="111255" y="1636"/>
                  </a:cubicBezTo>
                  <a:cubicBezTo>
                    <a:pt x="110728" y="545"/>
                    <a:pt x="110096" y="0"/>
                    <a:pt x="109253" y="0"/>
                  </a:cubicBezTo>
                  <a:cubicBezTo>
                    <a:pt x="108200" y="0"/>
                    <a:pt x="107251" y="1636"/>
                    <a:pt x="106409" y="3818"/>
                  </a:cubicBezTo>
                  <a:cubicBezTo>
                    <a:pt x="105566" y="6000"/>
                    <a:pt x="104934" y="9272"/>
                    <a:pt x="104407" y="13636"/>
                  </a:cubicBezTo>
                  <a:cubicBezTo>
                    <a:pt x="103985" y="18000"/>
                    <a:pt x="103775" y="22909"/>
                    <a:pt x="103775" y="28363"/>
                  </a:cubicBezTo>
                  <a:cubicBezTo>
                    <a:pt x="103775" y="39272"/>
                    <a:pt x="103775" y="39272"/>
                    <a:pt x="103775" y="39272"/>
                  </a:cubicBezTo>
                  <a:cubicBezTo>
                    <a:pt x="101246" y="39272"/>
                    <a:pt x="101246" y="39272"/>
                    <a:pt x="101246" y="39272"/>
                  </a:cubicBezTo>
                  <a:cubicBezTo>
                    <a:pt x="101246" y="54545"/>
                    <a:pt x="101246" y="54545"/>
                    <a:pt x="101246" y="54545"/>
                  </a:cubicBezTo>
                  <a:cubicBezTo>
                    <a:pt x="103775" y="54545"/>
                    <a:pt x="103775" y="54545"/>
                    <a:pt x="103775" y="54545"/>
                  </a:cubicBezTo>
                  <a:cubicBezTo>
                    <a:pt x="103775" y="118363"/>
                    <a:pt x="103775" y="118363"/>
                    <a:pt x="103775" y="118363"/>
                  </a:cubicBezTo>
                  <a:cubicBezTo>
                    <a:pt x="107357" y="118363"/>
                    <a:pt x="107357" y="118363"/>
                    <a:pt x="107357" y="118363"/>
                  </a:cubicBezTo>
                  <a:cubicBezTo>
                    <a:pt x="107357" y="54545"/>
                    <a:pt x="107357" y="54545"/>
                    <a:pt x="107357" y="54545"/>
                  </a:cubicBezTo>
                  <a:cubicBezTo>
                    <a:pt x="112730" y="54545"/>
                    <a:pt x="112730" y="54545"/>
                    <a:pt x="112730" y="54545"/>
                  </a:cubicBezTo>
                  <a:cubicBezTo>
                    <a:pt x="112730" y="94909"/>
                    <a:pt x="112730" y="94909"/>
                    <a:pt x="112730" y="94909"/>
                  </a:cubicBezTo>
                  <a:cubicBezTo>
                    <a:pt x="112730" y="111818"/>
                    <a:pt x="114205" y="120000"/>
                    <a:pt x="117260" y="120000"/>
                  </a:cubicBezTo>
                  <a:cubicBezTo>
                    <a:pt x="117787" y="120000"/>
                    <a:pt x="118208" y="120000"/>
                    <a:pt x="118735" y="119454"/>
                  </a:cubicBezTo>
                  <a:cubicBezTo>
                    <a:pt x="119367" y="118363"/>
                    <a:pt x="119683" y="117818"/>
                    <a:pt x="119894" y="117272"/>
                  </a:cubicBezTo>
                  <a:cubicBezTo>
                    <a:pt x="120000" y="117272"/>
                    <a:pt x="120000" y="117272"/>
                    <a:pt x="120000" y="117272"/>
                  </a:cubicBezTo>
                  <a:cubicBezTo>
                    <a:pt x="120000" y="102000"/>
                    <a:pt x="120000" y="102000"/>
                    <a:pt x="120000" y="102000"/>
                  </a:cubicBezTo>
                  <a:cubicBezTo>
                    <a:pt x="119789" y="102545"/>
                    <a:pt x="119789" y="102545"/>
                    <a:pt x="119789" y="102545"/>
                  </a:cubicBezTo>
                  <a:cubicBezTo>
                    <a:pt x="119578" y="103090"/>
                    <a:pt x="119367" y="103636"/>
                    <a:pt x="119051" y="104181"/>
                  </a:cubicBezTo>
                  <a:cubicBezTo>
                    <a:pt x="118735" y="104727"/>
                    <a:pt x="118525" y="104727"/>
                    <a:pt x="118314" y="104727"/>
                  </a:cubicBezTo>
                  <a:cubicBezTo>
                    <a:pt x="117682" y="104727"/>
                    <a:pt x="117155" y="103636"/>
                    <a:pt x="116839" y="102000"/>
                  </a:cubicBezTo>
                  <a:cubicBezTo>
                    <a:pt x="116523" y="99818"/>
                    <a:pt x="116312" y="96545"/>
                    <a:pt x="116312" y="91636"/>
                  </a:cubicBezTo>
                  <a:cubicBezTo>
                    <a:pt x="116312" y="54545"/>
                    <a:pt x="116312" y="54545"/>
                    <a:pt x="116312" y="54545"/>
                  </a:cubicBezTo>
                  <a:lnTo>
                    <a:pt x="120000" y="54545"/>
                  </a:lnTo>
                  <a:close/>
                </a:path>
              </a:pathLst>
            </a:custGeom>
            <a:solidFill>
              <a:srgbClr val="737373"/>
            </a:solidFill>
            <a:ln>
              <a:noFill/>
            </a:ln>
          </p:spPr>
          <p:txBody>
            <a:bodyPr lIns="121879" tIns="60922" rIns="121879" bIns="60922" anchor="t" anchorCtr="0">
              <a:noAutofit/>
            </a:bodyPr>
            <a:lstStyle/>
            <a:p>
              <a:pPr marL="0" marR="0" lvl="0" indent="0" algn="l" defTabSz="1243493"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353535"/>
                </a:solidFill>
                <a:effectLst/>
                <a:uLnTx/>
                <a:uFillTx/>
                <a:latin typeface="Quattrocento Sans"/>
                <a:ea typeface="Quattrocento Sans"/>
                <a:cs typeface="Quattrocento Sans"/>
                <a:sym typeface="Quattrocento Sans"/>
              </a:endParaRPr>
            </a:p>
          </p:txBody>
        </p:sp>
      </p:grpSp>
      <p:pic>
        <p:nvPicPr>
          <p:cNvPr id="860" name="Shape 860"/>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2355619" y="5408744"/>
            <a:ext cx="2906328" cy="937091"/>
          </a:xfrm>
          <a:prstGeom prst="rect">
            <a:avLst/>
          </a:prstGeom>
          <a:noFill/>
          <a:ln>
            <a:noFill/>
          </a:ln>
        </p:spPr>
      </p:pic>
    </p:spTree>
    <p:extLst>
      <p:ext uri="{BB962C8B-B14F-4D97-AF65-F5344CB8AC3E}">
        <p14:creationId xmlns:p14="http://schemas.microsoft.com/office/powerpoint/2010/main" val="135943831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865"/>
        <p:cNvGrpSpPr/>
        <p:nvPr/>
      </p:nvGrpSpPr>
      <p:grpSpPr>
        <a:xfrm>
          <a:off x="0" y="0"/>
          <a:ext cx="0" cy="0"/>
          <a:chOff x="0" y="0"/>
          <a:chExt cx="0" cy="0"/>
        </a:xfrm>
      </p:grpSpPr>
      <p:sp>
        <p:nvSpPr>
          <p:cNvPr id="866" name="Shape 866"/>
          <p:cNvSpPr txBox="1">
            <a:spLocks noGrp="1"/>
          </p:cNvSpPr>
          <p:nvPr>
            <p:ph type="title"/>
          </p:nvPr>
        </p:nvSpPr>
        <p:spPr>
          <a:xfrm>
            <a:off x="234033" y="233150"/>
            <a:ext cx="11968409" cy="652741"/>
          </a:xfrm>
          <a:prstGeom prst="rect">
            <a:avLst/>
          </a:prstGeom>
          <a:noFill/>
          <a:ln>
            <a:noFill/>
          </a:ln>
        </p:spPr>
        <p:txBody>
          <a:bodyPr lIns="139897" tIns="46610" rIns="139897" bIns="139897" anchor="t" anchorCtr="0">
            <a:noAutofit/>
          </a:bodyPr>
          <a:lstStyle/>
          <a:p>
            <a:pPr>
              <a:buSzPct val="25000"/>
            </a:pPr>
            <a:r>
              <a:rPr lang="en"/>
              <a:t>What Microsoft &amp; Red Hat Partnership Has to Offer</a:t>
            </a:r>
          </a:p>
        </p:txBody>
      </p:sp>
      <p:sp>
        <p:nvSpPr>
          <p:cNvPr id="867" name="Shape 867"/>
          <p:cNvSpPr txBox="1">
            <a:spLocks noGrp="1"/>
          </p:cNvSpPr>
          <p:nvPr>
            <p:ph type="body" idx="3"/>
          </p:nvPr>
        </p:nvSpPr>
        <p:spPr>
          <a:xfrm>
            <a:off x="234033" y="830016"/>
            <a:ext cx="11968409" cy="466302"/>
          </a:xfrm>
          <a:prstGeom prst="rect">
            <a:avLst/>
          </a:prstGeom>
          <a:noFill/>
          <a:ln>
            <a:noFill/>
          </a:ln>
        </p:spPr>
        <p:txBody>
          <a:bodyPr lIns="149212" tIns="0" rIns="139897" bIns="0" anchor="t" anchorCtr="0">
            <a:noAutofit/>
          </a:bodyPr>
          <a:lstStyle/>
          <a:p>
            <a:pPr>
              <a:spcBef>
                <a:spcPts val="0"/>
              </a:spcBef>
              <a:buClr>
                <a:srgbClr val="7DB72C"/>
              </a:buClr>
              <a:buSzPct val="25000"/>
            </a:pPr>
            <a:r>
              <a:rPr lang="en">
                <a:solidFill>
                  <a:srgbClr val="7DB72C"/>
                </a:solidFill>
              </a:rPr>
              <a:t>Azure support for Red Hat</a:t>
            </a:r>
          </a:p>
        </p:txBody>
      </p:sp>
      <p:sp>
        <p:nvSpPr>
          <p:cNvPr id="868" name="Shape 868"/>
          <p:cNvSpPr/>
          <p:nvPr/>
        </p:nvSpPr>
        <p:spPr>
          <a:xfrm>
            <a:off x="6423533" y="1254395"/>
            <a:ext cx="5595619" cy="4363163"/>
          </a:xfrm>
          <a:prstGeom prst="rect">
            <a:avLst/>
          </a:prstGeom>
          <a:solidFill>
            <a:srgbClr val="F2F2F2"/>
          </a:solidFill>
          <a:ln>
            <a:noFill/>
          </a:ln>
        </p:spPr>
        <p:txBody>
          <a:bodyPr lIns="93254" tIns="46610" rIns="93254" bIns="46610" anchor="t" anchorCtr="0">
            <a:noAutofit/>
          </a:bodyPr>
          <a:lstStyle/>
          <a:p>
            <a:pPr marL="0" marR="0" lvl="0" indent="0" algn="l" defTabSz="1243493" rtl="0" eaLnBrk="1" fontAlgn="auto" latinLnBrk="0" hangingPunct="1">
              <a:lnSpc>
                <a:spcPct val="100000"/>
              </a:lnSpc>
              <a:spcBef>
                <a:spcPts val="0"/>
              </a:spcBef>
              <a:spcAft>
                <a:spcPts val="0"/>
              </a:spcAft>
              <a:buClr>
                <a:srgbClr val="000000"/>
              </a:buClr>
              <a:buSzPct val="25000"/>
              <a:buFontTx/>
              <a:buNone/>
              <a:tabLst/>
              <a:defRPr/>
            </a:pPr>
            <a:r>
              <a:rPr kumimoji="0" lang="en" sz="1632"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Easy to use existing Red Hat subscriptions on Azure</a:t>
            </a:r>
          </a:p>
          <a:p>
            <a:pPr marL="293602" marR="0" lvl="0" indent="-293602" algn="l" defTabSz="1243493" rtl="0" eaLnBrk="1" fontAlgn="auto" latinLnBrk="0" hangingPunct="1">
              <a:lnSpc>
                <a:spcPct val="100000"/>
              </a:lnSpc>
              <a:spcBef>
                <a:spcPts val="0"/>
              </a:spcBef>
              <a:spcAft>
                <a:spcPts val="0"/>
              </a:spcAft>
              <a:buClr>
                <a:srgbClr val="000000"/>
              </a:buClr>
              <a:buSzPct val="100000"/>
              <a:buFont typeface="Arial"/>
              <a:buChar char="•"/>
              <a:tabLst/>
              <a:defRPr/>
            </a:pPr>
            <a:r>
              <a:rPr kumimoji="0" lang="en" sz="1632"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Microsoft is part of the </a:t>
            </a:r>
            <a:r>
              <a:rPr kumimoji="0" lang="en" sz="1632" b="1" i="1"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Red Hat Certified Cloud and Service Provider Program</a:t>
            </a:r>
          </a:p>
          <a:p>
            <a:pPr marL="293602" marR="0" lvl="0" indent="-293602" algn="l" defTabSz="1243493" rtl="0" eaLnBrk="1" fontAlgn="auto" latinLnBrk="0" hangingPunct="1">
              <a:lnSpc>
                <a:spcPct val="100000"/>
              </a:lnSpc>
              <a:spcBef>
                <a:spcPts val="0"/>
              </a:spcBef>
              <a:spcAft>
                <a:spcPts val="0"/>
              </a:spcAft>
              <a:buClr>
                <a:srgbClr val="000000"/>
              </a:buClr>
              <a:buSzPct val="100000"/>
              <a:buFont typeface="Arial"/>
              <a:buChar char="•"/>
              <a:tabLst/>
              <a:defRPr/>
            </a:pPr>
            <a:r>
              <a:rPr kumimoji="0" lang="en" sz="1632" b="1" i="1"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Red Hat Cloud Access</a:t>
            </a:r>
            <a:r>
              <a:rPr kumimoji="0" lang="en" sz="1632"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 </a:t>
            </a:r>
            <a:r>
              <a:rPr kumimoji="0" lang="en" sz="1632"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allows for existing subscriptions of RHEL, JBoss, Gluster and OpenShift to be seamlessly moved to Azure</a:t>
            </a:r>
          </a:p>
          <a:p>
            <a:pPr marL="0" marR="0" lvl="0" indent="0" algn="l" defTabSz="1243493" rtl="0" eaLnBrk="1" fontAlgn="auto" latinLnBrk="0" hangingPunct="1">
              <a:lnSpc>
                <a:spcPct val="100000"/>
              </a:lnSpc>
              <a:spcBef>
                <a:spcPts val="0"/>
              </a:spcBef>
              <a:spcAft>
                <a:spcPts val="0"/>
              </a:spcAft>
              <a:buClr>
                <a:srgbClr val="191919"/>
              </a:buClr>
              <a:buSzTx/>
              <a:buFontTx/>
              <a:buNone/>
              <a:tabLst/>
              <a:defRPr/>
            </a:pPr>
            <a:endParaRPr kumimoji="0" sz="1632" b="0" i="0" u="none" strike="noStrike" kern="0" cap="none" spc="0" normalizeH="0" baseline="0" noProof="0">
              <a:ln>
                <a:noFill/>
              </a:ln>
              <a:solidFill>
                <a:srgbClr val="2F2F2F"/>
              </a:solidFill>
              <a:effectLst/>
              <a:uLnTx/>
              <a:uFillTx/>
              <a:latin typeface="Quattrocento Sans"/>
              <a:ea typeface="Quattrocento Sans"/>
              <a:cs typeface="Quattrocento Sans"/>
              <a:sym typeface="Quattrocento Sans"/>
            </a:endParaRPr>
          </a:p>
          <a:p>
            <a:pPr marL="0" marR="0" lvl="0" indent="0" algn="l" defTabSz="1243493" rtl="0" eaLnBrk="1" fontAlgn="auto" latinLnBrk="0" hangingPunct="1">
              <a:lnSpc>
                <a:spcPct val="100000"/>
              </a:lnSpc>
              <a:spcBef>
                <a:spcPts val="0"/>
              </a:spcBef>
              <a:spcAft>
                <a:spcPts val="0"/>
              </a:spcAft>
              <a:buClr>
                <a:srgbClr val="000000"/>
              </a:buClr>
              <a:buSzPct val="25000"/>
              <a:buFontTx/>
              <a:buNone/>
              <a:tabLst/>
              <a:defRPr/>
            </a:pPr>
            <a:r>
              <a:rPr kumimoji="0" lang="en" sz="1632"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Enterprise-grade support from Microsoft and Red Hat</a:t>
            </a:r>
          </a:p>
          <a:p>
            <a:pPr marL="293602" marR="0" lvl="0" indent="-293602" algn="l" defTabSz="1243493" rtl="0" eaLnBrk="1" fontAlgn="auto" latinLnBrk="0" hangingPunct="1">
              <a:lnSpc>
                <a:spcPct val="100000"/>
              </a:lnSpc>
              <a:spcBef>
                <a:spcPts val="0"/>
              </a:spcBef>
              <a:spcAft>
                <a:spcPts val="0"/>
              </a:spcAft>
              <a:buClr>
                <a:srgbClr val="000000"/>
              </a:buClr>
              <a:buSzPct val="100000"/>
              <a:buFont typeface="Arial"/>
              <a:buChar char="•"/>
              <a:tabLst/>
              <a:defRPr/>
            </a:pPr>
            <a:r>
              <a:rPr kumimoji="0" lang="en" sz="1632"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Across the stack</a:t>
            </a:r>
            <a:r>
              <a:rPr kumimoji="0" lang="en" sz="1632"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 JBOSS, OpenShift, Gluster, RHEL, Satelite, Cloud Forms</a:t>
            </a:r>
          </a:p>
          <a:p>
            <a:pPr marL="293602" marR="0" lvl="0" indent="-293602" algn="l" defTabSz="1243493" rtl="0" eaLnBrk="1" fontAlgn="auto" latinLnBrk="0" hangingPunct="1">
              <a:lnSpc>
                <a:spcPct val="100000"/>
              </a:lnSpc>
              <a:spcBef>
                <a:spcPts val="0"/>
              </a:spcBef>
              <a:spcAft>
                <a:spcPts val="0"/>
              </a:spcAft>
              <a:buClr>
                <a:srgbClr val="000000"/>
              </a:buClr>
              <a:buSzPct val="100000"/>
              <a:buFont typeface="Arial"/>
              <a:buChar char="•"/>
              <a:tabLst/>
              <a:defRPr/>
            </a:pPr>
            <a:r>
              <a:rPr kumimoji="0" lang="en" sz="1632"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Co-location of multi-lingual support engineers</a:t>
            </a:r>
            <a:r>
              <a:rPr kumimoji="0" lang="en" sz="1632"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 seamless and coordinated support no matter who you contact</a:t>
            </a:r>
          </a:p>
          <a:p>
            <a:pPr marL="293602" marR="0" lvl="0" indent="-293602" algn="l" defTabSz="1243493" rtl="0" eaLnBrk="1" fontAlgn="auto" latinLnBrk="0" hangingPunct="1">
              <a:lnSpc>
                <a:spcPct val="100000"/>
              </a:lnSpc>
              <a:spcBef>
                <a:spcPts val="0"/>
              </a:spcBef>
              <a:spcAft>
                <a:spcPts val="0"/>
              </a:spcAft>
              <a:buClr>
                <a:srgbClr val="000000"/>
              </a:buClr>
              <a:buSzPct val="100000"/>
              <a:buFont typeface="Arial"/>
              <a:buChar char="•"/>
              <a:tabLst/>
              <a:defRPr/>
            </a:pPr>
            <a:r>
              <a:rPr kumimoji="0" lang="en" sz="1632"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Security Response Team</a:t>
            </a:r>
          </a:p>
          <a:p>
            <a:pPr marL="293602" marR="0" lvl="0" indent="-293602" algn="l" defTabSz="1243493" rtl="0" eaLnBrk="1" fontAlgn="auto" latinLnBrk="0" hangingPunct="1">
              <a:lnSpc>
                <a:spcPct val="100000"/>
              </a:lnSpc>
              <a:spcBef>
                <a:spcPts val="0"/>
              </a:spcBef>
              <a:spcAft>
                <a:spcPts val="0"/>
              </a:spcAft>
              <a:buClr>
                <a:srgbClr val="000000"/>
              </a:buClr>
              <a:buSzPct val="100000"/>
              <a:buFont typeface="Arial"/>
              <a:buChar char="•"/>
              <a:tabLst/>
              <a:defRPr/>
            </a:pPr>
            <a:r>
              <a:rPr kumimoji="0" lang="en" sz="1632"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Support for </a:t>
            </a:r>
            <a:r>
              <a:rPr kumimoji="0" lang="en" sz="1632"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RHEL 6.7, 6.8 and 7.2</a:t>
            </a:r>
          </a:p>
          <a:p>
            <a:pPr marL="293602" marR="0" lvl="0" indent="-293602" algn="l" defTabSz="1243493" rtl="0" eaLnBrk="1" fontAlgn="auto" latinLnBrk="0" hangingPunct="1">
              <a:lnSpc>
                <a:spcPct val="100000"/>
              </a:lnSpc>
              <a:spcBef>
                <a:spcPts val="0"/>
              </a:spcBef>
              <a:spcAft>
                <a:spcPts val="0"/>
              </a:spcAft>
              <a:buClr>
                <a:srgbClr val="191919"/>
              </a:buClr>
              <a:buSzTx/>
              <a:buFontTx/>
              <a:buNone/>
              <a:tabLst/>
              <a:defRPr/>
            </a:pPr>
            <a:endParaRPr kumimoji="0" sz="1632"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pic>
        <p:nvPicPr>
          <p:cNvPr id="869" name="Shape 869"/>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957111" y="6137851"/>
            <a:ext cx="1026027" cy="518113"/>
          </a:xfrm>
          <a:prstGeom prst="rect">
            <a:avLst/>
          </a:prstGeom>
          <a:noFill/>
          <a:ln>
            <a:noFill/>
          </a:ln>
        </p:spPr>
      </p:pic>
      <p:pic>
        <p:nvPicPr>
          <p:cNvPr id="870" name="Shape 870"/>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3480039" y="6145812"/>
            <a:ext cx="1771783" cy="488740"/>
          </a:xfrm>
          <a:prstGeom prst="rect">
            <a:avLst/>
          </a:prstGeom>
          <a:noFill/>
          <a:ln>
            <a:noFill/>
          </a:ln>
        </p:spPr>
      </p:pic>
      <p:pic>
        <p:nvPicPr>
          <p:cNvPr id="871" name="Shape 871"/>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7795349" y="6154545"/>
            <a:ext cx="1585343" cy="471197"/>
          </a:xfrm>
          <a:prstGeom prst="rect">
            <a:avLst/>
          </a:prstGeom>
          <a:noFill/>
          <a:ln>
            <a:noFill/>
          </a:ln>
        </p:spPr>
      </p:pic>
      <p:pic>
        <p:nvPicPr>
          <p:cNvPr id="872" name="Shape 872" descr="University of Tokyo - Wikipedia, the free encyclopedia"/>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5686682" y="6218399"/>
            <a:ext cx="1585344" cy="412043"/>
          </a:xfrm>
          <a:prstGeom prst="rect">
            <a:avLst/>
          </a:prstGeom>
          <a:noFill/>
          <a:ln>
            <a:noFill/>
          </a:ln>
        </p:spPr>
      </p:pic>
      <p:pic>
        <p:nvPicPr>
          <p:cNvPr id="873" name="Shape 873" descr="http://s3-eu-west-1.amazonaws.com/rankia/images/valoraciones/0015/9679/pacifico-seguros.jpg?1403781687"/>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9722496" y="5923914"/>
            <a:ext cx="932603" cy="932603"/>
          </a:xfrm>
          <a:prstGeom prst="rect">
            <a:avLst/>
          </a:prstGeom>
          <a:noFill/>
          <a:ln>
            <a:noFill/>
          </a:ln>
        </p:spPr>
      </p:pic>
      <p:cxnSp>
        <p:nvCxnSpPr>
          <p:cNvPr id="874" name="Shape 874"/>
          <p:cNvCxnSpPr/>
          <p:nvPr/>
        </p:nvCxnSpPr>
        <p:spPr>
          <a:xfrm>
            <a:off x="686" y="5848257"/>
            <a:ext cx="12435119" cy="13871"/>
          </a:xfrm>
          <a:prstGeom prst="straightConnector1">
            <a:avLst/>
          </a:prstGeom>
          <a:noFill/>
          <a:ln w="28575" cap="flat" cmpd="sng">
            <a:solidFill>
              <a:srgbClr val="7FBA00"/>
            </a:solidFill>
            <a:prstDash val="solid"/>
            <a:miter/>
            <a:headEnd type="none" w="med" len="med"/>
            <a:tailEnd type="none" w="med" len="med"/>
          </a:ln>
        </p:spPr>
      </p:cxnSp>
      <p:sp>
        <p:nvSpPr>
          <p:cNvPr id="875" name="Shape 875"/>
          <p:cNvSpPr/>
          <p:nvPr/>
        </p:nvSpPr>
        <p:spPr>
          <a:xfrm>
            <a:off x="242379" y="1254395"/>
            <a:ext cx="5997871" cy="4363163"/>
          </a:xfrm>
          <a:prstGeom prst="rect">
            <a:avLst/>
          </a:prstGeom>
          <a:solidFill>
            <a:srgbClr val="F2F2F2"/>
          </a:solidFill>
          <a:ln>
            <a:noFill/>
          </a:ln>
        </p:spPr>
        <p:txBody>
          <a:bodyPr lIns="93254" tIns="46610" rIns="93254" bIns="46610" anchor="t" anchorCtr="0">
            <a:noAutofit/>
          </a:bodyPr>
          <a:lstStyle/>
          <a:p>
            <a:pPr marL="0" marR="0" lvl="0" indent="0" algn="l" defTabSz="1243493" rtl="0" eaLnBrk="1" fontAlgn="auto" latinLnBrk="0" hangingPunct="1">
              <a:lnSpc>
                <a:spcPct val="100000"/>
              </a:lnSpc>
              <a:spcBef>
                <a:spcPts val="0"/>
              </a:spcBef>
              <a:spcAft>
                <a:spcPts val="0"/>
              </a:spcAft>
              <a:buClr>
                <a:srgbClr val="191919"/>
              </a:buClr>
              <a:buSzPct val="25000"/>
              <a:buFontTx/>
              <a:buNone/>
              <a:tabLst/>
              <a:defRPr/>
            </a:pPr>
            <a:r>
              <a:rPr kumimoji="0" lang="en" sz="1632" b="1"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Best of both worlds</a:t>
            </a:r>
          </a:p>
          <a:p>
            <a:pPr marL="293602" marR="0" lvl="0" indent="-293602" algn="l" defTabSz="1243493" rtl="0" eaLnBrk="1" fontAlgn="auto" latinLnBrk="0" hangingPunct="1">
              <a:lnSpc>
                <a:spcPct val="100000"/>
              </a:lnSpc>
              <a:spcBef>
                <a:spcPts val="0"/>
              </a:spcBef>
              <a:spcAft>
                <a:spcPts val="0"/>
              </a:spcAft>
              <a:buClr>
                <a:srgbClr val="191919"/>
              </a:buClr>
              <a:buSzPct val="100000"/>
              <a:buFont typeface="Arial"/>
              <a:buChar char="•"/>
              <a:tabLst/>
              <a:defRPr/>
            </a:pPr>
            <a:r>
              <a:rPr kumimoji="0" lang="en" sz="1632" b="0"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Add the </a:t>
            </a:r>
            <a:r>
              <a:rPr kumimoji="0" lang="en" sz="1632" b="1"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power and hyperscale of Azure </a:t>
            </a:r>
            <a:r>
              <a:rPr kumimoji="0" lang="en" sz="1632" b="0"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to Red Hat applications</a:t>
            </a:r>
          </a:p>
          <a:p>
            <a:pPr marL="293602" marR="0" lvl="0" indent="-293602" algn="l" defTabSz="1243493" rtl="0" eaLnBrk="1" fontAlgn="auto" latinLnBrk="0" hangingPunct="1">
              <a:lnSpc>
                <a:spcPct val="100000"/>
              </a:lnSpc>
              <a:spcBef>
                <a:spcPts val="0"/>
              </a:spcBef>
              <a:spcAft>
                <a:spcPts val="0"/>
              </a:spcAft>
              <a:buClr>
                <a:srgbClr val="191919"/>
              </a:buClr>
              <a:buSzPct val="100000"/>
              <a:buFont typeface="Arial"/>
              <a:buChar char="•"/>
              <a:tabLst/>
              <a:defRPr/>
            </a:pPr>
            <a:r>
              <a:rPr kumimoji="0" lang="en" sz="1632" b="0"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Deploy Red Hat applications in a </a:t>
            </a:r>
            <a:r>
              <a:rPr kumimoji="0" lang="en" sz="1632" b="1"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hybrid deployment model</a:t>
            </a:r>
            <a:r>
              <a:rPr kumimoji="0" lang="en" sz="1632" b="0"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 on-premises or in the cloud</a:t>
            </a:r>
          </a:p>
          <a:p>
            <a:pPr marL="0" marR="0" lvl="0" indent="0" algn="l" defTabSz="1243493" rtl="0" eaLnBrk="1" fontAlgn="auto" latinLnBrk="0" hangingPunct="1">
              <a:lnSpc>
                <a:spcPct val="100000"/>
              </a:lnSpc>
              <a:spcBef>
                <a:spcPts val="680"/>
              </a:spcBef>
              <a:spcAft>
                <a:spcPts val="0"/>
              </a:spcAft>
              <a:buClr>
                <a:srgbClr val="191919"/>
              </a:buClr>
              <a:buSzTx/>
              <a:buFontTx/>
              <a:buNone/>
              <a:tabLst/>
              <a:defRPr/>
            </a:pPr>
            <a:endParaRPr kumimoji="0" sz="1632" b="1"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endParaRPr>
          </a:p>
          <a:p>
            <a:pPr marL="0" marR="0" lvl="0" indent="0" algn="l" defTabSz="1243493" rtl="0" eaLnBrk="1" fontAlgn="auto" latinLnBrk="0" hangingPunct="1">
              <a:lnSpc>
                <a:spcPct val="100000"/>
              </a:lnSpc>
              <a:spcBef>
                <a:spcPts val="680"/>
              </a:spcBef>
              <a:spcAft>
                <a:spcPts val="0"/>
              </a:spcAft>
              <a:buClr>
                <a:srgbClr val="191919"/>
              </a:buClr>
              <a:buSzPct val="25000"/>
              <a:buFontTx/>
              <a:buNone/>
              <a:tabLst/>
              <a:defRPr/>
            </a:pPr>
            <a:r>
              <a:rPr kumimoji="0" lang="en" sz="1632" b="1"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Extend Cloud Management and Application Development</a:t>
            </a:r>
          </a:p>
          <a:p>
            <a:pPr marL="293602" marR="0" lvl="0" indent="-293602" algn="l" defTabSz="1243493" rtl="0" eaLnBrk="1" fontAlgn="auto" latinLnBrk="0" hangingPunct="1">
              <a:lnSpc>
                <a:spcPct val="100000"/>
              </a:lnSpc>
              <a:spcBef>
                <a:spcPts val="680"/>
              </a:spcBef>
              <a:spcAft>
                <a:spcPts val="0"/>
              </a:spcAft>
              <a:buClr>
                <a:srgbClr val="191919"/>
              </a:buClr>
              <a:buSzPct val="100000"/>
              <a:buFont typeface="Arial"/>
              <a:buChar char="•"/>
              <a:tabLst/>
              <a:defRPr/>
            </a:pPr>
            <a:r>
              <a:rPr kumimoji="0" lang="en" sz="1632" b="1"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Single management console with Red Hat CloudForms </a:t>
            </a:r>
            <a:r>
              <a:rPr kumimoji="0" lang="en" sz="1632" b="0"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to manage workloads across physical, virtual, and private and public cloud </a:t>
            </a:r>
          </a:p>
          <a:p>
            <a:pPr marL="293602" marR="0" lvl="0" indent="-293602" algn="l" defTabSz="1243493" rtl="0" eaLnBrk="1" fontAlgn="auto" latinLnBrk="0" hangingPunct="1">
              <a:lnSpc>
                <a:spcPct val="100000"/>
              </a:lnSpc>
              <a:spcBef>
                <a:spcPts val="680"/>
              </a:spcBef>
              <a:spcAft>
                <a:spcPts val="0"/>
              </a:spcAft>
              <a:buClr>
                <a:srgbClr val="505050"/>
              </a:buClr>
              <a:buSzPct val="100000"/>
              <a:buFont typeface="Arial"/>
              <a:buChar char="•"/>
              <a:tabLst/>
              <a:defRPr/>
            </a:pPr>
            <a:r>
              <a:rPr kumimoji="0" lang="en" sz="1632" b="1" i="0" u="none" strike="noStrike" kern="0" cap="none" spc="0" normalizeH="0" baseline="0" noProof="0">
                <a:ln>
                  <a:noFill/>
                </a:ln>
                <a:solidFill>
                  <a:srgbClr val="505050"/>
                </a:solidFill>
                <a:effectLst/>
                <a:uLnTx/>
                <a:uFillTx/>
                <a:latin typeface="Quattrocento Sans"/>
                <a:ea typeface="Quattrocento Sans"/>
                <a:cs typeface="Quattrocento Sans"/>
                <a:sym typeface="Quattrocento Sans"/>
              </a:rPr>
              <a:t>Microsoft .NET</a:t>
            </a:r>
            <a:r>
              <a:rPr kumimoji="0" lang="en" sz="1632" b="0" i="0" u="none" strike="noStrike" kern="0" cap="none" spc="0" normalizeH="0" baseline="0" noProof="0">
                <a:ln>
                  <a:noFill/>
                </a:ln>
                <a:solidFill>
                  <a:srgbClr val="505050"/>
                </a:solidFill>
                <a:effectLst/>
                <a:uLnTx/>
                <a:uFillTx/>
                <a:latin typeface="Quattrocento Sans"/>
                <a:ea typeface="Quattrocento Sans"/>
                <a:cs typeface="Quattrocento Sans"/>
                <a:sym typeface="Quattrocento Sans"/>
              </a:rPr>
              <a:t>, Red Hat and Microsoft deliver a common, enterprise-grade platform for app development and deployment. </a:t>
            </a:r>
          </a:p>
          <a:p>
            <a:pPr marL="0" marR="0" lvl="0" indent="0" algn="l" defTabSz="1243493" rtl="0" eaLnBrk="1" fontAlgn="auto" latinLnBrk="0" hangingPunct="1">
              <a:lnSpc>
                <a:spcPct val="100000"/>
              </a:lnSpc>
              <a:spcBef>
                <a:spcPts val="680"/>
              </a:spcBef>
              <a:spcAft>
                <a:spcPts val="0"/>
              </a:spcAft>
              <a:buClr>
                <a:srgbClr val="191919"/>
              </a:buClr>
              <a:buSzTx/>
              <a:buFontTx/>
              <a:buNone/>
              <a:tabLst/>
              <a:defRPr/>
            </a:pPr>
            <a:endParaRPr kumimoji="0" sz="1632" b="1"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endParaRPr>
          </a:p>
          <a:p>
            <a:pPr marL="0" marR="0" lvl="0" indent="0" algn="l" defTabSz="1243493" rtl="0" eaLnBrk="1" fontAlgn="auto" latinLnBrk="0" hangingPunct="1">
              <a:lnSpc>
                <a:spcPct val="100000"/>
              </a:lnSpc>
              <a:spcBef>
                <a:spcPts val="680"/>
              </a:spcBef>
              <a:spcAft>
                <a:spcPts val="0"/>
              </a:spcAft>
              <a:buClr>
                <a:srgbClr val="191919"/>
              </a:buClr>
              <a:buSzPct val="25000"/>
              <a:buFontTx/>
              <a:buNone/>
              <a:tabLst/>
              <a:defRPr/>
            </a:pPr>
            <a:r>
              <a:rPr kumimoji="0" lang="en" sz="1632" b="1"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Fast and Easy Provisioning</a:t>
            </a:r>
          </a:p>
          <a:p>
            <a:pPr marL="293602" marR="0" lvl="0" indent="-293602" algn="l" defTabSz="1243493" rtl="0" eaLnBrk="1" fontAlgn="auto" latinLnBrk="0" hangingPunct="1">
              <a:lnSpc>
                <a:spcPct val="100000"/>
              </a:lnSpc>
              <a:spcBef>
                <a:spcPts val="0"/>
              </a:spcBef>
              <a:spcAft>
                <a:spcPts val="0"/>
              </a:spcAft>
              <a:buClr>
                <a:srgbClr val="191919"/>
              </a:buClr>
              <a:buSzPct val="100000"/>
              <a:buFont typeface="Arial"/>
              <a:buChar char="•"/>
              <a:tabLst/>
              <a:defRPr/>
            </a:pPr>
            <a:r>
              <a:rPr kumimoji="0" lang="en" sz="1632" b="1"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On-demand, pay-as-you-go images </a:t>
            </a:r>
            <a:r>
              <a:rPr kumimoji="0" lang="en" sz="1632" b="0"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on Azure Marketplace</a:t>
            </a:r>
          </a:p>
          <a:p>
            <a:pPr marL="293602" marR="0" lvl="0" indent="-293602" algn="l" defTabSz="1243493" rtl="0" eaLnBrk="1" fontAlgn="auto" latinLnBrk="0" hangingPunct="1">
              <a:lnSpc>
                <a:spcPct val="100000"/>
              </a:lnSpc>
              <a:spcBef>
                <a:spcPts val="0"/>
              </a:spcBef>
              <a:spcAft>
                <a:spcPts val="0"/>
              </a:spcAft>
              <a:buClr>
                <a:srgbClr val="191919"/>
              </a:buClr>
              <a:buSzPct val="100000"/>
              <a:buFont typeface="Arial"/>
              <a:buChar char="•"/>
              <a:tabLst/>
              <a:defRPr/>
            </a:pPr>
            <a:r>
              <a:rPr kumimoji="0" lang="en" sz="1632" b="1"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Easily port RHEL images to Azure</a:t>
            </a:r>
            <a:r>
              <a:rPr kumimoji="0" lang="en" sz="1632" b="0"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 support for image management tools like Packer</a:t>
            </a:r>
          </a:p>
        </p:txBody>
      </p:sp>
    </p:spTree>
    <p:extLst>
      <p:ext uri="{BB962C8B-B14F-4D97-AF65-F5344CB8AC3E}">
        <p14:creationId xmlns:p14="http://schemas.microsoft.com/office/powerpoint/2010/main" val="307483326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75"/>
                                        </p:tgtEl>
                                        <p:attrNameLst>
                                          <p:attrName>style.visibility</p:attrName>
                                        </p:attrNameLst>
                                      </p:cBhvr>
                                      <p:to>
                                        <p:strVal val="visible"/>
                                      </p:to>
                                    </p:set>
                                    <p:animEffect transition="in" filter="fade">
                                      <p:cBhvr>
                                        <p:cTn id="7" dur="1000"/>
                                        <p:tgtEl>
                                          <p:spTgt spid="87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68"/>
                                        </p:tgtEl>
                                        <p:attrNameLst>
                                          <p:attrName>style.visibility</p:attrName>
                                        </p:attrNameLst>
                                      </p:cBhvr>
                                      <p:to>
                                        <p:strVal val="visible"/>
                                      </p:to>
                                    </p:set>
                                    <p:animEffect transition="in" filter="fade">
                                      <p:cBhvr>
                                        <p:cTn id="12" dur="1000"/>
                                        <p:tgtEl>
                                          <p:spTgt spid="86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69"/>
                                        </p:tgtEl>
                                        <p:attrNameLst>
                                          <p:attrName>style.visibility</p:attrName>
                                        </p:attrNameLst>
                                      </p:cBhvr>
                                      <p:to>
                                        <p:strVal val="visible"/>
                                      </p:to>
                                    </p:set>
                                    <p:animEffect transition="in" filter="fade">
                                      <p:cBhvr>
                                        <p:cTn id="17" dur="1000"/>
                                        <p:tgtEl>
                                          <p:spTgt spid="869"/>
                                        </p:tgtEl>
                                      </p:cBhvr>
                                    </p:animEffect>
                                  </p:childTnLst>
                                </p:cTn>
                              </p:par>
                              <p:par>
                                <p:cTn id="18" presetID="10" presetClass="entr" presetSubtype="0" fill="hold" nodeType="withEffect">
                                  <p:stCondLst>
                                    <p:cond delay="0"/>
                                  </p:stCondLst>
                                  <p:childTnLst>
                                    <p:set>
                                      <p:cBhvr>
                                        <p:cTn id="19" dur="1" fill="hold">
                                          <p:stCondLst>
                                            <p:cond delay="0"/>
                                          </p:stCondLst>
                                        </p:cTn>
                                        <p:tgtEl>
                                          <p:spTgt spid="870"/>
                                        </p:tgtEl>
                                        <p:attrNameLst>
                                          <p:attrName>style.visibility</p:attrName>
                                        </p:attrNameLst>
                                      </p:cBhvr>
                                      <p:to>
                                        <p:strVal val="visible"/>
                                      </p:to>
                                    </p:set>
                                    <p:animEffect transition="in" filter="fade">
                                      <p:cBhvr>
                                        <p:cTn id="20" dur="1000"/>
                                        <p:tgtEl>
                                          <p:spTgt spid="870"/>
                                        </p:tgtEl>
                                      </p:cBhvr>
                                    </p:animEffect>
                                  </p:childTnLst>
                                </p:cTn>
                              </p:par>
                              <p:par>
                                <p:cTn id="21" presetID="10" presetClass="entr" presetSubtype="0" fill="hold" nodeType="withEffect">
                                  <p:stCondLst>
                                    <p:cond delay="0"/>
                                  </p:stCondLst>
                                  <p:childTnLst>
                                    <p:set>
                                      <p:cBhvr>
                                        <p:cTn id="22" dur="1" fill="hold">
                                          <p:stCondLst>
                                            <p:cond delay="0"/>
                                          </p:stCondLst>
                                        </p:cTn>
                                        <p:tgtEl>
                                          <p:spTgt spid="871"/>
                                        </p:tgtEl>
                                        <p:attrNameLst>
                                          <p:attrName>style.visibility</p:attrName>
                                        </p:attrNameLst>
                                      </p:cBhvr>
                                      <p:to>
                                        <p:strVal val="visible"/>
                                      </p:to>
                                    </p:set>
                                    <p:animEffect transition="in" filter="fade">
                                      <p:cBhvr>
                                        <p:cTn id="23" dur="1000"/>
                                        <p:tgtEl>
                                          <p:spTgt spid="871"/>
                                        </p:tgtEl>
                                      </p:cBhvr>
                                    </p:animEffect>
                                  </p:childTnLst>
                                </p:cTn>
                              </p:par>
                              <p:par>
                                <p:cTn id="24" presetID="10" presetClass="entr" presetSubtype="0" fill="hold" nodeType="withEffect">
                                  <p:stCondLst>
                                    <p:cond delay="0"/>
                                  </p:stCondLst>
                                  <p:childTnLst>
                                    <p:set>
                                      <p:cBhvr>
                                        <p:cTn id="25" dur="1" fill="hold">
                                          <p:stCondLst>
                                            <p:cond delay="0"/>
                                          </p:stCondLst>
                                        </p:cTn>
                                        <p:tgtEl>
                                          <p:spTgt spid="872"/>
                                        </p:tgtEl>
                                        <p:attrNameLst>
                                          <p:attrName>style.visibility</p:attrName>
                                        </p:attrNameLst>
                                      </p:cBhvr>
                                      <p:to>
                                        <p:strVal val="visible"/>
                                      </p:to>
                                    </p:set>
                                    <p:animEffect transition="in" filter="fade">
                                      <p:cBhvr>
                                        <p:cTn id="26" dur="1000"/>
                                        <p:tgtEl>
                                          <p:spTgt spid="872"/>
                                        </p:tgtEl>
                                      </p:cBhvr>
                                    </p:animEffect>
                                  </p:childTnLst>
                                </p:cTn>
                              </p:par>
                              <p:par>
                                <p:cTn id="27" presetID="10" presetClass="entr" presetSubtype="0" fill="hold" nodeType="withEffect">
                                  <p:stCondLst>
                                    <p:cond delay="0"/>
                                  </p:stCondLst>
                                  <p:childTnLst>
                                    <p:set>
                                      <p:cBhvr>
                                        <p:cTn id="28" dur="1" fill="hold">
                                          <p:stCondLst>
                                            <p:cond delay="0"/>
                                          </p:stCondLst>
                                        </p:cTn>
                                        <p:tgtEl>
                                          <p:spTgt spid="873"/>
                                        </p:tgtEl>
                                        <p:attrNameLst>
                                          <p:attrName>style.visibility</p:attrName>
                                        </p:attrNameLst>
                                      </p:cBhvr>
                                      <p:to>
                                        <p:strVal val="visible"/>
                                      </p:to>
                                    </p:set>
                                    <p:animEffect transition="in" filter="fade">
                                      <p:cBhvr>
                                        <p:cTn id="29" dur="1000"/>
                                        <p:tgtEl>
                                          <p:spTgt spid="873"/>
                                        </p:tgtEl>
                                      </p:cBhvr>
                                    </p:animEffect>
                                  </p:childTnLst>
                                </p:cTn>
                              </p:par>
                              <p:par>
                                <p:cTn id="30" presetID="10" presetClass="entr" presetSubtype="0" fill="hold" nodeType="withEffect">
                                  <p:stCondLst>
                                    <p:cond delay="0"/>
                                  </p:stCondLst>
                                  <p:childTnLst>
                                    <p:set>
                                      <p:cBhvr>
                                        <p:cTn id="31" dur="1" fill="hold">
                                          <p:stCondLst>
                                            <p:cond delay="0"/>
                                          </p:stCondLst>
                                        </p:cTn>
                                        <p:tgtEl>
                                          <p:spTgt spid="874"/>
                                        </p:tgtEl>
                                        <p:attrNameLst>
                                          <p:attrName>style.visibility</p:attrName>
                                        </p:attrNameLst>
                                      </p:cBhvr>
                                      <p:to>
                                        <p:strVal val="visible"/>
                                      </p:to>
                                    </p:set>
                                    <p:animEffect transition="in" filter="fade">
                                      <p:cBhvr>
                                        <p:cTn id="32" dur="1000"/>
                                        <p:tgtEl>
                                          <p:spTgt spid="8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83"/>
        <p:cNvGrpSpPr/>
        <p:nvPr/>
      </p:nvGrpSpPr>
      <p:grpSpPr>
        <a:xfrm>
          <a:off x="0" y="0"/>
          <a:ext cx="0" cy="0"/>
          <a:chOff x="0" y="0"/>
          <a:chExt cx="0" cy="0"/>
        </a:xfrm>
      </p:grpSpPr>
      <p:sp>
        <p:nvSpPr>
          <p:cNvPr id="884" name="Shape 884"/>
          <p:cNvSpPr/>
          <p:nvPr/>
        </p:nvSpPr>
        <p:spPr>
          <a:xfrm>
            <a:off x="882" y="5457672"/>
            <a:ext cx="12434711" cy="1058256"/>
          </a:xfrm>
          <a:prstGeom prst="rect">
            <a:avLst/>
          </a:prstGeom>
          <a:solidFill>
            <a:srgbClr val="FFFFFF"/>
          </a:solidFill>
          <a:ln>
            <a:noFill/>
          </a:ln>
        </p:spPr>
        <p:txBody>
          <a:bodyPr lIns="182835" tIns="146289" rIns="182835" bIns="146289" anchor="t" anchorCtr="0">
            <a:noAutofit/>
          </a:bodyPr>
          <a:lstStyle/>
          <a:p>
            <a:pPr marL="0" marR="0" lvl="0" indent="0" algn="ctr" defTabSz="1243493" rtl="0" eaLnBrk="1" fontAlgn="auto" latinLnBrk="0" hangingPunct="1">
              <a:lnSpc>
                <a:spcPct val="90000"/>
              </a:lnSpc>
              <a:spcBef>
                <a:spcPts val="0"/>
              </a:spcBef>
              <a:spcAft>
                <a:spcPts val="0"/>
              </a:spcAft>
              <a:buClr>
                <a:srgbClr val="FFFFFF"/>
              </a:buClr>
              <a:buSzTx/>
              <a:buFontTx/>
              <a:buNone/>
              <a:tabLst/>
              <a:defRPr/>
            </a:pPr>
            <a:endParaRPr kumimoji="0" sz="2448"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885" name="Shape 88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276767" y="2001192"/>
            <a:ext cx="725358" cy="1145968"/>
          </a:xfrm>
          <a:prstGeom prst="rect">
            <a:avLst/>
          </a:prstGeom>
          <a:noFill/>
          <a:ln>
            <a:noFill/>
          </a:ln>
        </p:spPr>
      </p:pic>
      <p:sp>
        <p:nvSpPr>
          <p:cNvPr id="886" name="Shape 886"/>
          <p:cNvSpPr txBox="1"/>
          <p:nvPr/>
        </p:nvSpPr>
        <p:spPr>
          <a:xfrm>
            <a:off x="234031" y="233151"/>
            <a:ext cx="11968409" cy="512809"/>
          </a:xfrm>
          <a:prstGeom prst="rect">
            <a:avLst/>
          </a:prstGeom>
          <a:noFill/>
          <a:ln>
            <a:noFill/>
          </a:ln>
        </p:spPr>
        <p:txBody>
          <a:bodyPr lIns="139897" tIns="46610" rIns="139897" bIns="139897" anchor="t" anchorCtr="0">
            <a:noAutofit/>
          </a:bodyPr>
          <a:lstStyle/>
          <a:p>
            <a:pPr marL="0" marR="0" lvl="0" indent="0" algn="l" defTabSz="1243493" rtl="0" eaLnBrk="1" fontAlgn="auto" latinLnBrk="0" hangingPunct="1">
              <a:lnSpc>
                <a:spcPct val="90000"/>
              </a:lnSpc>
              <a:spcBef>
                <a:spcPts val="0"/>
              </a:spcBef>
              <a:spcAft>
                <a:spcPts val="0"/>
              </a:spcAft>
              <a:buClr>
                <a:srgbClr val="0078D7"/>
              </a:buClr>
              <a:buSzPct val="25000"/>
              <a:buFontTx/>
              <a:buNone/>
              <a:tabLst/>
              <a:defRPr/>
            </a:pPr>
            <a:r>
              <a:rPr kumimoji="0" lang="en" sz="3672" b="0" i="0" u="none" strike="noStrike" kern="0" cap="none" spc="0" normalizeH="0" baseline="0" noProof="0">
                <a:ln>
                  <a:noFill/>
                </a:ln>
                <a:solidFill>
                  <a:srgbClr val="0078D7"/>
                </a:solidFill>
                <a:effectLst/>
                <a:uLnTx/>
                <a:uFillTx/>
                <a:latin typeface="Quattrocento Sans"/>
                <a:ea typeface="Quattrocento Sans"/>
                <a:cs typeface="Quattrocento Sans"/>
                <a:sym typeface="Quattrocento Sans"/>
              </a:rPr>
              <a:t>Integrated Support</a:t>
            </a:r>
          </a:p>
        </p:txBody>
      </p:sp>
      <p:sp>
        <p:nvSpPr>
          <p:cNvPr id="887" name="Shape 887"/>
          <p:cNvSpPr txBox="1"/>
          <p:nvPr/>
        </p:nvSpPr>
        <p:spPr>
          <a:xfrm>
            <a:off x="234030" y="1048675"/>
            <a:ext cx="11968409" cy="4516150"/>
          </a:xfrm>
          <a:prstGeom prst="rect">
            <a:avLst/>
          </a:prstGeom>
          <a:noFill/>
          <a:ln>
            <a:noFill/>
          </a:ln>
        </p:spPr>
        <p:txBody>
          <a:bodyPr lIns="139897" tIns="139897" rIns="139897" bIns="139897" anchor="t" anchorCtr="0">
            <a:noAutofit/>
          </a:bodyPr>
          <a:lstStyle/>
          <a:p>
            <a:pPr marL="241790" marR="0" lvl="1" indent="0" algn="l" defTabSz="1243493" rtl="0" eaLnBrk="1" fontAlgn="auto" latinLnBrk="0" hangingPunct="1">
              <a:lnSpc>
                <a:spcPct val="100000"/>
              </a:lnSpc>
              <a:spcBef>
                <a:spcPts val="0"/>
              </a:spcBef>
              <a:spcAft>
                <a:spcPts val="0"/>
              </a:spcAft>
              <a:buClr>
                <a:srgbClr val="505050"/>
              </a:buClr>
              <a:buSzPct val="25000"/>
              <a:buFontTx/>
              <a:buNone/>
              <a:tabLst/>
              <a:defRPr/>
            </a:pPr>
            <a:r>
              <a:rPr kumimoji="0" lang="en" sz="2040" b="0"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Red Hat and Microsoft have created an </a:t>
            </a:r>
            <a:r>
              <a:rPr kumimoji="0" lang="en" sz="2040" b="1"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industry-changing integrated support </a:t>
            </a:r>
            <a:r>
              <a:rPr kumimoji="0" lang="en" sz="2040" b="0"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model for customers using Red Hat solutions in Azure.  We are working side-by-side to solve common problems and to provide the </a:t>
            </a:r>
            <a:r>
              <a:rPr kumimoji="0" lang="en" sz="2040" b="1"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enterprise-grade </a:t>
            </a:r>
            <a:r>
              <a:rPr kumimoji="0" lang="en" sz="2040" b="0"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support that customers rely on in their datacenters.</a:t>
            </a:r>
          </a:p>
          <a:p>
            <a:pPr marL="241790" marR="0" lvl="1" indent="0" algn="l" defTabSz="1243493" rtl="0" eaLnBrk="1" fontAlgn="auto" latinLnBrk="0" hangingPunct="1">
              <a:lnSpc>
                <a:spcPct val="100000"/>
              </a:lnSpc>
              <a:spcBef>
                <a:spcPts val="1768"/>
              </a:spcBef>
              <a:spcAft>
                <a:spcPts val="0"/>
              </a:spcAft>
              <a:buClr>
                <a:srgbClr val="505050"/>
              </a:buClr>
              <a:buSzPct val="25000"/>
              <a:buFontTx/>
              <a:buNone/>
              <a:tabLst/>
              <a:defRPr/>
            </a:pPr>
            <a:r>
              <a:rPr kumimoji="0" lang="en" sz="1768" b="1"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Highlights</a:t>
            </a:r>
            <a:r>
              <a:rPr kumimoji="0" lang="en" sz="2040" b="0"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a:t>
            </a:r>
          </a:p>
          <a:p>
            <a:pPr marL="742641" marR="0" lvl="2" indent="-293602" algn="l" defTabSz="1243493" rtl="0" eaLnBrk="1" fontAlgn="auto" latinLnBrk="0" hangingPunct="1">
              <a:lnSpc>
                <a:spcPct val="100000"/>
              </a:lnSpc>
              <a:spcBef>
                <a:spcPts val="1224"/>
              </a:spcBef>
              <a:spcAft>
                <a:spcPts val="0"/>
              </a:spcAft>
              <a:buClr>
                <a:srgbClr val="191919"/>
              </a:buClr>
              <a:buSzPct val="25000"/>
              <a:buFontTx/>
              <a:buNone/>
              <a:tabLst/>
              <a:defRPr/>
            </a:pPr>
            <a:r>
              <a:rPr kumimoji="0" lang="en" sz="1768" b="0"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Red Hat participation in Azure forums</a:t>
            </a:r>
          </a:p>
          <a:p>
            <a:pPr marL="742641" marR="0" lvl="2" indent="-293602" algn="l" defTabSz="1243493" rtl="0" eaLnBrk="1" fontAlgn="auto" latinLnBrk="0" hangingPunct="1">
              <a:lnSpc>
                <a:spcPct val="100000"/>
              </a:lnSpc>
              <a:spcBef>
                <a:spcPts val="1224"/>
              </a:spcBef>
              <a:spcAft>
                <a:spcPts val="0"/>
              </a:spcAft>
              <a:buClr>
                <a:srgbClr val="191919"/>
              </a:buClr>
              <a:buSzPct val="25000"/>
              <a:buFontTx/>
              <a:buNone/>
              <a:tabLst/>
              <a:defRPr/>
            </a:pPr>
            <a:r>
              <a:rPr kumimoji="0" lang="en" sz="1768" b="0"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Red Hat &amp; Microsoft security response team collaboration</a:t>
            </a:r>
          </a:p>
          <a:p>
            <a:pPr marL="742641" marR="0" lvl="2" indent="-293602" algn="l" defTabSz="1243493" rtl="0" eaLnBrk="1" fontAlgn="auto" latinLnBrk="0" hangingPunct="1">
              <a:lnSpc>
                <a:spcPct val="100000"/>
              </a:lnSpc>
              <a:spcBef>
                <a:spcPts val="1224"/>
              </a:spcBef>
              <a:spcAft>
                <a:spcPts val="0"/>
              </a:spcAft>
              <a:buClr>
                <a:srgbClr val="191919"/>
              </a:buClr>
              <a:buSzPct val="25000"/>
              <a:buFontTx/>
              <a:buNone/>
              <a:tabLst/>
              <a:defRPr/>
            </a:pPr>
            <a:r>
              <a:rPr kumimoji="0" lang="en" sz="1768" b="0"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Support staff from Red Hat &amp; Microsoft co-located @Redmond</a:t>
            </a:r>
          </a:p>
          <a:p>
            <a:pPr marL="742641" marR="0" lvl="2" indent="-293602" algn="l" defTabSz="1243493" rtl="0" eaLnBrk="1" fontAlgn="auto" latinLnBrk="0" hangingPunct="1">
              <a:lnSpc>
                <a:spcPct val="100000"/>
              </a:lnSpc>
              <a:spcBef>
                <a:spcPts val="1224"/>
              </a:spcBef>
              <a:spcAft>
                <a:spcPts val="0"/>
              </a:spcAft>
              <a:buClr>
                <a:srgbClr val="191919"/>
              </a:buClr>
              <a:buSzPct val="25000"/>
              <a:buFontTx/>
              <a:buNone/>
              <a:tabLst/>
              <a:defRPr/>
            </a:pPr>
            <a:r>
              <a:rPr kumimoji="0" lang="en" sz="1768" b="0"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Integrated ticketing systems </a:t>
            </a:r>
          </a:p>
          <a:p>
            <a:pPr marL="742641" marR="0" lvl="2" indent="-293602" algn="l" defTabSz="1243493" rtl="0" eaLnBrk="1" fontAlgn="auto" latinLnBrk="0" hangingPunct="1">
              <a:lnSpc>
                <a:spcPct val="100000"/>
              </a:lnSpc>
              <a:spcBef>
                <a:spcPts val="1224"/>
              </a:spcBef>
              <a:spcAft>
                <a:spcPts val="0"/>
              </a:spcAft>
              <a:buClr>
                <a:srgbClr val="191919"/>
              </a:buClr>
              <a:buSzPct val="25000"/>
              <a:buFontTx/>
              <a:buNone/>
              <a:tabLst/>
              <a:defRPr/>
            </a:pPr>
            <a:r>
              <a:rPr kumimoji="0" lang="en" sz="1768" b="0" i="0" u="none" strike="noStrike" kern="0" cap="none" spc="0" normalizeH="0" baseline="0" noProof="0">
                <a:ln>
                  <a:noFill/>
                </a:ln>
                <a:solidFill>
                  <a:srgbClr val="191919"/>
                </a:solidFill>
                <a:effectLst/>
                <a:uLnTx/>
                <a:uFillTx/>
                <a:latin typeface="Quattrocento Sans"/>
                <a:ea typeface="Quattrocento Sans"/>
                <a:cs typeface="Quattrocento Sans"/>
                <a:sym typeface="Quattrocento Sans"/>
              </a:rPr>
              <a:t>Red Hat Technical Account Management &amp; Microsoft Premier Services</a:t>
            </a:r>
          </a:p>
        </p:txBody>
      </p:sp>
      <p:pic>
        <p:nvPicPr>
          <p:cNvPr id="888" name="Shape 888"/>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8483279" y="2374378"/>
            <a:ext cx="725358" cy="1145968"/>
          </a:xfrm>
          <a:prstGeom prst="rect">
            <a:avLst/>
          </a:prstGeom>
          <a:noFill/>
          <a:ln>
            <a:noFill/>
          </a:ln>
        </p:spPr>
      </p:pic>
      <p:pic>
        <p:nvPicPr>
          <p:cNvPr id="889" name="Shape 889"/>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9029300" y="2791791"/>
            <a:ext cx="719239" cy="1170446"/>
          </a:xfrm>
          <a:prstGeom prst="rect">
            <a:avLst/>
          </a:prstGeom>
          <a:noFill/>
          <a:ln>
            <a:noFill/>
          </a:ln>
        </p:spPr>
      </p:pic>
      <p:sp>
        <p:nvSpPr>
          <p:cNvPr id="890" name="Shape 890"/>
          <p:cNvSpPr/>
          <p:nvPr/>
        </p:nvSpPr>
        <p:spPr>
          <a:xfrm>
            <a:off x="882" y="5434337"/>
            <a:ext cx="12434711" cy="1058256"/>
          </a:xfrm>
          <a:prstGeom prst="rect">
            <a:avLst/>
          </a:prstGeom>
          <a:solidFill>
            <a:srgbClr val="C00000"/>
          </a:solidFill>
          <a:ln>
            <a:noFill/>
          </a:ln>
        </p:spPr>
        <p:txBody>
          <a:bodyPr lIns="182835" tIns="146289" rIns="182835" bIns="146289" anchor="t" anchorCtr="0">
            <a:noAutofit/>
          </a:bodyPr>
          <a:lstStyle/>
          <a:p>
            <a:pPr marL="0" marR="0" lvl="0" indent="0" algn="ctr" defTabSz="1243493" rtl="0" eaLnBrk="1" fontAlgn="auto" latinLnBrk="0" hangingPunct="1">
              <a:lnSpc>
                <a:spcPct val="90000"/>
              </a:lnSpc>
              <a:spcBef>
                <a:spcPts val="0"/>
              </a:spcBef>
              <a:spcAft>
                <a:spcPts val="0"/>
              </a:spcAft>
              <a:buClr>
                <a:srgbClr val="FFFFFF"/>
              </a:buClr>
              <a:buSzTx/>
              <a:buFontTx/>
              <a:buNone/>
              <a:tabLst/>
              <a:defRPr/>
            </a:pPr>
            <a:endParaRPr kumimoji="0" sz="2448"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891" name="Shape 891"/>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368742" y="5013413"/>
            <a:ext cx="1486209" cy="1217769"/>
          </a:xfrm>
          <a:prstGeom prst="rect">
            <a:avLst/>
          </a:prstGeom>
          <a:noFill/>
          <a:ln>
            <a:noFill/>
          </a:ln>
        </p:spPr>
      </p:pic>
    </p:spTree>
    <p:extLst>
      <p:ext uri="{BB962C8B-B14F-4D97-AF65-F5344CB8AC3E}">
        <p14:creationId xmlns:p14="http://schemas.microsoft.com/office/powerpoint/2010/main" val="622369212"/>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Shape 896"/>
        <p:cNvGrpSpPr/>
        <p:nvPr/>
      </p:nvGrpSpPr>
      <p:grpSpPr>
        <a:xfrm>
          <a:off x="0" y="0"/>
          <a:ext cx="0" cy="0"/>
          <a:chOff x="0" y="0"/>
          <a:chExt cx="0" cy="0"/>
        </a:xfrm>
      </p:grpSpPr>
      <p:sp>
        <p:nvSpPr>
          <p:cNvPr id="897" name="Shape 897"/>
          <p:cNvSpPr txBox="1"/>
          <p:nvPr/>
        </p:nvSpPr>
        <p:spPr>
          <a:xfrm>
            <a:off x="275522" y="295199"/>
            <a:ext cx="11887633" cy="917509"/>
          </a:xfrm>
          <a:prstGeom prst="rect">
            <a:avLst/>
          </a:prstGeom>
          <a:noFill/>
          <a:ln>
            <a:noFill/>
          </a:ln>
        </p:spPr>
        <p:txBody>
          <a:bodyPr lIns="146153" tIns="91418" rIns="146153" bIns="91418" anchor="t" anchorCtr="0">
            <a:noAutofit/>
          </a:bodyPr>
          <a:lstStyle/>
          <a:p>
            <a:pPr marL="0" marR="0" lvl="0" indent="0" algn="l" defTabSz="1243493" rtl="0" eaLnBrk="1" fontAlgn="auto" latinLnBrk="0" hangingPunct="1">
              <a:lnSpc>
                <a:spcPct val="90000"/>
              </a:lnSpc>
              <a:spcBef>
                <a:spcPts val="0"/>
              </a:spcBef>
              <a:spcAft>
                <a:spcPts val="0"/>
              </a:spcAft>
              <a:buClrTx/>
              <a:buSzPct val="25000"/>
              <a:buFontTx/>
              <a:buNone/>
              <a:tabLst/>
              <a:defRPr/>
            </a:pPr>
            <a:r>
              <a:rPr kumimoji="0" lang="en" sz="4760" b="0" i="0" u="none" strike="noStrike" kern="0" cap="none" spc="0" normalizeH="0" baseline="0" noProof="0">
                <a:ln>
                  <a:noFill/>
                </a:ln>
                <a:solidFill>
                  <a:srgbClr val="505050"/>
                </a:solidFill>
                <a:effectLst/>
                <a:uLnTx/>
                <a:uFillTx/>
                <a:latin typeface="Arial"/>
                <a:ea typeface="Arial"/>
                <a:cs typeface="Arial"/>
                <a:sym typeface="Arial"/>
              </a:rPr>
              <a:t>Red Hat Cloud Access</a:t>
            </a:r>
          </a:p>
        </p:txBody>
      </p:sp>
      <p:sp>
        <p:nvSpPr>
          <p:cNvPr id="898" name="Shape 898"/>
          <p:cNvSpPr txBox="1"/>
          <p:nvPr/>
        </p:nvSpPr>
        <p:spPr>
          <a:xfrm>
            <a:off x="11246765" y="6663599"/>
            <a:ext cx="913837" cy="181951"/>
          </a:xfrm>
          <a:prstGeom prst="rect">
            <a:avLst/>
          </a:prstGeom>
          <a:noFill/>
          <a:ln>
            <a:noFill/>
          </a:ln>
        </p:spPr>
        <p:txBody>
          <a:bodyPr lIns="91418" tIns="45692" rIns="91418" bIns="45692" anchor="ctr" anchorCtr="0">
            <a:noAutofit/>
          </a:bodyPr>
          <a:lstStyle/>
          <a:p>
            <a:pPr marL="0" marR="0" lvl="0" indent="0" algn="r" defTabSz="1243493"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24" b="0" i="0" u="none" strike="noStrike" kern="0" cap="none" spc="0" normalizeH="0" baseline="0" noProof="0">
                <a:ln>
                  <a:noFill/>
                </a:ln>
                <a:solidFill>
                  <a:srgbClr val="B8B8B8"/>
                </a:solidFill>
                <a:effectLst/>
                <a:uLnTx/>
                <a:uFillTx/>
                <a:latin typeface="Quattrocento Sans"/>
                <a:ea typeface="Quattrocento Sans"/>
                <a:cs typeface="Quattrocento Sans"/>
                <a:sym typeface="Quattrocento Sans"/>
              </a:rPr>
              <a:pPr marL="0" marR="0" lvl="0" indent="0" algn="r" defTabSz="1243493" rtl="0" eaLnBrk="1" fontAlgn="auto" latinLnBrk="0" hangingPunct="1">
                <a:lnSpc>
                  <a:spcPct val="100000"/>
                </a:lnSpc>
                <a:spcBef>
                  <a:spcPts val="0"/>
                </a:spcBef>
                <a:spcAft>
                  <a:spcPts val="0"/>
                </a:spcAft>
                <a:buClrTx/>
                <a:buSzPct val="25000"/>
                <a:buFontTx/>
                <a:buNone/>
                <a:tabLst/>
                <a:defRPr/>
              </a:pPr>
              <a:t>86</a:t>
            </a:fld>
            <a:endParaRPr kumimoji="0" lang="en" sz="1224" b="0" i="0" u="none" strike="noStrike" kern="0" cap="none" spc="0" normalizeH="0" baseline="0" noProof="0">
              <a:ln>
                <a:noFill/>
              </a:ln>
              <a:solidFill>
                <a:srgbClr val="B8B8B8"/>
              </a:solidFill>
              <a:effectLst/>
              <a:uLnTx/>
              <a:uFillTx/>
              <a:latin typeface="Quattrocento Sans"/>
              <a:ea typeface="Quattrocento Sans"/>
              <a:cs typeface="Quattrocento Sans"/>
              <a:sym typeface="Quattrocento Sans"/>
            </a:endParaRPr>
          </a:p>
        </p:txBody>
      </p:sp>
      <p:pic>
        <p:nvPicPr>
          <p:cNvPr id="899" name="Shape 899"/>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3408158" y="4506838"/>
            <a:ext cx="5721273" cy="1049689"/>
          </a:xfrm>
          <a:prstGeom prst="rect">
            <a:avLst/>
          </a:prstGeom>
          <a:noFill/>
          <a:ln>
            <a:noFill/>
          </a:ln>
        </p:spPr>
      </p:pic>
      <p:sp>
        <p:nvSpPr>
          <p:cNvPr id="900" name="Shape 900"/>
          <p:cNvSpPr/>
          <p:nvPr/>
        </p:nvSpPr>
        <p:spPr>
          <a:xfrm>
            <a:off x="3098241" y="4312799"/>
            <a:ext cx="1773007" cy="596850"/>
          </a:xfrm>
          <a:prstGeom prst="rect">
            <a:avLst/>
          </a:prstGeom>
          <a:noFill/>
          <a:ln>
            <a:noFill/>
          </a:ln>
        </p:spPr>
        <p:txBody>
          <a:bodyPr lIns="182869" tIns="146153" rIns="182869" bIns="146153" anchor="t" anchorCtr="0">
            <a:noAutofit/>
          </a:bodyPr>
          <a:lstStyle/>
          <a:p>
            <a:pPr marL="0" marR="0" lvl="0" indent="0" algn="ctr" defTabSz="1243493" rtl="0" eaLnBrk="1" fontAlgn="auto" latinLnBrk="0" hangingPunct="1">
              <a:lnSpc>
                <a:spcPct val="90000"/>
              </a:lnSpc>
              <a:spcBef>
                <a:spcPts val="0"/>
              </a:spcBef>
              <a:spcAft>
                <a:spcPts val="0"/>
              </a:spcAft>
              <a:buClrTx/>
              <a:buSzPct val="25000"/>
              <a:buFontTx/>
              <a:buNone/>
              <a:tabLst/>
              <a:defRPr/>
            </a:pPr>
            <a:r>
              <a:rPr kumimoji="0" lang="en" sz="2040" b="0" i="0" u="none" strike="noStrike" kern="0" cap="none" spc="0" normalizeH="0" baseline="0" noProof="0">
                <a:ln>
                  <a:noFill/>
                </a:ln>
                <a:solidFill>
                  <a:srgbClr val="808080"/>
                </a:solidFill>
                <a:effectLst/>
                <a:uLnTx/>
                <a:uFillTx/>
                <a:latin typeface="Arial"/>
                <a:ea typeface="Arial"/>
                <a:cs typeface="Arial"/>
                <a:sym typeface="Arial"/>
              </a:rPr>
              <a:t>On Premise </a:t>
            </a:r>
          </a:p>
        </p:txBody>
      </p:sp>
      <p:sp>
        <p:nvSpPr>
          <p:cNvPr id="901" name="Shape 901"/>
          <p:cNvSpPr/>
          <p:nvPr/>
        </p:nvSpPr>
        <p:spPr>
          <a:xfrm>
            <a:off x="3154393" y="5506919"/>
            <a:ext cx="1652658" cy="947290"/>
          </a:xfrm>
          <a:prstGeom prst="rect">
            <a:avLst/>
          </a:prstGeom>
          <a:noFill/>
          <a:ln>
            <a:noFill/>
          </a:ln>
        </p:spPr>
        <p:txBody>
          <a:bodyPr lIns="182869" tIns="146153" rIns="182869" bIns="146153" anchor="t" anchorCtr="0">
            <a:noAutofit/>
          </a:bodyPr>
          <a:lstStyle/>
          <a:p>
            <a:pPr marL="0" marR="0" lvl="0" indent="0" algn="ctr" defTabSz="1243493" rtl="0" eaLnBrk="1" fontAlgn="auto" latinLnBrk="0" hangingPunct="1">
              <a:lnSpc>
                <a:spcPct val="90000"/>
              </a:lnSpc>
              <a:spcBef>
                <a:spcPts val="0"/>
              </a:spcBef>
              <a:spcAft>
                <a:spcPts val="0"/>
              </a:spcAft>
              <a:buClrTx/>
              <a:buSzPct val="25000"/>
              <a:buFontTx/>
              <a:buNone/>
              <a:tabLst/>
              <a:defRPr/>
            </a:pPr>
            <a:r>
              <a:rPr kumimoji="0" lang="en" sz="2040" b="0" i="0" u="none" strike="noStrike" kern="0" cap="none" spc="0" normalizeH="0" baseline="0" noProof="0">
                <a:ln>
                  <a:noFill/>
                </a:ln>
                <a:solidFill>
                  <a:srgbClr val="808080"/>
                </a:solidFill>
                <a:effectLst/>
                <a:uLnTx/>
                <a:uFillTx/>
                <a:latin typeface="Arial"/>
                <a:ea typeface="Arial"/>
                <a:cs typeface="Arial"/>
                <a:sym typeface="Arial"/>
              </a:rPr>
              <a:t>Customer</a:t>
            </a:r>
          </a:p>
          <a:p>
            <a:pPr marL="0" marR="0" lvl="0" indent="0" algn="ctr" defTabSz="1243493" rtl="0" eaLnBrk="1" fontAlgn="auto" latinLnBrk="0" hangingPunct="1">
              <a:lnSpc>
                <a:spcPct val="90000"/>
              </a:lnSpc>
              <a:spcBef>
                <a:spcPts val="0"/>
              </a:spcBef>
              <a:spcAft>
                <a:spcPts val="0"/>
              </a:spcAft>
              <a:buClrTx/>
              <a:buSzPct val="25000"/>
              <a:buFontTx/>
              <a:buNone/>
              <a:tabLst/>
              <a:defRPr/>
            </a:pPr>
            <a:r>
              <a:rPr kumimoji="0" lang="en" sz="2040" b="0" i="0" u="none" strike="noStrike" kern="0" cap="none" spc="0" normalizeH="0" baseline="0" noProof="0">
                <a:ln>
                  <a:noFill/>
                </a:ln>
                <a:solidFill>
                  <a:srgbClr val="808080"/>
                </a:solidFill>
                <a:effectLst/>
                <a:uLnTx/>
                <a:uFillTx/>
                <a:latin typeface="Arial"/>
                <a:ea typeface="Arial"/>
                <a:cs typeface="Arial"/>
                <a:sym typeface="Arial"/>
              </a:rPr>
              <a:t>Datacenter</a:t>
            </a:r>
          </a:p>
        </p:txBody>
      </p:sp>
      <p:sp>
        <p:nvSpPr>
          <p:cNvPr id="902" name="Shape 902"/>
          <p:cNvSpPr/>
          <p:nvPr/>
        </p:nvSpPr>
        <p:spPr>
          <a:xfrm>
            <a:off x="7559449" y="4309920"/>
            <a:ext cx="2218501" cy="596848"/>
          </a:xfrm>
          <a:prstGeom prst="rect">
            <a:avLst/>
          </a:prstGeom>
          <a:noFill/>
          <a:ln>
            <a:noFill/>
          </a:ln>
        </p:spPr>
        <p:txBody>
          <a:bodyPr lIns="182869" tIns="146153" rIns="182869" bIns="146153" anchor="t" anchorCtr="0">
            <a:noAutofit/>
          </a:bodyPr>
          <a:lstStyle/>
          <a:p>
            <a:pPr marL="0" marR="0" lvl="0" indent="0" algn="ctr" defTabSz="1243493" rtl="0" eaLnBrk="1" fontAlgn="auto" latinLnBrk="0" hangingPunct="1">
              <a:lnSpc>
                <a:spcPct val="90000"/>
              </a:lnSpc>
              <a:spcBef>
                <a:spcPts val="0"/>
              </a:spcBef>
              <a:spcAft>
                <a:spcPts val="0"/>
              </a:spcAft>
              <a:buClrTx/>
              <a:buSzPct val="25000"/>
              <a:buFontTx/>
              <a:buNone/>
              <a:tabLst/>
              <a:defRPr/>
            </a:pPr>
            <a:r>
              <a:rPr kumimoji="0" lang="en" sz="2040" b="0" i="0" u="none" strike="noStrike" kern="0" cap="none" spc="0" normalizeH="0" baseline="0" noProof="0">
                <a:ln>
                  <a:noFill/>
                </a:ln>
                <a:solidFill>
                  <a:srgbClr val="808080"/>
                </a:solidFill>
                <a:effectLst/>
                <a:uLnTx/>
                <a:uFillTx/>
                <a:latin typeface="Arial"/>
                <a:ea typeface="Arial"/>
                <a:cs typeface="Arial"/>
                <a:sym typeface="Arial"/>
              </a:rPr>
              <a:t>Microsoft Azure</a:t>
            </a:r>
          </a:p>
        </p:txBody>
      </p:sp>
      <p:sp>
        <p:nvSpPr>
          <p:cNvPr id="903" name="Shape 903"/>
          <p:cNvSpPr/>
          <p:nvPr/>
        </p:nvSpPr>
        <p:spPr>
          <a:xfrm>
            <a:off x="8112331" y="5504039"/>
            <a:ext cx="1104354" cy="947290"/>
          </a:xfrm>
          <a:prstGeom prst="rect">
            <a:avLst/>
          </a:prstGeom>
          <a:noFill/>
          <a:ln>
            <a:noFill/>
          </a:ln>
        </p:spPr>
        <p:txBody>
          <a:bodyPr lIns="182869" tIns="146153" rIns="182869" bIns="146153" anchor="t" anchorCtr="0">
            <a:noAutofit/>
          </a:bodyPr>
          <a:lstStyle/>
          <a:p>
            <a:pPr marL="0" marR="0" lvl="0" indent="0" algn="ctr" defTabSz="1243493" rtl="0" eaLnBrk="1" fontAlgn="auto" latinLnBrk="0" hangingPunct="1">
              <a:lnSpc>
                <a:spcPct val="90000"/>
              </a:lnSpc>
              <a:spcBef>
                <a:spcPts val="0"/>
              </a:spcBef>
              <a:spcAft>
                <a:spcPts val="0"/>
              </a:spcAft>
              <a:buClrTx/>
              <a:buSzPct val="25000"/>
              <a:buFontTx/>
              <a:buNone/>
              <a:tabLst/>
              <a:defRPr/>
            </a:pPr>
            <a:r>
              <a:rPr kumimoji="0" lang="en" sz="2040" b="0" i="0" u="none" strike="noStrike" kern="0" cap="none" spc="0" normalizeH="0" baseline="0" noProof="0">
                <a:ln>
                  <a:noFill/>
                </a:ln>
                <a:solidFill>
                  <a:srgbClr val="808080"/>
                </a:solidFill>
                <a:effectLst/>
                <a:uLnTx/>
                <a:uFillTx/>
                <a:latin typeface="Arial"/>
                <a:ea typeface="Arial"/>
                <a:cs typeface="Arial"/>
                <a:sym typeface="Arial"/>
              </a:rPr>
              <a:t>Public</a:t>
            </a:r>
          </a:p>
          <a:p>
            <a:pPr marL="0" marR="0" lvl="0" indent="0" algn="ctr" defTabSz="1243493" rtl="0" eaLnBrk="1" fontAlgn="auto" latinLnBrk="0" hangingPunct="1">
              <a:lnSpc>
                <a:spcPct val="90000"/>
              </a:lnSpc>
              <a:spcBef>
                <a:spcPts val="0"/>
              </a:spcBef>
              <a:spcAft>
                <a:spcPts val="0"/>
              </a:spcAft>
              <a:buClrTx/>
              <a:buSzPct val="25000"/>
              <a:buFontTx/>
              <a:buNone/>
              <a:tabLst/>
              <a:defRPr/>
            </a:pPr>
            <a:r>
              <a:rPr kumimoji="0" lang="en" sz="2040" b="0" i="0" u="none" strike="noStrike" kern="0" cap="none" spc="0" normalizeH="0" baseline="0" noProof="0">
                <a:ln>
                  <a:noFill/>
                </a:ln>
                <a:solidFill>
                  <a:srgbClr val="808080"/>
                </a:solidFill>
                <a:effectLst/>
                <a:uLnTx/>
                <a:uFillTx/>
                <a:latin typeface="Arial"/>
                <a:ea typeface="Arial"/>
                <a:cs typeface="Arial"/>
                <a:sym typeface="Arial"/>
              </a:rPr>
              <a:t>Cloud</a:t>
            </a:r>
          </a:p>
        </p:txBody>
      </p:sp>
      <p:sp>
        <p:nvSpPr>
          <p:cNvPr id="904" name="Shape 904"/>
          <p:cNvSpPr/>
          <p:nvPr/>
        </p:nvSpPr>
        <p:spPr>
          <a:xfrm>
            <a:off x="1498988" y="1388878"/>
            <a:ext cx="9993869" cy="2785163"/>
          </a:xfrm>
          <a:prstGeom prst="rect">
            <a:avLst/>
          </a:prstGeom>
          <a:noFill/>
          <a:ln>
            <a:noFill/>
          </a:ln>
        </p:spPr>
        <p:txBody>
          <a:bodyPr lIns="182869" tIns="146153" rIns="182869" bIns="146153" anchor="t" anchorCtr="0">
            <a:noAutofit/>
          </a:bodyPr>
          <a:lstStyle/>
          <a:p>
            <a:pPr marL="0" marR="0" lvl="0" indent="0" algn="l" defTabSz="1243493" rtl="0" eaLnBrk="1" fontAlgn="auto" latinLnBrk="0" hangingPunct="1">
              <a:lnSpc>
                <a:spcPct val="90000"/>
              </a:lnSpc>
              <a:spcBef>
                <a:spcPts val="0"/>
              </a:spcBef>
              <a:spcAft>
                <a:spcPts val="0"/>
              </a:spcAft>
              <a:buClrTx/>
              <a:buSzPct val="25000"/>
              <a:buFontTx/>
              <a:buNone/>
              <a:tabLst/>
              <a:defRPr/>
            </a:pPr>
            <a:r>
              <a:rPr kumimoji="0" lang="en" sz="2448" b="0" i="0" u="none" strike="noStrike" kern="0" cap="none" spc="0" normalizeH="0" baseline="0" noProof="0">
                <a:ln>
                  <a:noFill/>
                </a:ln>
                <a:solidFill>
                  <a:srgbClr val="808080"/>
                </a:solidFill>
                <a:effectLst/>
                <a:uLnTx/>
                <a:uFillTx/>
                <a:latin typeface="Arial"/>
                <a:ea typeface="Arial"/>
                <a:cs typeface="Arial"/>
                <a:sym typeface="Arial"/>
              </a:rPr>
              <a:t>As of July 20, 2016 Red Hat Cloud Access is available for the Azure Government region.</a:t>
            </a:r>
          </a:p>
          <a:p>
            <a:pPr marL="0" marR="0" lvl="0" indent="0" algn="l" defTabSz="1243493" rtl="0" eaLnBrk="1" fontAlgn="auto" latinLnBrk="0" hangingPunct="1">
              <a:lnSpc>
                <a:spcPct val="90000"/>
              </a:lnSpc>
              <a:spcBef>
                <a:spcPts val="0"/>
              </a:spcBef>
              <a:spcAft>
                <a:spcPts val="0"/>
              </a:spcAft>
              <a:buClrTx/>
              <a:buSzPct val="25000"/>
              <a:buFontTx/>
              <a:buNone/>
              <a:tabLst/>
              <a:defRPr/>
            </a:pPr>
            <a:r>
              <a:rPr kumimoji="0" lang="en" sz="2448" b="0" i="0" u="none" strike="noStrike" kern="0" cap="none" spc="0" normalizeH="0" baseline="0" noProof="0">
                <a:ln>
                  <a:noFill/>
                </a:ln>
                <a:solidFill>
                  <a:srgbClr val="808080"/>
                </a:solidFill>
                <a:effectLst/>
                <a:uLnTx/>
                <a:uFillTx/>
                <a:latin typeface="Arial"/>
                <a:ea typeface="Arial"/>
                <a:cs typeface="Arial"/>
                <a:sym typeface="Arial"/>
              </a:rPr>
              <a:t>Cloud Access is a portability feature of Red Hat subscriptions, permitting customers to use an eligible subscription either on premise or on an eligible Red Hat CCSP, like Azure.</a:t>
            </a:r>
          </a:p>
          <a:p>
            <a:pPr marL="0" marR="0" lvl="0" indent="0" algn="l" defTabSz="1243493" rtl="0" eaLnBrk="1" fontAlgn="auto" latinLnBrk="0" hangingPunct="1">
              <a:lnSpc>
                <a:spcPct val="90000"/>
              </a:lnSpc>
              <a:spcBef>
                <a:spcPts val="0"/>
              </a:spcBef>
              <a:spcAft>
                <a:spcPts val="0"/>
              </a:spcAft>
              <a:buClrTx/>
              <a:buSzPct val="25000"/>
              <a:buFontTx/>
              <a:buNone/>
              <a:tabLst/>
              <a:defRPr/>
            </a:pPr>
            <a:r>
              <a:rPr kumimoji="0" lang="en" sz="2448" b="0" i="0" u="none" strike="noStrike" kern="0" cap="none" spc="0" normalizeH="0" baseline="0" noProof="0">
                <a:ln>
                  <a:noFill/>
                </a:ln>
                <a:solidFill>
                  <a:srgbClr val="808080"/>
                </a:solidFill>
                <a:effectLst/>
                <a:uLnTx/>
                <a:uFillTx/>
                <a:latin typeface="Arial"/>
                <a:ea typeface="Arial"/>
                <a:cs typeface="Arial"/>
                <a:sym typeface="Arial"/>
              </a:rPr>
              <a:t>Customers are now able to migrate their subscriptions into Microsoft Azure and maintain long term relationships with Red Hat</a:t>
            </a:r>
          </a:p>
        </p:txBody>
      </p:sp>
    </p:spTree>
    <p:extLst>
      <p:ext uri="{BB962C8B-B14F-4D97-AF65-F5344CB8AC3E}">
        <p14:creationId xmlns:p14="http://schemas.microsoft.com/office/powerpoint/2010/main" val="159186578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97"/>
                                        </p:tgtEl>
                                        <p:attrNameLst>
                                          <p:attrName>style.visibility</p:attrName>
                                        </p:attrNameLst>
                                      </p:cBhvr>
                                      <p:to>
                                        <p:strVal val="visible"/>
                                      </p:to>
                                    </p:set>
                                    <p:animEffect transition="in" filter="fade">
                                      <p:cBhvr>
                                        <p:cTn id="7" dur="500"/>
                                        <p:tgtEl>
                                          <p:spTgt spid="8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909"/>
        <p:cNvGrpSpPr/>
        <p:nvPr/>
      </p:nvGrpSpPr>
      <p:grpSpPr>
        <a:xfrm>
          <a:off x="0" y="0"/>
          <a:ext cx="0" cy="0"/>
          <a:chOff x="0" y="0"/>
          <a:chExt cx="0" cy="0"/>
        </a:xfrm>
      </p:grpSpPr>
      <p:sp>
        <p:nvSpPr>
          <p:cNvPr id="910" name="Shape 910"/>
          <p:cNvSpPr txBox="1"/>
          <p:nvPr/>
        </p:nvSpPr>
        <p:spPr>
          <a:xfrm>
            <a:off x="275522" y="295199"/>
            <a:ext cx="11887633" cy="917509"/>
          </a:xfrm>
          <a:prstGeom prst="rect">
            <a:avLst/>
          </a:prstGeom>
          <a:noFill/>
          <a:ln>
            <a:noFill/>
          </a:ln>
        </p:spPr>
        <p:txBody>
          <a:bodyPr lIns="146153" tIns="91418" rIns="146153" bIns="91418" anchor="t" anchorCtr="0">
            <a:noAutofit/>
          </a:bodyPr>
          <a:lstStyle/>
          <a:p>
            <a:pPr marL="0" marR="0" lvl="0" indent="0" algn="l" defTabSz="1243493" rtl="0" eaLnBrk="1" fontAlgn="auto" latinLnBrk="0" hangingPunct="1">
              <a:lnSpc>
                <a:spcPct val="90000"/>
              </a:lnSpc>
              <a:spcBef>
                <a:spcPts val="0"/>
              </a:spcBef>
              <a:spcAft>
                <a:spcPts val="0"/>
              </a:spcAft>
              <a:buClrTx/>
              <a:buSzPct val="25000"/>
              <a:buFontTx/>
              <a:buNone/>
              <a:tabLst/>
              <a:defRPr/>
            </a:pPr>
            <a:r>
              <a:rPr kumimoji="0" lang="en" sz="4760" b="0" i="0" u="none" strike="noStrike" kern="0" cap="none" spc="0" normalizeH="0" baseline="0" noProof="0">
                <a:ln>
                  <a:noFill/>
                </a:ln>
                <a:solidFill>
                  <a:srgbClr val="505050"/>
                </a:solidFill>
                <a:effectLst/>
                <a:uLnTx/>
                <a:uFillTx/>
                <a:latin typeface="Arial"/>
                <a:ea typeface="Arial"/>
                <a:cs typeface="Arial"/>
                <a:sym typeface="Arial"/>
              </a:rPr>
              <a:t>.NET integration </a:t>
            </a:r>
          </a:p>
        </p:txBody>
      </p:sp>
      <p:sp>
        <p:nvSpPr>
          <p:cNvPr id="911" name="Shape 911"/>
          <p:cNvSpPr txBox="1"/>
          <p:nvPr/>
        </p:nvSpPr>
        <p:spPr>
          <a:xfrm>
            <a:off x="11246765" y="6663599"/>
            <a:ext cx="913837" cy="181951"/>
          </a:xfrm>
          <a:prstGeom prst="rect">
            <a:avLst/>
          </a:prstGeom>
          <a:noFill/>
          <a:ln>
            <a:noFill/>
          </a:ln>
        </p:spPr>
        <p:txBody>
          <a:bodyPr lIns="91418" tIns="45692" rIns="91418" bIns="45692" anchor="ctr" anchorCtr="0">
            <a:noAutofit/>
          </a:bodyPr>
          <a:lstStyle/>
          <a:p>
            <a:pPr marL="0" marR="0" lvl="0" indent="0" algn="r" defTabSz="1243493"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24" b="0" i="0" u="none" strike="noStrike" kern="0" cap="none" spc="0" normalizeH="0" baseline="0" noProof="0">
                <a:ln>
                  <a:noFill/>
                </a:ln>
                <a:solidFill>
                  <a:srgbClr val="B8B8B8"/>
                </a:solidFill>
                <a:effectLst/>
                <a:uLnTx/>
                <a:uFillTx/>
                <a:latin typeface="Quattrocento Sans"/>
                <a:ea typeface="Quattrocento Sans"/>
                <a:cs typeface="Quattrocento Sans"/>
                <a:sym typeface="Quattrocento Sans"/>
              </a:rPr>
              <a:pPr marL="0" marR="0" lvl="0" indent="0" algn="r" defTabSz="1243493" rtl="0" eaLnBrk="1" fontAlgn="auto" latinLnBrk="0" hangingPunct="1">
                <a:lnSpc>
                  <a:spcPct val="100000"/>
                </a:lnSpc>
                <a:spcBef>
                  <a:spcPts val="0"/>
                </a:spcBef>
                <a:spcAft>
                  <a:spcPts val="0"/>
                </a:spcAft>
                <a:buClrTx/>
                <a:buSzPct val="25000"/>
                <a:buFontTx/>
                <a:buNone/>
                <a:tabLst/>
                <a:defRPr/>
              </a:pPr>
              <a:t>87</a:t>
            </a:fld>
            <a:endParaRPr kumimoji="0" lang="en" sz="1224" b="0" i="0" u="none" strike="noStrike" kern="0" cap="none" spc="0" normalizeH="0" baseline="0" noProof="0">
              <a:ln>
                <a:noFill/>
              </a:ln>
              <a:solidFill>
                <a:srgbClr val="B8B8B8"/>
              </a:solidFill>
              <a:effectLst/>
              <a:uLnTx/>
              <a:uFillTx/>
              <a:latin typeface="Quattrocento Sans"/>
              <a:ea typeface="Quattrocento Sans"/>
              <a:cs typeface="Quattrocento Sans"/>
              <a:sym typeface="Quattrocento Sans"/>
            </a:endParaRPr>
          </a:p>
        </p:txBody>
      </p:sp>
      <p:sp>
        <p:nvSpPr>
          <p:cNvPr id="912" name="Shape 912"/>
          <p:cNvSpPr/>
          <p:nvPr/>
        </p:nvSpPr>
        <p:spPr>
          <a:xfrm>
            <a:off x="733737" y="1463758"/>
            <a:ext cx="10498927" cy="4571633"/>
          </a:xfrm>
          <a:prstGeom prst="rect">
            <a:avLst/>
          </a:prstGeom>
          <a:noFill/>
          <a:ln>
            <a:noFill/>
          </a:ln>
        </p:spPr>
        <p:txBody>
          <a:bodyPr lIns="91418" tIns="45692" rIns="91418" bIns="45692" anchor="t" anchorCtr="0">
            <a:noAutofit/>
          </a:bodyPr>
          <a:lstStyle/>
          <a:p>
            <a:pPr marL="0" marR="0" lvl="0" indent="0" algn="l" defTabSz="1243493" rtl="0" eaLnBrk="1" fontAlgn="auto" latinLnBrk="0" hangingPunct="1">
              <a:lnSpc>
                <a:spcPct val="100000"/>
              </a:lnSpc>
              <a:spcBef>
                <a:spcPts val="0"/>
              </a:spcBef>
              <a:spcAft>
                <a:spcPts val="0"/>
              </a:spcAft>
              <a:buClrTx/>
              <a:buSzPct val="25000"/>
              <a:buFontTx/>
              <a:buNone/>
              <a:tabLst/>
              <a:defRPr/>
            </a:pPr>
            <a:r>
              <a:rPr kumimoji="0" lang="en" sz="2448" b="0" i="0" u="none" strike="noStrike" kern="0" cap="none" spc="0" normalizeH="0" baseline="0" noProof="0">
                <a:ln>
                  <a:noFill/>
                </a:ln>
                <a:solidFill>
                  <a:srgbClr val="808080"/>
                </a:solidFill>
                <a:effectLst/>
                <a:uLnTx/>
                <a:uFillTx/>
                <a:latin typeface="Arial"/>
                <a:ea typeface="Arial"/>
                <a:cs typeface="Arial"/>
                <a:sym typeface="Arial"/>
              </a:rPr>
              <a:t>Red Hat and Microsoft are partnering to bring .NET to our joint customers</a:t>
            </a:r>
          </a:p>
          <a:p>
            <a:pPr marL="0" marR="0" lvl="0" indent="0" algn="l" defTabSz="1243493" rtl="0" eaLnBrk="1" fontAlgn="auto" latinLnBrk="0" hangingPunct="1">
              <a:lnSpc>
                <a:spcPct val="100000"/>
              </a:lnSpc>
              <a:spcBef>
                <a:spcPts val="0"/>
              </a:spcBef>
              <a:spcAft>
                <a:spcPts val="0"/>
              </a:spcAft>
              <a:buClrTx/>
              <a:buSzTx/>
              <a:buFontTx/>
              <a:buNone/>
              <a:tabLst/>
              <a:defRPr/>
            </a:pPr>
            <a:endParaRPr kumimoji="0" sz="1768" b="0" i="0" u="none" strike="noStrike" kern="0" cap="none" spc="0" normalizeH="0" baseline="0" noProof="0">
              <a:ln>
                <a:noFill/>
              </a:ln>
              <a:solidFill>
                <a:srgbClr val="000000"/>
              </a:solidFill>
              <a:effectLst/>
              <a:uLnTx/>
              <a:uFillTx/>
              <a:latin typeface="Arial"/>
              <a:ea typeface="Arial"/>
              <a:cs typeface="Arial"/>
              <a:sym typeface="Arial"/>
            </a:endParaRPr>
          </a:p>
          <a:p>
            <a:pPr marL="0" marR="0" lvl="0" indent="0" algn="l" defTabSz="1243493" rtl="0" eaLnBrk="1" fontAlgn="auto" latinLnBrk="0" hangingPunct="1">
              <a:lnSpc>
                <a:spcPct val="100000"/>
              </a:lnSpc>
              <a:spcBef>
                <a:spcPts val="0"/>
              </a:spcBef>
              <a:spcAft>
                <a:spcPts val="0"/>
              </a:spcAft>
              <a:buClrTx/>
              <a:buSzPct val="25000"/>
              <a:buFontTx/>
              <a:buNone/>
              <a:tabLst/>
              <a:defRPr/>
            </a:pPr>
            <a:r>
              <a:rPr kumimoji="0" lang="en" sz="1768" b="0" i="0" u="none" strike="noStrike" kern="0" cap="none" spc="0" normalizeH="0" baseline="0" noProof="0">
                <a:ln>
                  <a:noFill/>
                </a:ln>
                <a:solidFill>
                  <a:srgbClr val="808080"/>
                </a:solidFill>
                <a:effectLst/>
                <a:uLnTx/>
                <a:uFillTx/>
                <a:latin typeface="Arial"/>
                <a:ea typeface="Arial"/>
                <a:cs typeface="Arial"/>
                <a:sym typeface="Arial"/>
              </a:rPr>
              <a:t>As of June, 2016, Red Hat and Microsoft have enabled, and now support Microsoft .NET on:</a:t>
            </a:r>
          </a:p>
          <a:p>
            <a:pPr marL="759912" marR="0" lvl="1" indent="-302238" algn="l" defTabSz="1243493" rtl="0" eaLnBrk="1" fontAlgn="auto" latinLnBrk="0" hangingPunct="1">
              <a:lnSpc>
                <a:spcPct val="100000"/>
              </a:lnSpc>
              <a:spcBef>
                <a:spcPts val="0"/>
              </a:spcBef>
              <a:spcAft>
                <a:spcPts val="0"/>
              </a:spcAft>
              <a:buClr>
                <a:srgbClr val="808080"/>
              </a:buClr>
              <a:buSzPct val="100000"/>
              <a:buFont typeface="Arial"/>
              <a:buChar char="•"/>
              <a:tabLst/>
              <a:defRPr/>
            </a:pPr>
            <a:r>
              <a:rPr kumimoji="0" lang="en" sz="1768" b="0" i="0" u="none" strike="noStrike" kern="0" cap="none" spc="0" normalizeH="0" baseline="0" noProof="0">
                <a:ln>
                  <a:noFill/>
                </a:ln>
                <a:solidFill>
                  <a:srgbClr val="808080"/>
                </a:solidFill>
                <a:effectLst/>
                <a:uLnTx/>
                <a:uFillTx/>
                <a:latin typeface="Arial"/>
                <a:ea typeface="Arial"/>
                <a:cs typeface="Arial"/>
                <a:sym typeface="Arial"/>
              </a:rPr>
              <a:t>Red Hat Enterprise Linux 7</a:t>
            </a:r>
          </a:p>
          <a:p>
            <a:pPr marL="759912" marR="0" lvl="1" indent="-302238" algn="l" defTabSz="1243493" rtl="0" eaLnBrk="1" fontAlgn="auto" latinLnBrk="0" hangingPunct="1">
              <a:lnSpc>
                <a:spcPct val="100000"/>
              </a:lnSpc>
              <a:spcBef>
                <a:spcPts val="0"/>
              </a:spcBef>
              <a:spcAft>
                <a:spcPts val="0"/>
              </a:spcAft>
              <a:buClr>
                <a:srgbClr val="808080"/>
              </a:buClr>
              <a:buSzPct val="100000"/>
              <a:buFont typeface="Arial"/>
              <a:buChar char="•"/>
              <a:tabLst/>
              <a:defRPr/>
            </a:pPr>
            <a:r>
              <a:rPr kumimoji="0" lang="en" sz="1768" b="0" i="0" u="none" strike="noStrike" kern="0" cap="none" spc="0" normalizeH="0" baseline="0" noProof="0">
                <a:ln>
                  <a:noFill/>
                </a:ln>
                <a:solidFill>
                  <a:srgbClr val="808080"/>
                </a:solidFill>
                <a:effectLst/>
                <a:uLnTx/>
                <a:uFillTx/>
                <a:latin typeface="Arial"/>
                <a:ea typeface="Arial"/>
                <a:cs typeface="Arial"/>
                <a:sym typeface="Arial"/>
              </a:rPr>
              <a:t>OpenShift Enterprise v3 by Red Hat</a:t>
            </a:r>
          </a:p>
          <a:p>
            <a:pPr marL="759912" marR="0" lvl="1" indent="-302238" algn="l" defTabSz="1243493" rtl="0" eaLnBrk="1" fontAlgn="auto" latinLnBrk="0" hangingPunct="1">
              <a:lnSpc>
                <a:spcPct val="100000"/>
              </a:lnSpc>
              <a:spcBef>
                <a:spcPts val="0"/>
              </a:spcBef>
              <a:spcAft>
                <a:spcPts val="0"/>
              </a:spcAft>
              <a:buClr>
                <a:srgbClr val="808080"/>
              </a:buClr>
              <a:buSzPct val="100000"/>
              <a:buFont typeface="Arial"/>
              <a:buChar char="•"/>
              <a:tabLst/>
              <a:defRPr/>
            </a:pPr>
            <a:r>
              <a:rPr kumimoji="0" lang="en" sz="1768" b="0" i="0" u="none" strike="noStrike" kern="0" cap="none" spc="0" normalizeH="0" baseline="0" noProof="0">
                <a:ln>
                  <a:noFill/>
                </a:ln>
                <a:solidFill>
                  <a:srgbClr val="808080"/>
                </a:solidFill>
                <a:effectLst/>
                <a:uLnTx/>
                <a:uFillTx/>
                <a:latin typeface="Arial"/>
                <a:ea typeface="Arial"/>
                <a:cs typeface="Arial"/>
                <a:sym typeface="Arial"/>
              </a:rPr>
              <a:t>Red Hat Enterprise Linux Atomic Host</a:t>
            </a:r>
          </a:p>
          <a:p>
            <a:pPr marL="759912" marR="0" lvl="1" indent="-302238" algn="l" defTabSz="1243493" rtl="0" eaLnBrk="1" fontAlgn="auto" latinLnBrk="0" hangingPunct="1">
              <a:lnSpc>
                <a:spcPct val="100000"/>
              </a:lnSpc>
              <a:spcBef>
                <a:spcPts val="0"/>
              </a:spcBef>
              <a:spcAft>
                <a:spcPts val="0"/>
              </a:spcAft>
              <a:buClr>
                <a:srgbClr val="808080"/>
              </a:buClr>
              <a:buSzPct val="100000"/>
              <a:buFont typeface="Arial"/>
              <a:buChar char="•"/>
              <a:tabLst/>
              <a:defRPr/>
            </a:pPr>
            <a:r>
              <a:rPr kumimoji="0" lang="en" sz="1768" b="0" i="0" u="none" strike="noStrike" kern="0" cap="none" spc="0" normalizeH="0" baseline="0" noProof="0">
                <a:ln>
                  <a:noFill/>
                </a:ln>
                <a:solidFill>
                  <a:srgbClr val="808080"/>
                </a:solidFill>
                <a:effectLst/>
                <a:uLnTx/>
                <a:uFillTx/>
                <a:latin typeface="Arial"/>
                <a:ea typeface="Arial"/>
                <a:cs typeface="Arial"/>
                <a:sym typeface="Arial"/>
              </a:rPr>
              <a:t>Red Hat Enterprise Linux OpenStack</a:t>
            </a:r>
            <a:r>
              <a:rPr kumimoji="0" lang="en" sz="1768" b="0" i="0" u="none" strike="noStrike" kern="0" cap="none" spc="0" normalizeH="0" baseline="30000" noProof="0">
                <a:ln>
                  <a:noFill/>
                </a:ln>
                <a:solidFill>
                  <a:srgbClr val="808080"/>
                </a:solidFill>
                <a:effectLst/>
                <a:uLnTx/>
                <a:uFillTx/>
                <a:latin typeface="Arial"/>
                <a:ea typeface="Arial"/>
                <a:cs typeface="Arial"/>
                <a:sym typeface="Arial"/>
              </a:rPr>
              <a:t>®</a:t>
            </a:r>
            <a:r>
              <a:rPr kumimoji="0" lang="en" sz="1768" b="0" i="0" u="none" strike="noStrike" kern="0" cap="none" spc="0" normalizeH="0" baseline="0" noProof="0">
                <a:ln>
                  <a:noFill/>
                </a:ln>
                <a:solidFill>
                  <a:srgbClr val="808080"/>
                </a:solidFill>
                <a:effectLst/>
                <a:uLnTx/>
                <a:uFillTx/>
                <a:latin typeface="Arial"/>
                <a:ea typeface="Arial"/>
                <a:cs typeface="Arial"/>
                <a:sym typeface="Arial"/>
              </a:rPr>
              <a:t> Platform</a:t>
            </a:r>
          </a:p>
          <a:p>
            <a:pPr marL="0" marR="0" lvl="0" indent="0" algn="l" defTabSz="1243493" rtl="0" eaLnBrk="1" fontAlgn="auto" latinLnBrk="0" hangingPunct="1">
              <a:lnSpc>
                <a:spcPct val="100000"/>
              </a:lnSpc>
              <a:spcBef>
                <a:spcPts val="0"/>
              </a:spcBef>
              <a:spcAft>
                <a:spcPts val="0"/>
              </a:spcAft>
              <a:buClrTx/>
              <a:buSzTx/>
              <a:buFontTx/>
              <a:buNone/>
              <a:tabLst/>
              <a:defRPr/>
            </a:pPr>
            <a:endParaRPr kumimoji="0" sz="1768" b="0" i="0" u="none" strike="noStrike" kern="0" cap="none" spc="0" normalizeH="0" baseline="0" noProof="0">
              <a:ln>
                <a:noFill/>
              </a:ln>
              <a:solidFill>
                <a:srgbClr val="000000"/>
              </a:solidFill>
              <a:effectLst/>
              <a:uLnTx/>
              <a:uFillTx/>
              <a:latin typeface="Arial"/>
              <a:ea typeface="Arial"/>
              <a:cs typeface="Arial"/>
              <a:sym typeface="Arial"/>
            </a:endParaRPr>
          </a:p>
          <a:p>
            <a:pPr marL="293602" marR="0" lvl="0" indent="-284967" algn="l" defTabSz="1243493" rtl="0" eaLnBrk="1" fontAlgn="auto" latinLnBrk="0" hangingPunct="1">
              <a:lnSpc>
                <a:spcPct val="100000"/>
              </a:lnSpc>
              <a:spcBef>
                <a:spcPts val="0"/>
              </a:spcBef>
              <a:spcAft>
                <a:spcPts val="0"/>
              </a:spcAft>
              <a:buClr>
                <a:srgbClr val="808080"/>
              </a:buClr>
              <a:buSzPct val="100000"/>
              <a:buFont typeface="Arial"/>
              <a:buChar char="•"/>
              <a:tabLst/>
              <a:defRPr/>
            </a:pPr>
            <a:r>
              <a:rPr kumimoji="0" lang="en" sz="1768" b="0" i="0" u="none" strike="noStrike" kern="0" cap="none" spc="0" normalizeH="0" baseline="0" noProof="0">
                <a:ln>
                  <a:noFill/>
                </a:ln>
                <a:solidFill>
                  <a:srgbClr val="808080"/>
                </a:solidFill>
                <a:effectLst/>
                <a:uLnTx/>
                <a:uFillTx/>
                <a:latin typeface="Arial"/>
                <a:ea typeface="Arial"/>
                <a:cs typeface="Arial"/>
                <a:sym typeface="Arial"/>
              </a:rPr>
              <a:t>.NET is distributed and supported by Red Hat in Software Collections,  and later packaged as containers.</a:t>
            </a:r>
          </a:p>
          <a:p>
            <a:pPr marL="0" marR="0" lvl="0" indent="0" algn="l" defTabSz="1243493" rtl="0" eaLnBrk="1" fontAlgn="auto" latinLnBrk="0" hangingPunct="1">
              <a:lnSpc>
                <a:spcPct val="100000"/>
              </a:lnSpc>
              <a:spcBef>
                <a:spcPts val="0"/>
              </a:spcBef>
              <a:spcAft>
                <a:spcPts val="0"/>
              </a:spcAft>
              <a:buClrTx/>
              <a:buSzTx/>
              <a:buFontTx/>
              <a:buNone/>
              <a:tabLst/>
              <a:defRPr/>
            </a:pPr>
            <a:endParaRPr kumimoji="0" sz="1768" b="0" i="0" u="none" strike="noStrike" kern="0" cap="none" spc="0" normalizeH="0" baseline="0" noProof="0">
              <a:ln>
                <a:noFill/>
              </a:ln>
              <a:solidFill>
                <a:srgbClr val="000000"/>
              </a:solidFill>
              <a:effectLst/>
              <a:uLnTx/>
              <a:uFillTx/>
              <a:latin typeface="Arial"/>
              <a:ea typeface="Arial"/>
              <a:cs typeface="Arial"/>
              <a:sym typeface="Arial"/>
            </a:endParaRPr>
          </a:p>
          <a:p>
            <a:pPr marL="293602" marR="0" lvl="0" indent="-284967" algn="l" defTabSz="1243493" rtl="0" eaLnBrk="1" fontAlgn="auto" latinLnBrk="0" hangingPunct="1">
              <a:lnSpc>
                <a:spcPct val="100000"/>
              </a:lnSpc>
              <a:spcBef>
                <a:spcPts val="0"/>
              </a:spcBef>
              <a:spcAft>
                <a:spcPts val="0"/>
              </a:spcAft>
              <a:buClr>
                <a:srgbClr val="808080"/>
              </a:buClr>
              <a:buSzPct val="100000"/>
              <a:buFont typeface="Arial"/>
              <a:buChar char="•"/>
              <a:tabLst/>
              <a:defRPr/>
            </a:pPr>
            <a:r>
              <a:rPr kumimoji="0" lang="en" sz="1768" b="0" i="0" u="none" strike="noStrike" kern="0" cap="none" spc="0" normalizeH="0" baseline="0" noProof="0">
                <a:ln>
                  <a:noFill/>
                </a:ln>
                <a:solidFill>
                  <a:srgbClr val="808080"/>
                </a:solidFill>
                <a:effectLst/>
                <a:uLnTx/>
                <a:uFillTx/>
                <a:latin typeface="Arial"/>
                <a:ea typeface="Arial"/>
                <a:cs typeface="Arial"/>
                <a:sym typeface="Arial"/>
              </a:rPr>
              <a:t>Red Hat Enterprise Linux is the reference platform used to create, update, and test Microsoft .NET.</a:t>
            </a:r>
          </a:p>
          <a:p>
            <a:pPr marL="0" marR="0" lvl="0" indent="0" algn="l" defTabSz="1243493" rtl="0" eaLnBrk="1" fontAlgn="auto" latinLnBrk="0" hangingPunct="1">
              <a:lnSpc>
                <a:spcPct val="100000"/>
              </a:lnSpc>
              <a:spcBef>
                <a:spcPts val="0"/>
              </a:spcBef>
              <a:spcAft>
                <a:spcPts val="0"/>
              </a:spcAft>
              <a:buClrTx/>
              <a:buSzTx/>
              <a:buFontTx/>
              <a:buNone/>
              <a:tabLst/>
              <a:defRPr/>
            </a:pPr>
            <a:endParaRPr kumimoji="0" sz="1768" b="0" i="0" u="none" strike="noStrike" kern="0" cap="none" spc="0" normalizeH="0" baseline="0" noProof="0">
              <a:ln>
                <a:noFill/>
              </a:ln>
              <a:solidFill>
                <a:srgbClr val="000000"/>
              </a:solidFill>
              <a:effectLst/>
              <a:uLnTx/>
              <a:uFillTx/>
              <a:latin typeface="Arial"/>
              <a:ea typeface="Arial"/>
              <a:cs typeface="Arial"/>
              <a:sym typeface="Arial"/>
            </a:endParaRPr>
          </a:p>
          <a:p>
            <a:pPr marL="0" marR="0" lvl="0" indent="0" algn="l" defTabSz="1243493" rtl="0" eaLnBrk="1" fontAlgn="auto" latinLnBrk="0" hangingPunct="1">
              <a:lnSpc>
                <a:spcPct val="100000"/>
              </a:lnSpc>
              <a:spcBef>
                <a:spcPts val="0"/>
              </a:spcBef>
              <a:spcAft>
                <a:spcPts val="0"/>
              </a:spcAft>
              <a:buClrTx/>
              <a:buSzTx/>
              <a:buFontTx/>
              <a:buNone/>
              <a:tabLst/>
              <a:defRPr/>
            </a:pPr>
            <a:endParaRPr kumimoji="0" sz="1768" b="0" i="0" u="none" strike="noStrike" kern="0" cap="none" spc="0" normalizeH="0" baseline="0" noProof="0">
              <a:ln>
                <a:noFill/>
              </a:ln>
              <a:solidFill>
                <a:srgbClr val="000000"/>
              </a:solidFill>
              <a:effectLst/>
              <a:uLnTx/>
              <a:uFillTx/>
              <a:latin typeface="Arial"/>
              <a:ea typeface="Arial"/>
              <a:cs typeface="Arial"/>
              <a:sym typeface="Arial"/>
            </a:endParaRPr>
          </a:p>
          <a:p>
            <a:pPr marL="0" marR="0" lvl="0" indent="0" algn="l" defTabSz="1243493" rtl="0" eaLnBrk="1" fontAlgn="auto" latinLnBrk="0" hangingPunct="1">
              <a:lnSpc>
                <a:spcPct val="100000"/>
              </a:lnSpc>
              <a:spcBef>
                <a:spcPts val="0"/>
              </a:spcBef>
              <a:spcAft>
                <a:spcPts val="0"/>
              </a:spcAft>
              <a:buClrTx/>
              <a:buSzTx/>
              <a:buFontTx/>
              <a:buNone/>
              <a:tabLst/>
              <a:defRPr/>
            </a:pPr>
            <a:endParaRPr kumimoji="0" sz="1768"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29306463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10"/>
                                        </p:tgtEl>
                                        <p:attrNameLst>
                                          <p:attrName>style.visibility</p:attrName>
                                        </p:attrNameLst>
                                      </p:cBhvr>
                                      <p:to>
                                        <p:strVal val="visible"/>
                                      </p:to>
                                    </p:set>
                                    <p:animEffect transition="in" filter="fade">
                                      <p:cBhvr>
                                        <p:cTn id="7" dur="500"/>
                                        <p:tgtEl>
                                          <p:spTgt spid="9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Shape 917"/>
        <p:cNvGrpSpPr/>
        <p:nvPr/>
      </p:nvGrpSpPr>
      <p:grpSpPr>
        <a:xfrm>
          <a:off x="0" y="0"/>
          <a:ext cx="0" cy="0"/>
          <a:chOff x="0" y="0"/>
          <a:chExt cx="0" cy="0"/>
        </a:xfrm>
      </p:grpSpPr>
      <p:sp>
        <p:nvSpPr>
          <p:cNvPr id="918" name="Shape 918"/>
          <p:cNvSpPr txBox="1"/>
          <p:nvPr/>
        </p:nvSpPr>
        <p:spPr>
          <a:xfrm>
            <a:off x="275504" y="295195"/>
            <a:ext cx="10971348" cy="917509"/>
          </a:xfrm>
          <a:prstGeom prst="rect">
            <a:avLst/>
          </a:prstGeom>
          <a:noFill/>
          <a:ln>
            <a:noFill/>
          </a:ln>
        </p:spPr>
        <p:txBody>
          <a:bodyPr lIns="146153" tIns="91418" rIns="146153" bIns="91418" anchor="t" anchorCtr="0">
            <a:noAutofit/>
          </a:bodyPr>
          <a:lstStyle/>
          <a:p>
            <a:pPr marL="0" marR="0" lvl="0" indent="0" algn="l" defTabSz="1243493" rtl="0" eaLnBrk="1" fontAlgn="auto" latinLnBrk="0" hangingPunct="1">
              <a:lnSpc>
                <a:spcPct val="90000"/>
              </a:lnSpc>
              <a:spcBef>
                <a:spcPts val="0"/>
              </a:spcBef>
              <a:spcAft>
                <a:spcPts val="0"/>
              </a:spcAft>
              <a:buClrTx/>
              <a:buSzPct val="25000"/>
              <a:buFontTx/>
              <a:buNone/>
              <a:tabLst/>
              <a:defRPr/>
            </a:pPr>
            <a:r>
              <a:rPr kumimoji="0" lang="en" sz="4760" b="0" i="0" u="none" strike="noStrike" kern="0" cap="none" spc="0" normalizeH="0" baseline="0" noProof="0">
                <a:ln>
                  <a:noFill/>
                </a:ln>
                <a:solidFill>
                  <a:srgbClr val="505050"/>
                </a:solidFill>
                <a:effectLst/>
                <a:uLnTx/>
                <a:uFillTx/>
                <a:latin typeface="Arial"/>
                <a:ea typeface="+mn-ea"/>
                <a:cs typeface="+mn-cs"/>
              </a:rPr>
              <a:t>Best in Breed Technology Options</a:t>
            </a:r>
          </a:p>
        </p:txBody>
      </p:sp>
      <p:sp>
        <p:nvSpPr>
          <p:cNvPr id="919" name="Shape 919"/>
          <p:cNvSpPr txBox="1"/>
          <p:nvPr/>
        </p:nvSpPr>
        <p:spPr>
          <a:xfrm>
            <a:off x="11246765" y="6663599"/>
            <a:ext cx="913837" cy="181951"/>
          </a:xfrm>
          <a:prstGeom prst="rect">
            <a:avLst/>
          </a:prstGeom>
          <a:noFill/>
          <a:ln>
            <a:noFill/>
          </a:ln>
        </p:spPr>
        <p:txBody>
          <a:bodyPr lIns="91418" tIns="45692" rIns="91418" bIns="45692" anchor="ctr" anchorCtr="0">
            <a:noAutofit/>
          </a:bodyPr>
          <a:lstStyle/>
          <a:p>
            <a:pPr marL="0" marR="0" lvl="0" indent="0" algn="r" defTabSz="1243493"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24" b="0" i="0" u="none" strike="noStrike" kern="0" cap="none" spc="0" normalizeH="0" baseline="0" noProof="0">
                <a:ln>
                  <a:noFill/>
                </a:ln>
                <a:solidFill>
                  <a:srgbClr val="B8B8B8"/>
                </a:solidFill>
                <a:effectLst/>
                <a:uLnTx/>
                <a:uFillTx/>
                <a:latin typeface="Quattrocento Sans"/>
                <a:ea typeface="Quattrocento Sans"/>
                <a:cs typeface="Quattrocento Sans"/>
                <a:sym typeface="Quattrocento Sans"/>
              </a:rPr>
              <a:pPr marL="0" marR="0" lvl="0" indent="0" algn="r" defTabSz="1243493" rtl="0" eaLnBrk="1" fontAlgn="auto" latinLnBrk="0" hangingPunct="1">
                <a:lnSpc>
                  <a:spcPct val="100000"/>
                </a:lnSpc>
                <a:spcBef>
                  <a:spcPts val="0"/>
                </a:spcBef>
                <a:spcAft>
                  <a:spcPts val="0"/>
                </a:spcAft>
                <a:buClrTx/>
                <a:buSzPct val="25000"/>
                <a:buFontTx/>
                <a:buNone/>
                <a:tabLst/>
                <a:defRPr/>
              </a:pPr>
              <a:t>88</a:t>
            </a:fld>
            <a:endParaRPr kumimoji="0" lang="en" sz="1224" b="0" i="0" u="none" strike="noStrike" kern="0" cap="none" spc="0" normalizeH="0" baseline="0" noProof="0">
              <a:ln>
                <a:noFill/>
              </a:ln>
              <a:solidFill>
                <a:srgbClr val="B8B8B8"/>
              </a:solidFill>
              <a:effectLst/>
              <a:uLnTx/>
              <a:uFillTx/>
              <a:latin typeface="Quattrocento Sans"/>
              <a:ea typeface="Quattrocento Sans"/>
              <a:cs typeface="Quattrocento Sans"/>
              <a:sym typeface="Quattrocento Sans"/>
            </a:endParaRPr>
          </a:p>
        </p:txBody>
      </p:sp>
      <p:sp>
        <p:nvSpPr>
          <p:cNvPr id="920" name="Shape 920"/>
          <p:cNvSpPr/>
          <p:nvPr/>
        </p:nvSpPr>
        <p:spPr>
          <a:xfrm>
            <a:off x="733737" y="1463758"/>
            <a:ext cx="10498927" cy="4571633"/>
          </a:xfrm>
          <a:prstGeom prst="rect">
            <a:avLst/>
          </a:prstGeom>
          <a:noFill/>
          <a:ln>
            <a:noFill/>
          </a:ln>
        </p:spPr>
        <p:txBody>
          <a:bodyPr lIns="91418" tIns="45692" rIns="91418" bIns="45692" anchor="t" anchorCtr="0">
            <a:noAutofit/>
          </a:bodyPr>
          <a:lstStyle/>
          <a:p>
            <a:pPr marL="0" marR="0" lvl="0" indent="0" algn="l" defTabSz="1243493" rtl="0" eaLnBrk="1" fontAlgn="auto" latinLnBrk="0" hangingPunct="1">
              <a:lnSpc>
                <a:spcPct val="100000"/>
              </a:lnSpc>
              <a:spcBef>
                <a:spcPts val="0"/>
              </a:spcBef>
              <a:spcAft>
                <a:spcPts val="0"/>
              </a:spcAft>
              <a:buClrTx/>
              <a:buSzTx/>
              <a:buFontTx/>
              <a:buNone/>
              <a:tabLst/>
              <a:defRPr/>
            </a:pPr>
            <a:endParaRPr kumimoji="0" sz="1768" b="0" i="0" u="none" strike="noStrike" kern="0" cap="none" spc="0" normalizeH="0" baseline="0" noProof="0">
              <a:ln>
                <a:noFill/>
              </a:ln>
              <a:solidFill>
                <a:sysClr val="windowText" lastClr="000000"/>
              </a:solidFill>
              <a:effectLst/>
              <a:uLnTx/>
              <a:uFillTx/>
              <a:latin typeface="Arial"/>
              <a:ea typeface="+mn-ea"/>
              <a:cs typeface="+mn-cs"/>
            </a:endParaRPr>
          </a:p>
          <a:p>
            <a:pPr marL="0" marR="0" lvl="0" indent="0" algn="l" defTabSz="1243493" rtl="0" eaLnBrk="1" fontAlgn="auto" latinLnBrk="0" hangingPunct="1">
              <a:lnSpc>
                <a:spcPct val="100000"/>
              </a:lnSpc>
              <a:spcBef>
                <a:spcPts val="0"/>
              </a:spcBef>
              <a:spcAft>
                <a:spcPts val="0"/>
              </a:spcAft>
              <a:buClrTx/>
              <a:buSzTx/>
              <a:buFontTx/>
              <a:buNone/>
              <a:tabLst/>
              <a:defRPr/>
            </a:pPr>
            <a:endParaRPr kumimoji="0" sz="1768" b="0" i="0" u="none" strike="noStrike" kern="0" cap="none" spc="0" normalizeH="0" baseline="0" noProof="0">
              <a:ln>
                <a:noFill/>
              </a:ln>
              <a:solidFill>
                <a:sysClr val="windowText" lastClr="000000"/>
              </a:solidFill>
              <a:effectLst/>
              <a:uLnTx/>
              <a:uFillTx/>
              <a:latin typeface="Arial"/>
              <a:ea typeface="+mn-ea"/>
              <a:cs typeface="+mn-cs"/>
            </a:endParaRPr>
          </a:p>
          <a:p>
            <a:pPr marL="0" marR="0" lvl="0" indent="0" algn="l" defTabSz="1243493" rtl="0" eaLnBrk="1" fontAlgn="auto" latinLnBrk="0" hangingPunct="1">
              <a:lnSpc>
                <a:spcPct val="100000"/>
              </a:lnSpc>
              <a:spcBef>
                <a:spcPts val="0"/>
              </a:spcBef>
              <a:spcAft>
                <a:spcPts val="0"/>
              </a:spcAft>
              <a:buClrTx/>
              <a:buSzPct val="25000"/>
              <a:buFontTx/>
              <a:buNone/>
              <a:tabLst/>
              <a:defRPr/>
            </a:pPr>
            <a:r>
              <a:rPr kumimoji="0" lang="en" sz="1768" b="0" i="0" u="none" strike="noStrike" kern="0" cap="none" spc="0" normalizeH="0" baseline="0" noProof="0">
                <a:ln>
                  <a:noFill/>
                </a:ln>
                <a:solidFill>
                  <a:sysClr val="windowText" lastClr="000000"/>
                </a:solidFill>
                <a:effectLst/>
                <a:uLnTx/>
                <a:uFillTx/>
                <a:latin typeface="Arial"/>
                <a:ea typeface="+mn-ea"/>
                <a:cs typeface="+mn-cs"/>
              </a:rPr>
              <a:t>	</a:t>
            </a:r>
          </a:p>
          <a:p>
            <a:pPr marL="621746" marR="0" lvl="0" indent="-466310" algn="l" defTabSz="1243493" rtl="0" eaLnBrk="1" fontAlgn="auto" latinLnBrk="0" hangingPunct="1">
              <a:lnSpc>
                <a:spcPct val="100000"/>
              </a:lnSpc>
              <a:spcBef>
                <a:spcPts val="0"/>
              </a:spcBef>
              <a:spcAft>
                <a:spcPts val="0"/>
              </a:spcAft>
              <a:buClrTx/>
              <a:buSzPct val="100000"/>
              <a:buFontTx/>
              <a:buChar char="●"/>
              <a:tabLst/>
              <a:defRPr/>
            </a:pPr>
            <a:r>
              <a:rPr kumimoji="0" lang="en" sz="2448" b="0" i="0" u="none" strike="noStrike" kern="0" cap="none" spc="0" normalizeH="0" baseline="0" noProof="0">
                <a:ln>
                  <a:noFill/>
                </a:ln>
                <a:solidFill>
                  <a:sysClr val="windowText" lastClr="000000"/>
                </a:solidFill>
                <a:effectLst/>
                <a:uLnTx/>
                <a:uFillTx/>
                <a:latin typeface="Arial"/>
                <a:ea typeface="+mn-ea"/>
                <a:cs typeface="+mn-cs"/>
              </a:rPr>
              <a:t>.NET core, Red Hat JBoss (J2EE), Tomcat, Python, Ruby, Node.js</a:t>
            </a:r>
          </a:p>
          <a:p>
            <a:pPr marL="621746" marR="0" lvl="0" indent="-466310" algn="l" defTabSz="1243493" rtl="0" eaLnBrk="1" fontAlgn="auto" latinLnBrk="0" hangingPunct="1">
              <a:lnSpc>
                <a:spcPct val="100000"/>
              </a:lnSpc>
              <a:spcBef>
                <a:spcPts val="0"/>
              </a:spcBef>
              <a:spcAft>
                <a:spcPts val="0"/>
              </a:spcAft>
              <a:buClrTx/>
              <a:buSzPct val="100000"/>
              <a:buFontTx/>
              <a:buChar char="●"/>
              <a:tabLst/>
              <a:defRPr/>
            </a:pPr>
            <a:r>
              <a:rPr kumimoji="0" lang="en" sz="2448" b="0" i="0" u="none" strike="noStrike" kern="0" cap="none" spc="0" normalizeH="0" baseline="0" noProof="0">
                <a:ln>
                  <a:noFill/>
                </a:ln>
                <a:solidFill>
                  <a:sysClr val="windowText" lastClr="000000"/>
                </a:solidFill>
                <a:effectLst/>
                <a:uLnTx/>
                <a:uFillTx/>
                <a:latin typeface="Arial"/>
                <a:ea typeface="+mn-ea"/>
                <a:cs typeface="+mn-cs"/>
              </a:rPr>
              <a:t>Microsoft SQL Server On Linux</a:t>
            </a:r>
          </a:p>
          <a:p>
            <a:pPr marL="621746" marR="0" lvl="0" indent="-466310" algn="l" defTabSz="1243493" rtl="0" eaLnBrk="1" fontAlgn="auto" latinLnBrk="0" hangingPunct="1">
              <a:lnSpc>
                <a:spcPct val="100000"/>
              </a:lnSpc>
              <a:spcBef>
                <a:spcPts val="0"/>
              </a:spcBef>
              <a:spcAft>
                <a:spcPts val="0"/>
              </a:spcAft>
              <a:buClrTx/>
              <a:buSzPct val="100000"/>
              <a:buFontTx/>
              <a:buChar char="●"/>
              <a:tabLst/>
              <a:defRPr/>
            </a:pPr>
            <a:r>
              <a:rPr kumimoji="0" lang="en" sz="2448" b="0" i="0" u="none" strike="noStrike" kern="0" cap="none" spc="0" normalizeH="0" baseline="0" noProof="0">
                <a:ln>
                  <a:noFill/>
                </a:ln>
                <a:solidFill>
                  <a:sysClr val="windowText" lastClr="000000"/>
                </a:solidFill>
                <a:effectLst/>
                <a:uLnTx/>
                <a:uFillTx/>
                <a:latin typeface="Arial"/>
                <a:ea typeface="+mn-ea"/>
                <a:cs typeface="+mn-cs"/>
              </a:rPr>
              <a:t>Red Hat OpenShift Container Platform</a:t>
            </a:r>
          </a:p>
          <a:p>
            <a:pPr marL="621746" marR="0" lvl="0" indent="-466310" algn="l" defTabSz="1243493" rtl="0" eaLnBrk="1" fontAlgn="auto" latinLnBrk="0" hangingPunct="1">
              <a:lnSpc>
                <a:spcPct val="100000"/>
              </a:lnSpc>
              <a:spcBef>
                <a:spcPts val="0"/>
              </a:spcBef>
              <a:spcAft>
                <a:spcPts val="0"/>
              </a:spcAft>
              <a:buClrTx/>
              <a:buSzPct val="100000"/>
              <a:buFontTx/>
              <a:buChar char="●"/>
              <a:tabLst/>
              <a:defRPr/>
            </a:pPr>
            <a:r>
              <a:rPr kumimoji="0" lang="en" sz="2448" b="0" i="0" u="none" strike="noStrike" kern="0" cap="none" spc="0" normalizeH="0" baseline="0" noProof="0">
                <a:ln>
                  <a:noFill/>
                </a:ln>
                <a:solidFill>
                  <a:sysClr val="windowText" lastClr="000000"/>
                </a:solidFill>
                <a:effectLst/>
                <a:uLnTx/>
                <a:uFillTx/>
                <a:latin typeface="Arial"/>
                <a:ea typeface="+mn-ea"/>
                <a:cs typeface="+mn-cs"/>
              </a:rPr>
              <a:t>Red Hat Enterprise Linux</a:t>
            </a:r>
          </a:p>
          <a:p>
            <a:pPr marL="621746" marR="0" lvl="0" indent="-466310" algn="l" defTabSz="1243493" rtl="0" eaLnBrk="1" fontAlgn="auto" latinLnBrk="0" hangingPunct="1">
              <a:lnSpc>
                <a:spcPct val="100000"/>
              </a:lnSpc>
              <a:spcBef>
                <a:spcPts val="0"/>
              </a:spcBef>
              <a:spcAft>
                <a:spcPts val="0"/>
              </a:spcAft>
              <a:buClrTx/>
              <a:buSzPct val="100000"/>
              <a:buFontTx/>
              <a:buChar char="●"/>
              <a:tabLst/>
              <a:defRPr/>
            </a:pPr>
            <a:r>
              <a:rPr kumimoji="0" lang="en" sz="2448" b="0" i="0" u="none" strike="noStrike" kern="0" cap="none" spc="0" normalizeH="0" baseline="0" noProof="0">
                <a:ln>
                  <a:noFill/>
                </a:ln>
                <a:solidFill>
                  <a:sysClr val="windowText" lastClr="000000"/>
                </a:solidFill>
                <a:effectLst/>
                <a:uLnTx/>
                <a:uFillTx/>
                <a:latin typeface="Arial"/>
                <a:ea typeface="+mn-ea"/>
                <a:cs typeface="+mn-cs"/>
              </a:rPr>
              <a:t>Microsoft Azure</a:t>
            </a:r>
          </a:p>
          <a:p>
            <a:pPr marL="0" marR="0" lvl="0" indent="0" algn="l" defTabSz="1243493" rtl="0" eaLnBrk="1" fontAlgn="auto" latinLnBrk="0" hangingPunct="1">
              <a:lnSpc>
                <a:spcPct val="100000"/>
              </a:lnSpc>
              <a:spcBef>
                <a:spcPts val="0"/>
              </a:spcBef>
              <a:spcAft>
                <a:spcPts val="0"/>
              </a:spcAft>
              <a:buClrTx/>
              <a:buSzTx/>
              <a:buFontTx/>
              <a:buNone/>
              <a:tabLst/>
              <a:defRPr/>
            </a:pPr>
            <a:endParaRPr kumimoji="0" sz="2448" b="0" i="0" u="none" strike="noStrike" kern="0" cap="none" spc="0" normalizeH="0" baseline="0" noProof="0">
              <a:ln>
                <a:noFill/>
              </a:ln>
              <a:solidFill>
                <a:sysClr val="windowText" lastClr="000000"/>
              </a:solidFill>
              <a:effectLst/>
              <a:uLnTx/>
              <a:uFillTx/>
              <a:latin typeface="Arial"/>
              <a:ea typeface="+mn-ea"/>
              <a:cs typeface="+mn-cs"/>
            </a:endParaRPr>
          </a:p>
          <a:p>
            <a:pPr marL="0" marR="0" lvl="0" indent="0" algn="l" defTabSz="1243493" rtl="0" eaLnBrk="1" fontAlgn="auto" latinLnBrk="0" hangingPunct="1">
              <a:lnSpc>
                <a:spcPct val="100000"/>
              </a:lnSpc>
              <a:spcBef>
                <a:spcPts val="0"/>
              </a:spcBef>
              <a:spcAft>
                <a:spcPts val="0"/>
              </a:spcAft>
              <a:buClrTx/>
              <a:buSzTx/>
              <a:buFontTx/>
              <a:buNone/>
              <a:tabLst/>
              <a:defRPr/>
            </a:pPr>
            <a:r>
              <a:rPr kumimoji="0" lang="en" sz="2448" b="0" i="0" u="none" strike="noStrike" kern="0" cap="none" spc="0" normalizeH="0" baseline="0" noProof="0">
                <a:ln>
                  <a:noFill/>
                </a:ln>
                <a:solidFill>
                  <a:sysClr val="windowText" lastClr="000000"/>
                </a:solidFill>
                <a:effectLst/>
                <a:uLnTx/>
                <a:uFillTx/>
                <a:latin typeface="Arial"/>
                <a:ea typeface="+mn-ea"/>
                <a:cs typeface="+mn-cs"/>
              </a:rPr>
              <a:t>Unix to Linux (U2L) Migrations - Red Hat’s bread and butter for nearly 20 years.  Fully documented and executable consulting playbooks.</a:t>
            </a:r>
          </a:p>
          <a:p>
            <a:pPr marL="0" marR="0" lvl="0" indent="0" algn="l" defTabSz="1243493" rtl="0" eaLnBrk="1" fontAlgn="auto" latinLnBrk="0" hangingPunct="1">
              <a:lnSpc>
                <a:spcPct val="100000"/>
              </a:lnSpc>
              <a:spcBef>
                <a:spcPts val="0"/>
              </a:spcBef>
              <a:spcAft>
                <a:spcPts val="0"/>
              </a:spcAft>
              <a:buClrTx/>
              <a:buSzTx/>
              <a:buFontTx/>
              <a:buNone/>
              <a:tabLst/>
              <a:defRPr/>
            </a:pPr>
            <a:endParaRPr kumimoji="0" sz="2448" b="0" i="0" u="none" strike="noStrike" kern="0" cap="none" spc="0" normalizeH="0" baseline="0" noProof="0">
              <a:ln>
                <a:noFill/>
              </a:ln>
              <a:solidFill>
                <a:sysClr val="windowText" lastClr="000000"/>
              </a:solidFill>
              <a:effectLst/>
              <a:uLnTx/>
              <a:uFillTx/>
              <a:latin typeface="Arial"/>
              <a:ea typeface="+mn-ea"/>
              <a:cs typeface="+mn-cs"/>
            </a:endParaRPr>
          </a:p>
          <a:p>
            <a:pPr marL="0" marR="0" lvl="0" indent="0" algn="l" defTabSz="1243493" rtl="0" eaLnBrk="1" fontAlgn="auto" latinLnBrk="0" hangingPunct="1">
              <a:lnSpc>
                <a:spcPct val="100000"/>
              </a:lnSpc>
              <a:spcBef>
                <a:spcPts val="0"/>
              </a:spcBef>
              <a:spcAft>
                <a:spcPts val="0"/>
              </a:spcAft>
              <a:buClrTx/>
              <a:buSzTx/>
              <a:buFontTx/>
              <a:buNone/>
              <a:tabLst/>
              <a:defRPr/>
            </a:pPr>
            <a:r>
              <a:rPr kumimoji="0" lang="en" sz="2448" b="0" i="0" u="none" strike="noStrike" kern="0" cap="none" spc="0" normalizeH="0" baseline="0" noProof="0">
                <a:ln>
                  <a:noFill/>
                </a:ln>
                <a:solidFill>
                  <a:sysClr val="windowText" lastClr="000000"/>
                </a:solidFill>
                <a:effectLst/>
                <a:uLnTx/>
                <a:uFillTx/>
                <a:latin typeface="Arial"/>
                <a:ea typeface="+mn-ea"/>
                <a:cs typeface="+mn-cs"/>
              </a:rPr>
              <a:t>Unix to Linux to Azure...</a:t>
            </a:r>
          </a:p>
          <a:p>
            <a:pPr marL="0" marR="0" lvl="0" indent="0" algn="l" defTabSz="1243493" rtl="0" eaLnBrk="1" fontAlgn="auto" latinLnBrk="0" hangingPunct="1">
              <a:lnSpc>
                <a:spcPct val="100000"/>
              </a:lnSpc>
              <a:spcBef>
                <a:spcPts val="0"/>
              </a:spcBef>
              <a:spcAft>
                <a:spcPts val="0"/>
              </a:spcAft>
              <a:buClrTx/>
              <a:buSzTx/>
              <a:buFontTx/>
              <a:buNone/>
              <a:tabLst/>
              <a:defRPr/>
            </a:pPr>
            <a:endParaRPr kumimoji="0" sz="1768" b="0" i="0" u="none" strike="noStrike" kern="0" cap="none" spc="0" normalizeH="0" baseline="0" noProof="0">
              <a:ln>
                <a:noFill/>
              </a:ln>
              <a:solidFill>
                <a:sysClr val="windowText" lastClr="000000"/>
              </a:solidFill>
              <a:effectLst/>
              <a:uLnTx/>
              <a:uFillTx/>
              <a:latin typeface="Arial"/>
              <a:ea typeface="+mn-ea"/>
              <a:cs typeface="+mn-cs"/>
            </a:endParaRPr>
          </a:p>
          <a:p>
            <a:pPr marL="0" marR="0" lvl="0" indent="0" algn="l" defTabSz="1243493" rtl="0" eaLnBrk="1" fontAlgn="auto" latinLnBrk="0" hangingPunct="1">
              <a:lnSpc>
                <a:spcPct val="100000"/>
              </a:lnSpc>
              <a:spcBef>
                <a:spcPts val="0"/>
              </a:spcBef>
              <a:spcAft>
                <a:spcPts val="0"/>
              </a:spcAft>
              <a:buClrTx/>
              <a:buSzTx/>
              <a:buFontTx/>
              <a:buNone/>
              <a:tabLst/>
              <a:defRPr/>
            </a:pPr>
            <a:endParaRPr kumimoji="0" sz="1768" b="0" i="0" u="none" strike="noStrike" kern="0" cap="none" spc="0" normalizeH="0" baseline="0" noProof="0">
              <a:ln>
                <a:noFill/>
              </a:ln>
              <a:solidFill>
                <a:sysClr val="windowText" lastClr="000000"/>
              </a:solidFill>
              <a:effectLst/>
              <a:uLnTx/>
              <a:uFillTx/>
              <a:latin typeface="Arial"/>
              <a:ea typeface="+mn-ea"/>
              <a:cs typeface="+mn-cs"/>
            </a:endParaRPr>
          </a:p>
        </p:txBody>
      </p:sp>
    </p:spTree>
    <p:extLst>
      <p:ext uri="{BB962C8B-B14F-4D97-AF65-F5344CB8AC3E}">
        <p14:creationId xmlns:p14="http://schemas.microsoft.com/office/powerpoint/2010/main" val="142824072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18"/>
                                        </p:tgtEl>
                                        <p:attrNameLst>
                                          <p:attrName>style.visibility</p:attrName>
                                        </p:attrNameLst>
                                      </p:cBhvr>
                                      <p:to>
                                        <p:strVal val="visible"/>
                                      </p:to>
                                    </p:set>
                                    <p:animEffect transition="in" filter="fade">
                                      <p:cBhvr>
                                        <p:cTn id="7" dur="500"/>
                                        <p:tgtEl>
                                          <p:spTgt spid="9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924"/>
        <p:cNvGrpSpPr/>
        <p:nvPr/>
      </p:nvGrpSpPr>
      <p:grpSpPr>
        <a:xfrm>
          <a:off x="0" y="0"/>
          <a:ext cx="0" cy="0"/>
          <a:chOff x="0" y="0"/>
          <a:chExt cx="0" cy="0"/>
        </a:xfrm>
      </p:grpSpPr>
      <p:sp>
        <p:nvSpPr>
          <p:cNvPr id="925" name="Shape 925"/>
          <p:cNvSpPr txBox="1"/>
          <p:nvPr/>
        </p:nvSpPr>
        <p:spPr>
          <a:xfrm>
            <a:off x="882" y="381642"/>
            <a:ext cx="12434711" cy="896295"/>
          </a:xfrm>
          <a:prstGeom prst="rect">
            <a:avLst/>
          </a:prstGeom>
          <a:noFill/>
          <a:ln>
            <a:noFill/>
          </a:ln>
        </p:spPr>
        <p:txBody>
          <a:bodyPr lIns="124327" tIns="124327" rIns="124327" bIns="124327" anchor="ctr" anchorCtr="0">
            <a:noAutofit/>
          </a:bodyPr>
          <a:lstStyle/>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 sz="3536" b="1" i="0" u="none" strike="noStrike" kern="0" cap="none" spc="0" normalizeH="0" baseline="0" noProof="0">
                <a:ln>
                  <a:noFill/>
                </a:ln>
                <a:solidFill>
                  <a:sysClr val="windowText" lastClr="000000"/>
                </a:solidFill>
                <a:effectLst/>
                <a:uLnTx/>
                <a:uFillTx/>
                <a:latin typeface="Proxima Nova"/>
                <a:ea typeface="Proxima Nova"/>
                <a:cs typeface="Proxima Nova"/>
                <a:sym typeface="Proxima Nova"/>
              </a:rPr>
              <a:t>FOR MORE INFORMATION</a:t>
            </a:r>
          </a:p>
        </p:txBody>
      </p:sp>
      <p:sp>
        <p:nvSpPr>
          <p:cNvPr id="926" name="Shape 926"/>
          <p:cNvSpPr txBox="1">
            <a:spLocks noGrp="1"/>
          </p:cNvSpPr>
          <p:nvPr>
            <p:ph type="body" idx="4294967295"/>
          </p:nvPr>
        </p:nvSpPr>
        <p:spPr>
          <a:xfrm>
            <a:off x="1125091" y="1500895"/>
            <a:ext cx="10186427" cy="4306865"/>
          </a:xfrm>
          <a:prstGeom prst="rect">
            <a:avLst/>
          </a:prstGeom>
        </p:spPr>
        <p:txBody>
          <a:bodyPr lIns="124327" tIns="124327" rIns="124327" bIns="124327" anchor="t" anchorCtr="0">
            <a:noAutofit/>
          </a:bodyPr>
          <a:lstStyle/>
          <a:p>
            <a:pPr marL="621746" indent="-310873"/>
            <a:r>
              <a:rPr lang="en" u="sng">
                <a:solidFill>
                  <a:schemeClr val="hlink"/>
                </a:solidFill>
                <a:hlinkClick r:id="rId3"/>
              </a:rPr>
              <a:t>Extended video discussion</a:t>
            </a:r>
            <a:r>
              <a:rPr lang="en"/>
              <a:t> w/Corey Sanders of Azure</a:t>
            </a:r>
          </a:p>
          <a:p>
            <a:pPr marL="621746" indent="-310873"/>
            <a:r>
              <a:rPr lang="en" u="sng">
                <a:solidFill>
                  <a:schemeClr val="hlink"/>
                </a:solidFill>
                <a:hlinkClick r:id="rId4"/>
              </a:rPr>
              <a:t>Podcast episode discussion</a:t>
            </a:r>
            <a:r>
              <a:rPr lang="en"/>
              <a:t> w/Corey Sanders of Azure</a:t>
            </a:r>
          </a:p>
          <a:p>
            <a:pPr marL="621746" indent="-310873"/>
            <a:r>
              <a:rPr lang="en"/>
              <a:t>Other materials (from Greg)</a:t>
            </a:r>
          </a:p>
          <a:p>
            <a:pPr marL="1243493" lvl="1" indent="-310873"/>
            <a:r>
              <a:rPr lang="en"/>
              <a:t>Red Hat and Microsoft Partnership Presentation</a:t>
            </a:r>
          </a:p>
          <a:p>
            <a:pPr marL="1243493" lvl="1" indent="-310873"/>
            <a:r>
              <a:rPr lang="en"/>
              <a:t>Microsoft / Red Hat Strategic Alliance </a:t>
            </a:r>
            <a:r>
              <a:rPr lang="en" u="sng">
                <a:solidFill>
                  <a:schemeClr val="hlink"/>
                </a:solidFill>
                <a:hlinkClick r:id="rId5"/>
              </a:rPr>
              <a:t>web page</a:t>
            </a:r>
            <a:r>
              <a:rPr lang="en"/>
              <a:t> (on redhat.com)</a:t>
            </a:r>
          </a:p>
          <a:p>
            <a:pPr marL="1243493" lvl="1" indent="-310873"/>
            <a:r>
              <a:rPr lang="en"/>
              <a:t>Microsoft / Red Hat Field Co-selling Guide</a:t>
            </a:r>
          </a:p>
          <a:p>
            <a:pPr marL="1243493" lvl="1" indent="-310873"/>
            <a:r>
              <a:rPr lang="en"/>
              <a:t>Finalizing Microsoft / Red Hat account exec territory mapping</a:t>
            </a:r>
          </a:p>
          <a:p>
            <a:pPr marL="621746" indent="-310873"/>
            <a:r>
              <a:rPr lang="en"/>
              <a:t>Bob Roselli, CCSP Channel Manager Public Sector, Red Hat</a:t>
            </a:r>
          </a:p>
          <a:p>
            <a:pPr marL="1243493" lvl="1" indent="-310873"/>
            <a:r>
              <a:rPr lang="en" u="sng">
                <a:solidFill>
                  <a:schemeClr val="hlink"/>
                </a:solidFill>
                <a:hlinkClick r:id="rId6"/>
              </a:rPr>
              <a:t>broselli@redhat.com</a:t>
            </a:r>
          </a:p>
          <a:p>
            <a:pPr marL="1243493" lvl="1" indent="-310873"/>
            <a:r>
              <a:rPr lang="en"/>
              <a:t>+1 (408) 690-5200</a:t>
            </a:r>
          </a:p>
        </p:txBody>
      </p:sp>
    </p:spTree>
    <p:extLst>
      <p:ext uri="{BB962C8B-B14F-4D97-AF65-F5344CB8AC3E}">
        <p14:creationId xmlns:p14="http://schemas.microsoft.com/office/powerpoint/2010/main" val="10454760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Single Corner Snipped 22"/>
          <p:cNvSpPr/>
          <p:nvPr/>
        </p:nvSpPr>
        <p:spPr bwMode="auto">
          <a:xfrm>
            <a:off x="387263" y="1484533"/>
            <a:ext cx="3089700" cy="2324610"/>
          </a:xfrm>
          <a:prstGeom prst="snip1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Rectangle: Single Corner Snipped 32"/>
          <p:cNvSpPr/>
          <p:nvPr/>
        </p:nvSpPr>
        <p:spPr bwMode="auto">
          <a:xfrm>
            <a:off x="387262" y="4033090"/>
            <a:ext cx="4353640" cy="2512245"/>
          </a:xfrm>
          <a:prstGeom prst="snip1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0" name="Picture 1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05990" y="4261993"/>
            <a:ext cx="4138125" cy="2137890"/>
          </a:xfrm>
          <a:prstGeom prst="rect">
            <a:avLst/>
          </a:prstGeom>
        </p:spPr>
      </p:pic>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58830" y="1640324"/>
            <a:ext cx="2639321" cy="1978861"/>
          </a:xfrm>
          <a:prstGeom prst="rect">
            <a:avLst/>
          </a:prstGeom>
        </p:spPr>
      </p:pic>
      <p:sp>
        <p:nvSpPr>
          <p:cNvPr id="2" name="Title 1"/>
          <p:cNvSpPr>
            <a:spLocks noGrp="1"/>
          </p:cNvSpPr>
          <p:nvPr>
            <p:ph type="title"/>
          </p:nvPr>
        </p:nvSpPr>
        <p:spPr/>
        <p:txBody>
          <a:bodyPr/>
          <a:lstStyle/>
          <a:p>
            <a:r>
              <a:rPr lang="en-US" dirty="0"/>
              <a:t>Create a Sales Lead in MSX</a:t>
            </a:r>
          </a:p>
        </p:txBody>
      </p:sp>
      <p:sp>
        <p:nvSpPr>
          <p:cNvPr id="5" name="Rectangle: Rounded Corners 4"/>
          <p:cNvSpPr/>
          <p:nvPr/>
        </p:nvSpPr>
        <p:spPr bwMode="auto">
          <a:xfrm>
            <a:off x="1852461" y="4984774"/>
            <a:ext cx="2415314" cy="637103"/>
          </a:xfrm>
          <a:prstGeom prst="round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Rectangle: Rounded Corners 7"/>
          <p:cNvSpPr/>
          <p:nvPr/>
        </p:nvSpPr>
        <p:spPr bwMode="auto">
          <a:xfrm>
            <a:off x="1836362" y="2436217"/>
            <a:ext cx="895823" cy="295817"/>
          </a:xfrm>
          <a:prstGeom prst="round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Rectangle: Rounded Corners 8"/>
          <p:cNvSpPr/>
          <p:nvPr/>
        </p:nvSpPr>
        <p:spPr bwMode="auto">
          <a:xfrm>
            <a:off x="3611141" y="1983401"/>
            <a:ext cx="1328952" cy="664087"/>
          </a:xfrm>
          <a:prstGeom prst="roundRect">
            <a:avLst/>
          </a:prstGeom>
          <a:noFill/>
          <a:ln w="127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Rounded Corners 10"/>
          <p:cNvSpPr/>
          <p:nvPr/>
        </p:nvSpPr>
        <p:spPr bwMode="auto">
          <a:xfrm>
            <a:off x="5054926" y="4352364"/>
            <a:ext cx="2096133" cy="722336"/>
          </a:xfrm>
          <a:prstGeom prst="roundRect">
            <a:avLst/>
          </a:prstGeom>
          <a:noFill/>
          <a:ln w="127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Text Placeholder 4"/>
          <p:cNvSpPr txBox="1">
            <a:spLocks/>
          </p:cNvSpPr>
          <p:nvPr/>
        </p:nvSpPr>
        <p:spPr>
          <a:xfrm>
            <a:off x="5054924" y="4320760"/>
            <a:ext cx="2053439" cy="889183"/>
          </a:xfrm>
          <a:prstGeom prst="rect">
            <a:avLst/>
          </a:prstGeom>
        </p:spPr>
        <p:txBody>
          <a:bodyPr vert="horz" wrap="square" lIns="149217" tIns="93260" rIns="149217" bIns="93260"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2"/>
                    </a:gs>
                    <a:gs pos="99000">
                      <a:schemeClr val="tx2"/>
                    </a:gs>
                  </a:gsLst>
                  <a:lin ang="5400000" scaled="0"/>
                </a:gradFill>
                <a:latin typeface="+mn-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587" lvl="1" defTabSz="895178" fontAlgn="base">
              <a:lnSpc>
                <a:spcPct val="95000"/>
              </a:lnSpc>
              <a:spcBef>
                <a:spcPct val="30000"/>
              </a:spcBef>
              <a:spcAft>
                <a:spcPct val="0"/>
              </a:spcAft>
              <a:buClr>
                <a:srgbClr val="002060"/>
              </a:buClr>
              <a:buSzPct val="125000"/>
              <a:defRPr/>
            </a:pPr>
            <a:r>
              <a:rPr lang="en-US" sz="1428" b="1" kern="0" dirty="0">
                <a:solidFill>
                  <a:srgbClr val="00BCF2"/>
                </a:solidFill>
                <a:latin typeface="Calibri" panose="020F0502020204030204" pitchFamily="34" charset="0"/>
                <a:cs typeface="Calibri" panose="020F0502020204030204" pitchFamily="34" charset="0"/>
              </a:rPr>
              <a:t>2</a:t>
            </a:r>
            <a:r>
              <a:rPr lang="en-US" sz="1224" kern="0" dirty="0">
                <a:solidFill>
                  <a:srgbClr val="00BCF2"/>
                </a:solidFill>
                <a:latin typeface="Calibri" panose="020F0502020204030204" pitchFamily="34" charset="0"/>
                <a:cs typeface="Calibri" panose="020F0502020204030204" pitchFamily="34" charset="0"/>
              </a:rPr>
              <a:t>. Look for </a:t>
            </a:r>
            <a:r>
              <a:rPr lang="en-US" sz="1224" b="1" dirty="0">
                <a:solidFill>
                  <a:srgbClr val="FF0000"/>
                </a:solidFill>
                <a:latin typeface="Calibri" panose="020F0502020204030204" pitchFamily="34" charset="0"/>
                <a:cs typeface="Calibri" panose="020F0502020204030204" pitchFamily="34" charset="0"/>
              </a:rPr>
              <a:t>7-LXBPP4CQ3</a:t>
            </a:r>
            <a:r>
              <a:rPr lang="en-US" sz="1224" dirty="0">
                <a:solidFill>
                  <a:srgbClr val="00BCF2"/>
                </a:solidFill>
                <a:latin typeface="Calibri" panose="020F0502020204030204" pitchFamily="34" charset="0"/>
                <a:cs typeface="Calibri" panose="020F0502020204030204" pitchFamily="34" charset="0"/>
              </a:rPr>
              <a:t>  and select the campaign</a:t>
            </a:r>
          </a:p>
          <a:p>
            <a:pPr marL="1587" lvl="1" defTabSz="895178" fontAlgn="base">
              <a:lnSpc>
                <a:spcPct val="95000"/>
              </a:lnSpc>
              <a:spcBef>
                <a:spcPct val="30000"/>
              </a:spcBef>
              <a:spcAft>
                <a:spcPct val="0"/>
              </a:spcAft>
              <a:buClr>
                <a:srgbClr val="002060"/>
              </a:buClr>
              <a:buSzPct val="125000"/>
              <a:defRPr/>
            </a:pPr>
            <a:r>
              <a:rPr lang="en-US" sz="1224" dirty="0">
                <a:solidFill>
                  <a:srgbClr val="00BCF2"/>
                </a:solidFill>
                <a:latin typeface="Calibri" panose="020F0502020204030204" pitchFamily="34" charset="0"/>
                <a:cs typeface="Calibri" panose="020F0502020204030204" pitchFamily="34" charset="0"/>
              </a:rPr>
              <a:t>“DDSP Azure FY17”</a:t>
            </a:r>
            <a:endParaRPr lang="en-US" sz="2000" dirty="0">
              <a:gradFill>
                <a:gsLst>
                  <a:gs pos="1250">
                    <a:srgbClr val="505050"/>
                  </a:gs>
                  <a:gs pos="100000">
                    <a:srgbClr val="505050"/>
                  </a:gs>
                </a:gsLst>
                <a:lin ang="5400000" scaled="0"/>
              </a:gradFill>
              <a:latin typeface="Segoe UI"/>
            </a:endParaRPr>
          </a:p>
        </p:txBody>
      </p:sp>
      <p:cxnSp>
        <p:nvCxnSpPr>
          <p:cNvPr id="18" name="Straight Arrow Connector 17"/>
          <p:cNvCxnSpPr>
            <a:cxnSpLocks/>
            <a:stCxn id="9" idx="1"/>
          </p:cNvCxnSpPr>
          <p:nvPr/>
        </p:nvCxnSpPr>
        <p:spPr>
          <a:xfrm flipH="1">
            <a:off x="2732185" y="2315444"/>
            <a:ext cx="878956" cy="8596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cxnSpLocks/>
            <a:stCxn id="11" idx="1"/>
          </p:cNvCxnSpPr>
          <p:nvPr/>
        </p:nvCxnSpPr>
        <p:spPr>
          <a:xfrm flipH="1">
            <a:off x="4267775" y="4713532"/>
            <a:ext cx="787150" cy="2364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6" name="Text Placeholder 4"/>
          <p:cNvSpPr txBox="1">
            <a:spLocks/>
          </p:cNvSpPr>
          <p:nvPr/>
        </p:nvSpPr>
        <p:spPr>
          <a:xfrm>
            <a:off x="3596660" y="1925152"/>
            <a:ext cx="1577563" cy="277246"/>
          </a:xfrm>
          <a:prstGeom prst="rect">
            <a:avLst/>
          </a:prstGeom>
        </p:spPr>
        <p:txBody>
          <a:bodyPr vert="horz" wrap="square" lIns="149217" tIns="93260" rIns="149217" bIns="93260"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2"/>
                    </a:gs>
                    <a:gs pos="99000">
                      <a:schemeClr val="tx2"/>
                    </a:gs>
                  </a:gsLst>
                  <a:lin ang="5400000" scaled="0"/>
                </a:gradFill>
                <a:latin typeface="+mn-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587" lvl="1" defTabSz="895178" fontAlgn="base">
              <a:lnSpc>
                <a:spcPct val="95000"/>
              </a:lnSpc>
              <a:spcBef>
                <a:spcPct val="30000"/>
              </a:spcBef>
              <a:spcAft>
                <a:spcPct val="0"/>
              </a:spcAft>
              <a:buClr>
                <a:srgbClr val="002060"/>
              </a:buClr>
              <a:buSzPct val="125000"/>
              <a:defRPr/>
            </a:pPr>
            <a:r>
              <a:rPr lang="en-US" sz="1428" b="1" kern="0" dirty="0">
                <a:solidFill>
                  <a:srgbClr val="00BCF2"/>
                </a:solidFill>
                <a:latin typeface="Calibri" panose="020F0502020204030204" pitchFamily="34" charset="0"/>
                <a:cs typeface="Calibri" panose="020F0502020204030204" pitchFamily="34" charset="0"/>
              </a:rPr>
              <a:t>1</a:t>
            </a:r>
            <a:r>
              <a:rPr lang="en-US" sz="1224" kern="0" dirty="0">
                <a:solidFill>
                  <a:srgbClr val="00BCF2"/>
                </a:solidFill>
                <a:latin typeface="Calibri" panose="020F0502020204030204" pitchFamily="34" charset="0"/>
                <a:cs typeface="Calibri" panose="020F0502020204030204" pitchFamily="34" charset="0"/>
              </a:rPr>
              <a:t>. Scroll down to Details and Select Source Campaign</a:t>
            </a:r>
            <a:endParaRPr lang="en-US" sz="2000" dirty="0">
              <a:gradFill>
                <a:gsLst>
                  <a:gs pos="1250">
                    <a:srgbClr val="505050"/>
                  </a:gs>
                  <a:gs pos="100000">
                    <a:srgbClr val="505050"/>
                  </a:gs>
                </a:gsLst>
                <a:lin ang="5400000" scaled="0"/>
              </a:gradFill>
              <a:latin typeface="Segoe UI"/>
            </a:endParaRPr>
          </a:p>
        </p:txBody>
      </p:sp>
      <p:pic>
        <p:nvPicPr>
          <p:cNvPr id="27" name="Picture 26"/>
          <p:cNvPicPr>
            <a:picLocks noChangeAspect="1"/>
          </p:cNvPicPr>
          <p:nvPr/>
        </p:nvPicPr>
        <p:blipFill>
          <a:blip r:embed="rId4"/>
          <a:stretch>
            <a:fillRect/>
          </a:stretch>
        </p:blipFill>
        <p:spPr>
          <a:xfrm>
            <a:off x="7843401" y="2552627"/>
            <a:ext cx="3982993" cy="3992708"/>
          </a:xfrm>
          <a:prstGeom prst="rect">
            <a:avLst/>
          </a:prstGeom>
        </p:spPr>
      </p:pic>
      <p:sp>
        <p:nvSpPr>
          <p:cNvPr id="37" name="Rectangle: Single Corner Snipped 36"/>
          <p:cNvSpPr/>
          <p:nvPr/>
        </p:nvSpPr>
        <p:spPr bwMode="auto">
          <a:xfrm>
            <a:off x="7789387" y="2374470"/>
            <a:ext cx="4353640" cy="4170865"/>
          </a:xfrm>
          <a:prstGeom prst="snip1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Rectangle: Rounded Corners 37"/>
          <p:cNvSpPr/>
          <p:nvPr/>
        </p:nvSpPr>
        <p:spPr bwMode="auto">
          <a:xfrm>
            <a:off x="9355738" y="1482844"/>
            <a:ext cx="1181849" cy="374906"/>
          </a:xfrm>
          <a:prstGeom prst="roundRect">
            <a:avLst/>
          </a:prstGeom>
          <a:noFill/>
          <a:ln w="127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Text Placeholder 4"/>
          <p:cNvSpPr txBox="1">
            <a:spLocks/>
          </p:cNvSpPr>
          <p:nvPr/>
        </p:nvSpPr>
        <p:spPr>
          <a:xfrm>
            <a:off x="9355738" y="1451241"/>
            <a:ext cx="1293078" cy="406509"/>
          </a:xfrm>
          <a:prstGeom prst="rect">
            <a:avLst/>
          </a:prstGeom>
        </p:spPr>
        <p:txBody>
          <a:bodyPr vert="horz" wrap="square" lIns="149217" tIns="93260" rIns="149217" bIns="93260"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2"/>
                    </a:gs>
                    <a:gs pos="99000">
                      <a:schemeClr val="tx2"/>
                    </a:gs>
                  </a:gsLst>
                  <a:lin ang="5400000" scaled="0"/>
                </a:gradFill>
                <a:latin typeface="+mn-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587" lvl="1" defTabSz="895178" fontAlgn="base">
              <a:lnSpc>
                <a:spcPct val="95000"/>
              </a:lnSpc>
              <a:spcBef>
                <a:spcPct val="30000"/>
              </a:spcBef>
              <a:spcAft>
                <a:spcPct val="0"/>
              </a:spcAft>
              <a:buClr>
                <a:srgbClr val="002060"/>
              </a:buClr>
              <a:buSzPct val="125000"/>
              <a:defRPr/>
            </a:pPr>
            <a:r>
              <a:rPr lang="en-US" sz="1428" b="1" kern="0" dirty="0">
                <a:solidFill>
                  <a:srgbClr val="00BCF2"/>
                </a:solidFill>
                <a:latin typeface="Calibri" panose="020F0502020204030204" pitchFamily="34" charset="0"/>
                <a:cs typeface="Calibri" panose="020F0502020204030204" pitchFamily="34" charset="0"/>
              </a:rPr>
              <a:t>3</a:t>
            </a:r>
            <a:r>
              <a:rPr lang="en-US" sz="1224" kern="0" dirty="0">
                <a:solidFill>
                  <a:srgbClr val="00BCF2"/>
                </a:solidFill>
                <a:latin typeface="Calibri" panose="020F0502020204030204" pitchFamily="34" charset="0"/>
                <a:cs typeface="Calibri" panose="020F0502020204030204" pitchFamily="34" charset="0"/>
              </a:rPr>
              <a:t>. Final result</a:t>
            </a:r>
            <a:endParaRPr lang="en-US" sz="2000" dirty="0">
              <a:gradFill>
                <a:gsLst>
                  <a:gs pos="1250">
                    <a:srgbClr val="505050"/>
                  </a:gs>
                  <a:gs pos="100000">
                    <a:srgbClr val="505050"/>
                  </a:gs>
                </a:gsLst>
                <a:lin ang="5400000" scaled="0"/>
              </a:gradFill>
              <a:latin typeface="Segoe UI"/>
            </a:endParaRPr>
          </a:p>
        </p:txBody>
      </p:sp>
      <p:cxnSp>
        <p:nvCxnSpPr>
          <p:cNvPr id="44" name="Straight Arrow Connector 43"/>
          <p:cNvCxnSpPr>
            <a:cxnSpLocks/>
          </p:cNvCxnSpPr>
          <p:nvPr/>
        </p:nvCxnSpPr>
        <p:spPr>
          <a:xfrm>
            <a:off x="9946662" y="1868129"/>
            <a:ext cx="0" cy="2797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0177747"/>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Shape 930"/>
        <p:cNvGrpSpPr/>
        <p:nvPr/>
      </p:nvGrpSpPr>
      <p:grpSpPr>
        <a:xfrm>
          <a:off x="0" y="0"/>
          <a:ext cx="0" cy="0"/>
          <a:chOff x="0" y="0"/>
          <a:chExt cx="0" cy="0"/>
        </a:xfrm>
      </p:grpSpPr>
      <p:sp>
        <p:nvSpPr>
          <p:cNvPr id="931" name="Shape 931"/>
          <p:cNvSpPr txBox="1">
            <a:spLocks noGrp="1"/>
          </p:cNvSpPr>
          <p:nvPr>
            <p:ph type="title"/>
          </p:nvPr>
        </p:nvSpPr>
        <p:spPr>
          <a:xfrm>
            <a:off x="1387582" y="3030961"/>
            <a:ext cx="10197442" cy="932603"/>
          </a:xfrm>
          <a:prstGeom prst="rect">
            <a:avLst/>
          </a:prstGeom>
        </p:spPr>
        <p:txBody>
          <a:bodyPr lIns="124327" tIns="124327" rIns="124327" bIns="124327" anchor="b" anchorCtr="0">
            <a:noAutofit/>
          </a:bodyPr>
          <a:lstStyle/>
          <a:p>
            <a:r>
              <a:rPr lang="en" sz="3808"/>
              <a:t>MICROSOFT AND RED HAT:</a:t>
            </a:r>
          </a:p>
          <a:p>
            <a:r>
              <a:rPr lang="en" sz="3808"/>
              <a:t>DRIVING OPENNESS IN GOVERNMENT</a:t>
            </a:r>
          </a:p>
        </p:txBody>
      </p:sp>
      <p:sp>
        <p:nvSpPr>
          <p:cNvPr id="932" name="Shape 932"/>
          <p:cNvSpPr txBox="1">
            <a:spLocks noGrp="1"/>
          </p:cNvSpPr>
          <p:nvPr>
            <p:ph type="subTitle" idx="1"/>
          </p:nvPr>
        </p:nvSpPr>
        <p:spPr>
          <a:xfrm>
            <a:off x="1387582" y="4766639"/>
            <a:ext cx="9858017" cy="1631852"/>
          </a:xfrm>
          <a:prstGeom prst="rect">
            <a:avLst/>
          </a:prstGeom>
        </p:spPr>
        <p:txBody>
          <a:bodyPr lIns="124327" tIns="124327" rIns="124327" bIns="124327" anchor="ctr" anchorCtr="0">
            <a:noAutofit/>
          </a:bodyPr>
          <a:lstStyle/>
          <a:p>
            <a:r>
              <a:rPr lang="en" sz="2448" b="1"/>
              <a:t>Adam Clater</a:t>
            </a:r>
          </a:p>
          <a:p>
            <a:r>
              <a:rPr lang="en" sz="2448"/>
              <a:t>Chief Architect, North America Public Sector, Red Hat</a:t>
            </a:r>
          </a:p>
          <a:p>
            <a:r>
              <a:rPr lang="en" sz="2448"/>
              <a:t>+1 (703)829 0138 </a:t>
            </a:r>
            <a:r>
              <a:rPr lang="en" sz="2448">
                <a:solidFill>
                  <a:schemeClr val="lt1"/>
                </a:solidFill>
              </a:rPr>
              <a:t>•</a:t>
            </a:r>
            <a:r>
              <a:rPr lang="en" sz="2448"/>
              <a:t> adam@redhat.com • @aclater</a:t>
            </a:r>
          </a:p>
          <a:p>
            <a:endParaRPr sz="2448"/>
          </a:p>
          <a:p>
            <a:r>
              <a:rPr lang="en" sz="2448" b="1"/>
              <a:t>Sima Shahin</a:t>
            </a:r>
          </a:p>
          <a:p>
            <a:r>
              <a:rPr lang="en" sz="2448"/>
              <a:t>Business Development Manager, North America Public Sector, Red Hat</a:t>
            </a:r>
          </a:p>
          <a:p>
            <a:r>
              <a:rPr lang="en" sz="2448"/>
              <a:t>+1(703)867-8022 </a:t>
            </a:r>
            <a:r>
              <a:rPr lang="en" sz="2448">
                <a:solidFill>
                  <a:schemeClr val="lt1"/>
                </a:solidFill>
              </a:rPr>
              <a:t>•</a:t>
            </a:r>
            <a:r>
              <a:rPr lang="en" sz="2448"/>
              <a:t> sishain@redhat.com </a:t>
            </a:r>
            <a:r>
              <a:rPr lang="en" sz="2448">
                <a:solidFill>
                  <a:schemeClr val="lt1"/>
                </a:solidFill>
              </a:rPr>
              <a:t>• @SimaShahin</a:t>
            </a:r>
          </a:p>
        </p:txBody>
      </p:sp>
    </p:spTree>
    <p:extLst>
      <p:ext uri="{BB962C8B-B14F-4D97-AF65-F5344CB8AC3E}">
        <p14:creationId xmlns:p14="http://schemas.microsoft.com/office/powerpoint/2010/main" val="157411524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lt;TITLE&gt;"/>
          <p:cNvSpPr>
            <a:spLocks noGrp="1"/>
          </p:cNvSpPr>
          <p:nvPr>
            <p:ph type="ctrTitle"/>
          </p:nvPr>
        </p:nvSpPr>
        <p:spPr/>
        <p:txBody>
          <a:bodyPr/>
          <a:lstStyle/>
          <a:p>
            <a:r>
              <a:rPr lang="en-US"/>
              <a:t>CGI Introduction</a:t>
            </a:r>
            <a:br>
              <a:rPr lang="en-US" dirty="0"/>
            </a:br>
            <a:r>
              <a:rPr lang="en-US" sz="2856" dirty="0"/>
              <a:t>Microsoft Azure ISV Day</a:t>
            </a:r>
            <a:endParaRPr lang="en-US" dirty="0"/>
          </a:p>
        </p:txBody>
      </p:sp>
      <p:sp>
        <p:nvSpPr>
          <p:cNvPr id="3" name="Subtitle 2" descr="&lt;SUBTITLE&gt;"/>
          <p:cNvSpPr>
            <a:spLocks noGrp="1"/>
          </p:cNvSpPr>
          <p:nvPr>
            <p:ph type="subTitle" idx="1"/>
          </p:nvPr>
        </p:nvSpPr>
        <p:spPr>
          <a:xfrm>
            <a:off x="611126" y="5835246"/>
            <a:ext cx="7995905" cy="772590"/>
          </a:xfrm>
        </p:spPr>
        <p:txBody>
          <a:bodyPr>
            <a:normAutofit/>
          </a:bodyPr>
          <a:lstStyle/>
          <a:p>
            <a:r>
              <a:rPr lang="en-GB" dirty="0"/>
              <a:t>Linnea Walker</a:t>
            </a:r>
          </a:p>
          <a:p>
            <a:r>
              <a:rPr lang="en-GB" dirty="0"/>
              <a:t>Solution Marketing Lead, Emerging Technologies Practice</a:t>
            </a:r>
          </a:p>
          <a:p>
            <a:r>
              <a:rPr lang="en-GB" dirty="0"/>
              <a:t>11 January 2017</a:t>
            </a:r>
          </a:p>
          <a:p>
            <a:endParaRPr lang="en-US" dirty="0"/>
          </a:p>
        </p:txBody>
      </p:sp>
    </p:spTree>
    <p:extLst>
      <p:ext uri="{BB962C8B-B14F-4D97-AF65-F5344CB8AC3E}">
        <p14:creationId xmlns:p14="http://schemas.microsoft.com/office/powerpoint/2010/main" val="1698862564"/>
      </p:ext>
    </p:extLst>
  </p:cSld>
  <p:clrMapOvr>
    <a:masterClrMapping/>
  </p:clrMapOv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PH" dirty="0">
                <a:solidFill>
                  <a:srgbClr val="991F3D"/>
                </a:solidFill>
              </a:rPr>
              <a:t>CGI is the 5th largest independent IT and business process services firm in the world</a:t>
            </a:r>
            <a:endParaRPr lang="en-US" dirty="0"/>
          </a:p>
        </p:txBody>
      </p:sp>
      <p:sp>
        <p:nvSpPr>
          <p:cNvPr id="5" name="Shape 505"/>
          <p:cNvSpPr/>
          <p:nvPr/>
        </p:nvSpPr>
        <p:spPr>
          <a:xfrm>
            <a:off x="783058" y="1587783"/>
            <a:ext cx="3502857" cy="1245396"/>
          </a:xfrm>
          <a:prstGeom prst="rect">
            <a:avLst/>
          </a:prstGeom>
          <a:solidFill>
            <a:srgbClr val="FFFFFF"/>
          </a:solidFill>
          <a:ln w="3175">
            <a:solidFill>
              <a:srgbClr val="A5ACB0"/>
            </a:solidFill>
            <a:prstDash val="dash"/>
          </a:ln>
        </p:spPr>
        <p:txBody>
          <a:bodyPr lIns="0" tIns="0" rIns="0" bIns="0" anchor="ctr"/>
          <a:lstStyle/>
          <a:p>
            <a:pPr marL="0" marR="0" lvl="0" indent="0" algn="ctr" defTabSz="932742" rtl="0" eaLnBrk="1" fontAlgn="auto" latinLnBrk="0" hangingPunct="1">
              <a:lnSpc>
                <a:spcPct val="100000"/>
              </a:lnSpc>
              <a:spcBef>
                <a:spcPts val="0"/>
              </a:spcBef>
              <a:spcAft>
                <a:spcPts val="0"/>
              </a:spcAft>
              <a:buClrTx/>
              <a:buSzTx/>
              <a:buFontTx/>
              <a:buNone/>
              <a:tabLst/>
              <a:defRPr sz="1600" b="1">
                <a:solidFill>
                  <a:srgbClr val="FFFFFF"/>
                </a:solidFill>
              </a:defRPr>
            </a:pPr>
            <a:endParaRPr kumimoji="0" sz="1632" b="1" i="0" u="none" strike="noStrike" kern="1200" cap="none" spc="0" normalizeH="0" baseline="0" noProof="0">
              <a:ln>
                <a:noFill/>
              </a:ln>
              <a:solidFill>
                <a:srgbClr val="FFFFFF"/>
              </a:solidFill>
              <a:effectLst/>
              <a:uLnTx/>
              <a:uFillTx/>
              <a:latin typeface="Segoe UI"/>
              <a:ea typeface="+mn-ea"/>
              <a:cs typeface="+mn-cs"/>
            </a:endParaRPr>
          </a:p>
        </p:txBody>
      </p:sp>
      <p:sp>
        <p:nvSpPr>
          <p:cNvPr id="6" name="Shape 506"/>
          <p:cNvSpPr/>
          <p:nvPr/>
        </p:nvSpPr>
        <p:spPr>
          <a:xfrm>
            <a:off x="4464221" y="1587783"/>
            <a:ext cx="3502857" cy="1245396"/>
          </a:xfrm>
          <a:prstGeom prst="rect">
            <a:avLst/>
          </a:prstGeom>
          <a:solidFill>
            <a:srgbClr val="FFFFFF"/>
          </a:solidFill>
          <a:ln w="3175">
            <a:solidFill>
              <a:srgbClr val="A5ACB0"/>
            </a:solidFill>
            <a:prstDash val="dash"/>
          </a:ln>
        </p:spPr>
        <p:txBody>
          <a:bodyPr lIns="0" tIns="0" rIns="0" bIns="0" anchor="ctr"/>
          <a:lstStyle/>
          <a:p>
            <a:pPr marL="0" marR="0" lvl="0" indent="0" algn="ctr" defTabSz="932742" rtl="0" eaLnBrk="1" fontAlgn="auto" latinLnBrk="0" hangingPunct="1">
              <a:lnSpc>
                <a:spcPct val="100000"/>
              </a:lnSpc>
              <a:spcBef>
                <a:spcPts val="0"/>
              </a:spcBef>
              <a:spcAft>
                <a:spcPts val="0"/>
              </a:spcAft>
              <a:buClrTx/>
              <a:buSzTx/>
              <a:buFontTx/>
              <a:buNone/>
              <a:tabLst/>
              <a:defRPr sz="1600" b="1">
                <a:solidFill>
                  <a:srgbClr val="FFFFFF"/>
                </a:solidFill>
              </a:defRPr>
            </a:pPr>
            <a:endParaRPr kumimoji="0" sz="1632" b="1" i="0" u="none" strike="noStrike" kern="1200" cap="none" spc="0" normalizeH="0" baseline="0" noProof="0">
              <a:ln>
                <a:noFill/>
              </a:ln>
              <a:solidFill>
                <a:srgbClr val="FFFFFF"/>
              </a:solidFill>
              <a:effectLst/>
              <a:uLnTx/>
              <a:uFillTx/>
              <a:latin typeface="Segoe UI"/>
              <a:ea typeface="+mn-ea"/>
              <a:cs typeface="+mn-cs"/>
            </a:endParaRPr>
          </a:p>
        </p:txBody>
      </p:sp>
      <p:sp>
        <p:nvSpPr>
          <p:cNvPr id="7" name="Shape 507"/>
          <p:cNvSpPr/>
          <p:nvPr/>
        </p:nvSpPr>
        <p:spPr>
          <a:xfrm>
            <a:off x="8167319" y="1587783"/>
            <a:ext cx="3502858" cy="1245396"/>
          </a:xfrm>
          <a:prstGeom prst="rect">
            <a:avLst/>
          </a:prstGeom>
          <a:solidFill>
            <a:srgbClr val="FFFFFF"/>
          </a:solidFill>
          <a:ln w="3175">
            <a:solidFill>
              <a:srgbClr val="A5ACB0"/>
            </a:solidFill>
            <a:prstDash val="dash"/>
          </a:ln>
        </p:spPr>
        <p:txBody>
          <a:bodyPr lIns="0" tIns="0" rIns="0" bIns="0" anchor="ctr"/>
          <a:lstStyle/>
          <a:p>
            <a:pPr marL="0" marR="0" lvl="0" indent="0" algn="ctr" defTabSz="932742" rtl="0" eaLnBrk="1" fontAlgn="auto" latinLnBrk="0" hangingPunct="1">
              <a:lnSpc>
                <a:spcPct val="100000"/>
              </a:lnSpc>
              <a:spcBef>
                <a:spcPts val="0"/>
              </a:spcBef>
              <a:spcAft>
                <a:spcPts val="0"/>
              </a:spcAft>
              <a:buClrTx/>
              <a:buSzTx/>
              <a:buFontTx/>
              <a:buNone/>
              <a:tabLst/>
              <a:defRPr sz="1600" b="1">
                <a:solidFill>
                  <a:srgbClr val="FFFFFF"/>
                </a:solidFill>
              </a:defRPr>
            </a:pPr>
            <a:endParaRPr kumimoji="0" sz="1632" b="1" i="0" u="none" strike="noStrike" kern="1200" cap="none" spc="0" normalizeH="0" baseline="0" noProof="0">
              <a:ln>
                <a:noFill/>
              </a:ln>
              <a:solidFill>
                <a:srgbClr val="FFFFFF"/>
              </a:solidFill>
              <a:effectLst/>
              <a:uLnTx/>
              <a:uFillTx/>
              <a:latin typeface="Segoe UI"/>
              <a:ea typeface="+mn-ea"/>
              <a:cs typeface="+mn-cs"/>
            </a:endParaRPr>
          </a:p>
        </p:txBody>
      </p:sp>
      <p:sp>
        <p:nvSpPr>
          <p:cNvPr id="8" name="Shape 508"/>
          <p:cNvSpPr/>
          <p:nvPr/>
        </p:nvSpPr>
        <p:spPr>
          <a:xfrm>
            <a:off x="783058" y="3021447"/>
            <a:ext cx="3502857" cy="1245395"/>
          </a:xfrm>
          <a:prstGeom prst="rect">
            <a:avLst/>
          </a:prstGeom>
          <a:solidFill>
            <a:srgbClr val="FFFFFF"/>
          </a:solidFill>
          <a:ln w="3175">
            <a:solidFill>
              <a:srgbClr val="A5ACB0"/>
            </a:solidFill>
            <a:prstDash val="dash"/>
          </a:ln>
        </p:spPr>
        <p:txBody>
          <a:bodyPr lIns="0" tIns="0" rIns="0" bIns="0" anchor="ctr"/>
          <a:lstStyle/>
          <a:p>
            <a:pPr marL="0" marR="0" lvl="0" indent="0" algn="ctr" defTabSz="932742" rtl="0" eaLnBrk="1" fontAlgn="auto" latinLnBrk="0" hangingPunct="1">
              <a:lnSpc>
                <a:spcPct val="100000"/>
              </a:lnSpc>
              <a:spcBef>
                <a:spcPts val="0"/>
              </a:spcBef>
              <a:spcAft>
                <a:spcPts val="0"/>
              </a:spcAft>
              <a:buClrTx/>
              <a:buSzTx/>
              <a:buFontTx/>
              <a:buNone/>
              <a:tabLst/>
              <a:defRPr sz="1600" b="1">
                <a:solidFill>
                  <a:srgbClr val="FFFFFF"/>
                </a:solidFill>
              </a:defRPr>
            </a:pPr>
            <a:endParaRPr kumimoji="0" sz="1632" b="1" i="0" u="none" strike="noStrike" kern="1200" cap="none" spc="0" normalizeH="0" baseline="0" noProof="0">
              <a:ln>
                <a:noFill/>
              </a:ln>
              <a:solidFill>
                <a:srgbClr val="FFFFFF"/>
              </a:solidFill>
              <a:effectLst/>
              <a:uLnTx/>
              <a:uFillTx/>
              <a:latin typeface="Segoe UI"/>
              <a:ea typeface="+mn-ea"/>
              <a:cs typeface="+mn-cs"/>
            </a:endParaRPr>
          </a:p>
        </p:txBody>
      </p:sp>
      <p:sp>
        <p:nvSpPr>
          <p:cNvPr id="9" name="Shape 509"/>
          <p:cNvSpPr/>
          <p:nvPr/>
        </p:nvSpPr>
        <p:spPr>
          <a:xfrm>
            <a:off x="4464221" y="3021447"/>
            <a:ext cx="3502857" cy="1245395"/>
          </a:xfrm>
          <a:prstGeom prst="rect">
            <a:avLst/>
          </a:prstGeom>
          <a:solidFill>
            <a:srgbClr val="FFFFFF"/>
          </a:solidFill>
          <a:ln w="3175">
            <a:solidFill>
              <a:srgbClr val="A5ACB0"/>
            </a:solidFill>
            <a:prstDash val="dash"/>
          </a:ln>
        </p:spPr>
        <p:txBody>
          <a:bodyPr lIns="0" tIns="0" rIns="0" bIns="0" anchor="ctr"/>
          <a:lstStyle/>
          <a:p>
            <a:pPr marL="0" marR="0" lvl="0" indent="0" algn="ctr" defTabSz="932742" rtl="0" eaLnBrk="1" fontAlgn="auto" latinLnBrk="0" hangingPunct="1">
              <a:lnSpc>
                <a:spcPct val="100000"/>
              </a:lnSpc>
              <a:spcBef>
                <a:spcPts val="0"/>
              </a:spcBef>
              <a:spcAft>
                <a:spcPts val="0"/>
              </a:spcAft>
              <a:buClrTx/>
              <a:buSzTx/>
              <a:buFontTx/>
              <a:buNone/>
              <a:tabLst/>
              <a:defRPr sz="1600" b="1">
                <a:solidFill>
                  <a:srgbClr val="FFFFFF"/>
                </a:solidFill>
              </a:defRPr>
            </a:pPr>
            <a:endParaRPr kumimoji="0" sz="1632" b="1" i="0" u="none" strike="noStrike" kern="1200" cap="none" spc="0" normalizeH="0" baseline="0" noProof="0">
              <a:ln>
                <a:noFill/>
              </a:ln>
              <a:solidFill>
                <a:srgbClr val="FFFFFF"/>
              </a:solidFill>
              <a:effectLst/>
              <a:uLnTx/>
              <a:uFillTx/>
              <a:latin typeface="Segoe UI"/>
              <a:ea typeface="+mn-ea"/>
              <a:cs typeface="+mn-cs"/>
            </a:endParaRPr>
          </a:p>
        </p:txBody>
      </p:sp>
      <p:sp>
        <p:nvSpPr>
          <p:cNvPr id="10" name="Shape 510"/>
          <p:cNvSpPr/>
          <p:nvPr/>
        </p:nvSpPr>
        <p:spPr>
          <a:xfrm>
            <a:off x="8167319" y="3021447"/>
            <a:ext cx="3502858" cy="1245395"/>
          </a:xfrm>
          <a:prstGeom prst="rect">
            <a:avLst/>
          </a:prstGeom>
          <a:solidFill>
            <a:srgbClr val="FFFFFF"/>
          </a:solidFill>
          <a:ln w="3175">
            <a:solidFill>
              <a:srgbClr val="A5ACB0"/>
            </a:solidFill>
            <a:prstDash val="dash"/>
          </a:ln>
        </p:spPr>
        <p:txBody>
          <a:bodyPr lIns="0" tIns="0" rIns="0" bIns="0" anchor="ctr"/>
          <a:lstStyle/>
          <a:p>
            <a:pPr marL="0" marR="0" lvl="0" indent="0" algn="ctr" defTabSz="932742" rtl="0" eaLnBrk="1" fontAlgn="auto" latinLnBrk="0" hangingPunct="1">
              <a:lnSpc>
                <a:spcPct val="100000"/>
              </a:lnSpc>
              <a:spcBef>
                <a:spcPts val="0"/>
              </a:spcBef>
              <a:spcAft>
                <a:spcPts val="0"/>
              </a:spcAft>
              <a:buClrTx/>
              <a:buSzTx/>
              <a:buFontTx/>
              <a:buNone/>
              <a:tabLst/>
              <a:defRPr sz="1600" b="1">
                <a:solidFill>
                  <a:srgbClr val="FFFFFF"/>
                </a:solidFill>
              </a:defRPr>
            </a:pPr>
            <a:endParaRPr kumimoji="0" sz="1632" b="1" i="0" u="none" strike="noStrike" kern="1200" cap="none" spc="0" normalizeH="0" baseline="0" noProof="0">
              <a:ln>
                <a:noFill/>
              </a:ln>
              <a:solidFill>
                <a:srgbClr val="FFFFFF"/>
              </a:solidFill>
              <a:effectLst/>
              <a:uLnTx/>
              <a:uFillTx/>
              <a:latin typeface="Segoe UI"/>
              <a:ea typeface="+mn-ea"/>
              <a:cs typeface="+mn-cs"/>
            </a:endParaRPr>
          </a:p>
        </p:txBody>
      </p:sp>
      <p:sp>
        <p:nvSpPr>
          <p:cNvPr id="11" name="Shape 511"/>
          <p:cNvSpPr/>
          <p:nvPr/>
        </p:nvSpPr>
        <p:spPr>
          <a:xfrm>
            <a:off x="783058" y="4455113"/>
            <a:ext cx="3502857" cy="1245395"/>
          </a:xfrm>
          <a:prstGeom prst="rect">
            <a:avLst/>
          </a:prstGeom>
          <a:solidFill>
            <a:srgbClr val="FFFFFF"/>
          </a:solidFill>
          <a:ln w="3175">
            <a:solidFill>
              <a:srgbClr val="A5ACB0"/>
            </a:solidFill>
            <a:prstDash val="dash"/>
          </a:ln>
        </p:spPr>
        <p:txBody>
          <a:bodyPr lIns="0" tIns="0" rIns="0" bIns="0" anchor="ctr"/>
          <a:lstStyle/>
          <a:p>
            <a:pPr marL="0" marR="0" lvl="0" indent="0" algn="ctr" defTabSz="932742" rtl="0" eaLnBrk="1" fontAlgn="auto" latinLnBrk="0" hangingPunct="1">
              <a:lnSpc>
                <a:spcPct val="100000"/>
              </a:lnSpc>
              <a:spcBef>
                <a:spcPts val="0"/>
              </a:spcBef>
              <a:spcAft>
                <a:spcPts val="0"/>
              </a:spcAft>
              <a:buClrTx/>
              <a:buSzTx/>
              <a:buFontTx/>
              <a:buNone/>
              <a:tabLst/>
              <a:defRPr sz="1600" b="1">
                <a:solidFill>
                  <a:srgbClr val="FFFFFF"/>
                </a:solidFill>
              </a:defRPr>
            </a:pPr>
            <a:endParaRPr kumimoji="0" sz="1632" b="1" i="0" u="none" strike="noStrike" kern="1200" cap="none" spc="0" normalizeH="0" baseline="0" noProof="0">
              <a:ln>
                <a:noFill/>
              </a:ln>
              <a:solidFill>
                <a:srgbClr val="FFFFFF"/>
              </a:solidFill>
              <a:effectLst/>
              <a:uLnTx/>
              <a:uFillTx/>
              <a:latin typeface="Segoe UI"/>
              <a:ea typeface="+mn-ea"/>
              <a:cs typeface="+mn-cs"/>
            </a:endParaRPr>
          </a:p>
        </p:txBody>
      </p:sp>
      <p:sp>
        <p:nvSpPr>
          <p:cNvPr id="12" name="Shape 512"/>
          <p:cNvSpPr/>
          <p:nvPr/>
        </p:nvSpPr>
        <p:spPr>
          <a:xfrm>
            <a:off x="4464221" y="4455113"/>
            <a:ext cx="3502857" cy="1245395"/>
          </a:xfrm>
          <a:prstGeom prst="rect">
            <a:avLst/>
          </a:prstGeom>
          <a:solidFill>
            <a:srgbClr val="FFFFFF"/>
          </a:solidFill>
          <a:ln w="3175">
            <a:solidFill>
              <a:srgbClr val="A5ACB0"/>
            </a:solidFill>
            <a:prstDash val="dash"/>
          </a:ln>
        </p:spPr>
        <p:txBody>
          <a:bodyPr lIns="0" tIns="0" rIns="0" bIns="0" anchor="ctr"/>
          <a:lstStyle/>
          <a:p>
            <a:pPr marL="0" marR="0" lvl="0" indent="0" algn="ctr" defTabSz="932742" rtl="0" eaLnBrk="1" fontAlgn="auto" latinLnBrk="0" hangingPunct="1">
              <a:lnSpc>
                <a:spcPct val="100000"/>
              </a:lnSpc>
              <a:spcBef>
                <a:spcPts val="0"/>
              </a:spcBef>
              <a:spcAft>
                <a:spcPts val="0"/>
              </a:spcAft>
              <a:buClrTx/>
              <a:buSzTx/>
              <a:buFontTx/>
              <a:buNone/>
              <a:tabLst/>
              <a:defRPr sz="1600" b="1">
                <a:solidFill>
                  <a:srgbClr val="FFFFFF"/>
                </a:solidFill>
              </a:defRPr>
            </a:pPr>
            <a:endParaRPr kumimoji="0" sz="1632" b="1" i="0" u="none" strike="noStrike" kern="1200" cap="none" spc="0" normalizeH="0" baseline="0" noProof="0">
              <a:ln>
                <a:noFill/>
              </a:ln>
              <a:solidFill>
                <a:srgbClr val="FFFFFF"/>
              </a:solidFill>
              <a:effectLst/>
              <a:uLnTx/>
              <a:uFillTx/>
              <a:latin typeface="Segoe UI"/>
              <a:ea typeface="+mn-ea"/>
              <a:cs typeface="+mn-cs"/>
            </a:endParaRPr>
          </a:p>
        </p:txBody>
      </p:sp>
      <p:sp>
        <p:nvSpPr>
          <p:cNvPr id="13" name="Shape 513"/>
          <p:cNvSpPr/>
          <p:nvPr/>
        </p:nvSpPr>
        <p:spPr>
          <a:xfrm>
            <a:off x="8167319" y="4455113"/>
            <a:ext cx="3502858" cy="1245395"/>
          </a:xfrm>
          <a:prstGeom prst="rect">
            <a:avLst/>
          </a:prstGeom>
          <a:solidFill>
            <a:srgbClr val="FFFFFF"/>
          </a:solidFill>
          <a:ln w="3175">
            <a:solidFill>
              <a:srgbClr val="A5ACB0"/>
            </a:solidFill>
            <a:prstDash val="dash"/>
          </a:ln>
        </p:spPr>
        <p:txBody>
          <a:bodyPr lIns="0" tIns="0" rIns="0" bIns="0" anchor="ctr"/>
          <a:lstStyle/>
          <a:p>
            <a:pPr marL="0" marR="0" lvl="0" indent="0" algn="ctr" defTabSz="932742" rtl="0" eaLnBrk="1" fontAlgn="auto" latinLnBrk="0" hangingPunct="1">
              <a:lnSpc>
                <a:spcPct val="100000"/>
              </a:lnSpc>
              <a:spcBef>
                <a:spcPts val="0"/>
              </a:spcBef>
              <a:spcAft>
                <a:spcPts val="0"/>
              </a:spcAft>
              <a:buClrTx/>
              <a:buSzTx/>
              <a:buFontTx/>
              <a:buNone/>
              <a:tabLst/>
              <a:defRPr sz="1600" b="1">
                <a:solidFill>
                  <a:srgbClr val="FFFFFF"/>
                </a:solidFill>
              </a:defRPr>
            </a:pPr>
            <a:endParaRPr kumimoji="0" sz="1632" b="1" i="0" u="none" strike="noStrike" kern="1200" cap="none" spc="0" normalizeH="0" baseline="0" noProof="0">
              <a:ln>
                <a:noFill/>
              </a:ln>
              <a:solidFill>
                <a:srgbClr val="FFFFFF"/>
              </a:solidFill>
              <a:effectLst/>
              <a:uLnTx/>
              <a:uFillTx/>
              <a:latin typeface="Segoe UI"/>
              <a:ea typeface="+mn-ea"/>
              <a:cs typeface="+mn-cs"/>
            </a:endParaRPr>
          </a:p>
        </p:txBody>
      </p:sp>
      <p:sp>
        <p:nvSpPr>
          <p:cNvPr id="14" name="Shape 514"/>
          <p:cNvSpPr/>
          <p:nvPr/>
        </p:nvSpPr>
        <p:spPr>
          <a:xfrm>
            <a:off x="1573989" y="1734666"/>
            <a:ext cx="2127894" cy="79855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629" tIns="46629" rIns="46629" bIns="46629" numCol="1" anchor="t">
            <a:spAutoFit/>
          </a:bodyPr>
          <a:lstStyle>
            <a:lvl1pPr>
              <a:defRPr sz="4400" b="1" spc="-300">
                <a:solidFill>
                  <a:srgbClr val="991F3D"/>
                </a:solidFill>
              </a:defRPr>
            </a:lvl1pPr>
          </a:lstStyle>
          <a:p>
            <a:pPr marL="0" marR="0" lvl="0" indent="0" algn="ctr" defTabSz="932742" rtl="0" eaLnBrk="1" fontAlgn="auto" latinLnBrk="0" hangingPunct="1">
              <a:lnSpc>
                <a:spcPct val="100000"/>
              </a:lnSpc>
              <a:spcBef>
                <a:spcPts val="0"/>
              </a:spcBef>
              <a:spcAft>
                <a:spcPts val="0"/>
              </a:spcAft>
              <a:buClrTx/>
              <a:buSzTx/>
              <a:buFontTx/>
              <a:buNone/>
              <a:tabLst/>
              <a:defRPr sz="1800" b="0" spc="0">
                <a:solidFill>
                  <a:srgbClr val="000000"/>
                </a:solidFill>
              </a:defRPr>
            </a:pPr>
            <a:r>
              <a:rPr kumimoji="0" sz="4488" b="0" i="0" u="none" strike="noStrike" kern="1200" cap="none" spc="-306" normalizeH="0" baseline="0" noProof="0" dirty="0">
                <a:ln>
                  <a:noFill/>
                </a:ln>
                <a:solidFill>
                  <a:srgbClr val="000000"/>
                </a:solidFill>
                <a:effectLst/>
                <a:uLnTx/>
                <a:uFillTx/>
                <a:latin typeface="Segoe UI"/>
                <a:ea typeface="+mn-ea"/>
                <a:cs typeface="+mn-cs"/>
              </a:rPr>
              <a:t>6</a:t>
            </a:r>
            <a:r>
              <a:rPr kumimoji="0" lang="en-GB" sz="4488" b="0" i="0" u="none" strike="noStrike" kern="1200" cap="none" spc="-306" normalizeH="0" baseline="0" noProof="0" dirty="0">
                <a:ln>
                  <a:noFill/>
                </a:ln>
                <a:solidFill>
                  <a:srgbClr val="000000"/>
                </a:solidFill>
                <a:effectLst/>
                <a:uLnTx/>
                <a:uFillTx/>
                <a:latin typeface="Segoe UI"/>
                <a:ea typeface="+mn-ea"/>
                <a:cs typeface="+mn-cs"/>
              </a:rPr>
              <a:t>5</a:t>
            </a:r>
            <a:r>
              <a:rPr kumimoji="0" sz="4488" b="0" i="0" u="none" strike="noStrike" kern="1200" cap="none" spc="-306" normalizeH="0" baseline="0" noProof="0" dirty="0">
                <a:ln>
                  <a:noFill/>
                </a:ln>
                <a:solidFill>
                  <a:srgbClr val="000000"/>
                </a:solidFill>
                <a:effectLst/>
                <a:uLnTx/>
                <a:uFillTx/>
                <a:latin typeface="Segoe UI"/>
                <a:ea typeface="+mn-ea"/>
                <a:cs typeface="+mn-cs"/>
              </a:rPr>
              <a:t>,000</a:t>
            </a:r>
          </a:p>
        </p:txBody>
      </p:sp>
      <p:sp>
        <p:nvSpPr>
          <p:cNvPr id="15" name="Shape 515"/>
          <p:cNvSpPr/>
          <p:nvPr/>
        </p:nvSpPr>
        <p:spPr>
          <a:xfrm>
            <a:off x="1826253" y="2437667"/>
            <a:ext cx="1541842" cy="3182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629" tIns="46629" rIns="46629" bIns="46629" numCol="1" anchor="t">
            <a:spAutoFit/>
          </a:bodyPr>
          <a:lstStyle>
            <a:lvl1pPr>
              <a:defRPr sz="1400">
                <a:solidFill>
                  <a:srgbClr val="292827"/>
                </a:solidFill>
              </a:defRPr>
            </a:lvl1pPr>
          </a:lstStyle>
          <a:p>
            <a:pPr marL="0" marR="0" lvl="0" indent="0" algn="ctr" defTabSz="932742" rtl="0" eaLnBrk="1" fontAlgn="auto" latinLnBrk="0" hangingPunct="1">
              <a:lnSpc>
                <a:spcPct val="100000"/>
              </a:lnSpc>
              <a:spcBef>
                <a:spcPts val="0"/>
              </a:spcBef>
              <a:spcAft>
                <a:spcPts val="0"/>
              </a:spcAft>
              <a:buClrTx/>
              <a:buSzTx/>
              <a:buFontTx/>
              <a:buNone/>
              <a:tabLst/>
              <a:defRPr sz="1800">
                <a:solidFill>
                  <a:srgbClr val="000000"/>
                </a:solidFill>
              </a:defRPr>
            </a:pPr>
            <a:r>
              <a:rPr kumimoji="0" sz="1428" b="0" i="0" u="none" strike="noStrike" kern="1200" cap="none" spc="0" normalizeH="0" baseline="0" noProof="0" dirty="0">
                <a:ln>
                  <a:noFill/>
                </a:ln>
                <a:solidFill>
                  <a:srgbClr val="000000"/>
                </a:solidFill>
                <a:effectLst/>
                <a:uLnTx/>
                <a:uFillTx/>
                <a:latin typeface="Segoe UI"/>
                <a:ea typeface="+mn-ea"/>
                <a:cs typeface="+mn-cs"/>
              </a:rPr>
              <a:t>professionals</a:t>
            </a:r>
          </a:p>
        </p:txBody>
      </p:sp>
      <p:sp>
        <p:nvSpPr>
          <p:cNvPr id="16" name="Shape 517"/>
          <p:cNvSpPr/>
          <p:nvPr/>
        </p:nvSpPr>
        <p:spPr>
          <a:xfrm>
            <a:off x="5481827" y="1692436"/>
            <a:ext cx="1483615" cy="79855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629" tIns="46629" rIns="46629" bIns="46629" numCol="1" anchor="t">
            <a:spAutoFit/>
          </a:bodyPr>
          <a:lstStyle>
            <a:lvl1pPr algn="ctr">
              <a:defRPr sz="4400" b="1" spc="-300">
                <a:solidFill>
                  <a:srgbClr val="991F3D"/>
                </a:solidFill>
              </a:defRPr>
            </a:lvl1pPr>
          </a:lstStyle>
          <a:p>
            <a:pPr marL="0" marR="0" lvl="0" indent="0" algn="ctr" defTabSz="932742" rtl="0" eaLnBrk="1" fontAlgn="auto" latinLnBrk="0" hangingPunct="1">
              <a:lnSpc>
                <a:spcPct val="100000"/>
              </a:lnSpc>
              <a:spcBef>
                <a:spcPts val="0"/>
              </a:spcBef>
              <a:spcAft>
                <a:spcPts val="0"/>
              </a:spcAft>
              <a:buClrTx/>
              <a:buSzTx/>
              <a:buFontTx/>
              <a:buNone/>
              <a:tabLst/>
              <a:defRPr sz="1800" b="0" spc="0">
                <a:solidFill>
                  <a:srgbClr val="000000"/>
                </a:solidFill>
              </a:defRPr>
            </a:pPr>
            <a:r>
              <a:rPr kumimoji="0" sz="4488" b="0" i="0" u="none" strike="noStrike" kern="1200" cap="none" spc="-306" normalizeH="0" baseline="0" noProof="0" dirty="0">
                <a:ln>
                  <a:noFill/>
                </a:ln>
                <a:solidFill>
                  <a:srgbClr val="000000"/>
                </a:solidFill>
                <a:effectLst/>
                <a:uLnTx/>
                <a:uFillTx/>
                <a:latin typeface="Segoe UI"/>
                <a:ea typeface="+mn-ea"/>
                <a:cs typeface="+mn-cs"/>
              </a:rPr>
              <a:t>75%</a:t>
            </a:r>
          </a:p>
        </p:txBody>
      </p:sp>
      <p:sp>
        <p:nvSpPr>
          <p:cNvPr id="17" name="Shape 518"/>
          <p:cNvSpPr/>
          <p:nvPr/>
        </p:nvSpPr>
        <p:spPr>
          <a:xfrm>
            <a:off x="5435346" y="2409097"/>
            <a:ext cx="1507721" cy="3182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629" tIns="46629" rIns="46629" bIns="46629" numCol="1" anchor="t">
            <a:spAutoFit/>
          </a:bodyPr>
          <a:lstStyle>
            <a:lvl1pPr algn="ctr">
              <a:defRPr sz="1400">
                <a:solidFill>
                  <a:srgbClr val="292827"/>
                </a:solidFill>
              </a:defRPr>
            </a:lvl1pPr>
          </a:lstStyle>
          <a:p>
            <a:pPr marL="0" marR="0" lvl="0" indent="0" algn="ctr" defTabSz="932742" rtl="0" eaLnBrk="1" fontAlgn="auto" latinLnBrk="0" hangingPunct="1">
              <a:lnSpc>
                <a:spcPct val="100000"/>
              </a:lnSpc>
              <a:spcBef>
                <a:spcPts val="0"/>
              </a:spcBef>
              <a:spcAft>
                <a:spcPts val="0"/>
              </a:spcAft>
              <a:buClrTx/>
              <a:buSzTx/>
              <a:buFontTx/>
              <a:buNone/>
              <a:tabLst/>
              <a:defRPr sz="1800">
                <a:solidFill>
                  <a:srgbClr val="000000"/>
                </a:solidFill>
              </a:defRPr>
            </a:pPr>
            <a:r>
              <a:rPr kumimoji="0" sz="1428" b="0" i="0" u="none" strike="noStrike" kern="1200" cap="none" spc="0" normalizeH="0" baseline="0" noProof="0" dirty="0">
                <a:ln>
                  <a:noFill/>
                </a:ln>
                <a:solidFill>
                  <a:srgbClr val="505050">
                    <a:lumMod val="75000"/>
                  </a:srgbClr>
                </a:solidFill>
                <a:effectLst/>
                <a:uLnTx/>
                <a:uFillTx/>
                <a:latin typeface="Segoe UI"/>
                <a:ea typeface="+mn-ea"/>
                <a:cs typeface="+mn-cs"/>
              </a:rPr>
              <a:t>shareholders</a:t>
            </a:r>
          </a:p>
        </p:txBody>
      </p:sp>
      <p:sp>
        <p:nvSpPr>
          <p:cNvPr id="18" name="Shape 520"/>
          <p:cNvSpPr/>
          <p:nvPr/>
        </p:nvSpPr>
        <p:spPr>
          <a:xfrm>
            <a:off x="9193181" y="1734666"/>
            <a:ext cx="1483615" cy="79855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629" tIns="46629" rIns="46629" bIns="46629" numCol="1" anchor="t">
            <a:spAutoFit/>
          </a:bodyPr>
          <a:lstStyle>
            <a:lvl1pPr algn="ctr">
              <a:defRPr sz="4400" b="1" spc="-300">
                <a:solidFill>
                  <a:srgbClr val="991F3D"/>
                </a:solidFill>
              </a:defRPr>
            </a:lvl1pPr>
          </a:lstStyle>
          <a:p>
            <a:pPr marL="0" marR="0" lvl="0" indent="0" algn="ctr" defTabSz="932742" rtl="0" eaLnBrk="1" fontAlgn="auto" latinLnBrk="0" hangingPunct="1">
              <a:lnSpc>
                <a:spcPct val="100000"/>
              </a:lnSpc>
              <a:spcBef>
                <a:spcPts val="0"/>
              </a:spcBef>
              <a:spcAft>
                <a:spcPts val="0"/>
              </a:spcAft>
              <a:buClrTx/>
              <a:buSzTx/>
              <a:buFontTx/>
              <a:buNone/>
              <a:tabLst/>
              <a:defRPr sz="1800" b="0" spc="0">
                <a:solidFill>
                  <a:srgbClr val="000000"/>
                </a:solidFill>
              </a:defRPr>
            </a:pPr>
            <a:r>
              <a:rPr kumimoji="0" sz="4488" b="0" i="0" u="none" strike="noStrike" kern="1200" cap="none" spc="-306" normalizeH="0" baseline="0" noProof="0" dirty="0">
                <a:ln>
                  <a:noFill/>
                </a:ln>
                <a:solidFill>
                  <a:srgbClr val="000000"/>
                </a:solidFill>
                <a:effectLst/>
                <a:uLnTx/>
                <a:uFillTx/>
                <a:latin typeface="Segoe UI"/>
                <a:ea typeface="+mn-ea"/>
                <a:cs typeface="+mn-cs"/>
              </a:rPr>
              <a:t>95%</a:t>
            </a:r>
          </a:p>
        </p:txBody>
      </p:sp>
      <p:sp>
        <p:nvSpPr>
          <p:cNvPr id="19" name="Shape 521"/>
          <p:cNvSpPr/>
          <p:nvPr/>
        </p:nvSpPr>
        <p:spPr>
          <a:xfrm>
            <a:off x="8183560" y="2412353"/>
            <a:ext cx="3502859" cy="3182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629" tIns="46629" rIns="46629" bIns="46629" numCol="1" anchor="t">
            <a:spAutoFit/>
          </a:bodyPr>
          <a:lstStyle>
            <a:lvl1pPr algn="ctr">
              <a:defRPr sz="1400">
                <a:solidFill>
                  <a:srgbClr val="292827"/>
                </a:solidFill>
              </a:defRPr>
            </a:lvl1pPr>
          </a:lstStyle>
          <a:p>
            <a:pPr marL="0" marR="0" lvl="0" indent="0" algn="ctr" defTabSz="932742" rtl="0" eaLnBrk="1" fontAlgn="auto" latinLnBrk="0" hangingPunct="1">
              <a:lnSpc>
                <a:spcPct val="100000"/>
              </a:lnSpc>
              <a:spcBef>
                <a:spcPts val="0"/>
              </a:spcBef>
              <a:spcAft>
                <a:spcPts val="0"/>
              </a:spcAft>
              <a:buClrTx/>
              <a:buSzTx/>
              <a:buFontTx/>
              <a:buNone/>
              <a:tabLst/>
              <a:defRPr sz="1800">
                <a:solidFill>
                  <a:srgbClr val="000000"/>
                </a:solidFill>
              </a:defRPr>
            </a:pPr>
            <a:r>
              <a:rPr kumimoji="0" sz="1428" b="0" i="0" u="none" strike="noStrike" kern="1200" cap="none" spc="0" normalizeH="0" baseline="0" noProof="0" dirty="0">
                <a:ln>
                  <a:noFill/>
                </a:ln>
                <a:solidFill>
                  <a:srgbClr val="505050">
                    <a:lumMod val="75000"/>
                  </a:srgbClr>
                </a:solidFill>
                <a:effectLst/>
                <a:uLnTx/>
                <a:uFillTx/>
                <a:latin typeface="Segoe UI"/>
                <a:ea typeface="+mn-ea"/>
                <a:cs typeface="+mn-cs"/>
              </a:rPr>
              <a:t>on-time, within budget delivery</a:t>
            </a:r>
          </a:p>
        </p:txBody>
      </p:sp>
      <p:sp>
        <p:nvSpPr>
          <p:cNvPr id="20" name="Shape 523"/>
          <p:cNvSpPr/>
          <p:nvPr/>
        </p:nvSpPr>
        <p:spPr>
          <a:xfrm>
            <a:off x="1800873" y="3131937"/>
            <a:ext cx="1377299" cy="79855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629" tIns="46629" rIns="46629" bIns="46629" numCol="1" anchor="t">
            <a:spAutoFit/>
          </a:bodyPr>
          <a:lstStyle>
            <a:lvl1pPr algn="ctr">
              <a:defRPr sz="4400" b="1" spc="-300">
                <a:solidFill>
                  <a:srgbClr val="991F3D"/>
                </a:solidFill>
              </a:defRPr>
            </a:lvl1pPr>
          </a:lstStyle>
          <a:p>
            <a:pPr marL="0" marR="0" lvl="0" indent="0" algn="ctr" defTabSz="932742" rtl="0" eaLnBrk="1" fontAlgn="auto" latinLnBrk="0" hangingPunct="1">
              <a:lnSpc>
                <a:spcPct val="100000"/>
              </a:lnSpc>
              <a:spcBef>
                <a:spcPts val="0"/>
              </a:spcBef>
              <a:spcAft>
                <a:spcPts val="0"/>
              </a:spcAft>
              <a:buClrTx/>
              <a:buSzTx/>
              <a:buFontTx/>
              <a:buNone/>
              <a:tabLst/>
              <a:defRPr sz="1800" b="0" spc="0">
                <a:solidFill>
                  <a:srgbClr val="000000"/>
                </a:solidFill>
              </a:defRPr>
            </a:pPr>
            <a:r>
              <a:rPr kumimoji="0" sz="4488" b="0" i="0" u="none" strike="noStrike" kern="1200" cap="none" spc="-306" normalizeH="0" baseline="0" noProof="0" dirty="0">
                <a:ln>
                  <a:noFill/>
                </a:ln>
                <a:solidFill>
                  <a:srgbClr val="000000"/>
                </a:solidFill>
                <a:effectLst/>
                <a:uLnTx/>
                <a:uFillTx/>
                <a:latin typeface="Segoe UI"/>
                <a:ea typeface="+mn-ea"/>
                <a:cs typeface="+mn-cs"/>
              </a:rPr>
              <a:t>400</a:t>
            </a:r>
          </a:p>
        </p:txBody>
      </p:sp>
      <p:sp>
        <p:nvSpPr>
          <p:cNvPr id="21" name="Shape 524"/>
          <p:cNvSpPr/>
          <p:nvPr/>
        </p:nvSpPr>
        <p:spPr>
          <a:xfrm>
            <a:off x="1681510" y="3816626"/>
            <a:ext cx="1616025" cy="3182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629" tIns="46629" rIns="46629" bIns="46629" numCol="1" anchor="t">
            <a:spAutoFit/>
          </a:bodyPr>
          <a:lstStyle>
            <a:lvl1pPr>
              <a:defRPr sz="1400">
                <a:solidFill>
                  <a:srgbClr val="292827"/>
                </a:solidFill>
              </a:defRPr>
            </a:lvl1pPr>
          </a:lstStyle>
          <a:p>
            <a:pPr marL="0" marR="0" lvl="0" indent="0" algn="ctr" defTabSz="932742" rtl="0" eaLnBrk="1" fontAlgn="auto" latinLnBrk="0" hangingPunct="1">
              <a:lnSpc>
                <a:spcPct val="100000"/>
              </a:lnSpc>
              <a:spcBef>
                <a:spcPts val="0"/>
              </a:spcBef>
              <a:spcAft>
                <a:spcPts val="0"/>
              </a:spcAft>
              <a:buClrTx/>
              <a:buSzTx/>
              <a:buFontTx/>
              <a:buNone/>
              <a:tabLst/>
              <a:defRPr sz="1800">
                <a:solidFill>
                  <a:srgbClr val="000000"/>
                </a:solidFill>
              </a:defRPr>
            </a:pPr>
            <a:r>
              <a:rPr kumimoji="0" lang="en-US" sz="1428" b="0" i="0" u="none" strike="noStrike" kern="1200" cap="none" spc="0" normalizeH="0" baseline="0" noProof="0" dirty="0">
                <a:ln>
                  <a:noFill/>
                </a:ln>
                <a:solidFill>
                  <a:srgbClr val="000000"/>
                </a:solidFill>
                <a:effectLst/>
                <a:uLnTx/>
                <a:uFillTx/>
                <a:latin typeface="Segoe UI"/>
                <a:ea typeface="+mn-ea"/>
                <a:cs typeface="+mn-cs"/>
              </a:rPr>
              <a:t>location</a:t>
            </a:r>
            <a:r>
              <a:rPr kumimoji="0" sz="1428" b="0" i="0" u="none" strike="noStrike" kern="1200" cap="none" spc="0" normalizeH="0" baseline="0" noProof="0" dirty="0">
                <a:ln>
                  <a:noFill/>
                </a:ln>
                <a:solidFill>
                  <a:srgbClr val="000000"/>
                </a:solidFill>
                <a:effectLst/>
                <a:uLnTx/>
                <a:uFillTx/>
                <a:latin typeface="Segoe UI"/>
                <a:ea typeface="+mn-ea"/>
                <a:cs typeface="+mn-cs"/>
              </a:rPr>
              <a:t>s</a:t>
            </a:r>
          </a:p>
        </p:txBody>
      </p:sp>
      <p:sp>
        <p:nvSpPr>
          <p:cNvPr id="22" name="Shape 529"/>
          <p:cNvSpPr/>
          <p:nvPr/>
        </p:nvSpPr>
        <p:spPr>
          <a:xfrm>
            <a:off x="5516094" y="3142276"/>
            <a:ext cx="1391337" cy="79855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629" tIns="46629" rIns="46629" bIns="46629" numCol="1" anchor="t">
            <a:spAutoFit/>
          </a:bodyPr>
          <a:lstStyle>
            <a:lvl1pPr algn="ctr">
              <a:defRPr sz="4400" b="1" spc="-300">
                <a:solidFill>
                  <a:srgbClr val="991F3D"/>
                </a:solidFill>
              </a:defRPr>
            </a:lvl1pPr>
          </a:lstStyle>
          <a:p>
            <a:pPr marL="0" marR="0" lvl="0" indent="0" algn="ctr" defTabSz="932742" rtl="0" eaLnBrk="1" fontAlgn="auto" latinLnBrk="0" hangingPunct="1">
              <a:lnSpc>
                <a:spcPct val="100000"/>
              </a:lnSpc>
              <a:spcBef>
                <a:spcPts val="0"/>
              </a:spcBef>
              <a:spcAft>
                <a:spcPts val="0"/>
              </a:spcAft>
              <a:buClrTx/>
              <a:buSzTx/>
              <a:buFontTx/>
              <a:buNone/>
              <a:tabLst/>
              <a:defRPr sz="1800" b="0" spc="0">
                <a:solidFill>
                  <a:srgbClr val="000000"/>
                </a:solidFill>
              </a:defRPr>
            </a:pPr>
            <a:r>
              <a:rPr kumimoji="0" sz="4488" b="0" i="0" u="none" strike="noStrike" kern="1200" cap="none" spc="-306" normalizeH="0" baseline="0" noProof="0" dirty="0">
                <a:ln>
                  <a:noFill/>
                </a:ln>
                <a:solidFill>
                  <a:srgbClr val="000000"/>
                </a:solidFill>
                <a:effectLst/>
                <a:uLnTx/>
                <a:uFillTx/>
                <a:latin typeface="Segoe UI"/>
                <a:ea typeface="+mn-ea"/>
                <a:cs typeface="+mn-cs"/>
              </a:rPr>
              <a:t>9/10</a:t>
            </a:r>
          </a:p>
        </p:txBody>
      </p:sp>
      <p:sp>
        <p:nvSpPr>
          <p:cNvPr id="23" name="Shape 530"/>
          <p:cNvSpPr/>
          <p:nvPr/>
        </p:nvSpPr>
        <p:spPr>
          <a:xfrm>
            <a:off x="4544049" y="3837933"/>
            <a:ext cx="3502859" cy="3182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629" tIns="46629" rIns="46629" bIns="46629" numCol="1" anchor="t">
            <a:spAutoFit/>
          </a:bodyPr>
          <a:lstStyle>
            <a:lvl1pPr algn="ctr">
              <a:defRPr sz="1400">
                <a:solidFill>
                  <a:srgbClr val="292827"/>
                </a:solidFill>
              </a:defRPr>
            </a:lvl1pPr>
          </a:lstStyle>
          <a:p>
            <a:pPr marL="0" marR="0" lvl="0" indent="0" algn="ctr" defTabSz="932742" rtl="0" eaLnBrk="1" fontAlgn="auto" latinLnBrk="0" hangingPunct="1">
              <a:lnSpc>
                <a:spcPct val="100000"/>
              </a:lnSpc>
              <a:spcBef>
                <a:spcPts val="0"/>
              </a:spcBef>
              <a:spcAft>
                <a:spcPts val="0"/>
              </a:spcAft>
              <a:buClrTx/>
              <a:buSzTx/>
              <a:buFontTx/>
              <a:buNone/>
              <a:tabLst/>
              <a:defRPr sz="1800">
                <a:solidFill>
                  <a:srgbClr val="000000"/>
                </a:solidFill>
              </a:defRPr>
            </a:pPr>
            <a:r>
              <a:rPr kumimoji="0" sz="1428" b="0" i="0" u="none" strike="noStrike" kern="1200" cap="none" spc="0" normalizeH="0" baseline="0" noProof="0" dirty="0">
                <a:ln>
                  <a:noFill/>
                </a:ln>
                <a:solidFill>
                  <a:srgbClr val="000000"/>
                </a:solidFill>
                <a:effectLst/>
                <a:uLnTx/>
                <a:uFillTx/>
                <a:latin typeface="Segoe UI"/>
                <a:ea typeface="+mn-ea"/>
                <a:cs typeface="+mn-cs"/>
              </a:rPr>
              <a:t>client satisfaction score</a:t>
            </a:r>
          </a:p>
        </p:txBody>
      </p:sp>
      <p:sp>
        <p:nvSpPr>
          <p:cNvPr id="24" name="Shape 532"/>
          <p:cNvSpPr/>
          <p:nvPr/>
        </p:nvSpPr>
        <p:spPr>
          <a:xfrm>
            <a:off x="9124259" y="3093426"/>
            <a:ext cx="1621457" cy="79855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629" tIns="46629" rIns="46629" bIns="46629" numCol="1" anchor="t">
            <a:spAutoFit/>
          </a:bodyPr>
          <a:lstStyle>
            <a:lvl1pPr algn="ctr">
              <a:defRPr sz="4400" b="1" spc="-300">
                <a:solidFill>
                  <a:srgbClr val="991F3D"/>
                </a:solidFill>
              </a:defRPr>
            </a:lvl1pPr>
          </a:lstStyle>
          <a:p>
            <a:pPr marL="0" marR="0" lvl="0" indent="0" algn="ctr" defTabSz="932742" rtl="0" eaLnBrk="1" fontAlgn="auto" latinLnBrk="0" hangingPunct="1">
              <a:lnSpc>
                <a:spcPct val="100000"/>
              </a:lnSpc>
              <a:spcBef>
                <a:spcPts val="0"/>
              </a:spcBef>
              <a:spcAft>
                <a:spcPts val="0"/>
              </a:spcAft>
              <a:buClrTx/>
              <a:buSzTx/>
              <a:buFontTx/>
              <a:buNone/>
              <a:tabLst/>
              <a:defRPr sz="1800" b="0" spc="0">
                <a:solidFill>
                  <a:srgbClr val="000000"/>
                </a:solidFill>
              </a:defRPr>
            </a:pPr>
            <a:r>
              <a:rPr kumimoji="0" sz="4488" b="0" i="0" u="none" strike="noStrike" kern="1200" cap="none" spc="-306" normalizeH="0" baseline="0" noProof="0" dirty="0">
                <a:ln>
                  <a:noFill/>
                </a:ln>
                <a:solidFill>
                  <a:srgbClr val="000000"/>
                </a:solidFill>
                <a:effectLst/>
                <a:uLnTx/>
                <a:uFillTx/>
                <a:latin typeface="Segoe UI"/>
                <a:ea typeface="+mn-ea"/>
                <a:cs typeface="+mn-cs"/>
              </a:rPr>
              <a:t>1</a:t>
            </a:r>
            <a:r>
              <a:rPr kumimoji="0" lang="en-GB" sz="4488" b="0" i="0" u="none" strike="noStrike" kern="1200" cap="none" spc="-306" normalizeH="0" baseline="0" noProof="0" dirty="0">
                <a:ln>
                  <a:noFill/>
                </a:ln>
                <a:solidFill>
                  <a:srgbClr val="000000"/>
                </a:solidFill>
                <a:effectLst/>
                <a:uLnTx/>
                <a:uFillTx/>
                <a:latin typeface="Segoe UI"/>
                <a:ea typeface="+mn-ea"/>
                <a:cs typeface="+mn-cs"/>
              </a:rPr>
              <a:t>50+</a:t>
            </a:r>
            <a:endParaRPr kumimoji="0" sz="4488" b="0" i="0" u="none" strike="noStrike" kern="1200" cap="none" spc="-306" normalizeH="0" baseline="0" noProof="0" dirty="0">
              <a:ln>
                <a:noFill/>
              </a:ln>
              <a:solidFill>
                <a:srgbClr val="000000"/>
              </a:solidFill>
              <a:effectLst/>
              <a:uLnTx/>
              <a:uFillTx/>
              <a:latin typeface="Segoe UI"/>
              <a:ea typeface="+mn-ea"/>
              <a:cs typeface="+mn-cs"/>
            </a:endParaRPr>
          </a:p>
        </p:txBody>
      </p:sp>
      <p:sp>
        <p:nvSpPr>
          <p:cNvPr id="25" name="Shape 533"/>
          <p:cNvSpPr/>
          <p:nvPr/>
        </p:nvSpPr>
        <p:spPr>
          <a:xfrm>
            <a:off x="8192142" y="3733208"/>
            <a:ext cx="3485691" cy="54239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629" tIns="46629" rIns="46629" bIns="46629" numCol="1" anchor="t">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solidFill>
                  <a:srgbClr val="000000"/>
                </a:solidFill>
              </a:defRPr>
            </a:pPr>
            <a:r>
              <a:rPr kumimoji="0" sz="1428" b="0" i="0" u="none" strike="noStrike" kern="1200" cap="none" spc="0" normalizeH="0" baseline="0" noProof="0" dirty="0">
                <a:ln>
                  <a:noFill/>
                </a:ln>
                <a:solidFill>
                  <a:srgbClr val="505050">
                    <a:lumMod val="75000"/>
                  </a:srgbClr>
                </a:solidFill>
                <a:effectLst/>
                <a:uLnTx/>
                <a:uFillTx/>
                <a:latin typeface="Segoe UI"/>
                <a:ea typeface="+mn-ea"/>
                <a:cs typeface="+mn-cs"/>
              </a:rPr>
              <a:t>mission-critical </a:t>
            </a:r>
            <a:endParaRPr kumimoji="0" lang="en-GB" sz="1428" b="0" i="0" u="none" strike="noStrike" kern="1200" cap="none" spc="0" normalizeH="0" baseline="0" noProof="0" dirty="0">
              <a:ln>
                <a:noFill/>
              </a:ln>
              <a:solidFill>
                <a:srgbClr val="505050">
                  <a:lumMod val="75000"/>
                </a:srgbClr>
              </a:solidFill>
              <a:effectLst/>
              <a:uLnTx/>
              <a:uFillTx/>
              <a:latin typeface="Segoe UI"/>
              <a:ea typeface="+mn-ea"/>
              <a:cs typeface="+mn-cs"/>
            </a:endParaRPr>
          </a:p>
          <a:p>
            <a:pPr marL="0" marR="0" lvl="0" indent="0" algn="ctr" defTabSz="932742" rtl="0" eaLnBrk="1" fontAlgn="auto" latinLnBrk="0" hangingPunct="1">
              <a:lnSpc>
                <a:spcPct val="100000"/>
              </a:lnSpc>
              <a:spcBef>
                <a:spcPts val="0"/>
              </a:spcBef>
              <a:spcAft>
                <a:spcPts val="0"/>
              </a:spcAft>
              <a:buClrTx/>
              <a:buSzTx/>
              <a:buFontTx/>
              <a:buNone/>
              <a:tabLst/>
              <a:defRPr>
                <a:solidFill>
                  <a:srgbClr val="000000"/>
                </a:solidFill>
              </a:defRPr>
            </a:pPr>
            <a:r>
              <a:rPr kumimoji="0" sz="1428" b="0" i="0" u="none" strike="noStrike" kern="1200" cap="none" spc="0" normalizeH="0" baseline="0" noProof="0" dirty="0">
                <a:ln>
                  <a:noFill/>
                </a:ln>
                <a:solidFill>
                  <a:srgbClr val="505050">
                    <a:lumMod val="75000"/>
                  </a:srgbClr>
                </a:solidFill>
                <a:effectLst/>
                <a:uLnTx/>
                <a:uFillTx/>
                <a:latin typeface="Segoe UI"/>
                <a:ea typeface="+mn-ea"/>
                <a:cs typeface="+mn-cs"/>
              </a:rPr>
              <a:t>IP-based solutions</a:t>
            </a:r>
          </a:p>
        </p:txBody>
      </p:sp>
      <p:sp>
        <p:nvSpPr>
          <p:cNvPr id="26" name="Shape 535"/>
          <p:cNvSpPr/>
          <p:nvPr/>
        </p:nvSpPr>
        <p:spPr>
          <a:xfrm>
            <a:off x="5028987" y="4575941"/>
            <a:ext cx="2411156" cy="79855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629" tIns="46629" rIns="46629" bIns="46629" numCol="1" anchor="t">
            <a:spAutoFit/>
          </a:bodyPr>
          <a:lstStyle>
            <a:lvl1pPr algn="ctr">
              <a:defRPr sz="4400" b="1" spc="-300">
                <a:solidFill>
                  <a:srgbClr val="991F3D"/>
                </a:solidFill>
              </a:defRPr>
            </a:lvl1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GB" sz="4488" b="1" i="0" u="none" strike="noStrike" kern="1200" cap="none" spc="-300" normalizeH="0" baseline="0" noProof="0" dirty="0">
                <a:ln>
                  <a:noFill/>
                </a:ln>
                <a:solidFill>
                  <a:srgbClr val="991F3D"/>
                </a:solidFill>
                <a:effectLst/>
                <a:uLnTx/>
                <a:uFillTx/>
                <a:latin typeface="Segoe UI"/>
                <a:ea typeface="+mn-ea"/>
                <a:cs typeface="+mn-cs"/>
              </a:rPr>
              <a:t>$10.3B </a:t>
            </a:r>
          </a:p>
        </p:txBody>
      </p:sp>
      <p:sp>
        <p:nvSpPr>
          <p:cNvPr id="27" name="Shape 536"/>
          <p:cNvSpPr/>
          <p:nvPr/>
        </p:nvSpPr>
        <p:spPr>
          <a:xfrm>
            <a:off x="5347657" y="5281647"/>
            <a:ext cx="1773818" cy="3182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629" tIns="46629" rIns="46629" bIns="46629" numCol="1" anchor="t">
            <a:spAutoFit/>
          </a:bodyPr>
          <a:lstStyle>
            <a:lvl1pPr>
              <a:defRPr sz="1400">
                <a:solidFill>
                  <a:srgbClr val="292827"/>
                </a:solidFill>
              </a:defRPr>
            </a:lvl1pPr>
          </a:lstStyle>
          <a:p>
            <a:pPr marL="0" marR="0" lvl="0" indent="0" algn="ctr" defTabSz="932742" rtl="0" eaLnBrk="1" fontAlgn="auto" latinLnBrk="0" hangingPunct="1">
              <a:lnSpc>
                <a:spcPct val="100000"/>
              </a:lnSpc>
              <a:spcBef>
                <a:spcPts val="0"/>
              </a:spcBef>
              <a:spcAft>
                <a:spcPts val="0"/>
              </a:spcAft>
              <a:buClrTx/>
              <a:buSzTx/>
              <a:buFontTx/>
              <a:buNone/>
              <a:tabLst/>
              <a:defRPr sz="1800">
                <a:solidFill>
                  <a:srgbClr val="000000"/>
                </a:solidFill>
              </a:defRPr>
            </a:pPr>
            <a:r>
              <a:rPr kumimoji="0" lang="en-US" sz="1428" b="0" i="0" u="none" strike="noStrike" kern="1200" cap="none" spc="0" normalizeH="0" baseline="0" noProof="0" dirty="0">
                <a:ln>
                  <a:noFill/>
                </a:ln>
                <a:solidFill>
                  <a:srgbClr val="505050">
                    <a:lumMod val="75000"/>
                  </a:srgbClr>
                </a:solidFill>
                <a:effectLst/>
                <a:uLnTx/>
                <a:uFillTx/>
                <a:latin typeface="Segoe UI"/>
                <a:ea typeface="+mn-ea"/>
                <a:cs typeface="+mn-cs"/>
              </a:rPr>
              <a:t>an</a:t>
            </a:r>
            <a:r>
              <a:rPr kumimoji="0" sz="1428" b="0" i="0" u="none" strike="noStrike" kern="1200" cap="none" spc="0" normalizeH="0" baseline="0" noProof="0" dirty="0">
                <a:ln>
                  <a:noFill/>
                </a:ln>
                <a:solidFill>
                  <a:srgbClr val="505050">
                    <a:lumMod val="75000"/>
                  </a:srgbClr>
                </a:solidFill>
                <a:effectLst/>
                <a:uLnTx/>
                <a:uFillTx/>
                <a:latin typeface="Segoe UI"/>
                <a:ea typeface="+mn-ea"/>
                <a:cs typeface="+mn-cs"/>
              </a:rPr>
              <a:t>nual revenue</a:t>
            </a:r>
          </a:p>
        </p:txBody>
      </p:sp>
      <p:sp>
        <p:nvSpPr>
          <p:cNvPr id="28" name="Shape 538"/>
          <p:cNvSpPr/>
          <p:nvPr/>
        </p:nvSpPr>
        <p:spPr>
          <a:xfrm>
            <a:off x="8808811" y="4566080"/>
            <a:ext cx="2252357" cy="79855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629" tIns="46629" rIns="46629" bIns="46629" numCol="1" anchor="t">
            <a:spAutoFit/>
          </a:bodyPr>
          <a:lstStyle>
            <a:lvl1pPr algn="ctr">
              <a:defRPr sz="4400" b="1" spc="-300">
                <a:solidFill>
                  <a:srgbClr val="991F3D"/>
                </a:solidFill>
              </a:defRPr>
            </a:lvl1pPr>
          </a:lstStyle>
          <a:p>
            <a:pPr marL="0" marR="0" lvl="0" indent="0" algn="ctr" defTabSz="932742" rtl="0" eaLnBrk="1" fontAlgn="auto" latinLnBrk="0" hangingPunct="1">
              <a:lnSpc>
                <a:spcPct val="100000"/>
              </a:lnSpc>
              <a:spcBef>
                <a:spcPts val="0"/>
              </a:spcBef>
              <a:spcAft>
                <a:spcPts val="0"/>
              </a:spcAft>
              <a:buClrTx/>
              <a:buSzTx/>
              <a:buFontTx/>
              <a:buNone/>
              <a:tabLst/>
              <a:defRPr sz="1800" b="0" spc="0">
                <a:solidFill>
                  <a:srgbClr val="000000"/>
                </a:solidFill>
              </a:defRPr>
            </a:pPr>
            <a:r>
              <a:rPr kumimoji="0" sz="4488" b="0" i="0" u="none" strike="noStrike" kern="1200" cap="none" spc="-306" normalizeH="0" baseline="0" noProof="0" dirty="0">
                <a:ln>
                  <a:noFill/>
                </a:ln>
                <a:solidFill>
                  <a:srgbClr val="000000"/>
                </a:solidFill>
                <a:effectLst/>
                <a:uLnTx/>
                <a:uFillTx/>
                <a:latin typeface="Segoe UI"/>
                <a:ea typeface="+mn-ea"/>
                <a:cs typeface="+mn-cs"/>
              </a:rPr>
              <a:t>$</a:t>
            </a:r>
            <a:r>
              <a:rPr kumimoji="0" lang="en-GB" sz="4488" b="0" i="0" u="none" strike="noStrike" kern="1200" cap="none" spc="-306" normalizeH="0" baseline="0" noProof="0" dirty="0">
                <a:ln>
                  <a:noFill/>
                </a:ln>
                <a:solidFill>
                  <a:srgbClr val="000000"/>
                </a:solidFill>
                <a:effectLst/>
                <a:uLnTx/>
                <a:uFillTx/>
                <a:latin typeface="Segoe UI"/>
                <a:ea typeface="+mn-ea"/>
                <a:cs typeface="+mn-cs"/>
              </a:rPr>
              <a:t>20</a:t>
            </a:r>
            <a:r>
              <a:rPr kumimoji="0" lang="en-US" sz="4488" b="0" i="0" u="none" strike="noStrike" kern="1200" cap="none" spc="-306" normalizeH="0" baseline="0" noProof="0" dirty="0">
                <a:ln>
                  <a:noFill/>
                </a:ln>
                <a:solidFill>
                  <a:srgbClr val="000000"/>
                </a:solidFill>
                <a:effectLst/>
                <a:uLnTx/>
                <a:uFillTx/>
                <a:latin typeface="Segoe UI"/>
                <a:ea typeface="+mn-ea"/>
                <a:cs typeface="+mn-cs"/>
              </a:rPr>
              <a:t>.7</a:t>
            </a:r>
            <a:r>
              <a:rPr kumimoji="0" sz="4488" b="0" i="0" u="none" strike="noStrike" kern="1200" cap="none" spc="-306" normalizeH="0" baseline="0" noProof="0" dirty="0">
                <a:ln>
                  <a:noFill/>
                </a:ln>
                <a:solidFill>
                  <a:srgbClr val="000000"/>
                </a:solidFill>
                <a:effectLst/>
                <a:uLnTx/>
                <a:uFillTx/>
                <a:latin typeface="Segoe UI"/>
                <a:ea typeface="+mn-ea"/>
                <a:cs typeface="+mn-cs"/>
              </a:rPr>
              <a:t>B</a:t>
            </a:r>
          </a:p>
        </p:txBody>
      </p:sp>
      <p:sp>
        <p:nvSpPr>
          <p:cNvPr id="29" name="Shape 539"/>
          <p:cNvSpPr/>
          <p:nvPr/>
        </p:nvSpPr>
        <p:spPr>
          <a:xfrm>
            <a:off x="8240606" y="5245443"/>
            <a:ext cx="3502859" cy="3182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629" tIns="46629" rIns="46629" bIns="46629" numCol="1" anchor="t">
            <a:spAutoFit/>
          </a:bodyPr>
          <a:lstStyle>
            <a:lvl1pPr algn="ctr">
              <a:defRPr sz="1400">
                <a:solidFill>
                  <a:srgbClr val="292827"/>
                </a:solidFill>
              </a:defRPr>
            </a:lvl1pPr>
          </a:lstStyle>
          <a:p>
            <a:pPr marL="0" marR="0" lvl="0" indent="0" algn="ctr" defTabSz="932742" rtl="0" eaLnBrk="1" fontAlgn="auto" latinLnBrk="0" hangingPunct="1">
              <a:lnSpc>
                <a:spcPct val="100000"/>
              </a:lnSpc>
              <a:spcBef>
                <a:spcPts val="0"/>
              </a:spcBef>
              <a:spcAft>
                <a:spcPts val="0"/>
              </a:spcAft>
              <a:buClrTx/>
              <a:buSzTx/>
              <a:buFontTx/>
              <a:buNone/>
              <a:tabLst/>
              <a:defRPr sz="1800">
                <a:solidFill>
                  <a:srgbClr val="000000"/>
                </a:solidFill>
              </a:defRPr>
            </a:pPr>
            <a:r>
              <a:rPr kumimoji="0" sz="1428" b="0" i="0" u="none" strike="noStrike" kern="1200" cap="none" spc="0" normalizeH="0" baseline="0" noProof="0" dirty="0">
                <a:ln>
                  <a:noFill/>
                </a:ln>
                <a:solidFill>
                  <a:srgbClr val="505050">
                    <a:lumMod val="75000"/>
                  </a:srgbClr>
                </a:solidFill>
                <a:effectLst/>
                <a:uLnTx/>
                <a:uFillTx/>
                <a:latin typeface="Segoe UI"/>
                <a:ea typeface="+mn-ea"/>
                <a:cs typeface="+mn-cs"/>
              </a:rPr>
              <a:t>backlog</a:t>
            </a:r>
          </a:p>
        </p:txBody>
      </p:sp>
      <p:sp>
        <p:nvSpPr>
          <p:cNvPr id="30" name="Shape 524"/>
          <p:cNvSpPr/>
          <p:nvPr/>
        </p:nvSpPr>
        <p:spPr>
          <a:xfrm>
            <a:off x="1896370" y="5281647"/>
            <a:ext cx="1156626" cy="3182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629" tIns="46629" rIns="46629" bIns="46629" numCol="1" anchor="t">
            <a:spAutoFit/>
          </a:bodyPr>
          <a:lstStyle>
            <a:lvl1pPr>
              <a:defRPr sz="1400">
                <a:solidFill>
                  <a:srgbClr val="292827"/>
                </a:solidFill>
              </a:defRPr>
            </a:lvl1pPr>
          </a:lstStyle>
          <a:p>
            <a:pPr marL="0" marR="0" lvl="0" indent="0" algn="ctr" defTabSz="932742" rtl="0" eaLnBrk="1" fontAlgn="auto" latinLnBrk="0" hangingPunct="1">
              <a:lnSpc>
                <a:spcPct val="100000"/>
              </a:lnSpc>
              <a:spcBef>
                <a:spcPts val="0"/>
              </a:spcBef>
              <a:spcAft>
                <a:spcPts val="0"/>
              </a:spcAft>
              <a:buClrTx/>
              <a:buSzTx/>
              <a:buFontTx/>
              <a:buNone/>
              <a:tabLst/>
              <a:defRPr sz="1800">
                <a:solidFill>
                  <a:srgbClr val="000000"/>
                </a:solidFill>
              </a:defRPr>
            </a:pPr>
            <a:r>
              <a:rPr kumimoji="0" lang="en-PH" sz="1428" b="0" i="0" u="none" strike="noStrike" kern="1200" cap="none" spc="0" normalizeH="0" baseline="0" noProof="0" dirty="0">
                <a:ln>
                  <a:noFill/>
                </a:ln>
                <a:solidFill>
                  <a:srgbClr val="000000"/>
                </a:solidFill>
                <a:effectLst/>
                <a:uLnTx/>
                <a:uFillTx/>
                <a:latin typeface="Segoe UI"/>
                <a:ea typeface="+mn-ea"/>
                <a:cs typeface="+mn-cs"/>
              </a:rPr>
              <a:t>countries</a:t>
            </a:r>
            <a:endParaRPr kumimoji="0" sz="1428"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Shape 523"/>
          <p:cNvSpPr/>
          <p:nvPr/>
        </p:nvSpPr>
        <p:spPr>
          <a:xfrm>
            <a:off x="1786034" y="4590510"/>
            <a:ext cx="1377299" cy="79855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6629" tIns="46629" rIns="46629" bIns="46629" numCol="1" anchor="t">
            <a:spAutoFit/>
          </a:bodyPr>
          <a:lstStyle>
            <a:lvl1pPr algn="ctr">
              <a:defRPr sz="4400" b="1" spc="-300">
                <a:solidFill>
                  <a:srgbClr val="991F3D"/>
                </a:solidFill>
              </a:defRPr>
            </a:lvl1pPr>
          </a:lstStyle>
          <a:p>
            <a:pPr marL="0" marR="0" lvl="0" indent="0" algn="ctr" defTabSz="932742" rtl="0" eaLnBrk="1" fontAlgn="auto" latinLnBrk="0" hangingPunct="1">
              <a:lnSpc>
                <a:spcPct val="100000"/>
              </a:lnSpc>
              <a:spcBef>
                <a:spcPts val="0"/>
              </a:spcBef>
              <a:spcAft>
                <a:spcPts val="0"/>
              </a:spcAft>
              <a:buClrTx/>
              <a:buSzTx/>
              <a:buFontTx/>
              <a:buNone/>
              <a:tabLst/>
              <a:defRPr sz="1800" b="0" spc="0">
                <a:solidFill>
                  <a:srgbClr val="000000"/>
                </a:solidFill>
              </a:defRPr>
            </a:pPr>
            <a:r>
              <a:rPr kumimoji="0" sz="4488" b="0" i="0" u="none" strike="noStrike" kern="1200" cap="none" spc="-306" normalizeH="0" baseline="0" noProof="0" dirty="0">
                <a:ln>
                  <a:noFill/>
                </a:ln>
                <a:solidFill>
                  <a:srgbClr val="000000"/>
                </a:solidFill>
                <a:effectLst/>
                <a:uLnTx/>
                <a:uFillTx/>
                <a:latin typeface="Segoe UI"/>
                <a:ea typeface="+mn-ea"/>
                <a:cs typeface="+mn-cs"/>
              </a:rPr>
              <a:t>40</a:t>
            </a:r>
          </a:p>
        </p:txBody>
      </p:sp>
      <p:sp>
        <p:nvSpPr>
          <p:cNvPr id="32" name="TextBox 31"/>
          <p:cNvSpPr txBox="1"/>
          <p:nvPr/>
        </p:nvSpPr>
        <p:spPr bwMode="auto">
          <a:xfrm>
            <a:off x="827728" y="5930500"/>
            <a:ext cx="4519928" cy="224114"/>
          </a:xfrm>
          <a:prstGeom prst="rect">
            <a:avLst/>
          </a:prstGeom>
          <a:noFill/>
          <a:ln w="9525" algn="ctr">
            <a:noFill/>
            <a:miter lim="800000"/>
            <a:headEnd/>
            <a:tailEnd/>
          </a:ln>
          <a:effectLst/>
        </p:spPr>
        <p:txBody>
          <a:bodyPr wrap="square" lIns="0" tIns="0" rIns="0" b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28" b="0" i="1" u="none" strike="noStrike" kern="1200" cap="none" spc="0" normalizeH="0" baseline="0" noProof="0" dirty="0">
                <a:ln>
                  <a:noFill/>
                </a:ln>
                <a:solidFill>
                  <a:srgbClr val="505050"/>
                </a:solidFill>
                <a:effectLst/>
                <a:uLnTx/>
                <a:uFillTx/>
                <a:latin typeface="Segoe UI"/>
                <a:ea typeface="+mn-ea"/>
                <a:cs typeface="+mn-cs"/>
              </a:rPr>
              <a:t>Statistics verified as of </a:t>
            </a:r>
            <a:r>
              <a:rPr kumimoji="0" lang="en-GB" sz="1428" b="0" i="1" u="none" strike="noStrike" kern="1200" cap="none" spc="0" normalizeH="0" baseline="0" noProof="0" dirty="0">
                <a:ln>
                  <a:noFill/>
                </a:ln>
                <a:solidFill>
                  <a:srgbClr val="505050"/>
                </a:solidFill>
                <a:effectLst/>
                <a:uLnTx/>
                <a:uFillTx/>
                <a:latin typeface="Segoe UI"/>
                <a:ea typeface="+mn-ea"/>
                <a:cs typeface="+mn-cs"/>
              </a:rPr>
              <a:t>April 27, 2016</a:t>
            </a:r>
            <a:r>
              <a:rPr kumimoji="0" lang="en-US" sz="1428" b="0" i="1" u="none" strike="noStrike" kern="1200" cap="none" spc="0" normalizeH="0" baseline="0" noProof="0" dirty="0">
                <a:ln>
                  <a:noFill/>
                </a:ln>
                <a:solidFill>
                  <a:srgbClr val="505050"/>
                </a:solidFill>
                <a:effectLst/>
                <a:uLnTx/>
                <a:uFillTx/>
                <a:latin typeface="Segoe UI"/>
                <a:ea typeface="+mn-ea"/>
                <a:cs typeface="+mn-cs"/>
              </a:rPr>
              <a:t>.</a:t>
            </a:r>
            <a:endParaRPr kumimoji="0" lang="en-US" sz="1428" b="0" i="1" u="none" strike="noStrike" kern="1200" cap="none" spc="0" normalizeH="0" baseline="0" noProof="0" dirty="0">
              <a:ln>
                <a:noFill/>
              </a:ln>
              <a:solidFill>
                <a:srgbClr val="505050"/>
              </a:solidFill>
              <a:effectLst/>
              <a:uLnTx/>
              <a:uFillTx/>
              <a:latin typeface="Segoe UI"/>
              <a:ea typeface="+mn-ea"/>
              <a:cs typeface="Arial" pitchFamily="34" charset="0"/>
            </a:endParaRPr>
          </a:p>
        </p:txBody>
      </p:sp>
    </p:spTree>
    <p:extLst>
      <p:ext uri="{BB962C8B-B14F-4D97-AF65-F5344CB8AC3E}">
        <p14:creationId xmlns:p14="http://schemas.microsoft.com/office/powerpoint/2010/main" val="1421316224"/>
      </p:ext>
    </p:extLst>
  </p:cSld>
  <p:clrMapOvr>
    <a:masterClrMapping/>
  </p:clrMapOvr>
  <mc:AlternateContent xmlns:mc="http://schemas.openxmlformats.org/markup-compatibility/2006" xmlns:p14="http://schemas.microsoft.com/office/powerpoint/2010/main">
    <mc:Choice Requires="p14">
      <p:transition spd="slow" p14:dur="2000" advTm="7000"/>
    </mc:Choice>
    <mc:Fallback xmlns="">
      <p:transition spd="slow" advTm="700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p:cNvPicPr>
          <p:nvPr>
            <p:ph type="pic" sz="quarter" idx="16"/>
          </p:nvPr>
        </p:nvPicPr>
        <p:blipFill>
          <a:blip r:embed="rId3" cstate="email">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a:xfrm>
            <a:off x="3712657" y="2802402"/>
            <a:ext cx="2333883" cy="2264859"/>
          </a:xfrm>
          <a:prstGeom prst="rect">
            <a:avLst/>
          </a:prstGeom>
        </p:spPr>
      </p:pic>
      <p:pic>
        <p:nvPicPr>
          <p:cNvPr id="14" name="Picture Placeholder 13"/>
          <p:cNvPicPr>
            <a:picLocks noGrp="1" noChangeAspect="1"/>
          </p:cNvPicPr>
          <p:nvPr>
            <p:ph type="pic" sz="quarter" idx="15"/>
          </p:nvPr>
        </p:nvPicPr>
        <p:blipFill rotWithShape="1">
          <a:blip r:embed="rId4" cstate="email">
            <a:duotone>
              <a:schemeClr val="accent6">
                <a:shade val="45000"/>
                <a:satMod val="135000"/>
              </a:schemeClr>
              <a:prstClr val="white"/>
            </a:duotone>
            <a:extLst>
              <a:ext uri="{28A0092B-C50C-407E-A947-70E740481C1C}">
                <a14:useLocalDpi xmlns:a14="http://schemas.microsoft.com/office/drawing/2010/main"/>
              </a:ext>
            </a:extLst>
          </a:blip>
          <a:srcRect/>
          <a:stretch/>
        </p:blipFill>
        <p:spPr>
          <a:xfrm>
            <a:off x="6621402" y="2802402"/>
            <a:ext cx="2319873" cy="2264859"/>
          </a:xfrm>
        </p:spPr>
      </p:pic>
      <p:sp>
        <p:nvSpPr>
          <p:cNvPr id="6" name="Title 5"/>
          <p:cNvSpPr>
            <a:spLocks noGrp="1"/>
          </p:cNvSpPr>
          <p:nvPr>
            <p:ph type="title"/>
          </p:nvPr>
        </p:nvSpPr>
        <p:spPr>
          <a:xfrm>
            <a:off x="611126" y="746970"/>
            <a:ext cx="11201275" cy="939080"/>
          </a:xfrm>
        </p:spPr>
        <p:txBody>
          <a:bodyPr>
            <a:noAutofit/>
          </a:bodyPr>
          <a:lstStyle/>
          <a:p>
            <a:r>
              <a:rPr lang="en-US" sz="3672" dirty="0"/>
              <a:t>CGI is proud to partner with Microsoft to deliver </a:t>
            </a:r>
            <a:br>
              <a:rPr lang="en-US" sz="3672" dirty="0"/>
            </a:br>
            <a:r>
              <a:rPr lang="en-US" sz="3672" dirty="0"/>
              <a:t>cloud-based solutions for government</a:t>
            </a:r>
          </a:p>
        </p:txBody>
      </p:sp>
      <p:sp>
        <p:nvSpPr>
          <p:cNvPr id="9" name="Content Placeholder 8"/>
          <p:cNvSpPr>
            <a:spLocks noGrp="1"/>
          </p:cNvSpPr>
          <p:nvPr>
            <p:ph sz="quarter" idx="23"/>
          </p:nvPr>
        </p:nvSpPr>
        <p:spPr>
          <a:xfrm>
            <a:off x="3715827" y="3521145"/>
            <a:ext cx="2327542" cy="827374"/>
          </a:xfrm>
        </p:spPr>
        <p:txBody>
          <a:bodyPr anchor="ctr">
            <a:noAutofit/>
          </a:bodyPr>
          <a:lstStyle/>
          <a:p>
            <a:pPr algn="ctr"/>
            <a:r>
              <a:rPr lang="en-US" sz="2040" b="1" dirty="0">
                <a:solidFill>
                  <a:schemeClr val="tx2"/>
                </a:solidFill>
              </a:rPr>
              <a:t>Records Management as a Service</a:t>
            </a:r>
          </a:p>
        </p:txBody>
      </p:sp>
      <p:pic>
        <p:nvPicPr>
          <p:cNvPr id="17" name="Picture Placeholder 16"/>
          <p:cNvPicPr>
            <a:picLocks noGrp="1"/>
          </p:cNvPicPr>
          <p:nvPr>
            <p:ph type="pic" sz="quarter" idx="14"/>
          </p:nvPr>
        </p:nvPicPr>
        <p:blipFill rotWithShape="1">
          <a:blip r:embed="rId5" cstate="email">
            <a:duotone>
              <a:schemeClr val="accent6">
                <a:shade val="45000"/>
                <a:satMod val="135000"/>
              </a:schemeClr>
              <a:prstClr val="white"/>
            </a:duotone>
            <a:extLst>
              <a:ext uri="{28A0092B-C50C-407E-A947-70E740481C1C}">
                <a14:useLocalDpi xmlns:a14="http://schemas.microsoft.com/office/drawing/2010/main"/>
              </a:ext>
            </a:extLst>
          </a:blip>
          <a:srcRect t="-321"/>
          <a:stretch/>
        </p:blipFill>
        <p:spPr bwMode="auto">
          <a:xfrm>
            <a:off x="9519873" y="2802402"/>
            <a:ext cx="2292527" cy="2264859"/>
          </a:xfrm>
          <a:prstGeom prst="rect">
            <a:avLst/>
          </a:prstGeom>
          <a:ln>
            <a:noFill/>
          </a:ln>
          <a:extLst>
            <a:ext uri="{53640926-AAD7-44D8-BBD7-CCE9431645EC}">
              <a14:shadowObscured xmlns:a14="http://schemas.microsoft.com/office/drawing/2010/main"/>
            </a:ext>
          </a:extLst>
        </p:spPr>
      </p:pic>
      <p:pic>
        <p:nvPicPr>
          <p:cNvPr id="18" name="Picture 1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841694" y="3726525"/>
            <a:ext cx="1879290" cy="416614"/>
          </a:xfrm>
          <a:prstGeom prst="rect">
            <a:avLst/>
          </a:prstGeom>
        </p:spPr>
      </p:pic>
      <p:pic>
        <p:nvPicPr>
          <p:cNvPr id="21" name="Content Placeholder 20"/>
          <p:cNvPicPr>
            <a:picLocks noGrp="1" noChangeAspect="1"/>
          </p:cNvPicPr>
          <p:nvPr>
            <p:ph sz="quarter" idx="17"/>
          </p:nvPr>
        </p:nvPicPr>
        <p:blipFill>
          <a:blip r:embed="rId7" cstate="email">
            <a:extLst>
              <a:ext uri="{28A0092B-C50C-407E-A947-70E740481C1C}">
                <a14:useLocalDpi xmlns:a14="http://schemas.microsoft.com/office/drawing/2010/main"/>
              </a:ext>
            </a:extLst>
          </a:blip>
          <a:stretch>
            <a:fillRect/>
          </a:stretch>
        </p:blipFill>
        <p:spPr>
          <a:xfrm>
            <a:off x="9738989" y="3644636"/>
            <a:ext cx="2158193" cy="647458"/>
          </a:xfrm>
        </p:spPr>
      </p:pic>
      <p:pic>
        <p:nvPicPr>
          <p:cNvPr id="2" name="Picture 1"/>
          <p:cNvPicPr>
            <a:picLocks noChangeAspect="1"/>
          </p:cNvPicPr>
          <p:nvPr/>
        </p:nvPicPr>
        <p:blipFill rotWithShape="1">
          <a:blip r:embed="rId8" cstate="email">
            <a:duotone>
              <a:schemeClr val="accent6">
                <a:shade val="45000"/>
                <a:satMod val="135000"/>
              </a:schemeClr>
              <a:prstClr val="white"/>
            </a:duotone>
            <a:extLst>
              <a:ext uri="{28A0092B-C50C-407E-A947-70E740481C1C}">
                <a14:useLocalDpi xmlns:a14="http://schemas.microsoft.com/office/drawing/2010/main"/>
              </a:ext>
            </a:extLst>
          </a:blip>
          <a:srcRect/>
          <a:stretch/>
        </p:blipFill>
        <p:spPr>
          <a:xfrm>
            <a:off x="611126" y="2802402"/>
            <a:ext cx="2526669" cy="2264859"/>
          </a:xfrm>
          <a:prstGeom prst="rect">
            <a:avLst/>
          </a:prstGeom>
        </p:spPr>
      </p:pic>
      <p:pic>
        <p:nvPicPr>
          <p:cNvPr id="3" name="Picture 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02310" y="3644636"/>
            <a:ext cx="2344299" cy="468860"/>
          </a:xfrm>
          <a:prstGeom prst="rect">
            <a:avLst/>
          </a:prstGeom>
        </p:spPr>
      </p:pic>
    </p:spTree>
    <p:extLst>
      <p:ext uri="{BB962C8B-B14F-4D97-AF65-F5344CB8AC3E}">
        <p14:creationId xmlns:p14="http://schemas.microsoft.com/office/powerpoint/2010/main" val="1385649235"/>
      </p:ext>
    </p:extLst>
  </p:cSld>
  <p:clrMapOvr>
    <a:masterClrMapping/>
  </p:clrMapOvr>
  <mc:AlternateContent xmlns:mc="http://schemas.openxmlformats.org/markup-compatibility/2006" xmlns:p14="http://schemas.microsoft.com/office/powerpoint/2010/main">
    <mc:Choice Requires="p14">
      <p:transition spd="slow" p14:dur="2000" advTm="7000"/>
    </mc:Choice>
    <mc:Fallback xmlns="">
      <p:transition spd="slow" advTm="700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Momentum® at a </a:t>
            </a:r>
            <a:r>
              <a:rPr lang="fr-CA" dirty="0" err="1"/>
              <a:t>glance</a:t>
            </a:r>
            <a:endParaRPr lang="fr-CA" dirty="0"/>
          </a:p>
        </p:txBody>
      </p:sp>
      <p:sp>
        <p:nvSpPr>
          <p:cNvPr id="4" name="Slide Number Placeholder 3"/>
          <p:cNvSpPr>
            <a:spLocks noGrp="1"/>
          </p:cNvSpPr>
          <p:nvPr>
            <p:ph type="sldNum" sz="quarter" idx="12"/>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525A3C56-E491-49B2-93F3-63532DF516BC}" type="slidenum">
              <a:rPr kumimoji="0" 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94</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Arrondir un rectangle avec un coin du même côté 25"/>
          <p:cNvSpPr/>
          <p:nvPr/>
        </p:nvSpPr>
        <p:spPr bwMode="gray">
          <a:xfrm>
            <a:off x="8784516" y="3364035"/>
            <a:ext cx="2973993" cy="2994190"/>
          </a:xfrm>
          <a:prstGeom prst="round2SameRect">
            <a:avLst>
              <a:gd name="adj1" fmla="val 0"/>
              <a:gd name="adj2" fmla="val 0"/>
            </a:avLst>
          </a:prstGeom>
          <a:solidFill>
            <a:schemeClr val="bg1"/>
          </a:solidFill>
          <a:ln w="9525" algn="ctr">
            <a:solidFill>
              <a:schemeClr val="accent6"/>
            </a:solidFill>
            <a:miter lim="800000"/>
            <a:headEnd/>
            <a:tailEnd/>
          </a:ln>
          <a:effectLst/>
        </p:spPr>
        <p:txBody>
          <a:bodyPr lIns="93260" tIns="93260" rIns="93260" bIns="93260" rtlCol="0" anchor="t" anchorCtr="0"/>
          <a:lstStyle/>
          <a:p>
            <a:pPr marL="0" marR="0" lvl="1" indent="0" algn="l" defTabSz="932742" rtl="0" eaLnBrk="1" fontAlgn="auto" latinLnBrk="0" hangingPunct="1">
              <a:lnSpc>
                <a:spcPct val="100000"/>
              </a:lnSpc>
              <a:spcBef>
                <a:spcPts val="510"/>
              </a:spcBef>
              <a:spcAft>
                <a:spcPts val="0"/>
              </a:spcAft>
              <a:buClr>
                <a:srgbClr val="991F3D"/>
              </a:buClr>
              <a:buSzPct val="120000"/>
              <a:buFontTx/>
              <a:buNone/>
              <a:tabLst/>
              <a:defRPr/>
            </a:pPr>
            <a:r>
              <a:rPr kumimoji="0" lang="en-US" sz="1836" b="1" i="0" u="none" strike="noStrike" kern="1200" cap="none" spc="0" normalizeH="0" baseline="0" noProof="0" dirty="0">
                <a:ln>
                  <a:noFill/>
                </a:ln>
                <a:solidFill>
                  <a:srgbClr val="363534"/>
                </a:solidFill>
                <a:effectLst/>
                <a:uLnTx/>
                <a:uFillTx/>
                <a:latin typeface="Segoe UI"/>
                <a:ea typeface="+mn-ea"/>
                <a:cs typeface="+mn-cs"/>
              </a:rPr>
              <a:t>Typical Buyer</a:t>
            </a:r>
          </a:p>
          <a:p>
            <a:pPr marL="349724" marR="0" lvl="1" indent="-349724" algn="l" defTabSz="932742" rtl="0" eaLnBrk="1" fontAlgn="auto" latinLnBrk="0" hangingPunct="1">
              <a:lnSpc>
                <a:spcPct val="100000"/>
              </a:lnSpc>
              <a:spcBef>
                <a:spcPts val="510"/>
              </a:spcBef>
              <a:spcAft>
                <a:spcPts val="0"/>
              </a:spcAft>
              <a:buClr>
                <a:srgbClr val="991F3D"/>
              </a:buClr>
              <a:buSzPct val="120000"/>
              <a:buFont typeface="Arial" panose="020B0604020202020204" pitchFamily="34" charset="0"/>
              <a:buChar char="•"/>
              <a:tabLst/>
              <a:defRPr/>
            </a:pPr>
            <a:r>
              <a:rPr kumimoji="0" lang="en-US" sz="1836" b="0" i="0" u="none" strike="noStrike" kern="1200" cap="none" spc="0" normalizeH="0" baseline="0" noProof="0" dirty="0">
                <a:ln>
                  <a:noFill/>
                </a:ln>
                <a:solidFill>
                  <a:srgbClr val="363534"/>
                </a:solidFill>
                <a:effectLst/>
                <a:uLnTx/>
                <a:uFillTx/>
                <a:latin typeface="Segoe UI"/>
                <a:ea typeface="+mn-ea"/>
                <a:cs typeface="+mn-cs"/>
              </a:rPr>
              <a:t>Business owner, rather than IT</a:t>
            </a:r>
          </a:p>
          <a:p>
            <a:pPr marL="349724" marR="0" lvl="1" indent="-349724" algn="l" defTabSz="932742" rtl="0" eaLnBrk="1" fontAlgn="auto" latinLnBrk="0" hangingPunct="1">
              <a:lnSpc>
                <a:spcPct val="100000"/>
              </a:lnSpc>
              <a:spcBef>
                <a:spcPts val="510"/>
              </a:spcBef>
              <a:spcAft>
                <a:spcPts val="0"/>
              </a:spcAft>
              <a:buClr>
                <a:srgbClr val="991F3D"/>
              </a:buClr>
              <a:buSzPct val="120000"/>
              <a:buFont typeface="Arial" panose="020B0604020202020204" pitchFamily="34" charset="0"/>
              <a:buChar char="•"/>
              <a:tabLst/>
              <a:defRPr/>
            </a:pPr>
            <a:r>
              <a:rPr kumimoji="0" lang="en-US" sz="1836" b="0" i="0" u="none" strike="noStrike" kern="1200" cap="none" spc="0" normalizeH="0" baseline="0" noProof="0" dirty="0">
                <a:ln>
                  <a:noFill/>
                </a:ln>
                <a:solidFill>
                  <a:srgbClr val="363534"/>
                </a:solidFill>
                <a:effectLst/>
                <a:uLnTx/>
                <a:uFillTx/>
                <a:latin typeface="Segoe UI"/>
                <a:ea typeface="+mn-ea"/>
                <a:cs typeface="+mn-cs"/>
              </a:rPr>
              <a:t>Chief Financial Officer</a:t>
            </a:r>
          </a:p>
          <a:p>
            <a:pPr marL="349724" marR="0" lvl="1" indent="-349724" algn="l" defTabSz="932742" rtl="0" eaLnBrk="1" fontAlgn="auto" latinLnBrk="0" hangingPunct="1">
              <a:lnSpc>
                <a:spcPct val="100000"/>
              </a:lnSpc>
              <a:spcBef>
                <a:spcPts val="510"/>
              </a:spcBef>
              <a:spcAft>
                <a:spcPts val="0"/>
              </a:spcAft>
              <a:buClr>
                <a:srgbClr val="991F3D"/>
              </a:buClr>
              <a:buSzPct val="120000"/>
              <a:buFont typeface="Arial" panose="020B0604020202020204" pitchFamily="34" charset="0"/>
              <a:buChar char="•"/>
              <a:tabLst/>
              <a:defRPr/>
            </a:pPr>
            <a:r>
              <a:rPr kumimoji="0" lang="en-US" sz="1836" b="0" i="0" u="none" strike="noStrike" kern="1200" cap="none" spc="0" normalizeH="0" baseline="0" noProof="0" dirty="0">
                <a:ln>
                  <a:noFill/>
                </a:ln>
                <a:solidFill>
                  <a:srgbClr val="363534"/>
                </a:solidFill>
                <a:effectLst/>
                <a:uLnTx/>
                <a:uFillTx/>
                <a:latin typeface="Segoe UI"/>
                <a:ea typeface="+mn-ea"/>
                <a:cs typeface="+mn-cs"/>
              </a:rPr>
              <a:t>Chief Budget Officer</a:t>
            </a:r>
          </a:p>
          <a:p>
            <a:pPr marL="349724" marR="0" lvl="1" indent="-349724" algn="l" defTabSz="932742" rtl="0" eaLnBrk="1" fontAlgn="auto" latinLnBrk="0" hangingPunct="1">
              <a:lnSpc>
                <a:spcPct val="100000"/>
              </a:lnSpc>
              <a:spcBef>
                <a:spcPts val="510"/>
              </a:spcBef>
              <a:spcAft>
                <a:spcPts val="0"/>
              </a:spcAft>
              <a:buClr>
                <a:srgbClr val="991F3D"/>
              </a:buClr>
              <a:buSzPct val="120000"/>
              <a:buFont typeface="Arial" panose="020B0604020202020204" pitchFamily="34" charset="0"/>
              <a:buChar char="•"/>
              <a:tabLst/>
              <a:defRPr/>
            </a:pPr>
            <a:r>
              <a:rPr kumimoji="0" lang="en-US" sz="1836" b="0" i="0" u="none" strike="noStrike" kern="1200" cap="none" spc="0" normalizeH="0" baseline="0" noProof="0" dirty="0">
                <a:ln>
                  <a:noFill/>
                </a:ln>
                <a:solidFill>
                  <a:srgbClr val="363534"/>
                </a:solidFill>
                <a:effectLst/>
                <a:uLnTx/>
                <a:uFillTx/>
                <a:latin typeface="Segoe UI"/>
                <a:ea typeface="+mn-ea"/>
                <a:cs typeface="+mn-cs"/>
              </a:rPr>
              <a:t>Chief Procurement Officer</a:t>
            </a:r>
          </a:p>
        </p:txBody>
      </p:sp>
      <p:sp>
        <p:nvSpPr>
          <p:cNvPr id="6" name="Arrondir un rectangle avec un coin du même côté 21"/>
          <p:cNvSpPr/>
          <p:nvPr/>
        </p:nvSpPr>
        <p:spPr bwMode="gray">
          <a:xfrm>
            <a:off x="611125" y="3364035"/>
            <a:ext cx="4332629" cy="2994191"/>
          </a:xfrm>
          <a:prstGeom prst="round2SameRect">
            <a:avLst>
              <a:gd name="adj1" fmla="val 0"/>
              <a:gd name="adj2" fmla="val 0"/>
            </a:avLst>
          </a:prstGeom>
          <a:solidFill>
            <a:schemeClr val="bg2"/>
          </a:solidFill>
          <a:ln w="9525" algn="ctr">
            <a:solidFill>
              <a:schemeClr val="accent6"/>
            </a:solidFill>
            <a:miter lim="800000"/>
            <a:headEnd/>
            <a:tailEnd/>
          </a:ln>
          <a:effectLst/>
        </p:spPr>
        <p:txBody>
          <a:bodyPr lIns="93260" tIns="93260" rIns="93260" bIns="93260" rtlCol="0" anchor="t" anchorCtr="0">
            <a:noAutofit/>
          </a:bodyPr>
          <a:lstStyle/>
          <a:p>
            <a:pPr marL="0" marR="0" lvl="1" indent="0" algn="l" defTabSz="932742" rtl="0" eaLnBrk="1" fontAlgn="auto" latinLnBrk="0" hangingPunct="1">
              <a:lnSpc>
                <a:spcPct val="100000"/>
              </a:lnSpc>
              <a:spcBef>
                <a:spcPts val="510"/>
              </a:spcBef>
              <a:spcAft>
                <a:spcPts val="0"/>
              </a:spcAft>
              <a:buClr>
                <a:srgbClr val="0078D7"/>
              </a:buClr>
              <a:buSzPct val="120000"/>
              <a:buFontTx/>
              <a:buNone/>
              <a:tabLst/>
              <a:defRPr/>
            </a:pPr>
            <a:r>
              <a:rPr kumimoji="0" lang="en-CA" sz="1836" b="1" i="0" u="none" strike="noStrike" kern="1200" cap="none" spc="0" normalizeH="0" baseline="0" noProof="0" dirty="0">
                <a:ln>
                  <a:noFill/>
                </a:ln>
                <a:solidFill>
                  <a:srgbClr val="505050"/>
                </a:solidFill>
                <a:effectLst/>
                <a:uLnTx/>
                <a:uFillTx/>
                <a:latin typeface="Segoe UI"/>
                <a:ea typeface="+mn-ea"/>
                <a:cs typeface="+mn-cs"/>
              </a:rPr>
              <a:t>Key Benefits</a:t>
            </a:r>
            <a:endParaRPr kumimoji="0" lang="en-US" sz="714" b="0" i="0" u="none" strike="noStrike" kern="1200" cap="none" spc="0" normalizeH="0" baseline="0" noProof="0" dirty="0">
              <a:ln>
                <a:noFill/>
              </a:ln>
              <a:solidFill>
                <a:srgbClr val="505050"/>
              </a:solidFill>
              <a:effectLst/>
              <a:uLnTx/>
              <a:uFillTx/>
              <a:latin typeface="Segoe UI"/>
              <a:ea typeface="+mn-ea"/>
              <a:cs typeface="+mn-cs"/>
            </a:endParaRPr>
          </a:p>
          <a:p>
            <a:pPr marL="204005" marR="0" lvl="1" indent="-205171" algn="l" defTabSz="932742" rtl="0" eaLnBrk="1" fontAlgn="auto" latinLnBrk="0" hangingPunct="1">
              <a:lnSpc>
                <a:spcPct val="100000"/>
              </a:lnSpc>
              <a:spcBef>
                <a:spcPts val="0"/>
              </a:spcBef>
              <a:spcAft>
                <a:spcPts val="0"/>
              </a:spcAft>
              <a:buClr>
                <a:srgbClr val="991F3D"/>
              </a:buClr>
              <a:buSzPct val="75000"/>
              <a:buFont typeface="Verdana" pitchFamily="34" charset="0"/>
              <a:buChar char="•"/>
              <a:tabLst/>
              <a:defRPr/>
            </a:pPr>
            <a:r>
              <a:rPr kumimoji="0" lang="en-US" sz="1836" b="0" i="0" u="none" strike="noStrike" kern="1200" cap="none" spc="0" normalizeH="0" baseline="0" noProof="0" dirty="0">
                <a:ln>
                  <a:noFill/>
                </a:ln>
                <a:solidFill>
                  <a:srgbClr val="363534"/>
                </a:solidFill>
                <a:effectLst/>
                <a:uLnTx/>
                <a:uFillTx/>
                <a:latin typeface="Segoe UI"/>
                <a:ea typeface="+mn-ea"/>
                <a:cs typeface="+mn-cs"/>
              </a:rPr>
              <a:t>Built exclusively for the federal government</a:t>
            </a:r>
          </a:p>
          <a:p>
            <a:pPr marL="204005" marR="0" lvl="1" indent="-205171" algn="l" defTabSz="932742" rtl="0" eaLnBrk="1" fontAlgn="auto" latinLnBrk="0" hangingPunct="1">
              <a:lnSpc>
                <a:spcPct val="100000"/>
              </a:lnSpc>
              <a:spcBef>
                <a:spcPts val="0"/>
              </a:spcBef>
              <a:spcAft>
                <a:spcPts val="0"/>
              </a:spcAft>
              <a:buClr>
                <a:srgbClr val="991F3D"/>
              </a:buClr>
              <a:buSzPct val="75000"/>
              <a:buFont typeface="Verdana" pitchFamily="34" charset="0"/>
              <a:buChar char="•"/>
              <a:tabLst/>
              <a:defRPr/>
            </a:pPr>
            <a:r>
              <a:rPr kumimoji="0" lang="en-US" sz="1836" b="0" i="0" u="none" strike="noStrike" kern="1200" cap="none" spc="0" normalizeH="0" baseline="0" noProof="0" dirty="0">
                <a:ln>
                  <a:noFill/>
                </a:ln>
                <a:solidFill>
                  <a:srgbClr val="363534"/>
                </a:solidFill>
                <a:effectLst/>
                <a:uLnTx/>
                <a:uFillTx/>
                <a:latin typeface="Segoe UI"/>
                <a:ea typeface="+mn-ea"/>
                <a:cs typeface="+mn-cs"/>
              </a:rPr>
              <a:t>Improves back-office and operational efficiency</a:t>
            </a:r>
          </a:p>
          <a:p>
            <a:pPr marL="204005" marR="0" lvl="1" indent="-205171" algn="l" defTabSz="932742" rtl="0" eaLnBrk="1" fontAlgn="auto" latinLnBrk="0" hangingPunct="1">
              <a:lnSpc>
                <a:spcPct val="100000"/>
              </a:lnSpc>
              <a:spcBef>
                <a:spcPts val="0"/>
              </a:spcBef>
              <a:spcAft>
                <a:spcPts val="0"/>
              </a:spcAft>
              <a:buClr>
                <a:srgbClr val="991F3D"/>
              </a:buClr>
              <a:buSzPct val="75000"/>
              <a:buFont typeface="Verdana" pitchFamily="34" charset="0"/>
              <a:buChar char="•"/>
              <a:tabLst/>
              <a:defRPr/>
            </a:pPr>
            <a:r>
              <a:rPr kumimoji="0" lang="en-US" sz="1836" b="0" i="0" u="none" strike="noStrike" kern="1200" cap="none" spc="0" normalizeH="0" baseline="0" noProof="0" dirty="0">
                <a:ln>
                  <a:noFill/>
                </a:ln>
                <a:solidFill>
                  <a:srgbClr val="363534"/>
                </a:solidFill>
                <a:effectLst/>
                <a:uLnTx/>
                <a:uFillTx/>
                <a:latin typeface="Segoe UI"/>
                <a:ea typeface="+mn-ea"/>
                <a:cs typeface="+mn-cs"/>
              </a:rPr>
              <a:t>Improves agency audit quality </a:t>
            </a:r>
          </a:p>
          <a:p>
            <a:pPr marL="204005" marR="0" lvl="1" indent="-205171" algn="l" defTabSz="932742" rtl="0" eaLnBrk="1" fontAlgn="auto" latinLnBrk="0" hangingPunct="1">
              <a:lnSpc>
                <a:spcPct val="100000"/>
              </a:lnSpc>
              <a:spcBef>
                <a:spcPts val="0"/>
              </a:spcBef>
              <a:spcAft>
                <a:spcPts val="0"/>
              </a:spcAft>
              <a:buClr>
                <a:srgbClr val="991F3D"/>
              </a:buClr>
              <a:buSzPct val="75000"/>
              <a:buFont typeface="Verdana" pitchFamily="34" charset="0"/>
              <a:buChar char="•"/>
              <a:tabLst/>
              <a:defRPr/>
            </a:pPr>
            <a:r>
              <a:rPr kumimoji="0" lang="en-US" sz="1836" b="0" i="0" u="none" strike="noStrike" kern="1200" cap="none" spc="0" normalizeH="0" baseline="0" noProof="0" dirty="0">
                <a:ln>
                  <a:noFill/>
                </a:ln>
                <a:solidFill>
                  <a:srgbClr val="363534"/>
                </a:solidFill>
                <a:effectLst/>
                <a:uLnTx/>
                <a:uFillTx/>
                <a:latin typeface="Segoe UI"/>
                <a:ea typeface="+mn-ea"/>
                <a:cs typeface="+mn-cs"/>
              </a:rPr>
              <a:t>Componentized</a:t>
            </a:r>
          </a:p>
          <a:p>
            <a:pPr marL="204005" marR="0" lvl="1" indent="-205171" algn="l" defTabSz="932742" rtl="0" eaLnBrk="1" fontAlgn="auto" latinLnBrk="0" hangingPunct="1">
              <a:lnSpc>
                <a:spcPct val="100000"/>
              </a:lnSpc>
              <a:spcBef>
                <a:spcPts val="0"/>
              </a:spcBef>
              <a:spcAft>
                <a:spcPts val="0"/>
              </a:spcAft>
              <a:buClr>
                <a:srgbClr val="991F3D"/>
              </a:buClr>
              <a:buSzPct val="75000"/>
              <a:buFont typeface="Verdana" pitchFamily="34" charset="0"/>
              <a:buChar char="•"/>
              <a:tabLst/>
              <a:defRPr/>
            </a:pPr>
            <a:r>
              <a:rPr kumimoji="0" lang="en-US" sz="1836" b="0" i="0" u="none" strike="noStrike" kern="1200" cap="none" spc="0" normalizeH="0" baseline="0" noProof="0" dirty="0">
                <a:ln>
                  <a:noFill/>
                </a:ln>
                <a:solidFill>
                  <a:srgbClr val="363534"/>
                </a:solidFill>
                <a:effectLst/>
                <a:uLnTx/>
                <a:uFillTx/>
                <a:latin typeface="Segoe UI"/>
                <a:ea typeface="+mn-ea"/>
                <a:cs typeface="+mn-cs"/>
              </a:rPr>
              <a:t>Incremental implementation</a:t>
            </a:r>
          </a:p>
          <a:p>
            <a:pPr marL="204005" marR="0" lvl="1" indent="-205171" algn="l" defTabSz="932742" rtl="0" eaLnBrk="1" fontAlgn="auto" latinLnBrk="0" hangingPunct="1">
              <a:lnSpc>
                <a:spcPct val="100000"/>
              </a:lnSpc>
              <a:spcBef>
                <a:spcPts val="0"/>
              </a:spcBef>
              <a:spcAft>
                <a:spcPts val="0"/>
              </a:spcAft>
              <a:buClr>
                <a:srgbClr val="991F3D"/>
              </a:buClr>
              <a:buSzPct val="75000"/>
              <a:buFont typeface="Verdana" pitchFamily="34" charset="0"/>
              <a:buChar char="•"/>
              <a:tabLst/>
              <a:defRPr/>
            </a:pPr>
            <a:r>
              <a:rPr kumimoji="0" lang="en-US" sz="1836" b="0" i="0" u="none" strike="noStrike" kern="1200" cap="none" spc="0" normalizeH="0" baseline="0" noProof="0" dirty="0">
                <a:ln>
                  <a:noFill/>
                </a:ln>
                <a:solidFill>
                  <a:srgbClr val="363534"/>
                </a:solidFill>
                <a:effectLst/>
                <a:uLnTx/>
                <a:uFillTx/>
                <a:latin typeface="Segoe UI"/>
                <a:ea typeface="+mn-ea"/>
                <a:cs typeface="+mn-cs"/>
              </a:rPr>
              <a:t>Government-run user community</a:t>
            </a:r>
          </a:p>
          <a:p>
            <a:pPr marL="204005" marR="0" lvl="1" indent="-205171" algn="l" defTabSz="932742" rtl="0" eaLnBrk="1" fontAlgn="auto" latinLnBrk="0" hangingPunct="1">
              <a:lnSpc>
                <a:spcPct val="100000"/>
              </a:lnSpc>
              <a:spcBef>
                <a:spcPts val="0"/>
              </a:spcBef>
              <a:spcAft>
                <a:spcPts val="0"/>
              </a:spcAft>
              <a:buClr>
                <a:srgbClr val="991F3D"/>
              </a:buClr>
              <a:buSzPct val="75000"/>
              <a:buFont typeface="Verdana" pitchFamily="34" charset="0"/>
              <a:buChar char="•"/>
              <a:tabLst/>
              <a:defRPr/>
            </a:pPr>
            <a:r>
              <a:rPr kumimoji="0" lang="en-US" sz="1836" b="0" i="0" u="none" strike="noStrike" kern="1200" cap="none" spc="0" normalizeH="0" baseline="0" noProof="0" dirty="0">
                <a:ln>
                  <a:noFill/>
                </a:ln>
                <a:solidFill>
                  <a:srgbClr val="363534"/>
                </a:solidFill>
                <a:effectLst/>
                <a:uLnTx/>
                <a:uFillTx/>
                <a:latin typeface="Segoe UI"/>
                <a:ea typeface="+mn-ea"/>
                <a:cs typeface="+mn-cs"/>
              </a:rPr>
              <a:t>Proven security</a:t>
            </a:r>
          </a:p>
          <a:p>
            <a:pPr marL="204005" marR="0" lvl="1" indent="-205171" algn="l" defTabSz="932742" rtl="0" eaLnBrk="1" fontAlgn="auto" latinLnBrk="0" hangingPunct="1">
              <a:lnSpc>
                <a:spcPct val="100000"/>
              </a:lnSpc>
              <a:spcBef>
                <a:spcPts val="0"/>
              </a:spcBef>
              <a:spcAft>
                <a:spcPts val="0"/>
              </a:spcAft>
              <a:buClr>
                <a:srgbClr val="991F3D"/>
              </a:buClr>
              <a:buSzPct val="75000"/>
              <a:buFont typeface="Verdana" pitchFamily="34" charset="0"/>
              <a:buChar char="•"/>
              <a:tabLst/>
              <a:defRPr/>
            </a:pPr>
            <a:endParaRPr kumimoji="0" lang="en-US" sz="1836" b="0" i="0" u="none" strike="noStrike" kern="1200" cap="none" spc="0" normalizeH="0" baseline="0" noProof="0" dirty="0">
              <a:ln>
                <a:noFill/>
              </a:ln>
              <a:solidFill>
                <a:srgbClr val="363534"/>
              </a:solidFill>
              <a:effectLst/>
              <a:uLnTx/>
              <a:uFillTx/>
              <a:latin typeface="Segoe UI"/>
              <a:ea typeface="+mn-ea"/>
              <a:cs typeface="+mn-cs"/>
            </a:endParaRPr>
          </a:p>
        </p:txBody>
      </p:sp>
      <p:sp>
        <p:nvSpPr>
          <p:cNvPr id="7" name="Arrondir un rectangle avec un coin du même côté 21"/>
          <p:cNvSpPr/>
          <p:nvPr/>
        </p:nvSpPr>
        <p:spPr bwMode="gray">
          <a:xfrm>
            <a:off x="2484359" y="1128516"/>
            <a:ext cx="9274150" cy="2129936"/>
          </a:xfrm>
          <a:prstGeom prst="round2SameRect">
            <a:avLst>
              <a:gd name="adj1" fmla="val 0"/>
              <a:gd name="adj2" fmla="val 0"/>
            </a:avLst>
          </a:prstGeom>
          <a:solidFill>
            <a:schemeClr val="bg2"/>
          </a:solidFill>
          <a:ln w="9525" algn="ctr">
            <a:solidFill>
              <a:schemeClr val="accent6"/>
            </a:solidFill>
            <a:miter lim="800000"/>
            <a:headEnd/>
            <a:tailEnd/>
          </a:ln>
          <a:effectLst/>
        </p:spPr>
        <p:txBody>
          <a:bodyPr lIns="93260" tIns="93260" rIns="93260" bIns="93260" rtlCol="0" anchor="ctr" anchorCtr="0">
            <a:noAutofit/>
          </a:bodyPr>
          <a:lstStyle/>
          <a:p>
            <a:pPr marL="349724" marR="0" lvl="0" indent="-349724" algn="l" defTabSz="932742" rtl="0" eaLnBrk="1" fontAlgn="auto" latinLnBrk="0" hangingPunct="1">
              <a:lnSpc>
                <a:spcPct val="100000"/>
              </a:lnSpc>
              <a:spcBef>
                <a:spcPts val="0"/>
              </a:spcBef>
              <a:spcAft>
                <a:spcPts val="0"/>
              </a:spcAft>
              <a:buClr>
                <a:srgbClr val="0078D7"/>
              </a:buClr>
              <a:buSzTx/>
              <a:buFont typeface="Arial" panose="020B0604020202020204" pitchFamily="34" charset="0"/>
              <a:buChar char="•"/>
              <a:tabLst/>
              <a:defRPr/>
            </a:pPr>
            <a:r>
              <a:rPr kumimoji="0" lang="fr-CA" sz="1836" b="0" i="0" u="none" strike="noStrike" kern="1200" cap="none" spc="0" normalizeH="0" baseline="0" noProof="0" dirty="0">
                <a:ln>
                  <a:noFill/>
                </a:ln>
                <a:solidFill>
                  <a:srgbClr val="505050"/>
                </a:solidFill>
                <a:effectLst/>
                <a:uLnTx/>
                <a:uFillTx/>
                <a:latin typeface="Segoe UI"/>
                <a:ea typeface="+mn-ea"/>
                <a:cs typeface="+mn-cs"/>
              </a:rPr>
              <a:t>Full-</a:t>
            </a:r>
            <a:r>
              <a:rPr kumimoji="0" lang="fr-CA" sz="1836" b="0" i="0" u="none" strike="noStrike" kern="1200" cap="none" spc="0" normalizeH="0" baseline="0" noProof="0" dirty="0" err="1">
                <a:ln>
                  <a:noFill/>
                </a:ln>
                <a:solidFill>
                  <a:srgbClr val="505050"/>
                </a:solidFill>
                <a:effectLst/>
                <a:uLnTx/>
                <a:uFillTx/>
                <a:latin typeface="Segoe UI"/>
                <a:ea typeface="+mn-ea"/>
                <a:cs typeface="+mn-cs"/>
              </a:rPr>
              <a:t>featured</a:t>
            </a:r>
            <a:r>
              <a:rPr kumimoji="0" lang="fr-CA" sz="1836" b="0" i="0" u="none" strike="noStrike" kern="1200" cap="none" spc="0" normalizeH="0" baseline="0" noProof="0" dirty="0">
                <a:ln>
                  <a:noFill/>
                </a:ln>
                <a:solidFill>
                  <a:srgbClr val="505050"/>
                </a:solidFill>
                <a:effectLst/>
                <a:uLnTx/>
                <a:uFillTx/>
                <a:latin typeface="Segoe UI"/>
                <a:ea typeface="+mn-ea"/>
                <a:cs typeface="+mn-cs"/>
              </a:rPr>
              <a:t>, flexible, web-</a:t>
            </a:r>
            <a:r>
              <a:rPr kumimoji="0" lang="fr-CA" sz="1836" b="0" i="0" u="none" strike="noStrike" kern="1200" cap="none" spc="0" normalizeH="0" baseline="0" noProof="0" dirty="0" err="1">
                <a:ln>
                  <a:noFill/>
                </a:ln>
                <a:solidFill>
                  <a:srgbClr val="505050"/>
                </a:solidFill>
                <a:effectLst/>
                <a:uLnTx/>
                <a:uFillTx/>
                <a:latin typeface="Segoe UI"/>
                <a:ea typeface="+mn-ea"/>
                <a:cs typeface="+mn-cs"/>
              </a:rPr>
              <a:t>based</a:t>
            </a:r>
            <a:r>
              <a:rPr kumimoji="0" lang="fr-CA" sz="1836" b="0" i="0" u="none" strike="noStrike" kern="1200" cap="none" spc="0" normalizeH="0" baseline="0" noProof="0" dirty="0">
                <a:ln>
                  <a:noFill/>
                </a:ln>
                <a:solidFill>
                  <a:srgbClr val="505050"/>
                </a:solidFill>
                <a:effectLst/>
                <a:uLnTx/>
                <a:uFillTx/>
                <a:latin typeface="Segoe UI"/>
                <a:ea typeface="+mn-ea"/>
                <a:cs typeface="+mn-cs"/>
              </a:rPr>
              <a:t> solution </a:t>
            </a:r>
            <a:r>
              <a:rPr kumimoji="0" lang="fr-CA" sz="1836" b="0" i="0" u="none" strike="noStrike" kern="1200" cap="none" spc="0" normalizeH="0" baseline="0" noProof="0" dirty="0" err="1">
                <a:ln>
                  <a:noFill/>
                </a:ln>
                <a:solidFill>
                  <a:srgbClr val="505050"/>
                </a:solidFill>
                <a:effectLst/>
                <a:uLnTx/>
                <a:uFillTx/>
                <a:latin typeface="Segoe UI"/>
                <a:ea typeface="+mn-ea"/>
                <a:cs typeface="+mn-cs"/>
              </a:rPr>
              <a:t>built</a:t>
            </a:r>
            <a:r>
              <a:rPr kumimoji="0" lang="fr-CA" sz="1836" b="0" i="0" u="none" strike="noStrike" kern="1200" cap="none" spc="0" normalizeH="0" baseline="0" noProof="0" dirty="0">
                <a:ln>
                  <a:noFill/>
                </a:ln>
                <a:solidFill>
                  <a:srgbClr val="505050"/>
                </a:solidFill>
                <a:effectLst/>
                <a:uLnTx/>
                <a:uFillTx/>
                <a:latin typeface="Segoe UI"/>
                <a:ea typeface="+mn-ea"/>
                <a:cs typeface="+mn-cs"/>
              </a:rPr>
              <a:t> to support the </a:t>
            </a:r>
            <a:r>
              <a:rPr kumimoji="0" lang="fr-CA" sz="1836" b="0" i="0" u="none" strike="noStrike" kern="1200" cap="none" spc="0" normalizeH="0" baseline="0" noProof="0" dirty="0" err="1">
                <a:ln>
                  <a:noFill/>
                </a:ln>
                <a:solidFill>
                  <a:srgbClr val="505050"/>
                </a:solidFill>
                <a:effectLst/>
                <a:uLnTx/>
                <a:uFillTx/>
                <a:latin typeface="Segoe UI"/>
                <a:ea typeface="+mn-ea"/>
                <a:cs typeface="+mn-cs"/>
              </a:rPr>
              <a:t>federal</a:t>
            </a:r>
            <a:r>
              <a:rPr kumimoji="0" lang="fr-CA" sz="1836" b="0" i="0" u="none" strike="noStrike" kern="1200" cap="none" spc="0" normalizeH="0" baseline="0" noProof="0" dirty="0">
                <a:ln>
                  <a:noFill/>
                </a:ln>
                <a:solidFill>
                  <a:srgbClr val="505050"/>
                </a:solidFill>
                <a:effectLst/>
                <a:uLnTx/>
                <a:uFillTx/>
                <a:latin typeface="Segoe UI"/>
                <a:ea typeface="+mn-ea"/>
                <a:cs typeface="+mn-cs"/>
              </a:rPr>
              <a:t> </a:t>
            </a:r>
            <a:r>
              <a:rPr kumimoji="0" lang="fr-CA" sz="1836" b="0" i="0" u="none" strike="noStrike" kern="1200" cap="none" spc="0" normalizeH="0" baseline="0" noProof="0" dirty="0" err="1">
                <a:ln>
                  <a:noFill/>
                </a:ln>
                <a:solidFill>
                  <a:srgbClr val="505050"/>
                </a:solidFill>
                <a:effectLst/>
                <a:uLnTx/>
                <a:uFillTx/>
                <a:latin typeface="Segoe UI"/>
                <a:ea typeface="+mn-ea"/>
                <a:cs typeface="+mn-cs"/>
              </a:rPr>
              <a:t>financial</a:t>
            </a:r>
            <a:r>
              <a:rPr kumimoji="0" lang="fr-CA" sz="1836" b="0" i="0" u="none" strike="noStrike" kern="1200" cap="none" spc="0" normalizeH="0" baseline="0" noProof="0" dirty="0">
                <a:ln>
                  <a:noFill/>
                </a:ln>
                <a:solidFill>
                  <a:srgbClr val="505050"/>
                </a:solidFill>
                <a:effectLst/>
                <a:uLnTx/>
                <a:uFillTx/>
                <a:latin typeface="Segoe UI"/>
                <a:ea typeface="+mn-ea"/>
                <a:cs typeface="+mn-cs"/>
              </a:rPr>
              <a:t>, budget, </a:t>
            </a:r>
            <a:r>
              <a:rPr kumimoji="0" lang="fr-CA" sz="1836" b="0" i="0" u="none" strike="noStrike" kern="1200" cap="none" spc="0" normalizeH="0" baseline="0" noProof="0" dirty="0" err="1">
                <a:ln>
                  <a:noFill/>
                </a:ln>
                <a:solidFill>
                  <a:srgbClr val="505050"/>
                </a:solidFill>
                <a:effectLst/>
                <a:uLnTx/>
                <a:uFillTx/>
                <a:latin typeface="Segoe UI"/>
                <a:ea typeface="+mn-ea"/>
                <a:cs typeface="+mn-cs"/>
              </a:rPr>
              <a:t>asset</a:t>
            </a:r>
            <a:r>
              <a:rPr kumimoji="0" lang="fr-CA" sz="1836" b="0" i="0" u="none" strike="noStrike" kern="1200" cap="none" spc="0" normalizeH="0" baseline="0" noProof="0" dirty="0">
                <a:ln>
                  <a:noFill/>
                </a:ln>
                <a:solidFill>
                  <a:srgbClr val="505050"/>
                </a:solidFill>
                <a:effectLst/>
                <a:uLnTx/>
                <a:uFillTx/>
                <a:latin typeface="Segoe UI"/>
                <a:ea typeface="+mn-ea"/>
                <a:cs typeface="+mn-cs"/>
              </a:rPr>
              <a:t>, and </a:t>
            </a:r>
            <a:r>
              <a:rPr kumimoji="0" lang="fr-CA" sz="1836" b="0" i="0" u="none" strike="noStrike" kern="1200" cap="none" spc="0" normalizeH="0" baseline="0" noProof="0" dirty="0" err="1">
                <a:ln>
                  <a:noFill/>
                </a:ln>
                <a:solidFill>
                  <a:srgbClr val="505050"/>
                </a:solidFill>
                <a:effectLst/>
                <a:uLnTx/>
                <a:uFillTx/>
                <a:latin typeface="Segoe UI"/>
                <a:ea typeface="+mn-ea"/>
                <a:cs typeface="+mn-cs"/>
              </a:rPr>
              <a:t>procurement</a:t>
            </a:r>
            <a:r>
              <a:rPr kumimoji="0" lang="fr-CA" sz="1836" b="0" i="0" u="none" strike="noStrike" kern="1200" cap="none" spc="0" normalizeH="0" baseline="0" noProof="0" dirty="0">
                <a:ln>
                  <a:noFill/>
                </a:ln>
                <a:solidFill>
                  <a:srgbClr val="505050"/>
                </a:solidFill>
                <a:effectLst/>
                <a:uLnTx/>
                <a:uFillTx/>
                <a:latin typeface="Segoe UI"/>
                <a:ea typeface="+mn-ea"/>
                <a:cs typeface="+mn-cs"/>
              </a:rPr>
              <a:t> management life cycles</a:t>
            </a:r>
          </a:p>
          <a:p>
            <a:pPr marL="349724" marR="0" lvl="0" indent="-349724" algn="l" defTabSz="932742" rtl="0" eaLnBrk="1" fontAlgn="auto" latinLnBrk="0" hangingPunct="1">
              <a:lnSpc>
                <a:spcPct val="100000"/>
              </a:lnSpc>
              <a:spcBef>
                <a:spcPts val="0"/>
              </a:spcBef>
              <a:spcAft>
                <a:spcPts val="0"/>
              </a:spcAft>
              <a:buClr>
                <a:srgbClr val="0078D7"/>
              </a:buClr>
              <a:buSzTx/>
              <a:buFont typeface="Arial" panose="020B0604020202020204" pitchFamily="34" charset="0"/>
              <a:buChar char="•"/>
              <a:tabLst/>
              <a:defRPr/>
            </a:pPr>
            <a:r>
              <a:rPr kumimoji="0" lang="en-US" sz="1836" b="0" i="0" u="none" strike="noStrike" kern="1200" cap="none" spc="0" normalizeH="0" baseline="0" noProof="0" dirty="0">
                <a:ln>
                  <a:noFill/>
                </a:ln>
                <a:solidFill>
                  <a:srgbClr val="505050"/>
                </a:solidFill>
                <a:effectLst/>
                <a:uLnTx/>
                <a:uFillTx/>
                <a:latin typeface="Segoe UI"/>
                <a:ea typeface="+mn-ea"/>
                <a:cs typeface="+mn-cs"/>
              </a:rPr>
              <a:t>Easily interoperable with SAP, Oracle</a:t>
            </a:r>
            <a:r>
              <a:rPr kumimoji="0" lang="en-US" sz="1836" b="1" i="0" u="none" strike="noStrike" kern="1200" cap="none" spc="0" normalizeH="0" baseline="0" noProof="0" dirty="0">
                <a:ln>
                  <a:noFill/>
                </a:ln>
                <a:solidFill>
                  <a:srgbClr val="505050"/>
                </a:solidFill>
                <a:effectLst/>
                <a:uLnTx/>
                <a:uFillTx/>
                <a:latin typeface="Segoe UI"/>
                <a:ea typeface="+mn-ea"/>
                <a:cs typeface="+mn-cs"/>
              </a:rPr>
              <a:t>, </a:t>
            </a:r>
            <a:r>
              <a:rPr kumimoji="0" lang="en-US" sz="1836" b="0" i="0" u="none" strike="noStrike" kern="1200" cap="none" spc="0" normalizeH="0" baseline="0" noProof="0" dirty="0">
                <a:ln>
                  <a:noFill/>
                </a:ln>
                <a:solidFill>
                  <a:srgbClr val="505050"/>
                </a:solidFill>
                <a:effectLst/>
                <a:uLnTx/>
                <a:uFillTx/>
                <a:latin typeface="Segoe UI"/>
                <a:ea typeface="+mn-ea"/>
                <a:cs typeface="+mn-cs"/>
              </a:rPr>
              <a:t>federal business system, and legacy systems </a:t>
            </a:r>
            <a:endParaRPr kumimoji="0" lang="fr-CA" sz="1836" b="0" i="0" u="none" strike="noStrike" kern="1200" cap="none" spc="0" normalizeH="0" baseline="0" noProof="0" dirty="0">
              <a:ln>
                <a:noFill/>
              </a:ln>
              <a:solidFill>
                <a:srgbClr val="505050"/>
              </a:solidFill>
              <a:effectLst/>
              <a:uLnTx/>
              <a:uFillTx/>
              <a:latin typeface="Segoe UI"/>
              <a:ea typeface="+mn-ea"/>
              <a:cs typeface="+mn-cs"/>
            </a:endParaRPr>
          </a:p>
          <a:p>
            <a:pPr marL="349724" marR="0" lvl="0" indent="-349724" algn="l" defTabSz="932742" rtl="0" eaLnBrk="1" fontAlgn="auto" latinLnBrk="0" hangingPunct="1">
              <a:lnSpc>
                <a:spcPct val="100000"/>
              </a:lnSpc>
              <a:spcBef>
                <a:spcPts val="0"/>
              </a:spcBef>
              <a:spcAft>
                <a:spcPts val="0"/>
              </a:spcAft>
              <a:buClr>
                <a:srgbClr val="0078D7"/>
              </a:buClr>
              <a:buSzTx/>
              <a:buFont typeface="Arial" panose="020B0604020202020204" pitchFamily="34" charset="0"/>
              <a:buChar char="•"/>
              <a:tabLst/>
              <a:defRPr/>
            </a:pPr>
            <a:r>
              <a:rPr kumimoji="0" lang="fr-CA" sz="1836" b="0" i="0" u="none" strike="noStrike" kern="1200" cap="none" spc="0" normalizeH="0" baseline="0" noProof="0" dirty="0" err="1">
                <a:ln>
                  <a:noFill/>
                </a:ln>
                <a:solidFill>
                  <a:srgbClr val="505050"/>
                </a:solidFill>
                <a:effectLst/>
                <a:uLnTx/>
                <a:uFillTx/>
                <a:latin typeface="Segoe UI"/>
                <a:ea typeface="+mn-ea"/>
                <a:cs typeface="+mn-cs"/>
              </a:rPr>
              <a:t>Successful</a:t>
            </a:r>
            <a:r>
              <a:rPr kumimoji="0" lang="fr-CA" sz="1836" b="0" i="0" u="none" strike="noStrike" kern="1200" cap="none" spc="0" normalizeH="0" baseline="0" noProof="0" dirty="0">
                <a:ln>
                  <a:noFill/>
                </a:ln>
                <a:solidFill>
                  <a:srgbClr val="505050"/>
                </a:solidFill>
                <a:effectLst/>
                <a:uLnTx/>
                <a:uFillTx/>
                <a:latin typeface="Segoe UI"/>
                <a:ea typeface="+mn-ea"/>
                <a:cs typeface="+mn-cs"/>
              </a:rPr>
              <a:t> conversion of millions of </a:t>
            </a:r>
            <a:r>
              <a:rPr kumimoji="0" lang="fr-CA" sz="1836" b="0" i="0" u="none" strike="noStrike" kern="1200" cap="none" spc="0" normalizeH="0" baseline="0" noProof="0" dirty="0" err="1">
                <a:ln>
                  <a:noFill/>
                </a:ln>
                <a:solidFill>
                  <a:srgbClr val="505050"/>
                </a:solidFill>
                <a:effectLst/>
                <a:uLnTx/>
                <a:uFillTx/>
                <a:latin typeface="Segoe UI"/>
                <a:ea typeface="+mn-ea"/>
                <a:cs typeface="+mn-cs"/>
              </a:rPr>
              <a:t>historical</a:t>
            </a:r>
            <a:r>
              <a:rPr kumimoji="0" lang="fr-CA" sz="1836" b="0" i="0" u="none" strike="noStrike" kern="1200" cap="none" spc="0" normalizeH="0" baseline="0" noProof="0" dirty="0">
                <a:ln>
                  <a:noFill/>
                </a:ln>
                <a:solidFill>
                  <a:srgbClr val="505050"/>
                </a:solidFill>
                <a:effectLst/>
                <a:uLnTx/>
                <a:uFillTx/>
                <a:latin typeface="Segoe UI"/>
                <a:ea typeface="+mn-ea"/>
                <a:cs typeface="+mn-cs"/>
              </a:rPr>
              <a:t> transactions </a:t>
            </a:r>
            <a:r>
              <a:rPr kumimoji="0" lang="fr-CA" sz="1836" b="0" i="0" u="none" strike="noStrike" kern="1200" cap="none" spc="0" normalizeH="0" baseline="0" noProof="0" dirty="0" err="1">
                <a:ln>
                  <a:noFill/>
                </a:ln>
                <a:solidFill>
                  <a:srgbClr val="505050"/>
                </a:solidFill>
                <a:effectLst/>
                <a:uLnTx/>
                <a:uFillTx/>
                <a:latin typeface="Segoe UI"/>
                <a:ea typeface="+mn-ea"/>
                <a:cs typeface="+mn-cs"/>
              </a:rPr>
              <a:t>from</a:t>
            </a:r>
            <a:r>
              <a:rPr kumimoji="0" lang="fr-CA" sz="1836" b="0" i="0" u="none" strike="noStrike" kern="1200" cap="none" spc="0" normalizeH="0" baseline="0" noProof="0" dirty="0">
                <a:ln>
                  <a:noFill/>
                </a:ln>
                <a:solidFill>
                  <a:srgbClr val="505050"/>
                </a:solidFill>
                <a:effectLst/>
                <a:uLnTx/>
                <a:uFillTx/>
                <a:latin typeface="Segoe UI"/>
                <a:ea typeface="+mn-ea"/>
                <a:cs typeface="+mn-cs"/>
              </a:rPr>
              <a:t> </a:t>
            </a:r>
            <a:r>
              <a:rPr kumimoji="0" lang="fr-CA" sz="1836" b="0" i="0" u="none" strike="noStrike" kern="1200" cap="none" spc="0" normalizeH="0" baseline="0" noProof="0" dirty="0" err="1">
                <a:ln>
                  <a:noFill/>
                </a:ln>
                <a:solidFill>
                  <a:srgbClr val="505050"/>
                </a:solidFill>
                <a:effectLst/>
                <a:uLnTx/>
                <a:uFillTx/>
                <a:latin typeface="Segoe UI"/>
                <a:ea typeface="+mn-ea"/>
                <a:cs typeface="+mn-cs"/>
              </a:rPr>
              <a:t>agency</a:t>
            </a:r>
            <a:r>
              <a:rPr kumimoji="0" lang="fr-CA" sz="1836" b="0" i="0" u="none" strike="noStrike" kern="1200" cap="none" spc="0" normalizeH="0" baseline="0" noProof="0" dirty="0">
                <a:ln>
                  <a:noFill/>
                </a:ln>
                <a:solidFill>
                  <a:srgbClr val="505050"/>
                </a:solidFill>
                <a:effectLst/>
                <a:uLnTx/>
                <a:uFillTx/>
                <a:latin typeface="Segoe UI"/>
                <a:ea typeface="+mn-ea"/>
                <a:cs typeface="+mn-cs"/>
              </a:rPr>
              <a:t> </a:t>
            </a:r>
            <a:r>
              <a:rPr kumimoji="0" lang="fr-CA" sz="1836" b="0" i="0" u="none" strike="noStrike" kern="1200" cap="none" spc="0" normalizeH="0" baseline="0" noProof="0" dirty="0" err="1">
                <a:ln>
                  <a:noFill/>
                </a:ln>
                <a:solidFill>
                  <a:srgbClr val="505050"/>
                </a:solidFill>
                <a:effectLst/>
                <a:uLnTx/>
                <a:uFillTx/>
                <a:latin typeface="Segoe UI"/>
                <a:ea typeface="+mn-ea"/>
                <a:cs typeface="+mn-cs"/>
              </a:rPr>
              <a:t>legacy</a:t>
            </a:r>
            <a:r>
              <a:rPr kumimoji="0" lang="fr-CA" sz="1836" b="0" i="0" u="none" strike="noStrike" kern="1200" cap="none" spc="0" normalizeH="0" baseline="0" noProof="0" dirty="0">
                <a:ln>
                  <a:noFill/>
                </a:ln>
                <a:solidFill>
                  <a:srgbClr val="505050"/>
                </a:solidFill>
                <a:effectLst/>
                <a:uLnTx/>
                <a:uFillTx/>
                <a:latin typeface="Segoe UI"/>
                <a:ea typeface="+mn-ea"/>
                <a:cs typeface="+mn-cs"/>
              </a:rPr>
              <a:t> </a:t>
            </a:r>
            <a:r>
              <a:rPr kumimoji="0" lang="fr-CA" sz="1836" b="0" i="0" u="none" strike="noStrike" kern="1200" cap="none" spc="0" normalizeH="0" baseline="0" noProof="0" dirty="0" err="1">
                <a:ln>
                  <a:noFill/>
                </a:ln>
                <a:solidFill>
                  <a:srgbClr val="505050"/>
                </a:solidFill>
                <a:effectLst/>
                <a:uLnTx/>
                <a:uFillTx/>
                <a:latin typeface="Segoe UI"/>
                <a:ea typeface="+mn-ea"/>
                <a:cs typeface="+mn-cs"/>
              </a:rPr>
              <a:t>systems</a:t>
            </a:r>
            <a:endParaRPr kumimoji="0" lang="fr-CA" sz="1836" b="0" i="0" u="none" strike="noStrike" kern="1200" cap="none" spc="0" normalizeH="0" baseline="0" noProof="0" dirty="0">
              <a:ln>
                <a:noFill/>
              </a:ln>
              <a:solidFill>
                <a:srgbClr val="505050"/>
              </a:solidFill>
              <a:effectLst/>
              <a:uLnTx/>
              <a:uFillTx/>
              <a:latin typeface="Segoe UI"/>
              <a:ea typeface="+mn-ea"/>
              <a:cs typeface="+mn-cs"/>
            </a:endParaRPr>
          </a:p>
          <a:p>
            <a:pPr marL="349724" marR="0" lvl="0" indent="-349724" algn="l" defTabSz="932742" rtl="0" eaLnBrk="1" fontAlgn="auto" latinLnBrk="0" hangingPunct="1">
              <a:lnSpc>
                <a:spcPct val="100000"/>
              </a:lnSpc>
              <a:spcBef>
                <a:spcPts val="0"/>
              </a:spcBef>
              <a:spcAft>
                <a:spcPts val="0"/>
              </a:spcAft>
              <a:buClr>
                <a:srgbClr val="0078D7"/>
              </a:buClr>
              <a:buSzTx/>
              <a:buFont typeface="Arial" panose="020B0604020202020204" pitchFamily="34" charset="0"/>
              <a:buChar char="•"/>
              <a:tabLst/>
              <a:defRPr/>
            </a:pPr>
            <a:r>
              <a:rPr kumimoji="0" lang="fr-CA" sz="1836" b="0" i="0" u="none" strike="noStrike" kern="1200" cap="none" spc="0" normalizeH="0" baseline="0" noProof="0" dirty="0" err="1">
                <a:ln>
                  <a:noFill/>
                </a:ln>
                <a:solidFill>
                  <a:srgbClr val="505050"/>
                </a:solidFill>
                <a:effectLst/>
                <a:uLnTx/>
                <a:uFillTx/>
                <a:latin typeface="Segoe UI"/>
                <a:ea typeface="+mn-ea"/>
                <a:cs typeface="+mn-cs"/>
              </a:rPr>
              <a:t>Offered</a:t>
            </a:r>
            <a:r>
              <a:rPr kumimoji="0" lang="fr-CA" sz="1836" b="0" i="0" u="none" strike="noStrike" kern="1200" cap="none" spc="0" normalizeH="0" baseline="0" noProof="0" dirty="0">
                <a:ln>
                  <a:noFill/>
                </a:ln>
                <a:solidFill>
                  <a:srgbClr val="505050"/>
                </a:solidFill>
                <a:effectLst/>
                <a:uLnTx/>
                <a:uFillTx/>
                <a:latin typeface="Segoe UI"/>
                <a:ea typeface="+mn-ea"/>
                <a:cs typeface="+mn-cs"/>
              </a:rPr>
              <a:t> as a </a:t>
            </a:r>
            <a:r>
              <a:rPr kumimoji="0" lang="fr-CA" sz="1836" b="0" i="0" u="none" strike="noStrike" kern="1200" cap="none" spc="0" normalizeH="0" baseline="0" noProof="0" dirty="0" err="1">
                <a:ln>
                  <a:noFill/>
                </a:ln>
                <a:solidFill>
                  <a:srgbClr val="505050"/>
                </a:solidFill>
                <a:effectLst/>
                <a:uLnTx/>
                <a:uFillTx/>
                <a:latin typeface="Segoe UI"/>
                <a:ea typeface="+mn-ea"/>
                <a:cs typeface="+mn-cs"/>
              </a:rPr>
              <a:t>shared</a:t>
            </a:r>
            <a:r>
              <a:rPr kumimoji="0" lang="fr-CA" sz="1836" b="0" i="0" u="none" strike="noStrike" kern="1200" cap="none" spc="0" normalizeH="0" baseline="0" noProof="0" dirty="0">
                <a:ln>
                  <a:noFill/>
                </a:ln>
                <a:solidFill>
                  <a:srgbClr val="505050"/>
                </a:solidFill>
                <a:effectLst/>
                <a:uLnTx/>
                <a:uFillTx/>
                <a:latin typeface="Segoe UI"/>
                <a:ea typeface="+mn-ea"/>
                <a:cs typeface="+mn-cs"/>
              </a:rPr>
              <a:t> service </a:t>
            </a:r>
            <a:r>
              <a:rPr kumimoji="0" lang="fr-CA" sz="1836" b="0" i="0" u="none" strike="noStrike" kern="1200" cap="none" spc="0" normalizeH="0" baseline="0" noProof="0" dirty="0" err="1">
                <a:ln>
                  <a:noFill/>
                </a:ln>
                <a:solidFill>
                  <a:srgbClr val="505050"/>
                </a:solidFill>
                <a:effectLst/>
                <a:uLnTx/>
                <a:uFillTx/>
                <a:latin typeface="Segoe UI"/>
                <a:ea typeface="+mn-ea"/>
                <a:cs typeface="+mn-cs"/>
              </a:rPr>
              <a:t>across</a:t>
            </a:r>
            <a:r>
              <a:rPr kumimoji="0" lang="fr-CA" sz="1836" b="0" i="0" u="none" strike="noStrike" kern="1200" cap="none" spc="0" normalizeH="0" baseline="0" noProof="0" dirty="0">
                <a:ln>
                  <a:noFill/>
                </a:ln>
                <a:solidFill>
                  <a:srgbClr val="505050"/>
                </a:solidFill>
                <a:effectLst/>
                <a:uLnTx/>
                <a:uFillTx/>
                <a:latin typeface="Segoe UI"/>
                <a:ea typeface="+mn-ea"/>
                <a:cs typeface="+mn-cs"/>
              </a:rPr>
              <a:t> all 3 branches of the </a:t>
            </a:r>
            <a:r>
              <a:rPr kumimoji="0" lang="fr-CA" sz="1836" b="0" i="0" u="none" strike="noStrike" kern="1200" cap="none" spc="0" normalizeH="0" baseline="0" noProof="0" dirty="0" err="1">
                <a:ln>
                  <a:noFill/>
                </a:ln>
                <a:solidFill>
                  <a:srgbClr val="505050"/>
                </a:solidFill>
                <a:effectLst/>
                <a:uLnTx/>
                <a:uFillTx/>
                <a:latin typeface="Segoe UI"/>
                <a:ea typeface="+mn-ea"/>
                <a:cs typeface="+mn-cs"/>
              </a:rPr>
              <a:t>federal</a:t>
            </a:r>
            <a:r>
              <a:rPr kumimoji="0" lang="fr-CA" sz="1836" b="0" i="0" u="none" strike="noStrike" kern="1200" cap="none" spc="0" normalizeH="0" baseline="0" noProof="0" dirty="0">
                <a:ln>
                  <a:noFill/>
                </a:ln>
                <a:solidFill>
                  <a:srgbClr val="505050"/>
                </a:solidFill>
                <a:effectLst/>
                <a:uLnTx/>
                <a:uFillTx/>
                <a:latin typeface="Segoe UI"/>
                <a:ea typeface="+mn-ea"/>
                <a:cs typeface="+mn-cs"/>
              </a:rPr>
              <a:t> </a:t>
            </a:r>
            <a:r>
              <a:rPr kumimoji="0" lang="fr-CA" sz="1836" b="0" i="0" u="none" strike="noStrike" kern="1200" cap="none" spc="0" normalizeH="0" baseline="0" noProof="0" dirty="0" err="1">
                <a:ln>
                  <a:noFill/>
                </a:ln>
                <a:solidFill>
                  <a:srgbClr val="505050"/>
                </a:solidFill>
                <a:effectLst/>
                <a:uLnTx/>
                <a:uFillTx/>
                <a:latin typeface="Segoe UI"/>
                <a:ea typeface="+mn-ea"/>
                <a:cs typeface="+mn-cs"/>
              </a:rPr>
              <a:t>government</a:t>
            </a:r>
            <a:r>
              <a:rPr kumimoji="0" lang="fr-CA" sz="1836" b="0" i="0" u="none" strike="noStrike" kern="1200" cap="none" spc="0" normalizeH="0" baseline="0" noProof="0" dirty="0">
                <a:ln>
                  <a:noFill/>
                </a:ln>
                <a:solidFill>
                  <a:srgbClr val="505050"/>
                </a:solidFill>
                <a:effectLst/>
                <a:uLnTx/>
                <a:uFillTx/>
                <a:latin typeface="Segoe UI"/>
                <a:ea typeface="+mn-ea"/>
                <a:cs typeface="+mn-cs"/>
              </a:rPr>
              <a:t> </a:t>
            </a:r>
          </a:p>
        </p:txBody>
      </p:sp>
      <p:sp>
        <p:nvSpPr>
          <p:cNvPr id="8" name="Arrondir un rectangle avec un coin du même côté 25"/>
          <p:cNvSpPr/>
          <p:nvPr/>
        </p:nvSpPr>
        <p:spPr bwMode="gray">
          <a:xfrm>
            <a:off x="4465674" y="4030178"/>
            <a:ext cx="4197392" cy="2217021"/>
          </a:xfrm>
          <a:prstGeom prst="round2SameRect">
            <a:avLst>
              <a:gd name="adj1" fmla="val 0"/>
              <a:gd name="adj2" fmla="val 0"/>
            </a:avLst>
          </a:prstGeom>
          <a:noFill/>
          <a:ln w="9525" algn="ctr">
            <a:noFill/>
            <a:miter lim="800000"/>
            <a:headEnd/>
            <a:tailEnd/>
          </a:ln>
          <a:effectLst/>
        </p:spPr>
        <p:txBody>
          <a:bodyPr lIns="93260" tIns="93260" rIns="93260" bIns="93260" rtlCol="0" anchor="t" anchorCtr="0"/>
          <a:lstStyle/>
          <a:p>
            <a:pPr marL="204005" marR="0" lvl="1" indent="-205171" algn="l" defTabSz="932742" rtl="0" eaLnBrk="1" fontAlgn="auto" latinLnBrk="0" hangingPunct="1">
              <a:lnSpc>
                <a:spcPct val="100000"/>
              </a:lnSpc>
              <a:spcBef>
                <a:spcPts val="0"/>
              </a:spcBef>
              <a:spcAft>
                <a:spcPts val="0"/>
              </a:spcAft>
              <a:buClr>
                <a:srgbClr val="991F3D"/>
              </a:buClr>
              <a:buSzPct val="75000"/>
              <a:buFont typeface="Verdana" pitchFamily="34" charset="0"/>
              <a:buChar char="•"/>
              <a:tabLst/>
              <a:defRPr/>
            </a:pPr>
            <a:endParaRPr kumimoji="0" lang="en-US" sz="1836" b="0" i="0" u="none" strike="noStrike" kern="1200" cap="none" spc="0" normalizeH="0" baseline="0" noProof="0" dirty="0">
              <a:ln>
                <a:noFill/>
              </a:ln>
              <a:solidFill>
                <a:srgbClr val="363534"/>
              </a:solidFill>
              <a:effectLst/>
              <a:uLnTx/>
              <a:uFillTx/>
              <a:latin typeface="Segoe UI"/>
              <a:ea typeface="+mn-ea"/>
              <a:cs typeface="+mn-cs"/>
            </a:endParaRPr>
          </a:p>
        </p:txBody>
      </p:sp>
      <p:sp>
        <p:nvSpPr>
          <p:cNvPr id="9" name="Arrondir un rectangle avec un coin du même côté 25"/>
          <p:cNvSpPr/>
          <p:nvPr/>
        </p:nvSpPr>
        <p:spPr bwMode="gray">
          <a:xfrm>
            <a:off x="5065205" y="3364035"/>
            <a:ext cx="3597860" cy="2994190"/>
          </a:xfrm>
          <a:prstGeom prst="round2SameRect">
            <a:avLst>
              <a:gd name="adj1" fmla="val 0"/>
              <a:gd name="adj2" fmla="val 0"/>
            </a:avLst>
          </a:prstGeom>
          <a:solidFill>
            <a:schemeClr val="bg1"/>
          </a:solidFill>
          <a:ln w="9525" algn="ctr">
            <a:solidFill>
              <a:schemeClr val="accent6"/>
            </a:solidFill>
            <a:miter lim="800000"/>
            <a:headEnd/>
            <a:tailEnd/>
          </a:ln>
          <a:effectLst/>
        </p:spPr>
        <p:txBody>
          <a:bodyPr lIns="93260" tIns="93260" rIns="93260" bIns="93260" rtlCol="0" anchor="t" anchorCtr="0"/>
          <a:lstStyle/>
          <a:p>
            <a:pPr marL="0" marR="0" lvl="1" indent="0" algn="l" defTabSz="932742" rtl="0" eaLnBrk="1" fontAlgn="auto" latinLnBrk="0" hangingPunct="1">
              <a:lnSpc>
                <a:spcPct val="100000"/>
              </a:lnSpc>
              <a:spcBef>
                <a:spcPts val="510"/>
              </a:spcBef>
              <a:spcAft>
                <a:spcPts val="0"/>
              </a:spcAft>
              <a:buClr>
                <a:srgbClr val="991F3D"/>
              </a:buClr>
              <a:buSzPct val="120000"/>
              <a:buFontTx/>
              <a:buNone/>
              <a:tabLst/>
              <a:defRPr/>
            </a:pPr>
            <a:r>
              <a:rPr kumimoji="0" lang="en-US" sz="1836" b="1" i="0" u="none" strike="noStrike" kern="1200" cap="none" spc="0" normalizeH="0" baseline="0" noProof="0" dirty="0">
                <a:ln>
                  <a:noFill/>
                </a:ln>
                <a:solidFill>
                  <a:srgbClr val="363534"/>
                </a:solidFill>
                <a:effectLst/>
                <a:uLnTx/>
                <a:uFillTx/>
                <a:latin typeface="Segoe UI"/>
                <a:ea typeface="+mn-ea"/>
                <a:cs typeface="+mn-cs"/>
              </a:rPr>
              <a:t>Select Clients</a:t>
            </a:r>
          </a:p>
          <a:p>
            <a:pPr marL="349724" marR="0" lvl="1" indent="-349724" algn="l" defTabSz="932742" rtl="0" eaLnBrk="1" fontAlgn="auto" latinLnBrk="0" hangingPunct="1">
              <a:lnSpc>
                <a:spcPct val="100000"/>
              </a:lnSpc>
              <a:spcBef>
                <a:spcPts val="0"/>
              </a:spcBef>
              <a:spcAft>
                <a:spcPts val="0"/>
              </a:spcAft>
              <a:buClr>
                <a:srgbClr val="991F3D"/>
              </a:buClr>
              <a:buSzPct val="120000"/>
              <a:buFont typeface="Arial" panose="020B0604020202020204" pitchFamily="34" charset="0"/>
              <a:buChar char="•"/>
              <a:tabLst/>
              <a:defRPr/>
            </a:pPr>
            <a:r>
              <a:rPr kumimoji="0" lang="en-US" sz="1632" b="0" i="0" u="none" strike="noStrike" kern="1200" cap="none" spc="0" normalizeH="0" baseline="0" noProof="0" dirty="0">
                <a:ln>
                  <a:noFill/>
                </a:ln>
                <a:solidFill>
                  <a:srgbClr val="363534"/>
                </a:solidFill>
                <a:effectLst/>
                <a:uLnTx/>
                <a:uFillTx/>
                <a:latin typeface="Segoe UI"/>
                <a:ea typeface="+mn-ea"/>
                <a:cs typeface="+mn-cs"/>
              </a:rPr>
              <a:t>U.S. PTO</a:t>
            </a:r>
          </a:p>
          <a:p>
            <a:pPr marL="349724" marR="0" lvl="1" indent="-349724" algn="l" defTabSz="932742" rtl="0" eaLnBrk="1" fontAlgn="auto" latinLnBrk="0" hangingPunct="1">
              <a:lnSpc>
                <a:spcPct val="100000"/>
              </a:lnSpc>
              <a:spcBef>
                <a:spcPts val="0"/>
              </a:spcBef>
              <a:spcAft>
                <a:spcPts val="0"/>
              </a:spcAft>
              <a:buClr>
                <a:srgbClr val="991F3D"/>
              </a:buClr>
              <a:buSzPct val="120000"/>
              <a:buFont typeface="Arial" panose="020B0604020202020204" pitchFamily="34" charset="0"/>
              <a:buChar char="•"/>
              <a:tabLst/>
              <a:defRPr/>
            </a:pPr>
            <a:r>
              <a:rPr kumimoji="0" lang="en-US" sz="1632" b="0" i="0" u="none" strike="noStrike" kern="1200" cap="none" spc="0" normalizeH="0" baseline="0" noProof="0" dirty="0">
                <a:ln>
                  <a:noFill/>
                </a:ln>
                <a:solidFill>
                  <a:srgbClr val="363534"/>
                </a:solidFill>
                <a:effectLst/>
                <a:uLnTx/>
                <a:uFillTx/>
                <a:latin typeface="Segoe UI"/>
                <a:ea typeface="+mn-ea"/>
                <a:cs typeface="+mn-cs"/>
              </a:rPr>
              <a:t>DOJ</a:t>
            </a:r>
          </a:p>
          <a:p>
            <a:pPr marL="349724" marR="0" lvl="1" indent="-349724" algn="l" defTabSz="932742" rtl="0" eaLnBrk="1" fontAlgn="auto" latinLnBrk="0" hangingPunct="1">
              <a:lnSpc>
                <a:spcPct val="100000"/>
              </a:lnSpc>
              <a:spcBef>
                <a:spcPts val="0"/>
              </a:spcBef>
              <a:spcAft>
                <a:spcPts val="0"/>
              </a:spcAft>
              <a:buClr>
                <a:srgbClr val="991F3D"/>
              </a:buClr>
              <a:buSzPct val="120000"/>
              <a:buFont typeface="Arial" panose="020B0604020202020204" pitchFamily="34" charset="0"/>
              <a:buChar char="•"/>
              <a:tabLst/>
              <a:defRPr/>
            </a:pPr>
            <a:r>
              <a:rPr kumimoji="0" lang="en-US" sz="1632" b="0" i="0" u="none" strike="noStrike" kern="1200" cap="none" spc="0" normalizeH="0" baseline="0" noProof="0" dirty="0">
                <a:ln>
                  <a:noFill/>
                </a:ln>
                <a:solidFill>
                  <a:srgbClr val="363534"/>
                </a:solidFill>
                <a:effectLst/>
                <a:uLnTx/>
                <a:uFillTx/>
                <a:latin typeface="Segoe UI"/>
                <a:ea typeface="+mn-ea"/>
                <a:cs typeface="+mn-cs"/>
              </a:rPr>
              <a:t>State</a:t>
            </a:r>
          </a:p>
          <a:p>
            <a:pPr marL="349724" marR="0" lvl="1" indent="-349724" algn="l" defTabSz="932742" rtl="0" eaLnBrk="1" fontAlgn="auto" latinLnBrk="0" hangingPunct="1">
              <a:lnSpc>
                <a:spcPct val="100000"/>
              </a:lnSpc>
              <a:spcBef>
                <a:spcPts val="0"/>
              </a:spcBef>
              <a:spcAft>
                <a:spcPts val="0"/>
              </a:spcAft>
              <a:buClr>
                <a:srgbClr val="991F3D"/>
              </a:buClr>
              <a:buSzPct val="120000"/>
              <a:buFont typeface="Arial" panose="020B0604020202020204" pitchFamily="34" charset="0"/>
              <a:buChar char="•"/>
              <a:tabLst/>
              <a:defRPr/>
            </a:pPr>
            <a:r>
              <a:rPr kumimoji="0" lang="en-US" sz="1632" b="0" i="0" u="none" strike="noStrike" kern="1200" cap="none" spc="0" normalizeH="0" baseline="0" noProof="0" dirty="0">
                <a:ln>
                  <a:noFill/>
                </a:ln>
                <a:solidFill>
                  <a:srgbClr val="363534"/>
                </a:solidFill>
                <a:effectLst/>
                <a:uLnTx/>
                <a:uFillTx/>
                <a:latin typeface="Segoe UI"/>
                <a:ea typeface="+mn-ea"/>
                <a:cs typeface="+mn-cs"/>
              </a:rPr>
              <a:t>Library of Congress</a:t>
            </a:r>
          </a:p>
          <a:p>
            <a:pPr marL="349724" marR="0" lvl="1" indent="-349724" algn="l" defTabSz="932742" rtl="0" eaLnBrk="1" fontAlgn="auto" latinLnBrk="0" hangingPunct="1">
              <a:lnSpc>
                <a:spcPct val="100000"/>
              </a:lnSpc>
              <a:spcBef>
                <a:spcPts val="0"/>
              </a:spcBef>
              <a:spcAft>
                <a:spcPts val="0"/>
              </a:spcAft>
              <a:buClr>
                <a:srgbClr val="991F3D"/>
              </a:buClr>
              <a:buSzPct val="120000"/>
              <a:buFont typeface="Arial" panose="020B0604020202020204" pitchFamily="34" charset="0"/>
              <a:buChar char="•"/>
              <a:tabLst/>
              <a:defRPr/>
            </a:pPr>
            <a:r>
              <a:rPr kumimoji="0" lang="en-US" sz="1632" b="0" i="0" u="none" strike="noStrike" kern="1200" cap="none" spc="0" normalizeH="0" baseline="0" noProof="0" dirty="0">
                <a:ln>
                  <a:noFill/>
                </a:ln>
                <a:solidFill>
                  <a:srgbClr val="363534"/>
                </a:solidFill>
                <a:effectLst/>
                <a:uLnTx/>
                <a:uFillTx/>
                <a:latin typeface="Segoe UI"/>
                <a:ea typeface="+mn-ea"/>
                <a:cs typeface="+mn-cs"/>
              </a:rPr>
              <a:t>US Courts</a:t>
            </a:r>
          </a:p>
          <a:p>
            <a:pPr marL="349724" marR="0" lvl="1" indent="-349724" algn="l" defTabSz="932742" rtl="0" eaLnBrk="1" fontAlgn="auto" latinLnBrk="0" hangingPunct="1">
              <a:lnSpc>
                <a:spcPct val="100000"/>
              </a:lnSpc>
              <a:spcBef>
                <a:spcPts val="0"/>
              </a:spcBef>
              <a:spcAft>
                <a:spcPts val="0"/>
              </a:spcAft>
              <a:buClr>
                <a:srgbClr val="991F3D"/>
              </a:buClr>
              <a:buSzPct val="120000"/>
              <a:buFont typeface="Arial" panose="020B0604020202020204" pitchFamily="34" charset="0"/>
              <a:buChar char="•"/>
              <a:tabLst/>
              <a:defRPr/>
            </a:pPr>
            <a:r>
              <a:rPr kumimoji="0" lang="en-US" sz="1632" b="0" i="0" u="none" strike="noStrike" kern="1200" cap="none" spc="0" normalizeH="0" baseline="0" noProof="0" dirty="0">
                <a:ln>
                  <a:noFill/>
                </a:ln>
                <a:solidFill>
                  <a:srgbClr val="363534"/>
                </a:solidFill>
                <a:effectLst/>
                <a:uLnTx/>
                <a:uFillTx/>
                <a:latin typeface="Segoe UI"/>
                <a:ea typeface="+mn-ea"/>
                <a:cs typeface="+mn-cs"/>
              </a:rPr>
              <a:t>Office of the Undersecretary of Defense</a:t>
            </a:r>
          </a:p>
          <a:p>
            <a:pPr marL="349724" marR="0" lvl="1" indent="-349724" algn="l" defTabSz="932742" rtl="0" eaLnBrk="1" fontAlgn="auto" latinLnBrk="0" hangingPunct="1">
              <a:lnSpc>
                <a:spcPct val="100000"/>
              </a:lnSpc>
              <a:spcBef>
                <a:spcPts val="0"/>
              </a:spcBef>
              <a:spcAft>
                <a:spcPts val="0"/>
              </a:spcAft>
              <a:buClr>
                <a:srgbClr val="991F3D"/>
              </a:buClr>
              <a:buSzPct val="120000"/>
              <a:buFont typeface="Arial" panose="020B0604020202020204" pitchFamily="34" charset="0"/>
              <a:buChar char="•"/>
              <a:tabLst/>
              <a:defRPr/>
            </a:pPr>
            <a:r>
              <a:rPr kumimoji="0" lang="en-US" sz="1632" b="0" i="0" u="none" strike="noStrike" kern="1200" cap="none" spc="0" normalizeH="0" baseline="0" noProof="0" dirty="0">
                <a:ln>
                  <a:noFill/>
                </a:ln>
                <a:solidFill>
                  <a:srgbClr val="363534"/>
                </a:solidFill>
                <a:effectLst/>
                <a:uLnTx/>
                <a:uFillTx/>
                <a:latin typeface="Segoe UI"/>
                <a:ea typeface="+mn-ea"/>
                <a:cs typeface="+mn-cs"/>
              </a:rPr>
              <a:t>EPA</a:t>
            </a:r>
          </a:p>
          <a:p>
            <a:pPr marL="349724" marR="0" lvl="1" indent="-349724" algn="l" defTabSz="932742" rtl="0" eaLnBrk="1" fontAlgn="auto" latinLnBrk="0" hangingPunct="1">
              <a:lnSpc>
                <a:spcPct val="100000"/>
              </a:lnSpc>
              <a:spcBef>
                <a:spcPts val="0"/>
              </a:spcBef>
              <a:spcAft>
                <a:spcPts val="0"/>
              </a:spcAft>
              <a:buClr>
                <a:srgbClr val="991F3D"/>
              </a:buClr>
              <a:buSzPct val="120000"/>
              <a:buFont typeface="Arial" panose="020B0604020202020204" pitchFamily="34" charset="0"/>
              <a:buChar char="•"/>
              <a:tabLst/>
              <a:defRPr/>
            </a:pPr>
            <a:r>
              <a:rPr kumimoji="0" lang="en-US" sz="1632" b="0" i="0" u="none" strike="noStrike" kern="1200" cap="none" spc="0" normalizeH="0" baseline="0" noProof="0" dirty="0">
                <a:ln>
                  <a:noFill/>
                </a:ln>
                <a:solidFill>
                  <a:srgbClr val="363534"/>
                </a:solidFill>
                <a:effectLst/>
                <a:uLnTx/>
                <a:uFillTx/>
                <a:latin typeface="Segoe UI"/>
                <a:ea typeface="+mn-ea"/>
                <a:cs typeface="+mn-cs"/>
              </a:rPr>
              <a:t>USAID</a:t>
            </a:r>
          </a:p>
          <a:p>
            <a:pPr marL="349724" marR="0" lvl="1" indent="-349724" algn="l" defTabSz="932742" rtl="0" eaLnBrk="1" fontAlgn="auto" latinLnBrk="0" hangingPunct="1">
              <a:lnSpc>
                <a:spcPct val="100000"/>
              </a:lnSpc>
              <a:spcBef>
                <a:spcPts val="0"/>
              </a:spcBef>
              <a:spcAft>
                <a:spcPts val="0"/>
              </a:spcAft>
              <a:buClr>
                <a:srgbClr val="991F3D"/>
              </a:buClr>
              <a:buSzPct val="120000"/>
              <a:buFont typeface="Arial" panose="020B0604020202020204" pitchFamily="34" charset="0"/>
              <a:buChar char="•"/>
              <a:tabLst/>
              <a:defRPr/>
            </a:pPr>
            <a:r>
              <a:rPr kumimoji="0" lang="en-US" sz="1632" b="0" i="0" u="none" strike="noStrike" kern="1200" cap="none" spc="0" normalizeH="0" baseline="0" noProof="0" dirty="0">
                <a:ln>
                  <a:noFill/>
                </a:ln>
                <a:solidFill>
                  <a:srgbClr val="363534"/>
                </a:solidFill>
                <a:effectLst/>
                <a:uLnTx/>
                <a:uFillTx/>
                <a:latin typeface="Segoe UI"/>
                <a:ea typeface="+mn-ea"/>
                <a:cs typeface="+mn-cs"/>
              </a:rPr>
              <a:t>10 Intelligence Agencies</a:t>
            </a:r>
          </a:p>
        </p:txBody>
      </p:sp>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3747" y="1234099"/>
            <a:ext cx="1829144" cy="1796865"/>
          </a:xfrm>
          <a:prstGeom prst="rect">
            <a:avLst/>
          </a:prstGeom>
        </p:spPr>
      </p:pic>
    </p:spTree>
    <p:extLst>
      <p:ext uri="{BB962C8B-B14F-4D97-AF65-F5344CB8AC3E}">
        <p14:creationId xmlns:p14="http://schemas.microsoft.com/office/powerpoint/2010/main" val="3555613625"/>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Records Management as a Service (</a:t>
            </a:r>
            <a:r>
              <a:rPr lang="fr-CA" dirty="0" err="1"/>
              <a:t>RMaaS</a:t>
            </a:r>
            <a:r>
              <a:rPr lang="fr-CA" dirty="0"/>
              <a:t>) at a </a:t>
            </a:r>
            <a:r>
              <a:rPr lang="fr-CA" dirty="0" err="1"/>
              <a:t>glance</a:t>
            </a:r>
            <a:endParaRPr lang="fr-CA" dirty="0"/>
          </a:p>
        </p:txBody>
      </p:sp>
      <p:sp>
        <p:nvSpPr>
          <p:cNvPr id="4" name="Slide Number Placeholder 3"/>
          <p:cNvSpPr>
            <a:spLocks noGrp="1"/>
          </p:cNvSpPr>
          <p:nvPr>
            <p:ph type="sldNum" sz="quarter" idx="12"/>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525A3C56-E491-49B2-93F3-63532DF516BC}" type="slidenum">
              <a:rPr kumimoji="0" 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95</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Arrondir un rectangle avec un coin du même côté 21"/>
          <p:cNvSpPr/>
          <p:nvPr/>
        </p:nvSpPr>
        <p:spPr bwMode="gray">
          <a:xfrm>
            <a:off x="611126" y="3841438"/>
            <a:ext cx="7995752" cy="2405762"/>
          </a:xfrm>
          <a:prstGeom prst="round2SameRect">
            <a:avLst>
              <a:gd name="adj1" fmla="val 0"/>
              <a:gd name="adj2" fmla="val 0"/>
            </a:avLst>
          </a:prstGeom>
          <a:solidFill>
            <a:schemeClr val="bg2"/>
          </a:solidFill>
          <a:ln w="9525" algn="ctr">
            <a:solidFill>
              <a:schemeClr val="accent6"/>
            </a:solidFill>
            <a:miter lim="800000"/>
            <a:headEnd/>
            <a:tailEnd/>
          </a:ln>
          <a:effectLst/>
        </p:spPr>
        <p:txBody>
          <a:bodyPr lIns="93260" tIns="93260" rIns="93260" bIns="93260" rtlCol="0" anchor="t" anchorCtr="0">
            <a:noAutofit/>
          </a:bodyPr>
          <a:lstStyle/>
          <a:p>
            <a:pPr marL="0" marR="0" lvl="1" indent="0" algn="l" defTabSz="932742" rtl="0" eaLnBrk="1" fontAlgn="auto" latinLnBrk="0" hangingPunct="1">
              <a:lnSpc>
                <a:spcPct val="100000"/>
              </a:lnSpc>
              <a:spcBef>
                <a:spcPts val="510"/>
              </a:spcBef>
              <a:spcAft>
                <a:spcPts val="0"/>
              </a:spcAft>
              <a:buClr>
                <a:srgbClr val="0078D7"/>
              </a:buClr>
              <a:buSzPct val="120000"/>
              <a:buFontTx/>
              <a:buNone/>
              <a:tabLst/>
              <a:defRPr/>
            </a:pPr>
            <a:r>
              <a:rPr kumimoji="0" lang="en-CA" sz="1836" b="1" i="0" u="none" strike="noStrike" kern="1200" cap="none" spc="0" normalizeH="0" baseline="0" noProof="0" dirty="0">
                <a:ln>
                  <a:noFill/>
                </a:ln>
                <a:solidFill>
                  <a:srgbClr val="505050"/>
                </a:solidFill>
                <a:effectLst/>
                <a:uLnTx/>
                <a:uFillTx/>
                <a:latin typeface="Segoe UI"/>
                <a:ea typeface="+mn-ea"/>
                <a:cs typeface="+mn-cs"/>
              </a:rPr>
              <a:t>Key Benefits</a:t>
            </a:r>
            <a:endParaRPr kumimoji="0" lang="en-US" sz="714" b="1" i="0" u="none" strike="noStrike" kern="1200" cap="none" spc="0" normalizeH="0" baseline="0" noProof="0" dirty="0">
              <a:ln>
                <a:noFill/>
              </a:ln>
              <a:solidFill>
                <a:srgbClr val="505050"/>
              </a:solidFill>
              <a:effectLst/>
              <a:uLnTx/>
              <a:uFillTx/>
              <a:latin typeface="Segoe UI"/>
              <a:ea typeface="+mn-ea"/>
              <a:cs typeface="+mn-cs"/>
            </a:endParaRPr>
          </a:p>
          <a:p>
            <a:pPr marL="291436" marR="0" lvl="0" indent="-291436" algn="l" defTabSz="932742" rtl="0" eaLnBrk="1" fontAlgn="auto" latinLnBrk="0" hangingPunct="1">
              <a:lnSpc>
                <a:spcPct val="100000"/>
              </a:lnSpc>
              <a:spcBef>
                <a:spcPts val="0"/>
              </a:spcBef>
              <a:spcAft>
                <a:spcPts val="0"/>
              </a:spcAft>
              <a:buClr>
                <a:srgbClr val="0078D7"/>
              </a:buClr>
              <a:buSzTx/>
              <a:buFont typeface="Arial" panose="020B0604020202020204" pitchFamily="34" charset="0"/>
              <a:buChar char="•"/>
              <a:tabLst/>
              <a:defRPr/>
            </a:pPr>
            <a:r>
              <a:rPr kumimoji="0" lang="en-US" sz="1836" b="0" i="0" u="none" strike="noStrike" kern="1200" cap="none" spc="0" normalizeH="0" baseline="0" noProof="0" dirty="0">
                <a:ln>
                  <a:noFill/>
                </a:ln>
                <a:solidFill>
                  <a:srgbClr val="505050"/>
                </a:solidFill>
                <a:effectLst/>
                <a:uLnTx/>
                <a:uFillTx/>
                <a:latin typeface="Segoe UI"/>
                <a:ea typeface="+mn-ea"/>
                <a:cs typeface="+mn-cs"/>
              </a:rPr>
              <a:t>Rapid, low-risk achievement of the 2016 and 2019 Presidential Mandates for records management</a:t>
            </a:r>
          </a:p>
          <a:p>
            <a:pPr marL="291436" marR="0" lvl="0" indent="-291436" algn="l" defTabSz="932742" rtl="0" eaLnBrk="1" fontAlgn="auto" latinLnBrk="0" hangingPunct="1">
              <a:lnSpc>
                <a:spcPct val="100000"/>
              </a:lnSpc>
              <a:spcBef>
                <a:spcPts val="0"/>
              </a:spcBef>
              <a:spcAft>
                <a:spcPts val="0"/>
              </a:spcAft>
              <a:buClr>
                <a:srgbClr val="0078D7"/>
              </a:buClr>
              <a:buSzTx/>
              <a:buFont typeface="Arial" panose="020B0604020202020204" pitchFamily="34" charset="0"/>
              <a:buChar char="•"/>
              <a:tabLst/>
              <a:defRPr/>
            </a:pPr>
            <a:r>
              <a:rPr kumimoji="0" lang="en-US" sz="1836" b="0" i="0" u="none" strike="noStrike" kern="1200" cap="none" spc="0" normalizeH="0" baseline="0" noProof="0" dirty="0">
                <a:ln>
                  <a:noFill/>
                </a:ln>
                <a:solidFill>
                  <a:srgbClr val="505050"/>
                </a:solidFill>
                <a:effectLst/>
                <a:uLnTx/>
                <a:uFillTx/>
                <a:latin typeface="Segoe UI"/>
                <a:ea typeface="+mn-ea"/>
                <a:cs typeface="+mn-cs"/>
              </a:rPr>
              <a:t>Improved time to compliance and productivity </a:t>
            </a:r>
          </a:p>
          <a:p>
            <a:pPr marL="291436" marR="0" lvl="0" indent="-291436" algn="l" defTabSz="932742" rtl="0" eaLnBrk="1" fontAlgn="auto" latinLnBrk="0" hangingPunct="1">
              <a:lnSpc>
                <a:spcPct val="100000"/>
              </a:lnSpc>
              <a:spcBef>
                <a:spcPts val="0"/>
              </a:spcBef>
              <a:spcAft>
                <a:spcPts val="0"/>
              </a:spcAft>
              <a:buClr>
                <a:srgbClr val="0078D7"/>
              </a:buClr>
              <a:buSzTx/>
              <a:buFont typeface="Arial" panose="020B0604020202020204" pitchFamily="34" charset="0"/>
              <a:buChar char="•"/>
              <a:tabLst/>
              <a:defRPr/>
            </a:pPr>
            <a:r>
              <a:rPr kumimoji="0" lang="en-US" sz="1836" b="0" i="0" u="none" strike="noStrike" kern="1200" cap="none" spc="0" normalizeH="0" baseline="0" noProof="0" dirty="0">
                <a:ln>
                  <a:noFill/>
                </a:ln>
                <a:solidFill>
                  <a:srgbClr val="505050"/>
                </a:solidFill>
                <a:effectLst/>
                <a:uLnTx/>
                <a:uFillTx/>
                <a:latin typeface="Segoe UI"/>
                <a:ea typeface="+mn-ea"/>
                <a:cs typeface="+mn-cs"/>
              </a:rPr>
              <a:t>Department of Defense 5015.2 certified records management environment</a:t>
            </a:r>
          </a:p>
          <a:p>
            <a:pPr marL="291436" marR="0" lvl="0" indent="-291436" algn="l" defTabSz="932742" rtl="0" eaLnBrk="1" fontAlgn="auto" latinLnBrk="0" hangingPunct="1">
              <a:lnSpc>
                <a:spcPct val="100000"/>
              </a:lnSpc>
              <a:spcBef>
                <a:spcPts val="0"/>
              </a:spcBef>
              <a:spcAft>
                <a:spcPts val="0"/>
              </a:spcAft>
              <a:buClr>
                <a:srgbClr val="0078D7"/>
              </a:buClr>
              <a:buSzTx/>
              <a:buFont typeface="Arial" panose="020B0604020202020204" pitchFamily="34" charset="0"/>
              <a:buChar char="•"/>
              <a:tabLst/>
              <a:defRPr/>
            </a:pPr>
            <a:r>
              <a:rPr kumimoji="0" lang="en-US" sz="1836" b="0" i="0" u="none" strike="noStrike" kern="1200" cap="none" spc="0" normalizeH="0" baseline="0" noProof="0" dirty="0">
                <a:ln>
                  <a:noFill/>
                </a:ln>
                <a:solidFill>
                  <a:srgbClr val="505050"/>
                </a:solidFill>
                <a:effectLst/>
                <a:uLnTx/>
                <a:uFillTx/>
                <a:latin typeface="Segoe UI"/>
                <a:ea typeface="+mn-ea"/>
                <a:cs typeface="+mn-cs"/>
              </a:rPr>
              <a:t>Confidence in working with a skilled RM partner </a:t>
            </a:r>
          </a:p>
          <a:p>
            <a:pPr marL="291436" marR="0" lvl="0" indent="-291436" algn="l" defTabSz="932742" rtl="0" eaLnBrk="1" fontAlgn="auto" latinLnBrk="0" hangingPunct="1">
              <a:lnSpc>
                <a:spcPct val="100000"/>
              </a:lnSpc>
              <a:spcBef>
                <a:spcPts val="0"/>
              </a:spcBef>
              <a:spcAft>
                <a:spcPts val="0"/>
              </a:spcAft>
              <a:buClr>
                <a:srgbClr val="0078D7"/>
              </a:buClr>
              <a:buSzTx/>
              <a:buFont typeface="Arial" panose="020B0604020202020204" pitchFamily="34" charset="0"/>
              <a:buChar char="•"/>
              <a:tabLst/>
              <a:defRPr/>
            </a:pPr>
            <a:r>
              <a:rPr kumimoji="0" lang="en-US" sz="1836" b="0" i="0" u="none" strike="noStrike" kern="1200" cap="none" spc="0" normalizeH="0" baseline="0" noProof="0" dirty="0">
                <a:ln>
                  <a:noFill/>
                </a:ln>
                <a:solidFill>
                  <a:srgbClr val="505050"/>
                </a:solidFill>
                <a:effectLst/>
                <a:uLnTx/>
                <a:uFillTx/>
                <a:latin typeface="Segoe UI"/>
                <a:ea typeface="+mn-ea"/>
                <a:cs typeface="+mn-cs"/>
              </a:rPr>
              <a:t>Optimized process for workloads ideal for cloud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Arrondir un rectangle avec un coin du même côté 21"/>
          <p:cNvSpPr/>
          <p:nvPr/>
        </p:nvSpPr>
        <p:spPr bwMode="gray">
          <a:xfrm>
            <a:off x="611126" y="1123070"/>
            <a:ext cx="9583398" cy="2588054"/>
          </a:xfrm>
          <a:prstGeom prst="round2SameRect">
            <a:avLst>
              <a:gd name="adj1" fmla="val 0"/>
              <a:gd name="adj2" fmla="val 0"/>
            </a:avLst>
          </a:prstGeom>
          <a:solidFill>
            <a:schemeClr val="bg2"/>
          </a:solidFill>
          <a:ln w="9525" algn="ctr">
            <a:solidFill>
              <a:schemeClr val="accent6"/>
            </a:solidFill>
            <a:miter lim="800000"/>
            <a:headEnd/>
            <a:tailEnd/>
          </a:ln>
          <a:effectLst/>
        </p:spPr>
        <p:txBody>
          <a:bodyPr lIns="93260" tIns="93260" rIns="93260" bIns="93260" rtlCol="0" anchor="t" anchorCtr="0">
            <a:noAutofit/>
          </a:bodyPr>
          <a:lstStyle/>
          <a:p>
            <a:pPr marL="184576" marR="0" lvl="0" indent="-184576" algn="l" defTabSz="932742" rtl="0" eaLnBrk="1" fontAlgn="auto" latinLnBrk="0" hangingPunct="1">
              <a:lnSpc>
                <a:spcPct val="100000"/>
              </a:lnSpc>
              <a:spcBef>
                <a:spcPts val="0"/>
              </a:spcBef>
              <a:spcAft>
                <a:spcPct val="20000"/>
              </a:spcAft>
              <a:buClr>
                <a:srgbClr val="E31937"/>
              </a:buClr>
              <a:buSzPct val="80000"/>
              <a:buFont typeface="Arial" charset="0"/>
              <a:buChar char="•"/>
              <a:tabLst/>
              <a:defRPr/>
            </a:pPr>
            <a:r>
              <a:rPr kumimoji="0" lang="en-US" sz="1836" b="0" i="0" u="none" strike="noStrike" kern="1200" cap="none" spc="0" normalizeH="0" baseline="0" noProof="0" dirty="0">
                <a:ln>
                  <a:noFill/>
                </a:ln>
                <a:solidFill>
                  <a:srgbClr val="505050"/>
                </a:solidFill>
                <a:effectLst/>
                <a:uLnTx/>
                <a:uFillTx/>
                <a:latin typeface="Segoe UI"/>
                <a:ea typeface="+mn-ea"/>
                <a:cs typeface="+mn-cs"/>
              </a:rPr>
              <a:t>Enables agencies to implement electronic records management to comply with the presidential directive, quickly and with lower risk</a:t>
            </a:r>
            <a:endParaRPr kumimoji="0" lang="en-US" sz="1836" b="0" i="1" u="none" strike="noStrike" kern="1200" cap="none" spc="0" normalizeH="0" baseline="0" noProof="0" dirty="0">
              <a:ln>
                <a:noFill/>
              </a:ln>
              <a:solidFill>
                <a:srgbClr val="505050"/>
              </a:solidFill>
              <a:effectLst/>
              <a:uLnTx/>
              <a:uFillTx/>
              <a:latin typeface="Segoe UI"/>
              <a:ea typeface="+mn-ea"/>
              <a:cs typeface="+mn-cs"/>
            </a:endParaRPr>
          </a:p>
          <a:p>
            <a:pPr marL="184576" marR="0" lvl="0" indent="-184576" algn="l" defTabSz="932742" rtl="0" eaLnBrk="1" fontAlgn="auto" latinLnBrk="0" hangingPunct="1">
              <a:lnSpc>
                <a:spcPct val="100000"/>
              </a:lnSpc>
              <a:spcBef>
                <a:spcPts val="0"/>
              </a:spcBef>
              <a:spcAft>
                <a:spcPct val="20000"/>
              </a:spcAft>
              <a:buClr>
                <a:srgbClr val="E31937"/>
              </a:buClr>
              <a:buSzPct val="80000"/>
              <a:buFont typeface="Arial" charset="0"/>
              <a:buChar char="•"/>
              <a:tabLst/>
              <a:defRPr/>
            </a:pPr>
            <a:r>
              <a:rPr kumimoji="0" lang="en-US" sz="1836" b="0" i="0" u="none" strike="noStrike" kern="1200" cap="none" spc="0" normalizeH="0" baseline="0" noProof="0" dirty="0">
                <a:ln>
                  <a:noFill/>
                </a:ln>
                <a:solidFill>
                  <a:srgbClr val="505050"/>
                </a:solidFill>
                <a:effectLst/>
                <a:uLnTx/>
                <a:uFillTx/>
                <a:latin typeface="Segoe UI"/>
                <a:ea typeface="+mn-ea"/>
                <a:cs typeface="+mn-cs"/>
              </a:rPr>
              <a:t>Microsoft Azure-based records management solution </a:t>
            </a:r>
          </a:p>
          <a:p>
            <a:pPr marL="184576" marR="0" lvl="0" indent="-184576" algn="l" defTabSz="932742" rtl="0" eaLnBrk="1" fontAlgn="auto" latinLnBrk="0" hangingPunct="1">
              <a:lnSpc>
                <a:spcPct val="100000"/>
              </a:lnSpc>
              <a:spcBef>
                <a:spcPts val="0"/>
              </a:spcBef>
              <a:spcAft>
                <a:spcPct val="20000"/>
              </a:spcAft>
              <a:buClr>
                <a:srgbClr val="E31937"/>
              </a:buClr>
              <a:buSzPct val="80000"/>
              <a:buFont typeface="Arial" charset="0"/>
              <a:buChar char="•"/>
              <a:tabLst/>
              <a:defRPr/>
            </a:pPr>
            <a:r>
              <a:rPr kumimoji="0" lang="en-US" sz="1836" b="0" i="0" u="none" strike="noStrike" kern="1200" cap="none" spc="0" normalizeH="0" baseline="0" noProof="0" dirty="0">
                <a:ln>
                  <a:noFill/>
                </a:ln>
                <a:solidFill>
                  <a:srgbClr val="505050"/>
                </a:solidFill>
                <a:effectLst/>
                <a:uLnTx/>
                <a:uFillTx/>
                <a:latin typeface="Segoe UI"/>
                <a:ea typeface="+mn-ea"/>
                <a:cs typeface="+mn-cs"/>
              </a:rPr>
              <a:t>Promotes digital transformation and transparent information governance through </a:t>
            </a:r>
            <a:r>
              <a:rPr kumimoji="0" lang="en-US" sz="1836" b="0" i="0" u="none" strike="noStrike" kern="1200" cap="none" spc="0" normalizeH="0" baseline="0" noProof="0" dirty="0" err="1">
                <a:ln>
                  <a:noFill/>
                </a:ln>
                <a:solidFill>
                  <a:srgbClr val="505050"/>
                </a:solidFill>
                <a:effectLst/>
                <a:uLnTx/>
                <a:uFillTx/>
                <a:latin typeface="Segoe UI"/>
                <a:ea typeface="+mn-ea"/>
                <a:cs typeface="+mn-cs"/>
              </a:rPr>
              <a:t>OpenText’s</a:t>
            </a:r>
            <a:r>
              <a:rPr kumimoji="0" lang="en-US" sz="1836" b="0" i="0" u="none" strike="noStrike" kern="1200" cap="none" spc="0" normalizeH="0" baseline="0" noProof="0" dirty="0">
                <a:ln>
                  <a:noFill/>
                </a:ln>
                <a:solidFill>
                  <a:srgbClr val="505050"/>
                </a:solidFill>
                <a:effectLst/>
                <a:uLnTx/>
                <a:uFillTx/>
                <a:latin typeface="Segoe UI"/>
                <a:ea typeface="+mn-ea"/>
                <a:cs typeface="+mn-cs"/>
              </a:rPr>
              <a:t> seamless integration with the Microsoft</a:t>
            </a:r>
            <a:r>
              <a:rPr kumimoji="0" lang="en-US" sz="1836" b="0" i="0" u="none" strike="noStrike" kern="1200" cap="none" spc="0" normalizeH="0" baseline="30000" noProof="0" dirty="0">
                <a:ln>
                  <a:noFill/>
                </a:ln>
                <a:solidFill>
                  <a:srgbClr val="505050"/>
                </a:solidFill>
                <a:effectLst/>
                <a:uLnTx/>
                <a:uFillTx/>
                <a:latin typeface="Segoe UI"/>
                <a:ea typeface="+mn-ea"/>
                <a:cs typeface="+mn-cs"/>
              </a:rPr>
              <a:t>®</a:t>
            </a:r>
            <a:r>
              <a:rPr kumimoji="0" lang="en-US" sz="1836" b="0" i="0" u="none" strike="noStrike" kern="1200" cap="none" spc="0" normalizeH="0" baseline="0" noProof="0" dirty="0">
                <a:ln>
                  <a:noFill/>
                </a:ln>
                <a:solidFill>
                  <a:srgbClr val="505050"/>
                </a:solidFill>
                <a:effectLst/>
                <a:uLnTx/>
                <a:uFillTx/>
                <a:latin typeface="Segoe UI"/>
                <a:ea typeface="+mn-ea"/>
                <a:cs typeface="+mn-cs"/>
              </a:rPr>
              <a:t> Office 365 </a:t>
            </a:r>
            <a:r>
              <a:rPr kumimoji="0" lang="en-US" sz="1836" b="0" i="0" u="none" strike="noStrike" kern="1200" cap="none" spc="0" normalizeH="0" baseline="0" noProof="0">
                <a:ln>
                  <a:noFill/>
                </a:ln>
                <a:solidFill>
                  <a:srgbClr val="505050"/>
                </a:solidFill>
                <a:effectLst/>
                <a:uLnTx/>
                <a:uFillTx/>
                <a:latin typeface="Segoe UI"/>
                <a:ea typeface="+mn-ea"/>
                <a:cs typeface="+mn-cs"/>
              </a:rPr>
              <a:t>and SharePoint within </a:t>
            </a:r>
            <a:r>
              <a:rPr kumimoji="0" lang="en-US" sz="1836" b="0" i="0" u="none" strike="noStrike" kern="1200" cap="none" spc="0" normalizeH="0" baseline="0" noProof="0" dirty="0">
                <a:ln>
                  <a:noFill/>
                </a:ln>
                <a:solidFill>
                  <a:srgbClr val="505050"/>
                </a:solidFill>
                <a:effectLst/>
                <a:uLnTx/>
                <a:uFillTx/>
                <a:latin typeface="Segoe UI"/>
                <a:ea typeface="+mn-ea"/>
                <a:cs typeface="+mn-cs"/>
              </a:rPr>
              <a:t>Microsoft’s productivity cloud</a:t>
            </a:r>
          </a:p>
          <a:p>
            <a:pPr marL="184576" marR="0" lvl="0" indent="-184576" algn="l" defTabSz="932742" rtl="0" eaLnBrk="1" fontAlgn="auto" latinLnBrk="0" hangingPunct="1">
              <a:lnSpc>
                <a:spcPct val="100000"/>
              </a:lnSpc>
              <a:spcBef>
                <a:spcPts val="0"/>
              </a:spcBef>
              <a:spcAft>
                <a:spcPct val="20000"/>
              </a:spcAft>
              <a:buClr>
                <a:srgbClr val="E31937"/>
              </a:buClr>
              <a:buSzPct val="80000"/>
              <a:buFont typeface="Arial" charset="0"/>
              <a:buChar char="•"/>
              <a:tabLst/>
              <a:defRPr/>
            </a:pPr>
            <a:r>
              <a:rPr kumimoji="0" lang="en-US" sz="1836" b="0" i="0" u="none" strike="noStrike" kern="1200" cap="none" spc="0" normalizeH="0" baseline="0" noProof="0" dirty="0">
                <a:ln>
                  <a:noFill/>
                </a:ln>
                <a:solidFill>
                  <a:srgbClr val="505050"/>
                </a:solidFill>
                <a:effectLst/>
                <a:uLnTx/>
                <a:uFillTx/>
                <a:latin typeface="Segoe UI"/>
                <a:ea typeface="+mn-ea"/>
                <a:cs typeface="+mn-cs"/>
              </a:rPr>
              <a:t>Purpose-built, enterprise-scale platform that provides a complete information management solution</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195191" y="1254509"/>
            <a:ext cx="1187959" cy="736975"/>
          </a:xfrm>
          <a:prstGeom prst="rect">
            <a:avLst/>
          </a:prstGeom>
        </p:spPr>
      </p:pic>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91687" y="2779106"/>
            <a:ext cx="1982924" cy="731667"/>
          </a:xfrm>
          <a:prstGeom prst="rect">
            <a:avLst/>
          </a:prstGeom>
        </p:spPr>
      </p:pic>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91687" y="2013165"/>
            <a:ext cx="1754517" cy="765941"/>
          </a:xfrm>
          <a:prstGeom prst="rect">
            <a:avLst/>
          </a:prstGeom>
        </p:spPr>
      </p:pic>
      <p:sp>
        <p:nvSpPr>
          <p:cNvPr id="10" name="Arrondir un rectangle avec un coin du même côté 21"/>
          <p:cNvSpPr/>
          <p:nvPr/>
        </p:nvSpPr>
        <p:spPr bwMode="gray">
          <a:xfrm>
            <a:off x="8751208" y="3841438"/>
            <a:ext cx="3394995" cy="2405761"/>
          </a:xfrm>
          <a:prstGeom prst="round2SameRect">
            <a:avLst>
              <a:gd name="adj1" fmla="val 0"/>
              <a:gd name="adj2" fmla="val 0"/>
            </a:avLst>
          </a:prstGeom>
          <a:solidFill>
            <a:schemeClr val="bg2"/>
          </a:solidFill>
          <a:ln w="9525" algn="ctr">
            <a:solidFill>
              <a:schemeClr val="accent6"/>
            </a:solidFill>
            <a:miter lim="800000"/>
            <a:headEnd/>
            <a:tailEnd/>
          </a:ln>
          <a:effectLst/>
        </p:spPr>
        <p:txBody>
          <a:bodyPr lIns="93260" tIns="93260" rIns="93260" bIns="93260" rtlCol="0" anchor="t" anchorCtr="0">
            <a:noAutofit/>
          </a:bodyPr>
          <a:lstStyle/>
          <a:p>
            <a:pPr marL="0" marR="0" lvl="1" indent="0" algn="l" defTabSz="932742" rtl="0" eaLnBrk="1" fontAlgn="auto" latinLnBrk="0" hangingPunct="1">
              <a:lnSpc>
                <a:spcPct val="100000"/>
              </a:lnSpc>
              <a:spcBef>
                <a:spcPts val="510"/>
              </a:spcBef>
              <a:spcAft>
                <a:spcPts val="0"/>
              </a:spcAft>
              <a:buClr>
                <a:srgbClr val="991F3D"/>
              </a:buClr>
              <a:buSzPct val="120000"/>
              <a:buFontTx/>
              <a:buNone/>
              <a:tabLst/>
              <a:defRPr/>
            </a:pPr>
            <a:r>
              <a:rPr kumimoji="0" lang="en-US" sz="1836" b="1" i="0" u="none" strike="noStrike" kern="1200" cap="none" spc="0" normalizeH="0" baseline="0" noProof="0" dirty="0">
                <a:ln>
                  <a:noFill/>
                </a:ln>
                <a:solidFill>
                  <a:srgbClr val="363534"/>
                </a:solidFill>
                <a:effectLst/>
                <a:uLnTx/>
                <a:uFillTx/>
                <a:latin typeface="Segoe UI"/>
                <a:ea typeface="+mn-ea"/>
                <a:cs typeface="+mn-cs"/>
              </a:rPr>
              <a:t>Typical Buyer</a:t>
            </a:r>
          </a:p>
          <a:p>
            <a:pPr marL="349724" marR="0" lvl="1" indent="-349724" algn="l" defTabSz="932742" rtl="0" eaLnBrk="1" fontAlgn="auto" latinLnBrk="0" hangingPunct="1">
              <a:lnSpc>
                <a:spcPct val="100000"/>
              </a:lnSpc>
              <a:spcBef>
                <a:spcPts val="510"/>
              </a:spcBef>
              <a:spcAft>
                <a:spcPts val="0"/>
              </a:spcAft>
              <a:buClr>
                <a:srgbClr val="991F3D"/>
              </a:buClr>
              <a:buSzPct val="120000"/>
              <a:buFont typeface="Arial" panose="020B0604020202020204" pitchFamily="34" charset="0"/>
              <a:buChar char="•"/>
              <a:tabLst/>
              <a:defRPr/>
            </a:pPr>
            <a:r>
              <a:rPr kumimoji="0" lang="en-US" sz="1836" b="0" i="0" u="none" strike="noStrike" kern="1200" cap="none" spc="0" normalizeH="0" baseline="0" noProof="0" dirty="0">
                <a:ln>
                  <a:noFill/>
                </a:ln>
                <a:solidFill>
                  <a:srgbClr val="363534"/>
                </a:solidFill>
                <a:effectLst/>
                <a:uLnTx/>
                <a:uFillTx/>
                <a:latin typeface="Segoe UI"/>
                <a:ea typeface="+mn-ea"/>
                <a:cs typeface="+mn-cs"/>
              </a:rPr>
              <a:t>Agency Records Officer</a:t>
            </a:r>
          </a:p>
          <a:p>
            <a:pPr marL="349724" marR="0" lvl="1" indent="-349724" algn="l" defTabSz="932742" rtl="0" eaLnBrk="1" fontAlgn="auto" latinLnBrk="0" hangingPunct="1">
              <a:lnSpc>
                <a:spcPct val="100000"/>
              </a:lnSpc>
              <a:spcBef>
                <a:spcPts val="510"/>
              </a:spcBef>
              <a:spcAft>
                <a:spcPts val="0"/>
              </a:spcAft>
              <a:buClr>
                <a:srgbClr val="991F3D"/>
              </a:buClr>
              <a:buSzPct val="120000"/>
              <a:buFont typeface="Arial" panose="020B0604020202020204" pitchFamily="34" charset="0"/>
              <a:buChar char="•"/>
              <a:tabLst/>
              <a:defRPr/>
            </a:pPr>
            <a:r>
              <a:rPr kumimoji="0" lang="en-US" sz="1836" b="0" i="0" u="none" strike="noStrike" kern="1200" cap="none" spc="0" normalizeH="0" baseline="0" noProof="0" dirty="0">
                <a:ln>
                  <a:noFill/>
                </a:ln>
                <a:solidFill>
                  <a:srgbClr val="363534"/>
                </a:solidFill>
                <a:effectLst/>
                <a:uLnTx/>
                <a:uFillTx/>
                <a:latin typeface="Segoe UI"/>
                <a:ea typeface="+mn-ea"/>
                <a:cs typeface="+mn-cs"/>
              </a:rPr>
              <a:t>Chief Information Officer</a:t>
            </a:r>
          </a:p>
          <a:p>
            <a:pPr marL="349724" marR="0" lvl="1" indent="-349724" algn="l" defTabSz="932742" rtl="0" eaLnBrk="1" fontAlgn="auto" latinLnBrk="0" hangingPunct="1">
              <a:lnSpc>
                <a:spcPct val="100000"/>
              </a:lnSpc>
              <a:spcBef>
                <a:spcPts val="510"/>
              </a:spcBef>
              <a:spcAft>
                <a:spcPts val="0"/>
              </a:spcAft>
              <a:buClr>
                <a:srgbClr val="991F3D"/>
              </a:buClr>
              <a:buSzPct val="120000"/>
              <a:buFont typeface="Arial" panose="020B0604020202020204" pitchFamily="34" charset="0"/>
              <a:buChar char="•"/>
              <a:tabLst/>
              <a:defRPr/>
            </a:pPr>
            <a:r>
              <a:rPr kumimoji="0" lang="en-US" sz="1836" b="0" i="0" u="none" strike="noStrike" kern="1200" cap="none" spc="0" normalizeH="0" baseline="0" noProof="0" dirty="0">
                <a:ln>
                  <a:noFill/>
                </a:ln>
                <a:solidFill>
                  <a:srgbClr val="363534"/>
                </a:solidFill>
                <a:effectLst/>
                <a:uLnTx/>
                <a:uFillTx/>
                <a:latin typeface="Segoe UI"/>
                <a:ea typeface="+mn-ea"/>
                <a:cs typeface="+mn-cs"/>
              </a:rPr>
              <a:t>Chief Technology Officer</a:t>
            </a:r>
          </a:p>
        </p:txBody>
      </p:sp>
    </p:spTree>
    <p:extLst>
      <p:ext uri="{BB962C8B-B14F-4D97-AF65-F5344CB8AC3E}">
        <p14:creationId xmlns:p14="http://schemas.microsoft.com/office/powerpoint/2010/main" val="2477180299"/>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CGI </a:t>
            </a:r>
            <a:r>
              <a:rPr lang="fr-CA" dirty="0" err="1"/>
              <a:t>ProperPay</a:t>
            </a:r>
            <a:r>
              <a:rPr lang="fr-CA" dirty="0"/>
              <a:t>™ at a </a:t>
            </a:r>
            <a:r>
              <a:rPr lang="fr-CA" dirty="0" err="1"/>
              <a:t>glance</a:t>
            </a:r>
            <a:endParaRPr lang="fr-CA" dirty="0"/>
          </a:p>
        </p:txBody>
      </p:sp>
      <p:sp>
        <p:nvSpPr>
          <p:cNvPr id="4" name="Slide Number Placeholder 3"/>
          <p:cNvSpPr>
            <a:spLocks noGrp="1"/>
          </p:cNvSpPr>
          <p:nvPr>
            <p:ph type="sldNum" sz="quarter" idx="12"/>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525A3C56-E491-49B2-93F3-63532DF516BC}" type="slidenum">
              <a:rPr kumimoji="0" 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96</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Arrondir un rectangle avec un coin du même côté 25"/>
          <p:cNvSpPr/>
          <p:nvPr/>
        </p:nvSpPr>
        <p:spPr bwMode="gray">
          <a:xfrm>
            <a:off x="8029551" y="4296637"/>
            <a:ext cx="3728958" cy="2203747"/>
          </a:xfrm>
          <a:prstGeom prst="round2SameRect">
            <a:avLst>
              <a:gd name="adj1" fmla="val 0"/>
              <a:gd name="adj2" fmla="val 0"/>
            </a:avLst>
          </a:prstGeom>
          <a:solidFill>
            <a:schemeClr val="bg1"/>
          </a:solidFill>
          <a:ln w="9525" algn="ctr">
            <a:solidFill>
              <a:schemeClr val="accent6"/>
            </a:solidFill>
            <a:miter lim="800000"/>
            <a:headEnd/>
            <a:tailEnd/>
          </a:ln>
          <a:effectLst/>
        </p:spPr>
        <p:txBody>
          <a:bodyPr lIns="93260" tIns="93260" rIns="93260" bIns="93260" rtlCol="0" anchor="t" anchorCtr="0"/>
          <a:lstStyle/>
          <a:p>
            <a:pPr marL="0" marR="0" lvl="1" indent="0" algn="l" defTabSz="932742" rtl="0" eaLnBrk="1" fontAlgn="auto" latinLnBrk="0" hangingPunct="1">
              <a:lnSpc>
                <a:spcPct val="100000"/>
              </a:lnSpc>
              <a:spcBef>
                <a:spcPts val="510"/>
              </a:spcBef>
              <a:spcAft>
                <a:spcPts val="0"/>
              </a:spcAft>
              <a:buClr>
                <a:srgbClr val="991F3D"/>
              </a:buClr>
              <a:buSzPct val="120000"/>
              <a:buFontTx/>
              <a:buNone/>
              <a:tabLst/>
              <a:defRPr/>
            </a:pPr>
            <a:r>
              <a:rPr kumimoji="0" lang="en-US" sz="1632" b="1" i="0" u="none" strike="noStrike" kern="1200" cap="none" spc="0" normalizeH="0" baseline="0" noProof="0" dirty="0">
                <a:ln>
                  <a:noFill/>
                </a:ln>
                <a:solidFill>
                  <a:srgbClr val="363534"/>
                </a:solidFill>
                <a:effectLst/>
                <a:uLnTx/>
                <a:uFillTx/>
                <a:latin typeface="Segoe UI"/>
                <a:ea typeface="+mn-ea"/>
                <a:cs typeface="+mn-cs"/>
              </a:rPr>
              <a:t>Current Clients</a:t>
            </a:r>
          </a:p>
          <a:p>
            <a:pPr marL="349724" marR="0" lvl="1" indent="-349724" algn="l" defTabSz="932742" rtl="0" eaLnBrk="1" fontAlgn="auto" latinLnBrk="0" hangingPunct="1">
              <a:lnSpc>
                <a:spcPct val="100000"/>
              </a:lnSpc>
              <a:spcBef>
                <a:spcPts val="510"/>
              </a:spcBef>
              <a:spcAft>
                <a:spcPts val="0"/>
              </a:spcAft>
              <a:buClr>
                <a:srgbClr val="991F3D"/>
              </a:buClr>
              <a:buSzPct val="120000"/>
              <a:buFont typeface="Arial" panose="020B0604020202020204" pitchFamily="34" charset="0"/>
              <a:buChar char="•"/>
              <a:tabLst/>
              <a:defRPr/>
            </a:pPr>
            <a:r>
              <a:rPr kumimoji="0" lang="en-US" sz="1632" b="0" i="0" u="none" strike="noStrike" kern="1200" cap="none" spc="0" normalizeH="0" baseline="0" noProof="0" dirty="0">
                <a:ln>
                  <a:noFill/>
                </a:ln>
                <a:solidFill>
                  <a:srgbClr val="363534"/>
                </a:solidFill>
                <a:effectLst/>
                <a:uLnTx/>
                <a:uFillTx/>
                <a:latin typeface="Segoe UI"/>
                <a:ea typeface="+mn-ea"/>
                <a:cs typeface="+mn-cs"/>
              </a:rPr>
              <a:t>Centers for Medicare and Medicaid</a:t>
            </a:r>
          </a:p>
          <a:p>
            <a:pPr marL="349724" marR="0" lvl="1" indent="-349724" algn="l" defTabSz="932742" rtl="0" eaLnBrk="1" fontAlgn="auto" latinLnBrk="0" hangingPunct="1">
              <a:lnSpc>
                <a:spcPct val="100000"/>
              </a:lnSpc>
              <a:spcBef>
                <a:spcPts val="510"/>
              </a:spcBef>
              <a:spcAft>
                <a:spcPts val="0"/>
              </a:spcAft>
              <a:buClr>
                <a:srgbClr val="991F3D"/>
              </a:buClr>
              <a:buSzPct val="120000"/>
              <a:buFont typeface="Arial" panose="020B0604020202020204" pitchFamily="34" charset="0"/>
              <a:buChar char="•"/>
              <a:tabLst/>
              <a:defRPr/>
            </a:pPr>
            <a:r>
              <a:rPr kumimoji="0" lang="en-US" sz="1632" b="0" i="0" u="none" strike="noStrike" kern="1200" cap="none" spc="0" normalizeH="0" baseline="0" noProof="0" dirty="0">
                <a:ln>
                  <a:noFill/>
                </a:ln>
                <a:solidFill>
                  <a:srgbClr val="363534"/>
                </a:solidFill>
                <a:effectLst/>
                <a:uLnTx/>
                <a:uFillTx/>
                <a:latin typeface="Segoe UI"/>
                <a:ea typeface="+mn-ea"/>
                <a:cs typeface="+mn-cs"/>
              </a:rPr>
              <a:t>Highmark</a:t>
            </a:r>
          </a:p>
          <a:p>
            <a:pPr marL="349724" marR="0" lvl="1" indent="-349724" algn="l" defTabSz="932742" rtl="0" eaLnBrk="1" fontAlgn="auto" latinLnBrk="0" hangingPunct="1">
              <a:lnSpc>
                <a:spcPct val="100000"/>
              </a:lnSpc>
              <a:spcBef>
                <a:spcPts val="510"/>
              </a:spcBef>
              <a:spcAft>
                <a:spcPts val="0"/>
              </a:spcAft>
              <a:buClr>
                <a:srgbClr val="991F3D"/>
              </a:buClr>
              <a:buSzPct val="120000"/>
              <a:buFont typeface="Arial" panose="020B0604020202020204" pitchFamily="34" charset="0"/>
              <a:buChar char="•"/>
              <a:tabLst/>
              <a:defRPr/>
            </a:pPr>
            <a:r>
              <a:rPr kumimoji="0" lang="en-US" sz="1632" b="0" i="0" u="none" strike="noStrike" kern="1200" cap="none" spc="0" normalizeH="0" baseline="0" noProof="0" dirty="0">
                <a:ln>
                  <a:noFill/>
                </a:ln>
                <a:solidFill>
                  <a:srgbClr val="363534"/>
                </a:solidFill>
                <a:effectLst/>
                <a:uLnTx/>
                <a:uFillTx/>
                <a:latin typeface="Segoe UI"/>
                <a:ea typeface="+mn-ea"/>
                <a:cs typeface="+mn-cs"/>
              </a:rPr>
              <a:t>HealthNow</a:t>
            </a:r>
          </a:p>
          <a:p>
            <a:pPr marL="349724" marR="0" lvl="1" indent="-349724" algn="l" defTabSz="932742" rtl="0" eaLnBrk="1" fontAlgn="auto" latinLnBrk="0" hangingPunct="1">
              <a:lnSpc>
                <a:spcPct val="100000"/>
              </a:lnSpc>
              <a:spcBef>
                <a:spcPts val="510"/>
              </a:spcBef>
              <a:spcAft>
                <a:spcPts val="0"/>
              </a:spcAft>
              <a:buClr>
                <a:srgbClr val="991F3D"/>
              </a:buClr>
              <a:buSzPct val="120000"/>
              <a:buFont typeface="Arial" panose="020B0604020202020204" pitchFamily="34" charset="0"/>
              <a:buChar char="•"/>
              <a:tabLst/>
              <a:defRPr/>
            </a:pPr>
            <a:r>
              <a:rPr kumimoji="0" lang="en-US" sz="1632" b="0" i="0" u="none" strike="noStrike" kern="1200" cap="none" spc="0" normalizeH="0" baseline="0" noProof="0" dirty="0">
                <a:ln>
                  <a:noFill/>
                </a:ln>
                <a:solidFill>
                  <a:srgbClr val="363534"/>
                </a:solidFill>
                <a:effectLst/>
                <a:uLnTx/>
                <a:uFillTx/>
                <a:latin typeface="Segoe UI"/>
                <a:ea typeface="+mn-ea"/>
                <a:cs typeface="+mn-cs"/>
              </a:rPr>
              <a:t>Blue Cross Blue Shield Mississippi</a:t>
            </a:r>
          </a:p>
        </p:txBody>
      </p:sp>
      <p:sp>
        <p:nvSpPr>
          <p:cNvPr id="6" name="Arrondir un rectangle avec un coin du même côté 21"/>
          <p:cNvSpPr/>
          <p:nvPr/>
        </p:nvSpPr>
        <p:spPr bwMode="gray">
          <a:xfrm>
            <a:off x="2811414" y="4296637"/>
            <a:ext cx="5129317" cy="2203747"/>
          </a:xfrm>
          <a:prstGeom prst="round2SameRect">
            <a:avLst>
              <a:gd name="adj1" fmla="val 0"/>
              <a:gd name="adj2" fmla="val 0"/>
            </a:avLst>
          </a:prstGeom>
          <a:solidFill>
            <a:schemeClr val="bg2"/>
          </a:solidFill>
          <a:ln w="9525" algn="ctr">
            <a:solidFill>
              <a:schemeClr val="accent6"/>
            </a:solidFill>
            <a:miter lim="800000"/>
            <a:headEnd/>
            <a:tailEnd/>
          </a:ln>
          <a:effectLst/>
        </p:spPr>
        <p:txBody>
          <a:bodyPr lIns="93260" tIns="93260" rIns="93260" bIns="93260" rtlCol="0" anchor="t" anchorCtr="0">
            <a:noAutofit/>
          </a:bodyPr>
          <a:lstStyle/>
          <a:p>
            <a:pPr marL="0" marR="0" lvl="1" indent="0" algn="l" defTabSz="932742" rtl="0" eaLnBrk="1" fontAlgn="auto" latinLnBrk="0" hangingPunct="1">
              <a:lnSpc>
                <a:spcPct val="100000"/>
              </a:lnSpc>
              <a:spcBef>
                <a:spcPts val="102"/>
              </a:spcBef>
              <a:spcAft>
                <a:spcPts val="0"/>
              </a:spcAft>
              <a:buClr>
                <a:srgbClr val="0078D7"/>
              </a:buClr>
              <a:buSzPct val="120000"/>
              <a:buFontTx/>
              <a:buNone/>
              <a:tabLst/>
              <a:defRPr/>
            </a:pPr>
            <a:r>
              <a:rPr kumimoji="0" lang="en-CA" sz="1632" b="1" i="0" u="none" strike="noStrike" kern="1200" cap="none" spc="0" normalizeH="0" baseline="0" noProof="0" dirty="0">
                <a:ln>
                  <a:noFill/>
                </a:ln>
                <a:solidFill>
                  <a:srgbClr val="505050"/>
                </a:solidFill>
                <a:effectLst/>
                <a:uLnTx/>
                <a:uFillTx/>
                <a:latin typeface="Segoe UI"/>
                <a:ea typeface="+mn-ea"/>
                <a:cs typeface="+mn-cs"/>
              </a:rPr>
              <a:t>Key Benefits</a:t>
            </a:r>
            <a:endParaRPr kumimoji="0" lang="en-US" sz="612" b="1" i="0" u="none" strike="noStrike" kern="1200" cap="none" spc="0" normalizeH="0" baseline="0" noProof="0" dirty="0">
              <a:ln>
                <a:noFill/>
              </a:ln>
              <a:solidFill>
                <a:srgbClr val="505050"/>
              </a:solidFill>
              <a:effectLst/>
              <a:uLnTx/>
              <a:uFillTx/>
              <a:latin typeface="Segoe UI"/>
              <a:ea typeface="+mn-ea"/>
              <a:cs typeface="+mn-cs"/>
            </a:endParaRPr>
          </a:p>
          <a:p>
            <a:pPr marL="204005" marR="0" lvl="1" indent="-205171" algn="l" defTabSz="932742" rtl="0" eaLnBrk="1" fontAlgn="auto" latinLnBrk="0" hangingPunct="1">
              <a:lnSpc>
                <a:spcPct val="100000"/>
              </a:lnSpc>
              <a:spcBef>
                <a:spcPts val="102"/>
              </a:spcBef>
              <a:spcAft>
                <a:spcPts val="0"/>
              </a:spcAft>
              <a:buClr>
                <a:srgbClr val="991F3D"/>
              </a:buClr>
              <a:buSzPct val="75000"/>
              <a:buFont typeface="Verdana" pitchFamily="34" charset="0"/>
              <a:buChar char="•"/>
              <a:tabLst/>
              <a:defRPr/>
            </a:pPr>
            <a:r>
              <a:rPr kumimoji="0" lang="en-US" sz="1632" b="0" i="0" u="none" strike="noStrike" kern="1200" cap="none" spc="0" normalizeH="0" baseline="0" noProof="0" dirty="0">
                <a:ln>
                  <a:noFill/>
                </a:ln>
                <a:solidFill>
                  <a:srgbClr val="363534"/>
                </a:solidFill>
                <a:effectLst/>
                <a:uLnTx/>
                <a:uFillTx/>
                <a:latin typeface="Segoe UI"/>
                <a:ea typeface="+mn-ea"/>
                <a:cs typeface="+mn-cs"/>
              </a:rPr>
              <a:t>Proven results of over $2.5B in recoveries</a:t>
            </a:r>
          </a:p>
          <a:p>
            <a:pPr marL="204005" marR="0" lvl="1" indent="-205171" algn="l" defTabSz="932742" rtl="0" eaLnBrk="1" fontAlgn="auto" latinLnBrk="0" hangingPunct="1">
              <a:lnSpc>
                <a:spcPct val="100000"/>
              </a:lnSpc>
              <a:spcBef>
                <a:spcPts val="102"/>
              </a:spcBef>
              <a:spcAft>
                <a:spcPts val="0"/>
              </a:spcAft>
              <a:buClr>
                <a:srgbClr val="991F3D"/>
              </a:buClr>
              <a:buSzPct val="75000"/>
              <a:buFont typeface="Verdana"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through predictive analytics and machine learning</a:t>
            </a:r>
          </a:p>
          <a:p>
            <a:pPr marL="204005" marR="0" lvl="1" indent="-205171" algn="l" defTabSz="932742" rtl="0" eaLnBrk="1" fontAlgn="auto" latinLnBrk="0" hangingPunct="1">
              <a:lnSpc>
                <a:spcPct val="100000"/>
              </a:lnSpc>
              <a:spcBef>
                <a:spcPts val="102"/>
              </a:spcBef>
              <a:spcAft>
                <a:spcPts val="0"/>
              </a:spcAft>
              <a:buClr>
                <a:srgbClr val="991F3D"/>
              </a:buClr>
              <a:buSzPct val="75000"/>
              <a:buFont typeface="Verdana"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Allows for the efficient recovery of improperly paid claims, eliminate errors and preserve program integrity</a:t>
            </a:r>
          </a:p>
          <a:p>
            <a:pPr marL="204005" marR="0" lvl="1" indent="-205171" algn="l" defTabSz="932742" rtl="0" eaLnBrk="1" fontAlgn="auto" latinLnBrk="0" hangingPunct="1">
              <a:lnSpc>
                <a:spcPct val="100000"/>
              </a:lnSpc>
              <a:spcBef>
                <a:spcPts val="102"/>
              </a:spcBef>
              <a:spcAft>
                <a:spcPts val="0"/>
              </a:spcAft>
              <a:buClr>
                <a:srgbClr val="991F3D"/>
              </a:buClr>
              <a:buSzPct val="75000"/>
              <a:buFont typeface="Verdana"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Significant out of the box functionality including edits and models configurable to your policy</a:t>
            </a:r>
          </a:p>
          <a:p>
            <a:pPr marL="204005" marR="0" lvl="1" indent="-205171" algn="l" defTabSz="932742" rtl="0" eaLnBrk="1" fontAlgn="auto" latinLnBrk="0" hangingPunct="1">
              <a:lnSpc>
                <a:spcPct val="100000"/>
              </a:lnSpc>
              <a:spcBef>
                <a:spcPts val="102"/>
              </a:spcBef>
              <a:spcAft>
                <a:spcPts val="0"/>
              </a:spcAft>
              <a:buClr>
                <a:srgbClr val="991F3D"/>
              </a:buClr>
              <a:buSzPct val="75000"/>
              <a:buFont typeface="Verdana" pitchFamily="34" charset="0"/>
              <a:buChar char="•"/>
              <a:tabLst/>
              <a:defRPr/>
            </a:pPr>
            <a:endParaRPr kumimoji="0" lang="en-US" sz="163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Arrondir un rectangle avec un coin du même côté 21"/>
          <p:cNvSpPr/>
          <p:nvPr/>
        </p:nvSpPr>
        <p:spPr bwMode="gray">
          <a:xfrm>
            <a:off x="611127" y="1045352"/>
            <a:ext cx="8994969" cy="3173566"/>
          </a:xfrm>
          <a:prstGeom prst="round2SameRect">
            <a:avLst>
              <a:gd name="adj1" fmla="val 0"/>
              <a:gd name="adj2" fmla="val 0"/>
            </a:avLst>
          </a:prstGeom>
          <a:solidFill>
            <a:schemeClr val="bg2"/>
          </a:solidFill>
          <a:ln w="9525" algn="ctr">
            <a:solidFill>
              <a:schemeClr val="accent6"/>
            </a:solidFill>
            <a:miter lim="800000"/>
            <a:headEnd/>
            <a:tailEnd/>
          </a:ln>
          <a:effectLst/>
        </p:spPr>
        <p:txBody>
          <a:bodyPr lIns="93260" tIns="93260" rIns="93260" bIns="93260" rtlCol="0" anchor="t" anchorCtr="0">
            <a:noAutofit/>
          </a:bodyPr>
          <a:lstStyle/>
          <a:p>
            <a:pPr marL="184576" marR="0" lvl="0" indent="-184576" algn="l" defTabSz="932742" rtl="0" eaLnBrk="1" fontAlgn="auto" latinLnBrk="0" hangingPunct="1">
              <a:lnSpc>
                <a:spcPct val="100000"/>
              </a:lnSpc>
              <a:spcBef>
                <a:spcPts val="0"/>
              </a:spcBef>
              <a:spcAft>
                <a:spcPct val="20000"/>
              </a:spcAft>
              <a:buClr>
                <a:srgbClr val="0078D7"/>
              </a:buClr>
              <a:buSzPct val="100000"/>
              <a:buFont typeface="Arial" charset="0"/>
              <a:buChar char="•"/>
              <a:tabLst/>
              <a:defRPr/>
            </a:pPr>
            <a:r>
              <a:rPr kumimoji="0" lang="en-US" sz="1836" b="0" i="0" u="none" strike="noStrike" kern="1200" cap="none" spc="0" normalizeH="0" baseline="0" noProof="0" dirty="0">
                <a:ln>
                  <a:noFill/>
                </a:ln>
                <a:solidFill>
                  <a:srgbClr val="505050"/>
                </a:solidFill>
                <a:effectLst/>
                <a:uLnTx/>
                <a:uFillTx/>
                <a:latin typeface="Segoe UI"/>
                <a:ea typeface="+mn-ea"/>
                <a:cs typeface="+mn-cs"/>
              </a:rPr>
              <a:t>Microsoft Azure-based, enterprise-wide solution for predicting, identifying, managing, analyzing and recovering medical and pharmacy claims </a:t>
            </a:r>
          </a:p>
          <a:p>
            <a:pPr marL="184576" marR="0" lvl="0" indent="-184576" algn="l" defTabSz="932742" rtl="0" eaLnBrk="1" fontAlgn="auto" latinLnBrk="0" hangingPunct="1">
              <a:lnSpc>
                <a:spcPct val="100000"/>
              </a:lnSpc>
              <a:spcBef>
                <a:spcPts val="0"/>
              </a:spcBef>
              <a:spcAft>
                <a:spcPct val="20000"/>
              </a:spcAft>
              <a:buClr>
                <a:srgbClr val="0078D7"/>
              </a:buClr>
              <a:buSzPct val="100000"/>
              <a:buFont typeface="Arial" charset="0"/>
              <a:buChar char="•"/>
              <a:tabLst/>
              <a:defRPr/>
            </a:pPr>
            <a:r>
              <a:rPr kumimoji="0" lang="en-US" sz="1836" b="0" i="0" u="none" strike="noStrike" kern="1200" cap="none" spc="0" normalizeH="0" baseline="0" noProof="0" dirty="0">
                <a:ln>
                  <a:noFill/>
                </a:ln>
                <a:solidFill>
                  <a:srgbClr val="505050"/>
                </a:solidFill>
                <a:effectLst/>
                <a:uLnTx/>
                <a:uFillTx/>
                <a:latin typeface="Segoe UI"/>
                <a:ea typeface="+mn-ea"/>
                <a:cs typeface="+mn-cs"/>
              </a:rPr>
              <a:t>Offered as licensed software or full business process outsourced services enabled by our IP</a:t>
            </a:r>
          </a:p>
          <a:p>
            <a:pPr marL="184576" marR="0" lvl="0" indent="-184576" algn="l" defTabSz="932742" rtl="0" eaLnBrk="1" fontAlgn="auto" latinLnBrk="0" hangingPunct="1">
              <a:lnSpc>
                <a:spcPct val="100000"/>
              </a:lnSpc>
              <a:spcBef>
                <a:spcPts val="0"/>
              </a:spcBef>
              <a:spcAft>
                <a:spcPct val="20000"/>
              </a:spcAft>
              <a:buClr>
                <a:srgbClr val="0078D7"/>
              </a:buClr>
              <a:buSzPct val="100000"/>
              <a:buFont typeface="Arial" charset="0"/>
              <a:buChar char="•"/>
              <a:tabLst/>
              <a:defRPr/>
            </a:pPr>
            <a:r>
              <a:rPr kumimoji="0" lang="en-US" sz="1836" b="0" i="0" u="none" strike="noStrike" kern="1200" cap="none" spc="0" normalizeH="0" baseline="0" noProof="0" dirty="0">
                <a:ln>
                  <a:noFill/>
                </a:ln>
                <a:solidFill>
                  <a:srgbClr val="505050"/>
                </a:solidFill>
                <a:effectLst/>
                <a:uLnTx/>
                <a:uFillTx/>
                <a:latin typeface="Segoe UI"/>
                <a:ea typeface="+mn-ea"/>
                <a:cs typeface="+mn-cs"/>
              </a:rPr>
              <a:t>Allows agencies to proactively address </a:t>
            </a:r>
            <a:r>
              <a:rPr kumimoji="0" lang="en-US" sz="1836" b="0" i="0" u="none" strike="noStrike" kern="1200" cap="none" spc="0" normalizeH="0" baseline="0" noProof="0" dirty="0">
                <a:ln>
                  <a:noFill/>
                </a:ln>
                <a:solidFill>
                  <a:srgbClr val="000000"/>
                </a:solidFill>
                <a:effectLst/>
                <a:uLnTx/>
                <a:uFillTx/>
                <a:latin typeface="Segoe UI"/>
                <a:ea typeface="+mn-ea"/>
                <a:cs typeface="+mn-cs"/>
              </a:rPr>
              <a:t>fraud, waste and abuse (including claims overpayments and coding errors) across the claims lifecycle</a:t>
            </a:r>
            <a:endParaRPr kumimoji="0" lang="en-US" sz="1836" b="0" i="0" u="none" strike="noStrike" kern="1200" cap="none" spc="0" normalizeH="0" baseline="0" noProof="0" dirty="0">
              <a:ln>
                <a:noFill/>
              </a:ln>
              <a:solidFill>
                <a:srgbClr val="505050"/>
              </a:solidFill>
              <a:effectLst/>
              <a:uLnTx/>
              <a:uFillTx/>
              <a:latin typeface="Segoe UI"/>
              <a:ea typeface="+mn-ea"/>
              <a:cs typeface="+mn-cs"/>
            </a:endParaRPr>
          </a:p>
          <a:p>
            <a:pPr marL="184576" marR="0" lvl="0" indent="-184576" algn="l" defTabSz="932742" rtl="0" eaLnBrk="1" fontAlgn="auto" latinLnBrk="0" hangingPunct="1">
              <a:lnSpc>
                <a:spcPct val="100000"/>
              </a:lnSpc>
              <a:spcBef>
                <a:spcPts val="0"/>
              </a:spcBef>
              <a:spcAft>
                <a:spcPct val="20000"/>
              </a:spcAft>
              <a:buClr>
                <a:srgbClr val="0078D7"/>
              </a:buClr>
              <a:buSzPct val="100000"/>
              <a:buFont typeface="Arial" charset="0"/>
              <a:buChar char="•"/>
              <a:tabLst/>
              <a:defRPr/>
            </a:pPr>
            <a:r>
              <a:rPr kumimoji="0" lang="en-US" sz="1836" b="0" i="0" u="none" strike="noStrike" kern="1200" cap="none" spc="0" normalizeH="0" baseline="0" noProof="0" dirty="0">
                <a:ln>
                  <a:noFill/>
                </a:ln>
                <a:solidFill>
                  <a:srgbClr val="505050"/>
                </a:solidFill>
                <a:effectLst/>
                <a:uLnTx/>
                <a:uFillTx/>
                <a:latin typeface="Segoe UI"/>
                <a:ea typeface="+mn-ea"/>
                <a:cs typeface="+mn-cs"/>
              </a:rPr>
              <a:t>Identifies patterns and applies predictive analytics and machine learning to eliminate payment errors, increase recoveries and preserve program integrity</a:t>
            </a:r>
          </a:p>
          <a:p>
            <a:pPr marL="184576" marR="0" lvl="0" indent="-184576" algn="l" defTabSz="932742" rtl="0" eaLnBrk="1" fontAlgn="auto" latinLnBrk="0" hangingPunct="1">
              <a:lnSpc>
                <a:spcPct val="100000"/>
              </a:lnSpc>
              <a:spcBef>
                <a:spcPts val="0"/>
              </a:spcBef>
              <a:spcAft>
                <a:spcPct val="20000"/>
              </a:spcAft>
              <a:buClr>
                <a:srgbClr val="0078D7"/>
              </a:buClr>
              <a:buSzPct val="100000"/>
              <a:buFont typeface="Arial" charset="0"/>
              <a:buChar char="•"/>
              <a:tabLst/>
              <a:defRPr/>
            </a:pPr>
            <a:r>
              <a:rPr kumimoji="0" lang="en-US" sz="1836" b="0" i="0" u="none" strike="noStrike" kern="1200" cap="none" spc="0" normalizeH="0" baseline="0" noProof="0" dirty="0">
                <a:ln>
                  <a:noFill/>
                </a:ln>
                <a:solidFill>
                  <a:srgbClr val="505050"/>
                </a:solidFill>
                <a:effectLst/>
                <a:uLnTx/>
                <a:uFillTx/>
                <a:latin typeface="Segoe UI"/>
                <a:ea typeface="+mn-ea"/>
                <a:cs typeface="+mn-cs"/>
              </a:rPr>
              <a:t>Backed by CGI’s expert clinicians and business analysts who understand the business of healthcare and payments</a:t>
            </a:r>
          </a:p>
        </p:txBody>
      </p:sp>
      <p:pic>
        <p:nvPicPr>
          <p:cNvPr id="8" name="Picture Placeholder 13"/>
          <p:cNvPicPr>
            <a:picLocks noChangeAspect="1"/>
          </p:cNvPicPr>
          <p:nvPr/>
        </p:nvPicPr>
        <p:blipFill rotWithShape="1">
          <a:blip r:embed="rId3" cstate="email">
            <a:extLst>
              <a:ext uri="{28A0092B-C50C-407E-A947-70E740481C1C}">
                <a14:useLocalDpi xmlns:a14="http://schemas.microsoft.com/office/drawing/2010/main"/>
              </a:ext>
            </a:extLst>
          </a:blip>
          <a:srcRect r="-137"/>
          <a:stretch/>
        </p:blipFill>
        <p:spPr>
          <a:xfrm>
            <a:off x="611126" y="4296637"/>
            <a:ext cx="2111663" cy="2203747"/>
          </a:xfrm>
          <a:prstGeom prst="rect">
            <a:avLst/>
          </a:prstGeom>
          <a:noFill/>
          <a:ln>
            <a:noFill/>
          </a:ln>
        </p:spPr>
      </p:pic>
      <p:sp>
        <p:nvSpPr>
          <p:cNvPr id="9" name="Arrondir un rectangle avec un coin du même côté 25"/>
          <p:cNvSpPr/>
          <p:nvPr/>
        </p:nvSpPr>
        <p:spPr bwMode="gray">
          <a:xfrm>
            <a:off x="9706017" y="1045352"/>
            <a:ext cx="2052493" cy="3173566"/>
          </a:xfrm>
          <a:prstGeom prst="round2SameRect">
            <a:avLst>
              <a:gd name="adj1" fmla="val 0"/>
              <a:gd name="adj2" fmla="val 0"/>
            </a:avLst>
          </a:prstGeom>
          <a:solidFill>
            <a:schemeClr val="bg1"/>
          </a:solidFill>
          <a:ln w="9525" algn="ctr">
            <a:solidFill>
              <a:schemeClr val="accent6"/>
            </a:solidFill>
            <a:miter lim="800000"/>
            <a:headEnd/>
            <a:tailEnd/>
          </a:ln>
          <a:effectLst/>
        </p:spPr>
        <p:txBody>
          <a:bodyPr lIns="93260" tIns="93260" rIns="93260" bIns="93260" rtlCol="0" anchor="t" anchorCtr="0"/>
          <a:lstStyle/>
          <a:p>
            <a:pPr marL="0" marR="0" lvl="1" indent="0" algn="l" defTabSz="932742" rtl="0" eaLnBrk="1" fontAlgn="auto" latinLnBrk="0" hangingPunct="1">
              <a:lnSpc>
                <a:spcPct val="100000"/>
              </a:lnSpc>
              <a:spcBef>
                <a:spcPts val="510"/>
              </a:spcBef>
              <a:spcAft>
                <a:spcPts val="0"/>
              </a:spcAft>
              <a:buClr>
                <a:srgbClr val="991F3D"/>
              </a:buClr>
              <a:buSzPct val="120000"/>
              <a:buFontTx/>
              <a:buNone/>
              <a:tabLst/>
              <a:defRPr/>
            </a:pPr>
            <a:r>
              <a:rPr kumimoji="0" lang="en-US" sz="1632" b="1" i="0" u="none" strike="noStrike" kern="1200" cap="none" spc="0" normalizeH="0" baseline="0" noProof="0" dirty="0">
                <a:ln>
                  <a:noFill/>
                </a:ln>
                <a:solidFill>
                  <a:srgbClr val="363534"/>
                </a:solidFill>
                <a:effectLst/>
                <a:uLnTx/>
                <a:uFillTx/>
                <a:latin typeface="Segoe UI"/>
                <a:ea typeface="+mn-ea"/>
                <a:cs typeface="+mn-cs"/>
              </a:rPr>
              <a:t>Typical Buyer</a:t>
            </a:r>
          </a:p>
          <a:p>
            <a:pPr marL="349724" marR="0" lvl="1" indent="-349724" algn="l" defTabSz="932742" rtl="0" eaLnBrk="1" fontAlgn="auto" latinLnBrk="0" hangingPunct="1">
              <a:lnSpc>
                <a:spcPct val="100000"/>
              </a:lnSpc>
              <a:spcBef>
                <a:spcPts val="0"/>
              </a:spcBef>
              <a:spcAft>
                <a:spcPts val="0"/>
              </a:spcAft>
              <a:buClr>
                <a:srgbClr val="991F3D"/>
              </a:buClr>
              <a:buSzPct val="120000"/>
              <a:buFont typeface="Arial" panose="020B0604020202020204" pitchFamily="34" charset="0"/>
              <a:buChar char="•"/>
              <a:tabLst/>
              <a:defRPr/>
            </a:pPr>
            <a:r>
              <a:rPr kumimoji="0" lang="en-US" sz="1632" b="0" i="0" u="none" strike="noStrike" kern="1200" cap="none" spc="0" normalizeH="0" baseline="0" noProof="0" dirty="0">
                <a:ln>
                  <a:noFill/>
                </a:ln>
                <a:solidFill>
                  <a:srgbClr val="363534"/>
                </a:solidFill>
                <a:effectLst/>
                <a:uLnTx/>
                <a:uFillTx/>
                <a:latin typeface="Segoe UI"/>
                <a:ea typeface="+mn-ea"/>
                <a:cs typeface="+mn-cs"/>
              </a:rPr>
              <a:t>Program Integrity, OIG</a:t>
            </a:r>
          </a:p>
          <a:p>
            <a:pPr marL="349724" marR="0" lvl="1" indent="-349724" algn="l" defTabSz="932742" rtl="0" eaLnBrk="1" fontAlgn="auto" latinLnBrk="0" hangingPunct="1">
              <a:lnSpc>
                <a:spcPct val="100000"/>
              </a:lnSpc>
              <a:spcBef>
                <a:spcPts val="0"/>
              </a:spcBef>
              <a:spcAft>
                <a:spcPts val="0"/>
              </a:spcAft>
              <a:buClr>
                <a:srgbClr val="991F3D"/>
              </a:buClr>
              <a:buSzPct val="120000"/>
              <a:buFont typeface="Arial" panose="020B0604020202020204" pitchFamily="34" charset="0"/>
              <a:buChar char="•"/>
              <a:tabLst/>
              <a:defRPr/>
            </a:pPr>
            <a:r>
              <a:rPr kumimoji="0" lang="en-US" sz="1632" b="0" i="0" u="none" strike="noStrike" kern="1200" cap="none" spc="0" normalizeH="0" baseline="0" noProof="0" dirty="0">
                <a:ln>
                  <a:noFill/>
                </a:ln>
                <a:solidFill>
                  <a:srgbClr val="363534"/>
                </a:solidFill>
                <a:effectLst/>
                <a:uLnTx/>
                <a:uFillTx/>
                <a:latin typeface="Segoe UI"/>
                <a:ea typeface="+mn-ea"/>
                <a:cs typeface="+mn-cs"/>
              </a:rPr>
              <a:t>Compliance, Internal Audit</a:t>
            </a:r>
          </a:p>
          <a:p>
            <a:pPr marL="349724" marR="0" lvl="1" indent="-349724" algn="l" defTabSz="932742" rtl="0" eaLnBrk="1" fontAlgn="auto" latinLnBrk="0" hangingPunct="1">
              <a:lnSpc>
                <a:spcPct val="100000"/>
              </a:lnSpc>
              <a:spcBef>
                <a:spcPts val="0"/>
              </a:spcBef>
              <a:spcAft>
                <a:spcPts val="0"/>
              </a:spcAft>
              <a:buClr>
                <a:srgbClr val="991F3D"/>
              </a:buClr>
              <a:buSzPct val="120000"/>
              <a:buFont typeface="Arial" panose="020B0604020202020204" pitchFamily="34" charset="0"/>
              <a:buChar char="•"/>
              <a:tabLst/>
              <a:defRPr/>
            </a:pPr>
            <a:r>
              <a:rPr kumimoji="0" lang="en-US" sz="1632" b="0" i="0" u="none" strike="noStrike" kern="1200" cap="none" spc="0" normalizeH="0" baseline="0" noProof="0" dirty="0">
                <a:ln>
                  <a:noFill/>
                </a:ln>
                <a:solidFill>
                  <a:srgbClr val="363534"/>
                </a:solidFill>
                <a:effectLst/>
                <a:uLnTx/>
                <a:uFillTx/>
                <a:latin typeface="Segoe UI"/>
                <a:ea typeface="+mn-ea"/>
                <a:cs typeface="+mn-cs"/>
              </a:rPr>
              <a:t>Special Investigations Unit</a:t>
            </a:r>
          </a:p>
          <a:p>
            <a:pPr marL="349724" marR="0" lvl="1" indent="-349724" algn="l" defTabSz="932742" rtl="0" eaLnBrk="1" fontAlgn="auto" latinLnBrk="0" hangingPunct="1">
              <a:lnSpc>
                <a:spcPct val="100000"/>
              </a:lnSpc>
              <a:spcBef>
                <a:spcPts val="0"/>
              </a:spcBef>
              <a:spcAft>
                <a:spcPts val="0"/>
              </a:spcAft>
              <a:buClr>
                <a:srgbClr val="991F3D"/>
              </a:buClr>
              <a:buSzPct val="120000"/>
              <a:buFont typeface="Arial" panose="020B0604020202020204" pitchFamily="34" charset="0"/>
              <a:buChar char="•"/>
              <a:tabLst/>
              <a:defRPr/>
            </a:pPr>
            <a:r>
              <a:rPr kumimoji="0" lang="en-CA" sz="1632" b="0" i="0" u="none" strike="noStrike" kern="1200" cap="none" spc="0" normalizeH="0" baseline="0" noProof="0" dirty="0">
                <a:ln>
                  <a:noFill/>
                </a:ln>
                <a:solidFill>
                  <a:srgbClr val="505050"/>
                </a:solidFill>
                <a:effectLst/>
                <a:uLnTx/>
                <a:uFillTx/>
                <a:latin typeface="Segoe UI"/>
                <a:ea typeface="+mn-ea"/>
                <a:cs typeface="+mn-cs"/>
              </a:rPr>
              <a:t>Agencies with an improper payment rate of $1B of more</a:t>
            </a:r>
          </a:p>
        </p:txBody>
      </p:sp>
    </p:spTree>
    <p:extLst>
      <p:ext uri="{BB962C8B-B14F-4D97-AF65-F5344CB8AC3E}">
        <p14:creationId xmlns:p14="http://schemas.microsoft.com/office/powerpoint/2010/main" val="2302604429"/>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CGI Unify360™ at a </a:t>
            </a:r>
            <a:r>
              <a:rPr lang="fr-CA" dirty="0" err="1"/>
              <a:t>glance</a:t>
            </a:r>
            <a:endParaRPr lang="fr-CA" dirty="0"/>
          </a:p>
        </p:txBody>
      </p:sp>
      <p:sp>
        <p:nvSpPr>
          <p:cNvPr id="4" name="Slide Number Placeholder 3"/>
          <p:cNvSpPr>
            <a:spLocks noGrp="1"/>
          </p:cNvSpPr>
          <p:nvPr>
            <p:ph type="sldNum" sz="quarter" idx="12"/>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525A3C56-E491-49B2-93F3-63532DF516BC}" type="slidenum">
              <a:rPr kumimoji="0" 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97</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Arrondir un rectangle avec un coin du même côté 25"/>
          <p:cNvSpPr/>
          <p:nvPr/>
        </p:nvSpPr>
        <p:spPr bwMode="gray">
          <a:xfrm>
            <a:off x="9617197" y="4234983"/>
            <a:ext cx="2195203" cy="1971269"/>
          </a:xfrm>
          <a:prstGeom prst="round2SameRect">
            <a:avLst>
              <a:gd name="adj1" fmla="val 0"/>
              <a:gd name="adj2" fmla="val 0"/>
            </a:avLst>
          </a:prstGeom>
          <a:solidFill>
            <a:schemeClr val="bg1"/>
          </a:solidFill>
          <a:ln w="9525" algn="ctr">
            <a:solidFill>
              <a:schemeClr val="accent6"/>
            </a:solidFill>
            <a:miter lim="800000"/>
            <a:headEnd/>
            <a:tailEnd/>
          </a:ln>
          <a:effectLst/>
        </p:spPr>
        <p:txBody>
          <a:bodyPr lIns="93260" tIns="93260" rIns="93260" bIns="93260" rtlCol="0" anchor="t" anchorCtr="0"/>
          <a:lstStyle/>
          <a:p>
            <a:pPr marL="0" marR="0" lvl="1" indent="0" algn="l" defTabSz="932742" rtl="0" eaLnBrk="1" fontAlgn="auto" latinLnBrk="0" hangingPunct="1">
              <a:lnSpc>
                <a:spcPct val="100000"/>
              </a:lnSpc>
              <a:spcBef>
                <a:spcPts val="510"/>
              </a:spcBef>
              <a:spcAft>
                <a:spcPts val="0"/>
              </a:spcAft>
              <a:buClr>
                <a:srgbClr val="991F3D"/>
              </a:buClr>
              <a:buSzPct val="120000"/>
              <a:buFontTx/>
              <a:buNone/>
              <a:tabLst/>
              <a:defRPr/>
            </a:pPr>
            <a:r>
              <a:rPr kumimoji="0" lang="en-US" sz="1836" b="1" i="0" u="none" strike="noStrike" kern="1200" cap="none" spc="0" normalizeH="0" baseline="0" noProof="0" dirty="0">
                <a:ln>
                  <a:noFill/>
                </a:ln>
                <a:solidFill>
                  <a:srgbClr val="363534"/>
                </a:solidFill>
                <a:effectLst/>
                <a:uLnTx/>
                <a:uFillTx/>
                <a:latin typeface="Segoe UI"/>
                <a:ea typeface="+mn-ea"/>
                <a:cs typeface="+mn-cs"/>
              </a:rPr>
              <a:t>Reference Clients</a:t>
            </a:r>
          </a:p>
          <a:p>
            <a:pPr marL="349724" marR="0" lvl="1" indent="-349724" algn="l" defTabSz="932742" rtl="0" eaLnBrk="1" fontAlgn="auto" latinLnBrk="0" hangingPunct="1">
              <a:lnSpc>
                <a:spcPct val="100000"/>
              </a:lnSpc>
              <a:spcBef>
                <a:spcPts val="510"/>
              </a:spcBef>
              <a:spcAft>
                <a:spcPts val="0"/>
              </a:spcAft>
              <a:buClr>
                <a:srgbClr val="991F3D"/>
              </a:buClr>
              <a:buSzPct val="120000"/>
              <a:buFont typeface="Arial" panose="020B0604020202020204" pitchFamily="34" charset="0"/>
              <a:buChar char="•"/>
              <a:tabLst/>
              <a:defRPr/>
            </a:pPr>
            <a:r>
              <a:rPr kumimoji="0" lang="en-US" sz="1632" b="0" i="0" u="none" strike="noStrike" kern="1200" cap="none" spc="0" normalizeH="0" baseline="0" noProof="0" dirty="0">
                <a:ln>
                  <a:noFill/>
                </a:ln>
                <a:solidFill>
                  <a:srgbClr val="363534"/>
                </a:solidFill>
                <a:effectLst/>
                <a:uLnTx/>
                <a:uFillTx/>
                <a:latin typeface="Segoe UI"/>
                <a:ea typeface="+mn-ea"/>
                <a:cs typeface="+mn-cs"/>
              </a:rPr>
              <a:t>USDA</a:t>
            </a:r>
          </a:p>
          <a:p>
            <a:pPr marL="349724" marR="0" lvl="1" indent="-349724" algn="l" defTabSz="932742" rtl="0" eaLnBrk="1" fontAlgn="auto" latinLnBrk="0" hangingPunct="1">
              <a:lnSpc>
                <a:spcPct val="100000"/>
              </a:lnSpc>
              <a:spcBef>
                <a:spcPts val="510"/>
              </a:spcBef>
              <a:spcAft>
                <a:spcPts val="0"/>
              </a:spcAft>
              <a:buClr>
                <a:srgbClr val="991F3D"/>
              </a:buClr>
              <a:buSzPct val="120000"/>
              <a:buFont typeface="Arial" panose="020B0604020202020204" pitchFamily="34" charset="0"/>
              <a:buChar char="•"/>
              <a:tabLst/>
              <a:defRPr/>
            </a:pPr>
            <a:r>
              <a:rPr kumimoji="0" lang="en-US" sz="1632" b="0" i="0" u="none" strike="noStrike" kern="1200" cap="none" spc="0" normalizeH="0" baseline="0" noProof="0" dirty="0">
                <a:ln>
                  <a:noFill/>
                </a:ln>
                <a:solidFill>
                  <a:srgbClr val="363534"/>
                </a:solidFill>
                <a:effectLst/>
                <a:uLnTx/>
                <a:uFillTx/>
                <a:latin typeface="Segoe UI"/>
                <a:ea typeface="+mn-ea"/>
                <a:cs typeface="+mn-cs"/>
              </a:rPr>
              <a:t>EPA</a:t>
            </a:r>
          </a:p>
          <a:p>
            <a:pPr marL="349724" marR="0" lvl="1" indent="-349724" algn="l" defTabSz="932742" rtl="0" eaLnBrk="1" fontAlgn="auto" latinLnBrk="0" hangingPunct="1">
              <a:lnSpc>
                <a:spcPct val="100000"/>
              </a:lnSpc>
              <a:spcBef>
                <a:spcPts val="510"/>
              </a:spcBef>
              <a:spcAft>
                <a:spcPts val="0"/>
              </a:spcAft>
              <a:buClr>
                <a:srgbClr val="991F3D"/>
              </a:buClr>
              <a:buSzPct val="120000"/>
              <a:buFont typeface="Arial" panose="020B0604020202020204" pitchFamily="34" charset="0"/>
              <a:buChar char="•"/>
              <a:tabLst/>
              <a:defRPr/>
            </a:pPr>
            <a:r>
              <a:rPr kumimoji="0" lang="en-US" sz="1632" b="0" i="0" u="none" strike="noStrike" kern="1200" cap="none" spc="0" normalizeH="0" baseline="0" noProof="0" dirty="0">
                <a:ln>
                  <a:noFill/>
                </a:ln>
                <a:solidFill>
                  <a:srgbClr val="363534"/>
                </a:solidFill>
                <a:effectLst/>
                <a:uLnTx/>
                <a:uFillTx/>
                <a:latin typeface="Segoe UI"/>
                <a:ea typeface="+mn-ea"/>
                <a:cs typeface="+mn-cs"/>
              </a:rPr>
              <a:t>NRC</a:t>
            </a:r>
          </a:p>
          <a:p>
            <a:pPr marL="349724" marR="0" lvl="1" indent="-349724" algn="l" defTabSz="932742" rtl="0" eaLnBrk="1" fontAlgn="auto" latinLnBrk="0" hangingPunct="1">
              <a:lnSpc>
                <a:spcPct val="100000"/>
              </a:lnSpc>
              <a:spcBef>
                <a:spcPts val="510"/>
              </a:spcBef>
              <a:spcAft>
                <a:spcPts val="0"/>
              </a:spcAft>
              <a:buClr>
                <a:srgbClr val="991F3D"/>
              </a:buClr>
              <a:buSzPct val="120000"/>
              <a:buFont typeface="Arial" panose="020B0604020202020204" pitchFamily="34" charset="0"/>
              <a:buChar char="•"/>
              <a:tabLst/>
              <a:defRPr/>
            </a:pPr>
            <a:r>
              <a:rPr kumimoji="0" lang="en-US" sz="1632" b="0" i="0" u="none" strike="noStrike" kern="1200" cap="none" spc="0" normalizeH="0" baseline="0" noProof="0" dirty="0">
                <a:ln>
                  <a:noFill/>
                </a:ln>
                <a:solidFill>
                  <a:srgbClr val="363534"/>
                </a:solidFill>
                <a:effectLst/>
                <a:uLnTx/>
                <a:uFillTx/>
                <a:latin typeface="Segoe UI"/>
                <a:ea typeface="+mn-ea"/>
                <a:cs typeface="+mn-cs"/>
              </a:rPr>
              <a:t>DOI</a:t>
            </a:r>
          </a:p>
        </p:txBody>
      </p:sp>
      <p:sp>
        <p:nvSpPr>
          <p:cNvPr id="6" name="Arrondir un rectangle avec un coin du même côté 21"/>
          <p:cNvSpPr/>
          <p:nvPr/>
        </p:nvSpPr>
        <p:spPr bwMode="gray">
          <a:xfrm>
            <a:off x="2465232" y="4234983"/>
            <a:ext cx="4809357" cy="1971269"/>
          </a:xfrm>
          <a:prstGeom prst="round2SameRect">
            <a:avLst>
              <a:gd name="adj1" fmla="val 0"/>
              <a:gd name="adj2" fmla="val 0"/>
            </a:avLst>
          </a:prstGeom>
          <a:solidFill>
            <a:schemeClr val="bg2"/>
          </a:solidFill>
          <a:ln w="9525" algn="ctr">
            <a:solidFill>
              <a:schemeClr val="accent6"/>
            </a:solidFill>
            <a:miter lim="800000"/>
            <a:headEnd/>
            <a:tailEnd/>
          </a:ln>
          <a:effectLst/>
        </p:spPr>
        <p:txBody>
          <a:bodyPr lIns="93260" tIns="93260" rIns="93260" bIns="93260" rtlCol="0" anchor="t" anchorCtr="0">
            <a:noAutofit/>
          </a:bodyPr>
          <a:lstStyle/>
          <a:p>
            <a:pPr marL="0" marR="0" lvl="1" indent="0" algn="l" defTabSz="932742" rtl="0" eaLnBrk="1" fontAlgn="auto" latinLnBrk="0" hangingPunct="1">
              <a:lnSpc>
                <a:spcPct val="100000"/>
              </a:lnSpc>
              <a:spcBef>
                <a:spcPts val="510"/>
              </a:spcBef>
              <a:spcAft>
                <a:spcPts val="0"/>
              </a:spcAft>
              <a:buClr>
                <a:srgbClr val="0078D7"/>
              </a:buClr>
              <a:buSzPct val="120000"/>
              <a:buFontTx/>
              <a:buNone/>
              <a:tabLst/>
              <a:defRPr/>
            </a:pPr>
            <a:r>
              <a:rPr kumimoji="0" lang="en-US" sz="1836" b="1" i="0" u="none" strike="noStrike" kern="1200" cap="none" spc="0" normalizeH="0" baseline="0" noProof="0" dirty="0">
                <a:ln>
                  <a:noFill/>
                </a:ln>
                <a:solidFill>
                  <a:srgbClr val="505050"/>
                </a:solidFill>
                <a:effectLst/>
                <a:uLnTx/>
                <a:uFillTx/>
                <a:latin typeface="Segoe UI"/>
                <a:ea typeface="+mn-ea"/>
                <a:cs typeface="+mn-cs"/>
              </a:rPr>
              <a:t>Solution Offerings</a:t>
            </a:r>
          </a:p>
          <a:p>
            <a:pPr marL="204005" marR="0" lvl="1" indent="-205171" algn="l" defTabSz="932742" rtl="0" eaLnBrk="1" fontAlgn="auto" latinLnBrk="0" hangingPunct="1">
              <a:lnSpc>
                <a:spcPct val="100000"/>
              </a:lnSpc>
              <a:spcBef>
                <a:spcPts val="0"/>
              </a:spcBef>
              <a:spcAft>
                <a:spcPts val="0"/>
              </a:spcAft>
              <a:buClr>
                <a:srgbClr val="991F3D"/>
              </a:buClr>
              <a:buSzPct val="75000"/>
              <a:buFont typeface="Verdana"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CGI Unify360 Hybrid IT Management Suite</a:t>
            </a:r>
          </a:p>
          <a:p>
            <a:pPr marL="204005" marR="0" lvl="1" indent="-205171" algn="l" defTabSz="932742" rtl="0" eaLnBrk="1" fontAlgn="auto" latinLnBrk="0" hangingPunct="1">
              <a:lnSpc>
                <a:spcPct val="100000"/>
              </a:lnSpc>
              <a:spcBef>
                <a:spcPts val="0"/>
              </a:spcBef>
              <a:spcAft>
                <a:spcPts val="0"/>
              </a:spcAft>
              <a:buClr>
                <a:srgbClr val="991F3D"/>
              </a:buClr>
              <a:buSzPct val="75000"/>
              <a:buFont typeface="Verdana"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CGI Unify360 Portfolio Manager</a:t>
            </a:r>
          </a:p>
          <a:p>
            <a:pPr marL="204005" marR="0" lvl="1" indent="-205171" algn="l" defTabSz="932742" rtl="0" eaLnBrk="1" fontAlgn="auto" latinLnBrk="0" hangingPunct="1">
              <a:lnSpc>
                <a:spcPct val="100000"/>
              </a:lnSpc>
              <a:spcBef>
                <a:spcPts val="0"/>
              </a:spcBef>
              <a:spcAft>
                <a:spcPts val="0"/>
              </a:spcAft>
              <a:buClr>
                <a:srgbClr val="991F3D"/>
              </a:buClr>
              <a:buSzPct val="75000"/>
              <a:buFont typeface="Verdana"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Hybrid IT security services</a:t>
            </a:r>
          </a:p>
          <a:p>
            <a:pPr marL="204005" marR="0" lvl="1" indent="-205171" algn="l" defTabSz="932742" rtl="0" eaLnBrk="1" fontAlgn="auto" latinLnBrk="0" hangingPunct="1">
              <a:lnSpc>
                <a:spcPct val="100000"/>
              </a:lnSpc>
              <a:spcBef>
                <a:spcPts val="0"/>
              </a:spcBef>
              <a:spcAft>
                <a:spcPts val="0"/>
              </a:spcAft>
              <a:buClr>
                <a:srgbClr val="991F3D"/>
              </a:buClr>
              <a:buSzPct val="75000"/>
              <a:buFont typeface="Verdana"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Managed services</a:t>
            </a:r>
          </a:p>
          <a:p>
            <a:pPr marL="204005" marR="0" lvl="1" indent="-205171" algn="l" defTabSz="932742" rtl="0" eaLnBrk="1" fontAlgn="auto" latinLnBrk="0" hangingPunct="1">
              <a:lnSpc>
                <a:spcPct val="100000"/>
              </a:lnSpc>
              <a:spcBef>
                <a:spcPts val="0"/>
              </a:spcBef>
              <a:spcAft>
                <a:spcPts val="0"/>
              </a:spcAft>
              <a:buClr>
                <a:srgbClr val="991F3D"/>
              </a:buClr>
              <a:buSzPct val="75000"/>
              <a:buFont typeface="Verdana"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Cloud consulting</a:t>
            </a:r>
          </a:p>
          <a:p>
            <a:pPr marL="204005" marR="0" lvl="1" indent="-205171" algn="l" defTabSz="932742" rtl="0" eaLnBrk="1" fontAlgn="auto" latinLnBrk="0" hangingPunct="1">
              <a:lnSpc>
                <a:spcPct val="100000"/>
              </a:lnSpc>
              <a:spcBef>
                <a:spcPts val="0"/>
              </a:spcBef>
              <a:spcAft>
                <a:spcPts val="0"/>
              </a:spcAft>
              <a:buClr>
                <a:srgbClr val="991F3D"/>
              </a:buClr>
              <a:buSzPct val="75000"/>
              <a:buFont typeface="Verdana"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Cloud Readiness Assessment</a:t>
            </a:r>
          </a:p>
        </p:txBody>
      </p:sp>
      <p:sp>
        <p:nvSpPr>
          <p:cNvPr id="7" name="Arrondir un rectangle avec un coin du même côté 21"/>
          <p:cNvSpPr/>
          <p:nvPr/>
        </p:nvSpPr>
        <p:spPr bwMode="gray">
          <a:xfrm>
            <a:off x="611125" y="1129986"/>
            <a:ext cx="5508810" cy="3025808"/>
          </a:xfrm>
          <a:prstGeom prst="round2SameRect">
            <a:avLst>
              <a:gd name="adj1" fmla="val 0"/>
              <a:gd name="adj2" fmla="val 0"/>
            </a:avLst>
          </a:prstGeom>
          <a:solidFill>
            <a:schemeClr val="bg2"/>
          </a:solidFill>
          <a:ln w="9525" algn="ctr">
            <a:solidFill>
              <a:schemeClr val="accent6"/>
            </a:solidFill>
            <a:miter lim="800000"/>
            <a:headEnd/>
            <a:tailEnd/>
          </a:ln>
          <a:effectLst/>
        </p:spPr>
        <p:txBody>
          <a:bodyPr lIns="93260" tIns="93260" rIns="93260" bIns="93260" rtlCol="0" anchor="t" anchorCtr="0">
            <a:noAutofit/>
          </a:bodyPr>
          <a:lstStyle/>
          <a:p>
            <a:pPr marL="0" marR="0" lvl="0" indent="0" algn="l" defTabSz="932742" rtl="0" eaLnBrk="1" fontAlgn="auto" latinLnBrk="0" hangingPunct="1">
              <a:lnSpc>
                <a:spcPct val="100000"/>
              </a:lnSpc>
              <a:spcBef>
                <a:spcPts val="0"/>
              </a:spcBef>
              <a:spcAft>
                <a:spcPct val="20000"/>
              </a:spcAft>
              <a:buClr>
                <a:srgbClr val="E31937"/>
              </a:buClr>
              <a:buSzPct val="80000"/>
              <a:buFontTx/>
              <a:buNone/>
              <a:tabLst/>
              <a:defRPr/>
            </a:pPr>
            <a:r>
              <a:rPr kumimoji="0" lang="en-US" sz="1836" b="1" i="0" u="none" strike="noStrike" kern="1200" cap="none" spc="0" normalizeH="0" baseline="0" noProof="0" dirty="0">
                <a:ln>
                  <a:noFill/>
                </a:ln>
                <a:solidFill>
                  <a:srgbClr val="505050"/>
                </a:solidFill>
                <a:effectLst/>
                <a:uLnTx/>
                <a:uFillTx/>
                <a:latin typeface="Segoe UI"/>
                <a:ea typeface="+mn-ea"/>
                <a:cs typeface="+mn-cs"/>
              </a:rPr>
              <a:t>Client Priorities</a:t>
            </a:r>
          </a:p>
          <a:p>
            <a:pPr marL="291436" marR="0" lvl="0" indent="-291436" algn="l" defTabSz="932742" rtl="0" eaLnBrk="1" fontAlgn="auto" latinLnBrk="0" hangingPunct="1">
              <a:lnSpc>
                <a:spcPct val="100000"/>
              </a:lnSpc>
              <a:spcBef>
                <a:spcPts val="0"/>
              </a:spcBef>
              <a:spcAft>
                <a:spcPct val="20000"/>
              </a:spcAft>
              <a:buClr>
                <a:srgbClr val="0078D7"/>
              </a:buClr>
              <a:buSzPct val="100000"/>
              <a:buFont typeface="Arial" panose="020B0604020202020204"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Integrate and rationalize legacy IT systems</a:t>
            </a:r>
          </a:p>
          <a:p>
            <a:pPr marL="291436" marR="0" lvl="0" indent="-291436" algn="l" defTabSz="932742" rtl="0" eaLnBrk="1" fontAlgn="auto" latinLnBrk="0" hangingPunct="1">
              <a:lnSpc>
                <a:spcPct val="100000"/>
              </a:lnSpc>
              <a:spcBef>
                <a:spcPts val="0"/>
              </a:spcBef>
              <a:spcAft>
                <a:spcPct val="20000"/>
              </a:spcAft>
              <a:buClr>
                <a:srgbClr val="0078D7"/>
              </a:buClr>
              <a:buSzPct val="100000"/>
              <a:buFont typeface="Arial" panose="020B0604020202020204"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Control rogue acquisition and portfolio sprawl</a:t>
            </a:r>
          </a:p>
          <a:p>
            <a:pPr marL="291436" marR="0" lvl="0" indent="-291436" algn="l" defTabSz="932742" rtl="0" eaLnBrk="1" fontAlgn="auto" latinLnBrk="0" hangingPunct="1">
              <a:lnSpc>
                <a:spcPct val="100000"/>
              </a:lnSpc>
              <a:spcBef>
                <a:spcPts val="0"/>
              </a:spcBef>
              <a:spcAft>
                <a:spcPct val="20000"/>
              </a:spcAft>
              <a:buClr>
                <a:srgbClr val="0078D7"/>
              </a:buClr>
              <a:buSzPct val="100000"/>
              <a:buFont typeface="Arial" panose="020B0604020202020204"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Move legacy systems to multi-cloud environments</a:t>
            </a:r>
          </a:p>
          <a:p>
            <a:pPr marL="291436" marR="0" lvl="0" indent="-291436" algn="l" defTabSz="932742" rtl="0" eaLnBrk="1" fontAlgn="auto" latinLnBrk="0" hangingPunct="1">
              <a:lnSpc>
                <a:spcPct val="100000"/>
              </a:lnSpc>
              <a:spcBef>
                <a:spcPts val="0"/>
              </a:spcBef>
              <a:spcAft>
                <a:spcPct val="20000"/>
              </a:spcAft>
              <a:buClr>
                <a:srgbClr val="0078D7"/>
              </a:buClr>
              <a:buSzPct val="100000"/>
              <a:buFont typeface="Arial" panose="020B0604020202020204"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Secure data across disparate IT infrastructure</a:t>
            </a:r>
          </a:p>
          <a:p>
            <a:pPr marL="291436" marR="0" lvl="0" indent="-291436" algn="l" defTabSz="932742" rtl="0" eaLnBrk="1" fontAlgn="auto" latinLnBrk="0" hangingPunct="1">
              <a:lnSpc>
                <a:spcPct val="100000"/>
              </a:lnSpc>
              <a:spcBef>
                <a:spcPts val="0"/>
              </a:spcBef>
              <a:spcAft>
                <a:spcPct val="20000"/>
              </a:spcAft>
              <a:buClr>
                <a:srgbClr val="0078D7"/>
              </a:buClr>
              <a:buSzPct val="100000"/>
              <a:buFont typeface="Arial" panose="020B0604020202020204"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Acquire and manage cloud services</a:t>
            </a:r>
          </a:p>
          <a:p>
            <a:pPr marL="291436" marR="0" lvl="0" indent="-291436" algn="l" defTabSz="932742" rtl="0" eaLnBrk="1" fontAlgn="auto" latinLnBrk="0" hangingPunct="1">
              <a:lnSpc>
                <a:spcPct val="100000"/>
              </a:lnSpc>
              <a:spcBef>
                <a:spcPts val="0"/>
              </a:spcBef>
              <a:spcAft>
                <a:spcPct val="20000"/>
              </a:spcAft>
              <a:buClr>
                <a:srgbClr val="0078D7"/>
              </a:buClr>
              <a:buSzPct val="100000"/>
              <a:buFont typeface="Arial" panose="020B0604020202020204"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Enable access to business aligned and relevant IT services </a:t>
            </a:r>
          </a:p>
          <a:p>
            <a:pPr marL="291436" marR="0" lvl="0" indent="-291436" algn="l" defTabSz="932742" rtl="0" eaLnBrk="1" fontAlgn="auto" latinLnBrk="0" hangingPunct="1">
              <a:lnSpc>
                <a:spcPct val="100000"/>
              </a:lnSpc>
              <a:spcBef>
                <a:spcPts val="0"/>
              </a:spcBef>
              <a:spcAft>
                <a:spcPct val="20000"/>
              </a:spcAft>
              <a:buClr>
                <a:srgbClr val="0078D7"/>
              </a:buClr>
              <a:buSzPct val="100000"/>
              <a:buFont typeface="Arial" panose="020B0604020202020204"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Govern MSI/SIAM contracts</a:t>
            </a:r>
          </a:p>
          <a:p>
            <a:pPr marL="0" marR="0" lvl="0" indent="0" algn="l" defTabSz="932742" rtl="0" eaLnBrk="1" fontAlgn="auto" latinLnBrk="0" hangingPunct="1">
              <a:lnSpc>
                <a:spcPct val="100000"/>
              </a:lnSpc>
              <a:spcBef>
                <a:spcPts val="0"/>
              </a:spcBef>
              <a:spcAft>
                <a:spcPct val="20000"/>
              </a:spcAft>
              <a:buClr>
                <a:srgbClr val="E31937"/>
              </a:buClr>
              <a:buSzPct val="80000"/>
              <a:buFontTx/>
              <a:buNone/>
              <a:tabLst/>
              <a:defRPr/>
            </a:pPr>
            <a:endParaRPr kumimoji="0" lang="en-US" sz="1836" b="1"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Arrondir un rectangle avec un coin du même côté 21"/>
          <p:cNvSpPr/>
          <p:nvPr/>
        </p:nvSpPr>
        <p:spPr bwMode="gray">
          <a:xfrm>
            <a:off x="6242061" y="1129986"/>
            <a:ext cx="5570340" cy="3025808"/>
          </a:xfrm>
          <a:prstGeom prst="round2SameRect">
            <a:avLst>
              <a:gd name="adj1" fmla="val 0"/>
              <a:gd name="adj2" fmla="val 0"/>
            </a:avLst>
          </a:prstGeom>
          <a:solidFill>
            <a:schemeClr val="bg2"/>
          </a:solidFill>
          <a:ln w="9525" algn="ctr">
            <a:solidFill>
              <a:schemeClr val="accent6"/>
            </a:solidFill>
            <a:miter lim="800000"/>
            <a:headEnd/>
            <a:tailEnd/>
          </a:ln>
          <a:effectLst/>
        </p:spPr>
        <p:txBody>
          <a:bodyPr lIns="93260" tIns="93260" rIns="93260" bIns="93260" rtlCol="0" anchor="t" anchorCtr="0">
            <a:noAutofit/>
          </a:bodyPr>
          <a:lstStyle/>
          <a:p>
            <a:pPr marL="0" marR="0" lvl="0" indent="0" algn="l" defTabSz="932742" rtl="0" eaLnBrk="1" fontAlgn="auto" latinLnBrk="0" hangingPunct="1">
              <a:lnSpc>
                <a:spcPct val="100000"/>
              </a:lnSpc>
              <a:spcBef>
                <a:spcPts val="0"/>
              </a:spcBef>
              <a:spcAft>
                <a:spcPct val="20000"/>
              </a:spcAft>
              <a:buClr>
                <a:srgbClr val="E31937"/>
              </a:buClr>
              <a:buSzPct val="80000"/>
              <a:buFontTx/>
              <a:buNone/>
              <a:tabLst/>
              <a:defRPr/>
            </a:pPr>
            <a:r>
              <a:rPr kumimoji="0" lang="en-US" sz="1836" b="1" i="0" u="none" strike="noStrike" kern="1200" cap="none" spc="0" normalizeH="0" baseline="0" noProof="0" dirty="0">
                <a:ln>
                  <a:noFill/>
                </a:ln>
                <a:solidFill>
                  <a:srgbClr val="505050"/>
                </a:solidFill>
                <a:effectLst/>
                <a:uLnTx/>
                <a:uFillTx/>
                <a:latin typeface="Segoe UI"/>
                <a:ea typeface="+mn-ea"/>
                <a:cs typeface="+mn-cs"/>
              </a:rPr>
              <a:t>CGI Unify360 Solution</a:t>
            </a:r>
          </a:p>
          <a:p>
            <a:pPr marL="291436" marR="0" lvl="0" indent="-291436" algn="l" defTabSz="932742" rtl="0" eaLnBrk="1" fontAlgn="auto" latinLnBrk="0" hangingPunct="1">
              <a:lnSpc>
                <a:spcPct val="100000"/>
              </a:lnSpc>
              <a:spcBef>
                <a:spcPts val="0"/>
              </a:spcBef>
              <a:spcAft>
                <a:spcPct val="20000"/>
              </a:spcAft>
              <a:buClr>
                <a:srgbClr val="0078D7"/>
              </a:buClr>
              <a:buSzPct val="100000"/>
              <a:buFont typeface="Arial" panose="020B0604020202020204"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Alignment between business and IT priorities</a:t>
            </a:r>
          </a:p>
          <a:p>
            <a:pPr marL="291436" marR="0" lvl="0" indent="-291436" algn="l" defTabSz="932742" rtl="0" eaLnBrk="1" fontAlgn="auto" latinLnBrk="0" hangingPunct="1">
              <a:lnSpc>
                <a:spcPct val="100000"/>
              </a:lnSpc>
              <a:spcBef>
                <a:spcPts val="0"/>
              </a:spcBef>
              <a:spcAft>
                <a:spcPct val="20000"/>
              </a:spcAft>
              <a:buClr>
                <a:srgbClr val="0078D7"/>
              </a:buClr>
              <a:buSzPct val="100000"/>
              <a:buFont typeface="Arial" panose="020B0604020202020204"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Lowered costs and risk through optimized IT resources</a:t>
            </a:r>
          </a:p>
          <a:p>
            <a:pPr marL="291436" marR="0" lvl="0" indent="-291436" algn="l" defTabSz="932742" rtl="0" eaLnBrk="1" fontAlgn="auto" latinLnBrk="0" hangingPunct="1">
              <a:lnSpc>
                <a:spcPct val="100000"/>
              </a:lnSpc>
              <a:spcBef>
                <a:spcPts val="0"/>
              </a:spcBef>
              <a:spcAft>
                <a:spcPct val="20000"/>
              </a:spcAft>
              <a:buClr>
                <a:srgbClr val="0078D7"/>
              </a:buClr>
              <a:buSzPct val="100000"/>
              <a:buFont typeface="Arial" panose="020B0604020202020204"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Phased approach to cloud adoption</a:t>
            </a:r>
          </a:p>
          <a:p>
            <a:pPr marL="291436" marR="0" lvl="0" indent="-291436" algn="l" defTabSz="932742" rtl="0" eaLnBrk="1" fontAlgn="auto" latinLnBrk="0" hangingPunct="1">
              <a:lnSpc>
                <a:spcPct val="100000"/>
              </a:lnSpc>
              <a:spcBef>
                <a:spcPts val="0"/>
              </a:spcBef>
              <a:spcAft>
                <a:spcPct val="20000"/>
              </a:spcAft>
              <a:buClr>
                <a:srgbClr val="0078D7"/>
              </a:buClr>
              <a:buSzPct val="100000"/>
              <a:buFont typeface="Arial" panose="020B0604020202020204"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Tools and expertise to migrate systems into the cloud</a:t>
            </a:r>
          </a:p>
          <a:p>
            <a:pPr marL="291436" marR="0" lvl="0" indent="-291436" algn="l" defTabSz="932742" rtl="0" eaLnBrk="1" fontAlgn="auto" latinLnBrk="0" hangingPunct="1">
              <a:lnSpc>
                <a:spcPct val="100000"/>
              </a:lnSpc>
              <a:spcBef>
                <a:spcPts val="0"/>
              </a:spcBef>
              <a:spcAft>
                <a:spcPct val="20000"/>
              </a:spcAft>
              <a:buClr>
                <a:srgbClr val="0078D7"/>
              </a:buClr>
              <a:buSzPct val="100000"/>
              <a:buFont typeface="Arial" panose="020B0604020202020204"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Secured transitional and hybrid IT portfolios</a:t>
            </a:r>
          </a:p>
          <a:p>
            <a:pPr marL="291436" marR="0" lvl="0" indent="-291436" algn="l" defTabSz="932742" rtl="0" eaLnBrk="1" fontAlgn="auto" latinLnBrk="0" hangingPunct="1">
              <a:lnSpc>
                <a:spcPct val="100000"/>
              </a:lnSpc>
              <a:spcBef>
                <a:spcPts val="0"/>
              </a:spcBef>
              <a:spcAft>
                <a:spcPct val="20000"/>
              </a:spcAft>
              <a:buClr>
                <a:srgbClr val="0078D7"/>
              </a:buClr>
              <a:buSzPct val="100000"/>
              <a:buFont typeface="Arial" panose="020B0604020202020204"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Single pane of glass view</a:t>
            </a:r>
          </a:p>
          <a:p>
            <a:pPr marL="291436" marR="0" lvl="0" indent="-291436" algn="l" defTabSz="932742" rtl="0" eaLnBrk="1" fontAlgn="auto" latinLnBrk="0" hangingPunct="1">
              <a:lnSpc>
                <a:spcPct val="100000"/>
              </a:lnSpc>
              <a:spcBef>
                <a:spcPts val="0"/>
              </a:spcBef>
              <a:spcAft>
                <a:spcPct val="20000"/>
              </a:spcAft>
              <a:buClr>
                <a:srgbClr val="0078D7"/>
              </a:buClr>
              <a:buSzPct val="100000"/>
              <a:buFont typeface="Arial" panose="020B0604020202020204"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Asset and vendor management to optimize CAPEX/OPEX budgets</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31668" y="4951739"/>
            <a:ext cx="1623402" cy="545395"/>
          </a:xfrm>
          <a:prstGeom prst="rect">
            <a:avLst/>
          </a:prstGeom>
        </p:spPr>
      </p:pic>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1668" y="4313616"/>
            <a:ext cx="1661010" cy="558030"/>
          </a:xfrm>
          <a:prstGeom prst="rect">
            <a:avLst/>
          </a:prstGeom>
        </p:spPr>
      </p:pic>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31668" y="5577227"/>
            <a:ext cx="1623402" cy="545395"/>
          </a:xfrm>
          <a:prstGeom prst="rect">
            <a:avLst/>
          </a:prstGeom>
        </p:spPr>
      </p:pic>
      <p:sp>
        <p:nvSpPr>
          <p:cNvPr id="11" name="Arrondir un rectangle avec un coin du même côté 21"/>
          <p:cNvSpPr/>
          <p:nvPr/>
        </p:nvSpPr>
        <p:spPr bwMode="gray">
          <a:xfrm>
            <a:off x="7392573" y="4234983"/>
            <a:ext cx="2101905" cy="1971269"/>
          </a:xfrm>
          <a:prstGeom prst="round2SameRect">
            <a:avLst>
              <a:gd name="adj1" fmla="val 0"/>
              <a:gd name="adj2" fmla="val 0"/>
            </a:avLst>
          </a:prstGeom>
          <a:solidFill>
            <a:schemeClr val="bg2"/>
          </a:solidFill>
          <a:ln w="9525" algn="ctr">
            <a:solidFill>
              <a:schemeClr val="accent6"/>
            </a:solidFill>
            <a:miter lim="800000"/>
            <a:headEnd/>
            <a:tailEnd/>
          </a:ln>
          <a:effectLst/>
        </p:spPr>
        <p:txBody>
          <a:bodyPr lIns="93260" tIns="93260" rIns="93260" bIns="93260" rtlCol="0" anchor="t" anchorCtr="0">
            <a:noAutofit/>
          </a:bodyPr>
          <a:lstStyle/>
          <a:p>
            <a:pPr marL="0" marR="0" lvl="1" indent="0" algn="l" defTabSz="932742" rtl="0" eaLnBrk="1" fontAlgn="auto" latinLnBrk="0" hangingPunct="1">
              <a:lnSpc>
                <a:spcPct val="100000"/>
              </a:lnSpc>
              <a:spcBef>
                <a:spcPts val="510"/>
              </a:spcBef>
              <a:spcAft>
                <a:spcPts val="0"/>
              </a:spcAft>
              <a:buClr>
                <a:srgbClr val="0078D7"/>
              </a:buClr>
              <a:buSzPct val="120000"/>
              <a:buFontTx/>
              <a:buNone/>
              <a:tabLst/>
              <a:defRPr/>
            </a:pPr>
            <a:r>
              <a:rPr kumimoji="0" lang="en-US" sz="1836" b="1" i="0" u="none" strike="noStrike" kern="1200" cap="none" spc="0" normalizeH="0" baseline="0" noProof="0" dirty="0">
                <a:ln>
                  <a:noFill/>
                </a:ln>
                <a:solidFill>
                  <a:srgbClr val="505050"/>
                </a:solidFill>
                <a:effectLst/>
                <a:uLnTx/>
                <a:uFillTx/>
                <a:latin typeface="Segoe UI"/>
                <a:ea typeface="+mn-ea"/>
                <a:cs typeface="+mn-cs"/>
              </a:rPr>
              <a:t>Typical Buyer</a:t>
            </a:r>
          </a:p>
          <a:p>
            <a:pPr marL="204005" marR="0" lvl="1" indent="-205171" algn="l" defTabSz="932742" rtl="0" eaLnBrk="1" fontAlgn="auto" latinLnBrk="0" hangingPunct="1">
              <a:lnSpc>
                <a:spcPct val="100000"/>
              </a:lnSpc>
              <a:spcBef>
                <a:spcPts val="0"/>
              </a:spcBef>
              <a:spcAft>
                <a:spcPts val="0"/>
              </a:spcAft>
              <a:buClr>
                <a:srgbClr val="991F3D"/>
              </a:buClr>
              <a:buSzPct val="75000"/>
              <a:buFont typeface="Verdana"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Chief Information Officer</a:t>
            </a:r>
          </a:p>
          <a:p>
            <a:pPr marL="204005" marR="0" lvl="1" indent="-205171" algn="l" defTabSz="932742" rtl="0" eaLnBrk="1" fontAlgn="auto" latinLnBrk="0" hangingPunct="1">
              <a:lnSpc>
                <a:spcPct val="100000"/>
              </a:lnSpc>
              <a:spcBef>
                <a:spcPts val="0"/>
              </a:spcBef>
              <a:spcAft>
                <a:spcPts val="0"/>
              </a:spcAft>
              <a:buClr>
                <a:srgbClr val="991F3D"/>
              </a:buClr>
              <a:buSzPct val="75000"/>
              <a:buFont typeface="Verdana"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Chief Technology Officer</a:t>
            </a:r>
          </a:p>
          <a:p>
            <a:pPr marL="204005" marR="0" lvl="1" indent="-205171" algn="l" defTabSz="932742" rtl="0" eaLnBrk="1" fontAlgn="auto" latinLnBrk="0" hangingPunct="1">
              <a:lnSpc>
                <a:spcPct val="100000"/>
              </a:lnSpc>
              <a:spcBef>
                <a:spcPts val="0"/>
              </a:spcBef>
              <a:spcAft>
                <a:spcPts val="0"/>
              </a:spcAft>
              <a:buClr>
                <a:srgbClr val="991F3D"/>
              </a:buClr>
              <a:buSzPct val="75000"/>
              <a:buFont typeface="Verdana" pitchFamily="34" charset="0"/>
              <a:buChar char="•"/>
              <a:tabLst/>
              <a:defRPr/>
            </a:pPr>
            <a:r>
              <a:rPr kumimoji="0" lang="en-US" sz="1632" b="0" i="0" u="none" strike="noStrike" kern="1200" cap="none" spc="0" normalizeH="0" baseline="0" noProof="0" dirty="0">
                <a:ln>
                  <a:noFill/>
                </a:ln>
                <a:solidFill>
                  <a:srgbClr val="505050"/>
                </a:solidFill>
                <a:effectLst/>
                <a:uLnTx/>
                <a:uFillTx/>
                <a:latin typeface="Segoe UI"/>
                <a:ea typeface="+mn-ea"/>
                <a:cs typeface="+mn-cs"/>
              </a:rPr>
              <a:t>IT Program Manager</a:t>
            </a:r>
          </a:p>
        </p:txBody>
      </p:sp>
    </p:spTree>
    <p:extLst>
      <p:ext uri="{BB962C8B-B14F-4D97-AF65-F5344CB8AC3E}">
        <p14:creationId xmlns:p14="http://schemas.microsoft.com/office/powerpoint/2010/main" val="4018756679"/>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a:t>Our commitment to you</a:t>
            </a:r>
            <a:br>
              <a:rPr lang="en-US" dirty="0"/>
            </a:br>
            <a:r>
              <a:rPr lang="en-US" sz="2856" dirty="0">
                <a:solidFill>
                  <a:schemeClr val="tx1"/>
                </a:solidFill>
              </a:rPr>
              <a:t>We approach every engagement with one objective in mind: to help clients succeed</a:t>
            </a:r>
          </a:p>
        </p:txBody>
      </p:sp>
    </p:spTree>
    <p:extLst>
      <p:ext uri="{BB962C8B-B14F-4D97-AF65-F5344CB8AC3E}">
        <p14:creationId xmlns:p14="http://schemas.microsoft.com/office/powerpoint/2010/main" val="401325959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622618" y="3627071"/>
            <a:ext cx="10113135" cy="951164"/>
          </a:xfrm>
        </p:spPr>
        <p:txBody>
          <a:bodyPr/>
          <a:lstStyle/>
          <a:p>
            <a:r>
              <a:rPr lang="en-US" dirty="0">
                <a:latin typeface="+mn-lt"/>
                <a:cs typeface="Segoe UI Light" panose="020B0502040204020203" pitchFamily="34" charset="0"/>
              </a:rPr>
              <a:t>AvePoint : The ISV that will drive your Office 365 Azure &amp; Dynamics business</a:t>
            </a:r>
          </a:p>
        </p:txBody>
      </p:sp>
      <p:sp>
        <p:nvSpPr>
          <p:cNvPr id="3" name="Title 2"/>
          <p:cNvSpPr>
            <a:spLocks noGrp="1"/>
          </p:cNvSpPr>
          <p:nvPr>
            <p:ph type="ctrTitle"/>
          </p:nvPr>
        </p:nvSpPr>
        <p:spPr>
          <a:xfrm>
            <a:off x="631898" y="3128514"/>
            <a:ext cx="11481021" cy="665777"/>
          </a:xfrm>
        </p:spPr>
        <p:txBody>
          <a:bodyPr/>
          <a:lstStyle/>
          <a:p>
            <a:r>
              <a:rPr lang="en-US" sz="3570" dirty="0">
                <a:solidFill>
                  <a:srgbClr val="E31A22"/>
                </a:solidFill>
              </a:rPr>
              <a:t>Microsoft ISV Briefing</a:t>
            </a:r>
            <a:endParaRPr lang="en-US" sz="3570" dirty="0"/>
          </a:p>
        </p:txBody>
      </p:sp>
      <p:pic>
        <p:nvPicPr>
          <p:cNvPr id="5" name="Picture 2" descr="http://download.microsoft.com/download/B/1/0/B102AB56-BB7E-4BCF-9D80-1278A029F95A/MSFT_logo_png.pn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0735753" y="3013314"/>
            <a:ext cx="752627" cy="7944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45920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64.xml><?xml version="1.0" encoding="utf-8"?>
<p:tagLst xmlns:a="http://schemas.openxmlformats.org/drawingml/2006/main" xmlns:r="http://schemas.openxmlformats.org/officeDocument/2006/relationships" xmlns:p="http://schemas.openxmlformats.org/presentationml/2006/main">
  <p:tag name="ATHENA.CUSTOMXMLID" val="{5D27989F-FFF2-4148-AB68-35FF5C43830D}"/>
  <p:tag name="ATHENA.CUSTOMXMLCONTENT" val="&lt;?xml version=&quot;1.0&quot;?&gt;&lt;athena xmlns=&quot;http://schemas.microsoft.com/edu/athena&quot; version=&quot;0.1.3885.0&quot;&gt;&lt;timings duration=&quot;14275&quot;/&gt;&lt;/athena&gt;"/>
</p:tagLst>
</file>

<file path=ppt/tags/tag65.xml><?xml version="1.0" encoding="utf-8"?>
<p:tagLst xmlns:a="http://schemas.openxmlformats.org/drawingml/2006/main" xmlns:r="http://schemas.openxmlformats.org/officeDocument/2006/relationships" xmlns:p="http://schemas.openxmlformats.org/presentationml/2006/main">
  <p:tag name="ATHENA.CUSTOMXMLID" val="{36D99A1C-2537-4520-9C7F-4081F75A3851}"/>
  <p:tag name="ATHENA.CUSTOMXMLCONTENT" val="&lt;?xml version=&quot;1.0&quot;?&gt;&lt;athena xmlns=&quot;http://schemas.microsoft.com/edu/athena&quot; version=&quot;0.1.3885.0&quot;&gt;&lt;media streamable=&quot;true&quot; recordStart=&quot;0&quot; recordEnd=&quot;14275&quot; recordLength=&quot;203940&quot; audioOnly=&quot;true&quot;/&gt;&lt;/athena&gt;"/>
</p:tagLst>
</file>

<file path=ppt/tags/tag66.xml><?xml version="1.0" encoding="utf-8"?>
<p:tagLst xmlns:a="http://schemas.openxmlformats.org/drawingml/2006/main" xmlns:r="http://schemas.openxmlformats.org/officeDocument/2006/relationships" xmlns:p="http://schemas.openxmlformats.org/presentationml/2006/main">
  <p:tag name="ATHENA.CUSTOMXMLID" val="{81C3A3B2-56AA-4431-841A-9E23483373CD}"/>
  <p:tag name="ATHENA.CUSTOMXMLCONTENT" val="&lt;?xml version=&quot;1.0&quot;?&gt;&lt;athena xmlns=&quot;http://schemas.microsoft.com/edu/athena&quot; version=&quot;0.1.3885.0&quot;&gt;&lt;timings duration=&quot;42549&quot;/&gt;&lt;/athena&gt;"/>
</p:tagLst>
</file>

<file path=ppt/tags/tag67.xml><?xml version="1.0" encoding="utf-8"?>
<p:tagLst xmlns:a="http://schemas.openxmlformats.org/drawingml/2006/main" xmlns:r="http://schemas.openxmlformats.org/officeDocument/2006/relationships" xmlns:p="http://schemas.openxmlformats.org/presentationml/2006/main">
  <p:tag name="ATHENA.CUSTOMXMLID" val="{E8A202D5-58D1-4117-A930-BD0FAF398ABB}"/>
  <p:tag name="ATHENA.CUSTOMXMLCONTENT" val="&lt;?xml version=&quot;1.0&quot;?&gt;&lt;athena xmlns=&quot;http://schemas.microsoft.com/edu/athena&quot; version=&quot;0.1.3885.0&quot;&gt;&lt;media streamable=&quot;true&quot; recordStart=&quot;14275&quot; recordEnd=&quot;56824&quot; recordLength=&quot;203940&quot; audioOnly=&quot;true&quot;/&gt;&lt;/athena&gt;"/>
</p:tagLst>
</file>

<file path=ppt/tags/tag68.xml><?xml version="1.0" encoding="utf-8"?>
<p:tagLst xmlns:a="http://schemas.openxmlformats.org/drawingml/2006/main" xmlns:r="http://schemas.openxmlformats.org/officeDocument/2006/relationships" xmlns:p="http://schemas.openxmlformats.org/presentationml/2006/main">
  <p:tag name="ATHENA.CUSTOMXMLID" val="{62AE01D5-BEDC-4DDF-AFB1-5B49EB499186}"/>
  <p:tag name="ATHENA.CUSTOMXMLCONTENT" val="&lt;?xml version=&quot;1.0&quot;?&gt;&lt;athena xmlns=&quot;http://schemas.microsoft.com/edu/athena&quot; version=&quot;0.1.3885.0&quot;&gt;&lt;timings duration=&quot;27595&quot;&gt;&lt;event time=&quot;16667&quot; type=&quot;OnNext&quot; clickIndex=&quot;1&quot; wacClickIndex=&quot;1&quot;/&gt;&lt;/timings&gt;&lt;/athena&gt;"/>
</p:tagLst>
</file>

<file path=ppt/tags/tag69.xml><?xml version="1.0" encoding="utf-8"?>
<p:tagLst xmlns:a="http://schemas.openxmlformats.org/drawingml/2006/main" xmlns:r="http://schemas.openxmlformats.org/officeDocument/2006/relationships" xmlns:p="http://schemas.openxmlformats.org/presentationml/2006/main">
  <p:tag name="ATHENA.CUSTOMXMLID" val="{AE092BA8-9A75-4D11-A3D7-5A8DDDFE1250}"/>
  <p:tag name="ATHENA.CUSTOMXMLCONTENT" val="&lt;?xml version=&quot;1.0&quot;?&gt;&lt;athena xmlns=&quot;http://schemas.microsoft.com/edu/athena&quot; version=&quot;0.1.3885.0&quot;&gt;&lt;media streamable=&quot;true&quot; recordStart=&quot;176271&quot; recordEnd=&quot;203866&quot; recordLength=&quot;203940&quot; audioOnly=&quot;true&quot;/&gt;&lt;/athena&g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THENA.CUSTOMXMLID" val="{DD52C2B9-8BC7-4F94-BC37-2D6046E18A69}"/>
  <p:tag name="ATHENA.CUSTOMXMLCONTENT" val="&lt;?xml version=&quot;1.0&quot;?&gt;&lt;athena xmlns=&quot;http://schemas.microsoft.com/edu/athena&quot; version=&quot;0.1.3885.0&quot;&gt;&lt;ink scale=&quot;0.7076167&quot;&gt;AAEAAAD/////AQAAAAAAAAAMAgAAAE9BdXRob3JQUFQsIFZlcnNpb249MC4xLjM4ODUuMCwgQ3VsdHVyZT1uZXV0cmFsLCBQdWJsaWNLZXlUb2tlbj0zMWJmMzg1NmFkMzY0ZTM1BQEAAAALSW5rTWF0dGVyVjEDAAAADUxpc3RgMStfaXRlbXMMTGlzdGAxK19zaXplD0xpc3RgMStfdmVyc2lvbgQAABdTaGFyZWQuSW5raW5nLklua0F0b21bXQIAAAAICAIAAAAJAwAAAAMAAAAFAAAABwMAAAAAAQAAAAQAAAAECUlua0F0b21WMQIAAAAJBAAAAAkFAAAACQYAAAAKBQQAAAALUGVuU3Ryb2tlVjEEAAAACkF0dHJpYnV0ZXMFVHJhY2UJU3RhcnRUaW1lBFR5cGUEBAAED1BlbkF0dHJpYnV0ZXNWMQIAAAAKSW5rVHJhY2VWMQIAAAAQDEFjdGlvblR5cGVWMQIAAAACAAAACQcAAAAJCAAAAAgPAAAAAAAABff///8MQWN0aW9uVHlwZVYxAQAAAAd2YWx1ZV9fAAgCAAAAAAAAAAEFAAAABAAAAAkKAAAACQsAAAA/JQAAAAAAAAH0////9////wAAAAAFBgAAAA1DbGVhckNhbnZhc1YxAgAAAAlTdGFydFRpbWUEVHlwZQAEEAxBY3Rpb25UeXBlVjECAAAAAgAAAMtrAAAAAAAAAfP////3////AAAAAAUHAAAAD1BlbkF0dHJpYnV0ZXNWMQoAAAAHX2NvbG9yQQdfY29sb3JSB19jb2xvckcHX2NvbG9yQgpGaXRUb0N1cnZlBkhlaWdodA5JZ25vcmVQcmVzc3VyZQ1Jc0hpZ2hsaWdodGVyBVNoYXBlBVdpZHRoAAAAAAAAAAAEAAICAgIBBgEBDEJydXNoU2hhcGVWMQIAAAAGAgAAAP//AAAAAAAAAAAACEAAAAXy////DEJydXNoU2hhcGVWMQEAAAAHdmFsdWVfXwAIAgAAAAEAAAAAAAAAAAAIQAUIAAAACklua1RyYWNlVjEDAAAADUxpc3RgMStfaXRlbXMMTGlzdGAxK19zaXplD0xpc3RgMStfdmVyc2lvbgQAABhTaGFyZWQuSW5raW5nLklua1BvaW50W10CAAAACAgCAAAACQ8AAAABAAAAAQAAAAEKAAAABwAAAP//AAAAAAAAAAAACEAAAAHw////8v///wEAAAAAAAAAAAAIQAELAAAACAAAAAkRAAAAAQAAAAEAAAAHDwAAAAABAAAABAAAAAQKSW5rUG9pbnRWMQIAAAAJEgAAAA0DBxEAAAAAAQAAAAQAAAAECklua1BvaW50VjECAAAACRMAAAANAwUSAAAACklua1BvaW50VjEEAAAAAVgBWQ5QcmVzc3VyZUZhY3RvcglUaW1lU3RhbXAAAAAABgYLEAIAAAAAe5XFGe2eP/BxaIppy+8/AAAAPwAAAAAAAAAAARMAAAASAAAAMFTTMZcI7z+gB8fLOkt6PwAAAD8AAAAAAAAAAAs=&lt;/ink&gt;&lt;/athena&gt;"/>
</p:tagLst>
</file>

<file path=ppt/tags/tag71.xml><?xml version="1.0" encoding="utf-8"?>
<p:tagLst xmlns:a="http://schemas.openxmlformats.org/drawingml/2006/main" xmlns:r="http://schemas.openxmlformats.org/officeDocument/2006/relationships" xmlns:p="http://schemas.openxmlformats.org/presentationml/2006/main">
  <p:tag name="ATHENA.CUSTOMXMLID" val="{256D4CFB-DC89-4253-AC6C-DB81337BE80F}"/>
  <p:tag name="ATHENA.CUSTOMXMLCONTENT" val="&lt;?xml version=&quot;1.0&quot;?&gt;&lt;athena xmlns=&quot;http://schemas.microsoft.com/edu/athena&quot; version=&quot;0.1.3885.0&quot;&gt;&lt;timings duration=&quot;39128&quot;/&gt;&lt;/athena&gt;"/>
</p:tagLst>
</file>

<file path=ppt/tags/tag72.xml><?xml version="1.0" encoding="utf-8"?>
<p:tagLst xmlns:a="http://schemas.openxmlformats.org/drawingml/2006/main" xmlns:r="http://schemas.openxmlformats.org/officeDocument/2006/relationships" xmlns:p="http://schemas.openxmlformats.org/presentationml/2006/main">
  <p:tag name="ATHENA.CUSTOMXMLID" val="{72B8EE69-B23F-4808-921C-B9982A822A91}"/>
  <p:tag name="ATHENA.CUSTOMXMLCONTENT" val="&lt;?xml version=&quot;1.0&quot;?&gt;&lt;athena xmlns=&quot;http://schemas.microsoft.com/edu/athena&quot; version=&quot;0.1.3885.0&quot;&gt;&lt;media streamable=&quot;true&quot; recordStart=&quot;56824&quot; recordEnd=&quot;95952&quot; recordLength=&quot;203940&quot; audioOnly=&quot;true&quot;/&gt;&lt;/athena&gt;"/>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50032_USPS_FY17_Kickoff-ISU_Template_Light">
  <a:themeElements>
    <a:clrScheme name="USPS_FY17_Kickoff">
      <a:dk1>
        <a:srgbClr val="505050"/>
      </a:dk1>
      <a:lt1>
        <a:srgbClr val="FFFFFF"/>
      </a:lt1>
      <a:dk2>
        <a:srgbClr val="0078D7"/>
      </a:dk2>
      <a:lt2>
        <a:srgbClr val="EAEAEA"/>
      </a:lt2>
      <a:accent1>
        <a:srgbClr val="0078D7"/>
      </a:accent1>
      <a:accent2>
        <a:srgbClr val="002050"/>
      </a:accent2>
      <a:accent3>
        <a:srgbClr val="A80000"/>
      </a:accent3>
      <a:accent4>
        <a:srgbClr val="107C10"/>
      </a:accent4>
      <a:accent5>
        <a:srgbClr val="D83B01"/>
      </a:accent5>
      <a:accent6>
        <a:srgbClr val="FFB9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USPS_FY17_Kickoff-ISU_16x9_Template" id="{FCB51AAE-4D40-4198-A610-CA72A6F2D734}" vid="{ED76D9F8-6F2E-43A9-8AF2-CF5D4F1108A1}"/>
    </a:ext>
  </a:extLst>
</a:theme>
</file>

<file path=ppt/theme/theme10.xml><?xml version="1.0" encoding="utf-8"?>
<a:theme xmlns:a="http://schemas.openxmlformats.org/drawingml/2006/main" name="FY15 MTC">
  <a:themeElements>
    <a:clrScheme name="MS-MTC3">
      <a:dk1>
        <a:srgbClr val="0078D7"/>
      </a:dk1>
      <a:lt1>
        <a:sysClr val="window" lastClr="FFFFFF"/>
      </a:lt1>
      <a:dk2>
        <a:srgbClr val="505050"/>
      </a:dk2>
      <a:lt2>
        <a:srgbClr val="00188F"/>
      </a:lt2>
      <a:accent1>
        <a:srgbClr val="008272"/>
      </a:accent1>
      <a:accent2>
        <a:srgbClr val="107C10"/>
      </a:accent2>
      <a:accent3>
        <a:srgbClr val="32145A"/>
      </a:accent3>
      <a:accent4>
        <a:srgbClr val="BAD80A"/>
      </a:accent4>
      <a:accent5>
        <a:srgbClr val="32145A"/>
      </a:accent5>
      <a:accent6>
        <a:srgbClr val="969696"/>
      </a:accent6>
      <a:hlink>
        <a:srgbClr val="0078D7"/>
      </a:hlink>
      <a:folHlink>
        <a:srgbClr val="1193FF"/>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MTC PPT Template 1280x768 (color2015)" id="{4BE9BDF6-B30C-4D31-B3B1-B767E956729B}" vid="{B4D4F9CF-B517-4D9C-8F17-EAB576FE7F6C}"/>
    </a:ext>
  </a:extLst>
</a:theme>
</file>

<file path=ppt/theme/theme11.xml><?xml version="1.0" encoding="utf-8"?>
<a:theme xmlns:a="http://schemas.openxmlformats.org/drawingml/2006/main" name="Title">
  <a:themeElements>
    <a:clrScheme name="Custom 347">
      <a:dk1>
        <a:srgbClr val="000000"/>
      </a:dk1>
      <a:lt1>
        <a:srgbClr val="FFFFFF"/>
      </a:lt1>
      <a:dk2>
        <a:srgbClr val="666666"/>
      </a:dk2>
      <a:lt2>
        <a:srgbClr val="CCCCCC"/>
      </a:lt2>
      <a:accent1>
        <a:srgbClr val="3A81BA"/>
      </a:accent1>
      <a:accent2>
        <a:srgbClr val="D89F39"/>
      </a:accent2>
      <a:accent3>
        <a:srgbClr val="8BAB42"/>
      </a:accent3>
      <a:accent4>
        <a:srgbClr val="57A7B5"/>
      </a:accent4>
      <a:accent5>
        <a:srgbClr val="8B81D2"/>
      </a:accent5>
      <a:accent6>
        <a:srgbClr val="963334"/>
      </a:accent6>
      <a:hlink>
        <a:srgbClr val="1155CC"/>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simple-light-2">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SS Theme with Bar">
  <a:themeElements>
    <a:clrScheme name="OSS Template">
      <a:dk1>
        <a:srgbClr val="191919"/>
      </a:dk1>
      <a:lt1>
        <a:srgbClr val="FFFFFF"/>
      </a:lt1>
      <a:dk2>
        <a:srgbClr val="505050"/>
      </a:dk2>
      <a:lt2>
        <a:srgbClr val="E7E6E6"/>
      </a:lt2>
      <a:accent1>
        <a:srgbClr val="0078D7"/>
      </a:accent1>
      <a:accent2>
        <a:srgbClr val="D83B01"/>
      </a:accent2>
      <a:accent3>
        <a:srgbClr val="107C10"/>
      </a:accent3>
      <a:accent4>
        <a:srgbClr val="7030A0"/>
      </a:accent4>
      <a:accent5>
        <a:srgbClr val="00188F"/>
      </a:accent5>
      <a:accent6>
        <a:srgbClr val="FFB900"/>
      </a:accent6>
      <a:hlink>
        <a:srgbClr val="0078D7"/>
      </a:hlink>
      <a:folHlink>
        <a:srgbClr val="7030A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2_Azure 2015">
  <a:themeElements>
    <a:clrScheme name="Cloud+Enterprise Fall 2016">
      <a:dk1>
        <a:srgbClr val="FFFFFF"/>
      </a:dk1>
      <a:lt1>
        <a:srgbClr val="FFFFFF"/>
      </a:lt1>
      <a:dk2>
        <a:srgbClr val="505050"/>
      </a:dk2>
      <a:lt2>
        <a:srgbClr val="00BCF2"/>
      </a:lt2>
      <a:accent1>
        <a:srgbClr val="0078D7"/>
      </a:accent1>
      <a:accent2>
        <a:srgbClr val="00188F"/>
      </a:accent2>
      <a:accent3>
        <a:srgbClr val="FFB900"/>
      </a:accent3>
      <a:accent4>
        <a:srgbClr val="00BCF2"/>
      </a:accent4>
      <a:accent5>
        <a:srgbClr val="0078D7"/>
      </a:accent5>
      <a:accent6>
        <a:srgbClr val="00188F"/>
      </a:accent6>
      <a:hlink>
        <a:srgbClr val="0078D7"/>
      </a:hlink>
      <a:folHlink>
        <a:srgbClr val="FFB9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1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vePoint 2015">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_Official AvePoint 2013_New">
  <a:themeElements>
    <a:clrScheme name="AvePoint Theme 2013">
      <a:dk1>
        <a:srgbClr val="595959"/>
      </a:dk1>
      <a:lt1>
        <a:srgbClr val="FFFFFF"/>
      </a:lt1>
      <a:dk2>
        <a:srgbClr val="262626"/>
      </a:dk2>
      <a:lt2>
        <a:srgbClr val="FF0000"/>
      </a:lt2>
      <a:accent1>
        <a:srgbClr val="FF0000"/>
      </a:accent1>
      <a:accent2>
        <a:srgbClr val="262626"/>
      </a:accent2>
      <a:accent3>
        <a:srgbClr val="595959"/>
      </a:accent3>
      <a:accent4>
        <a:srgbClr val="FFFFFF"/>
      </a:accent4>
      <a:accent5>
        <a:srgbClr val="00B050"/>
      </a:accent5>
      <a:accent6>
        <a:srgbClr val="0070C0"/>
      </a:accent6>
      <a:hlink>
        <a:srgbClr val="595959"/>
      </a:hlink>
      <a:folHlink>
        <a:srgbClr val="FF0000"/>
      </a:folHlink>
    </a:clrScheme>
    <a:fontScheme name="AvePoint 2015">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18.xml><?xml version="1.0" encoding="utf-8"?>
<a:theme xmlns:a="http://schemas.openxmlformats.org/drawingml/2006/main" name="5_Official AvePoint 2013_New">
  <a:themeElements>
    <a:clrScheme name="AvePoint Theme 2013">
      <a:dk1>
        <a:srgbClr val="595959"/>
      </a:dk1>
      <a:lt1>
        <a:srgbClr val="FFFFFF"/>
      </a:lt1>
      <a:dk2>
        <a:srgbClr val="262626"/>
      </a:dk2>
      <a:lt2>
        <a:srgbClr val="FF0000"/>
      </a:lt2>
      <a:accent1>
        <a:srgbClr val="FF0000"/>
      </a:accent1>
      <a:accent2>
        <a:srgbClr val="262626"/>
      </a:accent2>
      <a:accent3>
        <a:srgbClr val="595959"/>
      </a:accent3>
      <a:accent4>
        <a:srgbClr val="FFFFFF"/>
      </a:accent4>
      <a:accent5>
        <a:srgbClr val="00B050"/>
      </a:accent5>
      <a:accent6>
        <a:srgbClr val="0070C0"/>
      </a:accent6>
      <a:hlink>
        <a:srgbClr val="595959"/>
      </a:hlink>
      <a:folHlink>
        <a:srgbClr val="FF0000"/>
      </a:folHlink>
    </a:clrScheme>
    <a:fontScheme name="AvePoint 2015">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19.xml><?xml version="1.0" encoding="utf-8"?>
<a:theme xmlns:a="http://schemas.openxmlformats.org/drawingml/2006/main" name="Esri_Corporate_Template">
  <a:themeElements>
    <a:clrScheme name="Esri Branding Colors 2013_Blue Background">
      <a:dk1>
        <a:sysClr val="windowText" lastClr="000000"/>
      </a:dk1>
      <a:lt1>
        <a:sysClr val="window" lastClr="FFFFFF"/>
      </a:lt1>
      <a:dk2>
        <a:srgbClr val="007AC2"/>
      </a:dk2>
      <a:lt2>
        <a:srgbClr val="FFFF96"/>
      </a:lt2>
      <a:accent1>
        <a:srgbClr val="35AC46"/>
      </a:accent1>
      <a:accent2>
        <a:srgbClr val="AAD04B"/>
      </a:accent2>
      <a:accent3>
        <a:srgbClr val="F89927"/>
      </a:accent3>
      <a:accent4>
        <a:srgbClr val="00B9F2"/>
      </a:accent4>
      <a:accent5>
        <a:srgbClr val="8E499B"/>
      </a:accent5>
      <a:accent6>
        <a:srgbClr val="BE9969"/>
      </a:accent6>
      <a:hlink>
        <a:srgbClr val="C9F2FF"/>
      </a:hlink>
      <a:folHlink>
        <a:srgbClr val="94E6FF"/>
      </a:folHlink>
    </a:clrScheme>
    <a:fontScheme name="Esri-Arial">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none" lIns="91440" tIns="45720" rIns="91440" bIns="45720" numCol="1" rtlCol="0" anchor="ctr" anchorCtr="0" compatLnSpc="1">
        <a:prstTxWarp prst="textNoShape">
          <a:avLst/>
        </a:prstTxWarp>
      </a:bodyPr>
      <a:lstStyle>
        <a:defPPr algn="ctr" eaLnBrk="0" fontAlgn="base" hangingPunct="0">
          <a:spcBef>
            <a:spcPct val="0"/>
          </a:spcBef>
          <a:spcAft>
            <a:spcPct val="0"/>
          </a:spcAft>
          <a:defRPr sz="1400" b="1" dirty="0">
            <a:solidFill>
              <a:srgbClr val="000000"/>
            </a:solidFill>
            <a:latin typeface="Arial" charset="0"/>
            <a:ea typeface="ＭＳ Ｐゴシック" pitchFamily="16" charset="-128"/>
            <a:cs typeface="ＭＳ Ｐゴシック" pitchFamily="-97" charset="-128"/>
          </a:defRPr>
        </a:defPPr>
      </a:lstStyle>
      <a:style>
        <a:lnRef idx="1">
          <a:schemeClr val="accent1"/>
        </a:lnRef>
        <a:fillRef idx="3">
          <a:schemeClr val="accent1"/>
        </a:fillRef>
        <a:effectRef idx="2">
          <a:schemeClr val="accent1"/>
        </a:effectRef>
        <a:fontRef idx="minor">
          <a:schemeClr val="lt1"/>
        </a:fontRef>
      </a:style>
    </a:spDef>
    <a:lnDef>
      <a:spPr bwMode="auto">
        <a:noFill/>
        <a:ln w="19050" cap="flat" cmpd="sng" algn="ctr">
          <a:solidFill>
            <a:schemeClr val="tx2"/>
          </a:solidFill>
          <a:prstDash val="solid"/>
          <a:round/>
          <a:headEnd type="none" w="med" len="med"/>
          <a:tailEnd type="none" w="med" len="med"/>
        </a:ln>
        <a:effectLst/>
      </a:spPr>
      <a:bodyPr/>
      <a:lstStyle/>
    </a:lnDef>
    <a:txDef>
      <a:spPr>
        <a:noFill/>
        <a:effectLst/>
      </a:spPr>
      <a:bodyPr wrap="square" lIns="0" tIns="0" rIns="0" bIns="0" rtlCol="0">
        <a:noAutofit/>
      </a:bodyPr>
      <a:lstStyle>
        <a:defPPr algn="l" eaLnBrk="0" hangingPunct="0">
          <a:lnSpc>
            <a:spcPts val="1800"/>
          </a:lnSpc>
          <a:defRPr sz="1400" b="1" dirty="0" smtClean="0">
            <a:ea typeface="+mn-ea"/>
            <a:cs typeface="+mn-cs"/>
          </a:defRPr>
        </a:defPPr>
      </a:lstStyle>
    </a:txDef>
  </a:objectDefaults>
  <a:extraClrSchemeLst/>
</a:theme>
</file>

<file path=ppt/theme/theme2.xml><?xml version="1.0" encoding="utf-8"?>
<a:theme xmlns:a="http://schemas.openxmlformats.org/drawingml/2006/main" name="3-50032_USPS_FY17_Kickoff-ISU_Template_Dark">
  <a:themeElements>
    <a:clrScheme name="USPS FY17_Dark">
      <a:dk1>
        <a:srgbClr val="505050"/>
      </a:dk1>
      <a:lt1>
        <a:srgbClr val="FFFFFF"/>
      </a:lt1>
      <a:dk2>
        <a:srgbClr val="0078D7"/>
      </a:dk2>
      <a:lt2>
        <a:srgbClr val="EAEAEA"/>
      </a:lt2>
      <a:accent1>
        <a:srgbClr val="0078D7"/>
      </a:accent1>
      <a:accent2>
        <a:srgbClr val="002050"/>
      </a:accent2>
      <a:accent3>
        <a:srgbClr val="A80000"/>
      </a:accent3>
      <a:accent4>
        <a:srgbClr val="107C10"/>
      </a:accent4>
      <a:accent5>
        <a:srgbClr val="D83B01"/>
      </a:accent5>
      <a:accent6>
        <a:srgbClr val="FFB900"/>
      </a:accent6>
      <a:hlink>
        <a:srgbClr val="C4E4FF"/>
      </a:hlink>
      <a:folHlink>
        <a:srgbClr val="C4E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USPS_FY17_Kickoff-ISU_16x9_Template" id="{FCB51AAE-4D40-4198-A610-CA72A6F2D734}" vid="{D79D1462-ED02-4262-896F-F71283D32E32}"/>
    </a:ext>
  </a:extLst>
</a:theme>
</file>

<file path=ppt/theme/theme20.xml><?xml version="1.0" encoding="utf-8"?>
<a:theme xmlns:a="http://schemas.openxmlformats.org/drawingml/2006/main" name="blank">
  <a:themeElements>
    <a:clrScheme name="SIN_eSignLive">
      <a:dk1>
        <a:srgbClr val="333333"/>
      </a:dk1>
      <a:lt1>
        <a:sysClr val="window" lastClr="FFFFFF"/>
      </a:lt1>
      <a:dk2>
        <a:srgbClr val="666666"/>
      </a:dk2>
      <a:lt2>
        <a:srgbClr val="E7E6E6"/>
      </a:lt2>
      <a:accent1>
        <a:srgbClr val="33B5C3"/>
      </a:accent1>
      <a:accent2>
        <a:srgbClr val="FFA800"/>
      </a:accent2>
      <a:accent3>
        <a:srgbClr val="83A332"/>
      </a:accent3>
      <a:accent4>
        <a:srgbClr val="B7E2D9"/>
      </a:accent4>
      <a:accent5>
        <a:srgbClr val="D2DFE7"/>
      </a:accent5>
      <a:accent6>
        <a:srgbClr val="A3CFEA"/>
      </a:accent6>
      <a:hlink>
        <a:srgbClr val="268792"/>
      </a:hlink>
      <a:folHlink>
        <a:srgbClr val="195A61"/>
      </a:folHlink>
    </a:clrScheme>
    <a:fontScheme name="BVY">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txDef>
      <a:spPr bwMode="auto">
        <a:noFill/>
        <a:ln w="9525">
          <a:noFill/>
          <a:miter lim="800000"/>
          <a:headEnd/>
          <a:tailEnd/>
        </a:ln>
        <a:effectLst/>
      </a:spPr>
      <a:bodyPr vert="horz" wrap="square" lIns="18288" tIns="18288" rIns="18288" bIns="18288" numCol="1" anchor="t" anchorCtr="0" compatLnSpc="1">
        <a:prstTxWarp prst="textNoShape">
          <a:avLst/>
        </a:prstTxWarp>
        <a:spAutoFit/>
      </a:bodyPr>
      <a:lstStyle>
        <a:defPPr marL="0" marR="0" indent="0" algn="l" defTabSz="914400" rtl="0" eaLnBrk="1" fontAlgn="base" latinLnBrk="0" hangingPunct="1">
          <a:lnSpc>
            <a:spcPct val="100000"/>
          </a:lnSpc>
          <a:spcBef>
            <a:spcPts val="300"/>
          </a:spcBef>
          <a:spcAft>
            <a:spcPts val="400"/>
          </a:spcAft>
          <a:buClr>
            <a:schemeClr val="accent5">
              <a:lumMod val="50000"/>
            </a:schemeClr>
          </a:buClr>
          <a:buSzTx/>
          <a:buFont typeface="Webdings" pitchFamily="18" charset="2"/>
          <a:buNone/>
          <a:tabLst/>
          <a:defRPr kumimoji="0" sz="2400" b="0" i="0" u="none" strike="noStrike" kern="0" cap="none" spc="0" normalizeH="0" baseline="0" noProof="0" smtClean="0">
            <a:ln>
              <a:noFill/>
            </a:ln>
            <a:solidFill>
              <a:schemeClr val="tx1"/>
            </a:solidFill>
            <a:effectLst/>
            <a:uLnTx/>
            <a:uFillTx/>
            <a:latin typeface="Calibri" pitchFamily="34" charset="0"/>
            <a:ea typeface="+mn-ea"/>
            <a:cs typeface="+mn-cs"/>
          </a:defRPr>
        </a:defPPr>
      </a:lstStyle>
    </a:txDef>
  </a:objectDefaults>
  <a:extraClrSchemeLst>
    <a:extraClrScheme>
      <a:clrScheme name="1_blank 1">
        <a:dk1>
          <a:srgbClr val="000066"/>
        </a:dk1>
        <a:lt1>
          <a:srgbClr val="FFFFEB"/>
        </a:lt1>
        <a:dk2>
          <a:srgbClr val="336699"/>
        </a:dk2>
        <a:lt2>
          <a:srgbClr val="FFFFEB"/>
        </a:lt2>
        <a:accent1>
          <a:srgbClr val="666699"/>
        </a:accent1>
        <a:accent2>
          <a:srgbClr val="99CCFF"/>
        </a:accent2>
        <a:accent3>
          <a:srgbClr val="ADB8CA"/>
        </a:accent3>
        <a:accent4>
          <a:srgbClr val="DADAC9"/>
        </a:accent4>
        <a:accent5>
          <a:srgbClr val="B8B8CA"/>
        </a:accent5>
        <a:accent6>
          <a:srgbClr val="8AB9E7"/>
        </a:accent6>
        <a:hlink>
          <a:srgbClr val="CCCCFF"/>
        </a:hlink>
        <a:folHlink>
          <a:srgbClr val="C68DFF"/>
        </a:folHlink>
      </a:clrScheme>
      <a:clrMap bg1="dk2" tx1="lt1" bg2="dk1" tx2="lt2" accent1="accent1" accent2="accent2" accent3="accent3" accent4="accent4" accent5="accent5" accent6="accent6" hlink="hlink" folHlink="folHlink"/>
    </a:extraClrScheme>
    <a:extraClrScheme>
      <a:clrScheme name="1_blank 2">
        <a:dk1>
          <a:srgbClr val="003366"/>
        </a:dk1>
        <a:lt1>
          <a:srgbClr val="FFFFFF"/>
        </a:lt1>
        <a:dk2>
          <a:srgbClr val="006666"/>
        </a:dk2>
        <a:lt2>
          <a:srgbClr val="003366"/>
        </a:lt2>
        <a:accent1>
          <a:srgbClr val="99CC99"/>
        </a:accent1>
        <a:accent2>
          <a:srgbClr val="33CCCC"/>
        </a:accent2>
        <a:accent3>
          <a:srgbClr val="FFFFFF"/>
        </a:accent3>
        <a:accent4>
          <a:srgbClr val="002A56"/>
        </a:accent4>
        <a:accent5>
          <a:srgbClr val="CAE2CA"/>
        </a:accent5>
        <a:accent6>
          <a:srgbClr val="2DB9B9"/>
        </a:accent6>
        <a:hlink>
          <a:srgbClr val="666699"/>
        </a:hlink>
        <a:folHlink>
          <a:srgbClr val="CC99FF"/>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0000"/>
        </a:dk2>
        <a:lt2>
          <a:srgbClr val="5F5F5F"/>
        </a:lt2>
        <a:accent1>
          <a:srgbClr val="C0C0C0"/>
        </a:accent1>
        <a:accent2>
          <a:srgbClr val="808080"/>
        </a:accent2>
        <a:accent3>
          <a:srgbClr val="FFFFFF"/>
        </a:accent3>
        <a:accent4>
          <a:srgbClr val="000000"/>
        </a:accent4>
        <a:accent5>
          <a:srgbClr val="DCDCDC"/>
        </a:accent5>
        <a:accent6>
          <a:srgbClr val="737373"/>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1_blank 4">
        <a:dk1>
          <a:srgbClr val="000000"/>
        </a:dk1>
        <a:lt1>
          <a:srgbClr val="FFFFFF"/>
        </a:lt1>
        <a:dk2>
          <a:srgbClr val="9900CC"/>
        </a:dk2>
        <a:lt2>
          <a:srgbClr val="0033CC"/>
        </a:lt2>
        <a:accent1>
          <a:srgbClr val="FFCC66"/>
        </a:accent1>
        <a:accent2>
          <a:srgbClr val="33CC33"/>
        </a:accent2>
        <a:accent3>
          <a:srgbClr val="FFFFFF"/>
        </a:accent3>
        <a:accent4>
          <a:srgbClr val="000000"/>
        </a:accent4>
        <a:accent5>
          <a:srgbClr val="FFE2B8"/>
        </a:accent5>
        <a:accent6>
          <a:srgbClr val="2DB92D"/>
        </a:accent6>
        <a:hlink>
          <a:srgbClr val="9900CC"/>
        </a:hlink>
        <a:folHlink>
          <a:srgbClr val="9900CC"/>
        </a:folHlink>
      </a:clrScheme>
      <a:clrMap bg1="lt1" tx1="dk1" bg2="lt2" tx2="dk2" accent1="accent1" accent2="accent2" accent3="accent3" accent4="accent4" accent5="accent5" accent6="accent6" hlink="hlink" folHlink="folHlink"/>
    </a:extraClrScheme>
    <a:extraClrScheme>
      <a:clrScheme name="1_blank 5">
        <a:dk1>
          <a:srgbClr val="000000"/>
        </a:dk1>
        <a:lt1>
          <a:srgbClr val="FFFFFF"/>
        </a:lt1>
        <a:dk2>
          <a:srgbClr val="000000"/>
        </a:dk2>
        <a:lt2>
          <a:srgbClr val="003366"/>
        </a:lt2>
        <a:accent1>
          <a:srgbClr val="336699"/>
        </a:accent1>
        <a:accent2>
          <a:srgbClr val="CC0000"/>
        </a:accent2>
        <a:accent3>
          <a:srgbClr val="FFFFFF"/>
        </a:accent3>
        <a:accent4>
          <a:srgbClr val="000000"/>
        </a:accent4>
        <a:accent5>
          <a:srgbClr val="ADB8CA"/>
        </a:accent5>
        <a:accent6>
          <a:srgbClr val="B90000"/>
        </a:accent6>
        <a:hlink>
          <a:srgbClr val="99CC99"/>
        </a:hlink>
        <a:folHlink>
          <a:srgbClr val="CC99FF"/>
        </a:folHlink>
      </a:clrScheme>
      <a:clrMap bg1="lt1" tx1="dk1" bg2="lt2" tx2="dk2" accent1="accent1" accent2="accent2" accent3="accent3" accent4="accent4" accent5="accent5" accent6="accent6" hlink="hlink" folHlink="folHlink"/>
    </a:extraClrScheme>
    <a:extraClrScheme>
      <a:clrScheme name="1_blank 6">
        <a:dk1>
          <a:srgbClr val="000000"/>
        </a:dk1>
        <a:lt1>
          <a:srgbClr val="FFFFFF"/>
        </a:lt1>
        <a:dk2>
          <a:srgbClr val="000000"/>
        </a:dk2>
        <a:lt2>
          <a:srgbClr val="003366"/>
        </a:lt2>
        <a:accent1>
          <a:srgbClr val="336699"/>
        </a:accent1>
        <a:accent2>
          <a:srgbClr val="CC0000"/>
        </a:accent2>
        <a:accent3>
          <a:srgbClr val="FFFFFF"/>
        </a:accent3>
        <a:accent4>
          <a:srgbClr val="000000"/>
        </a:accent4>
        <a:accent5>
          <a:srgbClr val="ADB8CA"/>
        </a:accent5>
        <a:accent6>
          <a:srgbClr val="B90000"/>
        </a:accent6>
        <a:hlink>
          <a:srgbClr val="99CC99"/>
        </a:hlink>
        <a:folHlink>
          <a:srgbClr val="FFFFCC"/>
        </a:folHlink>
      </a:clrScheme>
      <a:clrMap bg1="lt1" tx1="dk1" bg2="lt2" tx2="dk2" accent1="accent1" accent2="accent2" accent3="accent3" accent4="accent4" accent5="accent5" accent6="accent6" hlink="hlink" folHlink="folHlink"/>
    </a:extraClrScheme>
    <a:extraClrScheme>
      <a:clrScheme name="1_blank 7">
        <a:dk1>
          <a:srgbClr val="000000"/>
        </a:dk1>
        <a:lt1>
          <a:srgbClr val="FFFFFF"/>
        </a:lt1>
        <a:dk2>
          <a:srgbClr val="204162"/>
        </a:dk2>
        <a:lt2>
          <a:srgbClr val="B2B2B2"/>
        </a:lt2>
        <a:accent1>
          <a:srgbClr val="336699"/>
        </a:accent1>
        <a:accent2>
          <a:srgbClr val="C0D5EA"/>
        </a:accent2>
        <a:accent3>
          <a:srgbClr val="FFFFFF"/>
        </a:accent3>
        <a:accent4>
          <a:srgbClr val="000000"/>
        </a:accent4>
        <a:accent5>
          <a:srgbClr val="ADB8CA"/>
        </a:accent5>
        <a:accent6>
          <a:srgbClr val="AEC1D4"/>
        </a:accent6>
        <a:hlink>
          <a:srgbClr val="99CC99"/>
        </a:hlink>
        <a:folHlink>
          <a:srgbClr val="478F47"/>
        </a:folHlink>
      </a:clrScheme>
      <a:clrMap bg1="lt1" tx1="dk1" bg2="lt2" tx2="dk2" accent1="accent1" accent2="accent2" accent3="accent3" accent4="accent4" accent5="accent5" accent6="accent6" hlink="hlink" folHlink="folHlink"/>
    </a:extraClrScheme>
    <a:extraClrScheme>
      <a:clrScheme name="1_blank 8">
        <a:dk1>
          <a:srgbClr val="00234C"/>
        </a:dk1>
        <a:lt1>
          <a:srgbClr val="FFFFFF"/>
        </a:lt1>
        <a:dk2>
          <a:srgbClr val="000000"/>
        </a:dk2>
        <a:lt2>
          <a:srgbClr val="5F5F5F"/>
        </a:lt2>
        <a:accent1>
          <a:srgbClr val="C0C0C0"/>
        </a:accent1>
        <a:accent2>
          <a:srgbClr val="808080"/>
        </a:accent2>
        <a:accent3>
          <a:srgbClr val="FFFFFF"/>
        </a:accent3>
        <a:accent4>
          <a:srgbClr val="001C40"/>
        </a:accent4>
        <a:accent5>
          <a:srgbClr val="DCDCDC"/>
        </a:accent5>
        <a:accent6>
          <a:srgbClr val="737373"/>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1_blank 9">
        <a:dk1>
          <a:srgbClr val="00234C"/>
        </a:dk1>
        <a:lt1>
          <a:srgbClr val="FFFFFF"/>
        </a:lt1>
        <a:dk2>
          <a:srgbClr val="00234C"/>
        </a:dk2>
        <a:lt2>
          <a:srgbClr val="5F5F5F"/>
        </a:lt2>
        <a:accent1>
          <a:srgbClr val="004B85"/>
        </a:accent1>
        <a:accent2>
          <a:srgbClr val="EEB30E"/>
        </a:accent2>
        <a:accent3>
          <a:srgbClr val="FFFFFF"/>
        </a:accent3>
        <a:accent4>
          <a:srgbClr val="001C40"/>
        </a:accent4>
        <a:accent5>
          <a:srgbClr val="AAB1C2"/>
        </a:accent5>
        <a:accent6>
          <a:srgbClr val="D8A20C"/>
        </a:accent6>
        <a:hlink>
          <a:srgbClr val="4F0044"/>
        </a:hlink>
        <a:folHlink>
          <a:srgbClr val="00554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BD7C2009-12C6-4D7F-8137-48432A338C65}" vid="{7105114C-D7F8-4D72-A2A4-A9B62CC315F1}"/>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TB Product Families 2013">
  <a:themeElements>
    <a:clrScheme name="Custom 5">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0072C6"/>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Customer-Ready Template Audienz Modified.potx" id="{092DFF61-9B9B-4BDB-9EC7-D47A5F3C0BAF}" vid="{E326199E-CEC6-4972-9DA7-4930361C35E6}"/>
    </a:ext>
  </a:extLst>
</a:theme>
</file>

<file path=ppt/theme/theme5.xml><?xml version="1.0" encoding="utf-8"?>
<a:theme xmlns:a="http://schemas.openxmlformats.org/drawingml/2006/main" name="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MSVID_White_Blue_Accent_16x9_2013_06">
  <a:themeElements>
    <a:clrScheme name="Azure Days 2016">
      <a:dk1>
        <a:srgbClr val="505050"/>
      </a:dk1>
      <a:lt1>
        <a:srgbClr val="FFFFFF"/>
      </a:lt1>
      <a:dk2>
        <a:srgbClr val="0072C6"/>
      </a:dk2>
      <a:lt2>
        <a:srgbClr val="00BCF2"/>
      </a:lt2>
      <a:accent1>
        <a:srgbClr val="00BCF2"/>
      </a:accent1>
      <a:accent2>
        <a:srgbClr val="BAD80A"/>
      </a:accent2>
      <a:accent3>
        <a:srgbClr val="0072C6"/>
      </a:accent3>
      <a:accent4>
        <a:srgbClr val="FFB900"/>
      </a:accent4>
      <a:accent5>
        <a:srgbClr val="00B294"/>
      </a:accent5>
      <a:accent6>
        <a:srgbClr val="FCD116"/>
      </a:accent6>
      <a:hlink>
        <a:srgbClr val="00BCF2"/>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7.xml><?xml version="1.0" encoding="utf-8"?>
<a:theme xmlns:a="http://schemas.openxmlformats.org/drawingml/2006/main" name="1_MSVID_White_Blue_Accent_16x9_2013_06">
  <a:themeElements>
    <a:clrScheme name="Azure Days 2016">
      <a:dk1>
        <a:srgbClr val="505050"/>
      </a:dk1>
      <a:lt1>
        <a:srgbClr val="FFFFFF"/>
      </a:lt1>
      <a:dk2>
        <a:srgbClr val="0072C6"/>
      </a:dk2>
      <a:lt2>
        <a:srgbClr val="00BCF2"/>
      </a:lt2>
      <a:accent1>
        <a:srgbClr val="00BCF2"/>
      </a:accent1>
      <a:accent2>
        <a:srgbClr val="BAD80A"/>
      </a:accent2>
      <a:accent3>
        <a:srgbClr val="0072C6"/>
      </a:accent3>
      <a:accent4>
        <a:srgbClr val="FFB900"/>
      </a:accent4>
      <a:accent5>
        <a:srgbClr val="00B294"/>
      </a:accent5>
      <a:accent6>
        <a:srgbClr val="FCD116"/>
      </a:accent6>
      <a:hlink>
        <a:srgbClr val="00BCF2"/>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8.xml><?xml version="1.0" encoding="utf-8"?>
<a:theme xmlns:a="http://schemas.openxmlformats.org/drawingml/2006/main" name="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3_STB Product Families 2013">
  <a:themeElements>
    <a:clrScheme name="Custom 5">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0072C6"/>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Customer-Ready Template Audienz Modified.potx" id="{092DFF61-9B9B-4BDB-9EC7-D47A5F3C0BAF}" vid="{E326199E-CEC6-4972-9DA7-4930361C35E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PublishingExpirationDate xmlns="http://schemas.microsoft.com/sharepoint/v3" xsi:nil="true"/>
    <PublishingStartDate xmlns="http://schemas.microsoft.com/sharepoint/v3" xsi:nil="true"/>
  </documentManagement>
</p:properties>
</file>

<file path=customXml/item10.xml><?xml version="1.0" encoding="utf-8"?>
<athena xmlns="http://schemas.microsoft.com/edu/athena" version="0.1.3885.0">
  <timings duration="27595">
    <event time="16667" type="OnNext" clickIndex="1" wacClickIndex="1"/>
  </timings>
</athena>
</file>

<file path=customXml/item11.xml><?xml version="1.0" encoding="utf-8"?>
<athena xmlns="http://schemas.microsoft.com/edu/athena" version="0.1.3885.0">
  <media streamable="true" recordStart="56824" recordEnd="95952" recordLength="203940" audioOnly="true"/>
</athena>
</file>

<file path=customXml/item12.xml><?xml version="1.0" encoding="utf-8"?>
<athena xmlns="http://schemas.microsoft.com/edu/athena" version="0.1.3885.0">
  <timings duration="39128"/>
</athena>
</file>

<file path=customXml/item2.xml><?xml version="1.0" encoding="utf-8"?>
<ct:contentTypeSchema xmlns:ct="http://schemas.microsoft.com/office/2006/metadata/contentType" xmlns:ma="http://schemas.microsoft.com/office/2006/metadata/properties/metaAttributes" ct:_="" ma:_="" ma:contentTypeName="Document" ma:contentTypeID="0x0101003CFF762A29935E44886ADBA35DC51628" ma:contentTypeVersion="8" ma:contentTypeDescription="Create a new document." ma:contentTypeScope="" ma:versionID="7bb3caa4a1503ec02dfece084596c3e1">
  <xsd:schema xmlns:xsd="http://www.w3.org/2001/XMLSchema" xmlns:xs="http://www.w3.org/2001/XMLSchema" xmlns:p="http://schemas.microsoft.com/office/2006/metadata/properties" xmlns:ns1="http://schemas.microsoft.com/sharepoint/v3" xmlns:ns2="ad194ebe-4470-4eb6-8a1a-e2b72f5e8b60" targetNamespace="http://schemas.microsoft.com/office/2006/metadata/properties" ma:root="true" ma:fieldsID="3a512cb106e47b9720543a1334040505" ns1:_="" ns2:_="">
    <xsd:import namespace="http://schemas.microsoft.com/sharepoint/v3"/>
    <xsd:import namespace="ad194ebe-4470-4eb6-8a1a-e2b72f5e8b60"/>
    <xsd:element name="properties">
      <xsd:complexType>
        <xsd:sequence>
          <xsd:element name="documentManagement">
            <xsd:complexType>
              <xsd:all>
                <xsd:element ref="ns1:PublishingStartDate" minOccurs="0"/>
                <xsd:element ref="ns1:PublishingExpirationDate" minOccurs="0"/>
                <xsd:element ref="ns2:SharedWithUsers" minOccurs="0"/>
                <xsd:element ref="ns2:SharingHintHash"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d194ebe-4470-4eb6-8a1a-e2b72f5e8b6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11" nillable="true" ma:displayName="Sharing Hint Hash" ma:internalName="SharingHintHash" ma:readOnly="true">
      <xsd:simpleType>
        <xsd:restriction base="dms:Text"/>
      </xsd:simple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5" nillable="true" ma:displayName="Last Shared By User" ma:description="" ma:internalName="LastSharedByUser" ma:readOnly="true">
      <xsd:simpleType>
        <xsd:restriction base="dms:Note">
          <xsd:maxLength value="255"/>
        </xsd:restriction>
      </xsd:simpleType>
    </xsd:element>
    <xsd:element name="LastSharedByTime" ma:index="16"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athena xmlns="http://schemas.microsoft.com/edu/athena" version="0.1.3885.0">
  <media streamable="true" recordStart="0" recordEnd="14275" recordLength="203940" audioOnly="true"/>
</athena>
</file>

<file path=customXml/item5.xml><?xml version="1.0" encoding="utf-8"?>
<athena xmlns="http://schemas.microsoft.com/edu/athena" version="0.1.3885.0">
  <timings duration="14275"/>
</athena>
</file>

<file path=customXml/item6.xml><?xml version="1.0" encoding="utf-8"?>
<athena xmlns="http://schemas.microsoft.com/edu/athena" version="0.1.3885.0">
  <media streamable="true" recordStart="14275" recordEnd="56824" recordLength="203940" audioOnly="true"/>
</athena>
</file>

<file path=customXml/item7.xml><?xml version="1.0" encoding="utf-8"?>
<athena xmlns="http://schemas.microsoft.com/edu/athena" version="0.1.3885.0">
  <timings duration="42549"/>
</athena>
</file>

<file path=customXml/item8.xml><?xml version="1.0" encoding="utf-8"?>
<athena xmlns="http://schemas.microsoft.com/edu/athena" version="0.1.3885.0">
  <media streamable="true" recordStart="176271" recordEnd="203866" recordLength="203940" audioOnly="true"/>
</athena>
</file>

<file path=customXml/item9.xml><?xml version="1.0" encoding="utf-8"?>
<athena xmlns="http://schemas.microsoft.com/edu/athena" version="0.1.3885.0">
  <ink scale="0.7076167">AAEAAAD/////AQAAAAAAAAAMAgAAAE9BdXRob3JQUFQsIFZlcnNpb249MC4xLjM4ODUuMCwgQ3VsdHVyZT1uZXV0cmFsLCBQdWJsaWNLZXlUb2tlbj0zMWJmMzg1NmFkMzY0ZTM1BQEAAAALSW5rTWF0dGVyVjEDAAAADUxpc3RgMStfaXRlbXMMTGlzdGAxK19zaXplD0xpc3RgMStfdmVyc2lvbgQAABdTaGFyZWQuSW5raW5nLklua0F0b21bXQIAAAAICAIAAAAJAwAAAAMAAAAFAAAABwMAAAAAAQAAAAQAAAAECUlua0F0b21WMQIAAAAJBAAAAAkFAAAACQYAAAAKBQQAAAALUGVuU3Ryb2tlVjEEAAAACkF0dHJpYnV0ZXMFVHJhY2UJU3RhcnRUaW1lBFR5cGUEBAAED1BlbkF0dHJpYnV0ZXNWMQIAAAAKSW5rVHJhY2VWMQIAAAAQDEFjdGlvblR5cGVWMQIAAAACAAAACQcAAAAJCAAAAAgPAAAAAAAABff///8MQWN0aW9uVHlwZVYxAQAAAAd2YWx1ZV9fAAgCAAAAAAAAAAEFAAAABAAAAAkKAAAACQsAAAA/JQAAAAAAAAH0////9////wAAAAAFBgAAAA1DbGVhckNhbnZhc1YxAgAAAAlTdGFydFRpbWUEVHlwZQAEEAxBY3Rpb25UeXBlVjECAAAAAgAAAMtrAAAAAAAAAfP////3////AAAAAAUHAAAAD1BlbkF0dHJpYnV0ZXNWMQoAAAAHX2NvbG9yQQdfY29sb3JSB19jb2xvckcHX2NvbG9yQgpGaXRUb0N1cnZlBkhlaWdodA5JZ25vcmVQcmVzc3VyZQ1Jc0hpZ2hsaWdodGVyBVNoYXBlBVdpZHRoAAAAAAAAAAAEAAICAgIBBgEBDEJydXNoU2hhcGVWMQIAAAAGAgAAAP//AAAAAAAAAAAACEAAAAXy////DEJydXNoU2hhcGVWMQEAAAAHdmFsdWVfXwAIAgAAAAEAAAAAAAAAAAAIQAUIAAAACklua1RyYWNlVjEDAAAADUxpc3RgMStfaXRlbXMMTGlzdGAxK19zaXplD0xpc3RgMStfdmVyc2lvbgQAABhTaGFyZWQuSW5raW5nLklua1BvaW50W10CAAAACAgCAAAACQ8AAAABAAAAAQAAAAEKAAAABwAAAP//AAAAAAAAAAAACEAAAAHw////8v///wEAAAAAAAAAAAAIQAELAAAACAAAAAkRAAAAAQAAAAEAAAAHDwAAAAABAAAABAAAAAQKSW5rUG9pbnRWMQIAAAAJEgAAAA0DBxEAAAAAAQAAAAQAAAAECklua1BvaW50VjECAAAACRMAAAANAwUSAAAACklua1BvaW50VjEEAAAAAVgBWQ5QcmVzc3VyZUZhY3RvcglUaW1lU3RhbXAAAAAABgYLEAIAAAAAe5XFGe2eP/BxaIppy+8/AAAAPwAAAAAAAAAAARMAAAASAAAAMFTTMZcI7z+gB8fLOkt6PwAAAD8AAAAAAAAAAAs=</ink>
</athena>
</file>

<file path=customXml/itemProps1.xml><?xml version="1.0" encoding="utf-8"?>
<ds:datastoreItem xmlns:ds="http://schemas.openxmlformats.org/officeDocument/2006/customXml" ds:itemID="{F990F116-B58F-4255-B05B-DA3808E0E5C6}">
  <ds:schemaRefs>
    <ds:schemaRef ds:uri="http://purl.org/dc/terms/"/>
    <ds:schemaRef ds:uri="http://schemas.microsoft.com/office/2006/metadata/properties"/>
    <ds:schemaRef ds:uri="http://purl.org/dc/dcmitype/"/>
    <ds:schemaRef ds:uri="http://schemas.microsoft.com/sharepoint/v3"/>
    <ds:schemaRef ds:uri="http://schemas.microsoft.com/office/2006/documentManagement/types"/>
    <ds:schemaRef ds:uri="http://purl.org/dc/elements/1.1/"/>
    <ds:schemaRef ds:uri="http://www.w3.org/XML/1998/namespace"/>
    <ds:schemaRef ds:uri="http://schemas.microsoft.com/office/infopath/2007/PartnerControls"/>
    <ds:schemaRef ds:uri="http://schemas.openxmlformats.org/package/2006/metadata/core-properties"/>
    <ds:schemaRef ds:uri="ad194ebe-4470-4eb6-8a1a-e2b72f5e8b60"/>
  </ds:schemaRefs>
</ds:datastoreItem>
</file>

<file path=customXml/itemProps10.xml><?xml version="1.0" encoding="utf-8"?>
<ds:datastoreItem xmlns:ds="http://schemas.openxmlformats.org/officeDocument/2006/customXml" ds:itemID="{62AE01D5-BEDC-4DDF-AFB1-5B49EB499186}">
  <ds:schemaRefs>
    <ds:schemaRef ds:uri="http://schemas.microsoft.com/edu/athena"/>
  </ds:schemaRefs>
</ds:datastoreItem>
</file>

<file path=customXml/itemProps11.xml><?xml version="1.0" encoding="utf-8"?>
<ds:datastoreItem xmlns:ds="http://schemas.openxmlformats.org/officeDocument/2006/customXml" ds:itemID="{72B8EE69-B23F-4808-921C-B9982A822A91}">
  <ds:schemaRefs>
    <ds:schemaRef ds:uri="http://schemas.microsoft.com/edu/athena"/>
  </ds:schemaRefs>
</ds:datastoreItem>
</file>

<file path=customXml/itemProps12.xml><?xml version="1.0" encoding="utf-8"?>
<ds:datastoreItem xmlns:ds="http://schemas.openxmlformats.org/officeDocument/2006/customXml" ds:itemID="{256D4CFB-DC89-4253-AC6C-DB81337BE80F}">
  <ds:schemaRefs>
    <ds:schemaRef ds:uri="http://schemas.microsoft.com/edu/athena"/>
  </ds:schemaRefs>
</ds:datastoreItem>
</file>

<file path=customXml/itemProps2.xml><?xml version="1.0" encoding="utf-8"?>
<ds:datastoreItem xmlns:ds="http://schemas.openxmlformats.org/officeDocument/2006/customXml" ds:itemID="{F9BCF5BA-19DB-4DB9-AF8C-CBA9BBD236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d194ebe-4470-4eb6-8a1a-e2b72f5e8b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4.xml><?xml version="1.0" encoding="utf-8"?>
<ds:datastoreItem xmlns:ds="http://schemas.openxmlformats.org/officeDocument/2006/customXml" ds:itemID="{36D99A1C-2537-4520-9C7F-4081F75A3851}">
  <ds:schemaRefs>
    <ds:schemaRef ds:uri="http://schemas.microsoft.com/edu/athena"/>
  </ds:schemaRefs>
</ds:datastoreItem>
</file>

<file path=customXml/itemProps5.xml><?xml version="1.0" encoding="utf-8"?>
<ds:datastoreItem xmlns:ds="http://schemas.openxmlformats.org/officeDocument/2006/customXml" ds:itemID="{5D27989F-FFF2-4148-AB68-35FF5C43830D}">
  <ds:schemaRefs>
    <ds:schemaRef ds:uri="http://schemas.microsoft.com/edu/athena"/>
  </ds:schemaRefs>
</ds:datastoreItem>
</file>

<file path=customXml/itemProps6.xml><?xml version="1.0" encoding="utf-8"?>
<ds:datastoreItem xmlns:ds="http://schemas.openxmlformats.org/officeDocument/2006/customXml" ds:itemID="{E8A202D5-58D1-4117-A930-BD0FAF398ABB}">
  <ds:schemaRefs>
    <ds:schemaRef ds:uri="http://schemas.microsoft.com/edu/athena"/>
  </ds:schemaRefs>
</ds:datastoreItem>
</file>

<file path=customXml/itemProps7.xml><?xml version="1.0" encoding="utf-8"?>
<ds:datastoreItem xmlns:ds="http://schemas.openxmlformats.org/officeDocument/2006/customXml" ds:itemID="{81C3A3B2-56AA-4431-841A-9E23483373CD}">
  <ds:schemaRefs>
    <ds:schemaRef ds:uri="http://schemas.microsoft.com/edu/athena"/>
  </ds:schemaRefs>
</ds:datastoreItem>
</file>

<file path=customXml/itemProps8.xml><?xml version="1.0" encoding="utf-8"?>
<ds:datastoreItem xmlns:ds="http://schemas.openxmlformats.org/officeDocument/2006/customXml" ds:itemID="{AE092BA8-9A75-4D11-A3D7-5A8DDDFE1250}">
  <ds:schemaRefs>
    <ds:schemaRef ds:uri="http://schemas.microsoft.com/edu/athena"/>
  </ds:schemaRefs>
</ds:datastoreItem>
</file>

<file path=customXml/itemProps9.xml><?xml version="1.0" encoding="utf-8"?>
<ds:datastoreItem xmlns:ds="http://schemas.openxmlformats.org/officeDocument/2006/customXml" ds:itemID="{DD52C2B9-8BC7-4F94-BC37-2D6046E18A69}">
  <ds:schemaRefs>
    <ds:schemaRef ds:uri="http://schemas.microsoft.com/edu/athena"/>
  </ds:schemaRefs>
</ds:datastoreItem>
</file>

<file path=docProps/app.xml><?xml version="1.0" encoding="utf-8"?>
<Properties xmlns="http://schemas.openxmlformats.org/officeDocument/2006/extended-properties" xmlns:vt="http://schemas.openxmlformats.org/officeDocument/2006/docPropsVTypes">
  <Template>USPS_FY17_Kickoff-ISU_16x9_Template</Template>
  <TotalTime>56</TotalTime>
  <Words>12951</Words>
  <Application>Microsoft Office PowerPoint</Application>
  <PresentationFormat>Custom</PresentationFormat>
  <Paragraphs>2018</Paragraphs>
  <Slides>139</Slides>
  <Notes>76</Notes>
  <HiddenSlides>2</HiddenSlides>
  <MMClips>4</MMClips>
  <ScaleCrop>false</ScaleCrop>
  <HeadingPairs>
    <vt:vector size="8" baseType="variant">
      <vt:variant>
        <vt:lpstr>Fonts Used</vt:lpstr>
      </vt:variant>
      <vt:variant>
        <vt:i4>28</vt:i4>
      </vt:variant>
      <vt:variant>
        <vt:lpstr>Theme</vt:lpstr>
      </vt:variant>
      <vt:variant>
        <vt:i4>20</vt:i4>
      </vt:variant>
      <vt:variant>
        <vt:lpstr>Embedded OLE Servers</vt:lpstr>
      </vt:variant>
      <vt:variant>
        <vt:i4>2</vt:i4>
      </vt:variant>
      <vt:variant>
        <vt:lpstr>Slide Titles</vt:lpstr>
      </vt:variant>
      <vt:variant>
        <vt:i4>139</vt:i4>
      </vt:variant>
    </vt:vector>
  </HeadingPairs>
  <TitlesOfParts>
    <vt:vector size="189" baseType="lpstr">
      <vt:lpstr>MS PGothic</vt:lpstr>
      <vt:lpstr>MS PGothic</vt:lpstr>
      <vt:lpstr>宋体</vt:lpstr>
      <vt:lpstr>Agency FB</vt:lpstr>
      <vt:lpstr>Arial</vt:lpstr>
      <vt:lpstr>Calibri</vt:lpstr>
      <vt:lpstr>Calibri Light</vt:lpstr>
      <vt:lpstr>Consolas</vt:lpstr>
      <vt:lpstr>Courier New</vt:lpstr>
      <vt:lpstr>Helvetica</vt:lpstr>
      <vt:lpstr>Lucida Grande</vt:lpstr>
      <vt:lpstr>Noto Sans Symbols</vt:lpstr>
      <vt:lpstr>Proxima Nova</vt:lpstr>
      <vt:lpstr>Quattrocento Sans</vt:lpstr>
      <vt:lpstr>Segoe Condensed</vt:lpstr>
      <vt:lpstr>Segoe Pro Light</vt:lpstr>
      <vt:lpstr>Segoe UI</vt:lpstr>
      <vt:lpstr>Segoe UI Black</vt:lpstr>
      <vt:lpstr>Segoe UI Light</vt:lpstr>
      <vt:lpstr>Segoe UI Semibold</vt:lpstr>
      <vt:lpstr>Segoe UI Semilight</vt:lpstr>
      <vt:lpstr>Segoe UI Symbol</vt:lpstr>
      <vt:lpstr>StempelSchneidler</vt:lpstr>
      <vt:lpstr>Symbol</vt:lpstr>
      <vt:lpstr>Times New Roman</vt:lpstr>
      <vt:lpstr>Verdana</vt:lpstr>
      <vt:lpstr>Webdings</vt:lpstr>
      <vt:lpstr>Wingdings</vt:lpstr>
      <vt:lpstr>3-50032_USPS_FY17_Kickoff-ISU_Template_Light</vt:lpstr>
      <vt:lpstr>3-50032_USPS_FY17_Kickoff-ISU_Template_Dark</vt:lpstr>
      <vt:lpstr>Office Theme</vt:lpstr>
      <vt:lpstr>STB Product Families 2013</vt:lpstr>
      <vt:lpstr>C+E Deck</vt:lpstr>
      <vt:lpstr>MSVID_White_Blue_Accent_16x9_2013_06</vt:lpstr>
      <vt:lpstr>1_MSVID_White_Blue_Accent_16x9_2013_06</vt:lpstr>
      <vt:lpstr>MSVID_White_16x9_2012-08-18</vt:lpstr>
      <vt:lpstr>3_STB Product Families 2013</vt:lpstr>
      <vt:lpstr>FY15 MTC</vt:lpstr>
      <vt:lpstr>Title</vt:lpstr>
      <vt:lpstr>simple-light-2</vt:lpstr>
      <vt:lpstr>OSS Theme with Bar</vt:lpstr>
      <vt:lpstr>2_Azure 2015</vt:lpstr>
      <vt:lpstr>1_Office Theme</vt:lpstr>
      <vt:lpstr>1_Custom Design</vt:lpstr>
      <vt:lpstr>1_Official AvePoint 2013_New</vt:lpstr>
      <vt:lpstr>5_Official AvePoint 2013_New</vt:lpstr>
      <vt:lpstr>Esri_Corporate_Template</vt:lpstr>
      <vt:lpstr>blank</vt:lpstr>
      <vt:lpstr>think-cell Slide</vt:lpstr>
      <vt:lpstr>Photo Editor Photo</vt:lpstr>
      <vt:lpstr>PowerPoint Presentation</vt:lpstr>
      <vt:lpstr>Kickoff</vt:lpstr>
      <vt:lpstr>Azure Days Overview</vt:lpstr>
      <vt:lpstr>Thank You!</vt:lpstr>
      <vt:lpstr>Receiving Credit</vt:lpstr>
      <vt:lpstr>Agenda – Morning (broadcast)</vt:lpstr>
      <vt:lpstr>Agenda – Afternoon (not broadcast)</vt:lpstr>
      <vt:lpstr>Agenda – Thursday</vt:lpstr>
      <vt:lpstr>Create a Sales Lead in MSX</vt:lpstr>
      <vt:lpstr>Azure Key Plays</vt:lpstr>
      <vt:lpstr>PowerPoint Presentation</vt:lpstr>
      <vt:lpstr>PowerPoint Presentation</vt:lpstr>
      <vt:lpstr>PowerPoint Presentation</vt:lpstr>
      <vt:lpstr>Working with the PGs</vt:lpstr>
      <vt:lpstr>Dev/Test Environments in Azure</vt:lpstr>
      <vt:lpstr>Develop &amp; test applications</vt:lpstr>
      <vt:lpstr>PowerPoint Presentation</vt:lpstr>
      <vt:lpstr>Estimated Cost for Dev/Test Environments</vt:lpstr>
      <vt:lpstr>Go Do’s/References</vt:lpstr>
      <vt:lpstr>Resilient Cloud Identities </vt:lpstr>
      <vt:lpstr>Typical Customer Deployments </vt:lpstr>
      <vt:lpstr>Problem Statement </vt:lpstr>
      <vt:lpstr>Basic ADFS Resiliency </vt:lpstr>
      <vt:lpstr>High Availability – ADFS Resiliency </vt:lpstr>
      <vt:lpstr>Revenue </vt:lpstr>
      <vt:lpstr>Azure Storage Solutions</vt:lpstr>
      <vt:lpstr>Current Storage Challenges</vt:lpstr>
      <vt:lpstr>Solving Storage Challenges with Azure</vt:lpstr>
      <vt:lpstr>Featured Partner Solutions</vt:lpstr>
      <vt:lpstr>Azure Storage Resources</vt:lpstr>
      <vt:lpstr>Modernizing Enterprise Applications with Azure</vt:lpstr>
      <vt:lpstr>3 Things to Learn:</vt:lpstr>
      <vt:lpstr>Enable Value Delivery – The Keys to Azure PaaS</vt:lpstr>
      <vt:lpstr>PowerPoint Presentation</vt:lpstr>
      <vt:lpstr>PowerPoint Presentation</vt:lpstr>
      <vt:lpstr>Small App Portfolio - $24K Per Month</vt:lpstr>
      <vt:lpstr>OneMicrosoft OneServices</vt:lpstr>
      <vt:lpstr>Azure Days Services Offers*</vt:lpstr>
      <vt:lpstr>FY17 Digital Advisory Services offers</vt:lpstr>
      <vt:lpstr>How to Use the Book of Dreams</vt:lpstr>
      <vt:lpstr>PowerPoint Presentation</vt:lpstr>
      <vt:lpstr>Selling Azure Indirectly </vt:lpstr>
      <vt:lpstr>When there are no Cloud T&amp;C on your EA   You have 3 options:</vt:lpstr>
      <vt:lpstr>Sales Option 1 LSP = Licensing Solutions Partners </vt:lpstr>
      <vt:lpstr>Sales Option 2  MSP = Managed Service Provider</vt:lpstr>
      <vt:lpstr>CSP = Cloud Solution Provider Not for Federal Customers Yet </vt:lpstr>
      <vt:lpstr>SALES OPTION 4  PC2P = PRIME CONTRACTOR PILOT PROGRAM </vt:lpstr>
      <vt:lpstr>Break until 10:50 AM</vt:lpstr>
      <vt:lpstr>US Public Sector FY17 Azure Days</vt:lpstr>
      <vt:lpstr>Driving Azure with ISVs</vt:lpstr>
      <vt:lpstr>PowerPoint Presentation</vt:lpstr>
      <vt:lpstr>PowerPoint Presentation</vt:lpstr>
      <vt:lpstr>PowerPoint Presentation</vt:lpstr>
      <vt:lpstr>Next Up: ISV 10 Minute Elevator Pitches</vt:lpstr>
      <vt:lpstr>Afternoon Breakouts</vt:lpstr>
      <vt:lpstr>Azure Gov DC Meetup – January 25th How to Jumpstart Your Move to the Cloud - Gov Edition</vt:lpstr>
      <vt:lpstr>Broadcast quality live video to increase Azure sales MTC  Philip Nelson NewTek - TriCaster</vt:lpstr>
      <vt:lpstr>PowerPoint Presentation</vt:lpstr>
      <vt:lpstr>NewTek Impact</vt:lpstr>
      <vt:lpstr>PowerPoint Presentation</vt:lpstr>
      <vt:lpstr>PowerPoint Presentation</vt:lpstr>
      <vt:lpstr>NewTek Impact</vt:lpstr>
      <vt:lpstr>NewTek Impact</vt:lpstr>
      <vt:lpstr>NewTek Impact</vt:lpstr>
      <vt:lpstr>Broadcast Studio at 11 Times Square</vt:lpstr>
      <vt:lpstr>NewTek Impact</vt:lpstr>
      <vt:lpstr>NewTek Impact</vt:lpstr>
      <vt:lpstr>NewTek Impact</vt:lpstr>
      <vt:lpstr>NewTek Impact</vt:lpstr>
      <vt:lpstr>Federal Clients already using NewTek TriCaster</vt:lpstr>
      <vt:lpstr>NetApp Cloud with Microsoft</vt:lpstr>
      <vt:lpstr>NetApp cloud portfolio:</vt:lpstr>
      <vt:lpstr>NetApp Data Fabric – Cloud, Hybrid, Anywhere</vt:lpstr>
      <vt:lpstr>Data Fabric goes beyond ONTAP</vt:lpstr>
      <vt:lpstr>NetApp AltaVault Cloud-Integrated Storage Backup</vt:lpstr>
      <vt:lpstr>NetApp AltaVault Cloud-Integrated Storage Backup</vt:lpstr>
      <vt:lpstr>AltaVault Ecosystem for Azure</vt:lpstr>
      <vt:lpstr>Protect Cloud-Native Apps with AltaVault Cloud-Based Appliances</vt:lpstr>
      <vt:lpstr>ONTAP Cloud for Microsoft Azure</vt:lpstr>
      <vt:lpstr>ONTAP Cloud for Microsoft Azure</vt:lpstr>
      <vt:lpstr>PowerPoint Presentation</vt:lpstr>
      <vt:lpstr>MICROSOFT AND RED HAT: DRIVING OPENNESS IN GOVERNMENT</vt:lpstr>
      <vt:lpstr>PowerPoint Presentation</vt:lpstr>
      <vt:lpstr>What Microsoft &amp; Red Hat Partnership Has to Offer</vt:lpstr>
      <vt:lpstr>PowerPoint Presentation</vt:lpstr>
      <vt:lpstr>PowerPoint Presentation</vt:lpstr>
      <vt:lpstr>PowerPoint Presentation</vt:lpstr>
      <vt:lpstr>PowerPoint Presentation</vt:lpstr>
      <vt:lpstr>PowerPoint Presentation</vt:lpstr>
      <vt:lpstr>MICROSOFT AND RED HAT: DRIVING OPENNESS IN GOVERNMENT</vt:lpstr>
      <vt:lpstr>CGI Introduction Microsoft Azure ISV Day</vt:lpstr>
      <vt:lpstr>CGI is the 5th largest independent IT and business process services firm in the world</vt:lpstr>
      <vt:lpstr>CGI is proud to partner with Microsoft to deliver  cloud-based solutions for government</vt:lpstr>
      <vt:lpstr>Momentum® at a glance</vt:lpstr>
      <vt:lpstr>Records Management as a Service (RMaaS) at a glance</vt:lpstr>
      <vt:lpstr>CGI ProperPay™ at a glance</vt:lpstr>
      <vt:lpstr>CGI Unify360™ at a glance</vt:lpstr>
      <vt:lpstr>Our commitment to you We approach every engagement with one objective in mind: to help clients succeed</vt:lpstr>
      <vt:lpstr>Microsoft ISV Briefing</vt:lpstr>
      <vt:lpstr>AvePoint’s Story</vt:lpstr>
      <vt:lpstr>15,000+ Customers  Expansive Needs</vt:lpstr>
      <vt:lpstr>PowerPoint Presentation</vt:lpstr>
      <vt:lpstr>AvePoint Online Services (Commercial)</vt:lpstr>
      <vt:lpstr>How does AvePoint drive Azure Consumption?</vt:lpstr>
      <vt:lpstr>Azure Compliance-as-a-Service (CaaS)</vt:lpstr>
      <vt:lpstr>Federal PII, PHI, Security Breaches</vt:lpstr>
      <vt:lpstr>Compliant Migrations Azure &amp; O365</vt:lpstr>
      <vt:lpstr>PowerPoint Presentation</vt:lpstr>
      <vt:lpstr>Azure Gov Marketplace Offering:  DocAve, Compliance Guardian &amp; Governance Automation</vt:lpstr>
      <vt:lpstr>https://azure.microsoft.com/en-us/marketplace/partners/avepoint/avepoint-compliance-guardian</vt:lpstr>
      <vt:lpstr>What’s In It For Microsoft?</vt:lpstr>
      <vt:lpstr>PowerPoint Presentation</vt:lpstr>
      <vt:lpstr>PowerPoint Presentation</vt:lpstr>
      <vt:lpstr>Esri Overview</vt:lpstr>
      <vt:lpstr>The Esri Platform is Being Implemented Across the Federal Government</vt:lpstr>
      <vt:lpstr>ArcGIS Is a Platform</vt:lpstr>
      <vt:lpstr>Deep Spatial Analysis</vt:lpstr>
      <vt:lpstr>Expanded Capabilities</vt:lpstr>
      <vt:lpstr>Architecture example</vt:lpstr>
      <vt:lpstr>Call to Action</vt:lpstr>
      <vt:lpstr>It’s Easy to Get Started </vt:lpstr>
      <vt:lpstr>PowerPoint Presentation</vt:lpstr>
      <vt:lpstr>eSignLive with Microsoft</vt:lpstr>
      <vt:lpstr>Introduction</vt:lpstr>
      <vt:lpstr>PowerPoint Presentation</vt:lpstr>
      <vt:lpstr>PowerPoint Presentation</vt:lpstr>
      <vt:lpstr>The e-signing workflow</vt:lpstr>
      <vt:lpstr>INTEGRATION OPTIONS</vt:lpstr>
      <vt:lpstr>PowerPoint Presentation</vt:lpstr>
      <vt:lpstr>PowerPoint Presentation</vt:lpstr>
      <vt:lpstr>GSA SHARED SERVICES – MOVING TO CLOUD</vt:lpstr>
      <vt:lpstr>GSA SHARED SERVICES – MOVING TO CLOUD</vt:lpstr>
      <vt:lpstr>PowerPoint Presentation</vt:lpstr>
      <vt:lpstr>PowerPoint Presentation</vt:lpstr>
      <vt:lpstr>PowerPoint Presentation</vt:lpstr>
      <vt:lpstr>PowerPoint Presentation</vt:lpstr>
      <vt:lpstr>Afternoon Breakouts</vt:lpstr>
      <vt:lpstr>Lunch until 1:30 PM</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 Public Sector FY17 Kickoff and ISU</dc:title>
  <dc:subject>&lt;Speech title here&gt;</dc:subject>
  <dc:creator>Rhys Ziemer</dc:creator>
  <cp:keywords>USPS FY17 Kickoff and ISU</cp:keywords>
  <dc:description>Template: Mitchell Derrey, Silver Fox Productions_x000d_
Formatting: _x000d_
Audience Type:</dc:description>
  <cp:lastModifiedBy>Rhys Ziemer</cp:lastModifiedBy>
  <cp:revision>7</cp:revision>
  <dcterms:created xsi:type="dcterms:W3CDTF">2017-01-05T18:45:11Z</dcterms:created>
  <dcterms:modified xsi:type="dcterms:W3CDTF">2017-01-19T22:34:00Z</dcterms:modified>
  <cp:category>USPS FY17 Kickoff and ISU</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FF762A29935E44886ADBA35DC5162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ies>
</file>